
<file path=[Content_Types].xml><?xml version="1.0" encoding="utf-8"?>
<Types xmlns="http://schemas.openxmlformats.org/package/2006/content-types">
  <Default Extension="jpeg" ContentType="image/jpeg"/>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7"/>
  </p:notesMasterIdLst>
  <p:handoutMasterIdLst>
    <p:handoutMasterId r:id="rId28"/>
  </p:handoutMasterIdLst>
  <p:sldIdLst>
    <p:sldId id="378" r:id="rId2"/>
    <p:sldId id="377" r:id="rId3"/>
    <p:sldId id="261" r:id="rId4"/>
    <p:sldId id="269" r:id="rId5"/>
    <p:sldId id="268" r:id="rId6"/>
    <p:sldId id="270" r:id="rId7"/>
    <p:sldId id="271" r:id="rId8"/>
    <p:sldId id="273" r:id="rId9"/>
    <p:sldId id="274" r:id="rId10"/>
    <p:sldId id="279" r:id="rId11"/>
    <p:sldId id="280" r:id="rId12"/>
    <p:sldId id="277" r:id="rId13"/>
    <p:sldId id="278" r:id="rId14"/>
    <p:sldId id="281" r:id="rId15"/>
    <p:sldId id="282" r:id="rId16"/>
    <p:sldId id="283" r:id="rId17"/>
    <p:sldId id="284" r:id="rId18"/>
    <p:sldId id="285" r:id="rId19"/>
    <p:sldId id="290" r:id="rId20"/>
    <p:sldId id="289" r:id="rId21"/>
    <p:sldId id="291" r:id="rId22"/>
    <p:sldId id="292" r:id="rId23"/>
    <p:sldId id="295" r:id="rId24"/>
    <p:sldId id="296" r:id="rId25"/>
    <p:sldId id="379"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0C3F9"/>
    <a:srgbClr val="F793EB"/>
    <a:srgbClr val="1BE5E0"/>
    <a:srgbClr val="CFD1C9"/>
    <a:srgbClr val="FFFFFF"/>
    <a:srgbClr val="002846"/>
    <a:srgbClr val="24222A"/>
    <a:srgbClr val="1FB5BD"/>
    <a:srgbClr val="B3BED0"/>
    <a:srgbClr val="D494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43" autoAdjust="0"/>
    <p:restoredTop sz="94660"/>
  </p:normalViewPr>
  <p:slideViewPr>
    <p:cSldViewPr snapToGrid="0">
      <p:cViewPr varScale="1">
        <p:scale>
          <a:sx n="68" d="100"/>
          <a:sy n="68" d="100"/>
        </p:scale>
        <p:origin x="900" y="66"/>
      </p:cViewPr>
      <p:guideLst/>
    </p:cSldViewPr>
  </p:slideViewPr>
  <p:notesTextViewPr>
    <p:cViewPr>
      <p:scale>
        <a:sx n="1" d="1"/>
        <a:sy n="1" d="1"/>
      </p:scale>
      <p:origin x="0" y="0"/>
    </p:cViewPr>
  </p:notesTextViewPr>
  <p:notesViewPr>
    <p:cSldViewPr snapToGrid="0">
      <p:cViewPr varScale="1">
        <p:scale>
          <a:sx n="65" d="100"/>
          <a:sy n="65" d="100"/>
        </p:scale>
        <p:origin x="2424"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2D85010-04AB-47C0-B448-00F00E456104}" type="datetimeFigureOut">
              <a:rPr lang="en-US" smtClean="0"/>
              <a:t>3/5/20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23B4CE3-18F7-41D3-8261-C765E1B33499}" type="slidenum">
              <a:rPr lang="en-US" smtClean="0"/>
              <a:t>‹#›</a:t>
            </a:fld>
            <a:endParaRPr lang="en-US"/>
          </a:p>
        </p:txBody>
      </p:sp>
    </p:spTree>
    <p:extLst>
      <p:ext uri="{BB962C8B-B14F-4D97-AF65-F5344CB8AC3E}">
        <p14:creationId xmlns:p14="http://schemas.microsoft.com/office/powerpoint/2010/main" val="6965408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064F81-5BDC-407B-A18D-69FAA5DEF139}" type="datetimeFigureOut">
              <a:rPr lang="en-US" smtClean="0"/>
              <a:t>3/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F76747B-BE96-4086-8F63-CF9AB7143247}" type="slidenum">
              <a:rPr lang="en-US" smtClean="0"/>
              <a:t>‹#›</a:t>
            </a:fld>
            <a:endParaRPr lang="en-US"/>
          </a:p>
        </p:txBody>
      </p:sp>
    </p:spTree>
    <p:extLst>
      <p:ext uri="{BB962C8B-B14F-4D97-AF65-F5344CB8AC3E}">
        <p14:creationId xmlns:p14="http://schemas.microsoft.com/office/powerpoint/2010/main" val="32097507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F76747B-BE96-4086-8F63-CF9AB7143247}" type="slidenum">
              <a:rPr lang="en-US" smtClean="0"/>
              <a:t>3</a:t>
            </a:fld>
            <a:endParaRPr lang="en-US"/>
          </a:p>
        </p:txBody>
      </p:sp>
    </p:spTree>
    <p:extLst>
      <p:ext uri="{BB962C8B-B14F-4D97-AF65-F5344CB8AC3E}">
        <p14:creationId xmlns:p14="http://schemas.microsoft.com/office/powerpoint/2010/main" val="31537873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itle 1"/>
          <p:cNvSpPr>
            <a:spLocks noGrp="1"/>
          </p:cNvSpPr>
          <p:nvPr>
            <p:ph type="title"/>
          </p:nvPr>
        </p:nvSpPr>
        <p:spPr>
          <a:xfrm>
            <a:off x="518886" y="681214"/>
            <a:ext cx="10515600" cy="977989"/>
          </a:xfrm>
          <a:prstGeom prst="rect">
            <a:avLst/>
          </a:prstGeom>
        </p:spPr>
        <p:txBody>
          <a:bodyPr/>
          <a:lstStyle/>
          <a:p>
            <a:r>
              <a:rPr lang="en-US" dirty="0"/>
              <a:t>Click to edit Master title style</a:t>
            </a:r>
          </a:p>
        </p:txBody>
      </p:sp>
      <p:sp>
        <p:nvSpPr>
          <p:cNvPr id="6" name="Content Placeholder 2"/>
          <p:cNvSpPr>
            <a:spLocks noGrp="1"/>
          </p:cNvSpPr>
          <p:nvPr>
            <p:ph idx="1"/>
          </p:nvPr>
        </p:nvSpPr>
        <p:spPr>
          <a:xfrm>
            <a:off x="518886" y="2141714"/>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7979533"/>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8" name="Picture Placeholder 10"/>
          <p:cNvSpPr>
            <a:spLocks noGrp="1"/>
          </p:cNvSpPr>
          <p:nvPr>
            <p:ph type="pic" sz="quarter" idx="13"/>
          </p:nvPr>
        </p:nvSpPr>
        <p:spPr>
          <a:xfrm>
            <a:off x="0" y="2005259"/>
            <a:ext cx="12192000" cy="2245028"/>
          </a:xfrm>
          <a:prstGeom prst="rect">
            <a:avLst/>
          </a:prstGeom>
        </p:spPr>
        <p:txBody>
          <a:bodyPr>
            <a:normAutofit/>
          </a:bodyPr>
          <a:lstStyle>
            <a:lvl1pPr marL="0" indent="0">
              <a:buNone/>
              <a:defRPr sz="2000"/>
            </a:lvl1pPr>
          </a:lstStyle>
          <a:p>
            <a:endParaRPr lang="en-US"/>
          </a:p>
        </p:txBody>
      </p:sp>
      <p:sp>
        <p:nvSpPr>
          <p:cNvPr id="5" name="Title 1"/>
          <p:cNvSpPr>
            <a:spLocks noGrp="1"/>
          </p:cNvSpPr>
          <p:nvPr>
            <p:ph type="title"/>
          </p:nvPr>
        </p:nvSpPr>
        <p:spPr>
          <a:xfrm>
            <a:off x="518886" y="681214"/>
            <a:ext cx="10515600" cy="977989"/>
          </a:xfrm>
          <a:prstGeom prst="rect">
            <a:avLst/>
          </a:prstGeom>
        </p:spPr>
        <p:txBody>
          <a:bodyPr/>
          <a:lstStyle/>
          <a:p>
            <a:r>
              <a:rPr lang="en-US" dirty="0"/>
              <a:t>Click to edit Master title style</a:t>
            </a:r>
          </a:p>
        </p:txBody>
      </p:sp>
      <p:sp>
        <p:nvSpPr>
          <p:cNvPr id="6" name="Content Placeholder 2"/>
          <p:cNvSpPr>
            <a:spLocks noGrp="1"/>
          </p:cNvSpPr>
          <p:nvPr>
            <p:ph idx="1"/>
          </p:nvPr>
        </p:nvSpPr>
        <p:spPr>
          <a:xfrm>
            <a:off x="518886" y="2141714"/>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5717524"/>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1_Blank">
    <p:spTree>
      <p:nvGrpSpPr>
        <p:cNvPr id="1" name=""/>
        <p:cNvGrpSpPr/>
        <p:nvPr/>
      </p:nvGrpSpPr>
      <p:grpSpPr>
        <a:xfrm>
          <a:off x="0" y="0"/>
          <a:ext cx="0" cy="0"/>
          <a:chOff x="0" y="0"/>
          <a:chExt cx="0" cy="0"/>
        </a:xfrm>
      </p:grpSpPr>
      <p:sp>
        <p:nvSpPr>
          <p:cNvPr id="17" name="Picture Placeholder 10"/>
          <p:cNvSpPr>
            <a:spLocks noGrp="1"/>
          </p:cNvSpPr>
          <p:nvPr>
            <p:ph type="pic" sz="quarter" idx="13"/>
          </p:nvPr>
        </p:nvSpPr>
        <p:spPr>
          <a:xfrm>
            <a:off x="0" y="0"/>
            <a:ext cx="5143500" cy="5880100"/>
          </a:xfrm>
          <a:prstGeom prst="rect">
            <a:avLst/>
          </a:prstGeom>
        </p:spPr>
        <p:txBody>
          <a:bodyPr>
            <a:normAutofit/>
          </a:bodyPr>
          <a:lstStyle>
            <a:lvl1pPr marL="0" indent="0">
              <a:buNone/>
              <a:defRPr sz="2000"/>
            </a:lvl1pPr>
          </a:lstStyle>
          <a:p>
            <a:endParaRPr lang="en-US"/>
          </a:p>
        </p:txBody>
      </p:sp>
      <p:sp>
        <p:nvSpPr>
          <p:cNvPr id="5" name="Title 1"/>
          <p:cNvSpPr>
            <a:spLocks noGrp="1"/>
          </p:cNvSpPr>
          <p:nvPr>
            <p:ph type="title"/>
          </p:nvPr>
        </p:nvSpPr>
        <p:spPr>
          <a:xfrm>
            <a:off x="406318" y="663476"/>
            <a:ext cx="10515600" cy="977989"/>
          </a:xfrm>
          <a:prstGeom prst="rect">
            <a:avLst/>
          </a:prstGeom>
        </p:spPr>
        <p:txBody>
          <a:bodyPr/>
          <a:lstStyle/>
          <a:p>
            <a:r>
              <a:rPr lang="en-US" dirty="0"/>
              <a:t>Click to edit Master title style</a:t>
            </a:r>
          </a:p>
        </p:txBody>
      </p:sp>
      <p:sp>
        <p:nvSpPr>
          <p:cNvPr id="6" name="Content Placeholder 2"/>
          <p:cNvSpPr>
            <a:spLocks noGrp="1"/>
          </p:cNvSpPr>
          <p:nvPr>
            <p:ph idx="1"/>
          </p:nvPr>
        </p:nvSpPr>
        <p:spPr>
          <a:xfrm>
            <a:off x="406318"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p:cNvGrpSpPr/>
          <p:nvPr userDrawn="1"/>
        </p:nvGrpSpPr>
        <p:grpSpPr>
          <a:xfrm flipH="1">
            <a:off x="7924798" y="-49822"/>
            <a:ext cx="4267202" cy="894650"/>
            <a:chOff x="-38102" y="-49822"/>
            <a:chExt cx="4267202" cy="894650"/>
          </a:xfrm>
        </p:grpSpPr>
        <p:sp>
          <p:nvSpPr>
            <p:cNvPr id="13" name="Freeform 12"/>
            <p:cNvSpPr/>
            <p:nvPr/>
          </p:nvSpPr>
          <p:spPr>
            <a:xfrm>
              <a:off x="-38101" y="-49822"/>
              <a:ext cx="4190260" cy="894650"/>
            </a:xfrm>
            <a:custGeom>
              <a:avLst/>
              <a:gdLst>
                <a:gd name="connsiteX0" fmla="*/ 12075771 w 12192000"/>
                <a:gd name="connsiteY0" fmla="*/ 0 h 1238985"/>
                <a:gd name="connsiteX1" fmla="*/ 116229 w 12192000"/>
                <a:gd name="connsiteY1" fmla="*/ 0 h 1238985"/>
                <a:gd name="connsiteX2" fmla="*/ 0 w 12192000"/>
                <a:gd name="connsiteY2" fmla="*/ 116229 h 1238985"/>
                <a:gd name="connsiteX3" fmla="*/ 0 w 12192000"/>
                <a:gd name="connsiteY3" fmla="*/ 1097104 h 1238985"/>
                <a:gd name="connsiteX4" fmla="*/ 64480 w 12192000"/>
                <a:gd name="connsiteY4" fmla="*/ 1097591 h 1238985"/>
                <a:gd name="connsiteX5" fmla="*/ 454868 w 12192000"/>
                <a:gd name="connsiteY5" fmla="*/ 1064430 h 1238985"/>
                <a:gd name="connsiteX6" fmla="*/ 3051118 w 12192000"/>
                <a:gd name="connsiteY6" fmla="*/ 346411 h 1238985"/>
                <a:gd name="connsiteX7" fmla="*/ 5799277 w 12192000"/>
                <a:gd name="connsiteY7" fmla="*/ 1214711 h 1238985"/>
                <a:gd name="connsiteX8" fmla="*/ 8369560 w 12192000"/>
                <a:gd name="connsiteY8" fmla="*/ 874016 h 1238985"/>
                <a:gd name="connsiteX9" fmla="*/ 8469240 w 12192000"/>
                <a:gd name="connsiteY9" fmla="*/ 877029 h 1238985"/>
                <a:gd name="connsiteX10" fmla="*/ 8568921 w 12192000"/>
                <a:gd name="connsiteY10" fmla="*/ 874016 h 1238985"/>
                <a:gd name="connsiteX11" fmla="*/ 11139204 w 12192000"/>
                <a:gd name="connsiteY11" fmla="*/ 1214711 h 1238985"/>
                <a:gd name="connsiteX12" fmla="*/ 11860670 w 12192000"/>
                <a:gd name="connsiteY12" fmla="*/ 1013385 h 1238985"/>
                <a:gd name="connsiteX13" fmla="*/ 12192000 w 12192000"/>
                <a:gd name="connsiteY13" fmla="*/ 881143 h 1238985"/>
                <a:gd name="connsiteX14" fmla="*/ 12192000 w 12192000"/>
                <a:gd name="connsiteY14" fmla="*/ 116229 h 1238985"/>
                <a:gd name="connsiteX15" fmla="*/ 12075771 w 12192000"/>
                <a:gd name="connsiteY15" fmla="*/ 0 h 1238985"/>
                <a:gd name="connsiteX0" fmla="*/ 12075771 w 12192000"/>
                <a:gd name="connsiteY0" fmla="*/ 0 h 1238985"/>
                <a:gd name="connsiteX1" fmla="*/ 116229 w 12192000"/>
                <a:gd name="connsiteY1" fmla="*/ 0 h 1238985"/>
                <a:gd name="connsiteX2" fmla="*/ 0 w 12192000"/>
                <a:gd name="connsiteY2" fmla="*/ 116229 h 1238985"/>
                <a:gd name="connsiteX3" fmla="*/ 0 w 12192000"/>
                <a:gd name="connsiteY3" fmla="*/ 1097104 h 1238985"/>
                <a:gd name="connsiteX4" fmla="*/ 64480 w 12192000"/>
                <a:gd name="connsiteY4" fmla="*/ 1097591 h 1238985"/>
                <a:gd name="connsiteX5" fmla="*/ 454868 w 12192000"/>
                <a:gd name="connsiteY5" fmla="*/ 1064430 h 1238985"/>
                <a:gd name="connsiteX6" fmla="*/ 3051118 w 12192000"/>
                <a:gd name="connsiteY6" fmla="*/ 346411 h 1238985"/>
                <a:gd name="connsiteX7" fmla="*/ 5799277 w 12192000"/>
                <a:gd name="connsiteY7" fmla="*/ 1214711 h 1238985"/>
                <a:gd name="connsiteX8" fmla="*/ 8369560 w 12192000"/>
                <a:gd name="connsiteY8" fmla="*/ 874016 h 1238985"/>
                <a:gd name="connsiteX9" fmla="*/ 8469240 w 12192000"/>
                <a:gd name="connsiteY9" fmla="*/ 877029 h 1238985"/>
                <a:gd name="connsiteX10" fmla="*/ 8568921 w 12192000"/>
                <a:gd name="connsiteY10" fmla="*/ 874016 h 1238985"/>
                <a:gd name="connsiteX11" fmla="*/ 11139204 w 12192000"/>
                <a:gd name="connsiteY11" fmla="*/ 1214711 h 1238985"/>
                <a:gd name="connsiteX12" fmla="*/ 11860670 w 12192000"/>
                <a:gd name="connsiteY12" fmla="*/ 1013385 h 1238985"/>
                <a:gd name="connsiteX13" fmla="*/ 12192000 w 12192000"/>
                <a:gd name="connsiteY13" fmla="*/ 116229 h 1238985"/>
                <a:gd name="connsiteX14" fmla="*/ 12075771 w 12192000"/>
                <a:gd name="connsiteY14" fmla="*/ 0 h 1238985"/>
                <a:gd name="connsiteX0" fmla="*/ 12075771 w 13388758"/>
                <a:gd name="connsiteY0" fmla="*/ 0 h 1238985"/>
                <a:gd name="connsiteX1" fmla="*/ 116229 w 13388758"/>
                <a:gd name="connsiteY1" fmla="*/ 0 h 1238985"/>
                <a:gd name="connsiteX2" fmla="*/ 0 w 13388758"/>
                <a:gd name="connsiteY2" fmla="*/ 116229 h 1238985"/>
                <a:gd name="connsiteX3" fmla="*/ 0 w 13388758"/>
                <a:gd name="connsiteY3" fmla="*/ 1097104 h 1238985"/>
                <a:gd name="connsiteX4" fmla="*/ 64480 w 13388758"/>
                <a:gd name="connsiteY4" fmla="*/ 1097591 h 1238985"/>
                <a:gd name="connsiteX5" fmla="*/ 454868 w 13388758"/>
                <a:gd name="connsiteY5" fmla="*/ 1064430 h 1238985"/>
                <a:gd name="connsiteX6" fmla="*/ 3051118 w 13388758"/>
                <a:gd name="connsiteY6" fmla="*/ 346411 h 1238985"/>
                <a:gd name="connsiteX7" fmla="*/ 5799277 w 13388758"/>
                <a:gd name="connsiteY7" fmla="*/ 1214711 h 1238985"/>
                <a:gd name="connsiteX8" fmla="*/ 8369560 w 13388758"/>
                <a:gd name="connsiteY8" fmla="*/ 874016 h 1238985"/>
                <a:gd name="connsiteX9" fmla="*/ 8469240 w 13388758"/>
                <a:gd name="connsiteY9" fmla="*/ 877029 h 1238985"/>
                <a:gd name="connsiteX10" fmla="*/ 8568921 w 13388758"/>
                <a:gd name="connsiteY10" fmla="*/ 874016 h 1238985"/>
                <a:gd name="connsiteX11" fmla="*/ 11139204 w 13388758"/>
                <a:gd name="connsiteY11" fmla="*/ 1214711 h 1238985"/>
                <a:gd name="connsiteX12" fmla="*/ 13388758 w 13388758"/>
                <a:gd name="connsiteY12" fmla="*/ 371810 h 1238985"/>
                <a:gd name="connsiteX13" fmla="*/ 12192000 w 13388758"/>
                <a:gd name="connsiteY13" fmla="*/ 116229 h 1238985"/>
                <a:gd name="connsiteX14" fmla="*/ 12075771 w 13388758"/>
                <a:gd name="connsiteY14" fmla="*/ 0 h 1238985"/>
                <a:gd name="connsiteX0" fmla="*/ 12075771 w 13388758"/>
                <a:gd name="connsiteY0" fmla="*/ 0 h 1238985"/>
                <a:gd name="connsiteX1" fmla="*/ 116229 w 13388758"/>
                <a:gd name="connsiteY1" fmla="*/ 0 h 1238985"/>
                <a:gd name="connsiteX2" fmla="*/ 0 w 13388758"/>
                <a:gd name="connsiteY2" fmla="*/ 116229 h 1238985"/>
                <a:gd name="connsiteX3" fmla="*/ 0 w 13388758"/>
                <a:gd name="connsiteY3" fmla="*/ 1097104 h 1238985"/>
                <a:gd name="connsiteX4" fmla="*/ 64480 w 13388758"/>
                <a:gd name="connsiteY4" fmla="*/ 1097591 h 1238985"/>
                <a:gd name="connsiteX5" fmla="*/ 454868 w 13388758"/>
                <a:gd name="connsiteY5" fmla="*/ 1064430 h 1238985"/>
                <a:gd name="connsiteX6" fmla="*/ 3051118 w 13388758"/>
                <a:gd name="connsiteY6" fmla="*/ 346411 h 1238985"/>
                <a:gd name="connsiteX7" fmla="*/ 5799277 w 13388758"/>
                <a:gd name="connsiteY7" fmla="*/ 1214711 h 1238985"/>
                <a:gd name="connsiteX8" fmla="*/ 8369560 w 13388758"/>
                <a:gd name="connsiteY8" fmla="*/ 874016 h 1238985"/>
                <a:gd name="connsiteX9" fmla="*/ 8469240 w 13388758"/>
                <a:gd name="connsiteY9" fmla="*/ 877029 h 1238985"/>
                <a:gd name="connsiteX10" fmla="*/ 8568921 w 13388758"/>
                <a:gd name="connsiteY10" fmla="*/ 874016 h 1238985"/>
                <a:gd name="connsiteX11" fmla="*/ 11139204 w 13388758"/>
                <a:gd name="connsiteY11" fmla="*/ 1214711 h 1238985"/>
                <a:gd name="connsiteX12" fmla="*/ 13388758 w 13388758"/>
                <a:gd name="connsiteY12" fmla="*/ 371810 h 1238985"/>
                <a:gd name="connsiteX13" fmla="*/ 12075771 w 13388758"/>
                <a:gd name="connsiteY13" fmla="*/ 0 h 1238985"/>
                <a:gd name="connsiteX0" fmla="*/ 15008043 w 15008043"/>
                <a:gd name="connsiteY0" fmla="*/ 0 h 1255436"/>
                <a:gd name="connsiteX1" fmla="*/ 116229 w 15008043"/>
                <a:gd name="connsiteY1" fmla="*/ 16451 h 1255436"/>
                <a:gd name="connsiteX2" fmla="*/ 0 w 15008043"/>
                <a:gd name="connsiteY2" fmla="*/ 132680 h 1255436"/>
                <a:gd name="connsiteX3" fmla="*/ 0 w 15008043"/>
                <a:gd name="connsiteY3" fmla="*/ 1113555 h 1255436"/>
                <a:gd name="connsiteX4" fmla="*/ 64480 w 15008043"/>
                <a:gd name="connsiteY4" fmla="*/ 1114042 h 1255436"/>
                <a:gd name="connsiteX5" fmla="*/ 454868 w 15008043"/>
                <a:gd name="connsiteY5" fmla="*/ 1080881 h 1255436"/>
                <a:gd name="connsiteX6" fmla="*/ 3051118 w 15008043"/>
                <a:gd name="connsiteY6" fmla="*/ 362862 h 1255436"/>
                <a:gd name="connsiteX7" fmla="*/ 5799277 w 15008043"/>
                <a:gd name="connsiteY7" fmla="*/ 1231162 h 1255436"/>
                <a:gd name="connsiteX8" fmla="*/ 8369560 w 15008043"/>
                <a:gd name="connsiteY8" fmla="*/ 890467 h 1255436"/>
                <a:gd name="connsiteX9" fmla="*/ 8469240 w 15008043"/>
                <a:gd name="connsiteY9" fmla="*/ 893480 h 1255436"/>
                <a:gd name="connsiteX10" fmla="*/ 8568921 w 15008043"/>
                <a:gd name="connsiteY10" fmla="*/ 890467 h 1255436"/>
                <a:gd name="connsiteX11" fmla="*/ 11139204 w 15008043"/>
                <a:gd name="connsiteY11" fmla="*/ 1231162 h 1255436"/>
                <a:gd name="connsiteX12" fmla="*/ 13388758 w 15008043"/>
                <a:gd name="connsiteY12" fmla="*/ 388261 h 1255436"/>
                <a:gd name="connsiteX13" fmla="*/ 15008043 w 15008043"/>
                <a:gd name="connsiteY13" fmla="*/ 0 h 1255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008043" h="1255436">
                  <a:moveTo>
                    <a:pt x="15008043" y="0"/>
                  </a:moveTo>
                  <a:lnTo>
                    <a:pt x="116229" y="16451"/>
                  </a:lnTo>
                  <a:cubicBezTo>
                    <a:pt x="52037" y="16451"/>
                    <a:pt x="0" y="68488"/>
                    <a:pt x="0" y="132680"/>
                  </a:cubicBezTo>
                  <a:lnTo>
                    <a:pt x="0" y="1113555"/>
                  </a:lnTo>
                  <a:lnTo>
                    <a:pt x="64480" y="1114042"/>
                  </a:lnTo>
                  <a:cubicBezTo>
                    <a:pt x="205319" y="1111536"/>
                    <a:pt x="336848" y="1101378"/>
                    <a:pt x="454868" y="1080881"/>
                  </a:cubicBezTo>
                  <a:cubicBezTo>
                    <a:pt x="1399029" y="916907"/>
                    <a:pt x="2160383" y="337815"/>
                    <a:pt x="3051118" y="362862"/>
                  </a:cubicBezTo>
                  <a:cubicBezTo>
                    <a:pt x="3941852" y="387909"/>
                    <a:pt x="4810060" y="1067188"/>
                    <a:pt x="5799277" y="1231162"/>
                  </a:cubicBezTo>
                  <a:cubicBezTo>
                    <a:pt x="6603015" y="1364391"/>
                    <a:pt x="7677767" y="906507"/>
                    <a:pt x="8369560" y="890467"/>
                  </a:cubicBezTo>
                  <a:lnTo>
                    <a:pt x="8469240" y="893480"/>
                  </a:lnTo>
                  <a:lnTo>
                    <a:pt x="8568921" y="890467"/>
                  </a:lnTo>
                  <a:cubicBezTo>
                    <a:pt x="9260713" y="906507"/>
                    <a:pt x="10335898" y="1314863"/>
                    <a:pt x="11139204" y="1231162"/>
                  </a:cubicBezTo>
                  <a:cubicBezTo>
                    <a:pt x="11942510" y="1147461"/>
                    <a:pt x="13154337" y="475394"/>
                    <a:pt x="13388758" y="388261"/>
                  </a:cubicBezTo>
                  <a:lnTo>
                    <a:pt x="15008043" y="0"/>
                  </a:lnTo>
                  <a:close/>
                </a:path>
              </a:pathLst>
            </a:custGeom>
            <a:solidFill>
              <a:schemeClr val="bg1">
                <a:lumMod val="75000"/>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Freeform 13"/>
            <p:cNvSpPr/>
            <p:nvPr/>
          </p:nvSpPr>
          <p:spPr>
            <a:xfrm flipH="1">
              <a:off x="-38102" y="-38099"/>
              <a:ext cx="4267202" cy="717300"/>
            </a:xfrm>
            <a:custGeom>
              <a:avLst/>
              <a:gdLst>
                <a:gd name="connsiteX0" fmla="*/ 12191319 w 12192000"/>
                <a:gd name="connsiteY0" fmla="*/ 0 h 1418416"/>
                <a:gd name="connsiteX1" fmla="*/ 681 w 12192000"/>
                <a:gd name="connsiteY1" fmla="*/ 0 h 1418416"/>
                <a:gd name="connsiteX2" fmla="*/ 0 w 12192000"/>
                <a:gd name="connsiteY2" fmla="*/ 4247 h 1418416"/>
                <a:gd name="connsiteX3" fmla="*/ 0 w 12192000"/>
                <a:gd name="connsiteY3" fmla="*/ 1239710 h 1418416"/>
                <a:gd name="connsiteX4" fmla="*/ 64480 w 12192000"/>
                <a:gd name="connsiteY4" fmla="*/ 1240323 h 1418416"/>
                <a:gd name="connsiteX5" fmla="*/ 454868 w 12192000"/>
                <a:gd name="connsiteY5" fmla="*/ 1198555 h 1418416"/>
                <a:gd name="connsiteX6" fmla="*/ 3051118 w 12192000"/>
                <a:gd name="connsiteY6" fmla="*/ 294173 h 1418416"/>
                <a:gd name="connsiteX7" fmla="*/ 5799277 w 12192000"/>
                <a:gd name="connsiteY7" fmla="*/ 1387842 h 1418416"/>
                <a:gd name="connsiteX8" fmla="*/ 8369560 w 12192000"/>
                <a:gd name="connsiteY8" fmla="*/ 958719 h 1418416"/>
                <a:gd name="connsiteX9" fmla="*/ 8469240 w 12192000"/>
                <a:gd name="connsiteY9" fmla="*/ 962514 h 1418416"/>
                <a:gd name="connsiteX10" fmla="*/ 8568921 w 12192000"/>
                <a:gd name="connsiteY10" fmla="*/ 958719 h 1418416"/>
                <a:gd name="connsiteX11" fmla="*/ 11139204 w 12192000"/>
                <a:gd name="connsiteY11" fmla="*/ 1387842 h 1418416"/>
                <a:gd name="connsiteX12" fmla="*/ 11860670 w 12192000"/>
                <a:gd name="connsiteY12" fmla="*/ 1134261 h 1418416"/>
                <a:gd name="connsiteX13" fmla="*/ 12192000 w 12192000"/>
                <a:gd name="connsiteY13" fmla="*/ 967695 h 1418416"/>
                <a:gd name="connsiteX14" fmla="*/ 12192000 w 12192000"/>
                <a:gd name="connsiteY14" fmla="*/ 4247 h 1418416"/>
                <a:gd name="connsiteX0" fmla="*/ 12191319 w 12192000"/>
                <a:gd name="connsiteY0" fmla="*/ 0 h 1418416"/>
                <a:gd name="connsiteX1" fmla="*/ 681 w 12192000"/>
                <a:gd name="connsiteY1" fmla="*/ 0 h 1418416"/>
                <a:gd name="connsiteX2" fmla="*/ 0 w 12192000"/>
                <a:gd name="connsiteY2" fmla="*/ 4247 h 1418416"/>
                <a:gd name="connsiteX3" fmla="*/ 4872 w 12192000"/>
                <a:gd name="connsiteY3" fmla="*/ 461273 h 1418416"/>
                <a:gd name="connsiteX4" fmla="*/ 0 w 12192000"/>
                <a:gd name="connsiteY4" fmla="*/ 1239710 h 1418416"/>
                <a:gd name="connsiteX5" fmla="*/ 64480 w 12192000"/>
                <a:gd name="connsiteY5" fmla="*/ 1240323 h 1418416"/>
                <a:gd name="connsiteX6" fmla="*/ 454868 w 12192000"/>
                <a:gd name="connsiteY6" fmla="*/ 1198555 h 1418416"/>
                <a:gd name="connsiteX7" fmla="*/ 3051118 w 12192000"/>
                <a:gd name="connsiteY7" fmla="*/ 294173 h 1418416"/>
                <a:gd name="connsiteX8" fmla="*/ 5799277 w 12192000"/>
                <a:gd name="connsiteY8" fmla="*/ 1387842 h 1418416"/>
                <a:gd name="connsiteX9" fmla="*/ 8369560 w 12192000"/>
                <a:gd name="connsiteY9" fmla="*/ 958719 h 1418416"/>
                <a:gd name="connsiteX10" fmla="*/ 8469240 w 12192000"/>
                <a:gd name="connsiteY10" fmla="*/ 962514 h 1418416"/>
                <a:gd name="connsiteX11" fmla="*/ 8568921 w 12192000"/>
                <a:gd name="connsiteY11" fmla="*/ 958719 h 1418416"/>
                <a:gd name="connsiteX12" fmla="*/ 11139204 w 12192000"/>
                <a:gd name="connsiteY12" fmla="*/ 1387842 h 1418416"/>
                <a:gd name="connsiteX13" fmla="*/ 11860670 w 12192000"/>
                <a:gd name="connsiteY13" fmla="*/ 1134261 h 1418416"/>
                <a:gd name="connsiteX14" fmla="*/ 12192000 w 12192000"/>
                <a:gd name="connsiteY14" fmla="*/ 967695 h 1418416"/>
                <a:gd name="connsiteX15" fmla="*/ 12192000 w 12192000"/>
                <a:gd name="connsiteY15" fmla="*/ 4247 h 1418416"/>
                <a:gd name="connsiteX16" fmla="*/ 12191319 w 12192000"/>
                <a:gd name="connsiteY16"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299416 w 14491416"/>
                <a:gd name="connsiteY4" fmla="*/ 1239710 h 1418416"/>
                <a:gd name="connsiteX5" fmla="*/ 2363896 w 14491416"/>
                <a:gd name="connsiteY5" fmla="*/ 1240323 h 1418416"/>
                <a:gd name="connsiteX6" fmla="*/ 2754284 w 14491416"/>
                <a:gd name="connsiteY6" fmla="*/ 1198555 h 1418416"/>
                <a:gd name="connsiteX7" fmla="*/ 5350534 w 14491416"/>
                <a:gd name="connsiteY7" fmla="*/ 294173 h 1418416"/>
                <a:gd name="connsiteX8" fmla="*/ 8098693 w 14491416"/>
                <a:gd name="connsiteY8" fmla="*/ 1387842 h 1418416"/>
                <a:gd name="connsiteX9" fmla="*/ 10668976 w 14491416"/>
                <a:gd name="connsiteY9" fmla="*/ 958719 h 1418416"/>
                <a:gd name="connsiteX10" fmla="*/ 10768656 w 14491416"/>
                <a:gd name="connsiteY10" fmla="*/ 962514 h 1418416"/>
                <a:gd name="connsiteX11" fmla="*/ 10868337 w 14491416"/>
                <a:gd name="connsiteY11" fmla="*/ 958719 h 1418416"/>
                <a:gd name="connsiteX12" fmla="*/ 13438620 w 14491416"/>
                <a:gd name="connsiteY12" fmla="*/ 1387842 h 1418416"/>
                <a:gd name="connsiteX13" fmla="*/ 14160086 w 14491416"/>
                <a:gd name="connsiteY13" fmla="*/ 1134261 h 1418416"/>
                <a:gd name="connsiteX14" fmla="*/ 14491416 w 14491416"/>
                <a:gd name="connsiteY14" fmla="*/ 967695 h 1418416"/>
                <a:gd name="connsiteX15" fmla="*/ 14491416 w 14491416"/>
                <a:gd name="connsiteY15" fmla="*/ 4247 h 1418416"/>
                <a:gd name="connsiteX16" fmla="*/ 14490735 w 14491416"/>
                <a:gd name="connsiteY16"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299416 w 14491416"/>
                <a:gd name="connsiteY4" fmla="*/ 1239710 h 1418416"/>
                <a:gd name="connsiteX5" fmla="*/ 1570198 w 14491416"/>
                <a:gd name="connsiteY5" fmla="*/ 889756 h 1418416"/>
                <a:gd name="connsiteX6" fmla="*/ 2754284 w 14491416"/>
                <a:gd name="connsiteY6" fmla="*/ 1198555 h 1418416"/>
                <a:gd name="connsiteX7" fmla="*/ 5350534 w 14491416"/>
                <a:gd name="connsiteY7" fmla="*/ 294173 h 1418416"/>
                <a:gd name="connsiteX8" fmla="*/ 8098693 w 14491416"/>
                <a:gd name="connsiteY8" fmla="*/ 1387842 h 1418416"/>
                <a:gd name="connsiteX9" fmla="*/ 10668976 w 14491416"/>
                <a:gd name="connsiteY9" fmla="*/ 958719 h 1418416"/>
                <a:gd name="connsiteX10" fmla="*/ 10768656 w 14491416"/>
                <a:gd name="connsiteY10" fmla="*/ 962514 h 1418416"/>
                <a:gd name="connsiteX11" fmla="*/ 10868337 w 14491416"/>
                <a:gd name="connsiteY11" fmla="*/ 958719 h 1418416"/>
                <a:gd name="connsiteX12" fmla="*/ 13438620 w 14491416"/>
                <a:gd name="connsiteY12" fmla="*/ 1387842 h 1418416"/>
                <a:gd name="connsiteX13" fmla="*/ 14160086 w 14491416"/>
                <a:gd name="connsiteY13" fmla="*/ 1134261 h 1418416"/>
                <a:gd name="connsiteX14" fmla="*/ 14491416 w 14491416"/>
                <a:gd name="connsiteY14" fmla="*/ 967695 h 1418416"/>
                <a:gd name="connsiteX15" fmla="*/ 14491416 w 14491416"/>
                <a:gd name="connsiteY15" fmla="*/ 4247 h 1418416"/>
                <a:gd name="connsiteX16" fmla="*/ 14490735 w 14491416"/>
                <a:gd name="connsiteY16"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299416 w 14491416"/>
                <a:gd name="connsiteY4" fmla="*/ 1239710 h 1418416"/>
                <a:gd name="connsiteX5" fmla="*/ 2754284 w 14491416"/>
                <a:gd name="connsiteY5" fmla="*/ 1198555 h 1418416"/>
                <a:gd name="connsiteX6" fmla="*/ 5350534 w 14491416"/>
                <a:gd name="connsiteY6" fmla="*/ 294173 h 1418416"/>
                <a:gd name="connsiteX7" fmla="*/ 8098693 w 14491416"/>
                <a:gd name="connsiteY7" fmla="*/ 1387842 h 1418416"/>
                <a:gd name="connsiteX8" fmla="*/ 10668976 w 14491416"/>
                <a:gd name="connsiteY8" fmla="*/ 958719 h 1418416"/>
                <a:gd name="connsiteX9" fmla="*/ 10768656 w 14491416"/>
                <a:gd name="connsiteY9" fmla="*/ 962514 h 1418416"/>
                <a:gd name="connsiteX10" fmla="*/ 10868337 w 14491416"/>
                <a:gd name="connsiteY10" fmla="*/ 958719 h 1418416"/>
                <a:gd name="connsiteX11" fmla="*/ 13438620 w 14491416"/>
                <a:gd name="connsiteY11" fmla="*/ 1387842 h 1418416"/>
                <a:gd name="connsiteX12" fmla="*/ 14160086 w 14491416"/>
                <a:gd name="connsiteY12" fmla="*/ 1134261 h 1418416"/>
                <a:gd name="connsiteX13" fmla="*/ 14491416 w 14491416"/>
                <a:gd name="connsiteY13" fmla="*/ 967695 h 1418416"/>
                <a:gd name="connsiteX14" fmla="*/ 14491416 w 14491416"/>
                <a:gd name="connsiteY14" fmla="*/ 4247 h 1418416"/>
                <a:gd name="connsiteX15" fmla="*/ 14490735 w 14491416"/>
                <a:gd name="connsiteY15"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754284 w 14491416"/>
                <a:gd name="connsiteY4" fmla="*/ 1198555 h 1418416"/>
                <a:gd name="connsiteX5" fmla="*/ 5350534 w 14491416"/>
                <a:gd name="connsiteY5" fmla="*/ 294173 h 1418416"/>
                <a:gd name="connsiteX6" fmla="*/ 8098693 w 14491416"/>
                <a:gd name="connsiteY6" fmla="*/ 1387842 h 1418416"/>
                <a:gd name="connsiteX7" fmla="*/ 10668976 w 14491416"/>
                <a:gd name="connsiteY7" fmla="*/ 958719 h 1418416"/>
                <a:gd name="connsiteX8" fmla="*/ 10768656 w 14491416"/>
                <a:gd name="connsiteY8" fmla="*/ 962514 h 1418416"/>
                <a:gd name="connsiteX9" fmla="*/ 10868337 w 14491416"/>
                <a:gd name="connsiteY9" fmla="*/ 958719 h 1418416"/>
                <a:gd name="connsiteX10" fmla="*/ 13438620 w 14491416"/>
                <a:gd name="connsiteY10" fmla="*/ 1387842 h 1418416"/>
                <a:gd name="connsiteX11" fmla="*/ 14160086 w 14491416"/>
                <a:gd name="connsiteY11" fmla="*/ 1134261 h 1418416"/>
                <a:gd name="connsiteX12" fmla="*/ 14491416 w 14491416"/>
                <a:gd name="connsiteY12" fmla="*/ 967695 h 1418416"/>
                <a:gd name="connsiteX13" fmla="*/ 14491416 w 14491416"/>
                <a:gd name="connsiteY13" fmla="*/ 4247 h 1418416"/>
                <a:gd name="connsiteX14" fmla="*/ 14490735 w 14491416"/>
                <a:gd name="connsiteY14"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754284 w 14491416"/>
                <a:gd name="connsiteY4" fmla="*/ 1198555 h 1418416"/>
                <a:gd name="connsiteX5" fmla="*/ 5350534 w 14491416"/>
                <a:gd name="connsiteY5" fmla="*/ 294173 h 1418416"/>
                <a:gd name="connsiteX6" fmla="*/ 8098693 w 14491416"/>
                <a:gd name="connsiteY6" fmla="*/ 1387842 h 1418416"/>
                <a:gd name="connsiteX7" fmla="*/ 10668976 w 14491416"/>
                <a:gd name="connsiteY7" fmla="*/ 958719 h 1418416"/>
                <a:gd name="connsiteX8" fmla="*/ 10768656 w 14491416"/>
                <a:gd name="connsiteY8" fmla="*/ 962514 h 1418416"/>
                <a:gd name="connsiteX9" fmla="*/ 10868337 w 14491416"/>
                <a:gd name="connsiteY9" fmla="*/ 958719 h 1418416"/>
                <a:gd name="connsiteX10" fmla="*/ 13438620 w 14491416"/>
                <a:gd name="connsiteY10" fmla="*/ 1387842 h 1418416"/>
                <a:gd name="connsiteX11" fmla="*/ 14160086 w 14491416"/>
                <a:gd name="connsiteY11" fmla="*/ 1134261 h 1418416"/>
                <a:gd name="connsiteX12" fmla="*/ 14491416 w 14491416"/>
                <a:gd name="connsiteY12" fmla="*/ 967695 h 1418416"/>
                <a:gd name="connsiteX13" fmla="*/ 14491416 w 14491416"/>
                <a:gd name="connsiteY13" fmla="*/ 4247 h 1418416"/>
                <a:gd name="connsiteX14" fmla="*/ 14490735 w 14491416"/>
                <a:gd name="connsiteY14" fmla="*/ 0 h 1418416"/>
                <a:gd name="connsiteX0" fmla="*/ 14576079 w 14576760"/>
                <a:gd name="connsiteY0" fmla="*/ 12301 h 1430717"/>
                <a:gd name="connsiteX1" fmla="*/ 2385441 w 14576760"/>
                <a:gd name="connsiteY1" fmla="*/ 12301 h 1430717"/>
                <a:gd name="connsiteX2" fmla="*/ 2384760 w 14576760"/>
                <a:gd name="connsiteY2" fmla="*/ 16548 h 1430717"/>
                <a:gd name="connsiteX3" fmla="*/ 0 w 14576760"/>
                <a:gd name="connsiteY3" fmla="*/ 0 h 1430717"/>
                <a:gd name="connsiteX4" fmla="*/ 2839628 w 14576760"/>
                <a:gd name="connsiteY4" fmla="*/ 1210856 h 1430717"/>
                <a:gd name="connsiteX5" fmla="*/ 5435878 w 14576760"/>
                <a:gd name="connsiteY5" fmla="*/ 306474 h 1430717"/>
                <a:gd name="connsiteX6" fmla="*/ 8184037 w 14576760"/>
                <a:gd name="connsiteY6" fmla="*/ 1400143 h 1430717"/>
                <a:gd name="connsiteX7" fmla="*/ 10754320 w 14576760"/>
                <a:gd name="connsiteY7" fmla="*/ 971020 h 1430717"/>
                <a:gd name="connsiteX8" fmla="*/ 10854000 w 14576760"/>
                <a:gd name="connsiteY8" fmla="*/ 974815 h 1430717"/>
                <a:gd name="connsiteX9" fmla="*/ 10953681 w 14576760"/>
                <a:gd name="connsiteY9" fmla="*/ 971020 h 1430717"/>
                <a:gd name="connsiteX10" fmla="*/ 13523964 w 14576760"/>
                <a:gd name="connsiteY10" fmla="*/ 1400143 h 1430717"/>
                <a:gd name="connsiteX11" fmla="*/ 14245430 w 14576760"/>
                <a:gd name="connsiteY11" fmla="*/ 1146562 h 1430717"/>
                <a:gd name="connsiteX12" fmla="*/ 14576760 w 14576760"/>
                <a:gd name="connsiteY12" fmla="*/ 979996 h 1430717"/>
                <a:gd name="connsiteX13" fmla="*/ 14576760 w 14576760"/>
                <a:gd name="connsiteY13" fmla="*/ 16548 h 1430717"/>
                <a:gd name="connsiteX14" fmla="*/ 14576079 w 14576760"/>
                <a:gd name="connsiteY14" fmla="*/ 12301 h 1430717"/>
                <a:gd name="connsiteX0" fmla="*/ 14576079 w 14576760"/>
                <a:gd name="connsiteY0" fmla="*/ 12301 h 1430717"/>
                <a:gd name="connsiteX1" fmla="*/ 2385441 w 14576760"/>
                <a:gd name="connsiteY1" fmla="*/ 12301 h 1430717"/>
                <a:gd name="connsiteX2" fmla="*/ 2384760 w 14576760"/>
                <a:gd name="connsiteY2" fmla="*/ 16548 h 1430717"/>
                <a:gd name="connsiteX3" fmla="*/ 0 w 14576760"/>
                <a:gd name="connsiteY3" fmla="*/ 0 h 1430717"/>
                <a:gd name="connsiteX4" fmla="*/ 2839628 w 14576760"/>
                <a:gd name="connsiteY4" fmla="*/ 1210856 h 1430717"/>
                <a:gd name="connsiteX5" fmla="*/ 5435878 w 14576760"/>
                <a:gd name="connsiteY5" fmla="*/ 306474 h 1430717"/>
                <a:gd name="connsiteX6" fmla="*/ 8184037 w 14576760"/>
                <a:gd name="connsiteY6" fmla="*/ 1400143 h 1430717"/>
                <a:gd name="connsiteX7" fmla="*/ 10754320 w 14576760"/>
                <a:gd name="connsiteY7" fmla="*/ 971020 h 1430717"/>
                <a:gd name="connsiteX8" fmla="*/ 10854000 w 14576760"/>
                <a:gd name="connsiteY8" fmla="*/ 974815 h 1430717"/>
                <a:gd name="connsiteX9" fmla="*/ 10953681 w 14576760"/>
                <a:gd name="connsiteY9" fmla="*/ 971020 h 1430717"/>
                <a:gd name="connsiteX10" fmla="*/ 13523964 w 14576760"/>
                <a:gd name="connsiteY10" fmla="*/ 1400143 h 1430717"/>
                <a:gd name="connsiteX11" fmla="*/ 14245430 w 14576760"/>
                <a:gd name="connsiteY11" fmla="*/ 1146562 h 1430717"/>
                <a:gd name="connsiteX12" fmla="*/ 14576760 w 14576760"/>
                <a:gd name="connsiteY12" fmla="*/ 979996 h 1430717"/>
                <a:gd name="connsiteX13" fmla="*/ 14576760 w 14576760"/>
                <a:gd name="connsiteY13" fmla="*/ 16548 h 1430717"/>
                <a:gd name="connsiteX14" fmla="*/ 14576079 w 14576760"/>
                <a:gd name="connsiteY14" fmla="*/ 12301 h 1430717"/>
                <a:gd name="connsiteX0" fmla="*/ 14576079 w 14576760"/>
                <a:gd name="connsiteY0" fmla="*/ 12301 h 1430717"/>
                <a:gd name="connsiteX1" fmla="*/ 2385441 w 14576760"/>
                <a:gd name="connsiteY1" fmla="*/ 12301 h 1430717"/>
                <a:gd name="connsiteX2" fmla="*/ 2384760 w 14576760"/>
                <a:gd name="connsiteY2" fmla="*/ 16548 h 1430717"/>
                <a:gd name="connsiteX3" fmla="*/ 0 w 14576760"/>
                <a:gd name="connsiteY3" fmla="*/ 0 h 1430717"/>
                <a:gd name="connsiteX4" fmla="*/ 2839628 w 14576760"/>
                <a:gd name="connsiteY4" fmla="*/ 1210856 h 1430717"/>
                <a:gd name="connsiteX5" fmla="*/ 5435878 w 14576760"/>
                <a:gd name="connsiteY5" fmla="*/ 306474 h 1430717"/>
                <a:gd name="connsiteX6" fmla="*/ 8184037 w 14576760"/>
                <a:gd name="connsiteY6" fmla="*/ 1400143 h 1430717"/>
                <a:gd name="connsiteX7" fmla="*/ 10754320 w 14576760"/>
                <a:gd name="connsiteY7" fmla="*/ 971020 h 1430717"/>
                <a:gd name="connsiteX8" fmla="*/ 10854000 w 14576760"/>
                <a:gd name="connsiteY8" fmla="*/ 974815 h 1430717"/>
                <a:gd name="connsiteX9" fmla="*/ 10953681 w 14576760"/>
                <a:gd name="connsiteY9" fmla="*/ 971020 h 1430717"/>
                <a:gd name="connsiteX10" fmla="*/ 13523964 w 14576760"/>
                <a:gd name="connsiteY10" fmla="*/ 1400143 h 1430717"/>
                <a:gd name="connsiteX11" fmla="*/ 14245430 w 14576760"/>
                <a:gd name="connsiteY11" fmla="*/ 1146562 h 1430717"/>
                <a:gd name="connsiteX12" fmla="*/ 14576760 w 14576760"/>
                <a:gd name="connsiteY12" fmla="*/ 979996 h 1430717"/>
                <a:gd name="connsiteX13" fmla="*/ 14576760 w 14576760"/>
                <a:gd name="connsiteY13" fmla="*/ 16548 h 1430717"/>
                <a:gd name="connsiteX14" fmla="*/ 14576079 w 14576760"/>
                <a:gd name="connsiteY14" fmla="*/ 12301 h 1430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76760" h="1430717">
                  <a:moveTo>
                    <a:pt x="14576079" y="12301"/>
                  </a:moveTo>
                  <a:lnTo>
                    <a:pt x="2385441" y="12301"/>
                  </a:lnTo>
                  <a:lnTo>
                    <a:pt x="2384760" y="16548"/>
                  </a:lnTo>
                  <a:lnTo>
                    <a:pt x="0" y="0"/>
                  </a:lnTo>
                  <a:cubicBezTo>
                    <a:pt x="1676011" y="306683"/>
                    <a:pt x="1442922" y="1144401"/>
                    <a:pt x="2839628" y="1210856"/>
                  </a:cubicBezTo>
                  <a:cubicBezTo>
                    <a:pt x="4236334" y="1277311"/>
                    <a:pt x="4545143" y="274926"/>
                    <a:pt x="5435878" y="306474"/>
                  </a:cubicBezTo>
                  <a:cubicBezTo>
                    <a:pt x="6326612" y="338022"/>
                    <a:pt x="7194820" y="1193609"/>
                    <a:pt x="8184037" y="1400143"/>
                  </a:cubicBezTo>
                  <a:cubicBezTo>
                    <a:pt x="8987775" y="1567952"/>
                    <a:pt x="10062527" y="991223"/>
                    <a:pt x="10754320" y="971020"/>
                  </a:cubicBezTo>
                  <a:lnTo>
                    <a:pt x="10854000" y="974815"/>
                  </a:lnTo>
                  <a:lnTo>
                    <a:pt x="10953681" y="971020"/>
                  </a:lnTo>
                  <a:cubicBezTo>
                    <a:pt x="11645473" y="991223"/>
                    <a:pt x="12720224" y="1567952"/>
                    <a:pt x="13523964" y="1400143"/>
                  </a:cubicBezTo>
                  <a:cubicBezTo>
                    <a:pt x="13771268" y="1348510"/>
                    <a:pt x="14011009" y="1256311"/>
                    <a:pt x="14245430" y="1146562"/>
                  </a:cubicBezTo>
                  <a:lnTo>
                    <a:pt x="14576760" y="979996"/>
                  </a:lnTo>
                  <a:lnTo>
                    <a:pt x="14576760" y="16548"/>
                  </a:lnTo>
                  <a:lnTo>
                    <a:pt x="14576079" y="12301"/>
                  </a:lnTo>
                  <a:close/>
                </a:path>
              </a:pathLst>
            </a:custGeom>
            <a:gradFill>
              <a:gsLst>
                <a:gs pos="100000">
                  <a:schemeClr val="accent1">
                    <a:alpha val="25000"/>
                  </a:schemeClr>
                </a:gs>
                <a:gs pos="0">
                  <a:schemeClr val="accent2">
                    <a:alpha val="25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p:cNvSpPr/>
            <p:nvPr/>
          </p:nvSpPr>
          <p:spPr>
            <a:xfrm flipH="1">
              <a:off x="-38102" y="-38100"/>
              <a:ext cx="4267202" cy="590868"/>
            </a:xfrm>
            <a:custGeom>
              <a:avLst/>
              <a:gdLst>
                <a:gd name="connsiteX0" fmla="*/ 12191319 w 12192000"/>
                <a:gd name="connsiteY0" fmla="*/ 0 h 1418416"/>
                <a:gd name="connsiteX1" fmla="*/ 681 w 12192000"/>
                <a:gd name="connsiteY1" fmla="*/ 0 h 1418416"/>
                <a:gd name="connsiteX2" fmla="*/ 0 w 12192000"/>
                <a:gd name="connsiteY2" fmla="*/ 4247 h 1418416"/>
                <a:gd name="connsiteX3" fmla="*/ 0 w 12192000"/>
                <a:gd name="connsiteY3" fmla="*/ 1239710 h 1418416"/>
                <a:gd name="connsiteX4" fmla="*/ 64480 w 12192000"/>
                <a:gd name="connsiteY4" fmla="*/ 1240323 h 1418416"/>
                <a:gd name="connsiteX5" fmla="*/ 454868 w 12192000"/>
                <a:gd name="connsiteY5" fmla="*/ 1198555 h 1418416"/>
                <a:gd name="connsiteX6" fmla="*/ 3051118 w 12192000"/>
                <a:gd name="connsiteY6" fmla="*/ 294173 h 1418416"/>
                <a:gd name="connsiteX7" fmla="*/ 5799277 w 12192000"/>
                <a:gd name="connsiteY7" fmla="*/ 1387842 h 1418416"/>
                <a:gd name="connsiteX8" fmla="*/ 8369560 w 12192000"/>
                <a:gd name="connsiteY8" fmla="*/ 958719 h 1418416"/>
                <a:gd name="connsiteX9" fmla="*/ 8469240 w 12192000"/>
                <a:gd name="connsiteY9" fmla="*/ 962514 h 1418416"/>
                <a:gd name="connsiteX10" fmla="*/ 8568921 w 12192000"/>
                <a:gd name="connsiteY10" fmla="*/ 958719 h 1418416"/>
                <a:gd name="connsiteX11" fmla="*/ 11139204 w 12192000"/>
                <a:gd name="connsiteY11" fmla="*/ 1387842 h 1418416"/>
                <a:gd name="connsiteX12" fmla="*/ 11860670 w 12192000"/>
                <a:gd name="connsiteY12" fmla="*/ 1134261 h 1418416"/>
                <a:gd name="connsiteX13" fmla="*/ 12192000 w 12192000"/>
                <a:gd name="connsiteY13" fmla="*/ 967695 h 1418416"/>
                <a:gd name="connsiteX14" fmla="*/ 12192000 w 12192000"/>
                <a:gd name="connsiteY14" fmla="*/ 4247 h 1418416"/>
                <a:gd name="connsiteX0" fmla="*/ 12191319 w 12192000"/>
                <a:gd name="connsiteY0" fmla="*/ 0 h 1418416"/>
                <a:gd name="connsiteX1" fmla="*/ 681 w 12192000"/>
                <a:gd name="connsiteY1" fmla="*/ 0 h 1418416"/>
                <a:gd name="connsiteX2" fmla="*/ 0 w 12192000"/>
                <a:gd name="connsiteY2" fmla="*/ 4247 h 1418416"/>
                <a:gd name="connsiteX3" fmla="*/ 4872 w 12192000"/>
                <a:gd name="connsiteY3" fmla="*/ 461273 h 1418416"/>
                <a:gd name="connsiteX4" fmla="*/ 0 w 12192000"/>
                <a:gd name="connsiteY4" fmla="*/ 1239710 h 1418416"/>
                <a:gd name="connsiteX5" fmla="*/ 64480 w 12192000"/>
                <a:gd name="connsiteY5" fmla="*/ 1240323 h 1418416"/>
                <a:gd name="connsiteX6" fmla="*/ 454868 w 12192000"/>
                <a:gd name="connsiteY6" fmla="*/ 1198555 h 1418416"/>
                <a:gd name="connsiteX7" fmla="*/ 3051118 w 12192000"/>
                <a:gd name="connsiteY7" fmla="*/ 294173 h 1418416"/>
                <a:gd name="connsiteX8" fmla="*/ 5799277 w 12192000"/>
                <a:gd name="connsiteY8" fmla="*/ 1387842 h 1418416"/>
                <a:gd name="connsiteX9" fmla="*/ 8369560 w 12192000"/>
                <a:gd name="connsiteY9" fmla="*/ 958719 h 1418416"/>
                <a:gd name="connsiteX10" fmla="*/ 8469240 w 12192000"/>
                <a:gd name="connsiteY10" fmla="*/ 962514 h 1418416"/>
                <a:gd name="connsiteX11" fmla="*/ 8568921 w 12192000"/>
                <a:gd name="connsiteY11" fmla="*/ 958719 h 1418416"/>
                <a:gd name="connsiteX12" fmla="*/ 11139204 w 12192000"/>
                <a:gd name="connsiteY12" fmla="*/ 1387842 h 1418416"/>
                <a:gd name="connsiteX13" fmla="*/ 11860670 w 12192000"/>
                <a:gd name="connsiteY13" fmla="*/ 1134261 h 1418416"/>
                <a:gd name="connsiteX14" fmla="*/ 12192000 w 12192000"/>
                <a:gd name="connsiteY14" fmla="*/ 967695 h 1418416"/>
                <a:gd name="connsiteX15" fmla="*/ 12192000 w 12192000"/>
                <a:gd name="connsiteY15" fmla="*/ 4247 h 1418416"/>
                <a:gd name="connsiteX16" fmla="*/ 12191319 w 12192000"/>
                <a:gd name="connsiteY16"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299416 w 14491416"/>
                <a:gd name="connsiteY4" fmla="*/ 1239710 h 1418416"/>
                <a:gd name="connsiteX5" fmla="*/ 2363896 w 14491416"/>
                <a:gd name="connsiteY5" fmla="*/ 1240323 h 1418416"/>
                <a:gd name="connsiteX6" fmla="*/ 2754284 w 14491416"/>
                <a:gd name="connsiteY6" fmla="*/ 1198555 h 1418416"/>
                <a:gd name="connsiteX7" fmla="*/ 5350534 w 14491416"/>
                <a:gd name="connsiteY7" fmla="*/ 294173 h 1418416"/>
                <a:gd name="connsiteX8" fmla="*/ 8098693 w 14491416"/>
                <a:gd name="connsiteY8" fmla="*/ 1387842 h 1418416"/>
                <a:gd name="connsiteX9" fmla="*/ 10668976 w 14491416"/>
                <a:gd name="connsiteY9" fmla="*/ 958719 h 1418416"/>
                <a:gd name="connsiteX10" fmla="*/ 10768656 w 14491416"/>
                <a:gd name="connsiteY10" fmla="*/ 962514 h 1418416"/>
                <a:gd name="connsiteX11" fmla="*/ 10868337 w 14491416"/>
                <a:gd name="connsiteY11" fmla="*/ 958719 h 1418416"/>
                <a:gd name="connsiteX12" fmla="*/ 13438620 w 14491416"/>
                <a:gd name="connsiteY12" fmla="*/ 1387842 h 1418416"/>
                <a:gd name="connsiteX13" fmla="*/ 14160086 w 14491416"/>
                <a:gd name="connsiteY13" fmla="*/ 1134261 h 1418416"/>
                <a:gd name="connsiteX14" fmla="*/ 14491416 w 14491416"/>
                <a:gd name="connsiteY14" fmla="*/ 967695 h 1418416"/>
                <a:gd name="connsiteX15" fmla="*/ 14491416 w 14491416"/>
                <a:gd name="connsiteY15" fmla="*/ 4247 h 1418416"/>
                <a:gd name="connsiteX16" fmla="*/ 14490735 w 14491416"/>
                <a:gd name="connsiteY16"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299416 w 14491416"/>
                <a:gd name="connsiteY4" fmla="*/ 1239710 h 1418416"/>
                <a:gd name="connsiteX5" fmla="*/ 1570198 w 14491416"/>
                <a:gd name="connsiteY5" fmla="*/ 889756 h 1418416"/>
                <a:gd name="connsiteX6" fmla="*/ 2754284 w 14491416"/>
                <a:gd name="connsiteY6" fmla="*/ 1198555 h 1418416"/>
                <a:gd name="connsiteX7" fmla="*/ 5350534 w 14491416"/>
                <a:gd name="connsiteY7" fmla="*/ 294173 h 1418416"/>
                <a:gd name="connsiteX8" fmla="*/ 8098693 w 14491416"/>
                <a:gd name="connsiteY8" fmla="*/ 1387842 h 1418416"/>
                <a:gd name="connsiteX9" fmla="*/ 10668976 w 14491416"/>
                <a:gd name="connsiteY9" fmla="*/ 958719 h 1418416"/>
                <a:gd name="connsiteX10" fmla="*/ 10768656 w 14491416"/>
                <a:gd name="connsiteY10" fmla="*/ 962514 h 1418416"/>
                <a:gd name="connsiteX11" fmla="*/ 10868337 w 14491416"/>
                <a:gd name="connsiteY11" fmla="*/ 958719 h 1418416"/>
                <a:gd name="connsiteX12" fmla="*/ 13438620 w 14491416"/>
                <a:gd name="connsiteY12" fmla="*/ 1387842 h 1418416"/>
                <a:gd name="connsiteX13" fmla="*/ 14160086 w 14491416"/>
                <a:gd name="connsiteY13" fmla="*/ 1134261 h 1418416"/>
                <a:gd name="connsiteX14" fmla="*/ 14491416 w 14491416"/>
                <a:gd name="connsiteY14" fmla="*/ 967695 h 1418416"/>
                <a:gd name="connsiteX15" fmla="*/ 14491416 w 14491416"/>
                <a:gd name="connsiteY15" fmla="*/ 4247 h 1418416"/>
                <a:gd name="connsiteX16" fmla="*/ 14490735 w 14491416"/>
                <a:gd name="connsiteY16"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299416 w 14491416"/>
                <a:gd name="connsiteY4" fmla="*/ 1239710 h 1418416"/>
                <a:gd name="connsiteX5" fmla="*/ 2754284 w 14491416"/>
                <a:gd name="connsiteY5" fmla="*/ 1198555 h 1418416"/>
                <a:gd name="connsiteX6" fmla="*/ 5350534 w 14491416"/>
                <a:gd name="connsiteY6" fmla="*/ 294173 h 1418416"/>
                <a:gd name="connsiteX7" fmla="*/ 8098693 w 14491416"/>
                <a:gd name="connsiteY7" fmla="*/ 1387842 h 1418416"/>
                <a:gd name="connsiteX8" fmla="*/ 10668976 w 14491416"/>
                <a:gd name="connsiteY8" fmla="*/ 958719 h 1418416"/>
                <a:gd name="connsiteX9" fmla="*/ 10768656 w 14491416"/>
                <a:gd name="connsiteY9" fmla="*/ 962514 h 1418416"/>
                <a:gd name="connsiteX10" fmla="*/ 10868337 w 14491416"/>
                <a:gd name="connsiteY10" fmla="*/ 958719 h 1418416"/>
                <a:gd name="connsiteX11" fmla="*/ 13438620 w 14491416"/>
                <a:gd name="connsiteY11" fmla="*/ 1387842 h 1418416"/>
                <a:gd name="connsiteX12" fmla="*/ 14160086 w 14491416"/>
                <a:gd name="connsiteY12" fmla="*/ 1134261 h 1418416"/>
                <a:gd name="connsiteX13" fmla="*/ 14491416 w 14491416"/>
                <a:gd name="connsiteY13" fmla="*/ 967695 h 1418416"/>
                <a:gd name="connsiteX14" fmla="*/ 14491416 w 14491416"/>
                <a:gd name="connsiteY14" fmla="*/ 4247 h 1418416"/>
                <a:gd name="connsiteX15" fmla="*/ 14490735 w 14491416"/>
                <a:gd name="connsiteY15"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754284 w 14491416"/>
                <a:gd name="connsiteY4" fmla="*/ 1198555 h 1418416"/>
                <a:gd name="connsiteX5" fmla="*/ 5350534 w 14491416"/>
                <a:gd name="connsiteY5" fmla="*/ 294173 h 1418416"/>
                <a:gd name="connsiteX6" fmla="*/ 8098693 w 14491416"/>
                <a:gd name="connsiteY6" fmla="*/ 1387842 h 1418416"/>
                <a:gd name="connsiteX7" fmla="*/ 10668976 w 14491416"/>
                <a:gd name="connsiteY7" fmla="*/ 958719 h 1418416"/>
                <a:gd name="connsiteX8" fmla="*/ 10768656 w 14491416"/>
                <a:gd name="connsiteY8" fmla="*/ 962514 h 1418416"/>
                <a:gd name="connsiteX9" fmla="*/ 10868337 w 14491416"/>
                <a:gd name="connsiteY9" fmla="*/ 958719 h 1418416"/>
                <a:gd name="connsiteX10" fmla="*/ 13438620 w 14491416"/>
                <a:gd name="connsiteY10" fmla="*/ 1387842 h 1418416"/>
                <a:gd name="connsiteX11" fmla="*/ 14160086 w 14491416"/>
                <a:gd name="connsiteY11" fmla="*/ 1134261 h 1418416"/>
                <a:gd name="connsiteX12" fmla="*/ 14491416 w 14491416"/>
                <a:gd name="connsiteY12" fmla="*/ 967695 h 1418416"/>
                <a:gd name="connsiteX13" fmla="*/ 14491416 w 14491416"/>
                <a:gd name="connsiteY13" fmla="*/ 4247 h 1418416"/>
                <a:gd name="connsiteX14" fmla="*/ 14490735 w 14491416"/>
                <a:gd name="connsiteY14"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754284 w 14491416"/>
                <a:gd name="connsiteY4" fmla="*/ 1198555 h 1418416"/>
                <a:gd name="connsiteX5" fmla="*/ 5350534 w 14491416"/>
                <a:gd name="connsiteY5" fmla="*/ 294173 h 1418416"/>
                <a:gd name="connsiteX6" fmla="*/ 8098693 w 14491416"/>
                <a:gd name="connsiteY6" fmla="*/ 1387842 h 1418416"/>
                <a:gd name="connsiteX7" fmla="*/ 10668976 w 14491416"/>
                <a:gd name="connsiteY7" fmla="*/ 958719 h 1418416"/>
                <a:gd name="connsiteX8" fmla="*/ 10768656 w 14491416"/>
                <a:gd name="connsiteY8" fmla="*/ 962514 h 1418416"/>
                <a:gd name="connsiteX9" fmla="*/ 10868337 w 14491416"/>
                <a:gd name="connsiteY9" fmla="*/ 958719 h 1418416"/>
                <a:gd name="connsiteX10" fmla="*/ 13438620 w 14491416"/>
                <a:gd name="connsiteY10" fmla="*/ 1387842 h 1418416"/>
                <a:gd name="connsiteX11" fmla="*/ 14160086 w 14491416"/>
                <a:gd name="connsiteY11" fmla="*/ 1134261 h 1418416"/>
                <a:gd name="connsiteX12" fmla="*/ 14491416 w 14491416"/>
                <a:gd name="connsiteY12" fmla="*/ 967695 h 1418416"/>
                <a:gd name="connsiteX13" fmla="*/ 14491416 w 14491416"/>
                <a:gd name="connsiteY13" fmla="*/ 4247 h 1418416"/>
                <a:gd name="connsiteX14" fmla="*/ 14490735 w 14491416"/>
                <a:gd name="connsiteY14" fmla="*/ 0 h 1418416"/>
                <a:gd name="connsiteX0" fmla="*/ 14576079 w 14576760"/>
                <a:gd name="connsiteY0" fmla="*/ 12301 h 1430717"/>
                <a:gd name="connsiteX1" fmla="*/ 2385441 w 14576760"/>
                <a:gd name="connsiteY1" fmla="*/ 12301 h 1430717"/>
                <a:gd name="connsiteX2" fmla="*/ 2384760 w 14576760"/>
                <a:gd name="connsiteY2" fmla="*/ 16548 h 1430717"/>
                <a:gd name="connsiteX3" fmla="*/ 0 w 14576760"/>
                <a:gd name="connsiteY3" fmla="*/ 0 h 1430717"/>
                <a:gd name="connsiteX4" fmla="*/ 2839628 w 14576760"/>
                <a:gd name="connsiteY4" fmla="*/ 1210856 h 1430717"/>
                <a:gd name="connsiteX5" fmla="*/ 5435878 w 14576760"/>
                <a:gd name="connsiteY5" fmla="*/ 306474 h 1430717"/>
                <a:gd name="connsiteX6" fmla="*/ 8184037 w 14576760"/>
                <a:gd name="connsiteY6" fmla="*/ 1400143 h 1430717"/>
                <a:gd name="connsiteX7" fmla="*/ 10754320 w 14576760"/>
                <a:gd name="connsiteY7" fmla="*/ 971020 h 1430717"/>
                <a:gd name="connsiteX8" fmla="*/ 10854000 w 14576760"/>
                <a:gd name="connsiteY8" fmla="*/ 974815 h 1430717"/>
                <a:gd name="connsiteX9" fmla="*/ 10953681 w 14576760"/>
                <a:gd name="connsiteY9" fmla="*/ 971020 h 1430717"/>
                <a:gd name="connsiteX10" fmla="*/ 13523964 w 14576760"/>
                <a:gd name="connsiteY10" fmla="*/ 1400143 h 1430717"/>
                <a:gd name="connsiteX11" fmla="*/ 14245430 w 14576760"/>
                <a:gd name="connsiteY11" fmla="*/ 1146562 h 1430717"/>
                <a:gd name="connsiteX12" fmla="*/ 14576760 w 14576760"/>
                <a:gd name="connsiteY12" fmla="*/ 979996 h 1430717"/>
                <a:gd name="connsiteX13" fmla="*/ 14576760 w 14576760"/>
                <a:gd name="connsiteY13" fmla="*/ 16548 h 1430717"/>
                <a:gd name="connsiteX14" fmla="*/ 14576079 w 14576760"/>
                <a:gd name="connsiteY14" fmla="*/ 12301 h 1430717"/>
                <a:gd name="connsiteX0" fmla="*/ 14576079 w 14576760"/>
                <a:gd name="connsiteY0" fmla="*/ 12301 h 1430717"/>
                <a:gd name="connsiteX1" fmla="*/ 2385441 w 14576760"/>
                <a:gd name="connsiteY1" fmla="*/ 12301 h 1430717"/>
                <a:gd name="connsiteX2" fmla="*/ 2384760 w 14576760"/>
                <a:gd name="connsiteY2" fmla="*/ 16548 h 1430717"/>
                <a:gd name="connsiteX3" fmla="*/ 0 w 14576760"/>
                <a:gd name="connsiteY3" fmla="*/ 0 h 1430717"/>
                <a:gd name="connsiteX4" fmla="*/ 2839628 w 14576760"/>
                <a:gd name="connsiteY4" fmla="*/ 1210856 h 1430717"/>
                <a:gd name="connsiteX5" fmla="*/ 5435878 w 14576760"/>
                <a:gd name="connsiteY5" fmla="*/ 306474 h 1430717"/>
                <a:gd name="connsiteX6" fmla="*/ 8184037 w 14576760"/>
                <a:gd name="connsiteY6" fmla="*/ 1400143 h 1430717"/>
                <a:gd name="connsiteX7" fmla="*/ 10754320 w 14576760"/>
                <a:gd name="connsiteY7" fmla="*/ 971020 h 1430717"/>
                <a:gd name="connsiteX8" fmla="*/ 10854000 w 14576760"/>
                <a:gd name="connsiteY8" fmla="*/ 974815 h 1430717"/>
                <a:gd name="connsiteX9" fmla="*/ 10953681 w 14576760"/>
                <a:gd name="connsiteY9" fmla="*/ 971020 h 1430717"/>
                <a:gd name="connsiteX10" fmla="*/ 13523964 w 14576760"/>
                <a:gd name="connsiteY10" fmla="*/ 1400143 h 1430717"/>
                <a:gd name="connsiteX11" fmla="*/ 14245430 w 14576760"/>
                <a:gd name="connsiteY11" fmla="*/ 1146562 h 1430717"/>
                <a:gd name="connsiteX12" fmla="*/ 14576760 w 14576760"/>
                <a:gd name="connsiteY12" fmla="*/ 979996 h 1430717"/>
                <a:gd name="connsiteX13" fmla="*/ 14576760 w 14576760"/>
                <a:gd name="connsiteY13" fmla="*/ 16548 h 1430717"/>
                <a:gd name="connsiteX14" fmla="*/ 14576079 w 14576760"/>
                <a:gd name="connsiteY14" fmla="*/ 12301 h 1430717"/>
                <a:gd name="connsiteX0" fmla="*/ 14576079 w 14576760"/>
                <a:gd name="connsiteY0" fmla="*/ 12301 h 1430717"/>
                <a:gd name="connsiteX1" fmla="*/ 2385441 w 14576760"/>
                <a:gd name="connsiteY1" fmla="*/ 12301 h 1430717"/>
                <a:gd name="connsiteX2" fmla="*/ 2384760 w 14576760"/>
                <a:gd name="connsiteY2" fmla="*/ 16548 h 1430717"/>
                <a:gd name="connsiteX3" fmla="*/ 0 w 14576760"/>
                <a:gd name="connsiteY3" fmla="*/ 0 h 1430717"/>
                <a:gd name="connsiteX4" fmla="*/ 2839628 w 14576760"/>
                <a:gd name="connsiteY4" fmla="*/ 1210856 h 1430717"/>
                <a:gd name="connsiteX5" fmla="*/ 5435878 w 14576760"/>
                <a:gd name="connsiteY5" fmla="*/ 306474 h 1430717"/>
                <a:gd name="connsiteX6" fmla="*/ 8184037 w 14576760"/>
                <a:gd name="connsiteY6" fmla="*/ 1400143 h 1430717"/>
                <a:gd name="connsiteX7" fmla="*/ 10754320 w 14576760"/>
                <a:gd name="connsiteY7" fmla="*/ 971020 h 1430717"/>
                <a:gd name="connsiteX8" fmla="*/ 10854000 w 14576760"/>
                <a:gd name="connsiteY8" fmla="*/ 974815 h 1430717"/>
                <a:gd name="connsiteX9" fmla="*/ 10953681 w 14576760"/>
                <a:gd name="connsiteY9" fmla="*/ 971020 h 1430717"/>
                <a:gd name="connsiteX10" fmla="*/ 13523964 w 14576760"/>
                <a:gd name="connsiteY10" fmla="*/ 1400143 h 1430717"/>
                <a:gd name="connsiteX11" fmla="*/ 14245430 w 14576760"/>
                <a:gd name="connsiteY11" fmla="*/ 1146562 h 1430717"/>
                <a:gd name="connsiteX12" fmla="*/ 14576760 w 14576760"/>
                <a:gd name="connsiteY12" fmla="*/ 979996 h 1430717"/>
                <a:gd name="connsiteX13" fmla="*/ 14576760 w 14576760"/>
                <a:gd name="connsiteY13" fmla="*/ 16548 h 1430717"/>
                <a:gd name="connsiteX14" fmla="*/ 14576079 w 14576760"/>
                <a:gd name="connsiteY14" fmla="*/ 12301 h 1430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76760" h="1430717">
                  <a:moveTo>
                    <a:pt x="14576079" y="12301"/>
                  </a:moveTo>
                  <a:lnTo>
                    <a:pt x="2385441" y="12301"/>
                  </a:lnTo>
                  <a:lnTo>
                    <a:pt x="2384760" y="16548"/>
                  </a:lnTo>
                  <a:lnTo>
                    <a:pt x="0" y="0"/>
                  </a:lnTo>
                  <a:cubicBezTo>
                    <a:pt x="1676011" y="306683"/>
                    <a:pt x="1442922" y="1144401"/>
                    <a:pt x="2839628" y="1210856"/>
                  </a:cubicBezTo>
                  <a:cubicBezTo>
                    <a:pt x="4236334" y="1277311"/>
                    <a:pt x="4545143" y="274926"/>
                    <a:pt x="5435878" y="306474"/>
                  </a:cubicBezTo>
                  <a:cubicBezTo>
                    <a:pt x="6326612" y="338022"/>
                    <a:pt x="7194820" y="1193609"/>
                    <a:pt x="8184037" y="1400143"/>
                  </a:cubicBezTo>
                  <a:cubicBezTo>
                    <a:pt x="8987775" y="1567952"/>
                    <a:pt x="10062527" y="991223"/>
                    <a:pt x="10754320" y="971020"/>
                  </a:cubicBezTo>
                  <a:lnTo>
                    <a:pt x="10854000" y="974815"/>
                  </a:lnTo>
                  <a:lnTo>
                    <a:pt x="10953681" y="971020"/>
                  </a:lnTo>
                  <a:cubicBezTo>
                    <a:pt x="11645473" y="991223"/>
                    <a:pt x="12720224" y="1567952"/>
                    <a:pt x="13523964" y="1400143"/>
                  </a:cubicBezTo>
                  <a:cubicBezTo>
                    <a:pt x="13771268" y="1348510"/>
                    <a:pt x="14011009" y="1256311"/>
                    <a:pt x="14245430" y="1146562"/>
                  </a:cubicBezTo>
                  <a:lnTo>
                    <a:pt x="14576760" y="979996"/>
                  </a:lnTo>
                  <a:lnTo>
                    <a:pt x="14576760" y="16548"/>
                  </a:lnTo>
                  <a:lnTo>
                    <a:pt x="14576079" y="12301"/>
                  </a:lnTo>
                  <a:close/>
                </a:path>
              </a:pathLst>
            </a:custGeom>
            <a:gradFill flip="none" rotWithShape="1">
              <a:gsLst>
                <a:gs pos="100000">
                  <a:schemeClr val="accent1"/>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15"/>
            <p:cNvSpPr/>
            <p:nvPr/>
          </p:nvSpPr>
          <p:spPr>
            <a:xfrm flipV="1">
              <a:off x="-38101" y="-38100"/>
              <a:ext cx="4237399" cy="491881"/>
            </a:xfrm>
            <a:custGeom>
              <a:avLst/>
              <a:gdLst>
                <a:gd name="connsiteX0" fmla="*/ 12192000 w 12192000"/>
                <a:gd name="connsiteY0" fmla="*/ 0 h 1074584"/>
                <a:gd name="connsiteX1" fmla="*/ 1582058 w 12192000"/>
                <a:gd name="connsiteY1" fmla="*/ 0 h 1074584"/>
                <a:gd name="connsiteX2" fmla="*/ 810918 w 12192000"/>
                <a:gd name="connsiteY2" fmla="*/ 0 h 1074584"/>
                <a:gd name="connsiteX3" fmla="*/ 470766 w 12192000"/>
                <a:gd name="connsiteY3" fmla="*/ 0 h 1074584"/>
                <a:gd name="connsiteX4" fmla="*/ 448024 w 12192000"/>
                <a:gd name="connsiteY4" fmla="*/ 0 h 1074584"/>
                <a:gd name="connsiteX5" fmla="*/ 0 w 12192000"/>
                <a:gd name="connsiteY5" fmla="*/ 0 h 1074584"/>
                <a:gd name="connsiteX6" fmla="*/ 0 w 12192000"/>
                <a:gd name="connsiteY6" fmla="*/ 1074584 h 1074584"/>
                <a:gd name="connsiteX7" fmla="*/ 345070 w 12192000"/>
                <a:gd name="connsiteY7" fmla="*/ 1074584 h 1074584"/>
                <a:gd name="connsiteX8" fmla="*/ 1582058 w 12192000"/>
                <a:gd name="connsiteY8" fmla="*/ 1074584 h 1074584"/>
                <a:gd name="connsiteX9" fmla="*/ 12192000 w 12192000"/>
                <a:gd name="connsiteY9" fmla="*/ 1074584 h 1074584"/>
                <a:gd name="connsiteX0" fmla="*/ 12192000 w 12192000"/>
                <a:gd name="connsiteY0" fmla="*/ 0 h 1074584"/>
                <a:gd name="connsiteX1" fmla="*/ 1582058 w 12192000"/>
                <a:gd name="connsiteY1" fmla="*/ 0 h 1074584"/>
                <a:gd name="connsiteX2" fmla="*/ 470766 w 12192000"/>
                <a:gd name="connsiteY2" fmla="*/ 0 h 1074584"/>
                <a:gd name="connsiteX3" fmla="*/ 448024 w 12192000"/>
                <a:gd name="connsiteY3" fmla="*/ 0 h 1074584"/>
                <a:gd name="connsiteX4" fmla="*/ 0 w 12192000"/>
                <a:gd name="connsiteY4" fmla="*/ 0 h 1074584"/>
                <a:gd name="connsiteX5" fmla="*/ 0 w 12192000"/>
                <a:gd name="connsiteY5" fmla="*/ 1074584 h 1074584"/>
                <a:gd name="connsiteX6" fmla="*/ 345070 w 12192000"/>
                <a:gd name="connsiteY6" fmla="*/ 1074584 h 1074584"/>
                <a:gd name="connsiteX7" fmla="*/ 1582058 w 12192000"/>
                <a:gd name="connsiteY7" fmla="*/ 1074584 h 1074584"/>
                <a:gd name="connsiteX8" fmla="*/ 12192000 w 12192000"/>
                <a:gd name="connsiteY8" fmla="*/ 1074584 h 1074584"/>
                <a:gd name="connsiteX9" fmla="*/ 12192000 w 12192000"/>
                <a:gd name="connsiteY9" fmla="*/ 0 h 1074584"/>
                <a:gd name="connsiteX0" fmla="*/ 12192000 w 12192000"/>
                <a:gd name="connsiteY0" fmla="*/ 0 h 1074584"/>
                <a:gd name="connsiteX1" fmla="*/ 1582058 w 12192000"/>
                <a:gd name="connsiteY1" fmla="*/ 0 h 1074584"/>
                <a:gd name="connsiteX2" fmla="*/ 470766 w 12192000"/>
                <a:gd name="connsiteY2" fmla="*/ 0 h 1074584"/>
                <a:gd name="connsiteX3" fmla="*/ 0 w 12192000"/>
                <a:gd name="connsiteY3" fmla="*/ 0 h 1074584"/>
                <a:gd name="connsiteX4" fmla="*/ 0 w 12192000"/>
                <a:gd name="connsiteY4" fmla="*/ 1074584 h 1074584"/>
                <a:gd name="connsiteX5" fmla="*/ 345070 w 12192000"/>
                <a:gd name="connsiteY5" fmla="*/ 1074584 h 1074584"/>
                <a:gd name="connsiteX6" fmla="*/ 1582058 w 12192000"/>
                <a:gd name="connsiteY6" fmla="*/ 1074584 h 1074584"/>
                <a:gd name="connsiteX7" fmla="*/ 12192000 w 12192000"/>
                <a:gd name="connsiteY7" fmla="*/ 1074584 h 1074584"/>
                <a:gd name="connsiteX8" fmla="*/ 12192000 w 12192000"/>
                <a:gd name="connsiteY8"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345070 w 12192000"/>
                <a:gd name="connsiteY4" fmla="*/ 1074584 h 1074584"/>
                <a:gd name="connsiteX5" fmla="*/ 1582058 w 12192000"/>
                <a:gd name="connsiteY5" fmla="*/ 1074584 h 1074584"/>
                <a:gd name="connsiteX6" fmla="*/ 12192000 w 12192000"/>
                <a:gd name="connsiteY6" fmla="*/ 1074584 h 1074584"/>
                <a:gd name="connsiteX7" fmla="*/ 12192000 w 12192000"/>
                <a:gd name="connsiteY7"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1582058 w 12192000"/>
                <a:gd name="connsiteY4" fmla="*/ 1074584 h 1074584"/>
                <a:gd name="connsiteX5" fmla="*/ 12192000 w 12192000"/>
                <a:gd name="connsiteY5" fmla="*/ 1074584 h 1074584"/>
                <a:gd name="connsiteX6" fmla="*/ 12192000 w 12192000"/>
                <a:gd name="connsiteY6"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12192000 w 12192000"/>
                <a:gd name="connsiteY4" fmla="*/ 1074584 h 1074584"/>
                <a:gd name="connsiteX5" fmla="*/ 12192000 w 12192000"/>
                <a:gd name="connsiteY5" fmla="*/ 0 h 1074584"/>
                <a:gd name="connsiteX0" fmla="*/ 12192000 w 12192000"/>
                <a:gd name="connsiteY0" fmla="*/ 0 h 1074584"/>
                <a:gd name="connsiteX1" fmla="*/ 0 w 12192000"/>
                <a:gd name="connsiteY1" fmla="*/ 0 h 1074584"/>
                <a:gd name="connsiteX2" fmla="*/ 0 w 12192000"/>
                <a:gd name="connsiteY2" fmla="*/ 1074584 h 1074584"/>
                <a:gd name="connsiteX3" fmla="*/ 12192000 w 12192000"/>
                <a:gd name="connsiteY3" fmla="*/ 1074584 h 1074584"/>
                <a:gd name="connsiteX4" fmla="*/ 12192000 w 12192000"/>
                <a:gd name="connsiteY4" fmla="*/ 0 h 1074584"/>
                <a:gd name="connsiteX0" fmla="*/ 12192000 w 12192000"/>
                <a:gd name="connsiteY0" fmla="*/ 0 h 1074584"/>
                <a:gd name="connsiteX1" fmla="*/ 1683657 w 12192000"/>
                <a:gd name="connsiteY1" fmla="*/ 0 h 1074584"/>
                <a:gd name="connsiteX2" fmla="*/ 0 w 12192000"/>
                <a:gd name="connsiteY2" fmla="*/ 0 h 1074584"/>
                <a:gd name="connsiteX3" fmla="*/ 0 w 12192000"/>
                <a:gd name="connsiteY3" fmla="*/ 1074584 h 1074584"/>
                <a:gd name="connsiteX4" fmla="*/ 12192000 w 12192000"/>
                <a:gd name="connsiteY4" fmla="*/ 1074584 h 1074584"/>
                <a:gd name="connsiteX5" fmla="*/ 12192000 w 12192000"/>
                <a:gd name="connsiteY5" fmla="*/ 0 h 1074584"/>
                <a:gd name="connsiteX0" fmla="*/ 12192000 w 12192000"/>
                <a:gd name="connsiteY0" fmla="*/ 2595749 h 3670333"/>
                <a:gd name="connsiteX1" fmla="*/ 2989943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2595749 h 3670333"/>
                <a:gd name="connsiteX1" fmla="*/ 2989943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2595749 h 3670333"/>
                <a:gd name="connsiteX1" fmla="*/ 3875315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3134985 h 4209569"/>
                <a:gd name="connsiteX1" fmla="*/ 3875315 w 12192000"/>
                <a:gd name="connsiteY1" fmla="*/ 539236 h 4209569"/>
                <a:gd name="connsiteX2" fmla="*/ 0 w 12192000"/>
                <a:gd name="connsiteY2" fmla="*/ 3134985 h 4209569"/>
                <a:gd name="connsiteX3" fmla="*/ 0 w 12192000"/>
                <a:gd name="connsiteY3" fmla="*/ 4209569 h 4209569"/>
                <a:gd name="connsiteX4" fmla="*/ 12192000 w 12192000"/>
                <a:gd name="connsiteY4" fmla="*/ 4209569 h 4209569"/>
                <a:gd name="connsiteX5" fmla="*/ 12192000 w 12192000"/>
                <a:gd name="connsiteY5" fmla="*/ 3134985 h 4209569"/>
                <a:gd name="connsiteX0" fmla="*/ 12192000 w 12192000"/>
                <a:gd name="connsiteY0" fmla="*/ 2158437 h 3233021"/>
                <a:gd name="connsiteX1" fmla="*/ 5138058 w 12192000"/>
                <a:gd name="connsiteY1" fmla="*/ 679140 h 3233021"/>
                <a:gd name="connsiteX2" fmla="*/ 0 w 12192000"/>
                <a:gd name="connsiteY2" fmla="*/ 2158437 h 3233021"/>
                <a:gd name="connsiteX3" fmla="*/ 0 w 12192000"/>
                <a:gd name="connsiteY3" fmla="*/ 3233021 h 3233021"/>
                <a:gd name="connsiteX4" fmla="*/ 12192000 w 12192000"/>
                <a:gd name="connsiteY4" fmla="*/ 3233021 h 3233021"/>
                <a:gd name="connsiteX5" fmla="*/ 12192000 w 12192000"/>
                <a:gd name="connsiteY5" fmla="*/ 2158437 h 3233021"/>
                <a:gd name="connsiteX0" fmla="*/ 12192000 w 12192000"/>
                <a:gd name="connsiteY0" fmla="*/ 1802920 h 2877504"/>
                <a:gd name="connsiteX1" fmla="*/ 5138058 w 12192000"/>
                <a:gd name="connsiteY1" fmla="*/ 323623 h 2877504"/>
                <a:gd name="connsiteX2" fmla="*/ 0 w 12192000"/>
                <a:gd name="connsiteY2" fmla="*/ 1802920 h 2877504"/>
                <a:gd name="connsiteX3" fmla="*/ 0 w 12192000"/>
                <a:gd name="connsiteY3" fmla="*/ 2877504 h 2877504"/>
                <a:gd name="connsiteX4" fmla="*/ 12192000 w 12192000"/>
                <a:gd name="connsiteY4" fmla="*/ 2877504 h 2877504"/>
                <a:gd name="connsiteX5" fmla="*/ 12192000 w 12192000"/>
                <a:gd name="connsiteY5" fmla="*/ 1802920 h 2877504"/>
                <a:gd name="connsiteX0" fmla="*/ 12192000 w 12192000"/>
                <a:gd name="connsiteY0" fmla="*/ 1802920 h 2877504"/>
                <a:gd name="connsiteX1" fmla="*/ 5138058 w 12192000"/>
                <a:gd name="connsiteY1" fmla="*/ 323623 h 2877504"/>
                <a:gd name="connsiteX2" fmla="*/ 0 w 12192000"/>
                <a:gd name="connsiteY2" fmla="*/ 1802920 h 2877504"/>
                <a:gd name="connsiteX3" fmla="*/ 0 w 12192000"/>
                <a:gd name="connsiteY3" fmla="*/ 2877504 h 2877504"/>
                <a:gd name="connsiteX4" fmla="*/ 12192000 w 12192000"/>
                <a:gd name="connsiteY4" fmla="*/ 2877504 h 2877504"/>
                <a:gd name="connsiteX5" fmla="*/ 12192000 w 12192000"/>
                <a:gd name="connsiteY5" fmla="*/ 1802920 h 2877504"/>
                <a:gd name="connsiteX0" fmla="*/ 12192000 w 12192000"/>
                <a:gd name="connsiteY0" fmla="*/ 1187253 h 2261837"/>
                <a:gd name="connsiteX1" fmla="*/ 4601030 w 12192000"/>
                <a:gd name="connsiteY1" fmla="*/ 433648 h 2261837"/>
                <a:gd name="connsiteX2" fmla="*/ 0 w 12192000"/>
                <a:gd name="connsiteY2" fmla="*/ 1187253 h 2261837"/>
                <a:gd name="connsiteX3" fmla="*/ 0 w 12192000"/>
                <a:gd name="connsiteY3" fmla="*/ 2261837 h 2261837"/>
                <a:gd name="connsiteX4" fmla="*/ 12192000 w 12192000"/>
                <a:gd name="connsiteY4" fmla="*/ 2261837 h 2261837"/>
                <a:gd name="connsiteX5" fmla="*/ 12192000 w 12192000"/>
                <a:gd name="connsiteY5" fmla="*/ 1187253 h 2261837"/>
                <a:gd name="connsiteX0" fmla="*/ 12192000 w 12192000"/>
                <a:gd name="connsiteY0" fmla="*/ 755772 h 1830356"/>
                <a:gd name="connsiteX1" fmla="*/ 6194520 w 12192000"/>
                <a:gd name="connsiteY1" fmla="*/ 534733 h 1830356"/>
                <a:gd name="connsiteX2" fmla="*/ 4601030 w 12192000"/>
                <a:gd name="connsiteY2" fmla="*/ 2167 h 1830356"/>
                <a:gd name="connsiteX3" fmla="*/ 0 w 12192000"/>
                <a:gd name="connsiteY3" fmla="*/ 755772 h 1830356"/>
                <a:gd name="connsiteX4" fmla="*/ 0 w 12192000"/>
                <a:gd name="connsiteY4" fmla="*/ 1830356 h 1830356"/>
                <a:gd name="connsiteX5" fmla="*/ 12192000 w 12192000"/>
                <a:gd name="connsiteY5" fmla="*/ 1830356 h 1830356"/>
                <a:gd name="connsiteX6" fmla="*/ 12192000 w 12192000"/>
                <a:gd name="connsiteY6" fmla="*/ 755772 h 1830356"/>
                <a:gd name="connsiteX0" fmla="*/ 12192000 w 12192000"/>
                <a:gd name="connsiteY0" fmla="*/ 221040 h 1295624"/>
                <a:gd name="connsiteX1" fmla="*/ 6194520 w 12192000"/>
                <a:gd name="connsiteY1" fmla="*/ 1 h 1295624"/>
                <a:gd name="connsiteX2" fmla="*/ 0 w 12192000"/>
                <a:gd name="connsiteY2" fmla="*/ 221040 h 1295624"/>
                <a:gd name="connsiteX3" fmla="*/ 0 w 12192000"/>
                <a:gd name="connsiteY3" fmla="*/ 1295624 h 1295624"/>
                <a:gd name="connsiteX4" fmla="*/ 12192000 w 12192000"/>
                <a:gd name="connsiteY4" fmla="*/ 1295624 h 1295624"/>
                <a:gd name="connsiteX5" fmla="*/ 12192000 w 12192000"/>
                <a:gd name="connsiteY5" fmla="*/ 221040 h 1295624"/>
                <a:gd name="connsiteX0" fmla="*/ 12192000 w 12192000"/>
                <a:gd name="connsiteY0" fmla="*/ 1644514 h 2719098"/>
                <a:gd name="connsiteX1" fmla="*/ 6238063 w 12192000"/>
                <a:gd name="connsiteY1" fmla="*/ 0 h 2719098"/>
                <a:gd name="connsiteX2" fmla="*/ 0 w 12192000"/>
                <a:gd name="connsiteY2" fmla="*/ 1644514 h 2719098"/>
                <a:gd name="connsiteX3" fmla="*/ 0 w 12192000"/>
                <a:gd name="connsiteY3" fmla="*/ 2719098 h 2719098"/>
                <a:gd name="connsiteX4" fmla="*/ 12192000 w 12192000"/>
                <a:gd name="connsiteY4" fmla="*/ 2719098 h 2719098"/>
                <a:gd name="connsiteX5" fmla="*/ 12192000 w 12192000"/>
                <a:gd name="connsiteY5" fmla="*/ 1644514 h 2719098"/>
                <a:gd name="connsiteX0" fmla="*/ 12192000 w 12192000"/>
                <a:gd name="connsiteY0" fmla="*/ 1644514 h 2719098"/>
                <a:gd name="connsiteX1" fmla="*/ 6238063 w 12192000"/>
                <a:gd name="connsiteY1" fmla="*/ 0 h 2719098"/>
                <a:gd name="connsiteX2" fmla="*/ 0 w 12192000"/>
                <a:gd name="connsiteY2" fmla="*/ 1644514 h 2719098"/>
                <a:gd name="connsiteX3" fmla="*/ 0 w 12192000"/>
                <a:gd name="connsiteY3" fmla="*/ 2719098 h 2719098"/>
                <a:gd name="connsiteX4" fmla="*/ 12192000 w 12192000"/>
                <a:gd name="connsiteY4" fmla="*/ 2719098 h 2719098"/>
                <a:gd name="connsiteX5" fmla="*/ 12192000 w 12192000"/>
                <a:gd name="connsiteY5" fmla="*/ 1644514 h 2719098"/>
                <a:gd name="connsiteX0" fmla="*/ 12192000 w 12192000"/>
                <a:gd name="connsiteY0" fmla="*/ 2138436 h 3213020"/>
                <a:gd name="connsiteX1" fmla="*/ 6238063 w 12192000"/>
                <a:gd name="connsiteY1" fmla="*/ 493922 h 3213020"/>
                <a:gd name="connsiteX2" fmla="*/ 0 w 12192000"/>
                <a:gd name="connsiteY2" fmla="*/ 2138436 h 3213020"/>
                <a:gd name="connsiteX3" fmla="*/ 0 w 12192000"/>
                <a:gd name="connsiteY3" fmla="*/ 3213020 h 3213020"/>
                <a:gd name="connsiteX4" fmla="*/ 12192000 w 12192000"/>
                <a:gd name="connsiteY4" fmla="*/ 3213020 h 3213020"/>
                <a:gd name="connsiteX5" fmla="*/ 12192000 w 12192000"/>
                <a:gd name="connsiteY5" fmla="*/ 2138436 h 3213020"/>
                <a:gd name="connsiteX0" fmla="*/ 12192000 w 12192000"/>
                <a:gd name="connsiteY0" fmla="*/ 2044923 h 3119507"/>
                <a:gd name="connsiteX1" fmla="*/ 6238063 w 12192000"/>
                <a:gd name="connsiteY1" fmla="*/ 400409 h 3119507"/>
                <a:gd name="connsiteX2" fmla="*/ 3727091 w 12192000"/>
                <a:gd name="connsiteY2" fmla="*/ 121296 h 3119507"/>
                <a:gd name="connsiteX3" fmla="*/ 0 w 12192000"/>
                <a:gd name="connsiteY3" fmla="*/ 2044923 h 3119507"/>
                <a:gd name="connsiteX4" fmla="*/ 0 w 12192000"/>
                <a:gd name="connsiteY4" fmla="*/ 3119507 h 3119507"/>
                <a:gd name="connsiteX5" fmla="*/ 12192000 w 12192000"/>
                <a:gd name="connsiteY5" fmla="*/ 3119507 h 3119507"/>
                <a:gd name="connsiteX6" fmla="*/ 12192000 w 12192000"/>
                <a:gd name="connsiteY6" fmla="*/ 2044923 h 3119507"/>
                <a:gd name="connsiteX0" fmla="*/ 12192000 w 12192000"/>
                <a:gd name="connsiteY0" fmla="*/ 1652861 h 2727445"/>
                <a:gd name="connsiteX1" fmla="*/ 6238063 w 12192000"/>
                <a:gd name="connsiteY1" fmla="*/ 8347 h 2727445"/>
                <a:gd name="connsiteX2" fmla="*/ 3538406 w 12192000"/>
                <a:gd name="connsiteY2" fmla="*/ 1041063 h 2727445"/>
                <a:gd name="connsiteX3" fmla="*/ 0 w 12192000"/>
                <a:gd name="connsiteY3" fmla="*/ 1652861 h 2727445"/>
                <a:gd name="connsiteX4" fmla="*/ 0 w 12192000"/>
                <a:gd name="connsiteY4" fmla="*/ 2727445 h 2727445"/>
                <a:gd name="connsiteX5" fmla="*/ 12192000 w 12192000"/>
                <a:gd name="connsiteY5" fmla="*/ 2727445 h 2727445"/>
                <a:gd name="connsiteX6" fmla="*/ 12192000 w 12192000"/>
                <a:gd name="connsiteY6" fmla="*/ 1652861 h 2727445"/>
                <a:gd name="connsiteX0" fmla="*/ 12192000 w 12192000"/>
                <a:gd name="connsiteY0" fmla="*/ 1655532 h 2730116"/>
                <a:gd name="connsiteX1" fmla="*/ 8894177 w 12192000"/>
                <a:gd name="connsiteY1" fmla="*/ 569243 h 2730116"/>
                <a:gd name="connsiteX2" fmla="*/ 6238063 w 12192000"/>
                <a:gd name="connsiteY2" fmla="*/ 11018 h 2730116"/>
                <a:gd name="connsiteX3" fmla="*/ 3538406 w 12192000"/>
                <a:gd name="connsiteY3" fmla="*/ 1043734 h 2730116"/>
                <a:gd name="connsiteX4" fmla="*/ 0 w 12192000"/>
                <a:gd name="connsiteY4" fmla="*/ 1655532 h 2730116"/>
                <a:gd name="connsiteX5" fmla="*/ 0 w 12192000"/>
                <a:gd name="connsiteY5" fmla="*/ 2730116 h 2730116"/>
                <a:gd name="connsiteX6" fmla="*/ 12192000 w 12192000"/>
                <a:gd name="connsiteY6" fmla="*/ 2730116 h 2730116"/>
                <a:gd name="connsiteX7" fmla="*/ 12192000 w 12192000"/>
                <a:gd name="connsiteY7" fmla="*/ 1655532 h 2730116"/>
                <a:gd name="connsiteX0" fmla="*/ 12192000 w 12192000"/>
                <a:gd name="connsiteY0" fmla="*/ 1658292 h 2732876"/>
                <a:gd name="connsiteX1" fmla="*/ 8749034 w 12192000"/>
                <a:gd name="connsiteY1" fmla="*/ 1855923 h 2732876"/>
                <a:gd name="connsiteX2" fmla="*/ 6238063 w 12192000"/>
                <a:gd name="connsiteY2" fmla="*/ 13778 h 2732876"/>
                <a:gd name="connsiteX3" fmla="*/ 3538406 w 12192000"/>
                <a:gd name="connsiteY3" fmla="*/ 1046494 h 2732876"/>
                <a:gd name="connsiteX4" fmla="*/ 0 w 12192000"/>
                <a:gd name="connsiteY4" fmla="*/ 1658292 h 2732876"/>
                <a:gd name="connsiteX5" fmla="*/ 0 w 12192000"/>
                <a:gd name="connsiteY5" fmla="*/ 2732876 h 2732876"/>
                <a:gd name="connsiteX6" fmla="*/ 12192000 w 12192000"/>
                <a:gd name="connsiteY6" fmla="*/ 2732876 h 2732876"/>
                <a:gd name="connsiteX7" fmla="*/ 12192000 w 12192000"/>
                <a:gd name="connsiteY7" fmla="*/ 1658292 h 2732876"/>
                <a:gd name="connsiteX0" fmla="*/ 12192000 w 12192000"/>
                <a:gd name="connsiteY0" fmla="*/ 780671 h 1855255"/>
                <a:gd name="connsiteX1" fmla="*/ 8749034 w 12192000"/>
                <a:gd name="connsiteY1" fmla="*/ 978302 h 1855255"/>
                <a:gd name="connsiteX2" fmla="*/ 6034863 w 12192000"/>
                <a:gd name="connsiteY2" fmla="*/ 140965 h 1855255"/>
                <a:gd name="connsiteX3" fmla="*/ 3538406 w 12192000"/>
                <a:gd name="connsiteY3" fmla="*/ 168873 h 1855255"/>
                <a:gd name="connsiteX4" fmla="*/ 0 w 12192000"/>
                <a:gd name="connsiteY4" fmla="*/ 780671 h 1855255"/>
                <a:gd name="connsiteX5" fmla="*/ 0 w 12192000"/>
                <a:gd name="connsiteY5" fmla="*/ 1855255 h 1855255"/>
                <a:gd name="connsiteX6" fmla="*/ 12192000 w 12192000"/>
                <a:gd name="connsiteY6" fmla="*/ 1855255 h 1855255"/>
                <a:gd name="connsiteX7" fmla="*/ 12192000 w 12192000"/>
                <a:gd name="connsiteY7" fmla="*/ 780671 h 1855255"/>
                <a:gd name="connsiteX0" fmla="*/ 12192000 w 12192000"/>
                <a:gd name="connsiteY0" fmla="*/ 641773 h 1716357"/>
                <a:gd name="connsiteX1" fmla="*/ 8749034 w 12192000"/>
                <a:gd name="connsiteY1" fmla="*/ 839404 h 1716357"/>
                <a:gd name="connsiteX2" fmla="*/ 6034863 w 12192000"/>
                <a:gd name="connsiteY2" fmla="*/ 2067 h 1716357"/>
                <a:gd name="connsiteX3" fmla="*/ 3132006 w 12192000"/>
                <a:gd name="connsiteY3" fmla="*/ 1090602 h 1716357"/>
                <a:gd name="connsiteX4" fmla="*/ 0 w 12192000"/>
                <a:gd name="connsiteY4" fmla="*/ 641773 h 1716357"/>
                <a:gd name="connsiteX5" fmla="*/ 0 w 12192000"/>
                <a:gd name="connsiteY5" fmla="*/ 1716357 h 1716357"/>
                <a:gd name="connsiteX6" fmla="*/ 12192000 w 12192000"/>
                <a:gd name="connsiteY6" fmla="*/ 1716357 h 1716357"/>
                <a:gd name="connsiteX7" fmla="*/ 12192000 w 12192000"/>
                <a:gd name="connsiteY7" fmla="*/ 641773 h 1716357"/>
                <a:gd name="connsiteX0" fmla="*/ 12192000 w 12192000"/>
                <a:gd name="connsiteY0" fmla="*/ 1003870 h 2078454"/>
                <a:gd name="connsiteX1" fmla="*/ 8749034 w 12192000"/>
                <a:gd name="connsiteY1" fmla="*/ 1201501 h 2078454"/>
                <a:gd name="connsiteX2" fmla="*/ 6020349 w 12192000"/>
                <a:gd name="connsiteY2" fmla="*/ 1317 h 2078454"/>
                <a:gd name="connsiteX3" fmla="*/ 3132006 w 12192000"/>
                <a:gd name="connsiteY3" fmla="*/ 1452699 h 2078454"/>
                <a:gd name="connsiteX4" fmla="*/ 0 w 12192000"/>
                <a:gd name="connsiteY4" fmla="*/ 1003870 h 2078454"/>
                <a:gd name="connsiteX5" fmla="*/ 0 w 12192000"/>
                <a:gd name="connsiteY5" fmla="*/ 2078454 h 2078454"/>
                <a:gd name="connsiteX6" fmla="*/ 12192000 w 12192000"/>
                <a:gd name="connsiteY6" fmla="*/ 2078454 h 2078454"/>
                <a:gd name="connsiteX7" fmla="*/ 12192000 w 12192000"/>
                <a:gd name="connsiteY7" fmla="*/ 1003870 h 2078454"/>
                <a:gd name="connsiteX0" fmla="*/ 12192000 w 14474952"/>
                <a:gd name="connsiteY0" fmla="*/ 1003870 h 2105637"/>
                <a:gd name="connsiteX1" fmla="*/ 8749034 w 14474952"/>
                <a:gd name="connsiteY1" fmla="*/ 1201501 h 2105637"/>
                <a:gd name="connsiteX2" fmla="*/ 6020349 w 14474952"/>
                <a:gd name="connsiteY2" fmla="*/ 1317 h 2105637"/>
                <a:gd name="connsiteX3" fmla="*/ 3132006 w 14474952"/>
                <a:gd name="connsiteY3" fmla="*/ 1452699 h 2105637"/>
                <a:gd name="connsiteX4" fmla="*/ 0 w 14474952"/>
                <a:gd name="connsiteY4" fmla="*/ 1003870 h 2105637"/>
                <a:gd name="connsiteX5" fmla="*/ 0 w 14474952"/>
                <a:gd name="connsiteY5" fmla="*/ 2078454 h 2105637"/>
                <a:gd name="connsiteX6" fmla="*/ 14474952 w 14474952"/>
                <a:gd name="connsiteY6" fmla="*/ 2105637 h 2105637"/>
                <a:gd name="connsiteX7" fmla="*/ 12192000 w 14474952"/>
                <a:gd name="connsiteY7" fmla="*/ 1003870 h 2105637"/>
                <a:gd name="connsiteX0" fmla="*/ 12192000 w 14474952"/>
                <a:gd name="connsiteY0" fmla="*/ 1003870 h 2105637"/>
                <a:gd name="connsiteX1" fmla="*/ 8749034 w 14474952"/>
                <a:gd name="connsiteY1" fmla="*/ 1201501 h 2105637"/>
                <a:gd name="connsiteX2" fmla="*/ 6020349 w 14474952"/>
                <a:gd name="connsiteY2" fmla="*/ 1317 h 2105637"/>
                <a:gd name="connsiteX3" fmla="*/ 3132006 w 14474952"/>
                <a:gd name="connsiteY3" fmla="*/ 1452699 h 2105637"/>
                <a:gd name="connsiteX4" fmla="*/ 0 w 14474952"/>
                <a:gd name="connsiteY4" fmla="*/ 1003870 h 2105637"/>
                <a:gd name="connsiteX5" fmla="*/ 0 w 14474952"/>
                <a:gd name="connsiteY5" fmla="*/ 2078454 h 2105637"/>
                <a:gd name="connsiteX6" fmla="*/ 14474952 w 14474952"/>
                <a:gd name="connsiteY6" fmla="*/ 2105637 h 2105637"/>
                <a:gd name="connsiteX7" fmla="*/ 12192000 w 14474952"/>
                <a:gd name="connsiteY7" fmla="*/ 1003870 h 2105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4952" h="2105637">
                  <a:moveTo>
                    <a:pt x="12192000" y="1003870"/>
                  </a:moveTo>
                  <a:cubicBezTo>
                    <a:pt x="11642363" y="643725"/>
                    <a:pt x="9741357" y="1475587"/>
                    <a:pt x="8749034" y="1201501"/>
                  </a:cubicBezTo>
                  <a:cubicBezTo>
                    <a:pt x="7756711" y="927415"/>
                    <a:pt x="6956520" y="-40549"/>
                    <a:pt x="6020349" y="1317"/>
                  </a:cubicBezTo>
                  <a:cubicBezTo>
                    <a:pt x="5084178" y="43183"/>
                    <a:pt x="4171683" y="1178613"/>
                    <a:pt x="3132006" y="1452699"/>
                  </a:cubicBezTo>
                  <a:cubicBezTo>
                    <a:pt x="2092329" y="1726785"/>
                    <a:pt x="621182" y="504168"/>
                    <a:pt x="0" y="1003870"/>
                  </a:cubicBezTo>
                  <a:lnTo>
                    <a:pt x="0" y="2078454"/>
                  </a:lnTo>
                  <a:lnTo>
                    <a:pt x="14474952" y="2105637"/>
                  </a:lnTo>
                  <a:cubicBezTo>
                    <a:pt x="12881865" y="1792746"/>
                    <a:pt x="12952984" y="1371126"/>
                    <a:pt x="12192000" y="1003870"/>
                  </a:cubicBezTo>
                  <a:close/>
                </a:path>
              </a:pathLst>
            </a:custGeom>
            <a:solidFill>
              <a:schemeClr val="accent3">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extLst>
      <p:ext uri="{BB962C8B-B14F-4D97-AF65-F5344CB8AC3E}">
        <p14:creationId xmlns:p14="http://schemas.microsoft.com/office/powerpoint/2010/main" val="3277689918"/>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0_Blank">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5925256" y="2"/>
            <a:ext cx="6266745" cy="6857999"/>
          </a:xfrm>
          <a:custGeom>
            <a:avLst/>
            <a:gdLst>
              <a:gd name="connsiteX0" fmla="*/ 1232079 w 6266745"/>
              <a:gd name="connsiteY0" fmla="*/ 0 h 6857999"/>
              <a:gd name="connsiteX1" fmla="*/ 6266745 w 6266745"/>
              <a:gd name="connsiteY1" fmla="*/ 6087 h 6857999"/>
              <a:gd name="connsiteX2" fmla="*/ 6266745 w 6266745"/>
              <a:gd name="connsiteY2" fmla="*/ 6857999 h 6857999"/>
              <a:gd name="connsiteX3" fmla="*/ 1232077 w 6266745"/>
              <a:gd name="connsiteY3" fmla="*/ 6857999 h 6857999"/>
              <a:gd name="connsiteX4" fmla="*/ 1169564 w 6266745"/>
              <a:gd name="connsiteY4" fmla="*/ 6811581 h 6857999"/>
              <a:gd name="connsiteX5" fmla="*/ 1909110 w 6266745"/>
              <a:gd name="connsiteY5" fmla="*/ 5485631 h 6857999"/>
              <a:gd name="connsiteX6" fmla="*/ 16261 w 6266745"/>
              <a:gd name="connsiteY6" fmla="*/ 4137385 h 6857999"/>
              <a:gd name="connsiteX7" fmla="*/ 976698 w 6266745"/>
              <a:gd name="connsiteY7" fmla="*/ 3060228 h 6857999"/>
              <a:gd name="connsiteX8" fmla="*/ 476135 w 6266745"/>
              <a:gd name="connsiteY8" fmla="*/ 2162803 h 6857999"/>
              <a:gd name="connsiteX9" fmla="*/ 1509875 w 6266745"/>
              <a:gd name="connsiteY9" fmla="*/ 1936668 h 6857999"/>
              <a:gd name="connsiteX10" fmla="*/ 1232079 w 6266745"/>
              <a:gd name="connsiteY10"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66745" h="6857999">
                <a:moveTo>
                  <a:pt x="1232079" y="0"/>
                </a:moveTo>
                <a:lnTo>
                  <a:pt x="6266745" y="6087"/>
                </a:lnTo>
                <a:lnTo>
                  <a:pt x="6266745" y="6857999"/>
                </a:lnTo>
                <a:lnTo>
                  <a:pt x="1232077" y="6857999"/>
                </a:lnTo>
                <a:lnTo>
                  <a:pt x="1169564" y="6811581"/>
                </a:lnTo>
                <a:cubicBezTo>
                  <a:pt x="951972" y="6553013"/>
                  <a:pt x="2099082" y="5910727"/>
                  <a:pt x="1909110" y="5485631"/>
                </a:cubicBezTo>
                <a:cubicBezTo>
                  <a:pt x="1706474" y="5032195"/>
                  <a:pt x="171663" y="4541619"/>
                  <a:pt x="16261" y="4137385"/>
                </a:cubicBezTo>
                <a:cubicBezTo>
                  <a:pt x="-139142" y="3733152"/>
                  <a:pt x="867819" y="3278353"/>
                  <a:pt x="976698" y="3060228"/>
                </a:cubicBezTo>
                <a:cubicBezTo>
                  <a:pt x="1085578" y="2842103"/>
                  <a:pt x="269716" y="2272865"/>
                  <a:pt x="476135" y="2162803"/>
                </a:cubicBezTo>
                <a:cubicBezTo>
                  <a:pt x="682555" y="2052741"/>
                  <a:pt x="1383885" y="2297136"/>
                  <a:pt x="1509875" y="1936668"/>
                </a:cubicBezTo>
                <a:cubicBezTo>
                  <a:pt x="1635866" y="1576202"/>
                  <a:pt x="725849" y="309170"/>
                  <a:pt x="1232079" y="0"/>
                </a:cubicBezTo>
                <a:close/>
              </a:path>
            </a:pathLst>
          </a:custGeom>
          <a:solidFill>
            <a:schemeClr val="bg1">
              <a:lumMod val="85000"/>
            </a:schemeClr>
          </a:solidFill>
        </p:spPr>
        <p:txBody>
          <a:bodyPr wrap="square">
            <a:noAutofit/>
          </a:bodyPr>
          <a:lstStyle>
            <a:lvl1pPr marL="0" indent="0">
              <a:buNone/>
              <a:defRPr sz="2000"/>
            </a:lvl1pPr>
          </a:lstStyle>
          <a:p>
            <a:endParaRPr lang="en-US"/>
          </a:p>
        </p:txBody>
      </p:sp>
      <p:sp>
        <p:nvSpPr>
          <p:cNvPr id="5" name="Title 1"/>
          <p:cNvSpPr>
            <a:spLocks noGrp="1"/>
          </p:cNvSpPr>
          <p:nvPr>
            <p:ph type="title"/>
          </p:nvPr>
        </p:nvSpPr>
        <p:spPr>
          <a:xfrm>
            <a:off x="838200" y="365125"/>
            <a:ext cx="3835400" cy="2581275"/>
          </a:xfrm>
          <a:prstGeom prst="rect">
            <a:avLst/>
          </a:prstGeom>
        </p:spPr>
        <p:txBody>
          <a:bodyPr>
            <a:normAutofit/>
          </a:bodyPr>
          <a:lstStyle>
            <a:lvl1pPr>
              <a:defRPr sz="4800"/>
            </a:lvl1pPr>
          </a:lstStyle>
          <a:p>
            <a:r>
              <a:rPr lang="en-US" dirty="0"/>
              <a:t>Click to edit Master title style</a:t>
            </a:r>
          </a:p>
        </p:txBody>
      </p:sp>
      <p:sp>
        <p:nvSpPr>
          <p:cNvPr id="6" name="Content Placeholder 2"/>
          <p:cNvSpPr>
            <a:spLocks noGrp="1"/>
          </p:cNvSpPr>
          <p:nvPr>
            <p:ph idx="1"/>
          </p:nvPr>
        </p:nvSpPr>
        <p:spPr>
          <a:xfrm>
            <a:off x="838200" y="3035301"/>
            <a:ext cx="4927600" cy="3141662"/>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1" name="Group 10"/>
          <p:cNvGrpSpPr/>
          <p:nvPr userDrawn="1"/>
        </p:nvGrpSpPr>
        <p:grpSpPr>
          <a:xfrm flipH="1">
            <a:off x="-46625" y="5602511"/>
            <a:ext cx="12238623" cy="1270002"/>
            <a:chOff x="-46623" y="5681807"/>
            <a:chExt cx="12238623" cy="1176193"/>
          </a:xfrm>
        </p:grpSpPr>
        <p:sp>
          <p:nvSpPr>
            <p:cNvPr id="12" name="Freeform 11"/>
            <p:cNvSpPr/>
            <p:nvPr/>
          </p:nvSpPr>
          <p:spPr>
            <a:xfrm>
              <a:off x="-46623" y="5843625"/>
              <a:ext cx="12192000" cy="1014375"/>
            </a:xfrm>
            <a:custGeom>
              <a:avLst/>
              <a:gdLst>
                <a:gd name="connsiteX0" fmla="*/ 12192000 w 12192000"/>
                <a:gd name="connsiteY0" fmla="*/ 0 h 1074584"/>
                <a:gd name="connsiteX1" fmla="*/ 1582058 w 12192000"/>
                <a:gd name="connsiteY1" fmla="*/ 0 h 1074584"/>
                <a:gd name="connsiteX2" fmla="*/ 810918 w 12192000"/>
                <a:gd name="connsiteY2" fmla="*/ 0 h 1074584"/>
                <a:gd name="connsiteX3" fmla="*/ 470766 w 12192000"/>
                <a:gd name="connsiteY3" fmla="*/ 0 h 1074584"/>
                <a:gd name="connsiteX4" fmla="*/ 448024 w 12192000"/>
                <a:gd name="connsiteY4" fmla="*/ 0 h 1074584"/>
                <a:gd name="connsiteX5" fmla="*/ 0 w 12192000"/>
                <a:gd name="connsiteY5" fmla="*/ 0 h 1074584"/>
                <a:gd name="connsiteX6" fmla="*/ 0 w 12192000"/>
                <a:gd name="connsiteY6" fmla="*/ 1074584 h 1074584"/>
                <a:gd name="connsiteX7" fmla="*/ 345070 w 12192000"/>
                <a:gd name="connsiteY7" fmla="*/ 1074584 h 1074584"/>
                <a:gd name="connsiteX8" fmla="*/ 1582058 w 12192000"/>
                <a:gd name="connsiteY8" fmla="*/ 1074584 h 1074584"/>
                <a:gd name="connsiteX9" fmla="*/ 12192000 w 12192000"/>
                <a:gd name="connsiteY9" fmla="*/ 1074584 h 1074584"/>
                <a:gd name="connsiteX0" fmla="*/ 12192000 w 12192000"/>
                <a:gd name="connsiteY0" fmla="*/ 0 h 1074584"/>
                <a:gd name="connsiteX1" fmla="*/ 1582058 w 12192000"/>
                <a:gd name="connsiteY1" fmla="*/ 0 h 1074584"/>
                <a:gd name="connsiteX2" fmla="*/ 470766 w 12192000"/>
                <a:gd name="connsiteY2" fmla="*/ 0 h 1074584"/>
                <a:gd name="connsiteX3" fmla="*/ 448024 w 12192000"/>
                <a:gd name="connsiteY3" fmla="*/ 0 h 1074584"/>
                <a:gd name="connsiteX4" fmla="*/ 0 w 12192000"/>
                <a:gd name="connsiteY4" fmla="*/ 0 h 1074584"/>
                <a:gd name="connsiteX5" fmla="*/ 0 w 12192000"/>
                <a:gd name="connsiteY5" fmla="*/ 1074584 h 1074584"/>
                <a:gd name="connsiteX6" fmla="*/ 345070 w 12192000"/>
                <a:gd name="connsiteY6" fmla="*/ 1074584 h 1074584"/>
                <a:gd name="connsiteX7" fmla="*/ 1582058 w 12192000"/>
                <a:gd name="connsiteY7" fmla="*/ 1074584 h 1074584"/>
                <a:gd name="connsiteX8" fmla="*/ 12192000 w 12192000"/>
                <a:gd name="connsiteY8" fmla="*/ 1074584 h 1074584"/>
                <a:gd name="connsiteX9" fmla="*/ 12192000 w 12192000"/>
                <a:gd name="connsiteY9" fmla="*/ 0 h 1074584"/>
                <a:gd name="connsiteX0" fmla="*/ 12192000 w 12192000"/>
                <a:gd name="connsiteY0" fmla="*/ 0 h 1074584"/>
                <a:gd name="connsiteX1" fmla="*/ 1582058 w 12192000"/>
                <a:gd name="connsiteY1" fmla="*/ 0 h 1074584"/>
                <a:gd name="connsiteX2" fmla="*/ 470766 w 12192000"/>
                <a:gd name="connsiteY2" fmla="*/ 0 h 1074584"/>
                <a:gd name="connsiteX3" fmla="*/ 0 w 12192000"/>
                <a:gd name="connsiteY3" fmla="*/ 0 h 1074584"/>
                <a:gd name="connsiteX4" fmla="*/ 0 w 12192000"/>
                <a:gd name="connsiteY4" fmla="*/ 1074584 h 1074584"/>
                <a:gd name="connsiteX5" fmla="*/ 345070 w 12192000"/>
                <a:gd name="connsiteY5" fmla="*/ 1074584 h 1074584"/>
                <a:gd name="connsiteX6" fmla="*/ 1582058 w 12192000"/>
                <a:gd name="connsiteY6" fmla="*/ 1074584 h 1074584"/>
                <a:gd name="connsiteX7" fmla="*/ 12192000 w 12192000"/>
                <a:gd name="connsiteY7" fmla="*/ 1074584 h 1074584"/>
                <a:gd name="connsiteX8" fmla="*/ 12192000 w 12192000"/>
                <a:gd name="connsiteY8"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345070 w 12192000"/>
                <a:gd name="connsiteY4" fmla="*/ 1074584 h 1074584"/>
                <a:gd name="connsiteX5" fmla="*/ 1582058 w 12192000"/>
                <a:gd name="connsiteY5" fmla="*/ 1074584 h 1074584"/>
                <a:gd name="connsiteX6" fmla="*/ 12192000 w 12192000"/>
                <a:gd name="connsiteY6" fmla="*/ 1074584 h 1074584"/>
                <a:gd name="connsiteX7" fmla="*/ 12192000 w 12192000"/>
                <a:gd name="connsiteY7"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1582058 w 12192000"/>
                <a:gd name="connsiteY4" fmla="*/ 1074584 h 1074584"/>
                <a:gd name="connsiteX5" fmla="*/ 12192000 w 12192000"/>
                <a:gd name="connsiteY5" fmla="*/ 1074584 h 1074584"/>
                <a:gd name="connsiteX6" fmla="*/ 12192000 w 12192000"/>
                <a:gd name="connsiteY6"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12192000 w 12192000"/>
                <a:gd name="connsiteY4" fmla="*/ 1074584 h 1074584"/>
                <a:gd name="connsiteX5" fmla="*/ 12192000 w 12192000"/>
                <a:gd name="connsiteY5" fmla="*/ 0 h 1074584"/>
                <a:gd name="connsiteX0" fmla="*/ 12192000 w 12192000"/>
                <a:gd name="connsiteY0" fmla="*/ 0 h 1074584"/>
                <a:gd name="connsiteX1" fmla="*/ 0 w 12192000"/>
                <a:gd name="connsiteY1" fmla="*/ 0 h 1074584"/>
                <a:gd name="connsiteX2" fmla="*/ 0 w 12192000"/>
                <a:gd name="connsiteY2" fmla="*/ 1074584 h 1074584"/>
                <a:gd name="connsiteX3" fmla="*/ 12192000 w 12192000"/>
                <a:gd name="connsiteY3" fmla="*/ 1074584 h 1074584"/>
                <a:gd name="connsiteX4" fmla="*/ 12192000 w 12192000"/>
                <a:gd name="connsiteY4" fmla="*/ 0 h 1074584"/>
                <a:gd name="connsiteX0" fmla="*/ 12192000 w 12192000"/>
                <a:gd name="connsiteY0" fmla="*/ 0 h 1074584"/>
                <a:gd name="connsiteX1" fmla="*/ 1683657 w 12192000"/>
                <a:gd name="connsiteY1" fmla="*/ 0 h 1074584"/>
                <a:gd name="connsiteX2" fmla="*/ 0 w 12192000"/>
                <a:gd name="connsiteY2" fmla="*/ 0 h 1074584"/>
                <a:gd name="connsiteX3" fmla="*/ 0 w 12192000"/>
                <a:gd name="connsiteY3" fmla="*/ 1074584 h 1074584"/>
                <a:gd name="connsiteX4" fmla="*/ 12192000 w 12192000"/>
                <a:gd name="connsiteY4" fmla="*/ 1074584 h 1074584"/>
                <a:gd name="connsiteX5" fmla="*/ 12192000 w 12192000"/>
                <a:gd name="connsiteY5" fmla="*/ 0 h 1074584"/>
                <a:gd name="connsiteX0" fmla="*/ 12192000 w 12192000"/>
                <a:gd name="connsiteY0" fmla="*/ 2595749 h 3670333"/>
                <a:gd name="connsiteX1" fmla="*/ 2989943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2595749 h 3670333"/>
                <a:gd name="connsiteX1" fmla="*/ 2989943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2595749 h 3670333"/>
                <a:gd name="connsiteX1" fmla="*/ 3875315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3134985 h 4209569"/>
                <a:gd name="connsiteX1" fmla="*/ 3875315 w 12192000"/>
                <a:gd name="connsiteY1" fmla="*/ 539236 h 4209569"/>
                <a:gd name="connsiteX2" fmla="*/ 0 w 12192000"/>
                <a:gd name="connsiteY2" fmla="*/ 3134985 h 4209569"/>
                <a:gd name="connsiteX3" fmla="*/ 0 w 12192000"/>
                <a:gd name="connsiteY3" fmla="*/ 4209569 h 4209569"/>
                <a:gd name="connsiteX4" fmla="*/ 12192000 w 12192000"/>
                <a:gd name="connsiteY4" fmla="*/ 4209569 h 4209569"/>
                <a:gd name="connsiteX5" fmla="*/ 12192000 w 12192000"/>
                <a:gd name="connsiteY5" fmla="*/ 3134985 h 4209569"/>
                <a:gd name="connsiteX0" fmla="*/ 12192000 w 12192000"/>
                <a:gd name="connsiteY0" fmla="*/ 2158437 h 3233021"/>
                <a:gd name="connsiteX1" fmla="*/ 5138058 w 12192000"/>
                <a:gd name="connsiteY1" fmla="*/ 679140 h 3233021"/>
                <a:gd name="connsiteX2" fmla="*/ 0 w 12192000"/>
                <a:gd name="connsiteY2" fmla="*/ 2158437 h 3233021"/>
                <a:gd name="connsiteX3" fmla="*/ 0 w 12192000"/>
                <a:gd name="connsiteY3" fmla="*/ 3233021 h 3233021"/>
                <a:gd name="connsiteX4" fmla="*/ 12192000 w 12192000"/>
                <a:gd name="connsiteY4" fmla="*/ 3233021 h 3233021"/>
                <a:gd name="connsiteX5" fmla="*/ 12192000 w 12192000"/>
                <a:gd name="connsiteY5" fmla="*/ 2158437 h 3233021"/>
                <a:gd name="connsiteX0" fmla="*/ 12192000 w 12192000"/>
                <a:gd name="connsiteY0" fmla="*/ 1802920 h 2877504"/>
                <a:gd name="connsiteX1" fmla="*/ 5138058 w 12192000"/>
                <a:gd name="connsiteY1" fmla="*/ 323623 h 2877504"/>
                <a:gd name="connsiteX2" fmla="*/ 0 w 12192000"/>
                <a:gd name="connsiteY2" fmla="*/ 1802920 h 2877504"/>
                <a:gd name="connsiteX3" fmla="*/ 0 w 12192000"/>
                <a:gd name="connsiteY3" fmla="*/ 2877504 h 2877504"/>
                <a:gd name="connsiteX4" fmla="*/ 12192000 w 12192000"/>
                <a:gd name="connsiteY4" fmla="*/ 2877504 h 2877504"/>
                <a:gd name="connsiteX5" fmla="*/ 12192000 w 12192000"/>
                <a:gd name="connsiteY5" fmla="*/ 1802920 h 2877504"/>
                <a:gd name="connsiteX0" fmla="*/ 12192000 w 12192000"/>
                <a:gd name="connsiteY0" fmla="*/ 1802920 h 2877504"/>
                <a:gd name="connsiteX1" fmla="*/ 5138058 w 12192000"/>
                <a:gd name="connsiteY1" fmla="*/ 323623 h 2877504"/>
                <a:gd name="connsiteX2" fmla="*/ 0 w 12192000"/>
                <a:gd name="connsiteY2" fmla="*/ 1802920 h 2877504"/>
                <a:gd name="connsiteX3" fmla="*/ 0 w 12192000"/>
                <a:gd name="connsiteY3" fmla="*/ 2877504 h 2877504"/>
                <a:gd name="connsiteX4" fmla="*/ 12192000 w 12192000"/>
                <a:gd name="connsiteY4" fmla="*/ 2877504 h 2877504"/>
                <a:gd name="connsiteX5" fmla="*/ 12192000 w 12192000"/>
                <a:gd name="connsiteY5" fmla="*/ 1802920 h 2877504"/>
                <a:gd name="connsiteX0" fmla="*/ 12192000 w 12192000"/>
                <a:gd name="connsiteY0" fmla="*/ 1187253 h 2261837"/>
                <a:gd name="connsiteX1" fmla="*/ 4601030 w 12192000"/>
                <a:gd name="connsiteY1" fmla="*/ 433648 h 2261837"/>
                <a:gd name="connsiteX2" fmla="*/ 0 w 12192000"/>
                <a:gd name="connsiteY2" fmla="*/ 1187253 h 2261837"/>
                <a:gd name="connsiteX3" fmla="*/ 0 w 12192000"/>
                <a:gd name="connsiteY3" fmla="*/ 2261837 h 2261837"/>
                <a:gd name="connsiteX4" fmla="*/ 12192000 w 12192000"/>
                <a:gd name="connsiteY4" fmla="*/ 2261837 h 2261837"/>
                <a:gd name="connsiteX5" fmla="*/ 12192000 w 12192000"/>
                <a:gd name="connsiteY5" fmla="*/ 1187253 h 2261837"/>
                <a:gd name="connsiteX0" fmla="*/ 12192000 w 12192000"/>
                <a:gd name="connsiteY0" fmla="*/ 1416635 h 2491219"/>
                <a:gd name="connsiteX1" fmla="*/ 2772230 w 12192000"/>
                <a:gd name="connsiteY1" fmla="*/ 383918 h 2491219"/>
                <a:gd name="connsiteX2" fmla="*/ 0 w 12192000"/>
                <a:gd name="connsiteY2" fmla="*/ 1416635 h 2491219"/>
                <a:gd name="connsiteX3" fmla="*/ 0 w 12192000"/>
                <a:gd name="connsiteY3" fmla="*/ 2491219 h 2491219"/>
                <a:gd name="connsiteX4" fmla="*/ 12192000 w 12192000"/>
                <a:gd name="connsiteY4" fmla="*/ 2491219 h 2491219"/>
                <a:gd name="connsiteX5" fmla="*/ 12192000 w 12192000"/>
                <a:gd name="connsiteY5" fmla="*/ 1416635 h 2491219"/>
                <a:gd name="connsiteX0" fmla="*/ 12192000 w 12192000"/>
                <a:gd name="connsiteY0" fmla="*/ 1047619 h 2122203"/>
                <a:gd name="connsiteX1" fmla="*/ 2772230 w 12192000"/>
                <a:gd name="connsiteY1" fmla="*/ 14902 h 2122203"/>
                <a:gd name="connsiteX2" fmla="*/ 0 w 12192000"/>
                <a:gd name="connsiteY2" fmla="*/ 1047619 h 2122203"/>
                <a:gd name="connsiteX3" fmla="*/ 0 w 12192000"/>
                <a:gd name="connsiteY3" fmla="*/ 2122203 h 2122203"/>
                <a:gd name="connsiteX4" fmla="*/ 12192000 w 12192000"/>
                <a:gd name="connsiteY4" fmla="*/ 2122203 h 2122203"/>
                <a:gd name="connsiteX5" fmla="*/ 12192000 w 12192000"/>
                <a:gd name="connsiteY5" fmla="*/ 1047619 h 2122203"/>
                <a:gd name="connsiteX0" fmla="*/ 12192000 w 12192000"/>
                <a:gd name="connsiteY0" fmla="*/ 1157066 h 2231650"/>
                <a:gd name="connsiteX1" fmla="*/ 2264230 w 12192000"/>
                <a:gd name="connsiteY1" fmla="*/ 12704 h 2231650"/>
                <a:gd name="connsiteX2" fmla="*/ 0 w 12192000"/>
                <a:gd name="connsiteY2" fmla="*/ 1157066 h 2231650"/>
                <a:gd name="connsiteX3" fmla="*/ 0 w 12192000"/>
                <a:gd name="connsiteY3" fmla="*/ 2231650 h 2231650"/>
                <a:gd name="connsiteX4" fmla="*/ 12192000 w 12192000"/>
                <a:gd name="connsiteY4" fmla="*/ 2231650 h 2231650"/>
                <a:gd name="connsiteX5" fmla="*/ 12192000 w 12192000"/>
                <a:gd name="connsiteY5" fmla="*/ 1157066 h 2231650"/>
                <a:gd name="connsiteX0" fmla="*/ 12192000 w 12192000"/>
                <a:gd name="connsiteY0" fmla="*/ 1453594 h 2528178"/>
                <a:gd name="connsiteX1" fmla="*/ 2264230 w 12192000"/>
                <a:gd name="connsiteY1" fmla="*/ 309232 h 2528178"/>
                <a:gd name="connsiteX2" fmla="*/ 0 w 12192000"/>
                <a:gd name="connsiteY2" fmla="*/ 1453594 h 2528178"/>
                <a:gd name="connsiteX3" fmla="*/ 0 w 12192000"/>
                <a:gd name="connsiteY3" fmla="*/ 2528178 h 2528178"/>
                <a:gd name="connsiteX4" fmla="*/ 12192000 w 12192000"/>
                <a:gd name="connsiteY4" fmla="*/ 2528178 h 2528178"/>
                <a:gd name="connsiteX5" fmla="*/ 12192000 w 12192000"/>
                <a:gd name="connsiteY5" fmla="*/ 1453594 h 2528178"/>
                <a:gd name="connsiteX0" fmla="*/ 12192000 w 12192000"/>
                <a:gd name="connsiteY0" fmla="*/ 1152032 h 2226616"/>
                <a:gd name="connsiteX1" fmla="*/ 2264230 w 12192000"/>
                <a:gd name="connsiteY1" fmla="*/ 7670 h 2226616"/>
                <a:gd name="connsiteX2" fmla="*/ 0 w 12192000"/>
                <a:gd name="connsiteY2" fmla="*/ 1152032 h 2226616"/>
                <a:gd name="connsiteX3" fmla="*/ 0 w 12192000"/>
                <a:gd name="connsiteY3" fmla="*/ 2226616 h 2226616"/>
                <a:gd name="connsiteX4" fmla="*/ 12192000 w 12192000"/>
                <a:gd name="connsiteY4" fmla="*/ 2226616 h 2226616"/>
                <a:gd name="connsiteX5" fmla="*/ 12192000 w 12192000"/>
                <a:gd name="connsiteY5" fmla="*/ 1152032 h 2226616"/>
                <a:gd name="connsiteX0" fmla="*/ 12192000 w 12192000"/>
                <a:gd name="connsiteY0" fmla="*/ 1288113 h 2362697"/>
                <a:gd name="connsiteX1" fmla="*/ 2264230 w 12192000"/>
                <a:gd name="connsiteY1" fmla="*/ 143751 h 2362697"/>
                <a:gd name="connsiteX2" fmla="*/ 0 w 12192000"/>
                <a:gd name="connsiteY2" fmla="*/ 1288113 h 2362697"/>
                <a:gd name="connsiteX3" fmla="*/ 0 w 12192000"/>
                <a:gd name="connsiteY3" fmla="*/ 2362697 h 2362697"/>
                <a:gd name="connsiteX4" fmla="*/ 12192000 w 12192000"/>
                <a:gd name="connsiteY4" fmla="*/ 2362697 h 2362697"/>
                <a:gd name="connsiteX5" fmla="*/ 12192000 w 12192000"/>
                <a:gd name="connsiteY5" fmla="*/ 1288113 h 2362697"/>
                <a:gd name="connsiteX0" fmla="*/ 12192000 w 12192000"/>
                <a:gd name="connsiteY0" fmla="*/ 1270706 h 2345290"/>
                <a:gd name="connsiteX1" fmla="*/ 2264230 w 12192000"/>
                <a:gd name="connsiteY1" fmla="*/ 126344 h 2345290"/>
                <a:gd name="connsiteX2" fmla="*/ 0 w 12192000"/>
                <a:gd name="connsiteY2" fmla="*/ 1270706 h 2345290"/>
                <a:gd name="connsiteX3" fmla="*/ 0 w 12192000"/>
                <a:gd name="connsiteY3" fmla="*/ 2345290 h 2345290"/>
                <a:gd name="connsiteX4" fmla="*/ 12192000 w 12192000"/>
                <a:gd name="connsiteY4" fmla="*/ 2345290 h 2345290"/>
                <a:gd name="connsiteX5" fmla="*/ 12192000 w 12192000"/>
                <a:gd name="connsiteY5" fmla="*/ 1270706 h 2345290"/>
                <a:gd name="connsiteX0" fmla="*/ 12192000 w 12192000"/>
                <a:gd name="connsiteY0" fmla="*/ 1144362 h 2218946"/>
                <a:gd name="connsiteX1" fmla="*/ 2264230 w 12192000"/>
                <a:gd name="connsiteY1" fmla="*/ 0 h 2218946"/>
                <a:gd name="connsiteX2" fmla="*/ 0 w 12192000"/>
                <a:gd name="connsiteY2" fmla="*/ 1144362 h 2218946"/>
                <a:gd name="connsiteX3" fmla="*/ 0 w 12192000"/>
                <a:gd name="connsiteY3" fmla="*/ 2218946 h 2218946"/>
                <a:gd name="connsiteX4" fmla="*/ 12192000 w 12192000"/>
                <a:gd name="connsiteY4" fmla="*/ 2218946 h 2218946"/>
                <a:gd name="connsiteX5" fmla="*/ 12192000 w 12192000"/>
                <a:gd name="connsiteY5" fmla="*/ 1144362 h 2218946"/>
                <a:gd name="connsiteX0" fmla="*/ 12192000 w 12192000"/>
                <a:gd name="connsiteY0" fmla="*/ 1144362 h 2218946"/>
                <a:gd name="connsiteX1" fmla="*/ 2264230 w 12192000"/>
                <a:gd name="connsiteY1" fmla="*/ 0 h 2218946"/>
                <a:gd name="connsiteX2" fmla="*/ 0 w 12192000"/>
                <a:gd name="connsiteY2" fmla="*/ 1144362 h 2218946"/>
                <a:gd name="connsiteX3" fmla="*/ 0 w 12192000"/>
                <a:gd name="connsiteY3" fmla="*/ 2218946 h 2218946"/>
                <a:gd name="connsiteX4" fmla="*/ 12192000 w 12192000"/>
                <a:gd name="connsiteY4" fmla="*/ 2218946 h 2218946"/>
                <a:gd name="connsiteX5" fmla="*/ 12192000 w 12192000"/>
                <a:gd name="connsiteY5" fmla="*/ 1144362 h 2218946"/>
                <a:gd name="connsiteX0" fmla="*/ 12192000 w 12192000"/>
                <a:gd name="connsiteY0" fmla="*/ 1157573 h 2232157"/>
                <a:gd name="connsiteX1" fmla="*/ 2264230 w 12192000"/>
                <a:gd name="connsiteY1" fmla="*/ 13211 h 2232157"/>
                <a:gd name="connsiteX2" fmla="*/ 0 w 12192000"/>
                <a:gd name="connsiteY2" fmla="*/ 1157573 h 2232157"/>
                <a:gd name="connsiteX3" fmla="*/ 0 w 12192000"/>
                <a:gd name="connsiteY3" fmla="*/ 2232157 h 2232157"/>
                <a:gd name="connsiteX4" fmla="*/ 12192000 w 12192000"/>
                <a:gd name="connsiteY4" fmla="*/ 2232157 h 2232157"/>
                <a:gd name="connsiteX5" fmla="*/ 12192000 w 12192000"/>
                <a:gd name="connsiteY5" fmla="*/ 1157573 h 2232157"/>
                <a:gd name="connsiteX0" fmla="*/ 12192000 w 12192000"/>
                <a:gd name="connsiteY0" fmla="*/ 134324 h 1208908"/>
                <a:gd name="connsiteX1" fmla="*/ 0 w 12192000"/>
                <a:gd name="connsiteY1" fmla="*/ 134324 h 1208908"/>
                <a:gd name="connsiteX2" fmla="*/ 0 w 12192000"/>
                <a:gd name="connsiteY2" fmla="*/ 1208908 h 1208908"/>
                <a:gd name="connsiteX3" fmla="*/ 12192000 w 12192000"/>
                <a:gd name="connsiteY3" fmla="*/ 1208908 h 1208908"/>
                <a:gd name="connsiteX4" fmla="*/ 12192000 w 12192000"/>
                <a:gd name="connsiteY4" fmla="*/ 134324 h 1208908"/>
                <a:gd name="connsiteX0" fmla="*/ 12284079 w 12284079"/>
                <a:gd name="connsiteY0" fmla="*/ 114569 h 1189153"/>
                <a:gd name="connsiteX1" fmla="*/ 1285331 w 12284079"/>
                <a:gd name="connsiteY1" fmla="*/ 30832 h 1189153"/>
                <a:gd name="connsiteX2" fmla="*/ 92079 w 12284079"/>
                <a:gd name="connsiteY2" fmla="*/ 114569 h 1189153"/>
                <a:gd name="connsiteX3" fmla="*/ 92079 w 12284079"/>
                <a:gd name="connsiteY3" fmla="*/ 1189153 h 1189153"/>
                <a:gd name="connsiteX4" fmla="*/ 12284079 w 12284079"/>
                <a:gd name="connsiteY4" fmla="*/ 1189153 h 1189153"/>
                <a:gd name="connsiteX5" fmla="*/ 12284079 w 12284079"/>
                <a:gd name="connsiteY5" fmla="*/ 114569 h 1189153"/>
                <a:gd name="connsiteX0" fmla="*/ 12192000 w 12192000"/>
                <a:gd name="connsiteY0" fmla="*/ 614051 h 1688635"/>
                <a:gd name="connsiteX1" fmla="*/ 1672224 w 12192000"/>
                <a:gd name="connsiteY1" fmla="*/ 0 h 1688635"/>
                <a:gd name="connsiteX2" fmla="*/ 0 w 12192000"/>
                <a:gd name="connsiteY2" fmla="*/ 614051 h 1688635"/>
                <a:gd name="connsiteX3" fmla="*/ 0 w 12192000"/>
                <a:gd name="connsiteY3" fmla="*/ 1688635 h 1688635"/>
                <a:gd name="connsiteX4" fmla="*/ 12192000 w 12192000"/>
                <a:gd name="connsiteY4" fmla="*/ 1688635 h 1688635"/>
                <a:gd name="connsiteX5" fmla="*/ 12192000 w 12192000"/>
                <a:gd name="connsiteY5" fmla="*/ 614051 h 1688635"/>
                <a:gd name="connsiteX0" fmla="*/ 12192000 w 12192000"/>
                <a:gd name="connsiteY0" fmla="*/ 865252 h 1939836"/>
                <a:gd name="connsiteX1" fmla="*/ 1991538 w 12192000"/>
                <a:gd name="connsiteY1" fmla="*/ 0 h 1939836"/>
                <a:gd name="connsiteX2" fmla="*/ 0 w 12192000"/>
                <a:gd name="connsiteY2" fmla="*/ 865252 h 1939836"/>
                <a:gd name="connsiteX3" fmla="*/ 0 w 12192000"/>
                <a:gd name="connsiteY3" fmla="*/ 1939836 h 1939836"/>
                <a:gd name="connsiteX4" fmla="*/ 12192000 w 12192000"/>
                <a:gd name="connsiteY4" fmla="*/ 1939836 h 1939836"/>
                <a:gd name="connsiteX5" fmla="*/ 12192000 w 12192000"/>
                <a:gd name="connsiteY5" fmla="*/ 865252 h 1939836"/>
                <a:gd name="connsiteX0" fmla="*/ 12192000 w 12192000"/>
                <a:gd name="connsiteY0" fmla="*/ 876082 h 1950666"/>
                <a:gd name="connsiteX1" fmla="*/ 1991538 w 12192000"/>
                <a:gd name="connsiteY1" fmla="*/ 10830 h 1950666"/>
                <a:gd name="connsiteX2" fmla="*/ 0 w 12192000"/>
                <a:gd name="connsiteY2" fmla="*/ 876082 h 1950666"/>
                <a:gd name="connsiteX3" fmla="*/ 0 w 12192000"/>
                <a:gd name="connsiteY3" fmla="*/ 1950666 h 1950666"/>
                <a:gd name="connsiteX4" fmla="*/ 12192000 w 12192000"/>
                <a:gd name="connsiteY4" fmla="*/ 1950666 h 1950666"/>
                <a:gd name="connsiteX5" fmla="*/ 12192000 w 12192000"/>
                <a:gd name="connsiteY5" fmla="*/ 876082 h 1950666"/>
                <a:gd name="connsiteX0" fmla="*/ 12192000 w 12192000"/>
                <a:gd name="connsiteY0" fmla="*/ 876082 h 1950666"/>
                <a:gd name="connsiteX1" fmla="*/ 1991538 w 12192000"/>
                <a:gd name="connsiteY1" fmla="*/ 10830 h 1950666"/>
                <a:gd name="connsiteX2" fmla="*/ 0 w 12192000"/>
                <a:gd name="connsiteY2" fmla="*/ 876082 h 1950666"/>
                <a:gd name="connsiteX3" fmla="*/ 0 w 12192000"/>
                <a:gd name="connsiteY3" fmla="*/ 1950666 h 1950666"/>
                <a:gd name="connsiteX4" fmla="*/ 12192000 w 12192000"/>
                <a:gd name="connsiteY4" fmla="*/ 1950666 h 1950666"/>
                <a:gd name="connsiteX5" fmla="*/ 12192000 w 12192000"/>
                <a:gd name="connsiteY5" fmla="*/ 876082 h 1950666"/>
                <a:gd name="connsiteX0" fmla="*/ 12192000 w 12192000"/>
                <a:gd name="connsiteY0" fmla="*/ 876082 h 1950666"/>
                <a:gd name="connsiteX1" fmla="*/ 1991538 w 12192000"/>
                <a:gd name="connsiteY1" fmla="*/ 10830 h 1950666"/>
                <a:gd name="connsiteX2" fmla="*/ 0 w 12192000"/>
                <a:gd name="connsiteY2" fmla="*/ 876082 h 1950666"/>
                <a:gd name="connsiteX3" fmla="*/ 0 w 12192000"/>
                <a:gd name="connsiteY3" fmla="*/ 1950666 h 1950666"/>
                <a:gd name="connsiteX4" fmla="*/ 12192000 w 12192000"/>
                <a:gd name="connsiteY4" fmla="*/ 1950666 h 1950666"/>
                <a:gd name="connsiteX5" fmla="*/ 12192000 w 12192000"/>
                <a:gd name="connsiteY5" fmla="*/ 876082 h 195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950666">
                  <a:moveTo>
                    <a:pt x="12192000" y="876082"/>
                  </a:moveTo>
                  <a:cubicBezTo>
                    <a:pt x="8588132" y="1995707"/>
                    <a:pt x="3921938" y="1099371"/>
                    <a:pt x="1991538" y="10830"/>
                  </a:cubicBezTo>
                  <a:cubicBezTo>
                    <a:pt x="1338395" y="-100815"/>
                    <a:pt x="198875" y="683029"/>
                    <a:pt x="0" y="876082"/>
                  </a:cubicBezTo>
                  <a:lnTo>
                    <a:pt x="0" y="1950666"/>
                  </a:lnTo>
                  <a:lnTo>
                    <a:pt x="12192000" y="1950666"/>
                  </a:lnTo>
                  <a:lnTo>
                    <a:pt x="12192000" y="876082"/>
                  </a:lnTo>
                  <a:close/>
                </a:path>
              </a:pathLst>
            </a:custGeom>
            <a:solidFill>
              <a:srgbClr val="8C37A4">
                <a:alpha val="2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Freeform 12"/>
            <p:cNvSpPr/>
            <p:nvPr/>
          </p:nvSpPr>
          <p:spPr>
            <a:xfrm flipH="1">
              <a:off x="0" y="5681807"/>
              <a:ext cx="12192000" cy="1176190"/>
            </a:xfrm>
            <a:custGeom>
              <a:avLst/>
              <a:gdLst>
                <a:gd name="connsiteX0" fmla="*/ 12192000 w 12192000"/>
                <a:gd name="connsiteY0" fmla="*/ 0 h 1074584"/>
                <a:gd name="connsiteX1" fmla="*/ 1582058 w 12192000"/>
                <a:gd name="connsiteY1" fmla="*/ 0 h 1074584"/>
                <a:gd name="connsiteX2" fmla="*/ 810918 w 12192000"/>
                <a:gd name="connsiteY2" fmla="*/ 0 h 1074584"/>
                <a:gd name="connsiteX3" fmla="*/ 470766 w 12192000"/>
                <a:gd name="connsiteY3" fmla="*/ 0 h 1074584"/>
                <a:gd name="connsiteX4" fmla="*/ 448024 w 12192000"/>
                <a:gd name="connsiteY4" fmla="*/ 0 h 1074584"/>
                <a:gd name="connsiteX5" fmla="*/ 0 w 12192000"/>
                <a:gd name="connsiteY5" fmla="*/ 0 h 1074584"/>
                <a:gd name="connsiteX6" fmla="*/ 0 w 12192000"/>
                <a:gd name="connsiteY6" fmla="*/ 1074584 h 1074584"/>
                <a:gd name="connsiteX7" fmla="*/ 345070 w 12192000"/>
                <a:gd name="connsiteY7" fmla="*/ 1074584 h 1074584"/>
                <a:gd name="connsiteX8" fmla="*/ 1582058 w 12192000"/>
                <a:gd name="connsiteY8" fmla="*/ 1074584 h 1074584"/>
                <a:gd name="connsiteX9" fmla="*/ 12192000 w 12192000"/>
                <a:gd name="connsiteY9" fmla="*/ 1074584 h 1074584"/>
                <a:gd name="connsiteX0" fmla="*/ 12192000 w 12192000"/>
                <a:gd name="connsiteY0" fmla="*/ 0 h 1074584"/>
                <a:gd name="connsiteX1" fmla="*/ 1582058 w 12192000"/>
                <a:gd name="connsiteY1" fmla="*/ 0 h 1074584"/>
                <a:gd name="connsiteX2" fmla="*/ 470766 w 12192000"/>
                <a:gd name="connsiteY2" fmla="*/ 0 h 1074584"/>
                <a:gd name="connsiteX3" fmla="*/ 448024 w 12192000"/>
                <a:gd name="connsiteY3" fmla="*/ 0 h 1074584"/>
                <a:gd name="connsiteX4" fmla="*/ 0 w 12192000"/>
                <a:gd name="connsiteY4" fmla="*/ 0 h 1074584"/>
                <a:gd name="connsiteX5" fmla="*/ 0 w 12192000"/>
                <a:gd name="connsiteY5" fmla="*/ 1074584 h 1074584"/>
                <a:gd name="connsiteX6" fmla="*/ 345070 w 12192000"/>
                <a:gd name="connsiteY6" fmla="*/ 1074584 h 1074584"/>
                <a:gd name="connsiteX7" fmla="*/ 1582058 w 12192000"/>
                <a:gd name="connsiteY7" fmla="*/ 1074584 h 1074584"/>
                <a:gd name="connsiteX8" fmla="*/ 12192000 w 12192000"/>
                <a:gd name="connsiteY8" fmla="*/ 1074584 h 1074584"/>
                <a:gd name="connsiteX9" fmla="*/ 12192000 w 12192000"/>
                <a:gd name="connsiteY9" fmla="*/ 0 h 1074584"/>
                <a:gd name="connsiteX0" fmla="*/ 12192000 w 12192000"/>
                <a:gd name="connsiteY0" fmla="*/ 0 h 1074584"/>
                <a:gd name="connsiteX1" fmla="*/ 1582058 w 12192000"/>
                <a:gd name="connsiteY1" fmla="*/ 0 h 1074584"/>
                <a:gd name="connsiteX2" fmla="*/ 470766 w 12192000"/>
                <a:gd name="connsiteY2" fmla="*/ 0 h 1074584"/>
                <a:gd name="connsiteX3" fmla="*/ 0 w 12192000"/>
                <a:gd name="connsiteY3" fmla="*/ 0 h 1074584"/>
                <a:gd name="connsiteX4" fmla="*/ 0 w 12192000"/>
                <a:gd name="connsiteY4" fmla="*/ 1074584 h 1074584"/>
                <a:gd name="connsiteX5" fmla="*/ 345070 w 12192000"/>
                <a:gd name="connsiteY5" fmla="*/ 1074584 h 1074584"/>
                <a:gd name="connsiteX6" fmla="*/ 1582058 w 12192000"/>
                <a:gd name="connsiteY6" fmla="*/ 1074584 h 1074584"/>
                <a:gd name="connsiteX7" fmla="*/ 12192000 w 12192000"/>
                <a:gd name="connsiteY7" fmla="*/ 1074584 h 1074584"/>
                <a:gd name="connsiteX8" fmla="*/ 12192000 w 12192000"/>
                <a:gd name="connsiteY8"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345070 w 12192000"/>
                <a:gd name="connsiteY4" fmla="*/ 1074584 h 1074584"/>
                <a:gd name="connsiteX5" fmla="*/ 1582058 w 12192000"/>
                <a:gd name="connsiteY5" fmla="*/ 1074584 h 1074584"/>
                <a:gd name="connsiteX6" fmla="*/ 12192000 w 12192000"/>
                <a:gd name="connsiteY6" fmla="*/ 1074584 h 1074584"/>
                <a:gd name="connsiteX7" fmla="*/ 12192000 w 12192000"/>
                <a:gd name="connsiteY7"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1582058 w 12192000"/>
                <a:gd name="connsiteY4" fmla="*/ 1074584 h 1074584"/>
                <a:gd name="connsiteX5" fmla="*/ 12192000 w 12192000"/>
                <a:gd name="connsiteY5" fmla="*/ 1074584 h 1074584"/>
                <a:gd name="connsiteX6" fmla="*/ 12192000 w 12192000"/>
                <a:gd name="connsiteY6"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12192000 w 12192000"/>
                <a:gd name="connsiteY4" fmla="*/ 1074584 h 1074584"/>
                <a:gd name="connsiteX5" fmla="*/ 12192000 w 12192000"/>
                <a:gd name="connsiteY5" fmla="*/ 0 h 1074584"/>
                <a:gd name="connsiteX0" fmla="*/ 12192000 w 12192000"/>
                <a:gd name="connsiteY0" fmla="*/ 0 h 1074584"/>
                <a:gd name="connsiteX1" fmla="*/ 0 w 12192000"/>
                <a:gd name="connsiteY1" fmla="*/ 0 h 1074584"/>
                <a:gd name="connsiteX2" fmla="*/ 0 w 12192000"/>
                <a:gd name="connsiteY2" fmla="*/ 1074584 h 1074584"/>
                <a:gd name="connsiteX3" fmla="*/ 12192000 w 12192000"/>
                <a:gd name="connsiteY3" fmla="*/ 1074584 h 1074584"/>
                <a:gd name="connsiteX4" fmla="*/ 12192000 w 12192000"/>
                <a:gd name="connsiteY4" fmla="*/ 0 h 1074584"/>
                <a:gd name="connsiteX0" fmla="*/ 12192000 w 12192000"/>
                <a:gd name="connsiteY0" fmla="*/ 0 h 1074584"/>
                <a:gd name="connsiteX1" fmla="*/ 1683657 w 12192000"/>
                <a:gd name="connsiteY1" fmla="*/ 0 h 1074584"/>
                <a:gd name="connsiteX2" fmla="*/ 0 w 12192000"/>
                <a:gd name="connsiteY2" fmla="*/ 0 h 1074584"/>
                <a:gd name="connsiteX3" fmla="*/ 0 w 12192000"/>
                <a:gd name="connsiteY3" fmla="*/ 1074584 h 1074584"/>
                <a:gd name="connsiteX4" fmla="*/ 12192000 w 12192000"/>
                <a:gd name="connsiteY4" fmla="*/ 1074584 h 1074584"/>
                <a:gd name="connsiteX5" fmla="*/ 12192000 w 12192000"/>
                <a:gd name="connsiteY5" fmla="*/ 0 h 1074584"/>
                <a:gd name="connsiteX0" fmla="*/ 12192000 w 12192000"/>
                <a:gd name="connsiteY0" fmla="*/ 2595749 h 3670333"/>
                <a:gd name="connsiteX1" fmla="*/ 2989943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2595749 h 3670333"/>
                <a:gd name="connsiteX1" fmla="*/ 2989943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2595749 h 3670333"/>
                <a:gd name="connsiteX1" fmla="*/ 3875315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3134985 h 4209569"/>
                <a:gd name="connsiteX1" fmla="*/ 3875315 w 12192000"/>
                <a:gd name="connsiteY1" fmla="*/ 539236 h 4209569"/>
                <a:gd name="connsiteX2" fmla="*/ 0 w 12192000"/>
                <a:gd name="connsiteY2" fmla="*/ 3134985 h 4209569"/>
                <a:gd name="connsiteX3" fmla="*/ 0 w 12192000"/>
                <a:gd name="connsiteY3" fmla="*/ 4209569 h 4209569"/>
                <a:gd name="connsiteX4" fmla="*/ 12192000 w 12192000"/>
                <a:gd name="connsiteY4" fmla="*/ 4209569 h 4209569"/>
                <a:gd name="connsiteX5" fmla="*/ 12192000 w 12192000"/>
                <a:gd name="connsiteY5" fmla="*/ 3134985 h 4209569"/>
                <a:gd name="connsiteX0" fmla="*/ 12192000 w 12192000"/>
                <a:gd name="connsiteY0" fmla="*/ 2158437 h 3233021"/>
                <a:gd name="connsiteX1" fmla="*/ 5138058 w 12192000"/>
                <a:gd name="connsiteY1" fmla="*/ 679140 h 3233021"/>
                <a:gd name="connsiteX2" fmla="*/ 0 w 12192000"/>
                <a:gd name="connsiteY2" fmla="*/ 2158437 h 3233021"/>
                <a:gd name="connsiteX3" fmla="*/ 0 w 12192000"/>
                <a:gd name="connsiteY3" fmla="*/ 3233021 h 3233021"/>
                <a:gd name="connsiteX4" fmla="*/ 12192000 w 12192000"/>
                <a:gd name="connsiteY4" fmla="*/ 3233021 h 3233021"/>
                <a:gd name="connsiteX5" fmla="*/ 12192000 w 12192000"/>
                <a:gd name="connsiteY5" fmla="*/ 2158437 h 3233021"/>
                <a:gd name="connsiteX0" fmla="*/ 12192000 w 12192000"/>
                <a:gd name="connsiteY0" fmla="*/ 1802920 h 2877504"/>
                <a:gd name="connsiteX1" fmla="*/ 5138058 w 12192000"/>
                <a:gd name="connsiteY1" fmla="*/ 323623 h 2877504"/>
                <a:gd name="connsiteX2" fmla="*/ 0 w 12192000"/>
                <a:gd name="connsiteY2" fmla="*/ 1802920 h 2877504"/>
                <a:gd name="connsiteX3" fmla="*/ 0 w 12192000"/>
                <a:gd name="connsiteY3" fmla="*/ 2877504 h 2877504"/>
                <a:gd name="connsiteX4" fmla="*/ 12192000 w 12192000"/>
                <a:gd name="connsiteY4" fmla="*/ 2877504 h 2877504"/>
                <a:gd name="connsiteX5" fmla="*/ 12192000 w 12192000"/>
                <a:gd name="connsiteY5" fmla="*/ 1802920 h 2877504"/>
                <a:gd name="connsiteX0" fmla="*/ 12192000 w 12192000"/>
                <a:gd name="connsiteY0" fmla="*/ 1802920 h 2877504"/>
                <a:gd name="connsiteX1" fmla="*/ 5138058 w 12192000"/>
                <a:gd name="connsiteY1" fmla="*/ 323623 h 2877504"/>
                <a:gd name="connsiteX2" fmla="*/ 0 w 12192000"/>
                <a:gd name="connsiteY2" fmla="*/ 1802920 h 2877504"/>
                <a:gd name="connsiteX3" fmla="*/ 0 w 12192000"/>
                <a:gd name="connsiteY3" fmla="*/ 2877504 h 2877504"/>
                <a:gd name="connsiteX4" fmla="*/ 12192000 w 12192000"/>
                <a:gd name="connsiteY4" fmla="*/ 2877504 h 2877504"/>
                <a:gd name="connsiteX5" fmla="*/ 12192000 w 12192000"/>
                <a:gd name="connsiteY5" fmla="*/ 1802920 h 2877504"/>
                <a:gd name="connsiteX0" fmla="*/ 12192000 w 12192000"/>
                <a:gd name="connsiteY0" fmla="*/ 1187253 h 2261837"/>
                <a:gd name="connsiteX1" fmla="*/ 4601030 w 12192000"/>
                <a:gd name="connsiteY1" fmla="*/ 433648 h 2261837"/>
                <a:gd name="connsiteX2" fmla="*/ 0 w 12192000"/>
                <a:gd name="connsiteY2" fmla="*/ 1187253 h 2261837"/>
                <a:gd name="connsiteX3" fmla="*/ 0 w 12192000"/>
                <a:gd name="connsiteY3" fmla="*/ 2261837 h 2261837"/>
                <a:gd name="connsiteX4" fmla="*/ 12192000 w 12192000"/>
                <a:gd name="connsiteY4" fmla="*/ 2261837 h 2261837"/>
                <a:gd name="connsiteX5" fmla="*/ 12192000 w 12192000"/>
                <a:gd name="connsiteY5" fmla="*/ 1187253 h 2261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2261837">
                  <a:moveTo>
                    <a:pt x="12192000" y="1187253"/>
                  </a:moveTo>
                  <a:cubicBezTo>
                    <a:pt x="10643810" y="1552425"/>
                    <a:pt x="6473373" y="1522188"/>
                    <a:pt x="4601030" y="433648"/>
                  </a:cubicBezTo>
                  <a:cubicBezTo>
                    <a:pt x="2728687" y="-654892"/>
                    <a:pt x="498324" y="575531"/>
                    <a:pt x="0" y="1187253"/>
                  </a:cubicBezTo>
                  <a:lnTo>
                    <a:pt x="0" y="2261837"/>
                  </a:lnTo>
                  <a:lnTo>
                    <a:pt x="12192000" y="2261837"/>
                  </a:lnTo>
                  <a:lnTo>
                    <a:pt x="12192000" y="1187253"/>
                  </a:lnTo>
                  <a:close/>
                </a:path>
              </a:pathLst>
            </a:custGeom>
            <a:solidFill>
              <a:schemeClr val="accent4">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Freeform 13"/>
            <p:cNvSpPr/>
            <p:nvPr/>
          </p:nvSpPr>
          <p:spPr>
            <a:xfrm flipH="1">
              <a:off x="-46623" y="5777170"/>
              <a:ext cx="12192000" cy="1080828"/>
            </a:xfrm>
            <a:custGeom>
              <a:avLst/>
              <a:gdLst>
                <a:gd name="connsiteX0" fmla="*/ 12192000 w 12192000"/>
                <a:gd name="connsiteY0" fmla="*/ 0 h 1074584"/>
                <a:gd name="connsiteX1" fmla="*/ 1582058 w 12192000"/>
                <a:gd name="connsiteY1" fmla="*/ 0 h 1074584"/>
                <a:gd name="connsiteX2" fmla="*/ 810918 w 12192000"/>
                <a:gd name="connsiteY2" fmla="*/ 0 h 1074584"/>
                <a:gd name="connsiteX3" fmla="*/ 470766 w 12192000"/>
                <a:gd name="connsiteY3" fmla="*/ 0 h 1074584"/>
                <a:gd name="connsiteX4" fmla="*/ 448024 w 12192000"/>
                <a:gd name="connsiteY4" fmla="*/ 0 h 1074584"/>
                <a:gd name="connsiteX5" fmla="*/ 0 w 12192000"/>
                <a:gd name="connsiteY5" fmla="*/ 0 h 1074584"/>
                <a:gd name="connsiteX6" fmla="*/ 0 w 12192000"/>
                <a:gd name="connsiteY6" fmla="*/ 1074584 h 1074584"/>
                <a:gd name="connsiteX7" fmla="*/ 345070 w 12192000"/>
                <a:gd name="connsiteY7" fmla="*/ 1074584 h 1074584"/>
                <a:gd name="connsiteX8" fmla="*/ 1582058 w 12192000"/>
                <a:gd name="connsiteY8" fmla="*/ 1074584 h 1074584"/>
                <a:gd name="connsiteX9" fmla="*/ 12192000 w 12192000"/>
                <a:gd name="connsiteY9" fmla="*/ 1074584 h 1074584"/>
                <a:gd name="connsiteX0" fmla="*/ 12192000 w 12192000"/>
                <a:gd name="connsiteY0" fmla="*/ 0 h 1074584"/>
                <a:gd name="connsiteX1" fmla="*/ 1582058 w 12192000"/>
                <a:gd name="connsiteY1" fmla="*/ 0 h 1074584"/>
                <a:gd name="connsiteX2" fmla="*/ 470766 w 12192000"/>
                <a:gd name="connsiteY2" fmla="*/ 0 h 1074584"/>
                <a:gd name="connsiteX3" fmla="*/ 448024 w 12192000"/>
                <a:gd name="connsiteY3" fmla="*/ 0 h 1074584"/>
                <a:gd name="connsiteX4" fmla="*/ 0 w 12192000"/>
                <a:gd name="connsiteY4" fmla="*/ 0 h 1074584"/>
                <a:gd name="connsiteX5" fmla="*/ 0 w 12192000"/>
                <a:gd name="connsiteY5" fmla="*/ 1074584 h 1074584"/>
                <a:gd name="connsiteX6" fmla="*/ 345070 w 12192000"/>
                <a:gd name="connsiteY6" fmla="*/ 1074584 h 1074584"/>
                <a:gd name="connsiteX7" fmla="*/ 1582058 w 12192000"/>
                <a:gd name="connsiteY7" fmla="*/ 1074584 h 1074584"/>
                <a:gd name="connsiteX8" fmla="*/ 12192000 w 12192000"/>
                <a:gd name="connsiteY8" fmla="*/ 1074584 h 1074584"/>
                <a:gd name="connsiteX9" fmla="*/ 12192000 w 12192000"/>
                <a:gd name="connsiteY9" fmla="*/ 0 h 1074584"/>
                <a:gd name="connsiteX0" fmla="*/ 12192000 w 12192000"/>
                <a:gd name="connsiteY0" fmla="*/ 0 h 1074584"/>
                <a:gd name="connsiteX1" fmla="*/ 1582058 w 12192000"/>
                <a:gd name="connsiteY1" fmla="*/ 0 h 1074584"/>
                <a:gd name="connsiteX2" fmla="*/ 470766 w 12192000"/>
                <a:gd name="connsiteY2" fmla="*/ 0 h 1074584"/>
                <a:gd name="connsiteX3" fmla="*/ 0 w 12192000"/>
                <a:gd name="connsiteY3" fmla="*/ 0 h 1074584"/>
                <a:gd name="connsiteX4" fmla="*/ 0 w 12192000"/>
                <a:gd name="connsiteY4" fmla="*/ 1074584 h 1074584"/>
                <a:gd name="connsiteX5" fmla="*/ 345070 w 12192000"/>
                <a:gd name="connsiteY5" fmla="*/ 1074584 h 1074584"/>
                <a:gd name="connsiteX6" fmla="*/ 1582058 w 12192000"/>
                <a:gd name="connsiteY6" fmla="*/ 1074584 h 1074584"/>
                <a:gd name="connsiteX7" fmla="*/ 12192000 w 12192000"/>
                <a:gd name="connsiteY7" fmla="*/ 1074584 h 1074584"/>
                <a:gd name="connsiteX8" fmla="*/ 12192000 w 12192000"/>
                <a:gd name="connsiteY8"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345070 w 12192000"/>
                <a:gd name="connsiteY4" fmla="*/ 1074584 h 1074584"/>
                <a:gd name="connsiteX5" fmla="*/ 1582058 w 12192000"/>
                <a:gd name="connsiteY5" fmla="*/ 1074584 h 1074584"/>
                <a:gd name="connsiteX6" fmla="*/ 12192000 w 12192000"/>
                <a:gd name="connsiteY6" fmla="*/ 1074584 h 1074584"/>
                <a:gd name="connsiteX7" fmla="*/ 12192000 w 12192000"/>
                <a:gd name="connsiteY7"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1582058 w 12192000"/>
                <a:gd name="connsiteY4" fmla="*/ 1074584 h 1074584"/>
                <a:gd name="connsiteX5" fmla="*/ 12192000 w 12192000"/>
                <a:gd name="connsiteY5" fmla="*/ 1074584 h 1074584"/>
                <a:gd name="connsiteX6" fmla="*/ 12192000 w 12192000"/>
                <a:gd name="connsiteY6"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12192000 w 12192000"/>
                <a:gd name="connsiteY4" fmla="*/ 1074584 h 1074584"/>
                <a:gd name="connsiteX5" fmla="*/ 12192000 w 12192000"/>
                <a:gd name="connsiteY5" fmla="*/ 0 h 1074584"/>
                <a:gd name="connsiteX0" fmla="*/ 12192000 w 12192000"/>
                <a:gd name="connsiteY0" fmla="*/ 0 h 1074584"/>
                <a:gd name="connsiteX1" fmla="*/ 0 w 12192000"/>
                <a:gd name="connsiteY1" fmla="*/ 0 h 1074584"/>
                <a:gd name="connsiteX2" fmla="*/ 0 w 12192000"/>
                <a:gd name="connsiteY2" fmla="*/ 1074584 h 1074584"/>
                <a:gd name="connsiteX3" fmla="*/ 12192000 w 12192000"/>
                <a:gd name="connsiteY3" fmla="*/ 1074584 h 1074584"/>
                <a:gd name="connsiteX4" fmla="*/ 12192000 w 12192000"/>
                <a:gd name="connsiteY4" fmla="*/ 0 h 1074584"/>
                <a:gd name="connsiteX0" fmla="*/ 12192000 w 12192000"/>
                <a:gd name="connsiteY0" fmla="*/ 0 h 1074584"/>
                <a:gd name="connsiteX1" fmla="*/ 1683657 w 12192000"/>
                <a:gd name="connsiteY1" fmla="*/ 0 h 1074584"/>
                <a:gd name="connsiteX2" fmla="*/ 0 w 12192000"/>
                <a:gd name="connsiteY2" fmla="*/ 0 h 1074584"/>
                <a:gd name="connsiteX3" fmla="*/ 0 w 12192000"/>
                <a:gd name="connsiteY3" fmla="*/ 1074584 h 1074584"/>
                <a:gd name="connsiteX4" fmla="*/ 12192000 w 12192000"/>
                <a:gd name="connsiteY4" fmla="*/ 1074584 h 1074584"/>
                <a:gd name="connsiteX5" fmla="*/ 12192000 w 12192000"/>
                <a:gd name="connsiteY5" fmla="*/ 0 h 1074584"/>
                <a:gd name="connsiteX0" fmla="*/ 12192000 w 12192000"/>
                <a:gd name="connsiteY0" fmla="*/ 2595749 h 3670333"/>
                <a:gd name="connsiteX1" fmla="*/ 2989943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2595749 h 3670333"/>
                <a:gd name="connsiteX1" fmla="*/ 2989943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2595749 h 3670333"/>
                <a:gd name="connsiteX1" fmla="*/ 3875315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3134985 h 4209569"/>
                <a:gd name="connsiteX1" fmla="*/ 3875315 w 12192000"/>
                <a:gd name="connsiteY1" fmla="*/ 539236 h 4209569"/>
                <a:gd name="connsiteX2" fmla="*/ 0 w 12192000"/>
                <a:gd name="connsiteY2" fmla="*/ 3134985 h 4209569"/>
                <a:gd name="connsiteX3" fmla="*/ 0 w 12192000"/>
                <a:gd name="connsiteY3" fmla="*/ 4209569 h 4209569"/>
                <a:gd name="connsiteX4" fmla="*/ 12192000 w 12192000"/>
                <a:gd name="connsiteY4" fmla="*/ 4209569 h 4209569"/>
                <a:gd name="connsiteX5" fmla="*/ 12192000 w 12192000"/>
                <a:gd name="connsiteY5" fmla="*/ 3134985 h 4209569"/>
                <a:gd name="connsiteX0" fmla="*/ 12192000 w 12192000"/>
                <a:gd name="connsiteY0" fmla="*/ 2158437 h 3233021"/>
                <a:gd name="connsiteX1" fmla="*/ 5138058 w 12192000"/>
                <a:gd name="connsiteY1" fmla="*/ 679140 h 3233021"/>
                <a:gd name="connsiteX2" fmla="*/ 0 w 12192000"/>
                <a:gd name="connsiteY2" fmla="*/ 2158437 h 3233021"/>
                <a:gd name="connsiteX3" fmla="*/ 0 w 12192000"/>
                <a:gd name="connsiteY3" fmla="*/ 3233021 h 3233021"/>
                <a:gd name="connsiteX4" fmla="*/ 12192000 w 12192000"/>
                <a:gd name="connsiteY4" fmla="*/ 3233021 h 3233021"/>
                <a:gd name="connsiteX5" fmla="*/ 12192000 w 12192000"/>
                <a:gd name="connsiteY5" fmla="*/ 2158437 h 3233021"/>
                <a:gd name="connsiteX0" fmla="*/ 12192000 w 12192000"/>
                <a:gd name="connsiteY0" fmla="*/ 1802920 h 2877504"/>
                <a:gd name="connsiteX1" fmla="*/ 5138058 w 12192000"/>
                <a:gd name="connsiteY1" fmla="*/ 323623 h 2877504"/>
                <a:gd name="connsiteX2" fmla="*/ 0 w 12192000"/>
                <a:gd name="connsiteY2" fmla="*/ 1802920 h 2877504"/>
                <a:gd name="connsiteX3" fmla="*/ 0 w 12192000"/>
                <a:gd name="connsiteY3" fmla="*/ 2877504 h 2877504"/>
                <a:gd name="connsiteX4" fmla="*/ 12192000 w 12192000"/>
                <a:gd name="connsiteY4" fmla="*/ 2877504 h 2877504"/>
                <a:gd name="connsiteX5" fmla="*/ 12192000 w 12192000"/>
                <a:gd name="connsiteY5" fmla="*/ 1802920 h 2877504"/>
                <a:gd name="connsiteX0" fmla="*/ 12192000 w 12192000"/>
                <a:gd name="connsiteY0" fmla="*/ 1802920 h 2877504"/>
                <a:gd name="connsiteX1" fmla="*/ 5138058 w 12192000"/>
                <a:gd name="connsiteY1" fmla="*/ 323623 h 2877504"/>
                <a:gd name="connsiteX2" fmla="*/ 0 w 12192000"/>
                <a:gd name="connsiteY2" fmla="*/ 1802920 h 2877504"/>
                <a:gd name="connsiteX3" fmla="*/ 0 w 12192000"/>
                <a:gd name="connsiteY3" fmla="*/ 2877504 h 2877504"/>
                <a:gd name="connsiteX4" fmla="*/ 12192000 w 12192000"/>
                <a:gd name="connsiteY4" fmla="*/ 2877504 h 2877504"/>
                <a:gd name="connsiteX5" fmla="*/ 12192000 w 12192000"/>
                <a:gd name="connsiteY5" fmla="*/ 1802920 h 2877504"/>
                <a:gd name="connsiteX0" fmla="*/ 12192000 w 12192000"/>
                <a:gd name="connsiteY0" fmla="*/ 1187253 h 2261837"/>
                <a:gd name="connsiteX1" fmla="*/ 4601030 w 12192000"/>
                <a:gd name="connsiteY1" fmla="*/ 433648 h 2261837"/>
                <a:gd name="connsiteX2" fmla="*/ 0 w 12192000"/>
                <a:gd name="connsiteY2" fmla="*/ 1187253 h 2261837"/>
                <a:gd name="connsiteX3" fmla="*/ 0 w 12192000"/>
                <a:gd name="connsiteY3" fmla="*/ 2261837 h 2261837"/>
                <a:gd name="connsiteX4" fmla="*/ 12192000 w 12192000"/>
                <a:gd name="connsiteY4" fmla="*/ 2261837 h 2261837"/>
                <a:gd name="connsiteX5" fmla="*/ 12192000 w 12192000"/>
                <a:gd name="connsiteY5" fmla="*/ 1187253 h 2261837"/>
                <a:gd name="connsiteX0" fmla="*/ 12192000 w 12192000"/>
                <a:gd name="connsiteY0" fmla="*/ 755772 h 1830356"/>
                <a:gd name="connsiteX1" fmla="*/ 6194520 w 12192000"/>
                <a:gd name="connsiteY1" fmla="*/ 534733 h 1830356"/>
                <a:gd name="connsiteX2" fmla="*/ 4601030 w 12192000"/>
                <a:gd name="connsiteY2" fmla="*/ 2167 h 1830356"/>
                <a:gd name="connsiteX3" fmla="*/ 0 w 12192000"/>
                <a:gd name="connsiteY3" fmla="*/ 755772 h 1830356"/>
                <a:gd name="connsiteX4" fmla="*/ 0 w 12192000"/>
                <a:gd name="connsiteY4" fmla="*/ 1830356 h 1830356"/>
                <a:gd name="connsiteX5" fmla="*/ 12192000 w 12192000"/>
                <a:gd name="connsiteY5" fmla="*/ 1830356 h 1830356"/>
                <a:gd name="connsiteX6" fmla="*/ 12192000 w 12192000"/>
                <a:gd name="connsiteY6" fmla="*/ 755772 h 1830356"/>
                <a:gd name="connsiteX0" fmla="*/ 12192000 w 12192000"/>
                <a:gd name="connsiteY0" fmla="*/ 221040 h 1295624"/>
                <a:gd name="connsiteX1" fmla="*/ 6194520 w 12192000"/>
                <a:gd name="connsiteY1" fmla="*/ 1 h 1295624"/>
                <a:gd name="connsiteX2" fmla="*/ 0 w 12192000"/>
                <a:gd name="connsiteY2" fmla="*/ 221040 h 1295624"/>
                <a:gd name="connsiteX3" fmla="*/ 0 w 12192000"/>
                <a:gd name="connsiteY3" fmla="*/ 1295624 h 1295624"/>
                <a:gd name="connsiteX4" fmla="*/ 12192000 w 12192000"/>
                <a:gd name="connsiteY4" fmla="*/ 1295624 h 1295624"/>
                <a:gd name="connsiteX5" fmla="*/ 12192000 w 12192000"/>
                <a:gd name="connsiteY5" fmla="*/ 221040 h 1295624"/>
                <a:gd name="connsiteX0" fmla="*/ 12192000 w 12192000"/>
                <a:gd name="connsiteY0" fmla="*/ 1644514 h 2719098"/>
                <a:gd name="connsiteX1" fmla="*/ 6238063 w 12192000"/>
                <a:gd name="connsiteY1" fmla="*/ 0 h 2719098"/>
                <a:gd name="connsiteX2" fmla="*/ 0 w 12192000"/>
                <a:gd name="connsiteY2" fmla="*/ 1644514 h 2719098"/>
                <a:gd name="connsiteX3" fmla="*/ 0 w 12192000"/>
                <a:gd name="connsiteY3" fmla="*/ 2719098 h 2719098"/>
                <a:gd name="connsiteX4" fmla="*/ 12192000 w 12192000"/>
                <a:gd name="connsiteY4" fmla="*/ 2719098 h 2719098"/>
                <a:gd name="connsiteX5" fmla="*/ 12192000 w 12192000"/>
                <a:gd name="connsiteY5" fmla="*/ 1644514 h 2719098"/>
                <a:gd name="connsiteX0" fmla="*/ 12192000 w 12192000"/>
                <a:gd name="connsiteY0" fmla="*/ 1644514 h 2719098"/>
                <a:gd name="connsiteX1" fmla="*/ 6238063 w 12192000"/>
                <a:gd name="connsiteY1" fmla="*/ 0 h 2719098"/>
                <a:gd name="connsiteX2" fmla="*/ 0 w 12192000"/>
                <a:gd name="connsiteY2" fmla="*/ 1644514 h 2719098"/>
                <a:gd name="connsiteX3" fmla="*/ 0 w 12192000"/>
                <a:gd name="connsiteY3" fmla="*/ 2719098 h 2719098"/>
                <a:gd name="connsiteX4" fmla="*/ 12192000 w 12192000"/>
                <a:gd name="connsiteY4" fmla="*/ 2719098 h 2719098"/>
                <a:gd name="connsiteX5" fmla="*/ 12192000 w 12192000"/>
                <a:gd name="connsiteY5" fmla="*/ 1644514 h 2719098"/>
                <a:gd name="connsiteX0" fmla="*/ 12192000 w 12192000"/>
                <a:gd name="connsiteY0" fmla="*/ 2138436 h 3213020"/>
                <a:gd name="connsiteX1" fmla="*/ 6238063 w 12192000"/>
                <a:gd name="connsiteY1" fmla="*/ 493922 h 3213020"/>
                <a:gd name="connsiteX2" fmla="*/ 0 w 12192000"/>
                <a:gd name="connsiteY2" fmla="*/ 2138436 h 3213020"/>
                <a:gd name="connsiteX3" fmla="*/ 0 w 12192000"/>
                <a:gd name="connsiteY3" fmla="*/ 3213020 h 3213020"/>
                <a:gd name="connsiteX4" fmla="*/ 12192000 w 12192000"/>
                <a:gd name="connsiteY4" fmla="*/ 3213020 h 3213020"/>
                <a:gd name="connsiteX5" fmla="*/ 12192000 w 12192000"/>
                <a:gd name="connsiteY5" fmla="*/ 2138436 h 3213020"/>
                <a:gd name="connsiteX0" fmla="*/ 12192000 w 12192000"/>
                <a:gd name="connsiteY0" fmla="*/ 2044923 h 3119507"/>
                <a:gd name="connsiteX1" fmla="*/ 6238063 w 12192000"/>
                <a:gd name="connsiteY1" fmla="*/ 400409 h 3119507"/>
                <a:gd name="connsiteX2" fmla="*/ 3727091 w 12192000"/>
                <a:gd name="connsiteY2" fmla="*/ 121296 h 3119507"/>
                <a:gd name="connsiteX3" fmla="*/ 0 w 12192000"/>
                <a:gd name="connsiteY3" fmla="*/ 2044923 h 3119507"/>
                <a:gd name="connsiteX4" fmla="*/ 0 w 12192000"/>
                <a:gd name="connsiteY4" fmla="*/ 3119507 h 3119507"/>
                <a:gd name="connsiteX5" fmla="*/ 12192000 w 12192000"/>
                <a:gd name="connsiteY5" fmla="*/ 3119507 h 3119507"/>
                <a:gd name="connsiteX6" fmla="*/ 12192000 w 12192000"/>
                <a:gd name="connsiteY6" fmla="*/ 2044923 h 3119507"/>
                <a:gd name="connsiteX0" fmla="*/ 12192000 w 12192000"/>
                <a:gd name="connsiteY0" fmla="*/ 1652861 h 2727445"/>
                <a:gd name="connsiteX1" fmla="*/ 6238063 w 12192000"/>
                <a:gd name="connsiteY1" fmla="*/ 8347 h 2727445"/>
                <a:gd name="connsiteX2" fmla="*/ 3538406 w 12192000"/>
                <a:gd name="connsiteY2" fmla="*/ 1041063 h 2727445"/>
                <a:gd name="connsiteX3" fmla="*/ 0 w 12192000"/>
                <a:gd name="connsiteY3" fmla="*/ 1652861 h 2727445"/>
                <a:gd name="connsiteX4" fmla="*/ 0 w 12192000"/>
                <a:gd name="connsiteY4" fmla="*/ 2727445 h 2727445"/>
                <a:gd name="connsiteX5" fmla="*/ 12192000 w 12192000"/>
                <a:gd name="connsiteY5" fmla="*/ 2727445 h 2727445"/>
                <a:gd name="connsiteX6" fmla="*/ 12192000 w 12192000"/>
                <a:gd name="connsiteY6" fmla="*/ 1652861 h 2727445"/>
                <a:gd name="connsiteX0" fmla="*/ 12192000 w 12192000"/>
                <a:gd name="connsiteY0" fmla="*/ 1655532 h 2730116"/>
                <a:gd name="connsiteX1" fmla="*/ 8894177 w 12192000"/>
                <a:gd name="connsiteY1" fmla="*/ 569243 h 2730116"/>
                <a:gd name="connsiteX2" fmla="*/ 6238063 w 12192000"/>
                <a:gd name="connsiteY2" fmla="*/ 11018 h 2730116"/>
                <a:gd name="connsiteX3" fmla="*/ 3538406 w 12192000"/>
                <a:gd name="connsiteY3" fmla="*/ 1043734 h 2730116"/>
                <a:gd name="connsiteX4" fmla="*/ 0 w 12192000"/>
                <a:gd name="connsiteY4" fmla="*/ 1655532 h 2730116"/>
                <a:gd name="connsiteX5" fmla="*/ 0 w 12192000"/>
                <a:gd name="connsiteY5" fmla="*/ 2730116 h 2730116"/>
                <a:gd name="connsiteX6" fmla="*/ 12192000 w 12192000"/>
                <a:gd name="connsiteY6" fmla="*/ 2730116 h 2730116"/>
                <a:gd name="connsiteX7" fmla="*/ 12192000 w 12192000"/>
                <a:gd name="connsiteY7" fmla="*/ 1655532 h 2730116"/>
                <a:gd name="connsiteX0" fmla="*/ 12192000 w 12192000"/>
                <a:gd name="connsiteY0" fmla="*/ 1658292 h 2732876"/>
                <a:gd name="connsiteX1" fmla="*/ 8749034 w 12192000"/>
                <a:gd name="connsiteY1" fmla="*/ 1855923 h 2732876"/>
                <a:gd name="connsiteX2" fmla="*/ 6238063 w 12192000"/>
                <a:gd name="connsiteY2" fmla="*/ 13778 h 2732876"/>
                <a:gd name="connsiteX3" fmla="*/ 3538406 w 12192000"/>
                <a:gd name="connsiteY3" fmla="*/ 1046494 h 2732876"/>
                <a:gd name="connsiteX4" fmla="*/ 0 w 12192000"/>
                <a:gd name="connsiteY4" fmla="*/ 1658292 h 2732876"/>
                <a:gd name="connsiteX5" fmla="*/ 0 w 12192000"/>
                <a:gd name="connsiteY5" fmla="*/ 2732876 h 2732876"/>
                <a:gd name="connsiteX6" fmla="*/ 12192000 w 12192000"/>
                <a:gd name="connsiteY6" fmla="*/ 2732876 h 2732876"/>
                <a:gd name="connsiteX7" fmla="*/ 12192000 w 12192000"/>
                <a:gd name="connsiteY7" fmla="*/ 1658292 h 2732876"/>
                <a:gd name="connsiteX0" fmla="*/ 12192000 w 12192000"/>
                <a:gd name="connsiteY0" fmla="*/ 780671 h 1855255"/>
                <a:gd name="connsiteX1" fmla="*/ 8749034 w 12192000"/>
                <a:gd name="connsiteY1" fmla="*/ 978302 h 1855255"/>
                <a:gd name="connsiteX2" fmla="*/ 6034863 w 12192000"/>
                <a:gd name="connsiteY2" fmla="*/ 140965 h 1855255"/>
                <a:gd name="connsiteX3" fmla="*/ 3538406 w 12192000"/>
                <a:gd name="connsiteY3" fmla="*/ 168873 h 1855255"/>
                <a:gd name="connsiteX4" fmla="*/ 0 w 12192000"/>
                <a:gd name="connsiteY4" fmla="*/ 780671 h 1855255"/>
                <a:gd name="connsiteX5" fmla="*/ 0 w 12192000"/>
                <a:gd name="connsiteY5" fmla="*/ 1855255 h 1855255"/>
                <a:gd name="connsiteX6" fmla="*/ 12192000 w 12192000"/>
                <a:gd name="connsiteY6" fmla="*/ 1855255 h 1855255"/>
                <a:gd name="connsiteX7" fmla="*/ 12192000 w 12192000"/>
                <a:gd name="connsiteY7" fmla="*/ 780671 h 1855255"/>
                <a:gd name="connsiteX0" fmla="*/ 12192000 w 12192000"/>
                <a:gd name="connsiteY0" fmla="*/ 641773 h 1716357"/>
                <a:gd name="connsiteX1" fmla="*/ 8749034 w 12192000"/>
                <a:gd name="connsiteY1" fmla="*/ 839404 h 1716357"/>
                <a:gd name="connsiteX2" fmla="*/ 6034863 w 12192000"/>
                <a:gd name="connsiteY2" fmla="*/ 2067 h 1716357"/>
                <a:gd name="connsiteX3" fmla="*/ 3132006 w 12192000"/>
                <a:gd name="connsiteY3" fmla="*/ 1090602 h 1716357"/>
                <a:gd name="connsiteX4" fmla="*/ 0 w 12192000"/>
                <a:gd name="connsiteY4" fmla="*/ 641773 h 1716357"/>
                <a:gd name="connsiteX5" fmla="*/ 0 w 12192000"/>
                <a:gd name="connsiteY5" fmla="*/ 1716357 h 1716357"/>
                <a:gd name="connsiteX6" fmla="*/ 12192000 w 12192000"/>
                <a:gd name="connsiteY6" fmla="*/ 1716357 h 1716357"/>
                <a:gd name="connsiteX7" fmla="*/ 12192000 w 12192000"/>
                <a:gd name="connsiteY7" fmla="*/ 641773 h 1716357"/>
                <a:gd name="connsiteX0" fmla="*/ 12192000 w 12192000"/>
                <a:gd name="connsiteY0" fmla="*/ 1003870 h 2078454"/>
                <a:gd name="connsiteX1" fmla="*/ 8749034 w 12192000"/>
                <a:gd name="connsiteY1" fmla="*/ 1201501 h 2078454"/>
                <a:gd name="connsiteX2" fmla="*/ 6020349 w 12192000"/>
                <a:gd name="connsiteY2" fmla="*/ 1317 h 2078454"/>
                <a:gd name="connsiteX3" fmla="*/ 3132006 w 12192000"/>
                <a:gd name="connsiteY3" fmla="*/ 1452699 h 2078454"/>
                <a:gd name="connsiteX4" fmla="*/ 0 w 12192000"/>
                <a:gd name="connsiteY4" fmla="*/ 1003870 h 2078454"/>
                <a:gd name="connsiteX5" fmla="*/ 0 w 12192000"/>
                <a:gd name="connsiteY5" fmla="*/ 2078454 h 2078454"/>
                <a:gd name="connsiteX6" fmla="*/ 12192000 w 12192000"/>
                <a:gd name="connsiteY6" fmla="*/ 2078454 h 2078454"/>
                <a:gd name="connsiteX7" fmla="*/ 12192000 w 12192000"/>
                <a:gd name="connsiteY7" fmla="*/ 1003870 h 2078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078454">
                  <a:moveTo>
                    <a:pt x="12192000" y="1003870"/>
                  </a:moveTo>
                  <a:cubicBezTo>
                    <a:pt x="11642363" y="643725"/>
                    <a:pt x="9741357" y="1475587"/>
                    <a:pt x="8749034" y="1201501"/>
                  </a:cubicBezTo>
                  <a:cubicBezTo>
                    <a:pt x="7756711" y="927415"/>
                    <a:pt x="6956520" y="-40549"/>
                    <a:pt x="6020349" y="1317"/>
                  </a:cubicBezTo>
                  <a:cubicBezTo>
                    <a:pt x="5084178" y="43183"/>
                    <a:pt x="4171683" y="1178613"/>
                    <a:pt x="3132006" y="1452699"/>
                  </a:cubicBezTo>
                  <a:cubicBezTo>
                    <a:pt x="2092329" y="1726785"/>
                    <a:pt x="621182" y="504168"/>
                    <a:pt x="0" y="1003870"/>
                  </a:cubicBezTo>
                  <a:lnTo>
                    <a:pt x="0" y="2078454"/>
                  </a:lnTo>
                  <a:lnTo>
                    <a:pt x="12192000" y="2078454"/>
                  </a:lnTo>
                  <a:lnTo>
                    <a:pt x="12192000" y="1003870"/>
                  </a:lnTo>
                  <a:close/>
                </a:path>
              </a:pathLst>
            </a:custGeom>
            <a:solidFill>
              <a:schemeClr val="accent3">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extLst>
      <p:ext uri="{BB962C8B-B14F-4D97-AF65-F5344CB8AC3E}">
        <p14:creationId xmlns:p14="http://schemas.microsoft.com/office/powerpoint/2010/main" val="2790922804"/>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3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a:gsLst>
              <a:gs pos="100000">
                <a:schemeClr val="accent1"/>
              </a:gs>
              <a:gs pos="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p:cNvSpPr>
            <a:spLocks noGrp="1"/>
          </p:cNvSpPr>
          <p:nvPr>
            <p:ph type="title"/>
          </p:nvPr>
        </p:nvSpPr>
        <p:spPr>
          <a:xfrm>
            <a:off x="838200" y="365125"/>
            <a:ext cx="10515600" cy="977989"/>
          </a:xfrm>
          <a:prstGeom prst="rect">
            <a:avLst/>
          </a:prstGeom>
        </p:spPr>
        <p:txBody>
          <a:bodyPr/>
          <a:lstStyle>
            <a:lvl1pPr>
              <a:defRPr>
                <a:solidFill>
                  <a:schemeClr val="bg1"/>
                </a:solidFill>
              </a:defRPr>
            </a:lvl1pPr>
          </a:lstStyle>
          <a:p>
            <a:r>
              <a:rPr lang="en-US" dirty="0"/>
              <a:t>Click to edit Master title style</a:t>
            </a:r>
          </a:p>
        </p:txBody>
      </p:sp>
      <p:sp>
        <p:nvSpPr>
          <p:cNvPr id="8" name="Picture Placeholder 7"/>
          <p:cNvSpPr>
            <a:spLocks noGrp="1"/>
          </p:cNvSpPr>
          <p:nvPr>
            <p:ph type="pic" sz="quarter" idx="13"/>
          </p:nvPr>
        </p:nvSpPr>
        <p:spPr>
          <a:xfrm>
            <a:off x="6304168" y="-223248"/>
            <a:ext cx="6865640" cy="7785545"/>
          </a:xfrm>
          <a:custGeom>
            <a:avLst/>
            <a:gdLst>
              <a:gd name="connsiteX0" fmla="*/ 4498565 w 6865640"/>
              <a:gd name="connsiteY0" fmla="*/ 6966605 h 7785545"/>
              <a:gd name="connsiteX1" fmla="*/ 4588312 w 6865640"/>
              <a:gd name="connsiteY1" fmla="*/ 6977823 h 7785545"/>
              <a:gd name="connsiteX2" fmla="*/ 4678058 w 6865640"/>
              <a:gd name="connsiteY2" fmla="*/ 7000260 h 7785545"/>
              <a:gd name="connsiteX3" fmla="*/ 4756587 w 6865640"/>
              <a:gd name="connsiteY3" fmla="*/ 7033915 h 7785545"/>
              <a:gd name="connsiteX4" fmla="*/ 4823898 w 6865640"/>
              <a:gd name="connsiteY4" fmla="*/ 7090007 h 7785545"/>
              <a:gd name="connsiteX5" fmla="*/ 4879989 w 6865640"/>
              <a:gd name="connsiteY5" fmla="*/ 7146098 h 7785545"/>
              <a:gd name="connsiteX6" fmla="*/ 4924862 w 6865640"/>
              <a:gd name="connsiteY6" fmla="*/ 7213409 h 7785545"/>
              <a:gd name="connsiteX7" fmla="*/ 4947300 w 6865640"/>
              <a:gd name="connsiteY7" fmla="*/ 7291937 h 7785545"/>
              <a:gd name="connsiteX8" fmla="*/ 4958518 w 6865640"/>
              <a:gd name="connsiteY8" fmla="*/ 7381684 h 7785545"/>
              <a:gd name="connsiteX9" fmla="*/ 4947300 w 6865640"/>
              <a:gd name="connsiteY9" fmla="*/ 7460213 h 7785545"/>
              <a:gd name="connsiteX10" fmla="*/ 4924862 w 6865640"/>
              <a:gd name="connsiteY10" fmla="*/ 7538741 h 7785545"/>
              <a:gd name="connsiteX11" fmla="*/ 4879989 w 6865640"/>
              <a:gd name="connsiteY11" fmla="*/ 7606051 h 7785545"/>
              <a:gd name="connsiteX12" fmla="*/ 4823898 w 6865640"/>
              <a:gd name="connsiteY12" fmla="*/ 7662143 h 7785545"/>
              <a:gd name="connsiteX13" fmla="*/ 4756587 w 6865640"/>
              <a:gd name="connsiteY13" fmla="*/ 7718235 h 7785545"/>
              <a:gd name="connsiteX14" fmla="*/ 4678058 w 6865640"/>
              <a:gd name="connsiteY14" fmla="*/ 7751890 h 7785545"/>
              <a:gd name="connsiteX15" fmla="*/ 4588312 w 6865640"/>
              <a:gd name="connsiteY15" fmla="*/ 7774327 h 7785545"/>
              <a:gd name="connsiteX16" fmla="*/ 4498565 w 6865640"/>
              <a:gd name="connsiteY16" fmla="*/ 7785545 h 7785545"/>
              <a:gd name="connsiteX17" fmla="*/ 4397600 w 6865640"/>
              <a:gd name="connsiteY17" fmla="*/ 7774327 h 7785545"/>
              <a:gd name="connsiteX18" fmla="*/ 4319071 w 6865640"/>
              <a:gd name="connsiteY18" fmla="*/ 7751890 h 7785545"/>
              <a:gd name="connsiteX19" fmla="*/ 4240542 w 6865640"/>
              <a:gd name="connsiteY19" fmla="*/ 7718235 h 7785545"/>
              <a:gd name="connsiteX20" fmla="*/ 4162014 w 6865640"/>
              <a:gd name="connsiteY20" fmla="*/ 7662143 h 7785545"/>
              <a:gd name="connsiteX21" fmla="*/ 4105922 w 6865640"/>
              <a:gd name="connsiteY21" fmla="*/ 7606051 h 7785545"/>
              <a:gd name="connsiteX22" fmla="*/ 4072267 w 6865640"/>
              <a:gd name="connsiteY22" fmla="*/ 7538741 h 7785545"/>
              <a:gd name="connsiteX23" fmla="*/ 4038612 w 6865640"/>
              <a:gd name="connsiteY23" fmla="*/ 7460213 h 7785545"/>
              <a:gd name="connsiteX24" fmla="*/ 4027394 w 6865640"/>
              <a:gd name="connsiteY24" fmla="*/ 7381684 h 7785545"/>
              <a:gd name="connsiteX25" fmla="*/ 4038612 w 6865640"/>
              <a:gd name="connsiteY25" fmla="*/ 7291937 h 7785545"/>
              <a:gd name="connsiteX26" fmla="*/ 4072267 w 6865640"/>
              <a:gd name="connsiteY26" fmla="*/ 7213409 h 7785545"/>
              <a:gd name="connsiteX27" fmla="*/ 4105922 w 6865640"/>
              <a:gd name="connsiteY27" fmla="*/ 7146098 h 7785545"/>
              <a:gd name="connsiteX28" fmla="*/ 4162014 w 6865640"/>
              <a:gd name="connsiteY28" fmla="*/ 7090007 h 7785545"/>
              <a:gd name="connsiteX29" fmla="*/ 4240542 w 6865640"/>
              <a:gd name="connsiteY29" fmla="*/ 7033915 h 7785545"/>
              <a:gd name="connsiteX30" fmla="*/ 4319071 w 6865640"/>
              <a:gd name="connsiteY30" fmla="*/ 7000260 h 7785545"/>
              <a:gd name="connsiteX31" fmla="*/ 4397600 w 6865640"/>
              <a:gd name="connsiteY31" fmla="*/ 6977823 h 7785545"/>
              <a:gd name="connsiteX32" fmla="*/ 5295069 w 6865640"/>
              <a:gd name="connsiteY32" fmla="*/ 6428123 h 7785545"/>
              <a:gd name="connsiteX33" fmla="*/ 5407252 w 6865640"/>
              <a:gd name="connsiteY33" fmla="*/ 6439342 h 7785545"/>
              <a:gd name="connsiteX34" fmla="*/ 5519436 w 6865640"/>
              <a:gd name="connsiteY34" fmla="*/ 6450560 h 7785545"/>
              <a:gd name="connsiteX35" fmla="*/ 5609183 w 6865640"/>
              <a:gd name="connsiteY35" fmla="*/ 6472997 h 7785545"/>
              <a:gd name="connsiteX36" fmla="*/ 5698930 w 6865640"/>
              <a:gd name="connsiteY36" fmla="*/ 6506652 h 7785545"/>
              <a:gd name="connsiteX37" fmla="*/ 5766240 w 6865640"/>
              <a:gd name="connsiteY37" fmla="*/ 6551525 h 7785545"/>
              <a:gd name="connsiteX38" fmla="*/ 5822332 w 6865640"/>
              <a:gd name="connsiteY38" fmla="*/ 6596399 h 7785545"/>
              <a:gd name="connsiteX39" fmla="*/ 5855987 w 6865640"/>
              <a:gd name="connsiteY39" fmla="*/ 6641272 h 7785545"/>
              <a:gd name="connsiteX40" fmla="*/ 5867206 w 6865640"/>
              <a:gd name="connsiteY40" fmla="*/ 6697364 h 7785545"/>
              <a:gd name="connsiteX41" fmla="*/ 5855987 w 6865640"/>
              <a:gd name="connsiteY41" fmla="*/ 6753456 h 7785545"/>
              <a:gd name="connsiteX42" fmla="*/ 5822332 w 6865640"/>
              <a:gd name="connsiteY42" fmla="*/ 6798329 h 7785545"/>
              <a:gd name="connsiteX43" fmla="*/ 5766240 w 6865640"/>
              <a:gd name="connsiteY43" fmla="*/ 6854421 h 7785545"/>
              <a:gd name="connsiteX44" fmla="*/ 5698930 w 6865640"/>
              <a:gd name="connsiteY44" fmla="*/ 6888076 h 7785545"/>
              <a:gd name="connsiteX45" fmla="*/ 5609183 w 6865640"/>
              <a:gd name="connsiteY45" fmla="*/ 6921731 h 7785545"/>
              <a:gd name="connsiteX46" fmla="*/ 5519436 w 6865640"/>
              <a:gd name="connsiteY46" fmla="*/ 6944168 h 7785545"/>
              <a:gd name="connsiteX47" fmla="*/ 5407252 w 6865640"/>
              <a:gd name="connsiteY47" fmla="*/ 6966605 h 7785545"/>
              <a:gd name="connsiteX48" fmla="*/ 5295069 w 6865640"/>
              <a:gd name="connsiteY48" fmla="*/ 6966605 h 7785545"/>
              <a:gd name="connsiteX49" fmla="*/ 5182885 w 6865640"/>
              <a:gd name="connsiteY49" fmla="*/ 6966605 h 7785545"/>
              <a:gd name="connsiteX50" fmla="*/ 5070702 w 6865640"/>
              <a:gd name="connsiteY50" fmla="*/ 6944168 h 7785545"/>
              <a:gd name="connsiteX51" fmla="*/ 4980954 w 6865640"/>
              <a:gd name="connsiteY51" fmla="*/ 6921731 h 7785545"/>
              <a:gd name="connsiteX52" fmla="*/ 4891208 w 6865640"/>
              <a:gd name="connsiteY52" fmla="*/ 6888076 h 7785545"/>
              <a:gd name="connsiteX53" fmla="*/ 4823898 w 6865640"/>
              <a:gd name="connsiteY53" fmla="*/ 6854421 h 7785545"/>
              <a:gd name="connsiteX54" fmla="*/ 4767806 w 6865640"/>
              <a:gd name="connsiteY54" fmla="*/ 6798329 h 7785545"/>
              <a:gd name="connsiteX55" fmla="*/ 4734150 w 6865640"/>
              <a:gd name="connsiteY55" fmla="*/ 6753456 h 7785545"/>
              <a:gd name="connsiteX56" fmla="*/ 4722932 w 6865640"/>
              <a:gd name="connsiteY56" fmla="*/ 6697364 h 7785545"/>
              <a:gd name="connsiteX57" fmla="*/ 4734150 w 6865640"/>
              <a:gd name="connsiteY57" fmla="*/ 6641272 h 7785545"/>
              <a:gd name="connsiteX58" fmla="*/ 4767806 w 6865640"/>
              <a:gd name="connsiteY58" fmla="*/ 6596399 h 7785545"/>
              <a:gd name="connsiteX59" fmla="*/ 4823898 w 6865640"/>
              <a:gd name="connsiteY59" fmla="*/ 6551525 h 7785545"/>
              <a:gd name="connsiteX60" fmla="*/ 4891208 w 6865640"/>
              <a:gd name="connsiteY60" fmla="*/ 6506652 h 7785545"/>
              <a:gd name="connsiteX61" fmla="*/ 4980954 w 6865640"/>
              <a:gd name="connsiteY61" fmla="*/ 6472997 h 7785545"/>
              <a:gd name="connsiteX62" fmla="*/ 5070702 w 6865640"/>
              <a:gd name="connsiteY62" fmla="*/ 6450560 h 7785545"/>
              <a:gd name="connsiteX63" fmla="*/ 5182885 w 6865640"/>
              <a:gd name="connsiteY63" fmla="*/ 6439342 h 7785545"/>
              <a:gd name="connsiteX64" fmla="*/ 2658753 w 6865640"/>
              <a:gd name="connsiteY64" fmla="*/ 6293503 h 7785545"/>
              <a:gd name="connsiteX65" fmla="*/ 2692408 w 6865640"/>
              <a:gd name="connsiteY65" fmla="*/ 6304721 h 7785545"/>
              <a:gd name="connsiteX66" fmla="*/ 2714844 w 6865640"/>
              <a:gd name="connsiteY66" fmla="*/ 6315939 h 7785545"/>
              <a:gd name="connsiteX67" fmla="*/ 2748500 w 6865640"/>
              <a:gd name="connsiteY67" fmla="*/ 6327158 h 7785545"/>
              <a:gd name="connsiteX68" fmla="*/ 2770936 w 6865640"/>
              <a:gd name="connsiteY68" fmla="*/ 6360813 h 7785545"/>
              <a:gd name="connsiteX69" fmla="*/ 2804592 w 6865640"/>
              <a:gd name="connsiteY69" fmla="*/ 6416905 h 7785545"/>
              <a:gd name="connsiteX70" fmla="*/ 2815810 w 6865640"/>
              <a:gd name="connsiteY70" fmla="*/ 6495433 h 7785545"/>
              <a:gd name="connsiteX71" fmla="*/ 2804592 w 6865640"/>
              <a:gd name="connsiteY71" fmla="*/ 6573962 h 7785545"/>
              <a:gd name="connsiteX72" fmla="*/ 2770936 w 6865640"/>
              <a:gd name="connsiteY72" fmla="*/ 6641272 h 7785545"/>
              <a:gd name="connsiteX73" fmla="*/ 2748500 w 6865640"/>
              <a:gd name="connsiteY73" fmla="*/ 6663709 h 7785545"/>
              <a:gd name="connsiteX74" fmla="*/ 2714844 w 6865640"/>
              <a:gd name="connsiteY74" fmla="*/ 6674927 h 7785545"/>
              <a:gd name="connsiteX75" fmla="*/ 2692408 w 6865640"/>
              <a:gd name="connsiteY75" fmla="*/ 6686146 h 7785545"/>
              <a:gd name="connsiteX76" fmla="*/ 2658753 w 6865640"/>
              <a:gd name="connsiteY76" fmla="*/ 6697364 h 7785545"/>
              <a:gd name="connsiteX77" fmla="*/ 2625098 w 6865640"/>
              <a:gd name="connsiteY77" fmla="*/ 6686146 h 7785545"/>
              <a:gd name="connsiteX78" fmla="*/ 2602661 w 6865640"/>
              <a:gd name="connsiteY78" fmla="*/ 6674927 h 7785545"/>
              <a:gd name="connsiteX79" fmla="*/ 2569006 w 6865640"/>
              <a:gd name="connsiteY79" fmla="*/ 6663709 h 7785545"/>
              <a:gd name="connsiteX80" fmla="*/ 2546569 w 6865640"/>
              <a:gd name="connsiteY80" fmla="*/ 6641272 h 7785545"/>
              <a:gd name="connsiteX81" fmla="*/ 2512914 w 6865640"/>
              <a:gd name="connsiteY81" fmla="*/ 6573962 h 7785545"/>
              <a:gd name="connsiteX82" fmla="*/ 2501696 w 6865640"/>
              <a:gd name="connsiteY82" fmla="*/ 6495433 h 7785545"/>
              <a:gd name="connsiteX83" fmla="*/ 2512914 w 6865640"/>
              <a:gd name="connsiteY83" fmla="*/ 6416905 h 7785545"/>
              <a:gd name="connsiteX84" fmla="*/ 2546569 w 6865640"/>
              <a:gd name="connsiteY84" fmla="*/ 6360813 h 7785545"/>
              <a:gd name="connsiteX85" fmla="*/ 2569006 w 6865640"/>
              <a:gd name="connsiteY85" fmla="*/ 6327158 h 7785545"/>
              <a:gd name="connsiteX86" fmla="*/ 2602661 w 6865640"/>
              <a:gd name="connsiteY86" fmla="*/ 6315939 h 7785545"/>
              <a:gd name="connsiteX87" fmla="*/ 2625098 w 6865640"/>
              <a:gd name="connsiteY87" fmla="*/ 6304721 h 7785545"/>
              <a:gd name="connsiteX88" fmla="*/ 1738847 w 6865640"/>
              <a:gd name="connsiteY88" fmla="*/ 5900860 h 7785545"/>
              <a:gd name="connsiteX89" fmla="*/ 1839812 w 6865640"/>
              <a:gd name="connsiteY89" fmla="*/ 5912078 h 7785545"/>
              <a:gd name="connsiteX90" fmla="*/ 1929559 w 6865640"/>
              <a:gd name="connsiteY90" fmla="*/ 5934515 h 7785545"/>
              <a:gd name="connsiteX91" fmla="*/ 2008087 w 6865640"/>
              <a:gd name="connsiteY91" fmla="*/ 5968170 h 7785545"/>
              <a:gd name="connsiteX92" fmla="*/ 2086616 w 6865640"/>
              <a:gd name="connsiteY92" fmla="*/ 6024262 h 7785545"/>
              <a:gd name="connsiteX93" fmla="*/ 2142708 w 6865640"/>
              <a:gd name="connsiteY93" fmla="*/ 6080354 h 7785545"/>
              <a:gd name="connsiteX94" fmla="*/ 2187581 w 6865640"/>
              <a:gd name="connsiteY94" fmla="*/ 6147664 h 7785545"/>
              <a:gd name="connsiteX95" fmla="*/ 2221236 w 6865640"/>
              <a:gd name="connsiteY95" fmla="*/ 6214974 h 7785545"/>
              <a:gd name="connsiteX96" fmla="*/ 2232455 w 6865640"/>
              <a:gd name="connsiteY96" fmla="*/ 6293503 h 7785545"/>
              <a:gd name="connsiteX97" fmla="*/ 2221236 w 6865640"/>
              <a:gd name="connsiteY97" fmla="*/ 6383250 h 7785545"/>
              <a:gd name="connsiteX98" fmla="*/ 2187581 w 6865640"/>
              <a:gd name="connsiteY98" fmla="*/ 6450560 h 7785545"/>
              <a:gd name="connsiteX99" fmla="*/ 2142708 w 6865640"/>
              <a:gd name="connsiteY99" fmla="*/ 6517870 h 7785545"/>
              <a:gd name="connsiteX100" fmla="*/ 2086616 w 6865640"/>
              <a:gd name="connsiteY100" fmla="*/ 6573962 h 7785545"/>
              <a:gd name="connsiteX101" fmla="*/ 2008087 w 6865640"/>
              <a:gd name="connsiteY101" fmla="*/ 6630054 h 7785545"/>
              <a:gd name="connsiteX102" fmla="*/ 1929559 w 6865640"/>
              <a:gd name="connsiteY102" fmla="*/ 6663709 h 7785545"/>
              <a:gd name="connsiteX103" fmla="*/ 1839812 w 6865640"/>
              <a:gd name="connsiteY103" fmla="*/ 6686146 h 7785545"/>
              <a:gd name="connsiteX104" fmla="*/ 1738847 w 6865640"/>
              <a:gd name="connsiteY104" fmla="*/ 6697364 h 7785545"/>
              <a:gd name="connsiteX105" fmla="*/ 1637881 w 6865640"/>
              <a:gd name="connsiteY105" fmla="*/ 6686146 h 7785545"/>
              <a:gd name="connsiteX106" fmla="*/ 1548135 w 6865640"/>
              <a:gd name="connsiteY106" fmla="*/ 6663709 h 7785545"/>
              <a:gd name="connsiteX107" fmla="*/ 1458387 w 6865640"/>
              <a:gd name="connsiteY107" fmla="*/ 6630054 h 7785545"/>
              <a:gd name="connsiteX108" fmla="*/ 1391077 w 6865640"/>
              <a:gd name="connsiteY108" fmla="*/ 6573962 h 7785545"/>
              <a:gd name="connsiteX109" fmla="*/ 1323767 w 6865640"/>
              <a:gd name="connsiteY109" fmla="*/ 6517870 h 7785545"/>
              <a:gd name="connsiteX110" fmla="*/ 1278894 w 6865640"/>
              <a:gd name="connsiteY110" fmla="*/ 6450560 h 7785545"/>
              <a:gd name="connsiteX111" fmla="*/ 1256457 w 6865640"/>
              <a:gd name="connsiteY111" fmla="*/ 6383250 h 7785545"/>
              <a:gd name="connsiteX112" fmla="*/ 1245239 w 6865640"/>
              <a:gd name="connsiteY112" fmla="*/ 6293503 h 7785545"/>
              <a:gd name="connsiteX113" fmla="*/ 1256457 w 6865640"/>
              <a:gd name="connsiteY113" fmla="*/ 6214974 h 7785545"/>
              <a:gd name="connsiteX114" fmla="*/ 1278894 w 6865640"/>
              <a:gd name="connsiteY114" fmla="*/ 6147664 h 7785545"/>
              <a:gd name="connsiteX115" fmla="*/ 1323767 w 6865640"/>
              <a:gd name="connsiteY115" fmla="*/ 6080354 h 7785545"/>
              <a:gd name="connsiteX116" fmla="*/ 1391077 w 6865640"/>
              <a:gd name="connsiteY116" fmla="*/ 6024262 h 7785545"/>
              <a:gd name="connsiteX117" fmla="*/ 1458387 w 6865640"/>
              <a:gd name="connsiteY117" fmla="*/ 5968170 h 7785545"/>
              <a:gd name="connsiteX118" fmla="*/ 1548135 w 6865640"/>
              <a:gd name="connsiteY118" fmla="*/ 5934515 h 7785545"/>
              <a:gd name="connsiteX119" fmla="*/ 1637881 w 6865640"/>
              <a:gd name="connsiteY119" fmla="*/ 5912078 h 7785545"/>
              <a:gd name="connsiteX120" fmla="*/ 751631 w 6865640"/>
              <a:gd name="connsiteY120" fmla="*/ 5900860 h 7785545"/>
              <a:gd name="connsiteX121" fmla="*/ 807723 w 6865640"/>
              <a:gd name="connsiteY121" fmla="*/ 5912078 h 7785545"/>
              <a:gd name="connsiteX122" fmla="*/ 863814 w 6865640"/>
              <a:gd name="connsiteY122" fmla="*/ 5923297 h 7785545"/>
              <a:gd name="connsiteX123" fmla="*/ 908688 w 6865640"/>
              <a:gd name="connsiteY123" fmla="*/ 5934515 h 7785545"/>
              <a:gd name="connsiteX124" fmla="*/ 942343 w 6865640"/>
              <a:gd name="connsiteY124" fmla="*/ 5956952 h 7785545"/>
              <a:gd name="connsiteX125" fmla="*/ 975998 w 6865640"/>
              <a:gd name="connsiteY125" fmla="*/ 5979389 h 7785545"/>
              <a:gd name="connsiteX126" fmla="*/ 1009653 w 6865640"/>
              <a:gd name="connsiteY126" fmla="*/ 6013044 h 7785545"/>
              <a:gd name="connsiteX127" fmla="*/ 1020871 w 6865640"/>
              <a:gd name="connsiteY127" fmla="*/ 6046699 h 7785545"/>
              <a:gd name="connsiteX128" fmla="*/ 1020871 w 6865640"/>
              <a:gd name="connsiteY128" fmla="*/ 6091572 h 7785545"/>
              <a:gd name="connsiteX129" fmla="*/ 1020871 w 6865640"/>
              <a:gd name="connsiteY129" fmla="*/ 6125227 h 7785545"/>
              <a:gd name="connsiteX130" fmla="*/ 1009653 w 6865640"/>
              <a:gd name="connsiteY130" fmla="*/ 6158882 h 7785545"/>
              <a:gd name="connsiteX131" fmla="*/ 975998 w 6865640"/>
              <a:gd name="connsiteY131" fmla="*/ 6192537 h 7785545"/>
              <a:gd name="connsiteX132" fmla="*/ 942343 w 6865640"/>
              <a:gd name="connsiteY132" fmla="*/ 6214974 h 7785545"/>
              <a:gd name="connsiteX133" fmla="*/ 908688 w 6865640"/>
              <a:gd name="connsiteY133" fmla="*/ 6237411 h 7785545"/>
              <a:gd name="connsiteX134" fmla="*/ 863814 w 6865640"/>
              <a:gd name="connsiteY134" fmla="*/ 6259848 h 7785545"/>
              <a:gd name="connsiteX135" fmla="*/ 807723 w 6865640"/>
              <a:gd name="connsiteY135" fmla="*/ 6271066 h 7785545"/>
              <a:gd name="connsiteX136" fmla="*/ 751631 w 6865640"/>
              <a:gd name="connsiteY136" fmla="*/ 6271066 h 7785545"/>
              <a:gd name="connsiteX137" fmla="*/ 695539 w 6865640"/>
              <a:gd name="connsiteY137" fmla="*/ 6271066 h 7785545"/>
              <a:gd name="connsiteX138" fmla="*/ 650665 w 6865640"/>
              <a:gd name="connsiteY138" fmla="*/ 6259848 h 7785545"/>
              <a:gd name="connsiteX139" fmla="*/ 594574 w 6865640"/>
              <a:gd name="connsiteY139" fmla="*/ 6237411 h 7785545"/>
              <a:gd name="connsiteX140" fmla="*/ 560919 w 6865640"/>
              <a:gd name="connsiteY140" fmla="*/ 6214974 h 7785545"/>
              <a:gd name="connsiteX141" fmla="*/ 527263 w 6865640"/>
              <a:gd name="connsiteY141" fmla="*/ 6192537 h 7785545"/>
              <a:gd name="connsiteX142" fmla="*/ 504827 w 6865640"/>
              <a:gd name="connsiteY142" fmla="*/ 6158882 h 7785545"/>
              <a:gd name="connsiteX143" fmla="*/ 482390 w 6865640"/>
              <a:gd name="connsiteY143" fmla="*/ 6125227 h 7785545"/>
              <a:gd name="connsiteX144" fmla="*/ 482390 w 6865640"/>
              <a:gd name="connsiteY144" fmla="*/ 6091572 h 7785545"/>
              <a:gd name="connsiteX145" fmla="*/ 482390 w 6865640"/>
              <a:gd name="connsiteY145" fmla="*/ 6046699 h 7785545"/>
              <a:gd name="connsiteX146" fmla="*/ 504827 w 6865640"/>
              <a:gd name="connsiteY146" fmla="*/ 6013044 h 7785545"/>
              <a:gd name="connsiteX147" fmla="*/ 527263 w 6865640"/>
              <a:gd name="connsiteY147" fmla="*/ 5979389 h 7785545"/>
              <a:gd name="connsiteX148" fmla="*/ 560919 w 6865640"/>
              <a:gd name="connsiteY148" fmla="*/ 5956952 h 7785545"/>
              <a:gd name="connsiteX149" fmla="*/ 594574 w 6865640"/>
              <a:gd name="connsiteY149" fmla="*/ 5934515 h 7785545"/>
              <a:gd name="connsiteX150" fmla="*/ 650665 w 6865640"/>
              <a:gd name="connsiteY150" fmla="*/ 5923297 h 7785545"/>
              <a:gd name="connsiteX151" fmla="*/ 695539 w 6865640"/>
              <a:gd name="connsiteY151" fmla="*/ 5912078 h 7785545"/>
              <a:gd name="connsiteX152" fmla="*/ 157057 w 6865640"/>
              <a:gd name="connsiteY152" fmla="*/ 4453691 h 7785545"/>
              <a:gd name="connsiteX153" fmla="*/ 190712 w 6865640"/>
              <a:gd name="connsiteY153" fmla="*/ 4453691 h 7785545"/>
              <a:gd name="connsiteX154" fmla="*/ 224368 w 6865640"/>
              <a:gd name="connsiteY154" fmla="*/ 4453691 h 7785545"/>
              <a:gd name="connsiteX155" fmla="*/ 269241 w 6865640"/>
              <a:gd name="connsiteY155" fmla="*/ 4476128 h 7785545"/>
              <a:gd name="connsiteX156" fmla="*/ 291678 w 6865640"/>
              <a:gd name="connsiteY156" fmla="*/ 4498564 h 7785545"/>
              <a:gd name="connsiteX157" fmla="*/ 325333 w 6865640"/>
              <a:gd name="connsiteY157" fmla="*/ 4521001 h 7785545"/>
              <a:gd name="connsiteX158" fmla="*/ 347770 w 6865640"/>
              <a:gd name="connsiteY158" fmla="*/ 4554656 h 7785545"/>
              <a:gd name="connsiteX159" fmla="*/ 358988 w 6865640"/>
              <a:gd name="connsiteY159" fmla="*/ 4588311 h 7785545"/>
              <a:gd name="connsiteX160" fmla="*/ 370206 w 6865640"/>
              <a:gd name="connsiteY160" fmla="*/ 4633185 h 7785545"/>
              <a:gd name="connsiteX161" fmla="*/ 381425 w 6865640"/>
              <a:gd name="connsiteY161" fmla="*/ 4678058 h 7785545"/>
              <a:gd name="connsiteX162" fmla="*/ 370206 w 6865640"/>
              <a:gd name="connsiteY162" fmla="*/ 4722932 h 7785545"/>
              <a:gd name="connsiteX163" fmla="*/ 358988 w 6865640"/>
              <a:gd name="connsiteY163" fmla="*/ 4767805 h 7785545"/>
              <a:gd name="connsiteX164" fmla="*/ 347770 w 6865640"/>
              <a:gd name="connsiteY164" fmla="*/ 4812679 h 7785545"/>
              <a:gd name="connsiteX165" fmla="*/ 325333 w 6865640"/>
              <a:gd name="connsiteY165" fmla="*/ 4846334 h 7785545"/>
              <a:gd name="connsiteX166" fmla="*/ 291678 w 6865640"/>
              <a:gd name="connsiteY166" fmla="*/ 4868770 h 7785545"/>
              <a:gd name="connsiteX167" fmla="*/ 269241 w 6865640"/>
              <a:gd name="connsiteY167" fmla="*/ 4891207 h 7785545"/>
              <a:gd name="connsiteX168" fmla="*/ 224368 w 6865640"/>
              <a:gd name="connsiteY168" fmla="*/ 4902426 h 7785545"/>
              <a:gd name="connsiteX169" fmla="*/ 190712 w 6865640"/>
              <a:gd name="connsiteY169" fmla="*/ 4913644 h 7785545"/>
              <a:gd name="connsiteX170" fmla="*/ 157057 w 6865640"/>
              <a:gd name="connsiteY170" fmla="*/ 4902426 h 7785545"/>
              <a:gd name="connsiteX171" fmla="*/ 123402 w 6865640"/>
              <a:gd name="connsiteY171" fmla="*/ 4891207 h 7785545"/>
              <a:gd name="connsiteX172" fmla="*/ 89747 w 6865640"/>
              <a:gd name="connsiteY172" fmla="*/ 4868770 h 7785545"/>
              <a:gd name="connsiteX173" fmla="*/ 56092 w 6865640"/>
              <a:gd name="connsiteY173" fmla="*/ 4846334 h 7785545"/>
              <a:gd name="connsiteX174" fmla="*/ 33655 w 6865640"/>
              <a:gd name="connsiteY174" fmla="*/ 4812679 h 7785545"/>
              <a:gd name="connsiteX175" fmla="*/ 22437 w 6865640"/>
              <a:gd name="connsiteY175" fmla="*/ 4767805 h 7785545"/>
              <a:gd name="connsiteX176" fmla="*/ 11219 w 6865640"/>
              <a:gd name="connsiteY176" fmla="*/ 4722932 h 7785545"/>
              <a:gd name="connsiteX177" fmla="*/ 0 w 6865640"/>
              <a:gd name="connsiteY177" fmla="*/ 4678058 h 7785545"/>
              <a:gd name="connsiteX178" fmla="*/ 11219 w 6865640"/>
              <a:gd name="connsiteY178" fmla="*/ 4633185 h 7785545"/>
              <a:gd name="connsiteX179" fmla="*/ 22437 w 6865640"/>
              <a:gd name="connsiteY179" fmla="*/ 4588311 h 7785545"/>
              <a:gd name="connsiteX180" fmla="*/ 33655 w 6865640"/>
              <a:gd name="connsiteY180" fmla="*/ 4554656 h 7785545"/>
              <a:gd name="connsiteX181" fmla="*/ 56092 w 6865640"/>
              <a:gd name="connsiteY181" fmla="*/ 4521001 h 7785545"/>
              <a:gd name="connsiteX182" fmla="*/ 89747 w 6865640"/>
              <a:gd name="connsiteY182" fmla="*/ 4498564 h 7785545"/>
              <a:gd name="connsiteX183" fmla="*/ 123402 w 6865640"/>
              <a:gd name="connsiteY183" fmla="*/ 4476128 h 7785545"/>
              <a:gd name="connsiteX184" fmla="*/ 605792 w 6865640"/>
              <a:gd name="connsiteY184" fmla="*/ 3881554 h 7785545"/>
              <a:gd name="connsiteX185" fmla="*/ 650665 w 6865640"/>
              <a:gd name="connsiteY185" fmla="*/ 3892773 h 7785545"/>
              <a:gd name="connsiteX186" fmla="*/ 684321 w 6865640"/>
              <a:gd name="connsiteY186" fmla="*/ 3903991 h 7785545"/>
              <a:gd name="connsiteX187" fmla="*/ 729194 w 6865640"/>
              <a:gd name="connsiteY187" fmla="*/ 3915209 h 7785545"/>
              <a:gd name="connsiteX188" fmla="*/ 762849 w 6865640"/>
              <a:gd name="connsiteY188" fmla="*/ 3948864 h 7785545"/>
              <a:gd name="connsiteX189" fmla="*/ 785286 w 6865640"/>
              <a:gd name="connsiteY189" fmla="*/ 3971301 h 7785545"/>
              <a:gd name="connsiteX190" fmla="*/ 807723 w 6865640"/>
              <a:gd name="connsiteY190" fmla="*/ 4016175 h 7785545"/>
              <a:gd name="connsiteX191" fmla="*/ 818941 w 6865640"/>
              <a:gd name="connsiteY191" fmla="*/ 4049830 h 7785545"/>
              <a:gd name="connsiteX192" fmla="*/ 830159 w 6865640"/>
              <a:gd name="connsiteY192" fmla="*/ 4094703 h 7785545"/>
              <a:gd name="connsiteX193" fmla="*/ 818941 w 6865640"/>
              <a:gd name="connsiteY193" fmla="*/ 4128358 h 7785545"/>
              <a:gd name="connsiteX194" fmla="*/ 807723 w 6865640"/>
              <a:gd name="connsiteY194" fmla="*/ 4173232 h 7785545"/>
              <a:gd name="connsiteX195" fmla="*/ 785286 w 6865640"/>
              <a:gd name="connsiteY195" fmla="*/ 4206887 h 7785545"/>
              <a:gd name="connsiteX196" fmla="*/ 762849 w 6865640"/>
              <a:gd name="connsiteY196" fmla="*/ 4240542 h 7785545"/>
              <a:gd name="connsiteX197" fmla="*/ 729194 w 6865640"/>
              <a:gd name="connsiteY197" fmla="*/ 4262979 h 7785545"/>
              <a:gd name="connsiteX198" fmla="*/ 684321 w 6865640"/>
              <a:gd name="connsiteY198" fmla="*/ 4285416 h 7785545"/>
              <a:gd name="connsiteX199" fmla="*/ 650665 w 6865640"/>
              <a:gd name="connsiteY199" fmla="*/ 4296634 h 7785545"/>
              <a:gd name="connsiteX200" fmla="*/ 605792 w 6865640"/>
              <a:gd name="connsiteY200" fmla="*/ 4296634 h 7785545"/>
              <a:gd name="connsiteX201" fmla="*/ 560919 w 6865640"/>
              <a:gd name="connsiteY201" fmla="*/ 4296634 h 7785545"/>
              <a:gd name="connsiteX202" fmla="*/ 516045 w 6865640"/>
              <a:gd name="connsiteY202" fmla="*/ 4285416 h 7785545"/>
              <a:gd name="connsiteX203" fmla="*/ 482390 w 6865640"/>
              <a:gd name="connsiteY203" fmla="*/ 4262979 h 7785545"/>
              <a:gd name="connsiteX204" fmla="*/ 448735 w 6865640"/>
              <a:gd name="connsiteY204" fmla="*/ 4240542 h 7785545"/>
              <a:gd name="connsiteX205" fmla="*/ 415080 w 6865640"/>
              <a:gd name="connsiteY205" fmla="*/ 4206887 h 7785545"/>
              <a:gd name="connsiteX206" fmla="*/ 392643 w 6865640"/>
              <a:gd name="connsiteY206" fmla="*/ 4173232 h 7785545"/>
              <a:gd name="connsiteX207" fmla="*/ 381425 w 6865640"/>
              <a:gd name="connsiteY207" fmla="*/ 4128358 h 7785545"/>
              <a:gd name="connsiteX208" fmla="*/ 381425 w 6865640"/>
              <a:gd name="connsiteY208" fmla="*/ 4094703 h 7785545"/>
              <a:gd name="connsiteX209" fmla="*/ 381425 w 6865640"/>
              <a:gd name="connsiteY209" fmla="*/ 4049830 h 7785545"/>
              <a:gd name="connsiteX210" fmla="*/ 392643 w 6865640"/>
              <a:gd name="connsiteY210" fmla="*/ 4016175 h 7785545"/>
              <a:gd name="connsiteX211" fmla="*/ 415080 w 6865640"/>
              <a:gd name="connsiteY211" fmla="*/ 3971301 h 7785545"/>
              <a:gd name="connsiteX212" fmla="*/ 448735 w 6865640"/>
              <a:gd name="connsiteY212" fmla="*/ 3948864 h 7785545"/>
              <a:gd name="connsiteX213" fmla="*/ 482390 w 6865640"/>
              <a:gd name="connsiteY213" fmla="*/ 3915209 h 7785545"/>
              <a:gd name="connsiteX214" fmla="*/ 516045 w 6865640"/>
              <a:gd name="connsiteY214" fmla="*/ 3903991 h 7785545"/>
              <a:gd name="connsiteX215" fmla="*/ 560919 w 6865640"/>
              <a:gd name="connsiteY215" fmla="*/ 3892773 h 7785545"/>
              <a:gd name="connsiteX216" fmla="*/ 482390 w 6865640"/>
              <a:gd name="connsiteY216" fmla="*/ 2871902 h 7785545"/>
              <a:gd name="connsiteX217" fmla="*/ 549700 w 6865640"/>
              <a:gd name="connsiteY217" fmla="*/ 2883120 h 7785545"/>
              <a:gd name="connsiteX218" fmla="*/ 617010 w 6865640"/>
              <a:gd name="connsiteY218" fmla="*/ 2905557 h 7785545"/>
              <a:gd name="connsiteX219" fmla="*/ 673102 w 6865640"/>
              <a:gd name="connsiteY219" fmla="*/ 2939212 h 7785545"/>
              <a:gd name="connsiteX220" fmla="*/ 729194 w 6865640"/>
              <a:gd name="connsiteY220" fmla="*/ 2984085 h 7785545"/>
              <a:gd name="connsiteX221" fmla="*/ 762849 w 6865640"/>
              <a:gd name="connsiteY221" fmla="*/ 3040177 h 7785545"/>
              <a:gd name="connsiteX222" fmla="*/ 796504 w 6865640"/>
              <a:gd name="connsiteY222" fmla="*/ 3107487 h 7785545"/>
              <a:gd name="connsiteX223" fmla="*/ 818941 w 6865640"/>
              <a:gd name="connsiteY223" fmla="*/ 3174797 h 7785545"/>
              <a:gd name="connsiteX224" fmla="*/ 830159 w 6865640"/>
              <a:gd name="connsiteY224" fmla="*/ 3253326 h 7785545"/>
              <a:gd name="connsiteX225" fmla="*/ 818941 w 6865640"/>
              <a:gd name="connsiteY225" fmla="*/ 3320636 h 7785545"/>
              <a:gd name="connsiteX226" fmla="*/ 796504 w 6865640"/>
              <a:gd name="connsiteY226" fmla="*/ 3387946 h 7785545"/>
              <a:gd name="connsiteX227" fmla="*/ 762849 w 6865640"/>
              <a:gd name="connsiteY227" fmla="*/ 3455256 h 7785545"/>
              <a:gd name="connsiteX228" fmla="*/ 729194 w 6865640"/>
              <a:gd name="connsiteY228" fmla="*/ 3511348 h 7785545"/>
              <a:gd name="connsiteX229" fmla="*/ 673102 w 6865640"/>
              <a:gd name="connsiteY229" fmla="*/ 3556222 h 7785545"/>
              <a:gd name="connsiteX230" fmla="*/ 617010 w 6865640"/>
              <a:gd name="connsiteY230" fmla="*/ 3589877 h 7785545"/>
              <a:gd name="connsiteX231" fmla="*/ 549700 w 6865640"/>
              <a:gd name="connsiteY231" fmla="*/ 3612314 h 7785545"/>
              <a:gd name="connsiteX232" fmla="*/ 482390 w 6865640"/>
              <a:gd name="connsiteY232" fmla="*/ 3623532 h 7785545"/>
              <a:gd name="connsiteX233" fmla="*/ 403861 w 6865640"/>
              <a:gd name="connsiteY233" fmla="*/ 3612314 h 7785545"/>
              <a:gd name="connsiteX234" fmla="*/ 347770 w 6865640"/>
              <a:gd name="connsiteY234" fmla="*/ 3589877 h 7785545"/>
              <a:gd name="connsiteX235" fmla="*/ 280459 w 6865640"/>
              <a:gd name="connsiteY235" fmla="*/ 3556222 h 7785545"/>
              <a:gd name="connsiteX236" fmla="*/ 235586 w 6865640"/>
              <a:gd name="connsiteY236" fmla="*/ 3511348 h 7785545"/>
              <a:gd name="connsiteX237" fmla="*/ 190712 w 6865640"/>
              <a:gd name="connsiteY237" fmla="*/ 3455256 h 7785545"/>
              <a:gd name="connsiteX238" fmla="*/ 157057 w 6865640"/>
              <a:gd name="connsiteY238" fmla="*/ 3387946 h 7785545"/>
              <a:gd name="connsiteX239" fmla="*/ 134621 w 6865640"/>
              <a:gd name="connsiteY239" fmla="*/ 3320636 h 7785545"/>
              <a:gd name="connsiteX240" fmla="*/ 134621 w 6865640"/>
              <a:gd name="connsiteY240" fmla="*/ 3253326 h 7785545"/>
              <a:gd name="connsiteX241" fmla="*/ 134621 w 6865640"/>
              <a:gd name="connsiteY241" fmla="*/ 3174797 h 7785545"/>
              <a:gd name="connsiteX242" fmla="*/ 157057 w 6865640"/>
              <a:gd name="connsiteY242" fmla="*/ 3107487 h 7785545"/>
              <a:gd name="connsiteX243" fmla="*/ 190712 w 6865640"/>
              <a:gd name="connsiteY243" fmla="*/ 3040177 h 7785545"/>
              <a:gd name="connsiteX244" fmla="*/ 235586 w 6865640"/>
              <a:gd name="connsiteY244" fmla="*/ 2984085 h 7785545"/>
              <a:gd name="connsiteX245" fmla="*/ 280459 w 6865640"/>
              <a:gd name="connsiteY245" fmla="*/ 2939212 h 7785545"/>
              <a:gd name="connsiteX246" fmla="*/ 347770 w 6865640"/>
              <a:gd name="connsiteY246" fmla="*/ 2905557 h 7785545"/>
              <a:gd name="connsiteX247" fmla="*/ 403861 w 6865640"/>
              <a:gd name="connsiteY247" fmla="*/ 2883120 h 7785545"/>
              <a:gd name="connsiteX248" fmla="*/ 1245239 w 6865640"/>
              <a:gd name="connsiteY248" fmla="*/ 2468041 h 7785545"/>
              <a:gd name="connsiteX249" fmla="*/ 1301331 w 6865640"/>
              <a:gd name="connsiteY249" fmla="*/ 2479259 h 7785545"/>
              <a:gd name="connsiteX250" fmla="*/ 1346204 w 6865640"/>
              <a:gd name="connsiteY250" fmla="*/ 2501696 h 7785545"/>
              <a:gd name="connsiteX251" fmla="*/ 1379859 w 6865640"/>
              <a:gd name="connsiteY251" fmla="*/ 2546569 h 7785545"/>
              <a:gd name="connsiteX252" fmla="*/ 1391077 w 6865640"/>
              <a:gd name="connsiteY252" fmla="*/ 2591443 h 7785545"/>
              <a:gd name="connsiteX253" fmla="*/ 1379859 w 6865640"/>
              <a:gd name="connsiteY253" fmla="*/ 2647534 h 7785545"/>
              <a:gd name="connsiteX254" fmla="*/ 1346204 w 6865640"/>
              <a:gd name="connsiteY254" fmla="*/ 2692408 h 7785545"/>
              <a:gd name="connsiteX255" fmla="*/ 1301331 w 6865640"/>
              <a:gd name="connsiteY255" fmla="*/ 2714845 h 7785545"/>
              <a:gd name="connsiteX256" fmla="*/ 1245239 w 6865640"/>
              <a:gd name="connsiteY256" fmla="*/ 2726063 h 7785545"/>
              <a:gd name="connsiteX257" fmla="*/ 1177929 w 6865640"/>
              <a:gd name="connsiteY257" fmla="*/ 2714845 h 7785545"/>
              <a:gd name="connsiteX258" fmla="*/ 1133055 w 6865640"/>
              <a:gd name="connsiteY258" fmla="*/ 2692408 h 7785545"/>
              <a:gd name="connsiteX259" fmla="*/ 1099400 w 6865640"/>
              <a:gd name="connsiteY259" fmla="*/ 2647534 h 7785545"/>
              <a:gd name="connsiteX260" fmla="*/ 1088181 w 6865640"/>
              <a:gd name="connsiteY260" fmla="*/ 2591443 h 7785545"/>
              <a:gd name="connsiteX261" fmla="*/ 1099400 w 6865640"/>
              <a:gd name="connsiteY261" fmla="*/ 2546569 h 7785545"/>
              <a:gd name="connsiteX262" fmla="*/ 1133055 w 6865640"/>
              <a:gd name="connsiteY262" fmla="*/ 2501696 h 7785545"/>
              <a:gd name="connsiteX263" fmla="*/ 1177929 w 6865640"/>
              <a:gd name="connsiteY263" fmla="*/ 2479259 h 7785545"/>
              <a:gd name="connsiteX264" fmla="*/ 6394468 w 6865640"/>
              <a:gd name="connsiteY264" fmla="*/ 2232455 h 7785545"/>
              <a:gd name="connsiteX265" fmla="*/ 6450560 w 6865640"/>
              <a:gd name="connsiteY265" fmla="*/ 2232455 h 7785545"/>
              <a:gd name="connsiteX266" fmla="*/ 6506652 w 6865640"/>
              <a:gd name="connsiteY266" fmla="*/ 2232455 h 7785545"/>
              <a:gd name="connsiteX267" fmla="*/ 6585181 w 6865640"/>
              <a:gd name="connsiteY267" fmla="*/ 2243673 h 7785545"/>
              <a:gd name="connsiteX268" fmla="*/ 6663710 w 6865640"/>
              <a:gd name="connsiteY268" fmla="*/ 2277328 h 7785545"/>
              <a:gd name="connsiteX269" fmla="*/ 6697364 w 6865640"/>
              <a:gd name="connsiteY269" fmla="*/ 2310983 h 7785545"/>
              <a:gd name="connsiteX270" fmla="*/ 6742238 w 6865640"/>
              <a:gd name="connsiteY270" fmla="*/ 2344639 h 7785545"/>
              <a:gd name="connsiteX271" fmla="*/ 6775893 w 6865640"/>
              <a:gd name="connsiteY271" fmla="*/ 2400730 h 7785545"/>
              <a:gd name="connsiteX272" fmla="*/ 6809548 w 6865640"/>
              <a:gd name="connsiteY272" fmla="*/ 2456822 h 7785545"/>
              <a:gd name="connsiteX273" fmla="*/ 6831985 w 6865640"/>
              <a:gd name="connsiteY273" fmla="*/ 2490477 h 7785545"/>
              <a:gd name="connsiteX274" fmla="*/ 6854422 w 6865640"/>
              <a:gd name="connsiteY274" fmla="*/ 2546569 h 7785545"/>
              <a:gd name="connsiteX275" fmla="*/ 6865640 w 6865640"/>
              <a:gd name="connsiteY275" fmla="*/ 2613879 h 7785545"/>
              <a:gd name="connsiteX276" fmla="*/ 6865640 w 6865640"/>
              <a:gd name="connsiteY276" fmla="*/ 2714845 h 7785545"/>
              <a:gd name="connsiteX277" fmla="*/ 6854422 w 6865640"/>
              <a:gd name="connsiteY277" fmla="*/ 2827028 h 7785545"/>
              <a:gd name="connsiteX278" fmla="*/ 6820766 w 6865640"/>
              <a:gd name="connsiteY278" fmla="*/ 2972867 h 7785545"/>
              <a:gd name="connsiteX279" fmla="*/ 6753456 w 6865640"/>
              <a:gd name="connsiteY279" fmla="*/ 3129924 h 7785545"/>
              <a:gd name="connsiteX280" fmla="*/ 6708583 w 6865640"/>
              <a:gd name="connsiteY280" fmla="*/ 3230889 h 7785545"/>
              <a:gd name="connsiteX281" fmla="*/ 6652491 w 6865640"/>
              <a:gd name="connsiteY281" fmla="*/ 3320636 h 7785545"/>
              <a:gd name="connsiteX282" fmla="*/ 6585181 w 6865640"/>
              <a:gd name="connsiteY282" fmla="*/ 3387946 h 7785545"/>
              <a:gd name="connsiteX283" fmla="*/ 6529089 w 6865640"/>
              <a:gd name="connsiteY283" fmla="*/ 3444038 h 7785545"/>
              <a:gd name="connsiteX284" fmla="*/ 6461779 w 6865640"/>
              <a:gd name="connsiteY284" fmla="*/ 3488912 h 7785545"/>
              <a:gd name="connsiteX285" fmla="*/ 6394468 w 6865640"/>
              <a:gd name="connsiteY285" fmla="*/ 3511348 h 7785545"/>
              <a:gd name="connsiteX286" fmla="*/ 6338377 w 6865640"/>
              <a:gd name="connsiteY286" fmla="*/ 3522567 h 7785545"/>
              <a:gd name="connsiteX287" fmla="*/ 6282285 w 6865640"/>
              <a:gd name="connsiteY287" fmla="*/ 3500130 h 7785545"/>
              <a:gd name="connsiteX288" fmla="*/ 6237412 w 6865640"/>
              <a:gd name="connsiteY288" fmla="*/ 3455256 h 7785545"/>
              <a:gd name="connsiteX289" fmla="*/ 6203756 w 6865640"/>
              <a:gd name="connsiteY289" fmla="*/ 3399165 h 7785545"/>
              <a:gd name="connsiteX290" fmla="*/ 6181320 w 6865640"/>
              <a:gd name="connsiteY290" fmla="*/ 3331854 h 7785545"/>
              <a:gd name="connsiteX291" fmla="*/ 6170102 w 6865640"/>
              <a:gd name="connsiteY291" fmla="*/ 3242108 h 7785545"/>
              <a:gd name="connsiteX292" fmla="*/ 6170102 w 6865640"/>
              <a:gd name="connsiteY292" fmla="*/ 3152361 h 7785545"/>
              <a:gd name="connsiteX293" fmla="*/ 6181320 w 6865640"/>
              <a:gd name="connsiteY293" fmla="*/ 3051395 h 7785545"/>
              <a:gd name="connsiteX294" fmla="*/ 6203756 w 6865640"/>
              <a:gd name="connsiteY294" fmla="*/ 2950430 h 7785545"/>
              <a:gd name="connsiteX295" fmla="*/ 6248630 w 6865640"/>
              <a:gd name="connsiteY295" fmla="*/ 2838247 h 7785545"/>
              <a:gd name="connsiteX296" fmla="*/ 6259848 w 6865640"/>
              <a:gd name="connsiteY296" fmla="*/ 2815810 h 7785545"/>
              <a:gd name="connsiteX297" fmla="*/ 6271066 w 6865640"/>
              <a:gd name="connsiteY297" fmla="*/ 2748500 h 7785545"/>
              <a:gd name="connsiteX298" fmla="*/ 6271066 w 6865640"/>
              <a:gd name="connsiteY298" fmla="*/ 2658753 h 7785545"/>
              <a:gd name="connsiteX299" fmla="*/ 6271066 w 6865640"/>
              <a:gd name="connsiteY299" fmla="*/ 2613879 h 7785545"/>
              <a:gd name="connsiteX300" fmla="*/ 6248630 w 6865640"/>
              <a:gd name="connsiteY300" fmla="*/ 2569006 h 7785545"/>
              <a:gd name="connsiteX301" fmla="*/ 6226193 w 6865640"/>
              <a:gd name="connsiteY301" fmla="*/ 2535351 h 7785545"/>
              <a:gd name="connsiteX302" fmla="*/ 6214975 w 6865640"/>
              <a:gd name="connsiteY302" fmla="*/ 2501696 h 7785545"/>
              <a:gd name="connsiteX303" fmla="*/ 6203756 w 6865640"/>
              <a:gd name="connsiteY303" fmla="*/ 2456822 h 7785545"/>
              <a:gd name="connsiteX304" fmla="*/ 6203756 w 6865640"/>
              <a:gd name="connsiteY304" fmla="*/ 2411949 h 7785545"/>
              <a:gd name="connsiteX305" fmla="*/ 6226193 w 6865640"/>
              <a:gd name="connsiteY305" fmla="*/ 2355857 h 7785545"/>
              <a:gd name="connsiteX306" fmla="*/ 6271066 w 6865640"/>
              <a:gd name="connsiteY306" fmla="*/ 2299765 h 7785545"/>
              <a:gd name="connsiteX307" fmla="*/ 6349595 w 6865640"/>
              <a:gd name="connsiteY307" fmla="*/ 2254892 h 7785545"/>
              <a:gd name="connsiteX308" fmla="*/ 1783720 w 6865640"/>
              <a:gd name="connsiteY308" fmla="*/ 2097835 h 7785545"/>
              <a:gd name="connsiteX309" fmla="*/ 1839812 w 6865640"/>
              <a:gd name="connsiteY309" fmla="*/ 2109053 h 7785545"/>
              <a:gd name="connsiteX310" fmla="*/ 1895904 w 6865640"/>
              <a:gd name="connsiteY310" fmla="*/ 2120271 h 7785545"/>
              <a:gd name="connsiteX311" fmla="*/ 1940777 w 6865640"/>
              <a:gd name="connsiteY311" fmla="*/ 2142708 h 7785545"/>
              <a:gd name="connsiteX312" fmla="*/ 1985651 w 6865640"/>
              <a:gd name="connsiteY312" fmla="*/ 2165145 h 7785545"/>
              <a:gd name="connsiteX313" fmla="*/ 2019306 w 6865640"/>
              <a:gd name="connsiteY313" fmla="*/ 2198800 h 7785545"/>
              <a:gd name="connsiteX314" fmla="*/ 2052961 w 6865640"/>
              <a:gd name="connsiteY314" fmla="*/ 2232455 h 7785545"/>
              <a:gd name="connsiteX315" fmla="*/ 2064179 w 6865640"/>
              <a:gd name="connsiteY315" fmla="*/ 2266110 h 7785545"/>
              <a:gd name="connsiteX316" fmla="*/ 2075398 w 6865640"/>
              <a:gd name="connsiteY316" fmla="*/ 2310983 h 7785545"/>
              <a:gd name="connsiteX317" fmla="*/ 2064179 w 6865640"/>
              <a:gd name="connsiteY317" fmla="*/ 2355857 h 7785545"/>
              <a:gd name="connsiteX318" fmla="*/ 2052961 w 6865640"/>
              <a:gd name="connsiteY318" fmla="*/ 2400730 h 7785545"/>
              <a:gd name="connsiteX319" fmla="*/ 2019306 w 6865640"/>
              <a:gd name="connsiteY319" fmla="*/ 2434385 h 7785545"/>
              <a:gd name="connsiteX320" fmla="*/ 1985651 w 6865640"/>
              <a:gd name="connsiteY320" fmla="*/ 2468041 h 7785545"/>
              <a:gd name="connsiteX321" fmla="*/ 1940777 w 6865640"/>
              <a:gd name="connsiteY321" fmla="*/ 2490477 h 7785545"/>
              <a:gd name="connsiteX322" fmla="*/ 1895904 w 6865640"/>
              <a:gd name="connsiteY322" fmla="*/ 2512914 h 7785545"/>
              <a:gd name="connsiteX323" fmla="*/ 1839812 w 6865640"/>
              <a:gd name="connsiteY323" fmla="*/ 2524132 h 7785545"/>
              <a:gd name="connsiteX324" fmla="*/ 1783720 w 6865640"/>
              <a:gd name="connsiteY324" fmla="*/ 2524132 h 7785545"/>
              <a:gd name="connsiteX325" fmla="*/ 1727629 w 6865640"/>
              <a:gd name="connsiteY325" fmla="*/ 2524132 h 7785545"/>
              <a:gd name="connsiteX326" fmla="*/ 1671537 w 6865640"/>
              <a:gd name="connsiteY326" fmla="*/ 2512914 h 7785545"/>
              <a:gd name="connsiteX327" fmla="*/ 1615445 w 6865640"/>
              <a:gd name="connsiteY327" fmla="*/ 2490477 h 7785545"/>
              <a:gd name="connsiteX328" fmla="*/ 1570571 w 6865640"/>
              <a:gd name="connsiteY328" fmla="*/ 2468041 h 7785545"/>
              <a:gd name="connsiteX329" fmla="*/ 1536916 w 6865640"/>
              <a:gd name="connsiteY329" fmla="*/ 2434385 h 7785545"/>
              <a:gd name="connsiteX330" fmla="*/ 1514479 w 6865640"/>
              <a:gd name="connsiteY330" fmla="*/ 2400730 h 7785545"/>
              <a:gd name="connsiteX331" fmla="*/ 1492043 w 6865640"/>
              <a:gd name="connsiteY331" fmla="*/ 2355857 h 7785545"/>
              <a:gd name="connsiteX332" fmla="*/ 1492043 w 6865640"/>
              <a:gd name="connsiteY332" fmla="*/ 2310983 h 7785545"/>
              <a:gd name="connsiteX333" fmla="*/ 1492043 w 6865640"/>
              <a:gd name="connsiteY333" fmla="*/ 2266110 h 7785545"/>
              <a:gd name="connsiteX334" fmla="*/ 1514479 w 6865640"/>
              <a:gd name="connsiteY334" fmla="*/ 2232455 h 7785545"/>
              <a:gd name="connsiteX335" fmla="*/ 1536916 w 6865640"/>
              <a:gd name="connsiteY335" fmla="*/ 2198800 h 7785545"/>
              <a:gd name="connsiteX336" fmla="*/ 1570571 w 6865640"/>
              <a:gd name="connsiteY336" fmla="*/ 2165145 h 7785545"/>
              <a:gd name="connsiteX337" fmla="*/ 1615445 w 6865640"/>
              <a:gd name="connsiteY337" fmla="*/ 2142708 h 7785545"/>
              <a:gd name="connsiteX338" fmla="*/ 1671537 w 6865640"/>
              <a:gd name="connsiteY338" fmla="*/ 2120271 h 7785545"/>
              <a:gd name="connsiteX339" fmla="*/ 1727629 w 6865640"/>
              <a:gd name="connsiteY339" fmla="*/ 2109053 h 7785545"/>
              <a:gd name="connsiteX340" fmla="*/ 5586746 w 6865640"/>
              <a:gd name="connsiteY340" fmla="*/ 560918 h 7785545"/>
              <a:gd name="connsiteX341" fmla="*/ 5654056 w 6865640"/>
              <a:gd name="connsiteY341" fmla="*/ 560918 h 7785545"/>
              <a:gd name="connsiteX342" fmla="*/ 5710148 w 6865640"/>
              <a:gd name="connsiteY342" fmla="*/ 583355 h 7785545"/>
              <a:gd name="connsiteX343" fmla="*/ 5777458 w 6865640"/>
              <a:gd name="connsiteY343" fmla="*/ 628229 h 7785545"/>
              <a:gd name="connsiteX344" fmla="*/ 5844768 w 6865640"/>
              <a:gd name="connsiteY344" fmla="*/ 684320 h 7785545"/>
              <a:gd name="connsiteX345" fmla="*/ 5900860 w 6865640"/>
              <a:gd name="connsiteY345" fmla="*/ 762849 h 7785545"/>
              <a:gd name="connsiteX346" fmla="*/ 5956952 w 6865640"/>
              <a:gd name="connsiteY346" fmla="*/ 852596 h 7785545"/>
              <a:gd name="connsiteX347" fmla="*/ 6001826 w 6865640"/>
              <a:gd name="connsiteY347" fmla="*/ 953561 h 7785545"/>
              <a:gd name="connsiteX348" fmla="*/ 6035481 w 6865640"/>
              <a:gd name="connsiteY348" fmla="*/ 1054527 h 7785545"/>
              <a:gd name="connsiteX349" fmla="*/ 6057918 w 6865640"/>
              <a:gd name="connsiteY349" fmla="*/ 1166710 h 7785545"/>
              <a:gd name="connsiteX350" fmla="*/ 6069136 w 6865640"/>
              <a:gd name="connsiteY350" fmla="*/ 1267675 h 7785545"/>
              <a:gd name="connsiteX351" fmla="*/ 6069136 w 6865640"/>
              <a:gd name="connsiteY351" fmla="*/ 1368641 h 7785545"/>
              <a:gd name="connsiteX352" fmla="*/ 6057918 w 6865640"/>
              <a:gd name="connsiteY352" fmla="*/ 1447169 h 7785545"/>
              <a:gd name="connsiteX353" fmla="*/ 6035481 w 6865640"/>
              <a:gd name="connsiteY353" fmla="*/ 1514479 h 7785545"/>
              <a:gd name="connsiteX354" fmla="*/ 6001826 w 6865640"/>
              <a:gd name="connsiteY354" fmla="*/ 1570571 h 7785545"/>
              <a:gd name="connsiteX355" fmla="*/ 5956952 w 6865640"/>
              <a:gd name="connsiteY355" fmla="*/ 1615445 h 7785545"/>
              <a:gd name="connsiteX356" fmla="*/ 5900860 w 6865640"/>
              <a:gd name="connsiteY356" fmla="*/ 1626663 h 7785545"/>
              <a:gd name="connsiteX357" fmla="*/ 5833550 w 6865640"/>
              <a:gd name="connsiteY357" fmla="*/ 1626663 h 7785545"/>
              <a:gd name="connsiteX358" fmla="*/ 5766240 w 6865640"/>
              <a:gd name="connsiteY358" fmla="*/ 1604226 h 7785545"/>
              <a:gd name="connsiteX359" fmla="*/ 5710148 w 6865640"/>
              <a:gd name="connsiteY359" fmla="*/ 1559353 h 7785545"/>
              <a:gd name="connsiteX360" fmla="*/ 5642838 w 6865640"/>
              <a:gd name="connsiteY360" fmla="*/ 1492043 h 7785545"/>
              <a:gd name="connsiteX361" fmla="*/ 5586746 w 6865640"/>
              <a:gd name="connsiteY361" fmla="*/ 1424732 h 7785545"/>
              <a:gd name="connsiteX362" fmla="*/ 5530654 w 6865640"/>
              <a:gd name="connsiteY362" fmla="*/ 1334986 h 7785545"/>
              <a:gd name="connsiteX363" fmla="*/ 5485781 w 6865640"/>
              <a:gd name="connsiteY363" fmla="*/ 1234020 h 7785545"/>
              <a:gd name="connsiteX364" fmla="*/ 5452126 w 6865640"/>
              <a:gd name="connsiteY364" fmla="*/ 1133055 h 7785545"/>
              <a:gd name="connsiteX365" fmla="*/ 5418471 w 6865640"/>
              <a:gd name="connsiteY365" fmla="*/ 1020871 h 7785545"/>
              <a:gd name="connsiteX366" fmla="*/ 5407252 w 6865640"/>
              <a:gd name="connsiteY366" fmla="*/ 919906 h 7785545"/>
              <a:gd name="connsiteX367" fmla="*/ 5407252 w 6865640"/>
              <a:gd name="connsiteY367" fmla="*/ 818941 h 7785545"/>
              <a:gd name="connsiteX368" fmla="*/ 5429689 w 6865640"/>
              <a:gd name="connsiteY368" fmla="*/ 740412 h 7785545"/>
              <a:gd name="connsiteX369" fmla="*/ 5452126 w 6865640"/>
              <a:gd name="connsiteY369" fmla="*/ 673102 h 7785545"/>
              <a:gd name="connsiteX370" fmla="*/ 5485781 w 6865640"/>
              <a:gd name="connsiteY370" fmla="*/ 617010 h 7785545"/>
              <a:gd name="connsiteX371" fmla="*/ 5530654 w 6865640"/>
              <a:gd name="connsiteY371" fmla="*/ 572137 h 7785545"/>
              <a:gd name="connsiteX372" fmla="*/ 4285416 w 6865640"/>
              <a:gd name="connsiteY372" fmla="*/ 347770 h 7785545"/>
              <a:gd name="connsiteX373" fmla="*/ 4386381 w 6865640"/>
              <a:gd name="connsiteY373" fmla="*/ 347770 h 7785545"/>
              <a:gd name="connsiteX374" fmla="*/ 4487346 w 6865640"/>
              <a:gd name="connsiteY374" fmla="*/ 358988 h 7785545"/>
              <a:gd name="connsiteX375" fmla="*/ 4565875 w 6865640"/>
              <a:gd name="connsiteY375" fmla="*/ 392643 h 7785545"/>
              <a:gd name="connsiteX376" fmla="*/ 4644404 w 6865640"/>
              <a:gd name="connsiteY376" fmla="*/ 426298 h 7785545"/>
              <a:gd name="connsiteX377" fmla="*/ 4711714 w 6865640"/>
              <a:gd name="connsiteY377" fmla="*/ 459953 h 7785545"/>
              <a:gd name="connsiteX378" fmla="*/ 4801460 w 6865640"/>
              <a:gd name="connsiteY378" fmla="*/ 527263 h 7785545"/>
              <a:gd name="connsiteX379" fmla="*/ 4835116 w 6865640"/>
              <a:gd name="connsiteY379" fmla="*/ 560918 h 7785545"/>
              <a:gd name="connsiteX380" fmla="*/ 4924862 w 6865640"/>
              <a:gd name="connsiteY380" fmla="*/ 639447 h 7785545"/>
              <a:gd name="connsiteX381" fmla="*/ 5014610 w 6865640"/>
              <a:gd name="connsiteY381" fmla="*/ 729194 h 7785545"/>
              <a:gd name="connsiteX382" fmla="*/ 5070702 w 6865640"/>
              <a:gd name="connsiteY382" fmla="*/ 830159 h 7785545"/>
              <a:gd name="connsiteX383" fmla="*/ 5126794 w 6865640"/>
              <a:gd name="connsiteY383" fmla="*/ 919906 h 7785545"/>
              <a:gd name="connsiteX384" fmla="*/ 5160448 w 6865640"/>
              <a:gd name="connsiteY384" fmla="*/ 1009653 h 7785545"/>
              <a:gd name="connsiteX385" fmla="*/ 5194104 w 6865640"/>
              <a:gd name="connsiteY385" fmla="*/ 1099400 h 7785545"/>
              <a:gd name="connsiteX386" fmla="*/ 5216540 w 6865640"/>
              <a:gd name="connsiteY386" fmla="*/ 1177929 h 7785545"/>
              <a:gd name="connsiteX387" fmla="*/ 5216540 w 6865640"/>
              <a:gd name="connsiteY387" fmla="*/ 1267675 h 7785545"/>
              <a:gd name="connsiteX388" fmla="*/ 5227758 w 6865640"/>
              <a:gd name="connsiteY388" fmla="*/ 1413514 h 7785545"/>
              <a:gd name="connsiteX389" fmla="*/ 5205322 w 6865640"/>
              <a:gd name="connsiteY389" fmla="*/ 1525698 h 7785545"/>
              <a:gd name="connsiteX390" fmla="*/ 5182885 w 6865640"/>
              <a:gd name="connsiteY390" fmla="*/ 1626663 h 7785545"/>
              <a:gd name="connsiteX391" fmla="*/ 5149230 w 6865640"/>
              <a:gd name="connsiteY391" fmla="*/ 1772502 h 7785545"/>
              <a:gd name="connsiteX392" fmla="*/ 5138012 w 6865640"/>
              <a:gd name="connsiteY392" fmla="*/ 1884686 h 7785545"/>
              <a:gd name="connsiteX393" fmla="*/ 5138012 w 6865640"/>
              <a:gd name="connsiteY393" fmla="*/ 1985651 h 7785545"/>
              <a:gd name="connsiteX394" fmla="*/ 5149230 w 6865640"/>
              <a:gd name="connsiteY394" fmla="*/ 2052961 h 7785545"/>
              <a:gd name="connsiteX395" fmla="*/ 5182885 w 6865640"/>
              <a:gd name="connsiteY395" fmla="*/ 2109053 h 7785545"/>
              <a:gd name="connsiteX396" fmla="*/ 5205322 w 6865640"/>
              <a:gd name="connsiteY396" fmla="*/ 2153926 h 7785545"/>
              <a:gd name="connsiteX397" fmla="*/ 5238977 w 6865640"/>
              <a:gd name="connsiteY397" fmla="*/ 2198800 h 7785545"/>
              <a:gd name="connsiteX398" fmla="*/ 5283850 w 6865640"/>
              <a:gd name="connsiteY398" fmla="*/ 2232455 h 7785545"/>
              <a:gd name="connsiteX399" fmla="*/ 5328724 w 6865640"/>
              <a:gd name="connsiteY399" fmla="*/ 2254892 h 7785545"/>
              <a:gd name="connsiteX400" fmla="*/ 5407252 w 6865640"/>
              <a:gd name="connsiteY400" fmla="*/ 2288547 h 7785545"/>
              <a:gd name="connsiteX401" fmla="*/ 5485781 w 6865640"/>
              <a:gd name="connsiteY401" fmla="*/ 2299765 h 7785545"/>
              <a:gd name="connsiteX402" fmla="*/ 5553091 w 6865640"/>
              <a:gd name="connsiteY402" fmla="*/ 2299765 h 7785545"/>
              <a:gd name="connsiteX403" fmla="*/ 5620402 w 6865640"/>
              <a:gd name="connsiteY403" fmla="*/ 2299765 h 7785545"/>
              <a:gd name="connsiteX404" fmla="*/ 5732585 w 6865640"/>
              <a:gd name="connsiteY404" fmla="*/ 2299765 h 7785545"/>
              <a:gd name="connsiteX405" fmla="*/ 5822332 w 6865640"/>
              <a:gd name="connsiteY405" fmla="*/ 2310983 h 7785545"/>
              <a:gd name="connsiteX406" fmla="*/ 5900860 w 6865640"/>
              <a:gd name="connsiteY406" fmla="*/ 2333420 h 7785545"/>
              <a:gd name="connsiteX407" fmla="*/ 5956952 w 6865640"/>
              <a:gd name="connsiteY407" fmla="*/ 2355857 h 7785545"/>
              <a:gd name="connsiteX408" fmla="*/ 5990608 w 6865640"/>
              <a:gd name="connsiteY408" fmla="*/ 2389512 h 7785545"/>
              <a:gd name="connsiteX409" fmla="*/ 6013044 w 6865640"/>
              <a:gd name="connsiteY409" fmla="*/ 2411949 h 7785545"/>
              <a:gd name="connsiteX410" fmla="*/ 6035481 w 6865640"/>
              <a:gd name="connsiteY410" fmla="*/ 2434385 h 7785545"/>
              <a:gd name="connsiteX411" fmla="*/ 6057918 w 6865640"/>
              <a:gd name="connsiteY411" fmla="*/ 2468041 h 7785545"/>
              <a:gd name="connsiteX412" fmla="*/ 6069136 w 6865640"/>
              <a:gd name="connsiteY412" fmla="*/ 2501696 h 7785545"/>
              <a:gd name="connsiteX413" fmla="*/ 6091572 w 6865640"/>
              <a:gd name="connsiteY413" fmla="*/ 2569006 h 7785545"/>
              <a:gd name="connsiteX414" fmla="*/ 6091572 w 6865640"/>
              <a:gd name="connsiteY414" fmla="*/ 2647534 h 7785545"/>
              <a:gd name="connsiteX415" fmla="*/ 6069136 w 6865640"/>
              <a:gd name="connsiteY415" fmla="*/ 2714845 h 7785545"/>
              <a:gd name="connsiteX416" fmla="*/ 6024262 w 6865640"/>
              <a:gd name="connsiteY416" fmla="*/ 2827028 h 7785545"/>
              <a:gd name="connsiteX417" fmla="*/ 6001826 w 6865640"/>
              <a:gd name="connsiteY417" fmla="*/ 2860683 h 7785545"/>
              <a:gd name="connsiteX418" fmla="*/ 5923298 w 6865640"/>
              <a:gd name="connsiteY418" fmla="*/ 2984085 h 7785545"/>
              <a:gd name="connsiteX419" fmla="*/ 5867206 w 6865640"/>
              <a:gd name="connsiteY419" fmla="*/ 3085050 h 7785545"/>
              <a:gd name="connsiteX420" fmla="*/ 5833550 w 6865640"/>
              <a:gd name="connsiteY420" fmla="*/ 3174797 h 7785545"/>
              <a:gd name="connsiteX421" fmla="*/ 5811114 w 6865640"/>
              <a:gd name="connsiteY421" fmla="*/ 3242108 h 7785545"/>
              <a:gd name="connsiteX422" fmla="*/ 5799895 w 6865640"/>
              <a:gd name="connsiteY422" fmla="*/ 3309418 h 7785545"/>
              <a:gd name="connsiteX423" fmla="*/ 5799895 w 6865640"/>
              <a:gd name="connsiteY423" fmla="*/ 3354291 h 7785545"/>
              <a:gd name="connsiteX424" fmla="*/ 5799895 w 6865640"/>
              <a:gd name="connsiteY424" fmla="*/ 3387946 h 7785545"/>
              <a:gd name="connsiteX425" fmla="*/ 5811114 w 6865640"/>
              <a:gd name="connsiteY425" fmla="*/ 3444038 h 7785545"/>
              <a:gd name="connsiteX426" fmla="*/ 5822332 w 6865640"/>
              <a:gd name="connsiteY426" fmla="*/ 3500130 h 7785545"/>
              <a:gd name="connsiteX427" fmla="*/ 5844768 w 6865640"/>
              <a:gd name="connsiteY427" fmla="*/ 3545003 h 7785545"/>
              <a:gd name="connsiteX428" fmla="*/ 5878424 w 6865640"/>
              <a:gd name="connsiteY428" fmla="*/ 3578658 h 7785545"/>
              <a:gd name="connsiteX429" fmla="*/ 5912079 w 6865640"/>
              <a:gd name="connsiteY429" fmla="*/ 3612314 h 7785545"/>
              <a:gd name="connsiteX430" fmla="*/ 5945734 w 6865640"/>
              <a:gd name="connsiteY430" fmla="*/ 3645969 h 7785545"/>
              <a:gd name="connsiteX431" fmla="*/ 6024262 w 6865640"/>
              <a:gd name="connsiteY431" fmla="*/ 3679624 h 7785545"/>
              <a:gd name="connsiteX432" fmla="*/ 6091572 w 6865640"/>
              <a:gd name="connsiteY432" fmla="*/ 3702060 h 7785545"/>
              <a:gd name="connsiteX433" fmla="*/ 6158883 w 6865640"/>
              <a:gd name="connsiteY433" fmla="*/ 3702060 h 7785545"/>
              <a:gd name="connsiteX434" fmla="*/ 6226193 w 6865640"/>
              <a:gd name="connsiteY434" fmla="*/ 3702060 h 7785545"/>
              <a:gd name="connsiteX435" fmla="*/ 6360814 w 6865640"/>
              <a:gd name="connsiteY435" fmla="*/ 3713279 h 7785545"/>
              <a:gd name="connsiteX436" fmla="*/ 6484216 w 6865640"/>
              <a:gd name="connsiteY436" fmla="*/ 3735716 h 7785545"/>
              <a:gd name="connsiteX437" fmla="*/ 6573962 w 6865640"/>
              <a:gd name="connsiteY437" fmla="*/ 3769371 h 7785545"/>
              <a:gd name="connsiteX438" fmla="*/ 6652491 w 6865640"/>
              <a:gd name="connsiteY438" fmla="*/ 3803026 h 7785545"/>
              <a:gd name="connsiteX439" fmla="*/ 6708583 w 6865640"/>
              <a:gd name="connsiteY439" fmla="*/ 3847899 h 7785545"/>
              <a:gd name="connsiteX440" fmla="*/ 6753456 w 6865640"/>
              <a:gd name="connsiteY440" fmla="*/ 3881554 h 7785545"/>
              <a:gd name="connsiteX441" fmla="*/ 6787112 w 6865640"/>
              <a:gd name="connsiteY441" fmla="*/ 3926428 h 7785545"/>
              <a:gd name="connsiteX442" fmla="*/ 6809548 w 6865640"/>
              <a:gd name="connsiteY442" fmla="*/ 3960083 h 7785545"/>
              <a:gd name="connsiteX443" fmla="*/ 6831985 w 6865640"/>
              <a:gd name="connsiteY443" fmla="*/ 4004956 h 7785545"/>
              <a:gd name="connsiteX444" fmla="*/ 6843204 w 6865640"/>
              <a:gd name="connsiteY444" fmla="*/ 4038611 h 7785545"/>
              <a:gd name="connsiteX445" fmla="*/ 6843204 w 6865640"/>
              <a:gd name="connsiteY445" fmla="*/ 4072266 h 7785545"/>
              <a:gd name="connsiteX446" fmla="*/ 6831985 w 6865640"/>
              <a:gd name="connsiteY446" fmla="*/ 4105922 h 7785545"/>
              <a:gd name="connsiteX447" fmla="*/ 6809548 w 6865640"/>
              <a:gd name="connsiteY447" fmla="*/ 4139577 h 7785545"/>
              <a:gd name="connsiteX448" fmla="*/ 6764674 w 6865640"/>
              <a:gd name="connsiteY448" fmla="*/ 4195669 h 7785545"/>
              <a:gd name="connsiteX449" fmla="*/ 6708583 w 6865640"/>
              <a:gd name="connsiteY449" fmla="*/ 4240542 h 7785545"/>
              <a:gd name="connsiteX450" fmla="*/ 6652491 w 6865640"/>
              <a:gd name="connsiteY450" fmla="*/ 4274197 h 7785545"/>
              <a:gd name="connsiteX451" fmla="*/ 6596399 w 6865640"/>
              <a:gd name="connsiteY451" fmla="*/ 4296634 h 7785545"/>
              <a:gd name="connsiteX452" fmla="*/ 6529089 w 6865640"/>
              <a:gd name="connsiteY452" fmla="*/ 4319071 h 7785545"/>
              <a:gd name="connsiteX453" fmla="*/ 6484216 w 6865640"/>
              <a:gd name="connsiteY453" fmla="*/ 4341507 h 7785545"/>
              <a:gd name="connsiteX454" fmla="*/ 6394468 w 6865640"/>
              <a:gd name="connsiteY454" fmla="*/ 4408818 h 7785545"/>
              <a:gd name="connsiteX455" fmla="*/ 6338377 w 6865640"/>
              <a:gd name="connsiteY455" fmla="*/ 4476128 h 7785545"/>
              <a:gd name="connsiteX456" fmla="*/ 6293504 w 6865640"/>
              <a:gd name="connsiteY456" fmla="*/ 4554656 h 7785545"/>
              <a:gd name="connsiteX457" fmla="*/ 6259848 w 6865640"/>
              <a:gd name="connsiteY457" fmla="*/ 4621966 h 7785545"/>
              <a:gd name="connsiteX458" fmla="*/ 6248630 w 6865640"/>
              <a:gd name="connsiteY458" fmla="*/ 4678058 h 7785545"/>
              <a:gd name="connsiteX459" fmla="*/ 6248630 w 6865640"/>
              <a:gd name="connsiteY459" fmla="*/ 4722932 h 7785545"/>
              <a:gd name="connsiteX460" fmla="*/ 6237412 w 6865640"/>
              <a:gd name="connsiteY460" fmla="*/ 4812679 h 7785545"/>
              <a:gd name="connsiteX461" fmla="*/ 6214975 w 6865640"/>
              <a:gd name="connsiteY461" fmla="*/ 4879989 h 7785545"/>
              <a:gd name="connsiteX462" fmla="*/ 6192538 w 6865640"/>
              <a:gd name="connsiteY462" fmla="*/ 4947299 h 7785545"/>
              <a:gd name="connsiteX463" fmla="*/ 6158883 w 6865640"/>
              <a:gd name="connsiteY463" fmla="*/ 5003391 h 7785545"/>
              <a:gd name="connsiteX464" fmla="*/ 6091572 w 6865640"/>
              <a:gd name="connsiteY464" fmla="*/ 5093138 h 7785545"/>
              <a:gd name="connsiteX465" fmla="*/ 6024262 w 6865640"/>
              <a:gd name="connsiteY465" fmla="*/ 5171666 h 7785545"/>
              <a:gd name="connsiteX466" fmla="*/ 5945734 w 6865640"/>
              <a:gd name="connsiteY466" fmla="*/ 5216540 h 7785545"/>
              <a:gd name="connsiteX467" fmla="*/ 5878424 w 6865640"/>
              <a:gd name="connsiteY467" fmla="*/ 5250195 h 7785545"/>
              <a:gd name="connsiteX468" fmla="*/ 5822332 w 6865640"/>
              <a:gd name="connsiteY468" fmla="*/ 5261413 h 7785545"/>
              <a:gd name="connsiteX469" fmla="*/ 5743804 w 6865640"/>
              <a:gd name="connsiteY469" fmla="*/ 5295068 h 7785545"/>
              <a:gd name="connsiteX470" fmla="*/ 5676493 w 6865640"/>
              <a:gd name="connsiteY470" fmla="*/ 5317505 h 7785545"/>
              <a:gd name="connsiteX471" fmla="*/ 5631620 w 6865640"/>
              <a:gd name="connsiteY471" fmla="*/ 5351160 h 7785545"/>
              <a:gd name="connsiteX472" fmla="*/ 5586746 w 6865640"/>
              <a:gd name="connsiteY472" fmla="*/ 5384815 h 7785545"/>
              <a:gd name="connsiteX473" fmla="*/ 5553091 w 6865640"/>
              <a:gd name="connsiteY473" fmla="*/ 5418470 h 7785545"/>
              <a:gd name="connsiteX474" fmla="*/ 5530654 w 6865640"/>
              <a:gd name="connsiteY474" fmla="*/ 5452125 h 7785545"/>
              <a:gd name="connsiteX475" fmla="*/ 5497000 w 6865640"/>
              <a:gd name="connsiteY475" fmla="*/ 5530654 h 7785545"/>
              <a:gd name="connsiteX476" fmla="*/ 5497000 w 6865640"/>
              <a:gd name="connsiteY476" fmla="*/ 5586746 h 7785545"/>
              <a:gd name="connsiteX477" fmla="*/ 5497000 w 6865640"/>
              <a:gd name="connsiteY477" fmla="*/ 5642838 h 7785545"/>
              <a:gd name="connsiteX478" fmla="*/ 5519436 w 6865640"/>
              <a:gd name="connsiteY478" fmla="*/ 5698929 h 7785545"/>
              <a:gd name="connsiteX479" fmla="*/ 5541873 w 6865640"/>
              <a:gd name="connsiteY479" fmla="*/ 5755021 h 7785545"/>
              <a:gd name="connsiteX480" fmla="*/ 5553091 w 6865640"/>
              <a:gd name="connsiteY480" fmla="*/ 5811113 h 7785545"/>
              <a:gd name="connsiteX481" fmla="*/ 5553091 w 6865640"/>
              <a:gd name="connsiteY481" fmla="*/ 5867205 h 7785545"/>
              <a:gd name="connsiteX482" fmla="*/ 5530654 w 6865640"/>
              <a:gd name="connsiteY482" fmla="*/ 5912078 h 7785545"/>
              <a:gd name="connsiteX483" fmla="*/ 5497000 w 6865640"/>
              <a:gd name="connsiteY483" fmla="*/ 5979389 h 7785545"/>
              <a:gd name="connsiteX484" fmla="*/ 5474562 w 6865640"/>
              <a:gd name="connsiteY484" fmla="*/ 6013044 h 7785545"/>
              <a:gd name="connsiteX485" fmla="*/ 5384816 w 6865640"/>
              <a:gd name="connsiteY485" fmla="*/ 6069135 h 7785545"/>
              <a:gd name="connsiteX486" fmla="*/ 5283850 w 6865640"/>
              <a:gd name="connsiteY486" fmla="*/ 6091572 h 7785545"/>
              <a:gd name="connsiteX487" fmla="*/ 5205322 w 6865640"/>
              <a:gd name="connsiteY487" fmla="*/ 6102791 h 7785545"/>
              <a:gd name="connsiteX488" fmla="*/ 5126794 w 6865640"/>
              <a:gd name="connsiteY488" fmla="*/ 6102791 h 7785545"/>
              <a:gd name="connsiteX489" fmla="*/ 5070702 w 6865640"/>
              <a:gd name="connsiteY489" fmla="*/ 6091572 h 7785545"/>
              <a:gd name="connsiteX490" fmla="*/ 5025828 w 6865640"/>
              <a:gd name="connsiteY490" fmla="*/ 6080354 h 7785545"/>
              <a:gd name="connsiteX491" fmla="*/ 4980954 w 6865640"/>
              <a:gd name="connsiteY491" fmla="*/ 6057917 h 7785545"/>
              <a:gd name="connsiteX492" fmla="*/ 4857552 w 6865640"/>
              <a:gd name="connsiteY492" fmla="*/ 6001825 h 7785545"/>
              <a:gd name="connsiteX493" fmla="*/ 4734150 w 6865640"/>
              <a:gd name="connsiteY493" fmla="*/ 5968170 h 7785545"/>
              <a:gd name="connsiteX494" fmla="*/ 4633185 w 6865640"/>
              <a:gd name="connsiteY494" fmla="*/ 5934515 h 7785545"/>
              <a:gd name="connsiteX495" fmla="*/ 4532220 w 6865640"/>
              <a:gd name="connsiteY495" fmla="*/ 5923297 h 7785545"/>
              <a:gd name="connsiteX496" fmla="*/ 4431254 w 6865640"/>
              <a:gd name="connsiteY496" fmla="*/ 5923297 h 7785545"/>
              <a:gd name="connsiteX497" fmla="*/ 4341508 w 6865640"/>
              <a:gd name="connsiteY497" fmla="*/ 5934515 h 7785545"/>
              <a:gd name="connsiteX498" fmla="*/ 4262979 w 6865640"/>
              <a:gd name="connsiteY498" fmla="*/ 5945733 h 7785545"/>
              <a:gd name="connsiteX499" fmla="*/ 4195669 w 6865640"/>
              <a:gd name="connsiteY499" fmla="*/ 5968170 h 7785545"/>
              <a:gd name="connsiteX500" fmla="*/ 4083485 w 6865640"/>
              <a:gd name="connsiteY500" fmla="*/ 6024262 h 7785545"/>
              <a:gd name="connsiteX501" fmla="*/ 3993738 w 6865640"/>
              <a:gd name="connsiteY501" fmla="*/ 6080354 h 7785545"/>
              <a:gd name="connsiteX502" fmla="*/ 3926428 w 6865640"/>
              <a:gd name="connsiteY502" fmla="*/ 6136446 h 7785545"/>
              <a:gd name="connsiteX503" fmla="*/ 3814244 w 6865640"/>
              <a:gd name="connsiteY503" fmla="*/ 6248629 h 7785545"/>
              <a:gd name="connsiteX504" fmla="*/ 3702061 w 6865640"/>
              <a:gd name="connsiteY504" fmla="*/ 6327158 h 7785545"/>
              <a:gd name="connsiteX505" fmla="*/ 3601096 w 6865640"/>
              <a:gd name="connsiteY505" fmla="*/ 6383250 h 7785545"/>
              <a:gd name="connsiteX506" fmla="*/ 3511348 w 6865640"/>
              <a:gd name="connsiteY506" fmla="*/ 6416905 h 7785545"/>
              <a:gd name="connsiteX507" fmla="*/ 3432820 w 6865640"/>
              <a:gd name="connsiteY507" fmla="*/ 6428123 h 7785545"/>
              <a:gd name="connsiteX508" fmla="*/ 3365510 w 6865640"/>
              <a:gd name="connsiteY508" fmla="*/ 6428123 h 7785545"/>
              <a:gd name="connsiteX509" fmla="*/ 3320636 w 6865640"/>
              <a:gd name="connsiteY509" fmla="*/ 6428123 h 7785545"/>
              <a:gd name="connsiteX510" fmla="*/ 3208453 w 6865640"/>
              <a:gd name="connsiteY510" fmla="*/ 6405686 h 7785545"/>
              <a:gd name="connsiteX511" fmla="*/ 3118706 w 6865640"/>
              <a:gd name="connsiteY511" fmla="*/ 6372031 h 7785545"/>
              <a:gd name="connsiteX512" fmla="*/ 3051396 w 6865640"/>
              <a:gd name="connsiteY512" fmla="*/ 6315939 h 7785545"/>
              <a:gd name="connsiteX513" fmla="*/ 3006522 w 6865640"/>
              <a:gd name="connsiteY513" fmla="*/ 6271066 h 7785545"/>
              <a:gd name="connsiteX514" fmla="*/ 2972867 w 6865640"/>
              <a:gd name="connsiteY514" fmla="*/ 6214974 h 7785545"/>
              <a:gd name="connsiteX515" fmla="*/ 2950430 w 6865640"/>
              <a:gd name="connsiteY515" fmla="*/ 6170101 h 7785545"/>
              <a:gd name="connsiteX516" fmla="*/ 2939212 w 6865640"/>
              <a:gd name="connsiteY516" fmla="*/ 6136446 h 7785545"/>
              <a:gd name="connsiteX517" fmla="*/ 2916775 w 6865640"/>
              <a:gd name="connsiteY517" fmla="*/ 6035480 h 7785545"/>
              <a:gd name="connsiteX518" fmla="*/ 2871902 w 6865640"/>
              <a:gd name="connsiteY518" fmla="*/ 5956952 h 7785545"/>
              <a:gd name="connsiteX519" fmla="*/ 2827028 w 6865640"/>
              <a:gd name="connsiteY519" fmla="*/ 5900860 h 7785545"/>
              <a:gd name="connsiteX520" fmla="*/ 2770936 w 6865640"/>
              <a:gd name="connsiteY520" fmla="*/ 5867205 h 7785545"/>
              <a:gd name="connsiteX521" fmla="*/ 2714844 w 6865640"/>
              <a:gd name="connsiteY521" fmla="*/ 5844768 h 7785545"/>
              <a:gd name="connsiteX522" fmla="*/ 2669971 w 6865640"/>
              <a:gd name="connsiteY522" fmla="*/ 5833550 h 7785545"/>
              <a:gd name="connsiteX523" fmla="*/ 2625098 w 6865640"/>
              <a:gd name="connsiteY523" fmla="*/ 5833550 h 7785545"/>
              <a:gd name="connsiteX524" fmla="*/ 2535351 w 6865640"/>
              <a:gd name="connsiteY524" fmla="*/ 5833550 h 7785545"/>
              <a:gd name="connsiteX525" fmla="*/ 2468040 w 6865640"/>
              <a:gd name="connsiteY525" fmla="*/ 5811113 h 7785545"/>
              <a:gd name="connsiteX526" fmla="*/ 2400730 w 6865640"/>
              <a:gd name="connsiteY526" fmla="*/ 5777458 h 7785545"/>
              <a:gd name="connsiteX527" fmla="*/ 2344638 w 6865640"/>
              <a:gd name="connsiteY527" fmla="*/ 5743803 h 7785545"/>
              <a:gd name="connsiteX528" fmla="*/ 2310984 w 6865640"/>
              <a:gd name="connsiteY528" fmla="*/ 5698929 h 7785545"/>
              <a:gd name="connsiteX529" fmla="*/ 2277328 w 6865640"/>
              <a:gd name="connsiteY529" fmla="*/ 5665274 h 7785545"/>
              <a:gd name="connsiteX530" fmla="*/ 2254892 w 6865640"/>
              <a:gd name="connsiteY530" fmla="*/ 5631619 h 7785545"/>
              <a:gd name="connsiteX531" fmla="*/ 2221236 w 6865640"/>
              <a:gd name="connsiteY531" fmla="*/ 5575527 h 7785545"/>
              <a:gd name="connsiteX532" fmla="*/ 2176363 w 6865640"/>
              <a:gd name="connsiteY532" fmla="*/ 5541872 h 7785545"/>
              <a:gd name="connsiteX533" fmla="*/ 2120271 w 6865640"/>
              <a:gd name="connsiteY533" fmla="*/ 5508217 h 7785545"/>
              <a:gd name="connsiteX534" fmla="*/ 2075398 w 6865640"/>
              <a:gd name="connsiteY534" fmla="*/ 5485781 h 7785545"/>
              <a:gd name="connsiteX535" fmla="*/ 2019306 w 6865640"/>
              <a:gd name="connsiteY535" fmla="*/ 5474562 h 7785545"/>
              <a:gd name="connsiteX536" fmla="*/ 1963214 w 6865640"/>
              <a:gd name="connsiteY536" fmla="*/ 5463344 h 7785545"/>
              <a:gd name="connsiteX537" fmla="*/ 1851031 w 6865640"/>
              <a:gd name="connsiteY537" fmla="*/ 5463344 h 7785545"/>
              <a:gd name="connsiteX538" fmla="*/ 1750065 w 6865640"/>
              <a:gd name="connsiteY538" fmla="*/ 5485781 h 7785545"/>
              <a:gd name="connsiteX539" fmla="*/ 1660318 w 6865640"/>
              <a:gd name="connsiteY539" fmla="*/ 5508217 h 7785545"/>
              <a:gd name="connsiteX540" fmla="*/ 1581789 w 6865640"/>
              <a:gd name="connsiteY540" fmla="*/ 5541872 h 7785545"/>
              <a:gd name="connsiteX541" fmla="*/ 1435951 w 6865640"/>
              <a:gd name="connsiteY541" fmla="*/ 5586746 h 7785545"/>
              <a:gd name="connsiteX542" fmla="*/ 1301331 w 6865640"/>
              <a:gd name="connsiteY542" fmla="*/ 5609183 h 7785545"/>
              <a:gd name="connsiteX543" fmla="*/ 1177929 w 6865640"/>
              <a:gd name="connsiteY543" fmla="*/ 5620401 h 7785545"/>
              <a:gd name="connsiteX544" fmla="*/ 1076963 w 6865640"/>
              <a:gd name="connsiteY544" fmla="*/ 5631619 h 7785545"/>
              <a:gd name="connsiteX545" fmla="*/ 987216 w 6865640"/>
              <a:gd name="connsiteY545" fmla="*/ 5631619 h 7785545"/>
              <a:gd name="connsiteX546" fmla="*/ 897469 w 6865640"/>
              <a:gd name="connsiteY546" fmla="*/ 5620401 h 7785545"/>
              <a:gd name="connsiteX547" fmla="*/ 830159 w 6865640"/>
              <a:gd name="connsiteY547" fmla="*/ 5597964 h 7785545"/>
              <a:gd name="connsiteX548" fmla="*/ 774067 w 6865640"/>
              <a:gd name="connsiteY548" fmla="*/ 5586746 h 7785545"/>
              <a:gd name="connsiteX549" fmla="*/ 684321 w 6865640"/>
              <a:gd name="connsiteY549" fmla="*/ 5530654 h 7785545"/>
              <a:gd name="connsiteX550" fmla="*/ 639447 w 6865640"/>
              <a:gd name="connsiteY550" fmla="*/ 5485781 h 7785545"/>
              <a:gd name="connsiteX551" fmla="*/ 605792 w 6865640"/>
              <a:gd name="connsiteY551" fmla="*/ 5452125 h 7785545"/>
              <a:gd name="connsiteX552" fmla="*/ 594574 w 6865640"/>
              <a:gd name="connsiteY552" fmla="*/ 5429689 h 7785545"/>
              <a:gd name="connsiteX553" fmla="*/ 572137 w 6865640"/>
              <a:gd name="connsiteY553" fmla="*/ 5362379 h 7785545"/>
              <a:gd name="connsiteX554" fmla="*/ 549700 w 6865640"/>
              <a:gd name="connsiteY554" fmla="*/ 5283850 h 7785545"/>
              <a:gd name="connsiteX555" fmla="*/ 538482 w 6865640"/>
              <a:gd name="connsiteY555" fmla="*/ 5216540 h 7785545"/>
              <a:gd name="connsiteX556" fmla="*/ 538482 w 6865640"/>
              <a:gd name="connsiteY556" fmla="*/ 5149230 h 7785545"/>
              <a:gd name="connsiteX557" fmla="*/ 549700 w 6865640"/>
              <a:gd name="connsiteY557" fmla="*/ 5025828 h 7785545"/>
              <a:gd name="connsiteX558" fmla="*/ 583355 w 6865640"/>
              <a:gd name="connsiteY558" fmla="*/ 4913644 h 7785545"/>
              <a:gd name="connsiteX559" fmla="*/ 639447 w 6865640"/>
              <a:gd name="connsiteY559" fmla="*/ 4801460 h 7785545"/>
              <a:gd name="connsiteX560" fmla="*/ 706757 w 6865640"/>
              <a:gd name="connsiteY560" fmla="*/ 4711713 h 7785545"/>
              <a:gd name="connsiteX561" fmla="*/ 796504 w 6865640"/>
              <a:gd name="connsiteY561" fmla="*/ 4621966 h 7785545"/>
              <a:gd name="connsiteX562" fmla="*/ 886251 w 6865640"/>
              <a:gd name="connsiteY562" fmla="*/ 4554656 h 7785545"/>
              <a:gd name="connsiteX563" fmla="*/ 975998 w 6865640"/>
              <a:gd name="connsiteY563" fmla="*/ 4487346 h 7785545"/>
              <a:gd name="connsiteX564" fmla="*/ 1076963 w 6865640"/>
              <a:gd name="connsiteY564" fmla="*/ 4431254 h 7785545"/>
              <a:gd name="connsiteX565" fmla="*/ 1245239 w 6865640"/>
              <a:gd name="connsiteY565" fmla="*/ 4341507 h 7785545"/>
              <a:gd name="connsiteX566" fmla="*/ 1368641 w 6865640"/>
              <a:gd name="connsiteY566" fmla="*/ 4285416 h 7785545"/>
              <a:gd name="connsiteX567" fmla="*/ 1424733 w 6865640"/>
              <a:gd name="connsiteY567" fmla="*/ 4274197 h 7785545"/>
              <a:gd name="connsiteX568" fmla="*/ 1559353 w 6865640"/>
              <a:gd name="connsiteY568" fmla="*/ 4218105 h 7785545"/>
              <a:gd name="connsiteX569" fmla="*/ 1671537 w 6865640"/>
              <a:gd name="connsiteY569" fmla="*/ 4162013 h 7785545"/>
              <a:gd name="connsiteX570" fmla="*/ 1750065 w 6865640"/>
              <a:gd name="connsiteY570" fmla="*/ 4094703 h 7785545"/>
              <a:gd name="connsiteX571" fmla="*/ 1806157 w 6865640"/>
              <a:gd name="connsiteY571" fmla="*/ 4038611 h 7785545"/>
              <a:gd name="connsiteX572" fmla="*/ 1851031 w 6865640"/>
              <a:gd name="connsiteY572" fmla="*/ 3971301 h 7785545"/>
              <a:gd name="connsiteX573" fmla="*/ 1873467 w 6865640"/>
              <a:gd name="connsiteY573" fmla="*/ 3926428 h 7785545"/>
              <a:gd name="connsiteX574" fmla="*/ 1884685 w 6865640"/>
              <a:gd name="connsiteY574" fmla="*/ 3892773 h 7785545"/>
              <a:gd name="connsiteX575" fmla="*/ 1884685 w 6865640"/>
              <a:gd name="connsiteY575" fmla="*/ 3803026 h 7785545"/>
              <a:gd name="connsiteX576" fmla="*/ 1862249 w 6865640"/>
              <a:gd name="connsiteY576" fmla="*/ 3746934 h 7785545"/>
              <a:gd name="connsiteX577" fmla="*/ 1828593 w 6865640"/>
              <a:gd name="connsiteY577" fmla="*/ 3690842 h 7785545"/>
              <a:gd name="connsiteX578" fmla="*/ 1794939 w 6865640"/>
              <a:gd name="connsiteY578" fmla="*/ 3657187 h 7785545"/>
              <a:gd name="connsiteX579" fmla="*/ 1761283 w 6865640"/>
              <a:gd name="connsiteY579" fmla="*/ 3634750 h 7785545"/>
              <a:gd name="connsiteX580" fmla="*/ 1738847 w 6865640"/>
              <a:gd name="connsiteY580" fmla="*/ 3612314 h 7785545"/>
              <a:gd name="connsiteX581" fmla="*/ 1705191 w 6865640"/>
              <a:gd name="connsiteY581" fmla="*/ 3601095 h 7785545"/>
              <a:gd name="connsiteX582" fmla="*/ 1604227 w 6865640"/>
              <a:gd name="connsiteY582" fmla="*/ 3578658 h 7785545"/>
              <a:gd name="connsiteX583" fmla="*/ 1514479 w 6865640"/>
              <a:gd name="connsiteY583" fmla="*/ 3545003 h 7785545"/>
              <a:gd name="connsiteX584" fmla="*/ 1435951 w 6865640"/>
              <a:gd name="connsiteY584" fmla="*/ 3511348 h 7785545"/>
              <a:gd name="connsiteX585" fmla="*/ 1368641 w 6865640"/>
              <a:gd name="connsiteY585" fmla="*/ 3477693 h 7785545"/>
              <a:gd name="connsiteX586" fmla="*/ 1267675 w 6865640"/>
              <a:gd name="connsiteY586" fmla="*/ 3399165 h 7785545"/>
              <a:gd name="connsiteX587" fmla="*/ 1200365 w 6865640"/>
              <a:gd name="connsiteY587" fmla="*/ 3320636 h 7785545"/>
              <a:gd name="connsiteX588" fmla="*/ 1155492 w 6865640"/>
              <a:gd name="connsiteY588" fmla="*/ 3253326 h 7785545"/>
              <a:gd name="connsiteX589" fmla="*/ 1133055 w 6865640"/>
              <a:gd name="connsiteY589" fmla="*/ 3208452 h 7785545"/>
              <a:gd name="connsiteX590" fmla="*/ 1133055 w 6865640"/>
              <a:gd name="connsiteY590" fmla="*/ 3152361 h 7785545"/>
              <a:gd name="connsiteX591" fmla="*/ 1144273 w 6865640"/>
              <a:gd name="connsiteY591" fmla="*/ 3096269 h 7785545"/>
              <a:gd name="connsiteX592" fmla="*/ 1177929 w 6865640"/>
              <a:gd name="connsiteY592" fmla="*/ 3040177 h 7785545"/>
              <a:gd name="connsiteX593" fmla="*/ 1211583 w 6865640"/>
              <a:gd name="connsiteY593" fmla="*/ 2995304 h 7785545"/>
              <a:gd name="connsiteX594" fmla="*/ 1267675 w 6865640"/>
              <a:gd name="connsiteY594" fmla="*/ 2950430 h 7785545"/>
              <a:gd name="connsiteX595" fmla="*/ 1334985 w 6865640"/>
              <a:gd name="connsiteY595" fmla="*/ 2916775 h 7785545"/>
              <a:gd name="connsiteX596" fmla="*/ 1402296 w 6865640"/>
              <a:gd name="connsiteY596" fmla="*/ 2894338 h 7785545"/>
              <a:gd name="connsiteX597" fmla="*/ 1548135 w 6865640"/>
              <a:gd name="connsiteY597" fmla="*/ 2860683 h 7785545"/>
              <a:gd name="connsiteX598" fmla="*/ 1705191 w 6865640"/>
              <a:gd name="connsiteY598" fmla="*/ 2838247 h 7785545"/>
              <a:gd name="connsiteX599" fmla="*/ 1828593 w 6865640"/>
              <a:gd name="connsiteY599" fmla="*/ 2827028 h 7785545"/>
              <a:gd name="connsiteX600" fmla="*/ 1963214 w 6865640"/>
              <a:gd name="connsiteY600" fmla="*/ 2827028 h 7785545"/>
              <a:gd name="connsiteX601" fmla="*/ 2052961 w 6865640"/>
              <a:gd name="connsiteY601" fmla="*/ 2827028 h 7785545"/>
              <a:gd name="connsiteX602" fmla="*/ 2142708 w 6865640"/>
              <a:gd name="connsiteY602" fmla="*/ 2815810 h 7785545"/>
              <a:gd name="connsiteX603" fmla="*/ 2299765 w 6865640"/>
              <a:gd name="connsiteY603" fmla="*/ 2782155 h 7785545"/>
              <a:gd name="connsiteX604" fmla="*/ 2411949 w 6865640"/>
              <a:gd name="connsiteY604" fmla="*/ 2737281 h 7785545"/>
              <a:gd name="connsiteX605" fmla="*/ 2490477 w 6865640"/>
              <a:gd name="connsiteY605" fmla="*/ 2681189 h 7785545"/>
              <a:gd name="connsiteX606" fmla="*/ 2546569 w 6865640"/>
              <a:gd name="connsiteY606" fmla="*/ 2625098 h 7785545"/>
              <a:gd name="connsiteX607" fmla="*/ 2580224 w 6865640"/>
              <a:gd name="connsiteY607" fmla="*/ 2580224 h 7785545"/>
              <a:gd name="connsiteX608" fmla="*/ 2602661 w 6865640"/>
              <a:gd name="connsiteY608" fmla="*/ 2535351 h 7785545"/>
              <a:gd name="connsiteX609" fmla="*/ 2625098 w 6865640"/>
              <a:gd name="connsiteY609" fmla="*/ 2434385 h 7785545"/>
              <a:gd name="connsiteX610" fmla="*/ 2625098 w 6865640"/>
              <a:gd name="connsiteY610" fmla="*/ 2355857 h 7785545"/>
              <a:gd name="connsiteX611" fmla="*/ 2613879 w 6865640"/>
              <a:gd name="connsiteY611" fmla="*/ 2288547 h 7785545"/>
              <a:gd name="connsiteX612" fmla="*/ 2591442 w 6865640"/>
              <a:gd name="connsiteY612" fmla="*/ 2232455 h 7785545"/>
              <a:gd name="connsiteX613" fmla="*/ 2569006 w 6865640"/>
              <a:gd name="connsiteY613" fmla="*/ 2187581 h 7785545"/>
              <a:gd name="connsiteX614" fmla="*/ 2535351 w 6865640"/>
              <a:gd name="connsiteY614" fmla="*/ 2153926 h 7785545"/>
              <a:gd name="connsiteX615" fmla="*/ 2512914 w 6865640"/>
              <a:gd name="connsiteY615" fmla="*/ 2131490 h 7785545"/>
              <a:gd name="connsiteX616" fmla="*/ 2423167 w 6865640"/>
              <a:gd name="connsiteY616" fmla="*/ 2030524 h 7785545"/>
              <a:gd name="connsiteX617" fmla="*/ 2355857 w 6865640"/>
              <a:gd name="connsiteY617" fmla="*/ 1940777 h 7785545"/>
              <a:gd name="connsiteX618" fmla="*/ 2322202 w 6865640"/>
              <a:gd name="connsiteY618" fmla="*/ 1862249 h 7785545"/>
              <a:gd name="connsiteX619" fmla="*/ 2310984 w 6865640"/>
              <a:gd name="connsiteY619" fmla="*/ 1783720 h 7785545"/>
              <a:gd name="connsiteX620" fmla="*/ 2299765 w 6865640"/>
              <a:gd name="connsiteY620" fmla="*/ 1716410 h 7785545"/>
              <a:gd name="connsiteX621" fmla="*/ 2310984 w 6865640"/>
              <a:gd name="connsiteY621" fmla="*/ 1660318 h 7785545"/>
              <a:gd name="connsiteX622" fmla="*/ 2322202 w 6865640"/>
              <a:gd name="connsiteY622" fmla="*/ 1615445 h 7785545"/>
              <a:gd name="connsiteX623" fmla="*/ 2344638 w 6865640"/>
              <a:gd name="connsiteY623" fmla="*/ 1559353 h 7785545"/>
              <a:gd name="connsiteX624" fmla="*/ 2378294 w 6865640"/>
              <a:gd name="connsiteY624" fmla="*/ 1514479 h 7785545"/>
              <a:gd name="connsiteX625" fmla="*/ 2411949 w 6865640"/>
              <a:gd name="connsiteY625" fmla="*/ 1480824 h 7785545"/>
              <a:gd name="connsiteX626" fmla="*/ 2445604 w 6865640"/>
              <a:gd name="connsiteY626" fmla="*/ 1447169 h 7785545"/>
              <a:gd name="connsiteX627" fmla="*/ 2490477 w 6865640"/>
              <a:gd name="connsiteY627" fmla="*/ 1435951 h 7785545"/>
              <a:gd name="connsiteX628" fmla="*/ 2535351 w 6865640"/>
              <a:gd name="connsiteY628" fmla="*/ 1424732 h 7785545"/>
              <a:gd name="connsiteX629" fmla="*/ 2636316 w 6865640"/>
              <a:gd name="connsiteY629" fmla="*/ 1413514 h 7785545"/>
              <a:gd name="connsiteX630" fmla="*/ 2714844 w 6865640"/>
              <a:gd name="connsiteY630" fmla="*/ 1424732 h 7785545"/>
              <a:gd name="connsiteX631" fmla="*/ 2793373 w 6865640"/>
              <a:gd name="connsiteY631" fmla="*/ 1447169 h 7785545"/>
              <a:gd name="connsiteX632" fmla="*/ 2860683 w 6865640"/>
              <a:gd name="connsiteY632" fmla="*/ 1469606 h 7785545"/>
              <a:gd name="connsiteX633" fmla="*/ 2927994 w 6865640"/>
              <a:gd name="connsiteY633" fmla="*/ 1480824 h 7785545"/>
              <a:gd name="connsiteX634" fmla="*/ 2995304 w 6865640"/>
              <a:gd name="connsiteY634" fmla="*/ 1492043 h 7785545"/>
              <a:gd name="connsiteX635" fmla="*/ 3062614 w 6865640"/>
              <a:gd name="connsiteY635" fmla="*/ 1480824 h 7785545"/>
              <a:gd name="connsiteX636" fmla="*/ 3118706 w 6865640"/>
              <a:gd name="connsiteY636" fmla="*/ 1458388 h 7785545"/>
              <a:gd name="connsiteX637" fmla="*/ 3174798 w 6865640"/>
              <a:gd name="connsiteY637" fmla="*/ 1435951 h 7785545"/>
              <a:gd name="connsiteX638" fmla="*/ 3230890 w 6865640"/>
              <a:gd name="connsiteY638" fmla="*/ 1413514 h 7785545"/>
              <a:gd name="connsiteX639" fmla="*/ 3320636 w 6865640"/>
              <a:gd name="connsiteY639" fmla="*/ 1334986 h 7785545"/>
              <a:gd name="connsiteX640" fmla="*/ 3387946 w 6865640"/>
              <a:gd name="connsiteY640" fmla="*/ 1256457 h 7785545"/>
              <a:gd name="connsiteX641" fmla="*/ 3444038 w 6865640"/>
              <a:gd name="connsiteY641" fmla="*/ 1189147 h 7785545"/>
              <a:gd name="connsiteX642" fmla="*/ 3488912 w 6865640"/>
              <a:gd name="connsiteY642" fmla="*/ 1121837 h 7785545"/>
              <a:gd name="connsiteX643" fmla="*/ 3601096 w 6865640"/>
              <a:gd name="connsiteY643" fmla="*/ 897469 h 7785545"/>
              <a:gd name="connsiteX644" fmla="*/ 3724498 w 6865640"/>
              <a:gd name="connsiteY644" fmla="*/ 717975 h 7785545"/>
              <a:gd name="connsiteX645" fmla="*/ 3836681 w 6865640"/>
              <a:gd name="connsiteY645" fmla="*/ 583355 h 7785545"/>
              <a:gd name="connsiteX646" fmla="*/ 3960083 w 6865640"/>
              <a:gd name="connsiteY646" fmla="*/ 482390 h 7785545"/>
              <a:gd name="connsiteX647" fmla="*/ 4072267 w 6865640"/>
              <a:gd name="connsiteY647" fmla="*/ 415080 h 7785545"/>
              <a:gd name="connsiteX648" fmla="*/ 4184450 w 6865640"/>
              <a:gd name="connsiteY648" fmla="*/ 370206 h 7785545"/>
              <a:gd name="connsiteX649" fmla="*/ 3387946 w 6865640"/>
              <a:gd name="connsiteY649" fmla="*/ 0 h 7785545"/>
              <a:gd name="connsiteX650" fmla="*/ 3466475 w 6865640"/>
              <a:gd name="connsiteY650" fmla="*/ 11218 h 7785545"/>
              <a:gd name="connsiteX651" fmla="*/ 3533785 w 6865640"/>
              <a:gd name="connsiteY651" fmla="*/ 44874 h 7785545"/>
              <a:gd name="connsiteX652" fmla="*/ 3578659 w 6865640"/>
              <a:gd name="connsiteY652" fmla="*/ 89747 h 7785545"/>
              <a:gd name="connsiteX653" fmla="*/ 3612314 w 6865640"/>
              <a:gd name="connsiteY653" fmla="*/ 157057 h 7785545"/>
              <a:gd name="connsiteX654" fmla="*/ 3634750 w 6865640"/>
              <a:gd name="connsiteY654" fmla="*/ 224367 h 7785545"/>
              <a:gd name="connsiteX655" fmla="*/ 3634750 w 6865640"/>
              <a:gd name="connsiteY655" fmla="*/ 314114 h 7785545"/>
              <a:gd name="connsiteX656" fmla="*/ 3623532 w 6865640"/>
              <a:gd name="connsiteY656" fmla="*/ 403861 h 7785545"/>
              <a:gd name="connsiteX657" fmla="*/ 3589877 w 6865640"/>
              <a:gd name="connsiteY657" fmla="*/ 504827 h 7785545"/>
              <a:gd name="connsiteX658" fmla="*/ 3545004 w 6865640"/>
              <a:gd name="connsiteY658" fmla="*/ 605792 h 7785545"/>
              <a:gd name="connsiteX659" fmla="*/ 3477694 w 6865640"/>
              <a:gd name="connsiteY659" fmla="*/ 695539 h 7785545"/>
              <a:gd name="connsiteX660" fmla="*/ 3410383 w 6865640"/>
              <a:gd name="connsiteY660" fmla="*/ 785286 h 7785545"/>
              <a:gd name="connsiteX661" fmla="*/ 3320636 w 6865640"/>
              <a:gd name="connsiteY661" fmla="*/ 863814 h 7785545"/>
              <a:gd name="connsiteX662" fmla="*/ 3242108 w 6865640"/>
              <a:gd name="connsiteY662" fmla="*/ 931125 h 7785545"/>
              <a:gd name="connsiteX663" fmla="*/ 3152361 w 6865640"/>
              <a:gd name="connsiteY663" fmla="*/ 975998 h 7785545"/>
              <a:gd name="connsiteX664" fmla="*/ 3062614 w 6865640"/>
              <a:gd name="connsiteY664" fmla="*/ 998435 h 7785545"/>
              <a:gd name="connsiteX665" fmla="*/ 2984085 w 6865640"/>
              <a:gd name="connsiteY665" fmla="*/ 1009653 h 7785545"/>
              <a:gd name="connsiteX666" fmla="*/ 2905557 w 6865640"/>
              <a:gd name="connsiteY666" fmla="*/ 998435 h 7785545"/>
              <a:gd name="connsiteX667" fmla="*/ 2849465 w 6865640"/>
              <a:gd name="connsiteY667" fmla="*/ 964780 h 7785545"/>
              <a:gd name="connsiteX668" fmla="*/ 2793373 w 6865640"/>
              <a:gd name="connsiteY668" fmla="*/ 919906 h 7785545"/>
              <a:gd name="connsiteX669" fmla="*/ 2759718 w 6865640"/>
              <a:gd name="connsiteY669" fmla="*/ 852596 h 7785545"/>
              <a:gd name="connsiteX670" fmla="*/ 2737281 w 6865640"/>
              <a:gd name="connsiteY670" fmla="*/ 785286 h 7785545"/>
              <a:gd name="connsiteX671" fmla="*/ 2737281 w 6865640"/>
              <a:gd name="connsiteY671" fmla="*/ 695539 h 7785545"/>
              <a:gd name="connsiteX672" fmla="*/ 2748500 w 6865640"/>
              <a:gd name="connsiteY672" fmla="*/ 605792 h 7785545"/>
              <a:gd name="connsiteX673" fmla="*/ 2782155 w 6865640"/>
              <a:gd name="connsiteY673" fmla="*/ 504827 h 7785545"/>
              <a:gd name="connsiteX674" fmla="*/ 2827028 w 6865640"/>
              <a:gd name="connsiteY674" fmla="*/ 403861 h 7785545"/>
              <a:gd name="connsiteX675" fmla="*/ 2894338 w 6865640"/>
              <a:gd name="connsiteY675" fmla="*/ 314114 h 7785545"/>
              <a:gd name="connsiteX676" fmla="*/ 2972867 w 6865640"/>
              <a:gd name="connsiteY676" fmla="*/ 224367 h 7785545"/>
              <a:gd name="connsiteX677" fmla="*/ 3051396 w 6865640"/>
              <a:gd name="connsiteY677" fmla="*/ 145839 h 7785545"/>
              <a:gd name="connsiteX678" fmla="*/ 3141142 w 6865640"/>
              <a:gd name="connsiteY678" fmla="*/ 78529 h 7785545"/>
              <a:gd name="connsiteX679" fmla="*/ 3219671 w 6865640"/>
              <a:gd name="connsiteY679" fmla="*/ 33655 h 7785545"/>
              <a:gd name="connsiteX680" fmla="*/ 3309418 w 6865640"/>
              <a:gd name="connsiteY680" fmla="*/ 11218 h 7785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Lst>
            <a:rect l="l" t="t" r="r" b="b"/>
            <a:pathLst>
              <a:path w="6865640" h="7785545">
                <a:moveTo>
                  <a:pt x="4498565" y="6966605"/>
                </a:moveTo>
                <a:lnTo>
                  <a:pt x="4588312" y="6977823"/>
                </a:lnTo>
                <a:lnTo>
                  <a:pt x="4678058" y="7000260"/>
                </a:lnTo>
                <a:lnTo>
                  <a:pt x="4756587" y="7033915"/>
                </a:lnTo>
                <a:lnTo>
                  <a:pt x="4823898" y="7090007"/>
                </a:lnTo>
                <a:lnTo>
                  <a:pt x="4879989" y="7146098"/>
                </a:lnTo>
                <a:lnTo>
                  <a:pt x="4924862" y="7213409"/>
                </a:lnTo>
                <a:lnTo>
                  <a:pt x="4947300" y="7291937"/>
                </a:lnTo>
                <a:lnTo>
                  <a:pt x="4958518" y="7381684"/>
                </a:lnTo>
                <a:lnTo>
                  <a:pt x="4947300" y="7460213"/>
                </a:lnTo>
                <a:lnTo>
                  <a:pt x="4924862" y="7538741"/>
                </a:lnTo>
                <a:lnTo>
                  <a:pt x="4879989" y="7606051"/>
                </a:lnTo>
                <a:lnTo>
                  <a:pt x="4823898" y="7662143"/>
                </a:lnTo>
                <a:lnTo>
                  <a:pt x="4756587" y="7718235"/>
                </a:lnTo>
                <a:lnTo>
                  <a:pt x="4678058" y="7751890"/>
                </a:lnTo>
                <a:lnTo>
                  <a:pt x="4588312" y="7774327"/>
                </a:lnTo>
                <a:lnTo>
                  <a:pt x="4498565" y="7785545"/>
                </a:lnTo>
                <a:lnTo>
                  <a:pt x="4397600" y="7774327"/>
                </a:lnTo>
                <a:lnTo>
                  <a:pt x="4319071" y="7751890"/>
                </a:lnTo>
                <a:lnTo>
                  <a:pt x="4240542" y="7718235"/>
                </a:lnTo>
                <a:lnTo>
                  <a:pt x="4162014" y="7662143"/>
                </a:lnTo>
                <a:lnTo>
                  <a:pt x="4105922" y="7606051"/>
                </a:lnTo>
                <a:lnTo>
                  <a:pt x="4072267" y="7538741"/>
                </a:lnTo>
                <a:lnTo>
                  <a:pt x="4038612" y="7460213"/>
                </a:lnTo>
                <a:lnTo>
                  <a:pt x="4027394" y="7381684"/>
                </a:lnTo>
                <a:lnTo>
                  <a:pt x="4038612" y="7291937"/>
                </a:lnTo>
                <a:lnTo>
                  <a:pt x="4072267" y="7213409"/>
                </a:lnTo>
                <a:lnTo>
                  <a:pt x="4105922" y="7146098"/>
                </a:lnTo>
                <a:lnTo>
                  <a:pt x="4162014" y="7090007"/>
                </a:lnTo>
                <a:lnTo>
                  <a:pt x="4240542" y="7033915"/>
                </a:lnTo>
                <a:lnTo>
                  <a:pt x="4319071" y="7000260"/>
                </a:lnTo>
                <a:lnTo>
                  <a:pt x="4397600" y="6977823"/>
                </a:lnTo>
                <a:close/>
                <a:moveTo>
                  <a:pt x="5295069" y="6428123"/>
                </a:moveTo>
                <a:lnTo>
                  <a:pt x="5407252" y="6439342"/>
                </a:lnTo>
                <a:lnTo>
                  <a:pt x="5519436" y="6450560"/>
                </a:lnTo>
                <a:lnTo>
                  <a:pt x="5609183" y="6472997"/>
                </a:lnTo>
                <a:lnTo>
                  <a:pt x="5698930" y="6506652"/>
                </a:lnTo>
                <a:lnTo>
                  <a:pt x="5766240" y="6551525"/>
                </a:lnTo>
                <a:lnTo>
                  <a:pt x="5822332" y="6596399"/>
                </a:lnTo>
                <a:lnTo>
                  <a:pt x="5855987" y="6641272"/>
                </a:lnTo>
                <a:lnTo>
                  <a:pt x="5867206" y="6697364"/>
                </a:lnTo>
                <a:lnTo>
                  <a:pt x="5855987" y="6753456"/>
                </a:lnTo>
                <a:lnTo>
                  <a:pt x="5822332" y="6798329"/>
                </a:lnTo>
                <a:lnTo>
                  <a:pt x="5766240" y="6854421"/>
                </a:lnTo>
                <a:lnTo>
                  <a:pt x="5698930" y="6888076"/>
                </a:lnTo>
                <a:lnTo>
                  <a:pt x="5609183" y="6921731"/>
                </a:lnTo>
                <a:lnTo>
                  <a:pt x="5519436" y="6944168"/>
                </a:lnTo>
                <a:lnTo>
                  <a:pt x="5407252" y="6966605"/>
                </a:lnTo>
                <a:lnTo>
                  <a:pt x="5295069" y="6966605"/>
                </a:lnTo>
                <a:lnTo>
                  <a:pt x="5182885" y="6966605"/>
                </a:lnTo>
                <a:lnTo>
                  <a:pt x="5070702" y="6944168"/>
                </a:lnTo>
                <a:lnTo>
                  <a:pt x="4980954" y="6921731"/>
                </a:lnTo>
                <a:lnTo>
                  <a:pt x="4891208" y="6888076"/>
                </a:lnTo>
                <a:lnTo>
                  <a:pt x="4823898" y="6854421"/>
                </a:lnTo>
                <a:lnTo>
                  <a:pt x="4767806" y="6798329"/>
                </a:lnTo>
                <a:lnTo>
                  <a:pt x="4734150" y="6753456"/>
                </a:lnTo>
                <a:lnTo>
                  <a:pt x="4722932" y="6697364"/>
                </a:lnTo>
                <a:lnTo>
                  <a:pt x="4734150" y="6641272"/>
                </a:lnTo>
                <a:lnTo>
                  <a:pt x="4767806" y="6596399"/>
                </a:lnTo>
                <a:lnTo>
                  <a:pt x="4823898" y="6551525"/>
                </a:lnTo>
                <a:lnTo>
                  <a:pt x="4891208" y="6506652"/>
                </a:lnTo>
                <a:lnTo>
                  <a:pt x="4980954" y="6472997"/>
                </a:lnTo>
                <a:lnTo>
                  <a:pt x="5070702" y="6450560"/>
                </a:lnTo>
                <a:lnTo>
                  <a:pt x="5182885" y="6439342"/>
                </a:lnTo>
                <a:close/>
                <a:moveTo>
                  <a:pt x="2658753" y="6293503"/>
                </a:moveTo>
                <a:lnTo>
                  <a:pt x="2692408" y="6304721"/>
                </a:lnTo>
                <a:lnTo>
                  <a:pt x="2714844" y="6315939"/>
                </a:lnTo>
                <a:lnTo>
                  <a:pt x="2748500" y="6327158"/>
                </a:lnTo>
                <a:lnTo>
                  <a:pt x="2770936" y="6360813"/>
                </a:lnTo>
                <a:lnTo>
                  <a:pt x="2804592" y="6416905"/>
                </a:lnTo>
                <a:lnTo>
                  <a:pt x="2815810" y="6495433"/>
                </a:lnTo>
                <a:lnTo>
                  <a:pt x="2804592" y="6573962"/>
                </a:lnTo>
                <a:lnTo>
                  <a:pt x="2770936" y="6641272"/>
                </a:lnTo>
                <a:lnTo>
                  <a:pt x="2748500" y="6663709"/>
                </a:lnTo>
                <a:lnTo>
                  <a:pt x="2714844" y="6674927"/>
                </a:lnTo>
                <a:lnTo>
                  <a:pt x="2692408" y="6686146"/>
                </a:lnTo>
                <a:lnTo>
                  <a:pt x="2658753" y="6697364"/>
                </a:lnTo>
                <a:lnTo>
                  <a:pt x="2625098" y="6686146"/>
                </a:lnTo>
                <a:lnTo>
                  <a:pt x="2602661" y="6674927"/>
                </a:lnTo>
                <a:lnTo>
                  <a:pt x="2569006" y="6663709"/>
                </a:lnTo>
                <a:lnTo>
                  <a:pt x="2546569" y="6641272"/>
                </a:lnTo>
                <a:lnTo>
                  <a:pt x="2512914" y="6573962"/>
                </a:lnTo>
                <a:lnTo>
                  <a:pt x="2501696" y="6495433"/>
                </a:lnTo>
                <a:lnTo>
                  <a:pt x="2512914" y="6416905"/>
                </a:lnTo>
                <a:lnTo>
                  <a:pt x="2546569" y="6360813"/>
                </a:lnTo>
                <a:lnTo>
                  <a:pt x="2569006" y="6327158"/>
                </a:lnTo>
                <a:lnTo>
                  <a:pt x="2602661" y="6315939"/>
                </a:lnTo>
                <a:lnTo>
                  <a:pt x="2625098" y="6304721"/>
                </a:lnTo>
                <a:close/>
                <a:moveTo>
                  <a:pt x="1738847" y="5900860"/>
                </a:moveTo>
                <a:lnTo>
                  <a:pt x="1839812" y="5912078"/>
                </a:lnTo>
                <a:lnTo>
                  <a:pt x="1929559" y="5934515"/>
                </a:lnTo>
                <a:lnTo>
                  <a:pt x="2008087" y="5968170"/>
                </a:lnTo>
                <a:lnTo>
                  <a:pt x="2086616" y="6024262"/>
                </a:lnTo>
                <a:lnTo>
                  <a:pt x="2142708" y="6080354"/>
                </a:lnTo>
                <a:lnTo>
                  <a:pt x="2187581" y="6147664"/>
                </a:lnTo>
                <a:lnTo>
                  <a:pt x="2221236" y="6214974"/>
                </a:lnTo>
                <a:lnTo>
                  <a:pt x="2232455" y="6293503"/>
                </a:lnTo>
                <a:lnTo>
                  <a:pt x="2221236" y="6383250"/>
                </a:lnTo>
                <a:lnTo>
                  <a:pt x="2187581" y="6450560"/>
                </a:lnTo>
                <a:lnTo>
                  <a:pt x="2142708" y="6517870"/>
                </a:lnTo>
                <a:lnTo>
                  <a:pt x="2086616" y="6573962"/>
                </a:lnTo>
                <a:lnTo>
                  <a:pt x="2008087" y="6630054"/>
                </a:lnTo>
                <a:lnTo>
                  <a:pt x="1929559" y="6663709"/>
                </a:lnTo>
                <a:lnTo>
                  <a:pt x="1839812" y="6686146"/>
                </a:lnTo>
                <a:lnTo>
                  <a:pt x="1738847" y="6697364"/>
                </a:lnTo>
                <a:lnTo>
                  <a:pt x="1637881" y="6686146"/>
                </a:lnTo>
                <a:lnTo>
                  <a:pt x="1548135" y="6663709"/>
                </a:lnTo>
                <a:lnTo>
                  <a:pt x="1458387" y="6630054"/>
                </a:lnTo>
                <a:lnTo>
                  <a:pt x="1391077" y="6573962"/>
                </a:lnTo>
                <a:lnTo>
                  <a:pt x="1323767" y="6517870"/>
                </a:lnTo>
                <a:lnTo>
                  <a:pt x="1278894" y="6450560"/>
                </a:lnTo>
                <a:lnTo>
                  <a:pt x="1256457" y="6383250"/>
                </a:lnTo>
                <a:lnTo>
                  <a:pt x="1245239" y="6293503"/>
                </a:lnTo>
                <a:lnTo>
                  <a:pt x="1256457" y="6214974"/>
                </a:lnTo>
                <a:lnTo>
                  <a:pt x="1278894" y="6147664"/>
                </a:lnTo>
                <a:lnTo>
                  <a:pt x="1323767" y="6080354"/>
                </a:lnTo>
                <a:lnTo>
                  <a:pt x="1391077" y="6024262"/>
                </a:lnTo>
                <a:lnTo>
                  <a:pt x="1458387" y="5968170"/>
                </a:lnTo>
                <a:lnTo>
                  <a:pt x="1548135" y="5934515"/>
                </a:lnTo>
                <a:lnTo>
                  <a:pt x="1637881" y="5912078"/>
                </a:lnTo>
                <a:close/>
                <a:moveTo>
                  <a:pt x="751631" y="5900860"/>
                </a:moveTo>
                <a:lnTo>
                  <a:pt x="807723" y="5912078"/>
                </a:lnTo>
                <a:lnTo>
                  <a:pt x="863814" y="5923297"/>
                </a:lnTo>
                <a:lnTo>
                  <a:pt x="908688" y="5934515"/>
                </a:lnTo>
                <a:lnTo>
                  <a:pt x="942343" y="5956952"/>
                </a:lnTo>
                <a:lnTo>
                  <a:pt x="975998" y="5979389"/>
                </a:lnTo>
                <a:lnTo>
                  <a:pt x="1009653" y="6013044"/>
                </a:lnTo>
                <a:lnTo>
                  <a:pt x="1020871" y="6046699"/>
                </a:lnTo>
                <a:lnTo>
                  <a:pt x="1020871" y="6091572"/>
                </a:lnTo>
                <a:lnTo>
                  <a:pt x="1020871" y="6125227"/>
                </a:lnTo>
                <a:lnTo>
                  <a:pt x="1009653" y="6158882"/>
                </a:lnTo>
                <a:lnTo>
                  <a:pt x="975998" y="6192537"/>
                </a:lnTo>
                <a:lnTo>
                  <a:pt x="942343" y="6214974"/>
                </a:lnTo>
                <a:lnTo>
                  <a:pt x="908688" y="6237411"/>
                </a:lnTo>
                <a:lnTo>
                  <a:pt x="863814" y="6259848"/>
                </a:lnTo>
                <a:lnTo>
                  <a:pt x="807723" y="6271066"/>
                </a:lnTo>
                <a:lnTo>
                  <a:pt x="751631" y="6271066"/>
                </a:lnTo>
                <a:lnTo>
                  <a:pt x="695539" y="6271066"/>
                </a:lnTo>
                <a:lnTo>
                  <a:pt x="650665" y="6259848"/>
                </a:lnTo>
                <a:lnTo>
                  <a:pt x="594574" y="6237411"/>
                </a:lnTo>
                <a:lnTo>
                  <a:pt x="560919" y="6214974"/>
                </a:lnTo>
                <a:lnTo>
                  <a:pt x="527263" y="6192537"/>
                </a:lnTo>
                <a:lnTo>
                  <a:pt x="504827" y="6158882"/>
                </a:lnTo>
                <a:lnTo>
                  <a:pt x="482390" y="6125227"/>
                </a:lnTo>
                <a:lnTo>
                  <a:pt x="482390" y="6091572"/>
                </a:lnTo>
                <a:lnTo>
                  <a:pt x="482390" y="6046699"/>
                </a:lnTo>
                <a:lnTo>
                  <a:pt x="504827" y="6013044"/>
                </a:lnTo>
                <a:lnTo>
                  <a:pt x="527263" y="5979389"/>
                </a:lnTo>
                <a:lnTo>
                  <a:pt x="560919" y="5956952"/>
                </a:lnTo>
                <a:lnTo>
                  <a:pt x="594574" y="5934515"/>
                </a:lnTo>
                <a:lnTo>
                  <a:pt x="650665" y="5923297"/>
                </a:lnTo>
                <a:lnTo>
                  <a:pt x="695539" y="5912078"/>
                </a:lnTo>
                <a:close/>
                <a:moveTo>
                  <a:pt x="157057" y="4453691"/>
                </a:moveTo>
                <a:lnTo>
                  <a:pt x="190712" y="4453691"/>
                </a:lnTo>
                <a:lnTo>
                  <a:pt x="224368" y="4453691"/>
                </a:lnTo>
                <a:lnTo>
                  <a:pt x="269241" y="4476128"/>
                </a:lnTo>
                <a:lnTo>
                  <a:pt x="291678" y="4498564"/>
                </a:lnTo>
                <a:lnTo>
                  <a:pt x="325333" y="4521001"/>
                </a:lnTo>
                <a:lnTo>
                  <a:pt x="347770" y="4554656"/>
                </a:lnTo>
                <a:lnTo>
                  <a:pt x="358988" y="4588311"/>
                </a:lnTo>
                <a:lnTo>
                  <a:pt x="370206" y="4633185"/>
                </a:lnTo>
                <a:lnTo>
                  <a:pt x="381425" y="4678058"/>
                </a:lnTo>
                <a:lnTo>
                  <a:pt x="370206" y="4722932"/>
                </a:lnTo>
                <a:lnTo>
                  <a:pt x="358988" y="4767805"/>
                </a:lnTo>
                <a:lnTo>
                  <a:pt x="347770" y="4812679"/>
                </a:lnTo>
                <a:lnTo>
                  <a:pt x="325333" y="4846334"/>
                </a:lnTo>
                <a:lnTo>
                  <a:pt x="291678" y="4868770"/>
                </a:lnTo>
                <a:lnTo>
                  <a:pt x="269241" y="4891207"/>
                </a:lnTo>
                <a:lnTo>
                  <a:pt x="224368" y="4902426"/>
                </a:lnTo>
                <a:lnTo>
                  <a:pt x="190712" y="4913644"/>
                </a:lnTo>
                <a:lnTo>
                  <a:pt x="157057" y="4902426"/>
                </a:lnTo>
                <a:lnTo>
                  <a:pt x="123402" y="4891207"/>
                </a:lnTo>
                <a:lnTo>
                  <a:pt x="89747" y="4868770"/>
                </a:lnTo>
                <a:lnTo>
                  <a:pt x="56092" y="4846334"/>
                </a:lnTo>
                <a:lnTo>
                  <a:pt x="33655" y="4812679"/>
                </a:lnTo>
                <a:lnTo>
                  <a:pt x="22437" y="4767805"/>
                </a:lnTo>
                <a:lnTo>
                  <a:pt x="11219" y="4722932"/>
                </a:lnTo>
                <a:lnTo>
                  <a:pt x="0" y="4678058"/>
                </a:lnTo>
                <a:lnTo>
                  <a:pt x="11219" y="4633185"/>
                </a:lnTo>
                <a:lnTo>
                  <a:pt x="22437" y="4588311"/>
                </a:lnTo>
                <a:lnTo>
                  <a:pt x="33655" y="4554656"/>
                </a:lnTo>
                <a:lnTo>
                  <a:pt x="56092" y="4521001"/>
                </a:lnTo>
                <a:lnTo>
                  <a:pt x="89747" y="4498564"/>
                </a:lnTo>
                <a:lnTo>
                  <a:pt x="123402" y="4476128"/>
                </a:lnTo>
                <a:close/>
                <a:moveTo>
                  <a:pt x="605792" y="3881554"/>
                </a:moveTo>
                <a:lnTo>
                  <a:pt x="650665" y="3892773"/>
                </a:lnTo>
                <a:lnTo>
                  <a:pt x="684321" y="3903991"/>
                </a:lnTo>
                <a:lnTo>
                  <a:pt x="729194" y="3915209"/>
                </a:lnTo>
                <a:lnTo>
                  <a:pt x="762849" y="3948864"/>
                </a:lnTo>
                <a:lnTo>
                  <a:pt x="785286" y="3971301"/>
                </a:lnTo>
                <a:lnTo>
                  <a:pt x="807723" y="4016175"/>
                </a:lnTo>
                <a:lnTo>
                  <a:pt x="818941" y="4049830"/>
                </a:lnTo>
                <a:lnTo>
                  <a:pt x="830159" y="4094703"/>
                </a:lnTo>
                <a:lnTo>
                  <a:pt x="818941" y="4128358"/>
                </a:lnTo>
                <a:lnTo>
                  <a:pt x="807723" y="4173232"/>
                </a:lnTo>
                <a:lnTo>
                  <a:pt x="785286" y="4206887"/>
                </a:lnTo>
                <a:lnTo>
                  <a:pt x="762849" y="4240542"/>
                </a:lnTo>
                <a:lnTo>
                  <a:pt x="729194" y="4262979"/>
                </a:lnTo>
                <a:lnTo>
                  <a:pt x="684321" y="4285416"/>
                </a:lnTo>
                <a:lnTo>
                  <a:pt x="650665" y="4296634"/>
                </a:lnTo>
                <a:lnTo>
                  <a:pt x="605792" y="4296634"/>
                </a:lnTo>
                <a:lnTo>
                  <a:pt x="560919" y="4296634"/>
                </a:lnTo>
                <a:lnTo>
                  <a:pt x="516045" y="4285416"/>
                </a:lnTo>
                <a:lnTo>
                  <a:pt x="482390" y="4262979"/>
                </a:lnTo>
                <a:lnTo>
                  <a:pt x="448735" y="4240542"/>
                </a:lnTo>
                <a:lnTo>
                  <a:pt x="415080" y="4206887"/>
                </a:lnTo>
                <a:lnTo>
                  <a:pt x="392643" y="4173232"/>
                </a:lnTo>
                <a:lnTo>
                  <a:pt x="381425" y="4128358"/>
                </a:lnTo>
                <a:lnTo>
                  <a:pt x="381425" y="4094703"/>
                </a:lnTo>
                <a:lnTo>
                  <a:pt x="381425" y="4049830"/>
                </a:lnTo>
                <a:lnTo>
                  <a:pt x="392643" y="4016175"/>
                </a:lnTo>
                <a:lnTo>
                  <a:pt x="415080" y="3971301"/>
                </a:lnTo>
                <a:lnTo>
                  <a:pt x="448735" y="3948864"/>
                </a:lnTo>
                <a:lnTo>
                  <a:pt x="482390" y="3915209"/>
                </a:lnTo>
                <a:lnTo>
                  <a:pt x="516045" y="3903991"/>
                </a:lnTo>
                <a:lnTo>
                  <a:pt x="560919" y="3892773"/>
                </a:lnTo>
                <a:close/>
                <a:moveTo>
                  <a:pt x="482390" y="2871902"/>
                </a:moveTo>
                <a:lnTo>
                  <a:pt x="549700" y="2883120"/>
                </a:lnTo>
                <a:lnTo>
                  <a:pt x="617010" y="2905557"/>
                </a:lnTo>
                <a:lnTo>
                  <a:pt x="673102" y="2939212"/>
                </a:lnTo>
                <a:lnTo>
                  <a:pt x="729194" y="2984085"/>
                </a:lnTo>
                <a:lnTo>
                  <a:pt x="762849" y="3040177"/>
                </a:lnTo>
                <a:lnTo>
                  <a:pt x="796504" y="3107487"/>
                </a:lnTo>
                <a:lnTo>
                  <a:pt x="818941" y="3174797"/>
                </a:lnTo>
                <a:lnTo>
                  <a:pt x="830159" y="3253326"/>
                </a:lnTo>
                <a:lnTo>
                  <a:pt x="818941" y="3320636"/>
                </a:lnTo>
                <a:lnTo>
                  <a:pt x="796504" y="3387946"/>
                </a:lnTo>
                <a:lnTo>
                  <a:pt x="762849" y="3455256"/>
                </a:lnTo>
                <a:lnTo>
                  <a:pt x="729194" y="3511348"/>
                </a:lnTo>
                <a:lnTo>
                  <a:pt x="673102" y="3556222"/>
                </a:lnTo>
                <a:lnTo>
                  <a:pt x="617010" y="3589877"/>
                </a:lnTo>
                <a:lnTo>
                  <a:pt x="549700" y="3612314"/>
                </a:lnTo>
                <a:lnTo>
                  <a:pt x="482390" y="3623532"/>
                </a:lnTo>
                <a:lnTo>
                  <a:pt x="403861" y="3612314"/>
                </a:lnTo>
                <a:lnTo>
                  <a:pt x="347770" y="3589877"/>
                </a:lnTo>
                <a:lnTo>
                  <a:pt x="280459" y="3556222"/>
                </a:lnTo>
                <a:lnTo>
                  <a:pt x="235586" y="3511348"/>
                </a:lnTo>
                <a:lnTo>
                  <a:pt x="190712" y="3455256"/>
                </a:lnTo>
                <a:lnTo>
                  <a:pt x="157057" y="3387946"/>
                </a:lnTo>
                <a:lnTo>
                  <a:pt x="134621" y="3320636"/>
                </a:lnTo>
                <a:lnTo>
                  <a:pt x="134621" y="3253326"/>
                </a:lnTo>
                <a:lnTo>
                  <a:pt x="134621" y="3174797"/>
                </a:lnTo>
                <a:lnTo>
                  <a:pt x="157057" y="3107487"/>
                </a:lnTo>
                <a:lnTo>
                  <a:pt x="190712" y="3040177"/>
                </a:lnTo>
                <a:lnTo>
                  <a:pt x="235586" y="2984085"/>
                </a:lnTo>
                <a:lnTo>
                  <a:pt x="280459" y="2939212"/>
                </a:lnTo>
                <a:lnTo>
                  <a:pt x="347770" y="2905557"/>
                </a:lnTo>
                <a:lnTo>
                  <a:pt x="403861" y="2883120"/>
                </a:lnTo>
                <a:close/>
                <a:moveTo>
                  <a:pt x="1245239" y="2468041"/>
                </a:moveTo>
                <a:lnTo>
                  <a:pt x="1301331" y="2479259"/>
                </a:lnTo>
                <a:lnTo>
                  <a:pt x="1346204" y="2501696"/>
                </a:lnTo>
                <a:lnTo>
                  <a:pt x="1379859" y="2546569"/>
                </a:lnTo>
                <a:lnTo>
                  <a:pt x="1391077" y="2591443"/>
                </a:lnTo>
                <a:lnTo>
                  <a:pt x="1379859" y="2647534"/>
                </a:lnTo>
                <a:lnTo>
                  <a:pt x="1346204" y="2692408"/>
                </a:lnTo>
                <a:lnTo>
                  <a:pt x="1301331" y="2714845"/>
                </a:lnTo>
                <a:lnTo>
                  <a:pt x="1245239" y="2726063"/>
                </a:lnTo>
                <a:lnTo>
                  <a:pt x="1177929" y="2714845"/>
                </a:lnTo>
                <a:lnTo>
                  <a:pt x="1133055" y="2692408"/>
                </a:lnTo>
                <a:lnTo>
                  <a:pt x="1099400" y="2647534"/>
                </a:lnTo>
                <a:lnTo>
                  <a:pt x="1088181" y="2591443"/>
                </a:lnTo>
                <a:lnTo>
                  <a:pt x="1099400" y="2546569"/>
                </a:lnTo>
                <a:lnTo>
                  <a:pt x="1133055" y="2501696"/>
                </a:lnTo>
                <a:lnTo>
                  <a:pt x="1177929" y="2479259"/>
                </a:lnTo>
                <a:close/>
                <a:moveTo>
                  <a:pt x="6394468" y="2232455"/>
                </a:moveTo>
                <a:lnTo>
                  <a:pt x="6450560" y="2232455"/>
                </a:lnTo>
                <a:lnTo>
                  <a:pt x="6506652" y="2232455"/>
                </a:lnTo>
                <a:lnTo>
                  <a:pt x="6585181" y="2243673"/>
                </a:lnTo>
                <a:lnTo>
                  <a:pt x="6663710" y="2277328"/>
                </a:lnTo>
                <a:lnTo>
                  <a:pt x="6697364" y="2310983"/>
                </a:lnTo>
                <a:lnTo>
                  <a:pt x="6742238" y="2344639"/>
                </a:lnTo>
                <a:lnTo>
                  <a:pt x="6775893" y="2400730"/>
                </a:lnTo>
                <a:lnTo>
                  <a:pt x="6809548" y="2456822"/>
                </a:lnTo>
                <a:lnTo>
                  <a:pt x="6831985" y="2490477"/>
                </a:lnTo>
                <a:lnTo>
                  <a:pt x="6854422" y="2546569"/>
                </a:lnTo>
                <a:lnTo>
                  <a:pt x="6865640" y="2613879"/>
                </a:lnTo>
                <a:lnTo>
                  <a:pt x="6865640" y="2714845"/>
                </a:lnTo>
                <a:lnTo>
                  <a:pt x="6854422" y="2827028"/>
                </a:lnTo>
                <a:lnTo>
                  <a:pt x="6820766" y="2972867"/>
                </a:lnTo>
                <a:lnTo>
                  <a:pt x="6753456" y="3129924"/>
                </a:lnTo>
                <a:lnTo>
                  <a:pt x="6708583" y="3230889"/>
                </a:lnTo>
                <a:lnTo>
                  <a:pt x="6652491" y="3320636"/>
                </a:lnTo>
                <a:lnTo>
                  <a:pt x="6585181" y="3387946"/>
                </a:lnTo>
                <a:lnTo>
                  <a:pt x="6529089" y="3444038"/>
                </a:lnTo>
                <a:lnTo>
                  <a:pt x="6461779" y="3488912"/>
                </a:lnTo>
                <a:lnTo>
                  <a:pt x="6394468" y="3511348"/>
                </a:lnTo>
                <a:lnTo>
                  <a:pt x="6338377" y="3522567"/>
                </a:lnTo>
                <a:lnTo>
                  <a:pt x="6282285" y="3500130"/>
                </a:lnTo>
                <a:lnTo>
                  <a:pt x="6237412" y="3455256"/>
                </a:lnTo>
                <a:lnTo>
                  <a:pt x="6203756" y="3399165"/>
                </a:lnTo>
                <a:lnTo>
                  <a:pt x="6181320" y="3331854"/>
                </a:lnTo>
                <a:lnTo>
                  <a:pt x="6170102" y="3242108"/>
                </a:lnTo>
                <a:lnTo>
                  <a:pt x="6170102" y="3152361"/>
                </a:lnTo>
                <a:lnTo>
                  <a:pt x="6181320" y="3051395"/>
                </a:lnTo>
                <a:lnTo>
                  <a:pt x="6203756" y="2950430"/>
                </a:lnTo>
                <a:lnTo>
                  <a:pt x="6248630" y="2838247"/>
                </a:lnTo>
                <a:lnTo>
                  <a:pt x="6259848" y="2815810"/>
                </a:lnTo>
                <a:lnTo>
                  <a:pt x="6271066" y="2748500"/>
                </a:lnTo>
                <a:lnTo>
                  <a:pt x="6271066" y="2658753"/>
                </a:lnTo>
                <a:lnTo>
                  <a:pt x="6271066" y="2613879"/>
                </a:lnTo>
                <a:lnTo>
                  <a:pt x="6248630" y="2569006"/>
                </a:lnTo>
                <a:lnTo>
                  <a:pt x="6226193" y="2535351"/>
                </a:lnTo>
                <a:lnTo>
                  <a:pt x="6214975" y="2501696"/>
                </a:lnTo>
                <a:lnTo>
                  <a:pt x="6203756" y="2456822"/>
                </a:lnTo>
                <a:lnTo>
                  <a:pt x="6203756" y="2411949"/>
                </a:lnTo>
                <a:lnTo>
                  <a:pt x="6226193" y="2355857"/>
                </a:lnTo>
                <a:lnTo>
                  <a:pt x="6271066" y="2299765"/>
                </a:lnTo>
                <a:lnTo>
                  <a:pt x="6349595" y="2254892"/>
                </a:lnTo>
                <a:close/>
                <a:moveTo>
                  <a:pt x="1783720" y="2097835"/>
                </a:moveTo>
                <a:lnTo>
                  <a:pt x="1839812" y="2109053"/>
                </a:lnTo>
                <a:lnTo>
                  <a:pt x="1895904" y="2120271"/>
                </a:lnTo>
                <a:lnTo>
                  <a:pt x="1940777" y="2142708"/>
                </a:lnTo>
                <a:lnTo>
                  <a:pt x="1985651" y="2165145"/>
                </a:lnTo>
                <a:lnTo>
                  <a:pt x="2019306" y="2198800"/>
                </a:lnTo>
                <a:lnTo>
                  <a:pt x="2052961" y="2232455"/>
                </a:lnTo>
                <a:lnTo>
                  <a:pt x="2064179" y="2266110"/>
                </a:lnTo>
                <a:lnTo>
                  <a:pt x="2075398" y="2310983"/>
                </a:lnTo>
                <a:lnTo>
                  <a:pt x="2064179" y="2355857"/>
                </a:lnTo>
                <a:lnTo>
                  <a:pt x="2052961" y="2400730"/>
                </a:lnTo>
                <a:lnTo>
                  <a:pt x="2019306" y="2434385"/>
                </a:lnTo>
                <a:lnTo>
                  <a:pt x="1985651" y="2468041"/>
                </a:lnTo>
                <a:lnTo>
                  <a:pt x="1940777" y="2490477"/>
                </a:lnTo>
                <a:lnTo>
                  <a:pt x="1895904" y="2512914"/>
                </a:lnTo>
                <a:lnTo>
                  <a:pt x="1839812" y="2524132"/>
                </a:lnTo>
                <a:lnTo>
                  <a:pt x="1783720" y="2524132"/>
                </a:lnTo>
                <a:lnTo>
                  <a:pt x="1727629" y="2524132"/>
                </a:lnTo>
                <a:lnTo>
                  <a:pt x="1671537" y="2512914"/>
                </a:lnTo>
                <a:lnTo>
                  <a:pt x="1615445" y="2490477"/>
                </a:lnTo>
                <a:lnTo>
                  <a:pt x="1570571" y="2468041"/>
                </a:lnTo>
                <a:lnTo>
                  <a:pt x="1536916" y="2434385"/>
                </a:lnTo>
                <a:lnTo>
                  <a:pt x="1514479" y="2400730"/>
                </a:lnTo>
                <a:lnTo>
                  <a:pt x="1492043" y="2355857"/>
                </a:lnTo>
                <a:lnTo>
                  <a:pt x="1492043" y="2310983"/>
                </a:lnTo>
                <a:lnTo>
                  <a:pt x="1492043" y="2266110"/>
                </a:lnTo>
                <a:lnTo>
                  <a:pt x="1514479" y="2232455"/>
                </a:lnTo>
                <a:lnTo>
                  <a:pt x="1536916" y="2198800"/>
                </a:lnTo>
                <a:lnTo>
                  <a:pt x="1570571" y="2165145"/>
                </a:lnTo>
                <a:lnTo>
                  <a:pt x="1615445" y="2142708"/>
                </a:lnTo>
                <a:lnTo>
                  <a:pt x="1671537" y="2120271"/>
                </a:lnTo>
                <a:lnTo>
                  <a:pt x="1727629" y="2109053"/>
                </a:lnTo>
                <a:close/>
                <a:moveTo>
                  <a:pt x="5586746" y="560918"/>
                </a:moveTo>
                <a:lnTo>
                  <a:pt x="5654056" y="560918"/>
                </a:lnTo>
                <a:lnTo>
                  <a:pt x="5710148" y="583355"/>
                </a:lnTo>
                <a:lnTo>
                  <a:pt x="5777458" y="628229"/>
                </a:lnTo>
                <a:lnTo>
                  <a:pt x="5844768" y="684320"/>
                </a:lnTo>
                <a:lnTo>
                  <a:pt x="5900860" y="762849"/>
                </a:lnTo>
                <a:lnTo>
                  <a:pt x="5956952" y="852596"/>
                </a:lnTo>
                <a:lnTo>
                  <a:pt x="6001826" y="953561"/>
                </a:lnTo>
                <a:lnTo>
                  <a:pt x="6035481" y="1054527"/>
                </a:lnTo>
                <a:lnTo>
                  <a:pt x="6057918" y="1166710"/>
                </a:lnTo>
                <a:lnTo>
                  <a:pt x="6069136" y="1267675"/>
                </a:lnTo>
                <a:lnTo>
                  <a:pt x="6069136" y="1368641"/>
                </a:lnTo>
                <a:lnTo>
                  <a:pt x="6057918" y="1447169"/>
                </a:lnTo>
                <a:lnTo>
                  <a:pt x="6035481" y="1514479"/>
                </a:lnTo>
                <a:lnTo>
                  <a:pt x="6001826" y="1570571"/>
                </a:lnTo>
                <a:lnTo>
                  <a:pt x="5956952" y="1615445"/>
                </a:lnTo>
                <a:lnTo>
                  <a:pt x="5900860" y="1626663"/>
                </a:lnTo>
                <a:lnTo>
                  <a:pt x="5833550" y="1626663"/>
                </a:lnTo>
                <a:lnTo>
                  <a:pt x="5766240" y="1604226"/>
                </a:lnTo>
                <a:lnTo>
                  <a:pt x="5710148" y="1559353"/>
                </a:lnTo>
                <a:lnTo>
                  <a:pt x="5642838" y="1492043"/>
                </a:lnTo>
                <a:lnTo>
                  <a:pt x="5586746" y="1424732"/>
                </a:lnTo>
                <a:lnTo>
                  <a:pt x="5530654" y="1334986"/>
                </a:lnTo>
                <a:lnTo>
                  <a:pt x="5485781" y="1234020"/>
                </a:lnTo>
                <a:lnTo>
                  <a:pt x="5452126" y="1133055"/>
                </a:lnTo>
                <a:lnTo>
                  <a:pt x="5418471" y="1020871"/>
                </a:lnTo>
                <a:lnTo>
                  <a:pt x="5407252" y="919906"/>
                </a:lnTo>
                <a:lnTo>
                  <a:pt x="5407252" y="818941"/>
                </a:lnTo>
                <a:lnTo>
                  <a:pt x="5429689" y="740412"/>
                </a:lnTo>
                <a:lnTo>
                  <a:pt x="5452126" y="673102"/>
                </a:lnTo>
                <a:lnTo>
                  <a:pt x="5485781" y="617010"/>
                </a:lnTo>
                <a:lnTo>
                  <a:pt x="5530654" y="572137"/>
                </a:lnTo>
                <a:close/>
                <a:moveTo>
                  <a:pt x="4285416" y="347770"/>
                </a:moveTo>
                <a:lnTo>
                  <a:pt x="4386381" y="347770"/>
                </a:lnTo>
                <a:lnTo>
                  <a:pt x="4487346" y="358988"/>
                </a:lnTo>
                <a:lnTo>
                  <a:pt x="4565875" y="392643"/>
                </a:lnTo>
                <a:lnTo>
                  <a:pt x="4644404" y="426298"/>
                </a:lnTo>
                <a:lnTo>
                  <a:pt x="4711714" y="459953"/>
                </a:lnTo>
                <a:lnTo>
                  <a:pt x="4801460" y="527263"/>
                </a:lnTo>
                <a:lnTo>
                  <a:pt x="4835116" y="560918"/>
                </a:lnTo>
                <a:lnTo>
                  <a:pt x="4924862" y="639447"/>
                </a:lnTo>
                <a:lnTo>
                  <a:pt x="5014610" y="729194"/>
                </a:lnTo>
                <a:lnTo>
                  <a:pt x="5070702" y="830159"/>
                </a:lnTo>
                <a:lnTo>
                  <a:pt x="5126794" y="919906"/>
                </a:lnTo>
                <a:lnTo>
                  <a:pt x="5160448" y="1009653"/>
                </a:lnTo>
                <a:lnTo>
                  <a:pt x="5194104" y="1099400"/>
                </a:lnTo>
                <a:lnTo>
                  <a:pt x="5216540" y="1177929"/>
                </a:lnTo>
                <a:lnTo>
                  <a:pt x="5216540" y="1267675"/>
                </a:lnTo>
                <a:lnTo>
                  <a:pt x="5227758" y="1413514"/>
                </a:lnTo>
                <a:lnTo>
                  <a:pt x="5205322" y="1525698"/>
                </a:lnTo>
                <a:lnTo>
                  <a:pt x="5182885" y="1626663"/>
                </a:lnTo>
                <a:lnTo>
                  <a:pt x="5149230" y="1772502"/>
                </a:lnTo>
                <a:lnTo>
                  <a:pt x="5138012" y="1884686"/>
                </a:lnTo>
                <a:lnTo>
                  <a:pt x="5138012" y="1985651"/>
                </a:lnTo>
                <a:lnTo>
                  <a:pt x="5149230" y="2052961"/>
                </a:lnTo>
                <a:lnTo>
                  <a:pt x="5182885" y="2109053"/>
                </a:lnTo>
                <a:lnTo>
                  <a:pt x="5205322" y="2153926"/>
                </a:lnTo>
                <a:lnTo>
                  <a:pt x="5238977" y="2198800"/>
                </a:lnTo>
                <a:lnTo>
                  <a:pt x="5283850" y="2232455"/>
                </a:lnTo>
                <a:lnTo>
                  <a:pt x="5328724" y="2254892"/>
                </a:lnTo>
                <a:lnTo>
                  <a:pt x="5407252" y="2288547"/>
                </a:lnTo>
                <a:lnTo>
                  <a:pt x="5485781" y="2299765"/>
                </a:lnTo>
                <a:lnTo>
                  <a:pt x="5553091" y="2299765"/>
                </a:lnTo>
                <a:lnTo>
                  <a:pt x="5620402" y="2299765"/>
                </a:lnTo>
                <a:lnTo>
                  <a:pt x="5732585" y="2299765"/>
                </a:lnTo>
                <a:lnTo>
                  <a:pt x="5822332" y="2310983"/>
                </a:lnTo>
                <a:lnTo>
                  <a:pt x="5900860" y="2333420"/>
                </a:lnTo>
                <a:lnTo>
                  <a:pt x="5956952" y="2355857"/>
                </a:lnTo>
                <a:lnTo>
                  <a:pt x="5990608" y="2389512"/>
                </a:lnTo>
                <a:lnTo>
                  <a:pt x="6013044" y="2411949"/>
                </a:lnTo>
                <a:lnTo>
                  <a:pt x="6035481" y="2434385"/>
                </a:lnTo>
                <a:lnTo>
                  <a:pt x="6057918" y="2468041"/>
                </a:lnTo>
                <a:lnTo>
                  <a:pt x="6069136" y="2501696"/>
                </a:lnTo>
                <a:lnTo>
                  <a:pt x="6091572" y="2569006"/>
                </a:lnTo>
                <a:lnTo>
                  <a:pt x="6091572" y="2647534"/>
                </a:lnTo>
                <a:lnTo>
                  <a:pt x="6069136" y="2714845"/>
                </a:lnTo>
                <a:lnTo>
                  <a:pt x="6024262" y="2827028"/>
                </a:lnTo>
                <a:lnTo>
                  <a:pt x="6001826" y="2860683"/>
                </a:lnTo>
                <a:lnTo>
                  <a:pt x="5923298" y="2984085"/>
                </a:lnTo>
                <a:lnTo>
                  <a:pt x="5867206" y="3085050"/>
                </a:lnTo>
                <a:lnTo>
                  <a:pt x="5833550" y="3174797"/>
                </a:lnTo>
                <a:lnTo>
                  <a:pt x="5811114" y="3242108"/>
                </a:lnTo>
                <a:lnTo>
                  <a:pt x="5799895" y="3309418"/>
                </a:lnTo>
                <a:lnTo>
                  <a:pt x="5799895" y="3354291"/>
                </a:lnTo>
                <a:lnTo>
                  <a:pt x="5799895" y="3387946"/>
                </a:lnTo>
                <a:lnTo>
                  <a:pt x="5811114" y="3444038"/>
                </a:lnTo>
                <a:lnTo>
                  <a:pt x="5822332" y="3500130"/>
                </a:lnTo>
                <a:lnTo>
                  <a:pt x="5844768" y="3545003"/>
                </a:lnTo>
                <a:lnTo>
                  <a:pt x="5878424" y="3578658"/>
                </a:lnTo>
                <a:lnTo>
                  <a:pt x="5912079" y="3612314"/>
                </a:lnTo>
                <a:lnTo>
                  <a:pt x="5945734" y="3645969"/>
                </a:lnTo>
                <a:lnTo>
                  <a:pt x="6024262" y="3679624"/>
                </a:lnTo>
                <a:lnTo>
                  <a:pt x="6091572" y="3702060"/>
                </a:lnTo>
                <a:lnTo>
                  <a:pt x="6158883" y="3702060"/>
                </a:lnTo>
                <a:lnTo>
                  <a:pt x="6226193" y="3702060"/>
                </a:lnTo>
                <a:lnTo>
                  <a:pt x="6360814" y="3713279"/>
                </a:lnTo>
                <a:lnTo>
                  <a:pt x="6484216" y="3735716"/>
                </a:lnTo>
                <a:lnTo>
                  <a:pt x="6573962" y="3769371"/>
                </a:lnTo>
                <a:lnTo>
                  <a:pt x="6652491" y="3803026"/>
                </a:lnTo>
                <a:lnTo>
                  <a:pt x="6708583" y="3847899"/>
                </a:lnTo>
                <a:lnTo>
                  <a:pt x="6753456" y="3881554"/>
                </a:lnTo>
                <a:lnTo>
                  <a:pt x="6787112" y="3926428"/>
                </a:lnTo>
                <a:lnTo>
                  <a:pt x="6809548" y="3960083"/>
                </a:lnTo>
                <a:lnTo>
                  <a:pt x="6831985" y="4004956"/>
                </a:lnTo>
                <a:lnTo>
                  <a:pt x="6843204" y="4038611"/>
                </a:lnTo>
                <a:lnTo>
                  <a:pt x="6843204" y="4072266"/>
                </a:lnTo>
                <a:lnTo>
                  <a:pt x="6831985" y="4105922"/>
                </a:lnTo>
                <a:lnTo>
                  <a:pt x="6809548" y="4139577"/>
                </a:lnTo>
                <a:lnTo>
                  <a:pt x="6764674" y="4195669"/>
                </a:lnTo>
                <a:lnTo>
                  <a:pt x="6708583" y="4240542"/>
                </a:lnTo>
                <a:lnTo>
                  <a:pt x="6652491" y="4274197"/>
                </a:lnTo>
                <a:lnTo>
                  <a:pt x="6596399" y="4296634"/>
                </a:lnTo>
                <a:lnTo>
                  <a:pt x="6529089" y="4319071"/>
                </a:lnTo>
                <a:lnTo>
                  <a:pt x="6484216" y="4341507"/>
                </a:lnTo>
                <a:lnTo>
                  <a:pt x="6394468" y="4408818"/>
                </a:lnTo>
                <a:lnTo>
                  <a:pt x="6338377" y="4476128"/>
                </a:lnTo>
                <a:lnTo>
                  <a:pt x="6293504" y="4554656"/>
                </a:lnTo>
                <a:lnTo>
                  <a:pt x="6259848" y="4621966"/>
                </a:lnTo>
                <a:lnTo>
                  <a:pt x="6248630" y="4678058"/>
                </a:lnTo>
                <a:lnTo>
                  <a:pt x="6248630" y="4722932"/>
                </a:lnTo>
                <a:lnTo>
                  <a:pt x="6237412" y="4812679"/>
                </a:lnTo>
                <a:lnTo>
                  <a:pt x="6214975" y="4879989"/>
                </a:lnTo>
                <a:lnTo>
                  <a:pt x="6192538" y="4947299"/>
                </a:lnTo>
                <a:lnTo>
                  <a:pt x="6158883" y="5003391"/>
                </a:lnTo>
                <a:lnTo>
                  <a:pt x="6091572" y="5093138"/>
                </a:lnTo>
                <a:lnTo>
                  <a:pt x="6024262" y="5171666"/>
                </a:lnTo>
                <a:lnTo>
                  <a:pt x="5945734" y="5216540"/>
                </a:lnTo>
                <a:lnTo>
                  <a:pt x="5878424" y="5250195"/>
                </a:lnTo>
                <a:lnTo>
                  <a:pt x="5822332" y="5261413"/>
                </a:lnTo>
                <a:lnTo>
                  <a:pt x="5743804" y="5295068"/>
                </a:lnTo>
                <a:lnTo>
                  <a:pt x="5676493" y="5317505"/>
                </a:lnTo>
                <a:lnTo>
                  <a:pt x="5631620" y="5351160"/>
                </a:lnTo>
                <a:lnTo>
                  <a:pt x="5586746" y="5384815"/>
                </a:lnTo>
                <a:lnTo>
                  <a:pt x="5553091" y="5418470"/>
                </a:lnTo>
                <a:lnTo>
                  <a:pt x="5530654" y="5452125"/>
                </a:lnTo>
                <a:lnTo>
                  <a:pt x="5497000" y="5530654"/>
                </a:lnTo>
                <a:lnTo>
                  <a:pt x="5497000" y="5586746"/>
                </a:lnTo>
                <a:lnTo>
                  <a:pt x="5497000" y="5642838"/>
                </a:lnTo>
                <a:lnTo>
                  <a:pt x="5519436" y="5698929"/>
                </a:lnTo>
                <a:lnTo>
                  <a:pt x="5541873" y="5755021"/>
                </a:lnTo>
                <a:lnTo>
                  <a:pt x="5553091" y="5811113"/>
                </a:lnTo>
                <a:lnTo>
                  <a:pt x="5553091" y="5867205"/>
                </a:lnTo>
                <a:lnTo>
                  <a:pt x="5530654" y="5912078"/>
                </a:lnTo>
                <a:lnTo>
                  <a:pt x="5497000" y="5979389"/>
                </a:lnTo>
                <a:lnTo>
                  <a:pt x="5474562" y="6013044"/>
                </a:lnTo>
                <a:lnTo>
                  <a:pt x="5384816" y="6069135"/>
                </a:lnTo>
                <a:lnTo>
                  <a:pt x="5283850" y="6091572"/>
                </a:lnTo>
                <a:lnTo>
                  <a:pt x="5205322" y="6102791"/>
                </a:lnTo>
                <a:lnTo>
                  <a:pt x="5126794" y="6102791"/>
                </a:lnTo>
                <a:lnTo>
                  <a:pt x="5070702" y="6091572"/>
                </a:lnTo>
                <a:lnTo>
                  <a:pt x="5025828" y="6080354"/>
                </a:lnTo>
                <a:lnTo>
                  <a:pt x="4980954" y="6057917"/>
                </a:lnTo>
                <a:lnTo>
                  <a:pt x="4857552" y="6001825"/>
                </a:lnTo>
                <a:lnTo>
                  <a:pt x="4734150" y="5968170"/>
                </a:lnTo>
                <a:lnTo>
                  <a:pt x="4633185" y="5934515"/>
                </a:lnTo>
                <a:lnTo>
                  <a:pt x="4532220" y="5923297"/>
                </a:lnTo>
                <a:lnTo>
                  <a:pt x="4431254" y="5923297"/>
                </a:lnTo>
                <a:lnTo>
                  <a:pt x="4341508" y="5934515"/>
                </a:lnTo>
                <a:lnTo>
                  <a:pt x="4262979" y="5945733"/>
                </a:lnTo>
                <a:lnTo>
                  <a:pt x="4195669" y="5968170"/>
                </a:lnTo>
                <a:lnTo>
                  <a:pt x="4083485" y="6024262"/>
                </a:lnTo>
                <a:lnTo>
                  <a:pt x="3993738" y="6080354"/>
                </a:lnTo>
                <a:lnTo>
                  <a:pt x="3926428" y="6136446"/>
                </a:lnTo>
                <a:lnTo>
                  <a:pt x="3814244" y="6248629"/>
                </a:lnTo>
                <a:lnTo>
                  <a:pt x="3702061" y="6327158"/>
                </a:lnTo>
                <a:lnTo>
                  <a:pt x="3601096" y="6383250"/>
                </a:lnTo>
                <a:lnTo>
                  <a:pt x="3511348" y="6416905"/>
                </a:lnTo>
                <a:lnTo>
                  <a:pt x="3432820" y="6428123"/>
                </a:lnTo>
                <a:lnTo>
                  <a:pt x="3365510" y="6428123"/>
                </a:lnTo>
                <a:lnTo>
                  <a:pt x="3320636" y="6428123"/>
                </a:lnTo>
                <a:lnTo>
                  <a:pt x="3208453" y="6405686"/>
                </a:lnTo>
                <a:lnTo>
                  <a:pt x="3118706" y="6372031"/>
                </a:lnTo>
                <a:lnTo>
                  <a:pt x="3051396" y="6315939"/>
                </a:lnTo>
                <a:lnTo>
                  <a:pt x="3006522" y="6271066"/>
                </a:lnTo>
                <a:lnTo>
                  <a:pt x="2972867" y="6214974"/>
                </a:lnTo>
                <a:lnTo>
                  <a:pt x="2950430" y="6170101"/>
                </a:lnTo>
                <a:lnTo>
                  <a:pt x="2939212" y="6136446"/>
                </a:lnTo>
                <a:lnTo>
                  <a:pt x="2916775" y="6035480"/>
                </a:lnTo>
                <a:lnTo>
                  <a:pt x="2871902" y="5956952"/>
                </a:lnTo>
                <a:lnTo>
                  <a:pt x="2827028" y="5900860"/>
                </a:lnTo>
                <a:lnTo>
                  <a:pt x="2770936" y="5867205"/>
                </a:lnTo>
                <a:lnTo>
                  <a:pt x="2714844" y="5844768"/>
                </a:lnTo>
                <a:lnTo>
                  <a:pt x="2669971" y="5833550"/>
                </a:lnTo>
                <a:lnTo>
                  <a:pt x="2625098" y="5833550"/>
                </a:lnTo>
                <a:lnTo>
                  <a:pt x="2535351" y="5833550"/>
                </a:lnTo>
                <a:lnTo>
                  <a:pt x="2468040" y="5811113"/>
                </a:lnTo>
                <a:lnTo>
                  <a:pt x="2400730" y="5777458"/>
                </a:lnTo>
                <a:lnTo>
                  <a:pt x="2344638" y="5743803"/>
                </a:lnTo>
                <a:lnTo>
                  <a:pt x="2310984" y="5698929"/>
                </a:lnTo>
                <a:lnTo>
                  <a:pt x="2277328" y="5665274"/>
                </a:lnTo>
                <a:lnTo>
                  <a:pt x="2254892" y="5631619"/>
                </a:lnTo>
                <a:lnTo>
                  <a:pt x="2221236" y="5575527"/>
                </a:lnTo>
                <a:lnTo>
                  <a:pt x="2176363" y="5541872"/>
                </a:lnTo>
                <a:lnTo>
                  <a:pt x="2120271" y="5508217"/>
                </a:lnTo>
                <a:lnTo>
                  <a:pt x="2075398" y="5485781"/>
                </a:lnTo>
                <a:lnTo>
                  <a:pt x="2019306" y="5474562"/>
                </a:lnTo>
                <a:lnTo>
                  <a:pt x="1963214" y="5463344"/>
                </a:lnTo>
                <a:lnTo>
                  <a:pt x="1851031" y="5463344"/>
                </a:lnTo>
                <a:lnTo>
                  <a:pt x="1750065" y="5485781"/>
                </a:lnTo>
                <a:lnTo>
                  <a:pt x="1660318" y="5508217"/>
                </a:lnTo>
                <a:lnTo>
                  <a:pt x="1581789" y="5541872"/>
                </a:lnTo>
                <a:lnTo>
                  <a:pt x="1435951" y="5586746"/>
                </a:lnTo>
                <a:lnTo>
                  <a:pt x="1301331" y="5609183"/>
                </a:lnTo>
                <a:lnTo>
                  <a:pt x="1177929" y="5620401"/>
                </a:lnTo>
                <a:lnTo>
                  <a:pt x="1076963" y="5631619"/>
                </a:lnTo>
                <a:lnTo>
                  <a:pt x="987216" y="5631619"/>
                </a:lnTo>
                <a:lnTo>
                  <a:pt x="897469" y="5620401"/>
                </a:lnTo>
                <a:lnTo>
                  <a:pt x="830159" y="5597964"/>
                </a:lnTo>
                <a:lnTo>
                  <a:pt x="774067" y="5586746"/>
                </a:lnTo>
                <a:lnTo>
                  <a:pt x="684321" y="5530654"/>
                </a:lnTo>
                <a:lnTo>
                  <a:pt x="639447" y="5485781"/>
                </a:lnTo>
                <a:lnTo>
                  <a:pt x="605792" y="5452125"/>
                </a:lnTo>
                <a:lnTo>
                  <a:pt x="594574" y="5429689"/>
                </a:lnTo>
                <a:lnTo>
                  <a:pt x="572137" y="5362379"/>
                </a:lnTo>
                <a:lnTo>
                  <a:pt x="549700" y="5283850"/>
                </a:lnTo>
                <a:lnTo>
                  <a:pt x="538482" y="5216540"/>
                </a:lnTo>
                <a:lnTo>
                  <a:pt x="538482" y="5149230"/>
                </a:lnTo>
                <a:lnTo>
                  <a:pt x="549700" y="5025828"/>
                </a:lnTo>
                <a:lnTo>
                  <a:pt x="583355" y="4913644"/>
                </a:lnTo>
                <a:lnTo>
                  <a:pt x="639447" y="4801460"/>
                </a:lnTo>
                <a:lnTo>
                  <a:pt x="706757" y="4711713"/>
                </a:lnTo>
                <a:lnTo>
                  <a:pt x="796504" y="4621966"/>
                </a:lnTo>
                <a:lnTo>
                  <a:pt x="886251" y="4554656"/>
                </a:lnTo>
                <a:lnTo>
                  <a:pt x="975998" y="4487346"/>
                </a:lnTo>
                <a:lnTo>
                  <a:pt x="1076963" y="4431254"/>
                </a:lnTo>
                <a:lnTo>
                  <a:pt x="1245239" y="4341507"/>
                </a:lnTo>
                <a:lnTo>
                  <a:pt x="1368641" y="4285416"/>
                </a:lnTo>
                <a:lnTo>
                  <a:pt x="1424733" y="4274197"/>
                </a:lnTo>
                <a:lnTo>
                  <a:pt x="1559353" y="4218105"/>
                </a:lnTo>
                <a:lnTo>
                  <a:pt x="1671537" y="4162013"/>
                </a:lnTo>
                <a:lnTo>
                  <a:pt x="1750065" y="4094703"/>
                </a:lnTo>
                <a:lnTo>
                  <a:pt x="1806157" y="4038611"/>
                </a:lnTo>
                <a:lnTo>
                  <a:pt x="1851031" y="3971301"/>
                </a:lnTo>
                <a:lnTo>
                  <a:pt x="1873467" y="3926428"/>
                </a:lnTo>
                <a:lnTo>
                  <a:pt x="1884685" y="3892773"/>
                </a:lnTo>
                <a:lnTo>
                  <a:pt x="1884685" y="3803026"/>
                </a:lnTo>
                <a:lnTo>
                  <a:pt x="1862249" y="3746934"/>
                </a:lnTo>
                <a:lnTo>
                  <a:pt x="1828593" y="3690842"/>
                </a:lnTo>
                <a:lnTo>
                  <a:pt x="1794939" y="3657187"/>
                </a:lnTo>
                <a:lnTo>
                  <a:pt x="1761283" y="3634750"/>
                </a:lnTo>
                <a:lnTo>
                  <a:pt x="1738847" y="3612314"/>
                </a:lnTo>
                <a:lnTo>
                  <a:pt x="1705191" y="3601095"/>
                </a:lnTo>
                <a:lnTo>
                  <a:pt x="1604227" y="3578658"/>
                </a:lnTo>
                <a:lnTo>
                  <a:pt x="1514479" y="3545003"/>
                </a:lnTo>
                <a:lnTo>
                  <a:pt x="1435951" y="3511348"/>
                </a:lnTo>
                <a:lnTo>
                  <a:pt x="1368641" y="3477693"/>
                </a:lnTo>
                <a:lnTo>
                  <a:pt x="1267675" y="3399165"/>
                </a:lnTo>
                <a:lnTo>
                  <a:pt x="1200365" y="3320636"/>
                </a:lnTo>
                <a:lnTo>
                  <a:pt x="1155492" y="3253326"/>
                </a:lnTo>
                <a:lnTo>
                  <a:pt x="1133055" y="3208452"/>
                </a:lnTo>
                <a:lnTo>
                  <a:pt x="1133055" y="3152361"/>
                </a:lnTo>
                <a:lnTo>
                  <a:pt x="1144273" y="3096269"/>
                </a:lnTo>
                <a:lnTo>
                  <a:pt x="1177929" y="3040177"/>
                </a:lnTo>
                <a:lnTo>
                  <a:pt x="1211583" y="2995304"/>
                </a:lnTo>
                <a:lnTo>
                  <a:pt x="1267675" y="2950430"/>
                </a:lnTo>
                <a:lnTo>
                  <a:pt x="1334985" y="2916775"/>
                </a:lnTo>
                <a:lnTo>
                  <a:pt x="1402296" y="2894338"/>
                </a:lnTo>
                <a:lnTo>
                  <a:pt x="1548135" y="2860683"/>
                </a:lnTo>
                <a:lnTo>
                  <a:pt x="1705191" y="2838247"/>
                </a:lnTo>
                <a:lnTo>
                  <a:pt x="1828593" y="2827028"/>
                </a:lnTo>
                <a:lnTo>
                  <a:pt x="1963214" y="2827028"/>
                </a:lnTo>
                <a:lnTo>
                  <a:pt x="2052961" y="2827028"/>
                </a:lnTo>
                <a:lnTo>
                  <a:pt x="2142708" y="2815810"/>
                </a:lnTo>
                <a:lnTo>
                  <a:pt x="2299765" y="2782155"/>
                </a:lnTo>
                <a:lnTo>
                  <a:pt x="2411949" y="2737281"/>
                </a:lnTo>
                <a:lnTo>
                  <a:pt x="2490477" y="2681189"/>
                </a:lnTo>
                <a:lnTo>
                  <a:pt x="2546569" y="2625098"/>
                </a:lnTo>
                <a:lnTo>
                  <a:pt x="2580224" y="2580224"/>
                </a:lnTo>
                <a:lnTo>
                  <a:pt x="2602661" y="2535351"/>
                </a:lnTo>
                <a:lnTo>
                  <a:pt x="2625098" y="2434385"/>
                </a:lnTo>
                <a:lnTo>
                  <a:pt x="2625098" y="2355857"/>
                </a:lnTo>
                <a:lnTo>
                  <a:pt x="2613879" y="2288547"/>
                </a:lnTo>
                <a:lnTo>
                  <a:pt x="2591442" y="2232455"/>
                </a:lnTo>
                <a:lnTo>
                  <a:pt x="2569006" y="2187581"/>
                </a:lnTo>
                <a:lnTo>
                  <a:pt x="2535351" y="2153926"/>
                </a:lnTo>
                <a:lnTo>
                  <a:pt x="2512914" y="2131490"/>
                </a:lnTo>
                <a:lnTo>
                  <a:pt x="2423167" y="2030524"/>
                </a:lnTo>
                <a:lnTo>
                  <a:pt x="2355857" y="1940777"/>
                </a:lnTo>
                <a:lnTo>
                  <a:pt x="2322202" y="1862249"/>
                </a:lnTo>
                <a:lnTo>
                  <a:pt x="2310984" y="1783720"/>
                </a:lnTo>
                <a:lnTo>
                  <a:pt x="2299765" y="1716410"/>
                </a:lnTo>
                <a:lnTo>
                  <a:pt x="2310984" y="1660318"/>
                </a:lnTo>
                <a:lnTo>
                  <a:pt x="2322202" y="1615445"/>
                </a:lnTo>
                <a:lnTo>
                  <a:pt x="2344638" y="1559353"/>
                </a:lnTo>
                <a:lnTo>
                  <a:pt x="2378294" y="1514479"/>
                </a:lnTo>
                <a:lnTo>
                  <a:pt x="2411949" y="1480824"/>
                </a:lnTo>
                <a:lnTo>
                  <a:pt x="2445604" y="1447169"/>
                </a:lnTo>
                <a:lnTo>
                  <a:pt x="2490477" y="1435951"/>
                </a:lnTo>
                <a:lnTo>
                  <a:pt x="2535351" y="1424732"/>
                </a:lnTo>
                <a:lnTo>
                  <a:pt x="2636316" y="1413514"/>
                </a:lnTo>
                <a:lnTo>
                  <a:pt x="2714844" y="1424732"/>
                </a:lnTo>
                <a:lnTo>
                  <a:pt x="2793373" y="1447169"/>
                </a:lnTo>
                <a:lnTo>
                  <a:pt x="2860683" y="1469606"/>
                </a:lnTo>
                <a:lnTo>
                  <a:pt x="2927994" y="1480824"/>
                </a:lnTo>
                <a:lnTo>
                  <a:pt x="2995304" y="1492043"/>
                </a:lnTo>
                <a:lnTo>
                  <a:pt x="3062614" y="1480824"/>
                </a:lnTo>
                <a:lnTo>
                  <a:pt x="3118706" y="1458388"/>
                </a:lnTo>
                <a:lnTo>
                  <a:pt x="3174798" y="1435951"/>
                </a:lnTo>
                <a:lnTo>
                  <a:pt x="3230890" y="1413514"/>
                </a:lnTo>
                <a:lnTo>
                  <a:pt x="3320636" y="1334986"/>
                </a:lnTo>
                <a:lnTo>
                  <a:pt x="3387946" y="1256457"/>
                </a:lnTo>
                <a:lnTo>
                  <a:pt x="3444038" y="1189147"/>
                </a:lnTo>
                <a:lnTo>
                  <a:pt x="3488912" y="1121837"/>
                </a:lnTo>
                <a:lnTo>
                  <a:pt x="3601096" y="897469"/>
                </a:lnTo>
                <a:lnTo>
                  <a:pt x="3724498" y="717975"/>
                </a:lnTo>
                <a:lnTo>
                  <a:pt x="3836681" y="583355"/>
                </a:lnTo>
                <a:lnTo>
                  <a:pt x="3960083" y="482390"/>
                </a:lnTo>
                <a:lnTo>
                  <a:pt x="4072267" y="415080"/>
                </a:lnTo>
                <a:lnTo>
                  <a:pt x="4184450" y="370206"/>
                </a:lnTo>
                <a:close/>
                <a:moveTo>
                  <a:pt x="3387946" y="0"/>
                </a:moveTo>
                <a:lnTo>
                  <a:pt x="3466475" y="11218"/>
                </a:lnTo>
                <a:lnTo>
                  <a:pt x="3533785" y="44874"/>
                </a:lnTo>
                <a:lnTo>
                  <a:pt x="3578659" y="89747"/>
                </a:lnTo>
                <a:lnTo>
                  <a:pt x="3612314" y="157057"/>
                </a:lnTo>
                <a:lnTo>
                  <a:pt x="3634750" y="224367"/>
                </a:lnTo>
                <a:lnTo>
                  <a:pt x="3634750" y="314114"/>
                </a:lnTo>
                <a:lnTo>
                  <a:pt x="3623532" y="403861"/>
                </a:lnTo>
                <a:lnTo>
                  <a:pt x="3589877" y="504827"/>
                </a:lnTo>
                <a:lnTo>
                  <a:pt x="3545004" y="605792"/>
                </a:lnTo>
                <a:lnTo>
                  <a:pt x="3477694" y="695539"/>
                </a:lnTo>
                <a:lnTo>
                  <a:pt x="3410383" y="785286"/>
                </a:lnTo>
                <a:lnTo>
                  <a:pt x="3320636" y="863814"/>
                </a:lnTo>
                <a:lnTo>
                  <a:pt x="3242108" y="931125"/>
                </a:lnTo>
                <a:lnTo>
                  <a:pt x="3152361" y="975998"/>
                </a:lnTo>
                <a:lnTo>
                  <a:pt x="3062614" y="998435"/>
                </a:lnTo>
                <a:lnTo>
                  <a:pt x="2984085" y="1009653"/>
                </a:lnTo>
                <a:lnTo>
                  <a:pt x="2905557" y="998435"/>
                </a:lnTo>
                <a:lnTo>
                  <a:pt x="2849465" y="964780"/>
                </a:lnTo>
                <a:lnTo>
                  <a:pt x="2793373" y="919906"/>
                </a:lnTo>
                <a:lnTo>
                  <a:pt x="2759718" y="852596"/>
                </a:lnTo>
                <a:lnTo>
                  <a:pt x="2737281" y="785286"/>
                </a:lnTo>
                <a:lnTo>
                  <a:pt x="2737281" y="695539"/>
                </a:lnTo>
                <a:lnTo>
                  <a:pt x="2748500" y="605792"/>
                </a:lnTo>
                <a:lnTo>
                  <a:pt x="2782155" y="504827"/>
                </a:lnTo>
                <a:lnTo>
                  <a:pt x="2827028" y="403861"/>
                </a:lnTo>
                <a:lnTo>
                  <a:pt x="2894338" y="314114"/>
                </a:lnTo>
                <a:lnTo>
                  <a:pt x="2972867" y="224367"/>
                </a:lnTo>
                <a:lnTo>
                  <a:pt x="3051396" y="145839"/>
                </a:lnTo>
                <a:lnTo>
                  <a:pt x="3141142" y="78529"/>
                </a:lnTo>
                <a:lnTo>
                  <a:pt x="3219671" y="33655"/>
                </a:lnTo>
                <a:lnTo>
                  <a:pt x="3309418" y="11218"/>
                </a:lnTo>
                <a:close/>
              </a:path>
            </a:pathLst>
          </a:custGeom>
          <a:solidFill>
            <a:schemeClr val="bg1">
              <a:lumMod val="85000"/>
            </a:schemeClr>
          </a:solidFill>
        </p:spPr>
        <p:txBody>
          <a:bodyPr wrap="square">
            <a:noAutofit/>
          </a:bodyPr>
          <a:lstStyle>
            <a:lvl1pPr marL="0" indent="0">
              <a:buNone/>
              <a:defRPr sz="2000"/>
            </a:lvl1pPr>
          </a:lstStyle>
          <a:p>
            <a:endParaRPr lang="en-US"/>
          </a:p>
        </p:txBody>
      </p:sp>
    </p:spTree>
    <p:extLst>
      <p:ext uri="{BB962C8B-B14F-4D97-AF65-F5344CB8AC3E}">
        <p14:creationId xmlns:p14="http://schemas.microsoft.com/office/powerpoint/2010/main" val="2568007253"/>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7_Blank">
    <p:spTree>
      <p:nvGrpSpPr>
        <p:cNvPr id="1" name=""/>
        <p:cNvGrpSpPr/>
        <p:nvPr/>
      </p:nvGrpSpPr>
      <p:grpSpPr>
        <a:xfrm>
          <a:off x="0" y="0"/>
          <a:ext cx="0" cy="0"/>
          <a:chOff x="0" y="0"/>
          <a:chExt cx="0" cy="0"/>
        </a:xfrm>
      </p:grpSpPr>
      <p:sp>
        <p:nvSpPr>
          <p:cNvPr id="11" name="Picture Placeholder 10"/>
          <p:cNvSpPr>
            <a:spLocks noGrp="1"/>
          </p:cNvSpPr>
          <p:nvPr>
            <p:ph type="pic" sz="quarter" idx="13"/>
          </p:nvPr>
        </p:nvSpPr>
        <p:spPr>
          <a:xfrm>
            <a:off x="0" y="0"/>
            <a:ext cx="12192000" cy="6858000"/>
          </a:xfrm>
          <a:prstGeom prst="rect">
            <a:avLst/>
          </a:prstGeom>
        </p:spPr>
        <p:txBody>
          <a:bodyPr>
            <a:normAutofit/>
          </a:bodyPr>
          <a:lstStyle>
            <a:lvl1pPr marL="0" indent="0">
              <a:buNone/>
              <a:defRPr sz="2000"/>
            </a:lvl1pPr>
          </a:lstStyle>
          <a:p>
            <a:endParaRPr lang="en-US"/>
          </a:p>
        </p:txBody>
      </p:sp>
      <p:sp>
        <p:nvSpPr>
          <p:cNvPr id="5" name="Title 1"/>
          <p:cNvSpPr>
            <a:spLocks noGrp="1"/>
          </p:cNvSpPr>
          <p:nvPr>
            <p:ph type="title"/>
          </p:nvPr>
        </p:nvSpPr>
        <p:spPr>
          <a:xfrm>
            <a:off x="838200" y="2938264"/>
            <a:ext cx="10515600" cy="176887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ctr">
              <a:defRPr lang="en-US" sz="11500" spc="-151" dirty="0">
                <a:solidFill>
                  <a:schemeClr val="tx1">
                    <a:lumMod val="85000"/>
                    <a:lumOff val="15000"/>
                  </a:schemeClr>
                </a:solidFill>
                <a:latin typeface="Montserrat" panose="00000500000000000000" pitchFamily="2" charset="0"/>
                <a:ea typeface="Source Sans Pro" panose="020B0503030403020204" pitchFamily="34" charset="0"/>
                <a:cs typeface="Open Sans Light" panose="020B0306030504020204" pitchFamily="34" charset="0"/>
              </a:defRPr>
            </a:lvl1pPr>
          </a:lstStyle>
          <a:p>
            <a:pPr marL="0" lvl="0" algn="ctr"/>
            <a:r>
              <a:rPr lang="en-US" dirty="0"/>
              <a:t>Click to edit</a:t>
            </a:r>
          </a:p>
        </p:txBody>
      </p:sp>
    </p:spTree>
    <p:extLst>
      <p:ext uri="{BB962C8B-B14F-4D97-AF65-F5344CB8AC3E}">
        <p14:creationId xmlns:p14="http://schemas.microsoft.com/office/powerpoint/2010/main" val="586579484"/>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8007932" cy="6858000"/>
          </a:xfrm>
          <a:custGeom>
            <a:avLst/>
            <a:gdLst>
              <a:gd name="connsiteX0" fmla="*/ 0 w 8007932"/>
              <a:gd name="connsiteY0" fmla="*/ 0 h 6858000"/>
              <a:gd name="connsiteX1" fmla="*/ 6470584 w 8007932"/>
              <a:gd name="connsiteY1" fmla="*/ 0 h 6858000"/>
              <a:gd name="connsiteX2" fmla="*/ 6534374 w 8007932"/>
              <a:gd name="connsiteY2" fmla="*/ 43722 h 6858000"/>
              <a:gd name="connsiteX3" fmla="*/ 6078546 w 8007932"/>
              <a:gd name="connsiteY3" fmla="*/ 1922063 h 6858000"/>
              <a:gd name="connsiteX4" fmla="*/ 7399506 w 8007932"/>
              <a:gd name="connsiteY4" fmla="*/ 2149459 h 6858000"/>
              <a:gd name="connsiteX5" fmla="*/ 6759864 w 8007932"/>
              <a:gd name="connsiteY5" fmla="*/ 3051886 h 6858000"/>
              <a:gd name="connsiteX6" fmla="*/ 7987155 w 8007932"/>
              <a:gd name="connsiteY6" fmla="*/ 4135047 h 6858000"/>
              <a:gd name="connsiteX7" fmla="*/ 5568385 w 8007932"/>
              <a:gd name="connsiteY7" fmla="*/ 5490808 h 6858000"/>
              <a:gd name="connsiteX8" fmla="*/ 6513412 w 8007932"/>
              <a:gd name="connsiteY8" fmla="*/ 6824149 h 6858000"/>
              <a:gd name="connsiteX9" fmla="*/ 6455479 w 8007932"/>
              <a:gd name="connsiteY9" fmla="*/ 6858000 h 6858000"/>
              <a:gd name="connsiteX10" fmla="*/ 0 w 8007932"/>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07932" h="6858000">
                <a:moveTo>
                  <a:pt x="0" y="0"/>
                </a:moveTo>
                <a:lnTo>
                  <a:pt x="6470584" y="0"/>
                </a:lnTo>
                <a:lnTo>
                  <a:pt x="6534374" y="43722"/>
                </a:lnTo>
                <a:cubicBezTo>
                  <a:pt x="6940225" y="441194"/>
                  <a:pt x="5927613" y="1582242"/>
                  <a:pt x="6078546" y="1922063"/>
                </a:cubicBezTo>
                <a:cubicBezTo>
                  <a:pt x="6239543" y="2284540"/>
                  <a:pt x="7135734" y="2038783"/>
                  <a:pt x="7399506" y="2149459"/>
                </a:cubicBezTo>
                <a:cubicBezTo>
                  <a:pt x="7663279" y="2260135"/>
                  <a:pt x="6620733" y="2832545"/>
                  <a:pt x="6759864" y="3051886"/>
                </a:cubicBezTo>
                <a:cubicBezTo>
                  <a:pt x="6898995" y="3271226"/>
                  <a:pt x="8185735" y="3728561"/>
                  <a:pt x="7987155" y="4135047"/>
                </a:cubicBezTo>
                <a:cubicBezTo>
                  <a:pt x="7788575" y="4541535"/>
                  <a:pt x="5827323" y="5034845"/>
                  <a:pt x="5568385" y="5490808"/>
                </a:cubicBezTo>
                <a:cubicBezTo>
                  <a:pt x="5325632" y="5918274"/>
                  <a:pt x="6791461" y="6564140"/>
                  <a:pt x="6513412" y="6824149"/>
                </a:cubicBezTo>
                <a:lnTo>
                  <a:pt x="6455479" y="6858000"/>
                </a:lnTo>
                <a:lnTo>
                  <a:pt x="0" y="6858000"/>
                </a:lnTo>
                <a:close/>
              </a:path>
            </a:pathLst>
          </a:custGeom>
          <a:noFill/>
          <a:ln>
            <a:noFill/>
          </a:ln>
          <a:effectLst>
            <a:outerShdw blurRad="342900" dist="304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800">
                <a:solidFill>
                  <a:schemeClr val="lt1"/>
                </a:solidFill>
                <a:latin typeface="+mn-lt"/>
              </a:defRPr>
            </a:lvl1pPr>
          </a:lstStyle>
          <a:p>
            <a:pPr marL="0" lvl="0" algn="ctr"/>
            <a:endParaRPr lang="en-US"/>
          </a:p>
        </p:txBody>
      </p:sp>
      <p:sp>
        <p:nvSpPr>
          <p:cNvPr id="9" name="Picture Placeholder 10"/>
          <p:cNvSpPr>
            <a:spLocks noGrp="1"/>
          </p:cNvSpPr>
          <p:nvPr>
            <p:ph type="pic" sz="quarter" idx="14"/>
          </p:nvPr>
        </p:nvSpPr>
        <p:spPr>
          <a:xfrm>
            <a:off x="1725965" y="3185164"/>
            <a:ext cx="3360510" cy="2277015"/>
          </a:xfrm>
          <a:prstGeom prst="rect">
            <a:avLst/>
          </a:prstGeom>
        </p:spPr>
        <p:txBody>
          <a:bodyPr>
            <a:normAutofit/>
          </a:bodyPr>
          <a:lstStyle>
            <a:lvl1pPr marL="0" indent="0">
              <a:buNone/>
              <a:defRPr sz="2000"/>
            </a:lvl1pPr>
          </a:lstStyle>
          <a:p>
            <a:endParaRPr lang="en-US"/>
          </a:p>
        </p:txBody>
      </p:sp>
      <p:sp>
        <p:nvSpPr>
          <p:cNvPr id="2" name="Title 1"/>
          <p:cNvSpPr>
            <a:spLocks noGrp="1"/>
          </p:cNvSpPr>
          <p:nvPr>
            <p:ph type="title"/>
          </p:nvPr>
        </p:nvSpPr>
        <p:spPr>
          <a:xfrm>
            <a:off x="406318" y="685086"/>
            <a:ext cx="10515600" cy="977989"/>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7298443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9_Blank">
    <p:spTree>
      <p:nvGrpSpPr>
        <p:cNvPr id="1" name=""/>
        <p:cNvGrpSpPr/>
        <p:nvPr/>
      </p:nvGrpSpPr>
      <p:grpSpPr>
        <a:xfrm>
          <a:off x="0" y="0"/>
          <a:ext cx="0" cy="0"/>
          <a:chOff x="0" y="0"/>
          <a:chExt cx="0" cy="0"/>
        </a:xfrm>
      </p:grpSpPr>
      <p:sp>
        <p:nvSpPr>
          <p:cNvPr id="3" name="Picture Placeholder 10"/>
          <p:cNvSpPr>
            <a:spLocks noGrp="1"/>
          </p:cNvSpPr>
          <p:nvPr>
            <p:ph type="pic" sz="quarter" idx="13"/>
          </p:nvPr>
        </p:nvSpPr>
        <p:spPr>
          <a:xfrm>
            <a:off x="0" y="0"/>
            <a:ext cx="12192000" cy="6858000"/>
          </a:xfrm>
          <a:prstGeom prst="rect">
            <a:avLst/>
          </a:prstGeom>
        </p:spPr>
        <p:txBody>
          <a:bodyPr>
            <a:normAutofit/>
          </a:bodyPr>
          <a:lstStyle>
            <a:lvl1pPr marL="0" indent="0">
              <a:buNone/>
              <a:defRPr sz="2000"/>
            </a:lvl1pPr>
          </a:lstStyle>
          <a:p>
            <a:endParaRPr lang="en-US"/>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79284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7_Blank">
    <p:spTree>
      <p:nvGrpSpPr>
        <p:cNvPr id="1" name=""/>
        <p:cNvGrpSpPr/>
        <p:nvPr/>
      </p:nvGrpSpPr>
      <p:grpSpPr>
        <a:xfrm>
          <a:off x="0" y="0"/>
          <a:ext cx="0" cy="0"/>
          <a:chOff x="0" y="0"/>
          <a:chExt cx="0" cy="0"/>
        </a:xfrm>
      </p:grpSpPr>
      <p:sp>
        <p:nvSpPr>
          <p:cNvPr id="10" name="Picture Placeholder 10"/>
          <p:cNvSpPr>
            <a:spLocks noGrp="1"/>
          </p:cNvSpPr>
          <p:nvPr>
            <p:ph type="pic" sz="quarter" idx="13"/>
          </p:nvPr>
        </p:nvSpPr>
        <p:spPr>
          <a:xfrm>
            <a:off x="6250148" y="0"/>
            <a:ext cx="5941851" cy="6858000"/>
          </a:xfrm>
          <a:prstGeom prst="rect">
            <a:avLst/>
          </a:prstGeom>
        </p:spPr>
        <p:txBody>
          <a:bodyPr>
            <a:normAutofit/>
          </a:bodyPr>
          <a:lstStyle>
            <a:lvl1pPr marL="0" indent="0">
              <a:buNone/>
              <a:defRPr sz="2000"/>
            </a:lvl1pPr>
          </a:lstStyle>
          <a:p>
            <a:endParaRPr lang="en-US"/>
          </a:p>
        </p:txBody>
      </p:sp>
      <p:grpSp>
        <p:nvGrpSpPr>
          <p:cNvPr id="5" name="Group 4"/>
          <p:cNvGrpSpPr/>
          <p:nvPr userDrawn="1"/>
        </p:nvGrpSpPr>
        <p:grpSpPr>
          <a:xfrm flipV="1">
            <a:off x="0" y="5963350"/>
            <a:ext cx="4267202" cy="894650"/>
            <a:chOff x="-38102" y="-49822"/>
            <a:chExt cx="4267202" cy="894650"/>
          </a:xfrm>
        </p:grpSpPr>
        <p:sp>
          <p:nvSpPr>
            <p:cNvPr id="6" name="Freeform 5"/>
            <p:cNvSpPr/>
            <p:nvPr/>
          </p:nvSpPr>
          <p:spPr>
            <a:xfrm>
              <a:off x="-38101" y="-49822"/>
              <a:ext cx="4190260" cy="894650"/>
            </a:xfrm>
            <a:custGeom>
              <a:avLst/>
              <a:gdLst>
                <a:gd name="connsiteX0" fmla="*/ 12075771 w 12192000"/>
                <a:gd name="connsiteY0" fmla="*/ 0 h 1238985"/>
                <a:gd name="connsiteX1" fmla="*/ 116229 w 12192000"/>
                <a:gd name="connsiteY1" fmla="*/ 0 h 1238985"/>
                <a:gd name="connsiteX2" fmla="*/ 0 w 12192000"/>
                <a:gd name="connsiteY2" fmla="*/ 116229 h 1238985"/>
                <a:gd name="connsiteX3" fmla="*/ 0 w 12192000"/>
                <a:gd name="connsiteY3" fmla="*/ 1097104 h 1238985"/>
                <a:gd name="connsiteX4" fmla="*/ 64480 w 12192000"/>
                <a:gd name="connsiteY4" fmla="*/ 1097591 h 1238985"/>
                <a:gd name="connsiteX5" fmla="*/ 454868 w 12192000"/>
                <a:gd name="connsiteY5" fmla="*/ 1064430 h 1238985"/>
                <a:gd name="connsiteX6" fmla="*/ 3051118 w 12192000"/>
                <a:gd name="connsiteY6" fmla="*/ 346411 h 1238985"/>
                <a:gd name="connsiteX7" fmla="*/ 5799277 w 12192000"/>
                <a:gd name="connsiteY7" fmla="*/ 1214711 h 1238985"/>
                <a:gd name="connsiteX8" fmla="*/ 8369560 w 12192000"/>
                <a:gd name="connsiteY8" fmla="*/ 874016 h 1238985"/>
                <a:gd name="connsiteX9" fmla="*/ 8469240 w 12192000"/>
                <a:gd name="connsiteY9" fmla="*/ 877029 h 1238985"/>
                <a:gd name="connsiteX10" fmla="*/ 8568921 w 12192000"/>
                <a:gd name="connsiteY10" fmla="*/ 874016 h 1238985"/>
                <a:gd name="connsiteX11" fmla="*/ 11139204 w 12192000"/>
                <a:gd name="connsiteY11" fmla="*/ 1214711 h 1238985"/>
                <a:gd name="connsiteX12" fmla="*/ 11860670 w 12192000"/>
                <a:gd name="connsiteY12" fmla="*/ 1013385 h 1238985"/>
                <a:gd name="connsiteX13" fmla="*/ 12192000 w 12192000"/>
                <a:gd name="connsiteY13" fmla="*/ 881143 h 1238985"/>
                <a:gd name="connsiteX14" fmla="*/ 12192000 w 12192000"/>
                <a:gd name="connsiteY14" fmla="*/ 116229 h 1238985"/>
                <a:gd name="connsiteX15" fmla="*/ 12075771 w 12192000"/>
                <a:gd name="connsiteY15" fmla="*/ 0 h 1238985"/>
                <a:gd name="connsiteX0" fmla="*/ 12075771 w 12192000"/>
                <a:gd name="connsiteY0" fmla="*/ 0 h 1238985"/>
                <a:gd name="connsiteX1" fmla="*/ 116229 w 12192000"/>
                <a:gd name="connsiteY1" fmla="*/ 0 h 1238985"/>
                <a:gd name="connsiteX2" fmla="*/ 0 w 12192000"/>
                <a:gd name="connsiteY2" fmla="*/ 116229 h 1238985"/>
                <a:gd name="connsiteX3" fmla="*/ 0 w 12192000"/>
                <a:gd name="connsiteY3" fmla="*/ 1097104 h 1238985"/>
                <a:gd name="connsiteX4" fmla="*/ 64480 w 12192000"/>
                <a:gd name="connsiteY4" fmla="*/ 1097591 h 1238985"/>
                <a:gd name="connsiteX5" fmla="*/ 454868 w 12192000"/>
                <a:gd name="connsiteY5" fmla="*/ 1064430 h 1238985"/>
                <a:gd name="connsiteX6" fmla="*/ 3051118 w 12192000"/>
                <a:gd name="connsiteY6" fmla="*/ 346411 h 1238985"/>
                <a:gd name="connsiteX7" fmla="*/ 5799277 w 12192000"/>
                <a:gd name="connsiteY7" fmla="*/ 1214711 h 1238985"/>
                <a:gd name="connsiteX8" fmla="*/ 8369560 w 12192000"/>
                <a:gd name="connsiteY8" fmla="*/ 874016 h 1238985"/>
                <a:gd name="connsiteX9" fmla="*/ 8469240 w 12192000"/>
                <a:gd name="connsiteY9" fmla="*/ 877029 h 1238985"/>
                <a:gd name="connsiteX10" fmla="*/ 8568921 w 12192000"/>
                <a:gd name="connsiteY10" fmla="*/ 874016 h 1238985"/>
                <a:gd name="connsiteX11" fmla="*/ 11139204 w 12192000"/>
                <a:gd name="connsiteY11" fmla="*/ 1214711 h 1238985"/>
                <a:gd name="connsiteX12" fmla="*/ 11860670 w 12192000"/>
                <a:gd name="connsiteY12" fmla="*/ 1013385 h 1238985"/>
                <a:gd name="connsiteX13" fmla="*/ 12192000 w 12192000"/>
                <a:gd name="connsiteY13" fmla="*/ 116229 h 1238985"/>
                <a:gd name="connsiteX14" fmla="*/ 12075771 w 12192000"/>
                <a:gd name="connsiteY14" fmla="*/ 0 h 1238985"/>
                <a:gd name="connsiteX0" fmla="*/ 12075771 w 13388758"/>
                <a:gd name="connsiteY0" fmla="*/ 0 h 1238985"/>
                <a:gd name="connsiteX1" fmla="*/ 116229 w 13388758"/>
                <a:gd name="connsiteY1" fmla="*/ 0 h 1238985"/>
                <a:gd name="connsiteX2" fmla="*/ 0 w 13388758"/>
                <a:gd name="connsiteY2" fmla="*/ 116229 h 1238985"/>
                <a:gd name="connsiteX3" fmla="*/ 0 w 13388758"/>
                <a:gd name="connsiteY3" fmla="*/ 1097104 h 1238985"/>
                <a:gd name="connsiteX4" fmla="*/ 64480 w 13388758"/>
                <a:gd name="connsiteY4" fmla="*/ 1097591 h 1238985"/>
                <a:gd name="connsiteX5" fmla="*/ 454868 w 13388758"/>
                <a:gd name="connsiteY5" fmla="*/ 1064430 h 1238985"/>
                <a:gd name="connsiteX6" fmla="*/ 3051118 w 13388758"/>
                <a:gd name="connsiteY6" fmla="*/ 346411 h 1238985"/>
                <a:gd name="connsiteX7" fmla="*/ 5799277 w 13388758"/>
                <a:gd name="connsiteY7" fmla="*/ 1214711 h 1238985"/>
                <a:gd name="connsiteX8" fmla="*/ 8369560 w 13388758"/>
                <a:gd name="connsiteY8" fmla="*/ 874016 h 1238985"/>
                <a:gd name="connsiteX9" fmla="*/ 8469240 w 13388758"/>
                <a:gd name="connsiteY9" fmla="*/ 877029 h 1238985"/>
                <a:gd name="connsiteX10" fmla="*/ 8568921 w 13388758"/>
                <a:gd name="connsiteY10" fmla="*/ 874016 h 1238985"/>
                <a:gd name="connsiteX11" fmla="*/ 11139204 w 13388758"/>
                <a:gd name="connsiteY11" fmla="*/ 1214711 h 1238985"/>
                <a:gd name="connsiteX12" fmla="*/ 13388758 w 13388758"/>
                <a:gd name="connsiteY12" fmla="*/ 371810 h 1238985"/>
                <a:gd name="connsiteX13" fmla="*/ 12192000 w 13388758"/>
                <a:gd name="connsiteY13" fmla="*/ 116229 h 1238985"/>
                <a:gd name="connsiteX14" fmla="*/ 12075771 w 13388758"/>
                <a:gd name="connsiteY14" fmla="*/ 0 h 1238985"/>
                <a:gd name="connsiteX0" fmla="*/ 12075771 w 13388758"/>
                <a:gd name="connsiteY0" fmla="*/ 0 h 1238985"/>
                <a:gd name="connsiteX1" fmla="*/ 116229 w 13388758"/>
                <a:gd name="connsiteY1" fmla="*/ 0 h 1238985"/>
                <a:gd name="connsiteX2" fmla="*/ 0 w 13388758"/>
                <a:gd name="connsiteY2" fmla="*/ 116229 h 1238985"/>
                <a:gd name="connsiteX3" fmla="*/ 0 w 13388758"/>
                <a:gd name="connsiteY3" fmla="*/ 1097104 h 1238985"/>
                <a:gd name="connsiteX4" fmla="*/ 64480 w 13388758"/>
                <a:gd name="connsiteY4" fmla="*/ 1097591 h 1238985"/>
                <a:gd name="connsiteX5" fmla="*/ 454868 w 13388758"/>
                <a:gd name="connsiteY5" fmla="*/ 1064430 h 1238985"/>
                <a:gd name="connsiteX6" fmla="*/ 3051118 w 13388758"/>
                <a:gd name="connsiteY6" fmla="*/ 346411 h 1238985"/>
                <a:gd name="connsiteX7" fmla="*/ 5799277 w 13388758"/>
                <a:gd name="connsiteY7" fmla="*/ 1214711 h 1238985"/>
                <a:gd name="connsiteX8" fmla="*/ 8369560 w 13388758"/>
                <a:gd name="connsiteY8" fmla="*/ 874016 h 1238985"/>
                <a:gd name="connsiteX9" fmla="*/ 8469240 w 13388758"/>
                <a:gd name="connsiteY9" fmla="*/ 877029 h 1238985"/>
                <a:gd name="connsiteX10" fmla="*/ 8568921 w 13388758"/>
                <a:gd name="connsiteY10" fmla="*/ 874016 h 1238985"/>
                <a:gd name="connsiteX11" fmla="*/ 11139204 w 13388758"/>
                <a:gd name="connsiteY11" fmla="*/ 1214711 h 1238985"/>
                <a:gd name="connsiteX12" fmla="*/ 13388758 w 13388758"/>
                <a:gd name="connsiteY12" fmla="*/ 371810 h 1238985"/>
                <a:gd name="connsiteX13" fmla="*/ 12075771 w 13388758"/>
                <a:gd name="connsiteY13" fmla="*/ 0 h 1238985"/>
                <a:gd name="connsiteX0" fmla="*/ 15008043 w 15008043"/>
                <a:gd name="connsiteY0" fmla="*/ 0 h 1255436"/>
                <a:gd name="connsiteX1" fmla="*/ 116229 w 15008043"/>
                <a:gd name="connsiteY1" fmla="*/ 16451 h 1255436"/>
                <a:gd name="connsiteX2" fmla="*/ 0 w 15008043"/>
                <a:gd name="connsiteY2" fmla="*/ 132680 h 1255436"/>
                <a:gd name="connsiteX3" fmla="*/ 0 w 15008043"/>
                <a:gd name="connsiteY3" fmla="*/ 1113555 h 1255436"/>
                <a:gd name="connsiteX4" fmla="*/ 64480 w 15008043"/>
                <a:gd name="connsiteY4" fmla="*/ 1114042 h 1255436"/>
                <a:gd name="connsiteX5" fmla="*/ 454868 w 15008043"/>
                <a:gd name="connsiteY5" fmla="*/ 1080881 h 1255436"/>
                <a:gd name="connsiteX6" fmla="*/ 3051118 w 15008043"/>
                <a:gd name="connsiteY6" fmla="*/ 362862 h 1255436"/>
                <a:gd name="connsiteX7" fmla="*/ 5799277 w 15008043"/>
                <a:gd name="connsiteY7" fmla="*/ 1231162 h 1255436"/>
                <a:gd name="connsiteX8" fmla="*/ 8369560 w 15008043"/>
                <a:gd name="connsiteY8" fmla="*/ 890467 h 1255436"/>
                <a:gd name="connsiteX9" fmla="*/ 8469240 w 15008043"/>
                <a:gd name="connsiteY9" fmla="*/ 893480 h 1255436"/>
                <a:gd name="connsiteX10" fmla="*/ 8568921 w 15008043"/>
                <a:gd name="connsiteY10" fmla="*/ 890467 h 1255436"/>
                <a:gd name="connsiteX11" fmla="*/ 11139204 w 15008043"/>
                <a:gd name="connsiteY11" fmla="*/ 1231162 h 1255436"/>
                <a:gd name="connsiteX12" fmla="*/ 13388758 w 15008043"/>
                <a:gd name="connsiteY12" fmla="*/ 388261 h 1255436"/>
                <a:gd name="connsiteX13" fmla="*/ 15008043 w 15008043"/>
                <a:gd name="connsiteY13" fmla="*/ 0 h 1255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008043" h="1255436">
                  <a:moveTo>
                    <a:pt x="15008043" y="0"/>
                  </a:moveTo>
                  <a:lnTo>
                    <a:pt x="116229" y="16451"/>
                  </a:lnTo>
                  <a:cubicBezTo>
                    <a:pt x="52037" y="16451"/>
                    <a:pt x="0" y="68488"/>
                    <a:pt x="0" y="132680"/>
                  </a:cubicBezTo>
                  <a:lnTo>
                    <a:pt x="0" y="1113555"/>
                  </a:lnTo>
                  <a:lnTo>
                    <a:pt x="64480" y="1114042"/>
                  </a:lnTo>
                  <a:cubicBezTo>
                    <a:pt x="205319" y="1111536"/>
                    <a:pt x="336848" y="1101378"/>
                    <a:pt x="454868" y="1080881"/>
                  </a:cubicBezTo>
                  <a:cubicBezTo>
                    <a:pt x="1399029" y="916907"/>
                    <a:pt x="2160383" y="337815"/>
                    <a:pt x="3051118" y="362862"/>
                  </a:cubicBezTo>
                  <a:cubicBezTo>
                    <a:pt x="3941852" y="387909"/>
                    <a:pt x="4810060" y="1067188"/>
                    <a:pt x="5799277" y="1231162"/>
                  </a:cubicBezTo>
                  <a:cubicBezTo>
                    <a:pt x="6603015" y="1364391"/>
                    <a:pt x="7677767" y="906507"/>
                    <a:pt x="8369560" y="890467"/>
                  </a:cubicBezTo>
                  <a:lnTo>
                    <a:pt x="8469240" y="893480"/>
                  </a:lnTo>
                  <a:lnTo>
                    <a:pt x="8568921" y="890467"/>
                  </a:lnTo>
                  <a:cubicBezTo>
                    <a:pt x="9260713" y="906507"/>
                    <a:pt x="10335898" y="1314863"/>
                    <a:pt x="11139204" y="1231162"/>
                  </a:cubicBezTo>
                  <a:cubicBezTo>
                    <a:pt x="11942510" y="1147461"/>
                    <a:pt x="13154337" y="475394"/>
                    <a:pt x="13388758" y="388261"/>
                  </a:cubicBezTo>
                  <a:lnTo>
                    <a:pt x="15008043" y="0"/>
                  </a:lnTo>
                  <a:close/>
                </a:path>
              </a:pathLst>
            </a:custGeom>
            <a:solidFill>
              <a:schemeClr val="bg1">
                <a:lumMod val="75000"/>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Freeform 6"/>
            <p:cNvSpPr/>
            <p:nvPr/>
          </p:nvSpPr>
          <p:spPr>
            <a:xfrm flipH="1">
              <a:off x="-38102" y="-38099"/>
              <a:ext cx="4267202" cy="717300"/>
            </a:xfrm>
            <a:custGeom>
              <a:avLst/>
              <a:gdLst>
                <a:gd name="connsiteX0" fmla="*/ 12191319 w 12192000"/>
                <a:gd name="connsiteY0" fmla="*/ 0 h 1418416"/>
                <a:gd name="connsiteX1" fmla="*/ 681 w 12192000"/>
                <a:gd name="connsiteY1" fmla="*/ 0 h 1418416"/>
                <a:gd name="connsiteX2" fmla="*/ 0 w 12192000"/>
                <a:gd name="connsiteY2" fmla="*/ 4247 h 1418416"/>
                <a:gd name="connsiteX3" fmla="*/ 0 w 12192000"/>
                <a:gd name="connsiteY3" fmla="*/ 1239710 h 1418416"/>
                <a:gd name="connsiteX4" fmla="*/ 64480 w 12192000"/>
                <a:gd name="connsiteY4" fmla="*/ 1240323 h 1418416"/>
                <a:gd name="connsiteX5" fmla="*/ 454868 w 12192000"/>
                <a:gd name="connsiteY5" fmla="*/ 1198555 h 1418416"/>
                <a:gd name="connsiteX6" fmla="*/ 3051118 w 12192000"/>
                <a:gd name="connsiteY6" fmla="*/ 294173 h 1418416"/>
                <a:gd name="connsiteX7" fmla="*/ 5799277 w 12192000"/>
                <a:gd name="connsiteY7" fmla="*/ 1387842 h 1418416"/>
                <a:gd name="connsiteX8" fmla="*/ 8369560 w 12192000"/>
                <a:gd name="connsiteY8" fmla="*/ 958719 h 1418416"/>
                <a:gd name="connsiteX9" fmla="*/ 8469240 w 12192000"/>
                <a:gd name="connsiteY9" fmla="*/ 962514 h 1418416"/>
                <a:gd name="connsiteX10" fmla="*/ 8568921 w 12192000"/>
                <a:gd name="connsiteY10" fmla="*/ 958719 h 1418416"/>
                <a:gd name="connsiteX11" fmla="*/ 11139204 w 12192000"/>
                <a:gd name="connsiteY11" fmla="*/ 1387842 h 1418416"/>
                <a:gd name="connsiteX12" fmla="*/ 11860670 w 12192000"/>
                <a:gd name="connsiteY12" fmla="*/ 1134261 h 1418416"/>
                <a:gd name="connsiteX13" fmla="*/ 12192000 w 12192000"/>
                <a:gd name="connsiteY13" fmla="*/ 967695 h 1418416"/>
                <a:gd name="connsiteX14" fmla="*/ 12192000 w 12192000"/>
                <a:gd name="connsiteY14" fmla="*/ 4247 h 1418416"/>
                <a:gd name="connsiteX0" fmla="*/ 12191319 w 12192000"/>
                <a:gd name="connsiteY0" fmla="*/ 0 h 1418416"/>
                <a:gd name="connsiteX1" fmla="*/ 681 w 12192000"/>
                <a:gd name="connsiteY1" fmla="*/ 0 h 1418416"/>
                <a:gd name="connsiteX2" fmla="*/ 0 w 12192000"/>
                <a:gd name="connsiteY2" fmla="*/ 4247 h 1418416"/>
                <a:gd name="connsiteX3" fmla="*/ 4872 w 12192000"/>
                <a:gd name="connsiteY3" fmla="*/ 461273 h 1418416"/>
                <a:gd name="connsiteX4" fmla="*/ 0 w 12192000"/>
                <a:gd name="connsiteY4" fmla="*/ 1239710 h 1418416"/>
                <a:gd name="connsiteX5" fmla="*/ 64480 w 12192000"/>
                <a:gd name="connsiteY5" fmla="*/ 1240323 h 1418416"/>
                <a:gd name="connsiteX6" fmla="*/ 454868 w 12192000"/>
                <a:gd name="connsiteY6" fmla="*/ 1198555 h 1418416"/>
                <a:gd name="connsiteX7" fmla="*/ 3051118 w 12192000"/>
                <a:gd name="connsiteY7" fmla="*/ 294173 h 1418416"/>
                <a:gd name="connsiteX8" fmla="*/ 5799277 w 12192000"/>
                <a:gd name="connsiteY8" fmla="*/ 1387842 h 1418416"/>
                <a:gd name="connsiteX9" fmla="*/ 8369560 w 12192000"/>
                <a:gd name="connsiteY9" fmla="*/ 958719 h 1418416"/>
                <a:gd name="connsiteX10" fmla="*/ 8469240 w 12192000"/>
                <a:gd name="connsiteY10" fmla="*/ 962514 h 1418416"/>
                <a:gd name="connsiteX11" fmla="*/ 8568921 w 12192000"/>
                <a:gd name="connsiteY11" fmla="*/ 958719 h 1418416"/>
                <a:gd name="connsiteX12" fmla="*/ 11139204 w 12192000"/>
                <a:gd name="connsiteY12" fmla="*/ 1387842 h 1418416"/>
                <a:gd name="connsiteX13" fmla="*/ 11860670 w 12192000"/>
                <a:gd name="connsiteY13" fmla="*/ 1134261 h 1418416"/>
                <a:gd name="connsiteX14" fmla="*/ 12192000 w 12192000"/>
                <a:gd name="connsiteY14" fmla="*/ 967695 h 1418416"/>
                <a:gd name="connsiteX15" fmla="*/ 12192000 w 12192000"/>
                <a:gd name="connsiteY15" fmla="*/ 4247 h 1418416"/>
                <a:gd name="connsiteX16" fmla="*/ 12191319 w 12192000"/>
                <a:gd name="connsiteY16"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299416 w 14491416"/>
                <a:gd name="connsiteY4" fmla="*/ 1239710 h 1418416"/>
                <a:gd name="connsiteX5" fmla="*/ 2363896 w 14491416"/>
                <a:gd name="connsiteY5" fmla="*/ 1240323 h 1418416"/>
                <a:gd name="connsiteX6" fmla="*/ 2754284 w 14491416"/>
                <a:gd name="connsiteY6" fmla="*/ 1198555 h 1418416"/>
                <a:gd name="connsiteX7" fmla="*/ 5350534 w 14491416"/>
                <a:gd name="connsiteY7" fmla="*/ 294173 h 1418416"/>
                <a:gd name="connsiteX8" fmla="*/ 8098693 w 14491416"/>
                <a:gd name="connsiteY8" fmla="*/ 1387842 h 1418416"/>
                <a:gd name="connsiteX9" fmla="*/ 10668976 w 14491416"/>
                <a:gd name="connsiteY9" fmla="*/ 958719 h 1418416"/>
                <a:gd name="connsiteX10" fmla="*/ 10768656 w 14491416"/>
                <a:gd name="connsiteY10" fmla="*/ 962514 h 1418416"/>
                <a:gd name="connsiteX11" fmla="*/ 10868337 w 14491416"/>
                <a:gd name="connsiteY11" fmla="*/ 958719 h 1418416"/>
                <a:gd name="connsiteX12" fmla="*/ 13438620 w 14491416"/>
                <a:gd name="connsiteY12" fmla="*/ 1387842 h 1418416"/>
                <a:gd name="connsiteX13" fmla="*/ 14160086 w 14491416"/>
                <a:gd name="connsiteY13" fmla="*/ 1134261 h 1418416"/>
                <a:gd name="connsiteX14" fmla="*/ 14491416 w 14491416"/>
                <a:gd name="connsiteY14" fmla="*/ 967695 h 1418416"/>
                <a:gd name="connsiteX15" fmla="*/ 14491416 w 14491416"/>
                <a:gd name="connsiteY15" fmla="*/ 4247 h 1418416"/>
                <a:gd name="connsiteX16" fmla="*/ 14490735 w 14491416"/>
                <a:gd name="connsiteY16"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299416 w 14491416"/>
                <a:gd name="connsiteY4" fmla="*/ 1239710 h 1418416"/>
                <a:gd name="connsiteX5" fmla="*/ 1570198 w 14491416"/>
                <a:gd name="connsiteY5" fmla="*/ 889756 h 1418416"/>
                <a:gd name="connsiteX6" fmla="*/ 2754284 w 14491416"/>
                <a:gd name="connsiteY6" fmla="*/ 1198555 h 1418416"/>
                <a:gd name="connsiteX7" fmla="*/ 5350534 w 14491416"/>
                <a:gd name="connsiteY7" fmla="*/ 294173 h 1418416"/>
                <a:gd name="connsiteX8" fmla="*/ 8098693 w 14491416"/>
                <a:gd name="connsiteY8" fmla="*/ 1387842 h 1418416"/>
                <a:gd name="connsiteX9" fmla="*/ 10668976 w 14491416"/>
                <a:gd name="connsiteY9" fmla="*/ 958719 h 1418416"/>
                <a:gd name="connsiteX10" fmla="*/ 10768656 w 14491416"/>
                <a:gd name="connsiteY10" fmla="*/ 962514 h 1418416"/>
                <a:gd name="connsiteX11" fmla="*/ 10868337 w 14491416"/>
                <a:gd name="connsiteY11" fmla="*/ 958719 h 1418416"/>
                <a:gd name="connsiteX12" fmla="*/ 13438620 w 14491416"/>
                <a:gd name="connsiteY12" fmla="*/ 1387842 h 1418416"/>
                <a:gd name="connsiteX13" fmla="*/ 14160086 w 14491416"/>
                <a:gd name="connsiteY13" fmla="*/ 1134261 h 1418416"/>
                <a:gd name="connsiteX14" fmla="*/ 14491416 w 14491416"/>
                <a:gd name="connsiteY14" fmla="*/ 967695 h 1418416"/>
                <a:gd name="connsiteX15" fmla="*/ 14491416 w 14491416"/>
                <a:gd name="connsiteY15" fmla="*/ 4247 h 1418416"/>
                <a:gd name="connsiteX16" fmla="*/ 14490735 w 14491416"/>
                <a:gd name="connsiteY16"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299416 w 14491416"/>
                <a:gd name="connsiteY4" fmla="*/ 1239710 h 1418416"/>
                <a:gd name="connsiteX5" fmla="*/ 2754284 w 14491416"/>
                <a:gd name="connsiteY5" fmla="*/ 1198555 h 1418416"/>
                <a:gd name="connsiteX6" fmla="*/ 5350534 w 14491416"/>
                <a:gd name="connsiteY6" fmla="*/ 294173 h 1418416"/>
                <a:gd name="connsiteX7" fmla="*/ 8098693 w 14491416"/>
                <a:gd name="connsiteY7" fmla="*/ 1387842 h 1418416"/>
                <a:gd name="connsiteX8" fmla="*/ 10668976 w 14491416"/>
                <a:gd name="connsiteY8" fmla="*/ 958719 h 1418416"/>
                <a:gd name="connsiteX9" fmla="*/ 10768656 w 14491416"/>
                <a:gd name="connsiteY9" fmla="*/ 962514 h 1418416"/>
                <a:gd name="connsiteX10" fmla="*/ 10868337 w 14491416"/>
                <a:gd name="connsiteY10" fmla="*/ 958719 h 1418416"/>
                <a:gd name="connsiteX11" fmla="*/ 13438620 w 14491416"/>
                <a:gd name="connsiteY11" fmla="*/ 1387842 h 1418416"/>
                <a:gd name="connsiteX12" fmla="*/ 14160086 w 14491416"/>
                <a:gd name="connsiteY12" fmla="*/ 1134261 h 1418416"/>
                <a:gd name="connsiteX13" fmla="*/ 14491416 w 14491416"/>
                <a:gd name="connsiteY13" fmla="*/ 967695 h 1418416"/>
                <a:gd name="connsiteX14" fmla="*/ 14491416 w 14491416"/>
                <a:gd name="connsiteY14" fmla="*/ 4247 h 1418416"/>
                <a:gd name="connsiteX15" fmla="*/ 14490735 w 14491416"/>
                <a:gd name="connsiteY15"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754284 w 14491416"/>
                <a:gd name="connsiteY4" fmla="*/ 1198555 h 1418416"/>
                <a:gd name="connsiteX5" fmla="*/ 5350534 w 14491416"/>
                <a:gd name="connsiteY5" fmla="*/ 294173 h 1418416"/>
                <a:gd name="connsiteX6" fmla="*/ 8098693 w 14491416"/>
                <a:gd name="connsiteY6" fmla="*/ 1387842 h 1418416"/>
                <a:gd name="connsiteX7" fmla="*/ 10668976 w 14491416"/>
                <a:gd name="connsiteY7" fmla="*/ 958719 h 1418416"/>
                <a:gd name="connsiteX8" fmla="*/ 10768656 w 14491416"/>
                <a:gd name="connsiteY8" fmla="*/ 962514 h 1418416"/>
                <a:gd name="connsiteX9" fmla="*/ 10868337 w 14491416"/>
                <a:gd name="connsiteY9" fmla="*/ 958719 h 1418416"/>
                <a:gd name="connsiteX10" fmla="*/ 13438620 w 14491416"/>
                <a:gd name="connsiteY10" fmla="*/ 1387842 h 1418416"/>
                <a:gd name="connsiteX11" fmla="*/ 14160086 w 14491416"/>
                <a:gd name="connsiteY11" fmla="*/ 1134261 h 1418416"/>
                <a:gd name="connsiteX12" fmla="*/ 14491416 w 14491416"/>
                <a:gd name="connsiteY12" fmla="*/ 967695 h 1418416"/>
                <a:gd name="connsiteX13" fmla="*/ 14491416 w 14491416"/>
                <a:gd name="connsiteY13" fmla="*/ 4247 h 1418416"/>
                <a:gd name="connsiteX14" fmla="*/ 14490735 w 14491416"/>
                <a:gd name="connsiteY14"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754284 w 14491416"/>
                <a:gd name="connsiteY4" fmla="*/ 1198555 h 1418416"/>
                <a:gd name="connsiteX5" fmla="*/ 5350534 w 14491416"/>
                <a:gd name="connsiteY5" fmla="*/ 294173 h 1418416"/>
                <a:gd name="connsiteX6" fmla="*/ 8098693 w 14491416"/>
                <a:gd name="connsiteY6" fmla="*/ 1387842 h 1418416"/>
                <a:gd name="connsiteX7" fmla="*/ 10668976 w 14491416"/>
                <a:gd name="connsiteY7" fmla="*/ 958719 h 1418416"/>
                <a:gd name="connsiteX8" fmla="*/ 10768656 w 14491416"/>
                <a:gd name="connsiteY8" fmla="*/ 962514 h 1418416"/>
                <a:gd name="connsiteX9" fmla="*/ 10868337 w 14491416"/>
                <a:gd name="connsiteY9" fmla="*/ 958719 h 1418416"/>
                <a:gd name="connsiteX10" fmla="*/ 13438620 w 14491416"/>
                <a:gd name="connsiteY10" fmla="*/ 1387842 h 1418416"/>
                <a:gd name="connsiteX11" fmla="*/ 14160086 w 14491416"/>
                <a:gd name="connsiteY11" fmla="*/ 1134261 h 1418416"/>
                <a:gd name="connsiteX12" fmla="*/ 14491416 w 14491416"/>
                <a:gd name="connsiteY12" fmla="*/ 967695 h 1418416"/>
                <a:gd name="connsiteX13" fmla="*/ 14491416 w 14491416"/>
                <a:gd name="connsiteY13" fmla="*/ 4247 h 1418416"/>
                <a:gd name="connsiteX14" fmla="*/ 14490735 w 14491416"/>
                <a:gd name="connsiteY14" fmla="*/ 0 h 1418416"/>
                <a:gd name="connsiteX0" fmla="*/ 14576079 w 14576760"/>
                <a:gd name="connsiteY0" fmla="*/ 12301 h 1430717"/>
                <a:gd name="connsiteX1" fmla="*/ 2385441 w 14576760"/>
                <a:gd name="connsiteY1" fmla="*/ 12301 h 1430717"/>
                <a:gd name="connsiteX2" fmla="*/ 2384760 w 14576760"/>
                <a:gd name="connsiteY2" fmla="*/ 16548 h 1430717"/>
                <a:gd name="connsiteX3" fmla="*/ 0 w 14576760"/>
                <a:gd name="connsiteY3" fmla="*/ 0 h 1430717"/>
                <a:gd name="connsiteX4" fmla="*/ 2839628 w 14576760"/>
                <a:gd name="connsiteY4" fmla="*/ 1210856 h 1430717"/>
                <a:gd name="connsiteX5" fmla="*/ 5435878 w 14576760"/>
                <a:gd name="connsiteY5" fmla="*/ 306474 h 1430717"/>
                <a:gd name="connsiteX6" fmla="*/ 8184037 w 14576760"/>
                <a:gd name="connsiteY6" fmla="*/ 1400143 h 1430717"/>
                <a:gd name="connsiteX7" fmla="*/ 10754320 w 14576760"/>
                <a:gd name="connsiteY7" fmla="*/ 971020 h 1430717"/>
                <a:gd name="connsiteX8" fmla="*/ 10854000 w 14576760"/>
                <a:gd name="connsiteY8" fmla="*/ 974815 h 1430717"/>
                <a:gd name="connsiteX9" fmla="*/ 10953681 w 14576760"/>
                <a:gd name="connsiteY9" fmla="*/ 971020 h 1430717"/>
                <a:gd name="connsiteX10" fmla="*/ 13523964 w 14576760"/>
                <a:gd name="connsiteY10" fmla="*/ 1400143 h 1430717"/>
                <a:gd name="connsiteX11" fmla="*/ 14245430 w 14576760"/>
                <a:gd name="connsiteY11" fmla="*/ 1146562 h 1430717"/>
                <a:gd name="connsiteX12" fmla="*/ 14576760 w 14576760"/>
                <a:gd name="connsiteY12" fmla="*/ 979996 h 1430717"/>
                <a:gd name="connsiteX13" fmla="*/ 14576760 w 14576760"/>
                <a:gd name="connsiteY13" fmla="*/ 16548 h 1430717"/>
                <a:gd name="connsiteX14" fmla="*/ 14576079 w 14576760"/>
                <a:gd name="connsiteY14" fmla="*/ 12301 h 1430717"/>
                <a:gd name="connsiteX0" fmla="*/ 14576079 w 14576760"/>
                <a:gd name="connsiteY0" fmla="*/ 12301 h 1430717"/>
                <a:gd name="connsiteX1" fmla="*/ 2385441 w 14576760"/>
                <a:gd name="connsiteY1" fmla="*/ 12301 h 1430717"/>
                <a:gd name="connsiteX2" fmla="*/ 2384760 w 14576760"/>
                <a:gd name="connsiteY2" fmla="*/ 16548 h 1430717"/>
                <a:gd name="connsiteX3" fmla="*/ 0 w 14576760"/>
                <a:gd name="connsiteY3" fmla="*/ 0 h 1430717"/>
                <a:gd name="connsiteX4" fmla="*/ 2839628 w 14576760"/>
                <a:gd name="connsiteY4" fmla="*/ 1210856 h 1430717"/>
                <a:gd name="connsiteX5" fmla="*/ 5435878 w 14576760"/>
                <a:gd name="connsiteY5" fmla="*/ 306474 h 1430717"/>
                <a:gd name="connsiteX6" fmla="*/ 8184037 w 14576760"/>
                <a:gd name="connsiteY6" fmla="*/ 1400143 h 1430717"/>
                <a:gd name="connsiteX7" fmla="*/ 10754320 w 14576760"/>
                <a:gd name="connsiteY7" fmla="*/ 971020 h 1430717"/>
                <a:gd name="connsiteX8" fmla="*/ 10854000 w 14576760"/>
                <a:gd name="connsiteY8" fmla="*/ 974815 h 1430717"/>
                <a:gd name="connsiteX9" fmla="*/ 10953681 w 14576760"/>
                <a:gd name="connsiteY9" fmla="*/ 971020 h 1430717"/>
                <a:gd name="connsiteX10" fmla="*/ 13523964 w 14576760"/>
                <a:gd name="connsiteY10" fmla="*/ 1400143 h 1430717"/>
                <a:gd name="connsiteX11" fmla="*/ 14245430 w 14576760"/>
                <a:gd name="connsiteY11" fmla="*/ 1146562 h 1430717"/>
                <a:gd name="connsiteX12" fmla="*/ 14576760 w 14576760"/>
                <a:gd name="connsiteY12" fmla="*/ 979996 h 1430717"/>
                <a:gd name="connsiteX13" fmla="*/ 14576760 w 14576760"/>
                <a:gd name="connsiteY13" fmla="*/ 16548 h 1430717"/>
                <a:gd name="connsiteX14" fmla="*/ 14576079 w 14576760"/>
                <a:gd name="connsiteY14" fmla="*/ 12301 h 1430717"/>
                <a:gd name="connsiteX0" fmla="*/ 14576079 w 14576760"/>
                <a:gd name="connsiteY0" fmla="*/ 12301 h 1430717"/>
                <a:gd name="connsiteX1" fmla="*/ 2385441 w 14576760"/>
                <a:gd name="connsiteY1" fmla="*/ 12301 h 1430717"/>
                <a:gd name="connsiteX2" fmla="*/ 2384760 w 14576760"/>
                <a:gd name="connsiteY2" fmla="*/ 16548 h 1430717"/>
                <a:gd name="connsiteX3" fmla="*/ 0 w 14576760"/>
                <a:gd name="connsiteY3" fmla="*/ 0 h 1430717"/>
                <a:gd name="connsiteX4" fmla="*/ 2839628 w 14576760"/>
                <a:gd name="connsiteY4" fmla="*/ 1210856 h 1430717"/>
                <a:gd name="connsiteX5" fmla="*/ 5435878 w 14576760"/>
                <a:gd name="connsiteY5" fmla="*/ 306474 h 1430717"/>
                <a:gd name="connsiteX6" fmla="*/ 8184037 w 14576760"/>
                <a:gd name="connsiteY6" fmla="*/ 1400143 h 1430717"/>
                <a:gd name="connsiteX7" fmla="*/ 10754320 w 14576760"/>
                <a:gd name="connsiteY7" fmla="*/ 971020 h 1430717"/>
                <a:gd name="connsiteX8" fmla="*/ 10854000 w 14576760"/>
                <a:gd name="connsiteY8" fmla="*/ 974815 h 1430717"/>
                <a:gd name="connsiteX9" fmla="*/ 10953681 w 14576760"/>
                <a:gd name="connsiteY9" fmla="*/ 971020 h 1430717"/>
                <a:gd name="connsiteX10" fmla="*/ 13523964 w 14576760"/>
                <a:gd name="connsiteY10" fmla="*/ 1400143 h 1430717"/>
                <a:gd name="connsiteX11" fmla="*/ 14245430 w 14576760"/>
                <a:gd name="connsiteY11" fmla="*/ 1146562 h 1430717"/>
                <a:gd name="connsiteX12" fmla="*/ 14576760 w 14576760"/>
                <a:gd name="connsiteY12" fmla="*/ 979996 h 1430717"/>
                <a:gd name="connsiteX13" fmla="*/ 14576760 w 14576760"/>
                <a:gd name="connsiteY13" fmla="*/ 16548 h 1430717"/>
                <a:gd name="connsiteX14" fmla="*/ 14576079 w 14576760"/>
                <a:gd name="connsiteY14" fmla="*/ 12301 h 1430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76760" h="1430717">
                  <a:moveTo>
                    <a:pt x="14576079" y="12301"/>
                  </a:moveTo>
                  <a:lnTo>
                    <a:pt x="2385441" y="12301"/>
                  </a:lnTo>
                  <a:lnTo>
                    <a:pt x="2384760" y="16548"/>
                  </a:lnTo>
                  <a:lnTo>
                    <a:pt x="0" y="0"/>
                  </a:lnTo>
                  <a:cubicBezTo>
                    <a:pt x="1676011" y="306683"/>
                    <a:pt x="1442922" y="1144401"/>
                    <a:pt x="2839628" y="1210856"/>
                  </a:cubicBezTo>
                  <a:cubicBezTo>
                    <a:pt x="4236334" y="1277311"/>
                    <a:pt x="4545143" y="274926"/>
                    <a:pt x="5435878" y="306474"/>
                  </a:cubicBezTo>
                  <a:cubicBezTo>
                    <a:pt x="6326612" y="338022"/>
                    <a:pt x="7194820" y="1193609"/>
                    <a:pt x="8184037" y="1400143"/>
                  </a:cubicBezTo>
                  <a:cubicBezTo>
                    <a:pt x="8987775" y="1567952"/>
                    <a:pt x="10062527" y="991223"/>
                    <a:pt x="10754320" y="971020"/>
                  </a:cubicBezTo>
                  <a:lnTo>
                    <a:pt x="10854000" y="974815"/>
                  </a:lnTo>
                  <a:lnTo>
                    <a:pt x="10953681" y="971020"/>
                  </a:lnTo>
                  <a:cubicBezTo>
                    <a:pt x="11645473" y="991223"/>
                    <a:pt x="12720224" y="1567952"/>
                    <a:pt x="13523964" y="1400143"/>
                  </a:cubicBezTo>
                  <a:cubicBezTo>
                    <a:pt x="13771268" y="1348510"/>
                    <a:pt x="14011009" y="1256311"/>
                    <a:pt x="14245430" y="1146562"/>
                  </a:cubicBezTo>
                  <a:lnTo>
                    <a:pt x="14576760" y="979996"/>
                  </a:lnTo>
                  <a:lnTo>
                    <a:pt x="14576760" y="16548"/>
                  </a:lnTo>
                  <a:lnTo>
                    <a:pt x="14576079" y="12301"/>
                  </a:lnTo>
                  <a:close/>
                </a:path>
              </a:pathLst>
            </a:custGeom>
            <a:gradFill>
              <a:gsLst>
                <a:gs pos="100000">
                  <a:schemeClr val="accent1">
                    <a:alpha val="25000"/>
                  </a:schemeClr>
                </a:gs>
                <a:gs pos="0">
                  <a:schemeClr val="accent2">
                    <a:alpha val="25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Freeform 7"/>
            <p:cNvSpPr/>
            <p:nvPr/>
          </p:nvSpPr>
          <p:spPr>
            <a:xfrm flipH="1">
              <a:off x="-38102" y="-38100"/>
              <a:ext cx="4267202" cy="590868"/>
            </a:xfrm>
            <a:custGeom>
              <a:avLst/>
              <a:gdLst>
                <a:gd name="connsiteX0" fmla="*/ 12191319 w 12192000"/>
                <a:gd name="connsiteY0" fmla="*/ 0 h 1418416"/>
                <a:gd name="connsiteX1" fmla="*/ 681 w 12192000"/>
                <a:gd name="connsiteY1" fmla="*/ 0 h 1418416"/>
                <a:gd name="connsiteX2" fmla="*/ 0 w 12192000"/>
                <a:gd name="connsiteY2" fmla="*/ 4247 h 1418416"/>
                <a:gd name="connsiteX3" fmla="*/ 0 w 12192000"/>
                <a:gd name="connsiteY3" fmla="*/ 1239710 h 1418416"/>
                <a:gd name="connsiteX4" fmla="*/ 64480 w 12192000"/>
                <a:gd name="connsiteY4" fmla="*/ 1240323 h 1418416"/>
                <a:gd name="connsiteX5" fmla="*/ 454868 w 12192000"/>
                <a:gd name="connsiteY5" fmla="*/ 1198555 h 1418416"/>
                <a:gd name="connsiteX6" fmla="*/ 3051118 w 12192000"/>
                <a:gd name="connsiteY6" fmla="*/ 294173 h 1418416"/>
                <a:gd name="connsiteX7" fmla="*/ 5799277 w 12192000"/>
                <a:gd name="connsiteY7" fmla="*/ 1387842 h 1418416"/>
                <a:gd name="connsiteX8" fmla="*/ 8369560 w 12192000"/>
                <a:gd name="connsiteY8" fmla="*/ 958719 h 1418416"/>
                <a:gd name="connsiteX9" fmla="*/ 8469240 w 12192000"/>
                <a:gd name="connsiteY9" fmla="*/ 962514 h 1418416"/>
                <a:gd name="connsiteX10" fmla="*/ 8568921 w 12192000"/>
                <a:gd name="connsiteY10" fmla="*/ 958719 h 1418416"/>
                <a:gd name="connsiteX11" fmla="*/ 11139204 w 12192000"/>
                <a:gd name="connsiteY11" fmla="*/ 1387842 h 1418416"/>
                <a:gd name="connsiteX12" fmla="*/ 11860670 w 12192000"/>
                <a:gd name="connsiteY12" fmla="*/ 1134261 h 1418416"/>
                <a:gd name="connsiteX13" fmla="*/ 12192000 w 12192000"/>
                <a:gd name="connsiteY13" fmla="*/ 967695 h 1418416"/>
                <a:gd name="connsiteX14" fmla="*/ 12192000 w 12192000"/>
                <a:gd name="connsiteY14" fmla="*/ 4247 h 1418416"/>
                <a:gd name="connsiteX0" fmla="*/ 12191319 w 12192000"/>
                <a:gd name="connsiteY0" fmla="*/ 0 h 1418416"/>
                <a:gd name="connsiteX1" fmla="*/ 681 w 12192000"/>
                <a:gd name="connsiteY1" fmla="*/ 0 h 1418416"/>
                <a:gd name="connsiteX2" fmla="*/ 0 w 12192000"/>
                <a:gd name="connsiteY2" fmla="*/ 4247 h 1418416"/>
                <a:gd name="connsiteX3" fmla="*/ 4872 w 12192000"/>
                <a:gd name="connsiteY3" fmla="*/ 461273 h 1418416"/>
                <a:gd name="connsiteX4" fmla="*/ 0 w 12192000"/>
                <a:gd name="connsiteY4" fmla="*/ 1239710 h 1418416"/>
                <a:gd name="connsiteX5" fmla="*/ 64480 w 12192000"/>
                <a:gd name="connsiteY5" fmla="*/ 1240323 h 1418416"/>
                <a:gd name="connsiteX6" fmla="*/ 454868 w 12192000"/>
                <a:gd name="connsiteY6" fmla="*/ 1198555 h 1418416"/>
                <a:gd name="connsiteX7" fmla="*/ 3051118 w 12192000"/>
                <a:gd name="connsiteY7" fmla="*/ 294173 h 1418416"/>
                <a:gd name="connsiteX8" fmla="*/ 5799277 w 12192000"/>
                <a:gd name="connsiteY8" fmla="*/ 1387842 h 1418416"/>
                <a:gd name="connsiteX9" fmla="*/ 8369560 w 12192000"/>
                <a:gd name="connsiteY9" fmla="*/ 958719 h 1418416"/>
                <a:gd name="connsiteX10" fmla="*/ 8469240 w 12192000"/>
                <a:gd name="connsiteY10" fmla="*/ 962514 h 1418416"/>
                <a:gd name="connsiteX11" fmla="*/ 8568921 w 12192000"/>
                <a:gd name="connsiteY11" fmla="*/ 958719 h 1418416"/>
                <a:gd name="connsiteX12" fmla="*/ 11139204 w 12192000"/>
                <a:gd name="connsiteY12" fmla="*/ 1387842 h 1418416"/>
                <a:gd name="connsiteX13" fmla="*/ 11860670 w 12192000"/>
                <a:gd name="connsiteY13" fmla="*/ 1134261 h 1418416"/>
                <a:gd name="connsiteX14" fmla="*/ 12192000 w 12192000"/>
                <a:gd name="connsiteY14" fmla="*/ 967695 h 1418416"/>
                <a:gd name="connsiteX15" fmla="*/ 12192000 w 12192000"/>
                <a:gd name="connsiteY15" fmla="*/ 4247 h 1418416"/>
                <a:gd name="connsiteX16" fmla="*/ 12191319 w 12192000"/>
                <a:gd name="connsiteY16"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299416 w 14491416"/>
                <a:gd name="connsiteY4" fmla="*/ 1239710 h 1418416"/>
                <a:gd name="connsiteX5" fmla="*/ 2363896 w 14491416"/>
                <a:gd name="connsiteY5" fmla="*/ 1240323 h 1418416"/>
                <a:gd name="connsiteX6" fmla="*/ 2754284 w 14491416"/>
                <a:gd name="connsiteY6" fmla="*/ 1198555 h 1418416"/>
                <a:gd name="connsiteX7" fmla="*/ 5350534 w 14491416"/>
                <a:gd name="connsiteY7" fmla="*/ 294173 h 1418416"/>
                <a:gd name="connsiteX8" fmla="*/ 8098693 w 14491416"/>
                <a:gd name="connsiteY8" fmla="*/ 1387842 h 1418416"/>
                <a:gd name="connsiteX9" fmla="*/ 10668976 w 14491416"/>
                <a:gd name="connsiteY9" fmla="*/ 958719 h 1418416"/>
                <a:gd name="connsiteX10" fmla="*/ 10768656 w 14491416"/>
                <a:gd name="connsiteY10" fmla="*/ 962514 h 1418416"/>
                <a:gd name="connsiteX11" fmla="*/ 10868337 w 14491416"/>
                <a:gd name="connsiteY11" fmla="*/ 958719 h 1418416"/>
                <a:gd name="connsiteX12" fmla="*/ 13438620 w 14491416"/>
                <a:gd name="connsiteY12" fmla="*/ 1387842 h 1418416"/>
                <a:gd name="connsiteX13" fmla="*/ 14160086 w 14491416"/>
                <a:gd name="connsiteY13" fmla="*/ 1134261 h 1418416"/>
                <a:gd name="connsiteX14" fmla="*/ 14491416 w 14491416"/>
                <a:gd name="connsiteY14" fmla="*/ 967695 h 1418416"/>
                <a:gd name="connsiteX15" fmla="*/ 14491416 w 14491416"/>
                <a:gd name="connsiteY15" fmla="*/ 4247 h 1418416"/>
                <a:gd name="connsiteX16" fmla="*/ 14490735 w 14491416"/>
                <a:gd name="connsiteY16"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299416 w 14491416"/>
                <a:gd name="connsiteY4" fmla="*/ 1239710 h 1418416"/>
                <a:gd name="connsiteX5" fmla="*/ 1570198 w 14491416"/>
                <a:gd name="connsiteY5" fmla="*/ 889756 h 1418416"/>
                <a:gd name="connsiteX6" fmla="*/ 2754284 w 14491416"/>
                <a:gd name="connsiteY6" fmla="*/ 1198555 h 1418416"/>
                <a:gd name="connsiteX7" fmla="*/ 5350534 w 14491416"/>
                <a:gd name="connsiteY7" fmla="*/ 294173 h 1418416"/>
                <a:gd name="connsiteX8" fmla="*/ 8098693 w 14491416"/>
                <a:gd name="connsiteY8" fmla="*/ 1387842 h 1418416"/>
                <a:gd name="connsiteX9" fmla="*/ 10668976 w 14491416"/>
                <a:gd name="connsiteY9" fmla="*/ 958719 h 1418416"/>
                <a:gd name="connsiteX10" fmla="*/ 10768656 w 14491416"/>
                <a:gd name="connsiteY10" fmla="*/ 962514 h 1418416"/>
                <a:gd name="connsiteX11" fmla="*/ 10868337 w 14491416"/>
                <a:gd name="connsiteY11" fmla="*/ 958719 h 1418416"/>
                <a:gd name="connsiteX12" fmla="*/ 13438620 w 14491416"/>
                <a:gd name="connsiteY12" fmla="*/ 1387842 h 1418416"/>
                <a:gd name="connsiteX13" fmla="*/ 14160086 w 14491416"/>
                <a:gd name="connsiteY13" fmla="*/ 1134261 h 1418416"/>
                <a:gd name="connsiteX14" fmla="*/ 14491416 w 14491416"/>
                <a:gd name="connsiteY14" fmla="*/ 967695 h 1418416"/>
                <a:gd name="connsiteX15" fmla="*/ 14491416 w 14491416"/>
                <a:gd name="connsiteY15" fmla="*/ 4247 h 1418416"/>
                <a:gd name="connsiteX16" fmla="*/ 14490735 w 14491416"/>
                <a:gd name="connsiteY16"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299416 w 14491416"/>
                <a:gd name="connsiteY4" fmla="*/ 1239710 h 1418416"/>
                <a:gd name="connsiteX5" fmla="*/ 2754284 w 14491416"/>
                <a:gd name="connsiteY5" fmla="*/ 1198555 h 1418416"/>
                <a:gd name="connsiteX6" fmla="*/ 5350534 w 14491416"/>
                <a:gd name="connsiteY6" fmla="*/ 294173 h 1418416"/>
                <a:gd name="connsiteX7" fmla="*/ 8098693 w 14491416"/>
                <a:gd name="connsiteY7" fmla="*/ 1387842 h 1418416"/>
                <a:gd name="connsiteX8" fmla="*/ 10668976 w 14491416"/>
                <a:gd name="connsiteY8" fmla="*/ 958719 h 1418416"/>
                <a:gd name="connsiteX9" fmla="*/ 10768656 w 14491416"/>
                <a:gd name="connsiteY9" fmla="*/ 962514 h 1418416"/>
                <a:gd name="connsiteX10" fmla="*/ 10868337 w 14491416"/>
                <a:gd name="connsiteY10" fmla="*/ 958719 h 1418416"/>
                <a:gd name="connsiteX11" fmla="*/ 13438620 w 14491416"/>
                <a:gd name="connsiteY11" fmla="*/ 1387842 h 1418416"/>
                <a:gd name="connsiteX12" fmla="*/ 14160086 w 14491416"/>
                <a:gd name="connsiteY12" fmla="*/ 1134261 h 1418416"/>
                <a:gd name="connsiteX13" fmla="*/ 14491416 w 14491416"/>
                <a:gd name="connsiteY13" fmla="*/ 967695 h 1418416"/>
                <a:gd name="connsiteX14" fmla="*/ 14491416 w 14491416"/>
                <a:gd name="connsiteY14" fmla="*/ 4247 h 1418416"/>
                <a:gd name="connsiteX15" fmla="*/ 14490735 w 14491416"/>
                <a:gd name="connsiteY15"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754284 w 14491416"/>
                <a:gd name="connsiteY4" fmla="*/ 1198555 h 1418416"/>
                <a:gd name="connsiteX5" fmla="*/ 5350534 w 14491416"/>
                <a:gd name="connsiteY5" fmla="*/ 294173 h 1418416"/>
                <a:gd name="connsiteX6" fmla="*/ 8098693 w 14491416"/>
                <a:gd name="connsiteY6" fmla="*/ 1387842 h 1418416"/>
                <a:gd name="connsiteX7" fmla="*/ 10668976 w 14491416"/>
                <a:gd name="connsiteY7" fmla="*/ 958719 h 1418416"/>
                <a:gd name="connsiteX8" fmla="*/ 10768656 w 14491416"/>
                <a:gd name="connsiteY8" fmla="*/ 962514 h 1418416"/>
                <a:gd name="connsiteX9" fmla="*/ 10868337 w 14491416"/>
                <a:gd name="connsiteY9" fmla="*/ 958719 h 1418416"/>
                <a:gd name="connsiteX10" fmla="*/ 13438620 w 14491416"/>
                <a:gd name="connsiteY10" fmla="*/ 1387842 h 1418416"/>
                <a:gd name="connsiteX11" fmla="*/ 14160086 w 14491416"/>
                <a:gd name="connsiteY11" fmla="*/ 1134261 h 1418416"/>
                <a:gd name="connsiteX12" fmla="*/ 14491416 w 14491416"/>
                <a:gd name="connsiteY12" fmla="*/ 967695 h 1418416"/>
                <a:gd name="connsiteX13" fmla="*/ 14491416 w 14491416"/>
                <a:gd name="connsiteY13" fmla="*/ 4247 h 1418416"/>
                <a:gd name="connsiteX14" fmla="*/ 14490735 w 14491416"/>
                <a:gd name="connsiteY14"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754284 w 14491416"/>
                <a:gd name="connsiteY4" fmla="*/ 1198555 h 1418416"/>
                <a:gd name="connsiteX5" fmla="*/ 5350534 w 14491416"/>
                <a:gd name="connsiteY5" fmla="*/ 294173 h 1418416"/>
                <a:gd name="connsiteX6" fmla="*/ 8098693 w 14491416"/>
                <a:gd name="connsiteY6" fmla="*/ 1387842 h 1418416"/>
                <a:gd name="connsiteX7" fmla="*/ 10668976 w 14491416"/>
                <a:gd name="connsiteY7" fmla="*/ 958719 h 1418416"/>
                <a:gd name="connsiteX8" fmla="*/ 10768656 w 14491416"/>
                <a:gd name="connsiteY8" fmla="*/ 962514 h 1418416"/>
                <a:gd name="connsiteX9" fmla="*/ 10868337 w 14491416"/>
                <a:gd name="connsiteY9" fmla="*/ 958719 h 1418416"/>
                <a:gd name="connsiteX10" fmla="*/ 13438620 w 14491416"/>
                <a:gd name="connsiteY10" fmla="*/ 1387842 h 1418416"/>
                <a:gd name="connsiteX11" fmla="*/ 14160086 w 14491416"/>
                <a:gd name="connsiteY11" fmla="*/ 1134261 h 1418416"/>
                <a:gd name="connsiteX12" fmla="*/ 14491416 w 14491416"/>
                <a:gd name="connsiteY12" fmla="*/ 967695 h 1418416"/>
                <a:gd name="connsiteX13" fmla="*/ 14491416 w 14491416"/>
                <a:gd name="connsiteY13" fmla="*/ 4247 h 1418416"/>
                <a:gd name="connsiteX14" fmla="*/ 14490735 w 14491416"/>
                <a:gd name="connsiteY14" fmla="*/ 0 h 1418416"/>
                <a:gd name="connsiteX0" fmla="*/ 14576079 w 14576760"/>
                <a:gd name="connsiteY0" fmla="*/ 12301 h 1430717"/>
                <a:gd name="connsiteX1" fmla="*/ 2385441 w 14576760"/>
                <a:gd name="connsiteY1" fmla="*/ 12301 h 1430717"/>
                <a:gd name="connsiteX2" fmla="*/ 2384760 w 14576760"/>
                <a:gd name="connsiteY2" fmla="*/ 16548 h 1430717"/>
                <a:gd name="connsiteX3" fmla="*/ 0 w 14576760"/>
                <a:gd name="connsiteY3" fmla="*/ 0 h 1430717"/>
                <a:gd name="connsiteX4" fmla="*/ 2839628 w 14576760"/>
                <a:gd name="connsiteY4" fmla="*/ 1210856 h 1430717"/>
                <a:gd name="connsiteX5" fmla="*/ 5435878 w 14576760"/>
                <a:gd name="connsiteY5" fmla="*/ 306474 h 1430717"/>
                <a:gd name="connsiteX6" fmla="*/ 8184037 w 14576760"/>
                <a:gd name="connsiteY6" fmla="*/ 1400143 h 1430717"/>
                <a:gd name="connsiteX7" fmla="*/ 10754320 w 14576760"/>
                <a:gd name="connsiteY7" fmla="*/ 971020 h 1430717"/>
                <a:gd name="connsiteX8" fmla="*/ 10854000 w 14576760"/>
                <a:gd name="connsiteY8" fmla="*/ 974815 h 1430717"/>
                <a:gd name="connsiteX9" fmla="*/ 10953681 w 14576760"/>
                <a:gd name="connsiteY9" fmla="*/ 971020 h 1430717"/>
                <a:gd name="connsiteX10" fmla="*/ 13523964 w 14576760"/>
                <a:gd name="connsiteY10" fmla="*/ 1400143 h 1430717"/>
                <a:gd name="connsiteX11" fmla="*/ 14245430 w 14576760"/>
                <a:gd name="connsiteY11" fmla="*/ 1146562 h 1430717"/>
                <a:gd name="connsiteX12" fmla="*/ 14576760 w 14576760"/>
                <a:gd name="connsiteY12" fmla="*/ 979996 h 1430717"/>
                <a:gd name="connsiteX13" fmla="*/ 14576760 w 14576760"/>
                <a:gd name="connsiteY13" fmla="*/ 16548 h 1430717"/>
                <a:gd name="connsiteX14" fmla="*/ 14576079 w 14576760"/>
                <a:gd name="connsiteY14" fmla="*/ 12301 h 1430717"/>
                <a:gd name="connsiteX0" fmla="*/ 14576079 w 14576760"/>
                <a:gd name="connsiteY0" fmla="*/ 12301 h 1430717"/>
                <a:gd name="connsiteX1" fmla="*/ 2385441 w 14576760"/>
                <a:gd name="connsiteY1" fmla="*/ 12301 h 1430717"/>
                <a:gd name="connsiteX2" fmla="*/ 2384760 w 14576760"/>
                <a:gd name="connsiteY2" fmla="*/ 16548 h 1430717"/>
                <a:gd name="connsiteX3" fmla="*/ 0 w 14576760"/>
                <a:gd name="connsiteY3" fmla="*/ 0 h 1430717"/>
                <a:gd name="connsiteX4" fmla="*/ 2839628 w 14576760"/>
                <a:gd name="connsiteY4" fmla="*/ 1210856 h 1430717"/>
                <a:gd name="connsiteX5" fmla="*/ 5435878 w 14576760"/>
                <a:gd name="connsiteY5" fmla="*/ 306474 h 1430717"/>
                <a:gd name="connsiteX6" fmla="*/ 8184037 w 14576760"/>
                <a:gd name="connsiteY6" fmla="*/ 1400143 h 1430717"/>
                <a:gd name="connsiteX7" fmla="*/ 10754320 w 14576760"/>
                <a:gd name="connsiteY7" fmla="*/ 971020 h 1430717"/>
                <a:gd name="connsiteX8" fmla="*/ 10854000 w 14576760"/>
                <a:gd name="connsiteY8" fmla="*/ 974815 h 1430717"/>
                <a:gd name="connsiteX9" fmla="*/ 10953681 w 14576760"/>
                <a:gd name="connsiteY9" fmla="*/ 971020 h 1430717"/>
                <a:gd name="connsiteX10" fmla="*/ 13523964 w 14576760"/>
                <a:gd name="connsiteY10" fmla="*/ 1400143 h 1430717"/>
                <a:gd name="connsiteX11" fmla="*/ 14245430 w 14576760"/>
                <a:gd name="connsiteY11" fmla="*/ 1146562 h 1430717"/>
                <a:gd name="connsiteX12" fmla="*/ 14576760 w 14576760"/>
                <a:gd name="connsiteY12" fmla="*/ 979996 h 1430717"/>
                <a:gd name="connsiteX13" fmla="*/ 14576760 w 14576760"/>
                <a:gd name="connsiteY13" fmla="*/ 16548 h 1430717"/>
                <a:gd name="connsiteX14" fmla="*/ 14576079 w 14576760"/>
                <a:gd name="connsiteY14" fmla="*/ 12301 h 1430717"/>
                <a:gd name="connsiteX0" fmla="*/ 14576079 w 14576760"/>
                <a:gd name="connsiteY0" fmla="*/ 12301 h 1430717"/>
                <a:gd name="connsiteX1" fmla="*/ 2385441 w 14576760"/>
                <a:gd name="connsiteY1" fmla="*/ 12301 h 1430717"/>
                <a:gd name="connsiteX2" fmla="*/ 2384760 w 14576760"/>
                <a:gd name="connsiteY2" fmla="*/ 16548 h 1430717"/>
                <a:gd name="connsiteX3" fmla="*/ 0 w 14576760"/>
                <a:gd name="connsiteY3" fmla="*/ 0 h 1430717"/>
                <a:gd name="connsiteX4" fmla="*/ 2839628 w 14576760"/>
                <a:gd name="connsiteY4" fmla="*/ 1210856 h 1430717"/>
                <a:gd name="connsiteX5" fmla="*/ 5435878 w 14576760"/>
                <a:gd name="connsiteY5" fmla="*/ 306474 h 1430717"/>
                <a:gd name="connsiteX6" fmla="*/ 8184037 w 14576760"/>
                <a:gd name="connsiteY6" fmla="*/ 1400143 h 1430717"/>
                <a:gd name="connsiteX7" fmla="*/ 10754320 w 14576760"/>
                <a:gd name="connsiteY7" fmla="*/ 971020 h 1430717"/>
                <a:gd name="connsiteX8" fmla="*/ 10854000 w 14576760"/>
                <a:gd name="connsiteY8" fmla="*/ 974815 h 1430717"/>
                <a:gd name="connsiteX9" fmla="*/ 10953681 w 14576760"/>
                <a:gd name="connsiteY9" fmla="*/ 971020 h 1430717"/>
                <a:gd name="connsiteX10" fmla="*/ 13523964 w 14576760"/>
                <a:gd name="connsiteY10" fmla="*/ 1400143 h 1430717"/>
                <a:gd name="connsiteX11" fmla="*/ 14245430 w 14576760"/>
                <a:gd name="connsiteY11" fmla="*/ 1146562 h 1430717"/>
                <a:gd name="connsiteX12" fmla="*/ 14576760 w 14576760"/>
                <a:gd name="connsiteY12" fmla="*/ 979996 h 1430717"/>
                <a:gd name="connsiteX13" fmla="*/ 14576760 w 14576760"/>
                <a:gd name="connsiteY13" fmla="*/ 16548 h 1430717"/>
                <a:gd name="connsiteX14" fmla="*/ 14576079 w 14576760"/>
                <a:gd name="connsiteY14" fmla="*/ 12301 h 1430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76760" h="1430717">
                  <a:moveTo>
                    <a:pt x="14576079" y="12301"/>
                  </a:moveTo>
                  <a:lnTo>
                    <a:pt x="2385441" y="12301"/>
                  </a:lnTo>
                  <a:lnTo>
                    <a:pt x="2384760" y="16548"/>
                  </a:lnTo>
                  <a:lnTo>
                    <a:pt x="0" y="0"/>
                  </a:lnTo>
                  <a:cubicBezTo>
                    <a:pt x="1676011" y="306683"/>
                    <a:pt x="1442922" y="1144401"/>
                    <a:pt x="2839628" y="1210856"/>
                  </a:cubicBezTo>
                  <a:cubicBezTo>
                    <a:pt x="4236334" y="1277311"/>
                    <a:pt x="4545143" y="274926"/>
                    <a:pt x="5435878" y="306474"/>
                  </a:cubicBezTo>
                  <a:cubicBezTo>
                    <a:pt x="6326612" y="338022"/>
                    <a:pt x="7194820" y="1193609"/>
                    <a:pt x="8184037" y="1400143"/>
                  </a:cubicBezTo>
                  <a:cubicBezTo>
                    <a:pt x="8987775" y="1567952"/>
                    <a:pt x="10062527" y="991223"/>
                    <a:pt x="10754320" y="971020"/>
                  </a:cubicBezTo>
                  <a:lnTo>
                    <a:pt x="10854000" y="974815"/>
                  </a:lnTo>
                  <a:lnTo>
                    <a:pt x="10953681" y="971020"/>
                  </a:lnTo>
                  <a:cubicBezTo>
                    <a:pt x="11645473" y="991223"/>
                    <a:pt x="12720224" y="1567952"/>
                    <a:pt x="13523964" y="1400143"/>
                  </a:cubicBezTo>
                  <a:cubicBezTo>
                    <a:pt x="13771268" y="1348510"/>
                    <a:pt x="14011009" y="1256311"/>
                    <a:pt x="14245430" y="1146562"/>
                  </a:cubicBezTo>
                  <a:lnTo>
                    <a:pt x="14576760" y="979996"/>
                  </a:lnTo>
                  <a:lnTo>
                    <a:pt x="14576760" y="16548"/>
                  </a:lnTo>
                  <a:lnTo>
                    <a:pt x="14576079" y="12301"/>
                  </a:lnTo>
                  <a:close/>
                </a:path>
              </a:pathLst>
            </a:custGeom>
            <a:gradFill flip="none" rotWithShape="1">
              <a:gsLst>
                <a:gs pos="100000">
                  <a:schemeClr val="accent1"/>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Freeform 8"/>
            <p:cNvSpPr/>
            <p:nvPr/>
          </p:nvSpPr>
          <p:spPr>
            <a:xfrm flipV="1">
              <a:off x="-38101" y="-38100"/>
              <a:ext cx="4237399" cy="491881"/>
            </a:xfrm>
            <a:custGeom>
              <a:avLst/>
              <a:gdLst>
                <a:gd name="connsiteX0" fmla="*/ 12192000 w 12192000"/>
                <a:gd name="connsiteY0" fmla="*/ 0 h 1074584"/>
                <a:gd name="connsiteX1" fmla="*/ 1582058 w 12192000"/>
                <a:gd name="connsiteY1" fmla="*/ 0 h 1074584"/>
                <a:gd name="connsiteX2" fmla="*/ 810918 w 12192000"/>
                <a:gd name="connsiteY2" fmla="*/ 0 h 1074584"/>
                <a:gd name="connsiteX3" fmla="*/ 470766 w 12192000"/>
                <a:gd name="connsiteY3" fmla="*/ 0 h 1074584"/>
                <a:gd name="connsiteX4" fmla="*/ 448024 w 12192000"/>
                <a:gd name="connsiteY4" fmla="*/ 0 h 1074584"/>
                <a:gd name="connsiteX5" fmla="*/ 0 w 12192000"/>
                <a:gd name="connsiteY5" fmla="*/ 0 h 1074584"/>
                <a:gd name="connsiteX6" fmla="*/ 0 w 12192000"/>
                <a:gd name="connsiteY6" fmla="*/ 1074584 h 1074584"/>
                <a:gd name="connsiteX7" fmla="*/ 345070 w 12192000"/>
                <a:gd name="connsiteY7" fmla="*/ 1074584 h 1074584"/>
                <a:gd name="connsiteX8" fmla="*/ 1582058 w 12192000"/>
                <a:gd name="connsiteY8" fmla="*/ 1074584 h 1074584"/>
                <a:gd name="connsiteX9" fmla="*/ 12192000 w 12192000"/>
                <a:gd name="connsiteY9" fmla="*/ 1074584 h 1074584"/>
                <a:gd name="connsiteX0" fmla="*/ 12192000 w 12192000"/>
                <a:gd name="connsiteY0" fmla="*/ 0 h 1074584"/>
                <a:gd name="connsiteX1" fmla="*/ 1582058 w 12192000"/>
                <a:gd name="connsiteY1" fmla="*/ 0 h 1074584"/>
                <a:gd name="connsiteX2" fmla="*/ 470766 w 12192000"/>
                <a:gd name="connsiteY2" fmla="*/ 0 h 1074584"/>
                <a:gd name="connsiteX3" fmla="*/ 448024 w 12192000"/>
                <a:gd name="connsiteY3" fmla="*/ 0 h 1074584"/>
                <a:gd name="connsiteX4" fmla="*/ 0 w 12192000"/>
                <a:gd name="connsiteY4" fmla="*/ 0 h 1074584"/>
                <a:gd name="connsiteX5" fmla="*/ 0 w 12192000"/>
                <a:gd name="connsiteY5" fmla="*/ 1074584 h 1074584"/>
                <a:gd name="connsiteX6" fmla="*/ 345070 w 12192000"/>
                <a:gd name="connsiteY6" fmla="*/ 1074584 h 1074584"/>
                <a:gd name="connsiteX7" fmla="*/ 1582058 w 12192000"/>
                <a:gd name="connsiteY7" fmla="*/ 1074584 h 1074584"/>
                <a:gd name="connsiteX8" fmla="*/ 12192000 w 12192000"/>
                <a:gd name="connsiteY8" fmla="*/ 1074584 h 1074584"/>
                <a:gd name="connsiteX9" fmla="*/ 12192000 w 12192000"/>
                <a:gd name="connsiteY9" fmla="*/ 0 h 1074584"/>
                <a:gd name="connsiteX0" fmla="*/ 12192000 w 12192000"/>
                <a:gd name="connsiteY0" fmla="*/ 0 h 1074584"/>
                <a:gd name="connsiteX1" fmla="*/ 1582058 w 12192000"/>
                <a:gd name="connsiteY1" fmla="*/ 0 h 1074584"/>
                <a:gd name="connsiteX2" fmla="*/ 470766 w 12192000"/>
                <a:gd name="connsiteY2" fmla="*/ 0 h 1074584"/>
                <a:gd name="connsiteX3" fmla="*/ 0 w 12192000"/>
                <a:gd name="connsiteY3" fmla="*/ 0 h 1074584"/>
                <a:gd name="connsiteX4" fmla="*/ 0 w 12192000"/>
                <a:gd name="connsiteY4" fmla="*/ 1074584 h 1074584"/>
                <a:gd name="connsiteX5" fmla="*/ 345070 w 12192000"/>
                <a:gd name="connsiteY5" fmla="*/ 1074584 h 1074584"/>
                <a:gd name="connsiteX6" fmla="*/ 1582058 w 12192000"/>
                <a:gd name="connsiteY6" fmla="*/ 1074584 h 1074584"/>
                <a:gd name="connsiteX7" fmla="*/ 12192000 w 12192000"/>
                <a:gd name="connsiteY7" fmla="*/ 1074584 h 1074584"/>
                <a:gd name="connsiteX8" fmla="*/ 12192000 w 12192000"/>
                <a:gd name="connsiteY8"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345070 w 12192000"/>
                <a:gd name="connsiteY4" fmla="*/ 1074584 h 1074584"/>
                <a:gd name="connsiteX5" fmla="*/ 1582058 w 12192000"/>
                <a:gd name="connsiteY5" fmla="*/ 1074584 h 1074584"/>
                <a:gd name="connsiteX6" fmla="*/ 12192000 w 12192000"/>
                <a:gd name="connsiteY6" fmla="*/ 1074584 h 1074584"/>
                <a:gd name="connsiteX7" fmla="*/ 12192000 w 12192000"/>
                <a:gd name="connsiteY7"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1582058 w 12192000"/>
                <a:gd name="connsiteY4" fmla="*/ 1074584 h 1074584"/>
                <a:gd name="connsiteX5" fmla="*/ 12192000 w 12192000"/>
                <a:gd name="connsiteY5" fmla="*/ 1074584 h 1074584"/>
                <a:gd name="connsiteX6" fmla="*/ 12192000 w 12192000"/>
                <a:gd name="connsiteY6"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12192000 w 12192000"/>
                <a:gd name="connsiteY4" fmla="*/ 1074584 h 1074584"/>
                <a:gd name="connsiteX5" fmla="*/ 12192000 w 12192000"/>
                <a:gd name="connsiteY5" fmla="*/ 0 h 1074584"/>
                <a:gd name="connsiteX0" fmla="*/ 12192000 w 12192000"/>
                <a:gd name="connsiteY0" fmla="*/ 0 h 1074584"/>
                <a:gd name="connsiteX1" fmla="*/ 0 w 12192000"/>
                <a:gd name="connsiteY1" fmla="*/ 0 h 1074584"/>
                <a:gd name="connsiteX2" fmla="*/ 0 w 12192000"/>
                <a:gd name="connsiteY2" fmla="*/ 1074584 h 1074584"/>
                <a:gd name="connsiteX3" fmla="*/ 12192000 w 12192000"/>
                <a:gd name="connsiteY3" fmla="*/ 1074584 h 1074584"/>
                <a:gd name="connsiteX4" fmla="*/ 12192000 w 12192000"/>
                <a:gd name="connsiteY4" fmla="*/ 0 h 1074584"/>
                <a:gd name="connsiteX0" fmla="*/ 12192000 w 12192000"/>
                <a:gd name="connsiteY0" fmla="*/ 0 h 1074584"/>
                <a:gd name="connsiteX1" fmla="*/ 1683657 w 12192000"/>
                <a:gd name="connsiteY1" fmla="*/ 0 h 1074584"/>
                <a:gd name="connsiteX2" fmla="*/ 0 w 12192000"/>
                <a:gd name="connsiteY2" fmla="*/ 0 h 1074584"/>
                <a:gd name="connsiteX3" fmla="*/ 0 w 12192000"/>
                <a:gd name="connsiteY3" fmla="*/ 1074584 h 1074584"/>
                <a:gd name="connsiteX4" fmla="*/ 12192000 w 12192000"/>
                <a:gd name="connsiteY4" fmla="*/ 1074584 h 1074584"/>
                <a:gd name="connsiteX5" fmla="*/ 12192000 w 12192000"/>
                <a:gd name="connsiteY5" fmla="*/ 0 h 1074584"/>
                <a:gd name="connsiteX0" fmla="*/ 12192000 w 12192000"/>
                <a:gd name="connsiteY0" fmla="*/ 2595749 h 3670333"/>
                <a:gd name="connsiteX1" fmla="*/ 2989943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2595749 h 3670333"/>
                <a:gd name="connsiteX1" fmla="*/ 2989943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2595749 h 3670333"/>
                <a:gd name="connsiteX1" fmla="*/ 3875315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3134985 h 4209569"/>
                <a:gd name="connsiteX1" fmla="*/ 3875315 w 12192000"/>
                <a:gd name="connsiteY1" fmla="*/ 539236 h 4209569"/>
                <a:gd name="connsiteX2" fmla="*/ 0 w 12192000"/>
                <a:gd name="connsiteY2" fmla="*/ 3134985 h 4209569"/>
                <a:gd name="connsiteX3" fmla="*/ 0 w 12192000"/>
                <a:gd name="connsiteY3" fmla="*/ 4209569 h 4209569"/>
                <a:gd name="connsiteX4" fmla="*/ 12192000 w 12192000"/>
                <a:gd name="connsiteY4" fmla="*/ 4209569 h 4209569"/>
                <a:gd name="connsiteX5" fmla="*/ 12192000 w 12192000"/>
                <a:gd name="connsiteY5" fmla="*/ 3134985 h 4209569"/>
                <a:gd name="connsiteX0" fmla="*/ 12192000 w 12192000"/>
                <a:gd name="connsiteY0" fmla="*/ 2158437 h 3233021"/>
                <a:gd name="connsiteX1" fmla="*/ 5138058 w 12192000"/>
                <a:gd name="connsiteY1" fmla="*/ 679140 h 3233021"/>
                <a:gd name="connsiteX2" fmla="*/ 0 w 12192000"/>
                <a:gd name="connsiteY2" fmla="*/ 2158437 h 3233021"/>
                <a:gd name="connsiteX3" fmla="*/ 0 w 12192000"/>
                <a:gd name="connsiteY3" fmla="*/ 3233021 h 3233021"/>
                <a:gd name="connsiteX4" fmla="*/ 12192000 w 12192000"/>
                <a:gd name="connsiteY4" fmla="*/ 3233021 h 3233021"/>
                <a:gd name="connsiteX5" fmla="*/ 12192000 w 12192000"/>
                <a:gd name="connsiteY5" fmla="*/ 2158437 h 3233021"/>
                <a:gd name="connsiteX0" fmla="*/ 12192000 w 12192000"/>
                <a:gd name="connsiteY0" fmla="*/ 1802920 h 2877504"/>
                <a:gd name="connsiteX1" fmla="*/ 5138058 w 12192000"/>
                <a:gd name="connsiteY1" fmla="*/ 323623 h 2877504"/>
                <a:gd name="connsiteX2" fmla="*/ 0 w 12192000"/>
                <a:gd name="connsiteY2" fmla="*/ 1802920 h 2877504"/>
                <a:gd name="connsiteX3" fmla="*/ 0 w 12192000"/>
                <a:gd name="connsiteY3" fmla="*/ 2877504 h 2877504"/>
                <a:gd name="connsiteX4" fmla="*/ 12192000 w 12192000"/>
                <a:gd name="connsiteY4" fmla="*/ 2877504 h 2877504"/>
                <a:gd name="connsiteX5" fmla="*/ 12192000 w 12192000"/>
                <a:gd name="connsiteY5" fmla="*/ 1802920 h 2877504"/>
                <a:gd name="connsiteX0" fmla="*/ 12192000 w 12192000"/>
                <a:gd name="connsiteY0" fmla="*/ 1802920 h 2877504"/>
                <a:gd name="connsiteX1" fmla="*/ 5138058 w 12192000"/>
                <a:gd name="connsiteY1" fmla="*/ 323623 h 2877504"/>
                <a:gd name="connsiteX2" fmla="*/ 0 w 12192000"/>
                <a:gd name="connsiteY2" fmla="*/ 1802920 h 2877504"/>
                <a:gd name="connsiteX3" fmla="*/ 0 w 12192000"/>
                <a:gd name="connsiteY3" fmla="*/ 2877504 h 2877504"/>
                <a:gd name="connsiteX4" fmla="*/ 12192000 w 12192000"/>
                <a:gd name="connsiteY4" fmla="*/ 2877504 h 2877504"/>
                <a:gd name="connsiteX5" fmla="*/ 12192000 w 12192000"/>
                <a:gd name="connsiteY5" fmla="*/ 1802920 h 2877504"/>
                <a:gd name="connsiteX0" fmla="*/ 12192000 w 12192000"/>
                <a:gd name="connsiteY0" fmla="*/ 1187253 h 2261837"/>
                <a:gd name="connsiteX1" fmla="*/ 4601030 w 12192000"/>
                <a:gd name="connsiteY1" fmla="*/ 433648 h 2261837"/>
                <a:gd name="connsiteX2" fmla="*/ 0 w 12192000"/>
                <a:gd name="connsiteY2" fmla="*/ 1187253 h 2261837"/>
                <a:gd name="connsiteX3" fmla="*/ 0 w 12192000"/>
                <a:gd name="connsiteY3" fmla="*/ 2261837 h 2261837"/>
                <a:gd name="connsiteX4" fmla="*/ 12192000 w 12192000"/>
                <a:gd name="connsiteY4" fmla="*/ 2261837 h 2261837"/>
                <a:gd name="connsiteX5" fmla="*/ 12192000 w 12192000"/>
                <a:gd name="connsiteY5" fmla="*/ 1187253 h 2261837"/>
                <a:gd name="connsiteX0" fmla="*/ 12192000 w 12192000"/>
                <a:gd name="connsiteY0" fmla="*/ 755772 h 1830356"/>
                <a:gd name="connsiteX1" fmla="*/ 6194520 w 12192000"/>
                <a:gd name="connsiteY1" fmla="*/ 534733 h 1830356"/>
                <a:gd name="connsiteX2" fmla="*/ 4601030 w 12192000"/>
                <a:gd name="connsiteY2" fmla="*/ 2167 h 1830356"/>
                <a:gd name="connsiteX3" fmla="*/ 0 w 12192000"/>
                <a:gd name="connsiteY3" fmla="*/ 755772 h 1830356"/>
                <a:gd name="connsiteX4" fmla="*/ 0 w 12192000"/>
                <a:gd name="connsiteY4" fmla="*/ 1830356 h 1830356"/>
                <a:gd name="connsiteX5" fmla="*/ 12192000 w 12192000"/>
                <a:gd name="connsiteY5" fmla="*/ 1830356 h 1830356"/>
                <a:gd name="connsiteX6" fmla="*/ 12192000 w 12192000"/>
                <a:gd name="connsiteY6" fmla="*/ 755772 h 1830356"/>
                <a:gd name="connsiteX0" fmla="*/ 12192000 w 12192000"/>
                <a:gd name="connsiteY0" fmla="*/ 221040 h 1295624"/>
                <a:gd name="connsiteX1" fmla="*/ 6194520 w 12192000"/>
                <a:gd name="connsiteY1" fmla="*/ 1 h 1295624"/>
                <a:gd name="connsiteX2" fmla="*/ 0 w 12192000"/>
                <a:gd name="connsiteY2" fmla="*/ 221040 h 1295624"/>
                <a:gd name="connsiteX3" fmla="*/ 0 w 12192000"/>
                <a:gd name="connsiteY3" fmla="*/ 1295624 h 1295624"/>
                <a:gd name="connsiteX4" fmla="*/ 12192000 w 12192000"/>
                <a:gd name="connsiteY4" fmla="*/ 1295624 h 1295624"/>
                <a:gd name="connsiteX5" fmla="*/ 12192000 w 12192000"/>
                <a:gd name="connsiteY5" fmla="*/ 221040 h 1295624"/>
                <a:gd name="connsiteX0" fmla="*/ 12192000 w 12192000"/>
                <a:gd name="connsiteY0" fmla="*/ 1644514 h 2719098"/>
                <a:gd name="connsiteX1" fmla="*/ 6238063 w 12192000"/>
                <a:gd name="connsiteY1" fmla="*/ 0 h 2719098"/>
                <a:gd name="connsiteX2" fmla="*/ 0 w 12192000"/>
                <a:gd name="connsiteY2" fmla="*/ 1644514 h 2719098"/>
                <a:gd name="connsiteX3" fmla="*/ 0 w 12192000"/>
                <a:gd name="connsiteY3" fmla="*/ 2719098 h 2719098"/>
                <a:gd name="connsiteX4" fmla="*/ 12192000 w 12192000"/>
                <a:gd name="connsiteY4" fmla="*/ 2719098 h 2719098"/>
                <a:gd name="connsiteX5" fmla="*/ 12192000 w 12192000"/>
                <a:gd name="connsiteY5" fmla="*/ 1644514 h 2719098"/>
                <a:gd name="connsiteX0" fmla="*/ 12192000 w 12192000"/>
                <a:gd name="connsiteY0" fmla="*/ 1644514 h 2719098"/>
                <a:gd name="connsiteX1" fmla="*/ 6238063 w 12192000"/>
                <a:gd name="connsiteY1" fmla="*/ 0 h 2719098"/>
                <a:gd name="connsiteX2" fmla="*/ 0 w 12192000"/>
                <a:gd name="connsiteY2" fmla="*/ 1644514 h 2719098"/>
                <a:gd name="connsiteX3" fmla="*/ 0 w 12192000"/>
                <a:gd name="connsiteY3" fmla="*/ 2719098 h 2719098"/>
                <a:gd name="connsiteX4" fmla="*/ 12192000 w 12192000"/>
                <a:gd name="connsiteY4" fmla="*/ 2719098 h 2719098"/>
                <a:gd name="connsiteX5" fmla="*/ 12192000 w 12192000"/>
                <a:gd name="connsiteY5" fmla="*/ 1644514 h 2719098"/>
                <a:gd name="connsiteX0" fmla="*/ 12192000 w 12192000"/>
                <a:gd name="connsiteY0" fmla="*/ 2138436 h 3213020"/>
                <a:gd name="connsiteX1" fmla="*/ 6238063 w 12192000"/>
                <a:gd name="connsiteY1" fmla="*/ 493922 h 3213020"/>
                <a:gd name="connsiteX2" fmla="*/ 0 w 12192000"/>
                <a:gd name="connsiteY2" fmla="*/ 2138436 h 3213020"/>
                <a:gd name="connsiteX3" fmla="*/ 0 w 12192000"/>
                <a:gd name="connsiteY3" fmla="*/ 3213020 h 3213020"/>
                <a:gd name="connsiteX4" fmla="*/ 12192000 w 12192000"/>
                <a:gd name="connsiteY4" fmla="*/ 3213020 h 3213020"/>
                <a:gd name="connsiteX5" fmla="*/ 12192000 w 12192000"/>
                <a:gd name="connsiteY5" fmla="*/ 2138436 h 3213020"/>
                <a:gd name="connsiteX0" fmla="*/ 12192000 w 12192000"/>
                <a:gd name="connsiteY0" fmla="*/ 2044923 h 3119507"/>
                <a:gd name="connsiteX1" fmla="*/ 6238063 w 12192000"/>
                <a:gd name="connsiteY1" fmla="*/ 400409 h 3119507"/>
                <a:gd name="connsiteX2" fmla="*/ 3727091 w 12192000"/>
                <a:gd name="connsiteY2" fmla="*/ 121296 h 3119507"/>
                <a:gd name="connsiteX3" fmla="*/ 0 w 12192000"/>
                <a:gd name="connsiteY3" fmla="*/ 2044923 h 3119507"/>
                <a:gd name="connsiteX4" fmla="*/ 0 w 12192000"/>
                <a:gd name="connsiteY4" fmla="*/ 3119507 h 3119507"/>
                <a:gd name="connsiteX5" fmla="*/ 12192000 w 12192000"/>
                <a:gd name="connsiteY5" fmla="*/ 3119507 h 3119507"/>
                <a:gd name="connsiteX6" fmla="*/ 12192000 w 12192000"/>
                <a:gd name="connsiteY6" fmla="*/ 2044923 h 3119507"/>
                <a:gd name="connsiteX0" fmla="*/ 12192000 w 12192000"/>
                <a:gd name="connsiteY0" fmla="*/ 1652861 h 2727445"/>
                <a:gd name="connsiteX1" fmla="*/ 6238063 w 12192000"/>
                <a:gd name="connsiteY1" fmla="*/ 8347 h 2727445"/>
                <a:gd name="connsiteX2" fmla="*/ 3538406 w 12192000"/>
                <a:gd name="connsiteY2" fmla="*/ 1041063 h 2727445"/>
                <a:gd name="connsiteX3" fmla="*/ 0 w 12192000"/>
                <a:gd name="connsiteY3" fmla="*/ 1652861 h 2727445"/>
                <a:gd name="connsiteX4" fmla="*/ 0 w 12192000"/>
                <a:gd name="connsiteY4" fmla="*/ 2727445 h 2727445"/>
                <a:gd name="connsiteX5" fmla="*/ 12192000 w 12192000"/>
                <a:gd name="connsiteY5" fmla="*/ 2727445 h 2727445"/>
                <a:gd name="connsiteX6" fmla="*/ 12192000 w 12192000"/>
                <a:gd name="connsiteY6" fmla="*/ 1652861 h 2727445"/>
                <a:gd name="connsiteX0" fmla="*/ 12192000 w 12192000"/>
                <a:gd name="connsiteY0" fmla="*/ 1655532 h 2730116"/>
                <a:gd name="connsiteX1" fmla="*/ 8894177 w 12192000"/>
                <a:gd name="connsiteY1" fmla="*/ 569243 h 2730116"/>
                <a:gd name="connsiteX2" fmla="*/ 6238063 w 12192000"/>
                <a:gd name="connsiteY2" fmla="*/ 11018 h 2730116"/>
                <a:gd name="connsiteX3" fmla="*/ 3538406 w 12192000"/>
                <a:gd name="connsiteY3" fmla="*/ 1043734 h 2730116"/>
                <a:gd name="connsiteX4" fmla="*/ 0 w 12192000"/>
                <a:gd name="connsiteY4" fmla="*/ 1655532 h 2730116"/>
                <a:gd name="connsiteX5" fmla="*/ 0 w 12192000"/>
                <a:gd name="connsiteY5" fmla="*/ 2730116 h 2730116"/>
                <a:gd name="connsiteX6" fmla="*/ 12192000 w 12192000"/>
                <a:gd name="connsiteY6" fmla="*/ 2730116 h 2730116"/>
                <a:gd name="connsiteX7" fmla="*/ 12192000 w 12192000"/>
                <a:gd name="connsiteY7" fmla="*/ 1655532 h 2730116"/>
                <a:gd name="connsiteX0" fmla="*/ 12192000 w 12192000"/>
                <a:gd name="connsiteY0" fmla="*/ 1658292 h 2732876"/>
                <a:gd name="connsiteX1" fmla="*/ 8749034 w 12192000"/>
                <a:gd name="connsiteY1" fmla="*/ 1855923 h 2732876"/>
                <a:gd name="connsiteX2" fmla="*/ 6238063 w 12192000"/>
                <a:gd name="connsiteY2" fmla="*/ 13778 h 2732876"/>
                <a:gd name="connsiteX3" fmla="*/ 3538406 w 12192000"/>
                <a:gd name="connsiteY3" fmla="*/ 1046494 h 2732876"/>
                <a:gd name="connsiteX4" fmla="*/ 0 w 12192000"/>
                <a:gd name="connsiteY4" fmla="*/ 1658292 h 2732876"/>
                <a:gd name="connsiteX5" fmla="*/ 0 w 12192000"/>
                <a:gd name="connsiteY5" fmla="*/ 2732876 h 2732876"/>
                <a:gd name="connsiteX6" fmla="*/ 12192000 w 12192000"/>
                <a:gd name="connsiteY6" fmla="*/ 2732876 h 2732876"/>
                <a:gd name="connsiteX7" fmla="*/ 12192000 w 12192000"/>
                <a:gd name="connsiteY7" fmla="*/ 1658292 h 2732876"/>
                <a:gd name="connsiteX0" fmla="*/ 12192000 w 12192000"/>
                <a:gd name="connsiteY0" fmla="*/ 780671 h 1855255"/>
                <a:gd name="connsiteX1" fmla="*/ 8749034 w 12192000"/>
                <a:gd name="connsiteY1" fmla="*/ 978302 h 1855255"/>
                <a:gd name="connsiteX2" fmla="*/ 6034863 w 12192000"/>
                <a:gd name="connsiteY2" fmla="*/ 140965 h 1855255"/>
                <a:gd name="connsiteX3" fmla="*/ 3538406 w 12192000"/>
                <a:gd name="connsiteY3" fmla="*/ 168873 h 1855255"/>
                <a:gd name="connsiteX4" fmla="*/ 0 w 12192000"/>
                <a:gd name="connsiteY4" fmla="*/ 780671 h 1855255"/>
                <a:gd name="connsiteX5" fmla="*/ 0 w 12192000"/>
                <a:gd name="connsiteY5" fmla="*/ 1855255 h 1855255"/>
                <a:gd name="connsiteX6" fmla="*/ 12192000 w 12192000"/>
                <a:gd name="connsiteY6" fmla="*/ 1855255 h 1855255"/>
                <a:gd name="connsiteX7" fmla="*/ 12192000 w 12192000"/>
                <a:gd name="connsiteY7" fmla="*/ 780671 h 1855255"/>
                <a:gd name="connsiteX0" fmla="*/ 12192000 w 12192000"/>
                <a:gd name="connsiteY0" fmla="*/ 641773 h 1716357"/>
                <a:gd name="connsiteX1" fmla="*/ 8749034 w 12192000"/>
                <a:gd name="connsiteY1" fmla="*/ 839404 h 1716357"/>
                <a:gd name="connsiteX2" fmla="*/ 6034863 w 12192000"/>
                <a:gd name="connsiteY2" fmla="*/ 2067 h 1716357"/>
                <a:gd name="connsiteX3" fmla="*/ 3132006 w 12192000"/>
                <a:gd name="connsiteY3" fmla="*/ 1090602 h 1716357"/>
                <a:gd name="connsiteX4" fmla="*/ 0 w 12192000"/>
                <a:gd name="connsiteY4" fmla="*/ 641773 h 1716357"/>
                <a:gd name="connsiteX5" fmla="*/ 0 w 12192000"/>
                <a:gd name="connsiteY5" fmla="*/ 1716357 h 1716357"/>
                <a:gd name="connsiteX6" fmla="*/ 12192000 w 12192000"/>
                <a:gd name="connsiteY6" fmla="*/ 1716357 h 1716357"/>
                <a:gd name="connsiteX7" fmla="*/ 12192000 w 12192000"/>
                <a:gd name="connsiteY7" fmla="*/ 641773 h 1716357"/>
                <a:gd name="connsiteX0" fmla="*/ 12192000 w 12192000"/>
                <a:gd name="connsiteY0" fmla="*/ 1003870 h 2078454"/>
                <a:gd name="connsiteX1" fmla="*/ 8749034 w 12192000"/>
                <a:gd name="connsiteY1" fmla="*/ 1201501 h 2078454"/>
                <a:gd name="connsiteX2" fmla="*/ 6020349 w 12192000"/>
                <a:gd name="connsiteY2" fmla="*/ 1317 h 2078454"/>
                <a:gd name="connsiteX3" fmla="*/ 3132006 w 12192000"/>
                <a:gd name="connsiteY3" fmla="*/ 1452699 h 2078454"/>
                <a:gd name="connsiteX4" fmla="*/ 0 w 12192000"/>
                <a:gd name="connsiteY4" fmla="*/ 1003870 h 2078454"/>
                <a:gd name="connsiteX5" fmla="*/ 0 w 12192000"/>
                <a:gd name="connsiteY5" fmla="*/ 2078454 h 2078454"/>
                <a:gd name="connsiteX6" fmla="*/ 12192000 w 12192000"/>
                <a:gd name="connsiteY6" fmla="*/ 2078454 h 2078454"/>
                <a:gd name="connsiteX7" fmla="*/ 12192000 w 12192000"/>
                <a:gd name="connsiteY7" fmla="*/ 1003870 h 2078454"/>
                <a:gd name="connsiteX0" fmla="*/ 12192000 w 14474952"/>
                <a:gd name="connsiteY0" fmla="*/ 1003870 h 2105637"/>
                <a:gd name="connsiteX1" fmla="*/ 8749034 w 14474952"/>
                <a:gd name="connsiteY1" fmla="*/ 1201501 h 2105637"/>
                <a:gd name="connsiteX2" fmla="*/ 6020349 w 14474952"/>
                <a:gd name="connsiteY2" fmla="*/ 1317 h 2105637"/>
                <a:gd name="connsiteX3" fmla="*/ 3132006 w 14474952"/>
                <a:gd name="connsiteY3" fmla="*/ 1452699 h 2105637"/>
                <a:gd name="connsiteX4" fmla="*/ 0 w 14474952"/>
                <a:gd name="connsiteY4" fmla="*/ 1003870 h 2105637"/>
                <a:gd name="connsiteX5" fmla="*/ 0 w 14474952"/>
                <a:gd name="connsiteY5" fmla="*/ 2078454 h 2105637"/>
                <a:gd name="connsiteX6" fmla="*/ 14474952 w 14474952"/>
                <a:gd name="connsiteY6" fmla="*/ 2105637 h 2105637"/>
                <a:gd name="connsiteX7" fmla="*/ 12192000 w 14474952"/>
                <a:gd name="connsiteY7" fmla="*/ 1003870 h 2105637"/>
                <a:gd name="connsiteX0" fmla="*/ 12192000 w 14474952"/>
                <a:gd name="connsiteY0" fmla="*/ 1003870 h 2105637"/>
                <a:gd name="connsiteX1" fmla="*/ 8749034 w 14474952"/>
                <a:gd name="connsiteY1" fmla="*/ 1201501 h 2105637"/>
                <a:gd name="connsiteX2" fmla="*/ 6020349 w 14474952"/>
                <a:gd name="connsiteY2" fmla="*/ 1317 h 2105637"/>
                <a:gd name="connsiteX3" fmla="*/ 3132006 w 14474952"/>
                <a:gd name="connsiteY3" fmla="*/ 1452699 h 2105637"/>
                <a:gd name="connsiteX4" fmla="*/ 0 w 14474952"/>
                <a:gd name="connsiteY4" fmla="*/ 1003870 h 2105637"/>
                <a:gd name="connsiteX5" fmla="*/ 0 w 14474952"/>
                <a:gd name="connsiteY5" fmla="*/ 2078454 h 2105637"/>
                <a:gd name="connsiteX6" fmla="*/ 14474952 w 14474952"/>
                <a:gd name="connsiteY6" fmla="*/ 2105637 h 2105637"/>
                <a:gd name="connsiteX7" fmla="*/ 12192000 w 14474952"/>
                <a:gd name="connsiteY7" fmla="*/ 1003870 h 2105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4952" h="2105637">
                  <a:moveTo>
                    <a:pt x="12192000" y="1003870"/>
                  </a:moveTo>
                  <a:cubicBezTo>
                    <a:pt x="11642363" y="643725"/>
                    <a:pt x="9741357" y="1475587"/>
                    <a:pt x="8749034" y="1201501"/>
                  </a:cubicBezTo>
                  <a:cubicBezTo>
                    <a:pt x="7756711" y="927415"/>
                    <a:pt x="6956520" y="-40549"/>
                    <a:pt x="6020349" y="1317"/>
                  </a:cubicBezTo>
                  <a:cubicBezTo>
                    <a:pt x="5084178" y="43183"/>
                    <a:pt x="4171683" y="1178613"/>
                    <a:pt x="3132006" y="1452699"/>
                  </a:cubicBezTo>
                  <a:cubicBezTo>
                    <a:pt x="2092329" y="1726785"/>
                    <a:pt x="621182" y="504168"/>
                    <a:pt x="0" y="1003870"/>
                  </a:cubicBezTo>
                  <a:lnTo>
                    <a:pt x="0" y="2078454"/>
                  </a:lnTo>
                  <a:lnTo>
                    <a:pt x="14474952" y="2105637"/>
                  </a:lnTo>
                  <a:cubicBezTo>
                    <a:pt x="12881865" y="1792746"/>
                    <a:pt x="12952984" y="1371126"/>
                    <a:pt x="12192000" y="1003870"/>
                  </a:cubicBezTo>
                  <a:close/>
                </a:path>
              </a:pathLst>
            </a:custGeom>
            <a:solidFill>
              <a:schemeClr val="accent3">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Title 1"/>
          <p:cNvSpPr>
            <a:spLocks noGrp="1"/>
          </p:cNvSpPr>
          <p:nvPr>
            <p:ph type="title"/>
          </p:nvPr>
        </p:nvSpPr>
        <p:spPr>
          <a:xfrm>
            <a:off x="406318" y="800693"/>
            <a:ext cx="3783943" cy="824908"/>
          </a:xfrm>
        </p:spPr>
        <p:txBody>
          <a:bodyPr/>
          <a:lstStyle/>
          <a:p>
            <a:r>
              <a:rPr lang="en-US" dirty="0"/>
              <a:t>Click to edit Master title style</a:t>
            </a:r>
          </a:p>
        </p:txBody>
      </p:sp>
    </p:spTree>
    <p:extLst>
      <p:ext uri="{BB962C8B-B14F-4D97-AF65-F5344CB8AC3E}">
        <p14:creationId xmlns:p14="http://schemas.microsoft.com/office/powerpoint/2010/main" val="40474891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6_Blank">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304168" y="-223249"/>
            <a:ext cx="6865640" cy="7785545"/>
          </a:xfrm>
          <a:custGeom>
            <a:avLst/>
            <a:gdLst>
              <a:gd name="connsiteX0" fmla="*/ 4498565 w 6865640"/>
              <a:gd name="connsiteY0" fmla="*/ 6966605 h 7785545"/>
              <a:gd name="connsiteX1" fmla="*/ 4588312 w 6865640"/>
              <a:gd name="connsiteY1" fmla="*/ 6977823 h 7785545"/>
              <a:gd name="connsiteX2" fmla="*/ 4678058 w 6865640"/>
              <a:gd name="connsiteY2" fmla="*/ 7000260 h 7785545"/>
              <a:gd name="connsiteX3" fmla="*/ 4756587 w 6865640"/>
              <a:gd name="connsiteY3" fmla="*/ 7033915 h 7785545"/>
              <a:gd name="connsiteX4" fmla="*/ 4823898 w 6865640"/>
              <a:gd name="connsiteY4" fmla="*/ 7090007 h 7785545"/>
              <a:gd name="connsiteX5" fmla="*/ 4879989 w 6865640"/>
              <a:gd name="connsiteY5" fmla="*/ 7146098 h 7785545"/>
              <a:gd name="connsiteX6" fmla="*/ 4924862 w 6865640"/>
              <a:gd name="connsiteY6" fmla="*/ 7213409 h 7785545"/>
              <a:gd name="connsiteX7" fmla="*/ 4947300 w 6865640"/>
              <a:gd name="connsiteY7" fmla="*/ 7291937 h 7785545"/>
              <a:gd name="connsiteX8" fmla="*/ 4958518 w 6865640"/>
              <a:gd name="connsiteY8" fmla="*/ 7381684 h 7785545"/>
              <a:gd name="connsiteX9" fmla="*/ 4947300 w 6865640"/>
              <a:gd name="connsiteY9" fmla="*/ 7460213 h 7785545"/>
              <a:gd name="connsiteX10" fmla="*/ 4924862 w 6865640"/>
              <a:gd name="connsiteY10" fmla="*/ 7538741 h 7785545"/>
              <a:gd name="connsiteX11" fmla="*/ 4879989 w 6865640"/>
              <a:gd name="connsiteY11" fmla="*/ 7606051 h 7785545"/>
              <a:gd name="connsiteX12" fmla="*/ 4823898 w 6865640"/>
              <a:gd name="connsiteY12" fmla="*/ 7662143 h 7785545"/>
              <a:gd name="connsiteX13" fmla="*/ 4756587 w 6865640"/>
              <a:gd name="connsiteY13" fmla="*/ 7718235 h 7785545"/>
              <a:gd name="connsiteX14" fmla="*/ 4678058 w 6865640"/>
              <a:gd name="connsiteY14" fmla="*/ 7751890 h 7785545"/>
              <a:gd name="connsiteX15" fmla="*/ 4588312 w 6865640"/>
              <a:gd name="connsiteY15" fmla="*/ 7774327 h 7785545"/>
              <a:gd name="connsiteX16" fmla="*/ 4498565 w 6865640"/>
              <a:gd name="connsiteY16" fmla="*/ 7785545 h 7785545"/>
              <a:gd name="connsiteX17" fmla="*/ 4397600 w 6865640"/>
              <a:gd name="connsiteY17" fmla="*/ 7774327 h 7785545"/>
              <a:gd name="connsiteX18" fmla="*/ 4319071 w 6865640"/>
              <a:gd name="connsiteY18" fmla="*/ 7751890 h 7785545"/>
              <a:gd name="connsiteX19" fmla="*/ 4240542 w 6865640"/>
              <a:gd name="connsiteY19" fmla="*/ 7718235 h 7785545"/>
              <a:gd name="connsiteX20" fmla="*/ 4162014 w 6865640"/>
              <a:gd name="connsiteY20" fmla="*/ 7662143 h 7785545"/>
              <a:gd name="connsiteX21" fmla="*/ 4105922 w 6865640"/>
              <a:gd name="connsiteY21" fmla="*/ 7606051 h 7785545"/>
              <a:gd name="connsiteX22" fmla="*/ 4072267 w 6865640"/>
              <a:gd name="connsiteY22" fmla="*/ 7538741 h 7785545"/>
              <a:gd name="connsiteX23" fmla="*/ 4038612 w 6865640"/>
              <a:gd name="connsiteY23" fmla="*/ 7460213 h 7785545"/>
              <a:gd name="connsiteX24" fmla="*/ 4027394 w 6865640"/>
              <a:gd name="connsiteY24" fmla="*/ 7381684 h 7785545"/>
              <a:gd name="connsiteX25" fmla="*/ 4038612 w 6865640"/>
              <a:gd name="connsiteY25" fmla="*/ 7291937 h 7785545"/>
              <a:gd name="connsiteX26" fmla="*/ 4072267 w 6865640"/>
              <a:gd name="connsiteY26" fmla="*/ 7213409 h 7785545"/>
              <a:gd name="connsiteX27" fmla="*/ 4105922 w 6865640"/>
              <a:gd name="connsiteY27" fmla="*/ 7146098 h 7785545"/>
              <a:gd name="connsiteX28" fmla="*/ 4162014 w 6865640"/>
              <a:gd name="connsiteY28" fmla="*/ 7090007 h 7785545"/>
              <a:gd name="connsiteX29" fmla="*/ 4240542 w 6865640"/>
              <a:gd name="connsiteY29" fmla="*/ 7033915 h 7785545"/>
              <a:gd name="connsiteX30" fmla="*/ 4319071 w 6865640"/>
              <a:gd name="connsiteY30" fmla="*/ 7000260 h 7785545"/>
              <a:gd name="connsiteX31" fmla="*/ 4397600 w 6865640"/>
              <a:gd name="connsiteY31" fmla="*/ 6977823 h 7785545"/>
              <a:gd name="connsiteX32" fmla="*/ 5295069 w 6865640"/>
              <a:gd name="connsiteY32" fmla="*/ 6428123 h 7785545"/>
              <a:gd name="connsiteX33" fmla="*/ 5407252 w 6865640"/>
              <a:gd name="connsiteY33" fmla="*/ 6439342 h 7785545"/>
              <a:gd name="connsiteX34" fmla="*/ 5519436 w 6865640"/>
              <a:gd name="connsiteY34" fmla="*/ 6450560 h 7785545"/>
              <a:gd name="connsiteX35" fmla="*/ 5609183 w 6865640"/>
              <a:gd name="connsiteY35" fmla="*/ 6472997 h 7785545"/>
              <a:gd name="connsiteX36" fmla="*/ 5698930 w 6865640"/>
              <a:gd name="connsiteY36" fmla="*/ 6506652 h 7785545"/>
              <a:gd name="connsiteX37" fmla="*/ 5766240 w 6865640"/>
              <a:gd name="connsiteY37" fmla="*/ 6551525 h 7785545"/>
              <a:gd name="connsiteX38" fmla="*/ 5822332 w 6865640"/>
              <a:gd name="connsiteY38" fmla="*/ 6596399 h 7785545"/>
              <a:gd name="connsiteX39" fmla="*/ 5855987 w 6865640"/>
              <a:gd name="connsiteY39" fmla="*/ 6641272 h 7785545"/>
              <a:gd name="connsiteX40" fmla="*/ 5867206 w 6865640"/>
              <a:gd name="connsiteY40" fmla="*/ 6697364 h 7785545"/>
              <a:gd name="connsiteX41" fmla="*/ 5855987 w 6865640"/>
              <a:gd name="connsiteY41" fmla="*/ 6753456 h 7785545"/>
              <a:gd name="connsiteX42" fmla="*/ 5822332 w 6865640"/>
              <a:gd name="connsiteY42" fmla="*/ 6798329 h 7785545"/>
              <a:gd name="connsiteX43" fmla="*/ 5766240 w 6865640"/>
              <a:gd name="connsiteY43" fmla="*/ 6854421 h 7785545"/>
              <a:gd name="connsiteX44" fmla="*/ 5698930 w 6865640"/>
              <a:gd name="connsiteY44" fmla="*/ 6888076 h 7785545"/>
              <a:gd name="connsiteX45" fmla="*/ 5609183 w 6865640"/>
              <a:gd name="connsiteY45" fmla="*/ 6921731 h 7785545"/>
              <a:gd name="connsiteX46" fmla="*/ 5519436 w 6865640"/>
              <a:gd name="connsiteY46" fmla="*/ 6944168 h 7785545"/>
              <a:gd name="connsiteX47" fmla="*/ 5407252 w 6865640"/>
              <a:gd name="connsiteY47" fmla="*/ 6966605 h 7785545"/>
              <a:gd name="connsiteX48" fmla="*/ 5295069 w 6865640"/>
              <a:gd name="connsiteY48" fmla="*/ 6966605 h 7785545"/>
              <a:gd name="connsiteX49" fmla="*/ 5182885 w 6865640"/>
              <a:gd name="connsiteY49" fmla="*/ 6966605 h 7785545"/>
              <a:gd name="connsiteX50" fmla="*/ 5070702 w 6865640"/>
              <a:gd name="connsiteY50" fmla="*/ 6944168 h 7785545"/>
              <a:gd name="connsiteX51" fmla="*/ 4980954 w 6865640"/>
              <a:gd name="connsiteY51" fmla="*/ 6921731 h 7785545"/>
              <a:gd name="connsiteX52" fmla="*/ 4891208 w 6865640"/>
              <a:gd name="connsiteY52" fmla="*/ 6888076 h 7785545"/>
              <a:gd name="connsiteX53" fmla="*/ 4823898 w 6865640"/>
              <a:gd name="connsiteY53" fmla="*/ 6854421 h 7785545"/>
              <a:gd name="connsiteX54" fmla="*/ 4767806 w 6865640"/>
              <a:gd name="connsiteY54" fmla="*/ 6798329 h 7785545"/>
              <a:gd name="connsiteX55" fmla="*/ 4734150 w 6865640"/>
              <a:gd name="connsiteY55" fmla="*/ 6753456 h 7785545"/>
              <a:gd name="connsiteX56" fmla="*/ 4722932 w 6865640"/>
              <a:gd name="connsiteY56" fmla="*/ 6697364 h 7785545"/>
              <a:gd name="connsiteX57" fmla="*/ 4734150 w 6865640"/>
              <a:gd name="connsiteY57" fmla="*/ 6641272 h 7785545"/>
              <a:gd name="connsiteX58" fmla="*/ 4767806 w 6865640"/>
              <a:gd name="connsiteY58" fmla="*/ 6596399 h 7785545"/>
              <a:gd name="connsiteX59" fmla="*/ 4823898 w 6865640"/>
              <a:gd name="connsiteY59" fmla="*/ 6551525 h 7785545"/>
              <a:gd name="connsiteX60" fmla="*/ 4891208 w 6865640"/>
              <a:gd name="connsiteY60" fmla="*/ 6506652 h 7785545"/>
              <a:gd name="connsiteX61" fmla="*/ 4980954 w 6865640"/>
              <a:gd name="connsiteY61" fmla="*/ 6472997 h 7785545"/>
              <a:gd name="connsiteX62" fmla="*/ 5070702 w 6865640"/>
              <a:gd name="connsiteY62" fmla="*/ 6450560 h 7785545"/>
              <a:gd name="connsiteX63" fmla="*/ 5182885 w 6865640"/>
              <a:gd name="connsiteY63" fmla="*/ 6439342 h 7785545"/>
              <a:gd name="connsiteX64" fmla="*/ 2658753 w 6865640"/>
              <a:gd name="connsiteY64" fmla="*/ 6293503 h 7785545"/>
              <a:gd name="connsiteX65" fmla="*/ 2692408 w 6865640"/>
              <a:gd name="connsiteY65" fmla="*/ 6304721 h 7785545"/>
              <a:gd name="connsiteX66" fmla="*/ 2714844 w 6865640"/>
              <a:gd name="connsiteY66" fmla="*/ 6315939 h 7785545"/>
              <a:gd name="connsiteX67" fmla="*/ 2748500 w 6865640"/>
              <a:gd name="connsiteY67" fmla="*/ 6327158 h 7785545"/>
              <a:gd name="connsiteX68" fmla="*/ 2770936 w 6865640"/>
              <a:gd name="connsiteY68" fmla="*/ 6360813 h 7785545"/>
              <a:gd name="connsiteX69" fmla="*/ 2804592 w 6865640"/>
              <a:gd name="connsiteY69" fmla="*/ 6416905 h 7785545"/>
              <a:gd name="connsiteX70" fmla="*/ 2815810 w 6865640"/>
              <a:gd name="connsiteY70" fmla="*/ 6495433 h 7785545"/>
              <a:gd name="connsiteX71" fmla="*/ 2804592 w 6865640"/>
              <a:gd name="connsiteY71" fmla="*/ 6573962 h 7785545"/>
              <a:gd name="connsiteX72" fmla="*/ 2770936 w 6865640"/>
              <a:gd name="connsiteY72" fmla="*/ 6641272 h 7785545"/>
              <a:gd name="connsiteX73" fmla="*/ 2748500 w 6865640"/>
              <a:gd name="connsiteY73" fmla="*/ 6663709 h 7785545"/>
              <a:gd name="connsiteX74" fmla="*/ 2714844 w 6865640"/>
              <a:gd name="connsiteY74" fmla="*/ 6674927 h 7785545"/>
              <a:gd name="connsiteX75" fmla="*/ 2692408 w 6865640"/>
              <a:gd name="connsiteY75" fmla="*/ 6686146 h 7785545"/>
              <a:gd name="connsiteX76" fmla="*/ 2658753 w 6865640"/>
              <a:gd name="connsiteY76" fmla="*/ 6697364 h 7785545"/>
              <a:gd name="connsiteX77" fmla="*/ 2625098 w 6865640"/>
              <a:gd name="connsiteY77" fmla="*/ 6686146 h 7785545"/>
              <a:gd name="connsiteX78" fmla="*/ 2602661 w 6865640"/>
              <a:gd name="connsiteY78" fmla="*/ 6674927 h 7785545"/>
              <a:gd name="connsiteX79" fmla="*/ 2569006 w 6865640"/>
              <a:gd name="connsiteY79" fmla="*/ 6663709 h 7785545"/>
              <a:gd name="connsiteX80" fmla="*/ 2546569 w 6865640"/>
              <a:gd name="connsiteY80" fmla="*/ 6641272 h 7785545"/>
              <a:gd name="connsiteX81" fmla="*/ 2512914 w 6865640"/>
              <a:gd name="connsiteY81" fmla="*/ 6573962 h 7785545"/>
              <a:gd name="connsiteX82" fmla="*/ 2501696 w 6865640"/>
              <a:gd name="connsiteY82" fmla="*/ 6495433 h 7785545"/>
              <a:gd name="connsiteX83" fmla="*/ 2512914 w 6865640"/>
              <a:gd name="connsiteY83" fmla="*/ 6416905 h 7785545"/>
              <a:gd name="connsiteX84" fmla="*/ 2546569 w 6865640"/>
              <a:gd name="connsiteY84" fmla="*/ 6360813 h 7785545"/>
              <a:gd name="connsiteX85" fmla="*/ 2569006 w 6865640"/>
              <a:gd name="connsiteY85" fmla="*/ 6327158 h 7785545"/>
              <a:gd name="connsiteX86" fmla="*/ 2602661 w 6865640"/>
              <a:gd name="connsiteY86" fmla="*/ 6315939 h 7785545"/>
              <a:gd name="connsiteX87" fmla="*/ 2625098 w 6865640"/>
              <a:gd name="connsiteY87" fmla="*/ 6304721 h 7785545"/>
              <a:gd name="connsiteX88" fmla="*/ 1738847 w 6865640"/>
              <a:gd name="connsiteY88" fmla="*/ 5900860 h 7785545"/>
              <a:gd name="connsiteX89" fmla="*/ 1839812 w 6865640"/>
              <a:gd name="connsiteY89" fmla="*/ 5912078 h 7785545"/>
              <a:gd name="connsiteX90" fmla="*/ 1929559 w 6865640"/>
              <a:gd name="connsiteY90" fmla="*/ 5934515 h 7785545"/>
              <a:gd name="connsiteX91" fmla="*/ 2008088 w 6865640"/>
              <a:gd name="connsiteY91" fmla="*/ 5968170 h 7785545"/>
              <a:gd name="connsiteX92" fmla="*/ 2086616 w 6865640"/>
              <a:gd name="connsiteY92" fmla="*/ 6024262 h 7785545"/>
              <a:gd name="connsiteX93" fmla="*/ 2142708 w 6865640"/>
              <a:gd name="connsiteY93" fmla="*/ 6080354 h 7785545"/>
              <a:gd name="connsiteX94" fmla="*/ 2187581 w 6865640"/>
              <a:gd name="connsiteY94" fmla="*/ 6147664 h 7785545"/>
              <a:gd name="connsiteX95" fmla="*/ 2221236 w 6865640"/>
              <a:gd name="connsiteY95" fmla="*/ 6214974 h 7785545"/>
              <a:gd name="connsiteX96" fmla="*/ 2232455 w 6865640"/>
              <a:gd name="connsiteY96" fmla="*/ 6293503 h 7785545"/>
              <a:gd name="connsiteX97" fmla="*/ 2221236 w 6865640"/>
              <a:gd name="connsiteY97" fmla="*/ 6383250 h 7785545"/>
              <a:gd name="connsiteX98" fmla="*/ 2187581 w 6865640"/>
              <a:gd name="connsiteY98" fmla="*/ 6450560 h 7785545"/>
              <a:gd name="connsiteX99" fmla="*/ 2142708 w 6865640"/>
              <a:gd name="connsiteY99" fmla="*/ 6517870 h 7785545"/>
              <a:gd name="connsiteX100" fmla="*/ 2086616 w 6865640"/>
              <a:gd name="connsiteY100" fmla="*/ 6573962 h 7785545"/>
              <a:gd name="connsiteX101" fmla="*/ 2008088 w 6865640"/>
              <a:gd name="connsiteY101" fmla="*/ 6630054 h 7785545"/>
              <a:gd name="connsiteX102" fmla="*/ 1929559 w 6865640"/>
              <a:gd name="connsiteY102" fmla="*/ 6663709 h 7785545"/>
              <a:gd name="connsiteX103" fmla="*/ 1839812 w 6865640"/>
              <a:gd name="connsiteY103" fmla="*/ 6686146 h 7785545"/>
              <a:gd name="connsiteX104" fmla="*/ 1738847 w 6865640"/>
              <a:gd name="connsiteY104" fmla="*/ 6697364 h 7785545"/>
              <a:gd name="connsiteX105" fmla="*/ 1637882 w 6865640"/>
              <a:gd name="connsiteY105" fmla="*/ 6686146 h 7785545"/>
              <a:gd name="connsiteX106" fmla="*/ 1548135 w 6865640"/>
              <a:gd name="connsiteY106" fmla="*/ 6663709 h 7785545"/>
              <a:gd name="connsiteX107" fmla="*/ 1458388 w 6865640"/>
              <a:gd name="connsiteY107" fmla="*/ 6630054 h 7785545"/>
              <a:gd name="connsiteX108" fmla="*/ 1391078 w 6865640"/>
              <a:gd name="connsiteY108" fmla="*/ 6573962 h 7785545"/>
              <a:gd name="connsiteX109" fmla="*/ 1323767 w 6865640"/>
              <a:gd name="connsiteY109" fmla="*/ 6517870 h 7785545"/>
              <a:gd name="connsiteX110" fmla="*/ 1278894 w 6865640"/>
              <a:gd name="connsiteY110" fmla="*/ 6450560 h 7785545"/>
              <a:gd name="connsiteX111" fmla="*/ 1256457 w 6865640"/>
              <a:gd name="connsiteY111" fmla="*/ 6383250 h 7785545"/>
              <a:gd name="connsiteX112" fmla="*/ 1245239 w 6865640"/>
              <a:gd name="connsiteY112" fmla="*/ 6293503 h 7785545"/>
              <a:gd name="connsiteX113" fmla="*/ 1256457 w 6865640"/>
              <a:gd name="connsiteY113" fmla="*/ 6214974 h 7785545"/>
              <a:gd name="connsiteX114" fmla="*/ 1278894 w 6865640"/>
              <a:gd name="connsiteY114" fmla="*/ 6147664 h 7785545"/>
              <a:gd name="connsiteX115" fmla="*/ 1323767 w 6865640"/>
              <a:gd name="connsiteY115" fmla="*/ 6080354 h 7785545"/>
              <a:gd name="connsiteX116" fmla="*/ 1391078 w 6865640"/>
              <a:gd name="connsiteY116" fmla="*/ 6024262 h 7785545"/>
              <a:gd name="connsiteX117" fmla="*/ 1458388 w 6865640"/>
              <a:gd name="connsiteY117" fmla="*/ 5968170 h 7785545"/>
              <a:gd name="connsiteX118" fmla="*/ 1548135 w 6865640"/>
              <a:gd name="connsiteY118" fmla="*/ 5934515 h 7785545"/>
              <a:gd name="connsiteX119" fmla="*/ 1637882 w 6865640"/>
              <a:gd name="connsiteY119" fmla="*/ 5912078 h 7785545"/>
              <a:gd name="connsiteX120" fmla="*/ 751631 w 6865640"/>
              <a:gd name="connsiteY120" fmla="*/ 5900860 h 7785545"/>
              <a:gd name="connsiteX121" fmla="*/ 807723 w 6865640"/>
              <a:gd name="connsiteY121" fmla="*/ 5912078 h 7785545"/>
              <a:gd name="connsiteX122" fmla="*/ 863814 w 6865640"/>
              <a:gd name="connsiteY122" fmla="*/ 5923297 h 7785545"/>
              <a:gd name="connsiteX123" fmla="*/ 908688 w 6865640"/>
              <a:gd name="connsiteY123" fmla="*/ 5934515 h 7785545"/>
              <a:gd name="connsiteX124" fmla="*/ 942343 w 6865640"/>
              <a:gd name="connsiteY124" fmla="*/ 5956952 h 7785545"/>
              <a:gd name="connsiteX125" fmla="*/ 975998 w 6865640"/>
              <a:gd name="connsiteY125" fmla="*/ 5979389 h 7785545"/>
              <a:gd name="connsiteX126" fmla="*/ 1009653 w 6865640"/>
              <a:gd name="connsiteY126" fmla="*/ 6013044 h 7785545"/>
              <a:gd name="connsiteX127" fmla="*/ 1020872 w 6865640"/>
              <a:gd name="connsiteY127" fmla="*/ 6046699 h 7785545"/>
              <a:gd name="connsiteX128" fmla="*/ 1020872 w 6865640"/>
              <a:gd name="connsiteY128" fmla="*/ 6091572 h 7785545"/>
              <a:gd name="connsiteX129" fmla="*/ 1020872 w 6865640"/>
              <a:gd name="connsiteY129" fmla="*/ 6125227 h 7785545"/>
              <a:gd name="connsiteX130" fmla="*/ 1009653 w 6865640"/>
              <a:gd name="connsiteY130" fmla="*/ 6158882 h 7785545"/>
              <a:gd name="connsiteX131" fmla="*/ 975998 w 6865640"/>
              <a:gd name="connsiteY131" fmla="*/ 6192537 h 7785545"/>
              <a:gd name="connsiteX132" fmla="*/ 942343 w 6865640"/>
              <a:gd name="connsiteY132" fmla="*/ 6214974 h 7785545"/>
              <a:gd name="connsiteX133" fmla="*/ 908688 w 6865640"/>
              <a:gd name="connsiteY133" fmla="*/ 6237411 h 7785545"/>
              <a:gd name="connsiteX134" fmla="*/ 863814 w 6865640"/>
              <a:gd name="connsiteY134" fmla="*/ 6259848 h 7785545"/>
              <a:gd name="connsiteX135" fmla="*/ 807723 w 6865640"/>
              <a:gd name="connsiteY135" fmla="*/ 6271066 h 7785545"/>
              <a:gd name="connsiteX136" fmla="*/ 751631 w 6865640"/>
              <a:gd name="connsiteY136" fmla="*/ 6271066 h 7785545"/>
              <a:gd name="connsiteX137" fmla="*/ 695539 w 6865640"/>
              <a:gd name="connsiteY137" fmla="*/ 6271066 h 7785545"/>
              <a:gd name="connsiteX138" fmla="*/ 650665 w 6865640"/>
              <a:gd name="connsiteY138" fmla="*/ 6259848 h 7785545"/>
              <a:gd name="connsiteX139" fmla="*/ 594574 w 6865640"/>
              <a:gd name="connsiteY139" fmla="*/ 6237411 h 7785545"/>
              <a:gd name="connsiteX140" fmla="*/ 560919 w 6865640"/>
              <a:gd name="connsiteY140" fmla="*/ 6214974 h 7785545"/>
              <a:gd name="connsiteX141" fmla="*/ 527263 w 6865640"/>
              <a:gd name="connsiteY141" fmla="*/ 6192537 h 7785545"/>
              <a:gd name="connsiteX142" fmla="*/ 504827 w 6865640"/>
              <a:gd name="connsiteY142" fmla="*/ 6158882 h 7785545"/>
              <a:gd name="connsiteX143" fmla="*/ 482390 w 6865640"/>
              <a:gd name="connsiteY143" fmla="*/ 6125227 h 7785545"/>
              <a:gd name="connsiteX144" fmla="*/ 482390 w 6865640"/>
              <a:gd name="connsiteY144" fmla="*/ 6091572 h 7785545"/>
              <a:gd name="connsiteX145" fmla="*/ 482390 w 6865640"/>
              <a:gd name="connsiteY145" fmla="*/ 6046699 h 7785545"/>
              <a:gd name="connsiteX146" fmla="*/ 504827 w 6865640"/>
              <a:gd name="connsiteY146" fmla="*/ 6013044 h 7785545"/>
              <a:gd name="connsiteX147" fmla="*/ 527263 w 6865640"/>
              <a:gd name="connsiteY147" fmla="*/ 5979389 h 7785545"/>
              <a:gd name="connsiteX148" fmla="*/ 560919 w 6865640"/>
              <a:gd name="connsiteY148" fmla="*/ 5956952 h 7785545"/>
              <a:gd name="connsiteX149" fmla="*/ 594574 w 6865640"/>
              <a:gd name="connsiteY149" fmla="*/ 5934515 h 7785545"/>
              <a:gd name="connsiteX150" fmla="*/ 650665 w 6865640"/>
              <a:gd name="connsiteY150" fmla="*/ 5923297 h 7785545"/>
              <a:gd name="connsiteX151" fmla="*/ 695539 w 6865640"/>
              <a:gd name="connsiteY151" fmla="*/ 5912078 h 7785545"/>
              <a:gd name="connsiteX152" fmla="*/ 157057 w 6865640"/>
              <a:gd name="connsiteY152" fmla="*/ 4453691 h 7785545"/>
              <a:gd name="connsiteX153" fmla="*/ 190712 w 6865640"/>
              <a:gd name="connsiteY153" fmla="*/ 4453691 h 7785545"/>
              <a:gd name="connsiteX154" fmla="*/ 224368 w 6865640"/>
              <a:gd name="connsiteY154" fmla="*/ 4453691 h 7785545"/>
              <a:gd name="connsiteX155" fmla="*/ 269241 w 6865640"/>
              <a:gd name="connsiteY155" fmla="*/ 4476128 h 7785545"/>
              <a:gd name="connsiteX156" fmla="*/ 291678 w 6865640"/>
              <a:gd name="connsiteY156" fmla="*/ 4498564 h 7785545"/>
              <a:gd name="connsiteX157" fmla="*/ 325333 w 6865640"/>
              <a:gd name="connsiteY157" fmla="*/ 4521001 h 7785545"/>
              <a:gd name="connsiteX158" fmla="*/ 347770 w 6865640"/>
              <a:gd name="connsiteY158" fmla="*/ 4554656 h 7785545"/>
              <a:gd name="connsiteX159" fmla="*/ 358988 w 6865640"/>
              <a:gd name="connsiteY159" fmla="*/ 4588311 h 7785545"/>
              <a:gd name="connsiteX160" fmla="*/ 370206 w 6865640"/>
              <a:gd name="connsiteY160" fmla="*/ 4633185 h 7785545"/>
              <a:gd name="connsiteX161" fmla="*/ 381425 w 6865640"/>
              <a:gd name="connsiteY161" fmla="*/ 4678058 h 7785545"/>
              <a:gd name="connsiteX162" fmla="*/ 370206 w 6865640"/>
              <a:gd name="connsiteY162" fmla="*/ 4722932 h 7785545"/>
              <a:gd name="connsiteX163" fmla="*/ 358988 w 6865640"/>
              <a:gd name="connsiteY163" fmla="*/ 4767805 h 7785545"/>
              <a:gd name="connsiteX164" fmla="*/ 347770 w 6865640"/>
              <a:gd name="connsiteY164" fmla="*/ 4812679 h 7785545"/>
              <a:gd name="connsiteX165" fmla="*/ 325333 w 6865640"/>
              <a:gd name="connsiteY165" fmla="*/ 4846334 h 7785545"/>
              <a:gd name="connsiteX166" fmla="*/ 291678 w 6865640"/>
              <a:gd name="connsiteY166" fmla="*/ 4868770 h 7785545"/>
              <a:gd name="connsiteX167" fmla="*/ 269241 w 6865640"/>
              <a:gd name="connsiteY167" fmla="*/ 4891207 h 7785545"/>
              <a:gd name="connsiteX168" fmla="*/ 224368 w 6865640"/>
              <a:gd name="connsiteY168" fmla="*/ 4902426 h 7785545"/>
              <a:gd name="connsiteX169" fmla="*/ 190712 w 6865640"/>
              <a:gd name="connsiteY169" fmla="*/ 4913644 h 7785545"/>
              <a:gd name="connsiteX170" fmla="*/ 157057 w 6865640"/>
              <a:gd name="connsiteY170" fmla="*/ 4902426 h 7785545"/>
              <a:gd name="connsiteX171" fmla="*/ 123402 w 6865640"/>
              <a:gd name="connsiteY171" fmla="*/ 4891207 h 7785545"/>
              <a:gd name="connsiteX172" fmla="*/ 89747 w 6865640"/>
              <a:gd name="connsiteY172" fmla="*/ 4868770 h 7785545"/>
              <a:gd name="connsiteX173" fmla="*/ 56092 w 6865640"/>
              <a:gd name="connsiteY173" fmla="*/ 4846334 h 7785545"/>
              <a:gd name="connsiteX174" fmla="*/ 33655 w 6865640"/>
              <a:gd name="connsiteY174" fmla="*/ 4812679 h 7785545"/>
              <a:gd name="connsiteX175" fmla="*/ 22437 w 6865640"/>
              <a:gd name="connsiteY175" fmla="*/ 4767805 h 7785545"/>
              <a:gd name="connsiteX176" fmla="*/ 11219 w 6865640"/>
              <a:gd name="connsiteY176" fmla="*/ 4722932 h 7785545"/>
              <a:gd name="connsiteX177" fmla="*/ 0 w 6865640"/>
              <a:gd name="connsiteY177" fmla="*/ 4678058 h 7785545"/>
              <a:gd name="connsiteX178" fmla="*/ 11219 w 6865640"/>
              <a:gd name="connsiteY178" fmla="*/ 4633185 h 7785545"/>
              <a:gd name="connsiteX179" fmla="*/ 22437 w 6865640"/>
              <a:gd name="connsiteY179" fmla="*/ 4588311 h 7785545"/>
              <a:gd name="connsiteX180" fmla="*/ 33655 w 6865640"/>
              <a:gd name="connsiteY180" fmla="*/ 4554656 h 7785545"/>
              <a:gd name="connsiteX181" fmla="*/ 56092 w 6865640"/>
              <a:gd name="connsiteY181" fmla="*/ 4521001 h 7785545"/>
              <a:gd name="connsiteX182" fmla="*/ 89747 w 6865640"/>
              <a:gd name="connsiteY182" fmla="*/ 4498564 h 7785545"/>
              <a:gd name="connsiteX183" fmla="*/ 123402 w 6865640"/>
              <a:gd name="connsiteY183" fmla="*/ 4476128 h 7785545"/>
              <a:gd name="connsiteX184" fmla="*/ 605792 w 6865640"/>
              <a:gd name="connsiteY184" fmla="*/ 3881554 h 7785545"/>
              <a:gd name="connsiteX185" fmla="*/ 650665 w 6865640"/>
              <a:gd name="connsiteY185" fmla="*/ 3892773 h 7785545"/>
              <a:gd name="connsiteX186" fmla="*/ 684321 w 6865640"/>
              <a:gd name="connsiteY186" fmla="*/ 3903991 h 7785545"/>
              <a:gd name="connsiteX187" fmla="*/ 729194 w 6865640"/>
              <a:gd name="connsiteY187" fmla="*/ 3915209 h 7785545"/>
              <a:gd name="connsiteX188" fmla="*/ 762849 w 6865640"/>
              <a:gd name="connsiteY188" fmla="*/ 3948864 h 7785545"/>
              <a:gd name="connsiteX189" fmla="*/ 785286 w 6865640"/>
              <a:gd name="connsiteY189" fmla="*/ 3971301 h 7785545"/>
              <a:gd name="connsiteX190" fmla="*/ 807723 w 6865640"/>
              <a:gd name="connsiteY190" fmla="*/ 4016175 h 7785545"/>
              <a:gd name="connsiteX191" fmla="*/ 818941 w 6865640"/>
              <a:gd name="connsiteY191" fmla="*/ 4049830 h 7785545"/>
              <a:gd name="connsiteX192" fmla="*/ 830159 w 6865640"/>
              <a:gd name="connsiteY192" fmla="*/ 4094703 h 7785545"/>
              <a:gd name="connsiteX193" fmla="*/ 818941 w 6865640"/>
              <a:gd name="connsiteY193" fmla="*/ 4128358 h 7785545"/>
              <a:gd name="connsiteX194" fmla="*/ 807723 w 6865640"/>
              <a:gd name="connsiteY194" fmla="*/ 4173232 h 7785545"/>
              <a:gd name="connsiteX195" fmla="*/ 785286 w 6865640"/>
              <a:gd name="connsiteY195" fmla="*/ 4206887 h 7785545"/>
              <a:gd name="connsiteX196" fmla="*/ 762849 w 6865640"/>
              <a:gd name="connsiteY196" fmla="*/ 4240542 h 7785545"/>
              <a:gd name="connsiteX197" fmla="*/ 729194 w 6865640"/>
              <a:gd name="connsiteY197" fmla="*/ 4262979 h 7785545"/>
              <a:gd name="connsiteX198" fmla="*/ 684321 w 6865640"/>
              <a:gd name="connsiteY198" fmla="*/ 4285416 h 7785545"/>
              <a:gd name="connsiteX199" fmla="*/ 650665 w 6865640"/>
              <a:gd name="connsiteY199" fmla="*/ 4296634 h 7785545"/>
              <a:gd name="connsiteX200" fmla="*/ 605792 w 6865640"/>
              <a:gd name="connsiteY200" fmla="*/ 4296634 h 7785545"/>
              <a:gd name="connsiteX201" fmla="*/ 560919 w 6865640"/>
              <a:gd name="connsiteY201" fmla="*/ 4296634 h 7785545"/>
              <a:gd name="connsiteX202" fmla="*/ 516045 w 6865640"/>
              <a:gd name="connsiteY202" fmla="*/ 4285416 h 7785545"/>
              <a:gd name="connsiteX203" fmla="*/ 482390 w 6865640"/>
              <a:gd name="connsiteY203" fmla="*/ 4262979 h 7785545"/>
              <a:gd name="connsiteX204" fmla="*/ 448735 w 6865640"/>
              <a:gd name="connsiteY204" fmla="*/ 4240542 h 7785545"/>
              <a:gd name="connsiteX205" fmla="*/ 415080 w 6865640"/>
              <a:gd name="connsiteY205" fmla="*/ 4206887 h 7785545"/>
              <a:gd name="connsiteX206" fmla="*/ 392643 w 6865640"/>
              <a:gd name="connsiteY206" fmla="*/ 4173232 h 7785545"/>
              <a:gd name="connsiteX207" fmla="*/ 381425 w 6865640"/>
              <a:gd name="connsiteY207" fmla="*/ 4128358 h 7785545"/>
              <a:gd name="connsiteX208" fmla="*/ 381425 w 6865640"/>
              <a:gd name="connsiteY208" fmla="*/ 4094703 h 7785545"/>
              <a:gd name="connsiteX209" fmla="*/ 381425 w 6865640"/>
              <a:gd name="connsiteY209" fmla="*/ 4049830 h 7785545"/>
              <a:gd name="connsiteX210" fmla="*/ 392643 w 6865640"/>
              <a:gd name="connsiteY210" fmla="*/ 4016175 h 7785545"/>
              <a:gd name="connsiteX211" fmla="*/ 415080 w 6865640"/>
              <a:gd name="connsiteY211" fmla="*/ 3971301 h 7785545"/>
              <a:gd name="connsiteX212" fmla="*/ 448735 w 6865640"/>
              <a:gd name="connsiteY212" fmla="*/ 3948864 h 7785545"/>
              <a:gd name="connsiteX213" fmla="*/ 482390 w 6865640"/>
              <a:gd name="connsiteY213" fmla="*/ 3915209 h 7785545"/>
              <a:gd name="connsiteX214" fmla="*/ 516045 w 6865640"/>
              <a:gd name="connsiteY214" fmla="*/ 3903991 h 7785545"/>
              <a:gd name="connsiteX215" fmla="*/ 560919 w 6865640"/>
              <a:gd name="connsiteY215" fmla="*/ 3892773 h 7785545"/>
              <a:gd name="connsiteX216" fmla="*/ 482390 w 6865640"/>
              <a:gd name="connsiteY216" fmla="*/ 2871901 h 7785545"/>
              <a:gd name="connsiteX217" fmla="*/ 549700 w 6865640"/>
              <a:gd name="connsiteY217" fmla="*/ 2883120 h 7785545"/>
              <a:gd name="connsiteX218" fmla="*/ 617010 w 6865640"/>
              <a:gd name="connsiteY218" fmla="*/ 2905557 h 7785545"/>
              <a:gd name="connsiteX219" fmla="*/ 673102 w 6865640"/>
              <a:gd name="connsiteY219" fmla="*/ 2939212 h 7785545"/>
              <a:gd name="connsiteX220" fmla="*/ 729194 w 6865640"/>
              <a:gd name="connsiteY220" fmla="*/ 2984085 h 7785545"/>
              <a:gd name="connsiteX221" fmla="*/ 762849 w 6865640"/>
              <a:gd name="connsiteY221" fmla="*/ 3040177 h 7785545"/>
              <a:gd name="connsiteX222" fmla="*/ 796504 w 6865640"/>
              <a:gd name="connsiteY222" fmla="*/ 3107487 h 7785545"/>
              <a:gd name="connsiteX223" fmla="*/ 818941 w 6865640"/>
              <a:gd name="connsiteY223" fmla="*/ 3174798 h 7785545"/>
              <a:gd name="connsiteX224" fmla="*/ 830159 w 6865640"/>
              <a:gd name="connsiteY224" fmla="*/ 3253326 h 7785545"/>
              <a:gd name="connsiteX225" fmla="*/ 818941 w 6865640"/>
              <a:gd name="connsiteY225" fmla="*/ 3320636 h 7785545"/>
              <a:gd name="connsiteX226" fmla="*/ 796504 w 6865640"/>
              <a:gd name="connsiteY226" fmla="*/ 3387946 h 7785545"/>
              <a:gd name="connsiteX227" fmla="*/ 762849 w 6865640"/>
              <a:gd name="connsiteY227" fmla="*/ 3455256 h 7785545"/>
              <a:gd name="connsiteX228" fmla="*/ 729194 w 6865640"/>
              <a:gd name="connsiteY228" fmla="*/ 3511348 h 7785545"/>
              <a:gd name="connsiteX229" fmla="*/ 673102 w 6865640"/>
              <a:gd name="connsiteY229" fmla="*/ 3556222 h 7785545"/>
              <a:gd name="connsiteX230" fmla="*/ 617010 w 6865640"/>
              <a:gd name="connsiteY230" fmla="*/ 3589877 h 7785545"/>
              <a:gd name="connsiteX231" fmla="*/ 549700 w 6865640"/>
              <a:gd name="connsiteY231" fmla="*/ 3612314 h 7785545"/>
              <a:gd name="connsiteX232" fmla="*/ 482390 w 6865640"/>
              <a:gd name="connsiteY232" fmla="*/ 3623532 h 7785545"/>
              <a:gd name="connsiteX233" fmla="*/ 403861 w 6865640"/>
              <a:gd name="connsiteY233" fmla="*/ 3612314 h 7785545"/>
              <a:gd name="connsiteX234" fmla="*/ 347770 w 6865640"/>
              <a:gd name="connsiteY234" fmla="*/ 3589877 h 7785545"/>
              <a:gd name="connsiteX235" fmla="*/ 280459 w 6865640"/>
              <a:gd name="connsiteY235" fmla="*/ 3556222 h 7785545"/>
              <a:gd name="connsiteX236" fmla="*/ 235586 w 6865640"/>
              <a:gd name="connsiteY236" fmla="*/ 3511348 h 7785545"/>
              <a:gd name="connsiteX237" fmla="*/ 190712 w 6865640"/>
              <a:gd name="connsiteY237" fmla="*/ 3455256 h 7785545"/>
              <a:gd name="connsiteX238" fmla="*/ 157057 w 6865640"/>
              <a:gd name="connsiteY238" fmla="*/ 3387946 h 7785545"/>
              <a:gd name="connsiteX239" fmla="*/ 134621 w 6865640"/>
              <a:gd name="connsiteY239" fmla="*/ 3320636 h 7785545"/>
              <a:gd name="connsiteX240" fmla="*/ 134621 w 6865640"/>
              <a:gd name="connsiteY240" fmla="*/ 3253326 h 7785545"/>
              <a:gd name="connsiteX241" fmla="*/ 134621 w 6865640"/>
              <a:gd name="connsiteY241" fmla="*/ 3174798 h 7785545"/>
              <a:gd name="connsiteX242" fmla="*/ 157057 w 6865640"/>
              <a:gd name="connsiteY242" fmla="*/ 3107487 h 7785545"/>
              <a:gd name="connsiteX243" fmla="*/ 190712 w 6865640"/>
              <a:gd name="connsiteY243" fmla="*/ 3040177 h 7785545"/>
              <a:gd name="connsiteX244" fmla="*/ 235586 w 6865640"/>
              <a:gd name="connsiteY244" fmla="*/ 2984085 h 7785545"/>
              <a:gd name="connsiteX245" fmla="*/ 280459 w 6865640"/>
              <a:gd name="connsiteY245" fmla="*/ 2939212 h 7785545"/>
              <a:gd name="connsiteX246" fmla="*/ 347770 w 6865640"/>
              <a:gd name="connsiteY246" fmla="*/ 2905557 h 7785545"/>
              <a:gd name="connsiteX247" fmla="*/ 403861 w 6865640"/>
              <a:gd name="connsiteY247" fmla="*/ 2883120 h 7785545"/>
              <a:gd name="connsiteX248" fmla="*/ 1245239 w 6865640"/>
              <a:gd name="connsiteY248" fmla="*/ 2468040 h 7785545"/>
              <a:gd name="connsiteX249" fmla="*/ 1301331 w 6865640"/>
              <a:gd name="connsiteY249" fmla="*/ 2479259 h 7785545"/>
              <a:gd name="connsiteX250" fmla="*/ 1346204 w 6865640"/>
              <a:gd name="connsiteY250" fmla="*/ 2501696 h 7785545"/>
              <a:gd name="connsiteX251" fmla="*/ 1379859 w 6865640"/>
              <a:gd name="connsiteY251" fmla="*/ 2546569 h 7785545"/>
              <a:gd name="connsiteX252" fmla="*/ 1391078 w 6865640"/>
              <a:gd name="connsiteY252" fmla="*/ 2591443 h 7785545"/>
              <a:gd name="connsiteX253" fmla="*/ 1379859 w 6865640"/>
              <a:gd name="connsiteY253" fmla="*/ 2647534 h 7785545"/>
              <a:gd name="connsiteX254" fmla="*/ 1346204 w 6865640"/>
              <a:gd name="connsiteY254" fmla="*/ 2692408 h 7785545"/>
              <a:gd name="connsiteX255" fmla="*/ 1301331 w 6865640"/>
              <a:gd name="connsiteY255" fmla="*/ 2714845 h 7785545"/>
              <a:gd name="connsiteX256" fmla="*/ 1245239 w 6865640"/>
              <a:gd name="connsiteY256" fmla="*/ 2726063 h 7785545"/>
              <a:gd name="connsiteX257" fmla="*/ 1177929 w 6865640"/>
              <a:gd name="connsiteY257" fmla="*/ 2714845 h 7785545"/>
              <a:gd name="connsiteX258" fmla="*/ 1133055 w 6865640"/>
              <a:gd name="connsiteY258" fmla="*/ 2692408 h 7785545"/>
              <a:gd name="connsiteX259" fmla="*/ 1099400 w 6865640"/>
              <a:gd name="connsiteY259" fmla="*/ 2647534 h 7785545"/>
              <a:gd name="connsiteX260" fmla="*/ 1088182 w 6865640"/>
              <a:gd name="connsiteY260" fmla="*/ 2591443 h 7785545"/>
              <a:gd name="connsiteX261" fmla="*/ 1099400 w 6865640"/>
              <a:gd name="connsiteY261" fmla="*/ 2546569 h 7785545"/>
              <a:gd name="connsiteX262" fmla="*/ 1133055 w 6865640"/>
              <a:gd name="connsiteY262" fmla="*/ 2501696 h 7785545"/>
              <a:gd name="connsiteX263" fmla="*/ 1177929 w 6865640"/>
              <a:gd name="connsiteY263" fmla="*/ 2479259 h 7785545"/>
              <a:gd name="connsiteX264" fmla="*/ 6394468 w 6865640"/>
              <a:gd name="connsiteY264" fmla="*/ 2232455 h 7785545"/>
              <a:gd name="connsiteX265" fmla="*/ 6450560 w 6865640"/>
              <a:gd name="connsiteY265" fmla="*/ 2232455 h 7785545"/>
              <a:gd name="connsiteX266" fmla="*/ 6506652 w 6865640"/>
              <a:gd name="connsiteY266" fmla="*/ 2232455 h 7785545"/>
              <a:gd name="connsiteX267" fmla="*/ 6585181 w 6865640"/>
              <a:gd name="connsiteY267" fmla="*/ 2243673 h 7785545"/>
              <a:gd name="connsiteX268" fmla="*/ 6663710 w 6865640"/>
              <a:gd name="connsiteY268" fmla="*/ 2277328 h 7785545"/>
              <a:gd name="connsiteX269" fmla="*/ 6697364 w 6865640"/>
              <a:gd name="connsiteY269" fmla="*/ 2310983 h 7785545"/>
              <a:gd name="connsiteX270" fmla="*/ 6742238 w 6865640"/>
              <a:gd name="connsiteY270" fmla="*/ 2344639 h 7785545"/>
              <a:gd name="connsiteX271" fmla="*/ 6775893 w 6865640"/>
              <a:gd name="connsiteY271" fmla="*/ 2400730 h 7785545"/>
              <a:gd name="connsiteX272" fmla="*/ 6809548 w 6865640"/>
              <a:gd name="connsiteY272" fmla="*/ 2456822 h 7785545"/>
              <a:gd name="connsiteX273" fmla="*/ 6831985 w 6865640"/>
              <a:gd name="connsiteY273" fmla="*/ 2490477 h 7785545"/>
              <a:gd name="connsiteX274" fmla="*/ 6854422 w 6865640"/>
              <a:gd name="connsiteY274" fmla="*/ 2546569 h 7785545"/>
              <a:gd name="connsiteX275" fmla="*/ 6865640 w 6865640"/>
              <a:gd name="connsiteY275" fmla="*/ 2613879 h 7785545"/>
              <a:gd name="connsiteX276" fmla="*/ 6865640 w 6865640"/>
              <a:gd name="connsiteY276" fmla="*/ 2714845 h 7785545"/>
              <a:gd name="connsiteX277" fmla="*/ 6854422 w 6865640"/>
              <a:gd name="connsiteY277" fmla="*/ 2827028 h 7785545"/>
              <a:gd name="connsiteX278" fmla="*/ 6820766 w 6865640"/>
              <a:gd name="connsiteY278" fmla="*/ 2972867 h 7785545"/>
              <a:gd name="connsiteX279" fmla="*/ 6753456 w 6865640"/>
              <a:gd name="connsiteY279" fmla="*/ 3129924 h 7785545"/>
              <a:gd name="connsiteX280" fmla="*/ 6708583 w 6865640"/>
              <a:gd name="connsiteY280" fmla="*/ 3230889 h 7785545"/>
              <a:gd name="connsiteX281" fmla="*/ 6652491 w 6865640"/>
              <a:gd name="connsiteY281" fmla="*/ 3320636 h 7785545"/>
              <a:gd name="connsiteX282" fmla="*/ 6585181 w 6865640"/>
              <a:gd name="connsiteY282" fmla="*/ 3387946 h 7785545"/>
              <a:gd name="connsiteX283" fmla="*/ 6529089 w 6865640"/>
              <a:gd name="connsiteY283" fmla="*/ 3444038 h 7785545"/>
              <a:gd name="connsiteX284" fmla="*/ 6461779 w 6865640"/>
              <a:gd name="connsiteY284" fmla="*/ 3488912 h 7785545"/>
              <a:gd name="connsiteX285" fmla="*/ 6394468 w 6865640"/>
              <a:gd name="connsiteY285" fmla="*/ 3511348 h 7785545"/>
              <a:gd name="connsiteX286" fmla="*/ 6338377 w 6865640"/>
              <a:gd name="connsiteY286" fmla="*/ 3522567 h 7785545"/>
              <a:gd name="connsiteX287" fmla="*/ 6282285 w 6865640"/>
              <a:gd name="connsiteY287" fmla="*/ 3500130 h 7785545"/>
              <a:gd name="connsiteX288" fmla="*/ 6237412 w 6865640"/>
              <a:gd name="connsiteY288" fmla="*/ 3455256 h 7785545"/>
              <a:gd name="connsiteX289" fmla="*/ 6203756 w 6865640"/>
              <a:gd name="connsiteY289" fmla="*/ 3399165 h 7785545"/>
              <a:gd name="connsiteX290" fmla="*/ 6181320 w 6865640"/>
              <a:gd name="connsiteY290" fmla="*/ 3331855 h 7785545"/>
              <a:gd name="connsiteX291" fmla="*/ 6170102 w 6865640"/>
              <a:gd name="connsiteY291" fmla="*/ 3242107 h 7785545"/>
              <a:gd name="connsiteX292" fmla="*/ 6170102 w 6865640"/>
              <a:gd name="connsiteY292" fmla="*/ 3152361 h 7785545"/>
              <a:gd name="connsiteX293" fmla="*/ 6181320 w 6865640"/>
              <a:gd name="connsiteY293" fmla="*/ 3051395 h 7785545"/>
              <a:gd name="connsiteX294" fmla="*/ 6203756 w 6865640"/>
              <a:gd name="connsiteY294" fmla="*/ 2950430 h 7785545"/>
              <a:gd name="connsiteX295" fmla="*/ 6248630 w 6865640"/>
              <a:gd name="connsiteY295" fmla="*/ 2838246 h 7785545"/>
              <a:gd name="connsiteX296" fmla="*/ 6259848 w 6865640"/>
              <a:gd name="connsiteY296" fmla="*/ 2815810 h 7785545"/>
              <a:gd name="connsiteX297" fmla="*/ 6271066 w 6865640"/>
              <a:gd name="connsiteY297" fmla="*/ 2748500 h 7785545"/>
              <a:gd name="connsiteX298" fmla="*/ 6271066 w 6865640"/>
              <a:gd name="connsiteY298" fmla="*/ 2658753 h 7785545"/>
              <a:gd name="connsiteX299" fmla="*/ 6271066 w 6865640"/>
              <a:gd name="connsiteY299" fmla="*/ 2613879 h 7785545"/>
              <a:gd name="connsiteX300" fmla="*/ 6248630 w 6865640"/>
              <a:gd name="connsiteY300" fmla="*/ 2569006 h 7785545"/>
              <a:gd name="connsiteX301" fmla="*/ 6226193 w 6865640"/>
              <a:gd name="connsiteY301" fmla="*/ 2535351 h 7785545"/>
              <a:gd name="connsiteX302" fmla="*/ 6214975 w 6865640"/>
              <a:gd name="connsiteY302" fmla="*/ 2501696 h 7785545"/>
              <a:gd name="connsiteX303" fmla="*/ 6203756 w 6865640"/>
              <a:gd name="connsiteY303" fmla="*/ 2456822 h 7785545"/>
              <a:gd name="connsiteX304" fmla="*/ 6203756 w 6865640"/>
              <a:gd name="connsiteY304" fmla="*/ 2411949 h 7785545"/>
              <a:gd name="connsiteX305" fmla="*/ 6226193 w 6865640"/>
              <a:gd name="connsiteY305" fmla="*/ 2355857 h 7785545"/>
              <a:gd name="connsiteX306" fmla="*/ 6271066 w 6865640"/>
              <a:gd name="connsiteY306" fmla="*/ 2299765 h 7785545"/>
              <a:gd name="connsiteX307" fmla="*/ 6349595 w 6865640"/>
              <a:gd name="connsiteY307" fmla="*/ 2254892 h 7785545"/>
              <a:gd name="connsiteX308" fmla="*/ 1783720 w 6865640"/>
              <a:gd name="connsiteY308" fmla="*/ 2097835 h 7785545"/>
              <a:gd name="connsiteX309" fmla="*/ 1839812 w 6865640"/>
              <a:gd name="connsiteY309" fmla="*/ 2109053 h 7785545"/>
              <a:gd name="connsiteX310" fmla="*/ 1895904 w 6865640"/>
              <a:gd name="connsiteY310" fmla="*/ 2120271 h 7785545"/>
              <a:gd name="connsiteX311" fmla="*/ 1940778 w 6865640"/>
              <a:gd name="connsiteY311" fmla="*/ 2142708 h 7785545"/>
              <a:gd name="connsiteX312" fmla="*/ 1985651 w 6865640"/>
              <a:gd name="connsiteY312" fmla="*/ 2165145 h 7785545"/>
              <a:gd name="connsiteX313" fmla="*/ 2019306 w 6865640"/>
              <a:gd name="connsiteY313" fmla="*/ 2198800 h 7785545"/>
              <a:gd name="connsiteX314" fmla="*/ 2052961 w 6865640"/>
              <a:gd name="connsiteY314" fmla="*/ 2232455 h 7785545"/>
              <a:gd name="connsiteX315" fmla="*/ 2064180 w 6865640"/>
              <a:gd name="connsiteY315" fmla="*/ 2266110 h 7785545"/>
              <a:gd name="connsiteX316" fmla="*/ 2075398 w 6865640"/>
              <a:gd name="connsiteY316" fmla="*/ 2310983 h 7785545"/>
              <a:gd name="connsiteX317" fmla="*/ 2064180 w 6865640"/>
              <a:gd name="connsiteY317" fmla="*/ 2355857 h 7785545"/>
              <a:gd name="connsiteX318" fmla="*/ 2052961 w 6865640"/>
              <a:gd name="connsiteY318" fmla="*/ 2400730 h 7785545"/>
              <a:gd name="connsiteX319" fmla="*/ 2019306 w 6865640"/>
              <a:gd name="connsiteY319" fmla="*/ 2434385 h 7785545"/>
              <a:gd name="connsiteX320" fmla="*/ 1985651 w 6865640"/>
              <a:gd name="connsiteY320" fmla="*/ 2468040 h 7785545"/>
              <a:gd name="connsiteX321" fmla="*/ 1940778 w 6865640"/>
              <a:gd name="connsiteY321" fmla="*/ 2490477 h 7785545"/>
              <a:gd name="connsiteX322" fmla="*/ 1895904 w 6865640"/>
              <a:gd name="connsiteY322" fmla="*/ 2512914 h 7785545"/>
              <a:gd name="connsiteX323" fmla="*/ 1839812 w 6865640"/>
              <a:gd name="connsiteY323" fmla="*/ 2524132 h 7785545"/>
              <a:gd name="connsiteX324" fmla="*/ 1783720 w 6865640"/>
              <a:gd name="connsiteY324" fmla="*/ 2524132 h 7785545"/>
              <a:gd name="connsiteX325" fmla="*/ 1727629 w 6865640"/>
              <a:gd name="connsiteY325" fmla="*/ 2524132 h 7785545"/>
              <a:gd name="connsiteX326" fmla="*/ 1671537 w 6865640"/>
              <a:gd name="connsiteY326" fmla="*/ 2512914 h 7785545"/>
              <a:gd name="connsiteX327" fmla="*/ 1615445 w 6865640"/>
              <a:gd name="connsiteY327" fmla="*/ 2490477 h 7785545"/>
              <a:gd name="connsiteX328" fmla="*/ 1570571 w 6865640"/>
              <a:gd name="connsiteY328" fmla="*/ 2468040 h 7785545"/>
              <a:gd name="connsiteX329" fmla="*/ 1536916 w 6865640"/>
              <a:gd name="connsiteY329" fmla="*/ 2434385 h 7785545"/>
              <a:gd name="connsiteX330" fmla="*/ 1514480 w 6865640"/>
              <a:gd name="connsiteY330" fmla="*/ 2400730 h 7785545"/>
              <a:gd name="connsiteX331" fmla="*/ 1492043 w 6865640"/>
              <a:gd name="connsiteY331" fmla="*/ 2355857 h 7785545"/>
              <a:gd name="connsiteX332" fmla="*/ 1492043 w 6865640"/>
              <a:gd name="connsiteY332" fmla="*/ 2310983 h 7785545"/>
              <a:gd name="connsiteX333" fmla="*/ 1492043 w 6865640"/>
              <a:gd name="connsiteY333" fmla="*/ 2266110 h 7785545"/>
              <a:gd name="connsiteX334" fmla="*/ 1514480 w 6865640"/>
              <a:gd name="connsiteY334" fmla="*/ 2232455 h 7785545"/>
              <a:gd name="connsiteX335" fmla="*/ 1536916 w 6865640"/>
              <a:gd name="connsiteY335" fmla="*/ 2198800 h 7785545"/>
              <a:gd name="connsiteX336" fmla="*/ 1570571 w 6865640"/>
              <a:gd name="connsiteY336" fmla="*/ 2165145 h 7785545"/>
              <a:gd name="connsiteX337" fmla="*/ 1615445 w 6865640"/>
              <a:gd name="connsiteY337" fmla="*/ 2142708 h 7785545"/>
              <a:gd name="connsiteX338" fmla="*/ 1671537 w 6865640"/>
              <a:gd name="connsiteY338" fmla="*/ 2120271 h 7785545"/>
              <a:gd name="connsiteX339" fmla="*/ 1727629 w 6865640"/>
              <a:gd name="connsiteY339" fmla="*/ 2109053 h 7785545"/>
              <a:gd name="connsiteX340" fmla="*/ 5586746 w 6865640"/>
              <a:gd name="connsiteY340" fmla="*/ 560918 h 7785545"/>
              <a:gd name="connsiteX341" fmla="*/ 5654056 w 6865640"/>
              <a:gd name="connsiteY341" fmla="*/ 560918 h 7785545"/>
              <a:gd name="connsiteX342" fmla="*/ 5710148 w 6865640"/>
              <a:gd name="connsiteY342" fmla="*/ 583355 h 7785545"/>
              <a:gd name="connsiteX343" fmla="*/ 5777458 w 6865640"/>
              <a:gd name="connsiteY343" fmla="*/ 628229 h 7785545"/>
              <a:gd name="connsiteX344" fmla="*/ 5844768 w 6865640"/>
              <a:gd name="connsiteY344" fmla="*/ 684320 h 7785545"/>
              <a:gd name="connsiteX345" fmla="*/ 5900860 w 6865640"/>
              <a:gd name="connsiteY345" fmla="*/ 762849 h 7785545"/>
              <a:gd name="connsiteX346" fmla="*/ 5956952 w 6865640"/>
              <a:gd name="connsiteY346" fmla="*/ 852596 h 7785545"/>
              <a:gd name="connsiteX347" fmla="*/ 6001826 w 6865640"/>
              <a:gd name="connsiteY347" fmla="*/ 953561 h 7785545"/>
              <a:gd name="connsiteX348" fmla="*/ 6035481 w 6865640"/>
              <a:gd name="connsiteY348" fmla="*/ 1054526 h 7785545"/>
              <a:gd name="connsiteX349" fmla="*/ 6057918 w 6865640"/>
              <a:gd name="connsiteY349" fmla="*/ 1166710 h 7785545"/>
              <a:gd name="connsiteX350" fmla="*/ 6069136 w 6865640"/>
              <a:gd name="connsiteY350" fmla="*/ 1267675 h 7785545"/>
              <a:gd name="connsiteX351" fmla="*/ 6069136 w 6865640"/>
              <a:gd name="connsiteY351" fmla="*/ 1368641 h 7785545"/>
              <a:gd name="connsiteX352" fmla="*/ 6057918 w 6865640"/>
              <a:gd name="connsiteY352" fmla="*/ 1447169 h 7785545"/>
              <a:gd name="connsiteX353" fmla="*/ 6035481 w 6865640"/>
              <a:gd name="connsiteY353" fmla="*/ 1514480 h 7785545"/>
              <a:gd name="connsiteX354" fmla="*/ 6001826 w 6865640"/>
              <a:gd name="connsiteY354" fmla="*/ 1570571 h 7785545"/>
              <a:gd name="connsiteX355" fmla="*/ 5956952 w 6865640"/>
              <a:gd name="connsiteY355" fmla="*/ 1615445 h 7785545"/>
              <a:gd name="connsiteX356" fmla="*/ 5900860 w 6865640"/>
              <a:gd name="connsiteY356" fmla="*/ 1626663 h 7785545"/>
              <a:gd name="connsiteX357" fmla="*/ 5833550 w 6865640"/>
              <a:gd name="connsiteY357" fmla="*/ 1626663 h 7785545"/>
              <a:gd name="connsiteX358" fmla="*/ 5766240 w 6865640"/>
              <a:gd name="connsiteY358" fmla="*/ 1604226 h 7785545"/>
              <a:gd name="connsiteX359" fmla="*/ 5710148 w 6865640"/>
              <a:gd name="connsiteY359" fmla="*/ 1559353 h 7785545"/>
              <a:gd name="connsiteX360" fmla="*/ 5642838 w 6865640"/>
              <a:gd name="connsiteY360" fmla="*/ 1492043 h 7785545"/>
              <a:gd name="connsiteX361" fmla="*/ 5586746 w 6865640"/>
              <a:gd name="connsiteY361" fmla="*/ 1424733 h 7785545"/>
              <a:gd name="connsiteX362" fmla="*/ 5530654 w 6865640"/>
              <a:gd name="connsiteY362" fmla="*/ 1334986 h 7785545"/>
              <a:gd name="connsiteX363" fmla="*/ 5485781 w 6865640"/>
              <a:gd name="connsiteY363" fmla="*/ 1234020 h 7785545"/>
              <a:gd name="connsiteX364" fmla="*/ 5452126 w 6865640"/>
              <a:gd name="connsiteY364" fmla="*/ 1133055 h 7785545"/>
              <a:gd name="connsiteX365" fmla="*/ 5418471 w 6865640"/>
              <a:gd name="connsiteY365" fmla="*/ 1020871 h 7785545"/>
              <a:gd name="connsiteX366" fmla="*/ 5407252 w 6865640"/>
              <a:gd name="connsiteY366" fmla="*/ 919906 h 7785545"/>
              <a:gd name="connsiteX367" fmla="*/ 5407252 w 6865640"/>
              <a:gd name="connsiteY367" fmla="*/ 818941 h 7785545"/>
              <a:gd name="connsiteX368" fmla="*/ 5429689 w 6865640"/>
              <a:gd name="connsiteY368" fmla="*/ 740412 h 7785545"/>
              <a:gd name="connsiteX369" fmla="*/ 5452126 w 6865640"/>
              <a:gd name="connsiteY369" fmla="*/ 673102 h 7785545"/>
              <a:gd name="connsiteX370" fmla="*/ 5485781 w 6865640"/>
              <a:gd name="connsiteY370" fmla="*/ 617010 h 7785545"/>
              <a:gd name="connsiteX371" fmla="*/ 5530654 w 6865640"/>
              <a:gd name="connsiteY371" fmla="*/ 572137 h 7785545"/>
              <a:gd name="connsiteX372" fmla="*/ 4285416 w 6865640"/>
              <a:gd name="connsiteY372" fmla="*/ 347770 h 7785545"/>
              <a:gd name="connsiteX373" fmla="*/ 4386381 w 6865640"/>
              <a:gd name="connsiteY373" fmla="*/ 347770 h 7785545"/>
              <a:gd name="connsiteX374" fmla="*/ 4487346 w 6865640"/>
              <a:gd name="connsiteY374" fmla="*/ 358988 h 7785545"/>
              <a:gd name="connsiteX375" fmla="*/ 4565875 w 6865640"/>
              <a:gd name="connsiteY375" fmla="*/ 392643 h 7785545"/>
              <a:gd name="connsiteX376" fmla="*/ 4644404 w 6865640"/>
              <a:gd name="connsiteY376" fmla="*/ 426298 h 7785545"/>
              <a:gd name="connsiteX377" fmla="*/ 4711714 w 6865640"/>
              <a:gd name="connsiteY377" fmla="*/ 459953 h 7785545"/>
              <a:gd name="connsiteX378" fmla="*/ 4801460 w 6865640"/>
              <a:gd name="connsiteY378" fmla="*/ 527263 h 7785545"/>
              <a:gd name="connsiteX379" fmla="*/ 4835116 w 6865640"/>
              <a:gd name="connsiteY379" fmla="*/ 560918 h 7785545"/>
              <a:gd name="connsiteX380" fmla="*/ 4924862 w 6865640"/>
              <a:gd name="connsiteY380" fmla="*/ 639447 h 7785545"/>
              <a:gd name="connsiteX381" fmla="*/ 5014610 w 6865640"/>
              <a:gd name="connsiteY381" fmla="*/ 729194 h 7785545"/>
              <a:gd name="connsiteX382" fmla="*/ 5070702 w 6865640"/>
              <a:gd name="connsiteY382" fmla="*/ 830159 h 7785545"/>
              <a:gd name="connsiteX383" fmla="*/ 5126794 w 6865640"/>
              <a:gd name="connsiteY383" fmla="*/ 919906 h 7785545"/>
              <a:gd name="connsiteX384" fmla="*/ 5160448 w 6865640"/>
              <a:gd name="connsiteY384" fmla="*/ 1009653 h 7785545"/>
              <a:gd name="connsiteX385" fmla="*/ 5194104 w 6865640"/>
              <a:gd name="connsiteY385" fmla="*/ 1099400 h 7785545"/>
              <a:gd name="connsiteX386" fmla="*/ 5216540 w 6865640"/>
              <a:gd name="connsiteY386" fmla="*/ 1177929 h 7785545"/>
              <a:gd name="connsiteX387" fmla="*/ 5216540 w 6865640"/>
              <a:gd name="connsiteY387" fmla="*/ 1267675 h 7785545"/>
              <a:gd name="connsiteX388" fmla="*/ 5227758 w 6865640"/>
              <a:gd name="connsiteY388" fmla="*/ 1413514 h 7785545"/>
              <a:gd name="connsiteX389" fmla="*/ 5205322 w 6865640"/>
              <a:gd name="connsiteY389" fmla="*/ 1525698 h 7785545"/>
              <a:gd name="connsiteX390" fmla="*/ 5182885 w 6865640"/>
              <a:gd name="connsiteY390" fmla="*/ 1626663 h 7785545"/>
              <a:gd name="connsiteX391" fmla="*/ 5149230 w 6865640"/>
              <a:gd name="connsiteY391" fmla="*/ 1772502 h 7785545"/>
              <a:gd name="connsiteX392" fmla="*/ 5138012 w 6865640"/>
              <a:gd name="connsiteY392" fmla="*/ 1884686 h 7785545"/>
              <a:gd name="connsiteX393" fmla="*/ 5138012 w 6865640"/>
              <a:gd name="connsiteY393" fmla="*/ 1985651 h 7785545"/>
              <a:gd name="connsiteX394" fmla="*/ 5149230 w 6865640"/>
              <a:gd name="connsiteY394" fmla="*/ 2052961 h 7785545"/>
              <a:gd name="connsiteX395" fmla="*/ 5182885 w 6865640"/>
              <a:gd name="connsiteY395" fmla="*/ 2109053 h 7785545"/>
              <a:gd name="connsiteX396" fmla="*/ 5205322 w 6865640"/>
              <a:gd name="connsiteY396" fmla="*/ 2153926 h 7785545"/>
              <a:gd name="connsiteX397" fmla="*/ 5238977 w 6865640"/>
              <a:gd name="connsiteY397" fmla="*/ 2198800 h 7785545"/>
              <a:gd name="connsiteX398" fmla="*/ 5283850 w 6865640"/>
              <a:gd name="connsiteY398" fmla="*/ 2232455 h 7785545"/>
              <a:gd name="connsiteX399" fmla="*/ 5328724 w 6865640"/>
              <a:gd name="connsiteY399" fmla="*/ 2254892 h 7785545"/>
              <a:gd name="connsiteX400" fmla="*/ 5407252 w 6865640"/>
              <a:gd name="connsiteY400" fmla="*/ 2288547 h 7785545"/>
              <a:gd name="connsiteX401" fmla="*/ 5485781 w 6865640"/>
              <a:gd name="connsiteY401" fmla="*/ 2299765 h 7785545"/>
              <a:gd name="connsiteX402" fmla="*/ 5553091 w 6865640"/>
              <a:gd name="connsiteY402" fmla="*/ 2299765 h 7785545"/>
              <a:gd name="connsiteX403" fmla="*/ 5620402 w 6865640"/>
              <a:gd name="connsiteY403" fmla="*/ 2299765 h 7785545"/>
              <a:gd name="connsiteX404" fmla="*/ 5732585 w 6865640"/>
              <a:gd name="connsiteY404" fmla="*/ 2299765 h 7785545"/>
              <a:gd name="connsiteX405" fmla="*/ 5822332 w 6865640"/>
              <a:gd name="connsiteY405" fmla="*/ 2310983 h 7785545"/>
              <a:gd name="connsiteX406" fmla="*/ 5900860 w 6865640"/>
              <a:gd name="connsiteY406" fmla="*/ 2333420 h 7785545"/>
              <a:gd name="connsiteX407" fmla="*/ 5956952 w 6865640"/>
              <a:gd name="connsiteY407" fmla="*/ 2355857 h 7785545"/>
              <a:gd name="connsiteX408" fmla="*/ 5990608 w 6865640"/>
              <a:gd name="connsiteY408" fmla="*/ 2389512 h 7785545"/>
              <a:gd name="connsiteX409" fmla="*/ 6013044 w 6865640"/>
              <a:gd name="connsiteY409" fmla="*/ 2411949 h 7785545"/>
              <a:gd name="connsiteX410" fmla="*/ 6035481 w 6865640"/>
              <a:gd name="connsiteY410" fmla="*/ 2434385 h 7785545"/>
              <a:gd name="connsiteX411" fmla="*/ 6057918 w 6865640"/>
              <a:gd name="connsiteY411" fmla="*/ 2468040 h 7785545"/>
              <a:gd name="connsiteX412" fmla="*/ 6069136 w 6865640"/>
              <a:gd name="connsiteY412" fmla="*/ 2501696 h 7785545"/>
              <a:gd name="connsiteX413" fmla="*/ 6091572 w 6865640"/>
              <a:gd name="connsiteY413" fmla="*/ 2569006 h 7785545"/>
              <a:gd name="connsiteX414" fmla="*/ 6091572 w 6865640"/>
              <a:gd name="connsiteY414" fmla="*/ 2647534 h 7785545"/>
              <a:gd name="connsiteX415" fmla="*/ 6069136 w 6865640"/>
              <a:gd name="connsiteY415" fmla="*/ 2714845 h 7785545"/>
              <a:gd name="connsiteX416" fmla="*/ 6024262 w 6865640"/>
              <a:gd name="connsiteY416" fmla="*/ 2827028 h 7785545"/>
              <a:gd name="connsiteX417" fmla="*/ 6001826 w 6865640"/>
              <a:gd name="connsiteY417" fmla="*/ 2860683 h 7785545"/>
              <a:gd name="connsiteX418" fmla="*/ 5923298 w 6865640"/>
              <a:gd name="connsiteY418" fmla="*/ 2984085 h 7785545"/>
              <a:gd name="connsiteX419" fmla="*/ 5867206 w 6865640"/>
              <a:gd name="connsiteY419" fmla="*/ 3085050 h 7785545"/>
              <a:gd name="connsiteX420" fmla="*/ 5833550 w 6865640"/>
              <a:gd name="connsiteY420" fmla="*/ 3174798 h 7785545"/>
              <a:gd name="connsiteX421" fmla="*/ 5811114 w 6865640"/>
              <a:gd name="connsiteY421" fmla="*/ 3242107 h 7785545"/>
              <a:gd name="connsiteX422" fmla="*/ 5799895 w 6865640"/>
              <a:gd name="connsiteY422" fmla="*/ 3309418 h 7785545"/>
              <a:gd name="connsiteX423" fmla="*/ 5799895 w 6865640"/>
              <a:gd name="connsiteY423" fmla="*/ 3354291 h 7785545"/>
              <a:gd name="connsiteX424" fmla="*/ 5799895 w 6865640"/>
              <a:gd name="connsiteY424" fmla="*/ 3387946 h 7785545"/>
              <a:gd name="connsiteX425" fmla="*/ 5811114 w 6865640"/>
              <a:gd name="connsiteY425" fmla="*/ 3444038 h 7785545"/>
              <a:gd name="connsiteX426" fmla="*/ 5822332 w 6865640"/>
              <a:gd name="connsiteY426" fmla="*/ 3500130 h 7785545"/>
              <a:gd name="connsiteX427" fmla="*/ 5844768 w 6865640"/>
              <a:gd name="connsiteY427" fmla="*/ 3545004 h 7785545"/>
              <a:gd name="connsiteX428" fmla="*/ 5878424 w 6865640"/>
              <a:gd name="connsiteY428" fmla="*/ 3578658 h 7785545"/>
              <a:gd name="connsiteX429" fmla="*/ 5912079 w 6865640"/>
              <a:gd name="connsiteY429" fmla="*/ 3612314 h 7785545"/>
              <a:gd name="connsiteX430" fmla="*/ 5945734 w 6865640"/>
              <a:gd name="connsiteY430" fmla="*/ 3645969 h 7785545"/>
              <a:gd name="connsiteX431" fmla="*/ 6024262 w 6865640"/>
              <a:gd name="connsiteY431" fmla="*/ 3679624 h 7785545"/>
              <a:gd name="connsiteX432" fmla="*/ 6091572 w 6865640"/>
              <a:gd name="connsiteY432" fmla="*/ 3702061 h 7785545"/>
              <a:gd name="connsiteX433" fmla="*/ 6158883 w 6865640"/>
              <a:gd name="connsiteY433" fmla="*/ 3702061 h 7785545"/>
              <a:gd name="connsiteX434" fmla="*/ 6226193 w 6865640"/>
              <a:gd name="connsiteY434" fmla="*/ 3702061 h 7785545"/>
              <a:gd name="connsiteX435" fmla="*/ 6360814 w 6865640"/>
              <a:gd name="connsiteY435" fmla="*/ 3713279 h 7785545"/>
              <a:gd name="connsiteX436" fmla="*/ 6484216 w 6865640"/>
              <a:gd name="connsiteY436" fmla="*/ 3735716 h 7785545"/>
              <a:gd name="connsiteX437" fmla="*/ 6573962 w 6865640"/>
              <a:gd name="connsiteY437" fmla="*/ 3769371 h 7785545"/>
              <a:gd name="connsiteX438" fmla="*/ 6652491 w 6865640"/>
              <a:gd name="connsiteY438" fmla="*/ 3803026 h 7785545"/>
              <a:gd name="connsiteX439" fmla="*/ 6708583 w 6865640"/>
              <a:gd name="connsiteY439" fmla="*/ 3847899 h 7785545"/>
              <a:gd name="connsiteX440" fmla="*/ 6753456 w 6865640"/>
              <a:gd name="connsiteY440" fmla="*/ 3881554 h 7785545"/>
              <a:gd name="connsiteX441" fmla="*/ 6787112 w 6865640"/>
              <a:gd name="connsiteY441" fmla="*/ 3926428 h 7785545"/>
              <a:gd name="connsiteX442" fmla="*/ 6809548 w 6865640"/>
              <a:gd name="connsiteY442" fmla="*/ 3960083 h 7785545"/>
              <a:gd name="connsiteX443" fmla="*/ 6831985 w 6865640"/>
              <a:gd name="connsiteY443" fmla="*/ 4004956 h 7785545"/>
              <a:gd name="connsiteX444" fmla="*/ 6843204 w 6865640"/>
              <a:gd name="connsiteY444" fmla="*/ 4038611 h 7785545"/>
              <a:gd name="connsiteX445" fmla="*/ 6843204 w 6865640"/>
              <a:gd name="connsiteY445" fmla="*/ 4072266 h 7785545"/>
              <a:gd name="connsiteX446" fmla="*/ 6831985 w 6865640"/>
              <a:gd name="connsiteY446" fmla="*/ 4105922 h 7785545"/>
              <a:gd name="connsiteX447" fmla="*/ 6809548 w 6865640"/>
              <a:gd name="connsiteY447" fmla="*/ 4139577 h 7785545"/>
              <a:gd name="connsiteX448" fmla="*/ 6764674 w 6865640"/>
              <a:gd name="connsiteY448" fmla="*/ 4195669 h 7785545"/>
              <a:gd name="connsiteX449" fmla="*/ 6708583 w 6865640"/>
              <a:gd name="connsiteY449" fmla="*/ 4240542 h 7785545"/>
              <a:gd name="connsiteX450" fmla="*/ 6652491 w 6865640"/>
              <a:gd name="connsiteY450" fmla="*/ 4274197 h 7785545"/>
              <a:gd name="connsiteX451" fmla="*/ 6596399 w 6865640"/>
              <a:gd name="connsiteY451" fmla="*/ 4296634 h 7785545"/>
              <a:gd name="connsiteX452" fmla="*/ 6529089 w 6865640"/>
              <a:gd name="connsiteY452" fmla="*/ 4319071 h 7785545"/>
              <a:gd name="connsiteX453" fmla="*/ 6484216 w 6865640"/>
              <a:gd name="connsiteY453" fmla="*/ 4341507 h 7785545"/>
              <a:gd name="connsiteX454" fmla="*/ 6394468 w 6865640"/>
              <a:gd name="connsiteY454" fmla="*/ 4408818 h 7785545"/>
              <a:gd name="connsiteX455" fmla="*/ 6338377 w 6865640"/>
              <a:gd name="connsiteY455" fmla="*/ 4476128 h 7785545"/>
              <a:gd name="connsiteX456" fmla="*/ 6293504 w 6865640"/>
              <a:gd name="connsiteY456" fmla="*/ 4554656 h 7785545"/>
              <a:gd name="connsiteX457" fmla="*/ 6259848 w 6865640"/>
              <a:gd name="connsiteY457" fmla="*/ 4621966 h 7785545"/>
              <a:gd name="connsiteX458" fmla="*/ 6248630 w 6865640"/>
              <a:gd name="connsiteY458" fmla="*/ 4678058 h 7785545"/>
              <a:gd name="connsiteX459" fmla="*/ 6248630 w 6865640"/>
              <a:gd name="connsiteY459" fmla="*/ 4722932 h 7785545"/>
              <a:gd name="connsiteX460" fmla="*/ 6237412 w 6865640"/>
              <a:gd name="connsiteY460" fmla="*/ 4812679 h 7785545"/>
              <a:gd name="connsiteX461" fmla="*/ 6214975 w 6865640"/>
              <a:gd name="connsiteY461" fmla="*/ 4879989 h 7785545"/>
              <a:gd name="connsiteX462" fmla="*/ 6192538 w 6865640"/>
              <a:gd name="connsiteY462" fmla="*/ 4947299 h 7785545"/>
              <a:gd name="connsiteX463" fmla="*/ 6158883 w 6865640"/>
              <a:gd name="connsiteY463" fmla="*/ 5003391 h 7785545"/>
              <a:gd name="connsiteX464" fmla="*/ 6091572 w 6865640"/>
              <a:gd name="connsiteY464" fmla="*/ 5093138 h 7785545"/>
              <a:gd name="connsiteX465" fmla="*/ 6024262 w 6865640"/>
              <a:gd name="connsiteY465" fmla="*/ 5171666 h 7785545"/>
              <a:gd name="connsiteX466" fmla="*/ 5945734 w 6865640"/>
              <a:gd name="connsiteY466" fmla="*/ 5216540 h 7785545"/>
              <a:gd name="connsiteX467" fmla="*/ 5878424 w 6865640"/>
              <a:gd name="connsiteY467" fmla="*/ 5250195 h 7785545"/>
              <a:gd name="connsiteX468" fmla="*/ 5822332 w 6865640"/>
              <a:gd name="connsiteY468" fmla="*/ 5261413 h 7785545"/>
              <a:gd name="connsiteX469" fmla="*/ 5743804 w 6865640"/>
              <a:gd name="connsiteY469" fmla="*/ 5295068 h 7785545"/>
              <a:gd name="connsiteX470" fmla="*/ 5676493 w 6865640"/>
              <a:gd name="connsiteY470" fmla="*/ 5317505 h 7785545"/>
              <a:gd name="connsiteX471" fmla="*/ 5631620 w 6865640"/>
              <a:gd name="connsiteY471" fmla="*/ 5351160 h 7785545"/>
              <a:gd name="connsiteX472" fmla="*/ 5586746 w 6865640"/>
              <a:gd name="connsiteY472" fmla="*/ 5384815 h 7785545"/>
              <a:gd name="connsiteX473" fmla="*/ 5553091 w 6865640"/>
              <a:gd name="connsiteY473" fmla="*/ 5418470 h 7785545"/>
              <a:gd name="connsiteX474" fmla="*/ 5530654 w 6865640"/>
              <a:gd name="connsiteY474" fmla="*/ 5452125 h 7785545"/>
              <a:gd name="connsiteX475" fmla="*/ 5497000 w 6865640"/>
              <a:gd name="connsiteY475" fmla="*/ 5530654 h 7785545"/>
              <a:gd name="connsiteX476" fmla="*/ 5497000 w 6865640"/>
              <a:gd name="connsiteY476" fmla="*/ 5586746 h 7785545"/>
              <a:gd name="connsiteX477" fmla="*/ 5497000 w 6865640"/>
              <a:gd name="connsiteY477" fmla="*/ 5642838 h 7785545"/>
              <a:gd name="connsiteX478" fmla="*/ 5519436 w 6865640"/>
              <a:gd name="connsiteY478" fmla="*/ 5698929 h 7785545"/>
              <a:gd name="connsiteX479" fmla="*/ 5541873 w 6865640"/>
              <a:gd name="connsiteY479" fmla="*/ 5755021 h 7785545"/>
              <a:gd name="connsiteX480" fmla="*/ 5553091 w 6865640"/>
              <a:gd name="connsiteY480" fmla="*/ 5811113 h 7785545"/>
              <a:gd name="connsiteX481" fmla="*/ 5553091 w 6865640"/>
              <a:gd name="connsiteY481" fmla="*/ 5867205 h 7785545"/>
              <a:gd name="connsiteX482" fmla="*/ 5530654 w 6865640"/>
              <a:gd name="connsiteY482" fmla="*/ 5912078 h 7785545"/>
              <a:gd name="connsiteX483" fmla="*/ 5497000 w 6865640"/>
              <a:gd name="connsiteY483" fmla="*/ 5979389 h 7785545"/>
              <a:gd name="connsiteX484" fmla="*/ 5474562 w 6865640"/>
              <a:gd name="connsiteY484" fmla="*/ 6013044 h 7785545"/>
              <a:gd name="connsiteX485" fmla="*/ 5384816 w 6865640"/>
              <a:gd name="connsiteY485" fmla="*/ 6069135 h 7785545"/>
              <a:gd name="connsiteX486" fmla="*/ 5283850 w 6865640"/>
              <a:gd name="connsiteY486" fmla="*/ 6091572 h 7785545"/>
              <a:gd name="connsiteX487" fmla="*/ 5205322 w 6865640"/>
              <a:gd name="connsiteY487" fmla="*/ 6102791 h 7785545"/>
              <a:gd name="connsiteX488" fmla="*/ 5126794 w 6865640"/>
              <a:gd name="connsiteY488" fmla="*/ 6102791 h 7785545"/>
              <a:gd name="connsiteX489" fmla="*/ 5070702 w 6865640"/>
              <a:gd name="connsiteY489" fmla="*/ 6091572 h 7785545"/>
              <a:gd name="connsiteX490" fmla="*/ 5025828 w 6865640"/>
              <a:gd name="connsiteY490" fmla="*/ 6080354 h 7785545"/>
              <a:gd name="connsiteX491" fmla="*/ 4980954 w 6865640"/>
              <a:gd name="connsiteY491" fmla="*/ 6057917 h 7785545"/>
              <a:gd name="connsiteX492" fmla="*/ 4857552 w 6865640"/>
              <a:gd name="connsiteY492" fmla="*/ 6001825 h 7785545"/>
              <a:gd name="connsiteX493" fmla="*/ 4734150 w 6865640"/>
              <a:gd name="connsiteY493" fmla="*/ 5968170 h 7785545"/>
              <a:gd name="connsiteX494" fmla="*/ 4633185 w 6865640"/>
              <a:gd name="connsiteY494" fmla="*/ 5934515 h 7785545"/>
              <a:gd name="connsiteX495" fmla="*/ 4532220 w 6865640"/>
              <a:gd name="connsiteY495" fmla="*/ 5923297 h 7785545"/>
              <a:gd name="connsiteX496" fmla="*/ 4431254 w 6865640"/>
              <a:gd name="connsiteY496" fmla="*/ 5923297 h 7785545"/>
              <a:gd name="connsiteX497" fmla="*/ 4341508 w 6865640"/>
              <a:gd name="connsiteY497" fmla="*/ 5934515 h 7785545"/>
              <a:gd name="connsiteX498" fmla="*/ 4262979 w 6865640"/>
              <a:gd name="connsiteY498" fmla="*/ 5945733 h 7785545"/>
              <a:gd name="connsiteX499" fmla="*/ 4195669 w 6865640"/>
              <a:gd name="connsiteY499" fmla="*/ 5968170 h 7785545"/>
              <a:gd name="connsiteX500" fmla="*/ 4083485 w 6865640"/>
              <a:gd name="connsiteY500" fmla="*/ 6024262 h 7785545"/>
              <a:gd name="connsiteX501" fmla="*/ 3993738 w 6865640"/>
              <a:gd name="connsiteY501" fmla="*/ 6080354 h 7785545"/>
              <a:gd name="connsiteX502" fmla="*/ 3926428 w 6865640"/>
              <a:gd name="connsiteY502" fmla="*/ 6136446 h 7785545"/>
              <a:gd name="connsiteX503" fmla="*/ 3814244 w 6865640"/>
              <a:gd name="connsiteY503" fmla="*/ 6248629 h 7785545"/>
              <a:gd name="connsiteX504" fmla="*/ 3702061 w 6865640"/>
              <a:gd name="connsiteY504" fmla="*/ 6327158 h 7785545"/>
              <a:gd name="connsiteX505" fmla="*/ 3601096 w 6865640"/>
              <a:gd name="connsiteY505" fmla="*/ 6383250 h 7785545"/>
              <a:gd name="connsiteX506" fmla="*/ 3511348 w 6865640"/>
              <a:gd name="connsiteY506" fmla="*/ 6416905 h 7785545"/>
              <a:gd name="connsiteX507" fmla="*/ 3432820 w 6865640"/>
              <a:gd name="connsiteY507" fmla="*/ 6428123 h 7785545"/>
              <a:gd name="connsiteX508" fmla="*/ 3365510 w 6865640"/>
              <a:gd name="connsiteY508" fmla="*/ 6428123 h 7785545"/>
              <a:gd name="connsiteX509" fmla="*/ 3320636 w 6865640"/>
              <a:gd name="connsiteY509" fmla="*/ 6428123 h 7785545"/>
              <a:gd name="connsiteX510" fmla="*/ 3208453 w 6865640"/>
              <a:gd name="connsiteY510" fmla="*/ 6405686 h 7785545"/>
              <a:gd name="connsiteX511" fmla="*/ 3118706 w 6865640"/>
              <a:gd name="connsiteY511" fmla="*/ 6372031 h 7785545"/>
              <a:gd name="connsiteX512" fmla="*/ 3051396 w 6865640"/>
              <a:gd name="connsiteY512" fmla="*/ 6315939 h 7785545"/>
              <a:gd name="connsiteX513" fmla="*/ 3006522 w 6865640"/>
              <a:gd name="connsiteY513" fmla="*/ 6271066 h 7785545"/>
              <a:gd name="connsiteX514" fmla="*/ 2972867 w 6865640"/>
              <a:gd name="connsiteY514" fmla="*/ 6214974 h 7785545"/>
              <a:gd name="connsiteX515" fmla="*/ 2950430 w 6865640"/>
              <a:gd name="connsiteY515" fmla="*/ 6170101 h 7785545"/>
              <a:gd name="connsiteX516" fmla="*/ 2939212 w 6865640"/>
              <a:gd name="connsiteY516" fmla="*/ 6136446 h 7785545"/>
              <a:gd name="connsiteX517" fmla="*/ 2916775 w 6865640"/>
              <a:gd name="connsiteY517" fmla="*/ 6035480 h 7785545"/>
              <a:gd name="connsiteX518" fmla="*/ 2871902 w 6865640"/>
              <a:gd name="connsiteY518" fmla="*/ 5956952 h 7785545"/>
              <a:gd name="connsiteX519" fmla="*/ 2827028 w 6865640"/>
              <a:gd name="connsiteY519" fmla="*/ 5900860 h 7785545"/>
              <a:gd name="connsiteX520" fmla="*/ 2770936 w 6865640"/>
              <a:gd name="connsiteY520" fmla="*/ 5867205 h 7785545"/>
              <a:gd name="connsiteX521" fmla="*/ 2714844 w 6865640"/>
              <a:gd name="connsiteY521" fmla="*/ 5844768 h 7785545"/>
              <a:gd name="connsiteX522" fmla="*/ 2669971 w 6865640"/>
              <a:gd name="connsiteY522" fmla="*/ 5833550 h 7785545"/>
              <a:gd name="connsiteX523" fmla="*/ 2625098 w 6865640"/>
              <a:gd name="connsiteY523" fmla="*/ 5833550 h 7785545"/>
              <a:gd name="connsiteX524" fmla="*/ 2535351 w 6865640"/>
              <a:gd name="connsiteY524" fmla="*/ 5833550 h 7785545"/>
              <a:gd name="connsiteX525" fmla="*/ 2468040 w 6865640"/>
              <a:gd name="connsiteY525" fmla="*/ 5811113 h 7785545"/>
              <a:gd name="connsiteX526" fmla="*/ 2400730 w 6865640"/>
              <a:gd name="connsiteY526" fmla="*/ 5777458 h 7785545"/>
              <a:gd name="connsiteX527" fmla="*/ 2344638 w 6865640"/>
              <a:gd name="connsiteY527" fmla="*/ 5743803 h 7785545"/>
              <a:gd name="connsiteX528" fmla="*/ 2310984 w 6865640"/>
              <a:gd name="connsiteY528" fmla="*/ 5698929 h 7785545"/>
              <a:gd name="connsiteX529" fmla="*/ 2277328 w 6865640"/>
              <a:gd name="connsiteY529" fmla="*/ 5665274 h 7785545"/>
              <a:gd name="connsiteX530" fmla="*/ 2254892 w 6865640"/>
              <a:gd name="connsiteY530" fmla="*/ 5631619 h 7785545"/>
              <a:gd name="connsiteX531" fmla="*/ 2221236 w 6865640"/>
              <a:gd name="connsiteY531" fmla="*/ 5575527 h 7785545"/>
              <a:gd name="connsiteX532" fmla="*/ 2176363 w 6865640"/>
              <a:gd name="connsiteY532" fmla="*/ 5541872 h 7785545"/>
              <a:gd name="connsiteX533" fmla="*/ 2120271 w 6865640"/>
              <a:gd name="connsiteY533" fmla="*/ 5508217 h 7785545"/>
              <a:gd name="connsiteX534" fmla="*/ 2075398 w 6865640"/>
              <a:gd name="connsiteY534" fmla="*/ 5485781 h 7785545"/>
              <a:gd name="connsiteX535" fmla="*/ 2019306 w 6865640"/>
              <a:gd name="connsiteY535" fmla="*/ 5474562 h 7785545"/>
              <a:gd name="connsiteX536" fmla="*/ 1963214 w 6865640"/>
              <a:gd name="connsiteY536" fmla="*/ 5463344 h 7785545"/>
              <a:gd name="connsiteX537" fmla="*/ 1851031 w 6865640"/>
              <a:gd name="connsiteY537" fmla="*/ 5463344 h 7785545"/>
              <a:gd name="connsiteX538" fmla="*/ 1750065 w 6865640"/>
              <a:gd name="connsiteY538" fmla="*/ 5485781 h 7785545"/>
              <a:gd name="connsiteX539" fmla="*/ 1660318 w 6865640"/>
              <a:gd name="connsiteY539" fmla="*/ 5508217 h 7785545"/>
              <a:gd name="connsiteX540" fmla="*/ 1581790 w 6865640"/>
              <a:gd name="connsiteY540" fmla="*/ 5541872 h 7785545"/>
              <a:gd name="connsiteX541" fmla="*/ 1435951 w 6865640"/>
              <a:gd name="connsiteY541" fmla="*/ 5586746 h 7785545"/>
              <a:gd name="connsiteX542" fmla="*/ 1301331 w 6865640"/>
              <a:gd name="connsiteY542" fmla="*/ 5609183 h 7785545"/>
              <a:gd name="connsiteX543" fmla="*/ 1177929 w 6865640"/>
              <a:gd name="connsiteY543" fmla="*/ 5620401 h 7785545"/>
              <a:gd name="connsiteX544" fmla="*/ 1076963 w 6865640"/>
              <a:gd name="connsiteY544" fmla="*/ 5631619 h 7785545"/>
              <a:gd name="connsiteX545" fmla="*/ 987216 w 6865640"/>
              <a:gd name="connsiteY545" fmla="*/ 5631619 h 7785545"/>
              <a:gd name="connsiteX546" fmla="*/ 897469 w 6865640"/>
              <a:gd name="connsiteY546" fmla="*/ 5620401 h 7785545"/>
              <a:gd name="connsiteX547" fmla="*/ 830159 w 6865640"/>
              <a:gd name="connsiteY547" fmla="*/ 5597964 h 7785545"/>
              <a:gd name="connsiteX548" fmla="*/ 774067 w 6865640"/>
              <a:gd name="connsiteY548" fmla="*/ 5586746 h 7785545"/>
              <a:gd name="connsiteX549" fmla="*/ 684321 w 6865640"/>
              <a:gd name="connsiteY549" fmla="*/ 5530654 h 7785545"/>
              <a:gd name="connsiteX550" fmla="*/ 639447 w 6865640"/>
              <a:gd name="connsiteY550" fmla="*/ 5485781 h 7785545"/>
              <a:gd name="connsiteX551" fmla="*/ 605792 w 6865640"/>
              <a:gd name="connsiteY551" fmla="*/ 5452125 h 7785545"/>
              <a:gd name="connsiteX552" fmla="*/ 594574 w 6865640"/>
              <a:gd name="connsiteY552" fmla="*/ 5429689 h 7785545"/>
              <a:gd name="connsiteX553" fmla="*/ 572137 w 6865640"/>
              <a:gd name="connsiteY553" fmla="*/ 5362379 h 7785545"/>
              <a:gd name="connsiteX554" fmla="*/ 549700 w 6865640"/>
              <a:gd name="connsiteY554" fmla="*/ 5283850 h 7785545"/>
              <a:gd name="connsiteX555" fmla="*/ 538482 w 6865640"/>
              <a:gd name="connsiteY555" fmla="*/ 5216540 h 7785545"/>
              <a:gd name="connsiteX556" fmla="*/ 538482 w 6865640"/>
              <a:gd name="connsiteY556" fmla="*/ 5149230 h 7785545"/>
              <a:gd name="connsiteX557" fmla="*/ 549700 w 6865640"/>
              <a:gd name="connsiteY557" fmla="*/ 5025828 h 7785545"/>
              <a:gd name="connsiteX558" fmla="*/ 583355 w 6865640"/>
              <a:gd name="connsiteY558" fmla="*/ 4913644 h 7785545"/>
              <a:gd name="connsiteX559" fmla="*/ 639447 w 6865640"/>
              <a:gd name="connsiteY559" fmla="*/ 4801460 h 7785545"/>
              <a:gd name="connsiteX560" fmla="*/ 706757 w 6865640"/>
              <a:gd name="connsiteY560" fmla="*/ 4711713 h 7785545"/>
              <a:gd name="connsiteX561" fmla="*/ 796504 w 6865640"/>
              <a:gd name="connsiteY561" fmla="*/ 4621966 h 7785545"/>
              <a:gd name="connsiteX562" fmla="*/ 886251 w 6865640"/>
              <a:gd name="connsiteY562" fmla="*/ 4554656 h 7785545"/>
              <a:gd name="connsiteX563" fmla="*/ 975998 w 6865640"/>
              <a:gd name="connsiteY563" fmla="*/ 4487346 h 7785545"/>
              <a:gd name="connsiteX564" fmla="*/ 1076963 w 6865640"/>
              <a:gd name="connsiteY564" fmla="*/ 4431254 h 7785545"/>
              <a:gd name="connsiteX565" fmla="*/ 1245239 w 6865640"/>
              <a:gd name="connsiteY565" fmla="*/ 4341507 h 7785545"/>
              <a:gd name="connsiteX566" fmla="*/ 1368641 w 6865640"/>
              <a:gd name="connsiteY566" fmla="*/ 4285416 h 7785545"/>
              <a:gd name="connsiteX567" fmla="*/ 1424733 w 6865640"/>
              <a:gd name="connsiteY567" fmla="*/ 4274197 h 7785545"/>
              <a:gd name="connsiteX568" fmla="*/ 1559353 w 6865640"/>
              <a:gd name="connsiteY568" fmla="*/ 4218105 h 7785545"/>
              <a:gd name="connsiteX569" fmla="*/ 1671537 w 6865640"/>
              <a:gd name="connsiteY569" fmla="*/ 4162013 h 7785545"/>
              <a:gd name="connsiteX570" fmla="*/ 1750065 w 6865640"/>
              <a:gd name="connsiteY570" fmla="*/ 4094703 h 7785545"/>
              <a:gd name="connsiteX571" fmla="*/ 1806157 w 6865640"/>
              <a:gd name="connsiteY571" fmla="*/ 4038611 h 7785545"/>
              <a:gd name="connsiteX572" fmla="*/ 1851031 w 6865640"/>
              <a:gd name="connsiteY572" fmla="*/ 3971301 h 7785545"/>
              <a:gd name="connsiteX573" fmla="*/ 1873467 w 6865640"/>
              <a:gd name="connsiteY573" fmla="*/ 3926428 h 7785545"/>
              <a:gd name="connsiteX574" fmla="*/ 1884686 w 6865640"/>
              <a:gd name="connsiteY574" fmla="*/ 3892773 h 7785545"/>
              <a:gd name="connsiteX575" fmla="*/ 1884686 w 6865640"/>
              <a:gd name="connsiteY575" fmla="*/ 3803026 h 7785545"/>
              <a:gd name="connsiteX576" fmla="*/ 1862249 w 6865640"/>
              <a:gd name="connsiteY576" fmla="*/ 3746934 h 7785545"/>
              <a:gd name="connsiteX577" fmla="*/ 1828594 w 6865640"/>
              <a:gd name="connsiteY577" fmla="*/ 3690842 h 7785545"/>
              <a:gd name="connsiteX578" fmla="*/ 1794939 w 6865640"/>
              <a:gd name="connsiteY578" fmla="*/ 3657187 h 7785545"/>
              <a:gd name="connsiteX579" fmla="*/ 1761284 w 6865640"/>
              <a:gd name="connsiteY579" fmla="*/ 3634750 h 7785545"/>
              <a:gd name="connsiteX580" fmla="*/ 1738847 w 6865640"/>
              <a:gd name="connsiteY580" fmla="*/ 3612314 h 7785545"/>
              <a:gd name="connsiteX581" fmla="*/ 1705192 w 6865640"/>
              <a:gd name="connsiteY581" fmla="*/ 3601095 h 7785545"/>
              <a:gd name="connsiteX582" fmla="*/ 1604227 w 6865640"/>
              <a:gd name="connsiteY582" fmla="*/ 3578658 h 7785545"/>
              <a:gd name="connsiteX583" fmla="*/ 1514480 w 6865640"/>
              <a:gd name="connsiteY583" fmla="*/ 3545004 h 7785545"/>
              <a:gd name="connsiteX584" fmla="*/ 1435951 w 6865640"/>
              <a:gd name="connsiteY584" fmla="*/ 3511348 h 7785545"/>
              <a:gd name="connsiteX585" fmla="*/ 1368641 w 6865640"/>
              <a:gd name="connsiteY585" fmla="*/ 3477693 h 7785545"/>
              <a:gd name="connsiteX586" fmla="*/ 1267676 w 6865640"/>
              <a:gd name="connsiteY586" fmla="*/ 3399165 h 7785545"/>
              <a:gd name="connsiteX587" fmla="*/ 1200365 w 6865640"/>
              <a:gd name="connsiteY587" fmla="*/ 3320636 h 7785545"/>
              <a:gd name="connsiteX588" fmla="*/ 1155492 w 6865640"/>
              <a:gd name="connsiteY588" fmla="*/ 3253326 h 7785545"/>
              <a:gd name="connsiteX589" fmla="*/ 1133055 w 6865640"/>
              <a:gd name="connsiteY589" fmla="*/ 3208452 h 7785545"/>
              <a:gd name="connsiteX590" fmla="*/ 1133055 w 6865640"/>
              <a:gd name="connsiteY590" fmla="*/ 3152361 h 7785545"/>
              <a:gd name="connsiteX591" fmla="*/ 1144274 w 6865640"/>
              <a:gd name="connsiteY591" fmla="*/ 3096269 h 7785545"/>
              <a:gd name="connsiteX592" fmla="*/ 1177929 w 6865640"/>
              <a:gd name="connsiteY592" fmla="*/ 3040177 h 7785545"/>
              <a:gd name="connsiteX593" fmla="*/ 1211584 w 6865640"/>
              <a:gd name="connsiteY593" fmla="*/ 2995303 h 7785545"/>
              <a:gd name="connsiteX594" fmla="*/ 1267676 w 6865640"/>
              <a:gd name="connsiteY594" fmla="*/ 2950430 h 7785545"/>
              <a:gd name="connsiteX595" fmla="*/ 1334986 w 6865640"/>
              <a:gd name="connsiteY595" fmla="*/ 2916775 h 7785545"/>
              <a:gd name="connsiteX596" fmla="*/ 1402296 w 6865640"/>
              <a:gd name="connsiteY596" fmla="*/ 2894338 h 7785545"/>
              <a:gd name="connsiteX597" fmla="*/ 1548135 w 6865640"/>
              <a:gd name="connsiteY597" fmla="*/ 2860683 h 7785545"/>
              <a:gd name="connsiteX598" fmla="*/ 1705192 w 6865640"/>
              <a:gd name="connsiteY598" fmla="*/ 2838246 h 7785545"/>
              <a:gd name="connsiteX599" fmla="*/ 1828594 w 6865640"/>
              <a:gd name="connsiteY599" fmla="*/ 2827028 h 7785545"/>
              <a:gd name="connsiteX600" fmla="*/ 1963214 w 6865640"/>
              <a:gd name="connsiteY600" fmla="*/ 2827028 h 7785545"/>
              <a:gd name="connsiteX601" fmla="*/ 2052961 w 6865640"/>
              <a:gd name="connsiteY601" fmla="*/ 2827028 h 7785545"/>
              <a:gd name="connsiteX602" fmla="*/ 2142708 w 6865640"/>
              <a:gd name="connsiteY602" fmla="*/ 2815810 h 7785545"/>
              <a:gd name="connsiteX603" fmla="*/ 2299765 w 6865640"/>
              <a:gd name="connsiteY603" fmla="*/ 2782155 h 7785545"/>
              <a:gd name="connsiteX604" fmla="*/ 2411949 w 6865640"/>
              <a:gd name="connsiteY604" fmla="*/ 2737281 h 7785545"/>
              <a:gd name="connsiteX605" fmla="*/ 2490477 w 6865640"/>
              <a:gd name="connsiteY605" fmla="*/ 2681189 h 7785545"/>
              <a:gd name="connsiteX606" fmla="*/ 2546569 w 6865640"/>
              <a:gd name="connsiteY606" fmla="*/ 2625097 h 7785545"/>
              <a:gd name="connsiteX607" fmla="*/ 2580224 w 6865640"/>
              <a:gd name="connsiteY607" fmla="*/ 2580224 h 7785545"/>
              <a:gd name="connsiteX608" fmla="*/ 2602661 w 6865640"/>
              <a:gd name="connsiteY608" fmla="*/ 2535351 h 7785545"/>
              <a:gd name="connsiteX609" fmla="*/ 2625098 w 6865640"/>
              <a:gd name="connsiteY609" fmla="*/ 2434385 h 7785545"/>
              <a:gd name="connsiteX610" fmla="*/ 2625098 w 6865640"/>
              <a:gd name="connsiteY610" fmla="*/ 2355857 h 7785545"/>
              <a:gd name="connsiteX611" fmla="*/ 2613879 w 6865640"/>
              <a:gd name="connsiteY611" fmla="*/ 2288547 h 7785545"/>
              <a:gd name="connsiteX612" fmla="*/ 2591442 w 6865640"/>
              <a:gd name="connsiteY612" fmla="*/ 2232455 h 7785545"/>
              <a:gd name="connsiteX613" fmla="*/ 2569006 w 6865640"/>
              <a:gd name="connsiteY613" fmla="*/ 2187581 h 7785545"/>
              <a:gd name="connsiteX614" fmla="*/ 2535351 w 6865640"/>
              <a:gd name="connsiteY614" fmla="*/ 2153926 h 7785545"/>
              <a:gd name="connsiteX615" fmla="*/ 2512914 w 6865640"/>
              <a:gd name="connsiteY615" fmla="*/ 2131490 h 7785545"/>
              <a:gd name="connsiteX616" fmla="*/ 2423167 w 6865640"/>
              <a:gd name="connsiteY616" fmla="*/ 2030524 h 7785545"/>
              <a:gd name="connsiteX617" fmla="*/ 2355857 w 6865640"/>
              <a:gd name="connsiteY617" fmla="*/ 1940777 h 7785545"/>
              <a:gd name="connsiteX618" fmla="*/ 2322202 w 6865640"/>
              <a:gd name="connsiteY618" fmla="*/ 1862249 h 7785545"/>
              <a:gd name="connsiteX619" fmla="*/ 2310984 w 6865640"/>
              <a:gd name="connsiteY619" fmla="*/ 1783720 h 7785545"/>
              <a:gd name="connsiteX620" fmla="*/ 2299765 w 6865640"/>
              <a:gd name="connsiteY620" fmla="*/ 1716410 h 7785545"/>
              <a:gd name="connsiteX621" fmla="*/ 2310984 w 6865640"/>
              <a:gd name="connsiteY621" fmla="*/ 1660318 h 7785545"/>
              <a:gd name="connsiteX622" fmla="*/ 2322202 w 6865640"/>
              <a:gd name="connsiteY622" fmla="*/ 1615445 h 7785545"/>
              <a:gd name="connsiteX623" fmla="*/ 2344638 w 6865640"/>
              <a:gd name="connsiteY623" fmla="*/ 1559353 h 7785545"/>
              <a:gd name="connsiteX624" fmla="*/ 2378294 w 6865640"/>
              <a:gd name="connsiteY624" fmla="*/ 1514480 h 7785545"/>
              <a:gd name="connsiteX625" fmla="*/ 2411949 w 6865640"/>
              <a:gd name="connsiteY625" fmla="*/ 1480824 h 7785545"/>
              <a:gd name="connsiteX626" fmla="*/ 2445604 w 6865640"/>
              <a:gd name="connsiteY626" fmla="*/ 1447169 h 7785545"/>
              <a:gd name="connsiteX627" fmla="*/ 2490477 w 6865640"/>
              <a:gd name="connsiteY627" fmla="*/ 1435951 h 7785545"/>
              <a:gd name="connsiteX628" fmla="*/ 2535351 w 6865640"/>
              <a:gd name="connsiteY628" fmla="*/ 1424733 h 7785545"/>
              <a:gd name="connsiteX629" fmla="*/ 2636316 w 6865640"/>
              <a:gd name="connsiteY629" fmla="*/ 1413514 h 7785545"/>
              <a:gd name="connsiteX630" fmla="*/ 2714844 w 6865640"/>
              <a:gd name="connsiteY630" fmla="*/ 1424733 h 7785545"/>
              <a:gd name="connsiteX631" fmla="*/ 2793373 w 6865640"/>
              <a:gd name="connsiteY631" fmla="*/ 1447169 h 7785545"/>
              <a:gd name="connsiteX632" fmla="*/ 2860683 w 6865640"/>
              <a:gd name="connsiteY632" fmla="*/ 1469606 h 7785545"/>
              <a:gd name="connsiteX633" fmla="*/ 2927994 w 6865640"/>
              <a:gd name="connsiteY633" fmla="*/ 1480824 h 7785545"/>
              <a:gd name="connsiteX634" fmla="*/ 2995304 w 6865640"/>
              <a:gd name="connsiteY634" fmla="*/ 1492043 h 7785545"/>
              <a:gd name="connsiteX635" fmla="*/ 3062614 w 6865640"/>
              <a:gd name="connsiteY635" fmla="*/ 1480824 h 7785545"/>
              <a:gd name="connsiteX636" fmla="*/ 3118706 w 6865640"/>
              <a:gd name="connsiteY636" fmla="*/ 1458388 h 7785545"/>
              <a:gd name="connsiteX637" fmla="*/ 3174798 w 6865640"/>
              <a:gd name="connsiteY637" fmla="*/ 1435951 h 7785545"/>
              <a:gd name="connsiteX638" fmla="*/ 3230890 w 6865640"/>
              <a:gd name="connsiteY638" fmla="*/ 1413514 h 7785545"/>
              <a:gd name="connsiteX639" fmla="*/ 3320636 w 6865640"/>
              <a:gd name="connsiteY639" fmla="*/ 1334986 h 7785545"/>
              <a:gd name="connsiteX640" fmla="*/ 3387946 w 6865640"/>
              <a:gd name="connsiteY640" fmla="*/ 1256457 h 7785545"/>
              <a:gd name="connsiteX641" fmla="*/ 3444038 w 6865640"/>
              <a:gd name="connsiteY641" fmla="*/ 1189147 h 7785545"/>
              <a:gd name="connsiteX642" fmla="*/ 3488912 w 6865640"/>
              <a:gd name="connsiteY642" fmla="*/ 1121837 h 7785545"/>
              <a:gd name="connsiteX643" fmla="*/ 3601096 w 6865640"/>
              <a:gd name="connsiteY643" fmla="*/ 897469 h 7785545"/>
              <a:gd name="connsiteX644" fmla="*/ 3724498 w 6865640"/>
              <a:gd name="connsiteY644" fmla="*/ 717976 h 7785545"/>
              <a:gd name="connsiteX645" fmla="*/ 3836681 w 6865640"/>
              <a:gd name="connsiteY645" fmla="*/ 583355 h 7785545"/>
              <a:gd name="connsiteX646" fmla="*/ 3960083 w 6865640"/>
              <a:gd name="connsiteY646" fmla="*/ 482390 h 7785545"/>
              <a:gd name="connsiteX647" fmla="*/ 4072267 w 6865640"/>
              <a:gd name="connsiteY647" fmla="*/ 415080 h 7785545"/>
              <a:gd name="connsiteX648" fmla="*/ 4184450 w 6865640"/>
              <a:gd name="connsiteY648" fmla="*/ 370206 h 7785545"/>
              <a:gd name="connsiteX649" fmla="*/ 3387946 w 6865640"/>
              <a:gd name="connsiteY649" fmla="*/ 0 h 7785545"/>
              <a:gd name="connsiteX650" fmla="*/ 3466475 w 6865640"/>
              <a:gd name="connsiteY650" fmla="*/ 11218 h 7785545"/>
              <a:gd name="connsiteX651" fmla="*/ 3533785 w 6865640"/>
              <a:gd name="connsiteY651" fmla="*/ 44874 h 7785545"/>
              <a:gd name="connsiteX652" fmla="*/ 3578659 w 6865640"/>
              <a:gd name="connsiteY652" fmla="*/ 89747 h 7785545"/>
              <a:gd name="connsiteX653" fmla="*/ 3612314 w 6865640"/>
              <a:gd name="connsiteY653" fmla="*/ 157057 h 7785545"/>
              <a:gd name="connsiteX654" fmla="*/ 3634750 w 6865640"/>
              <a:gd name="connsiteY654" fmla="*/ 224367 h 7785545"/>
              <a:gd name="connsiteX655" fmla="*/ 3634750 w 6865640"/>
              <a:gd name="connsiteY655" fmla="*/ 314114 h 7785545"/>
              <a:gd name="connsiteX656" fmla="*/ 3623532 w 6865640"/>
              <a:gd name="connsiteY656" fmla="*/ 403861 h 7785545"/>
              <a:gd name="connsiteX657" fmla="*/ 3589877 w 6865640"/>
              <a:gd name="connsiteY657" fmla="*/ 504827 h 7785545"/>
              <a:gd name="connsiteX658" fmla="*/ 3545004 w 6865640"/>
              <a:gd name="connsiteY658" fmla="*/ 605792 h 7785545"/>
              <a:gd name="connsiteX659" fmla="*/ 3477694 w 6865640"/>
              <a:gd name="connsiteY659" fmla="*/ 695539 h 7785545"/>
              <a:gd name="connsiteX660" fmla="*/ 3410383 w 6865640"/>
              <a:gd name="connsiteY660" fmla="*/ 785286 h 7785545"/>
              <a:gd name="connsiteX661" fmla="*/ 3320636 w 6865640"/>
              <a:gd name="connsiteY661" fmla="*/ 863814 h 7785545"/>
              <a:gd name="connsiteX662" fmla="*/ 3242108 w 6865640"/>
              <a:gd name="connsiteY662" fmla="*/ 931124 h 7785545"/>
              <a:gd name="connsiteX663" fmla="*/ 3152361 w 6865640"/>
              <a:gd name="connsiteY663" fmla="*/ 975998 h 7785545"/>
              <a:gd name="connsiteX664" fmla="*/ 3062614 w 6865640"/>
              <a:gd name="connsiteY664" fmla="*/ 998435 h 7785545"/>
              <a:gd name="connsiteX665" fmla="*/ 2984085 w 6865640"/>
              <a:gd name="connsiteY665" fmla="*/ 1009653 h 7785545"/>
              <a:gd name="connsiteX666" fmla="*/ 2905557 w 6865640"/>
              <a:gd name="connsiteY666" fmla="*/ 998435 h 7785545"/>
              <a:gd name="connsiteX667" fmla="*/ 2849465 w 6865640"/>
              <a:gd name="connsiteY667" fmla="*/ 964780 h 7785545"/>
              <a:gd name="connsiteX668" fmla="*/ 2793373 w 6865640"/>
              <a:gd name="connsiteY668" fmla="*/ 919906 h 7785545"/>
              <a:gd name="connsiteX669" fmla="*/ 2759718 w 6865640"/>
              <a:gd name="connsiteY669" fmla="*/ 852596 h 7785545"/>
              <a:gd name="connsiteX670" fmla="*/ 2737281 w 6865640"/>
              <a:gd name="connsiteY670" fmla="*/ 785286 h 7785545"/>
              <a:gd name="connsiteX671" fmla="*/ 2737281 w 6865640"/>
              <a:gd name="connsiteY671" fmla="*/ 695539 h 7785545"/>
              <a:gd name="connsiteX672" fmla="*/ 2748500 w 6865640"/>
              <a:gd name="connsiteY672" fmla="*/ 605792 h 7785545"/>
              <a:gd name="connsiteX673" fmla="*/ 2782155 w 6865640"/>
              <a:gd name="connsiteY673" fmla="*/ 504827 h 7785545"/>
              <a:gd name="connsiteX674" fmla="*/ 2827028 w 6865640"/>
              <a:gd name="connsiteY674" fmla="*/ 403861 h 7785545"/>
              <a:gd name="connsiteX675" fmla="*/ 2894338 w 6865640"/>
              <a:gd name="connsiteY675" fmla="*/ 314114 h 7785545"/>
              <a:gd name="connsiteX676" fmla="*/ 2972867 w 6865640"/>
              <a:gd name="connsiteY676" fmla="*/ 224367 h 7785545"/>
              <a:gd name="connsiteX677" fmla="*/ 3051396 w 6865640"/>
              <a:gd name="connsiteY677" fmla="*/ 145839 h 7785545"/>
              <a:gd name="connsiteX678" fmla="*/ 3141142 w 6865640"/>
              <a:gd name="connsiteY678" fmla="*/ 78529 h 7785545"/>
              <a:gd name="connsiteX679" fmla="*/ 3219671 w 6865640"/>
              <a:gd name="connsiteY679" fmla="*/ 33655 h 7785545"/>
              <a:gd name="connsiteX680" fmla="*/ 3309418 w 6865640"/>
              <a:gd name="connsiteY680" fmla="*/ 11218 h 7785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Lst>
            <a:rect l="l" t="t" r="r" b="b"/>
            <a:pathLst>
              <a:path w="6865640" h="7785545">
                <a:moveTo>
                  <a:pt x="4498565" y="6966605"/>
                </a:moveTo>
                <a:lnTo>
                  <a:pt x="4588312" y="6977823"/>
                </a:lnTo>
                <a:lnTo>
                  <a:pt x="4678058" y="7000260"/>
                </a:lnTo>
                <a:lnTo>
                  <a:pt x="4756587" y="7033915"/>
                </a:lnTo>
                <a:lnTo>
                  <a:pt x="4823898" y="7090007"/>
                </a:lnTo>
                <a:lnTo>
                  <a:pt x="4879989" y="7146098"/>
                </a:lnTo>
                <a:lnTo>
                  <a:pt x="4924862" y="7213409"/>
                </a:lnTo>
                <a:lnTo>
                  <a:pt x="4947300" y="7291937"/>
                </a:lnTo>
                <a:lnTo>
                  <a:pt x="4958518" y="7381684"/>
                </a:lnTo>
                <a:lnTo>
                  <a:pt x="4947300" y="7460213"/>
                </a:lnTo>
                <a:lnTo>
                  <a:pt x="4924862" y="7538741"/>
                </a:lnTo>
                <a:lnTo>
                  <a:pt x="4879989" y="7606051"/>
                </a:lnTo>
                <a:lnTo>
                  <a:pt x="4823898" y="7662143"/>
                </a:lnTo>
                <a:lnTo>
                  <a:pt x="4756587" y="7718235"/>
                </a:lnTo>
                <a:lnTo>
                  <a:pt x="4678058" y="7751890"/>
                </a:lnTo>
                <a:lnTo>
                  <a:pt x="4588312" y="7774327"/>
                </a:lnTo>
                <a:lnTo>
                  <a:pt x="4498565" y="7785545"/>
                </a:lnTo>
                <a:lnTo>
                  <a:pt x="4397600" y="7774327"/>
                </a:lnTo>
                <a:lnTo>
                  <a:pt x="4319071" y="7751890"/>
                </a:lnTo>
                <a:lnTo>
                  <a:pt x="4240542" y="7718235"/>
                </a:lnTo>
                <a:lnTo>
                  <a:pt x="4162014" y="7662143"/>
                </a:lnTo>
                <a:lnTo>
                  <a:pt x="4105922" y="7606051"/>
                </a:lnTo>
                <a:lnTo>
                  <a:pt x="4072267" y="7538741"/>
                </a:lnTo>
                <a:lnTo>
                  <a:pt x="4038612" y="7460213"/>
                </a:lnTo>
                <a:lnTo>
                  <a:pt x="4027394" y="7381684"/>
                </a:lnTo>
                <a:lnTo>
                  <a:pt x="4038612" y="7291937"/>
                </a:lnTo>
                <a:lnTo>
                  <a:pt x="4072267" y="7213409"/>
                </a:lnTo>
                <a:lnTo>
                  <a:pt x="4105922" y="7146098"/>
                </a:lnTo>
                <a:lnTo>
                  <a:pt x="4162014" y="7090007"/>
                </a:lnTo>
                <a:lnTo>
                  <a:pt x="4240542" y="7033915"/>
                </a:lnTo>
                <a:lnTo>
                  <a:pt x="4319071" y="7000260"/>
                </a:lnTo>
                <a:lnTo>
                  <a:pt x="4397600" y="6977823"/>
                </a:lnTo>
                <a:close/>
                <a:moveTo>
                  <a:pt x="5295069" y="6428123"/>
                </a:moveTo>
                <a:lnTo>
                  <a:pt x="5407252" y="6439342"/>
                </a:lnTo>
                <a:lnTo>
                  <a:pt x="5519436" y="6450560"/>
                </a:lnTo>
                <a:lnTo>
                  <a:pt x="5609183" y="6472997"/>
                </a:lnTo>
                <a:lnTo>
                  <a:pt x="5698930" y="6506652"/>
                </a:lnTo>
                <a:lnTo>
                  <a:pt x="5766240" y="6551525"/>
                </a:lnTo>
                <a:lnTo>
                  <a:pt x="5822332" y="6596399"/>
                </a:lnTo>
                <a:lnTo>
                  <a:pt x="5855987" y="6641272"/>
                </a:lnTo>
                <a:lnTo>
                  <a:pt x="5867206" y="6697364"/>
                </a:lnTo>
                <a:lnTo>
                  <a:pt x="5855987" y="6753456"/>
                </a:lnTo>
                <a:lnTo>
                  <a:pt x="5822332" y="6798329"/>
                </a:lnTo>
                <a:lnTo>
                  <a:pt x="5766240" y="6854421"/>
                </a:lnTo>
                <a:lnTo>
                  <a:pt x="5698930" y="6888076"/>
                </a:lnTo>
                <a:lnTo>
                  <a:pt x="5609183" y="6921731"/>
                </a:lnTo>
                <a:lnTo>
                  <a:pt x="5519436" y="6944168"/>
                </a:lnTo>
                <a:lnTo>
                  <a:pt x="5407252" y="6966605"/>
                </a:lnTo>
                <a:lnTo>
                  <a:pt x="5295069" y="6966605"/>
                </a:lnTo>
                <a:lnTo>
                  <a:pt x="5182885" y="6966605"/>
                </a:lnTo>
                <a:lnTo>
                  <a:pt x="5070702" y="6944168"/>
                </a:lnTo>
                <a:lnTo>
                  <a:pt x="4980954" y="6921731"/>
                </a:lnTo>
                <a:lnTo>
                  <a:pt x="4891208" y="6888076"/>
                </a:lnTo>
                <a:lnTo>
                  <a:pt x="4823898" y="6854421"/>
                </a:lnTo>
                <a:lnTo>
                  <a:pt x="4767806" y="6798329"/>
                </a:lnTo>
                <a:lnTo>
                  <a:pt x="4734150" y="6753456"/>
                </a:lnTo>
                <a:lnTo>
                  <a:pt x="4722932" y="6697364"/>
                </a:lnTo>
                <a:lnTo>
                  <a:pt x="4734150" y="6641272"/>
                </a:lnTo>
                <a:lnTo>
                  <a:pt x="4767806" y="6596399"/>
                </a:lnTo>
                <a:lnTo>
                  <a:pt x="4823898" y="6551525"/>
                </a:lnTo>
                <a:lnTo>
                  <a:pt x="4891208" y="6506652"/>
                </a:lnTo>
                <a:lnTo>
                  <a:pt x="4980954" y="6472997"/>
                </a:lnTo>
                <a:lnTo>
                  <a:pt x="5070702" y="6450560"/>
                </a:lnTo>
                <a:lnTo>
                  <a:pt x="5182885" y="6439342"/>
                </a:lnTo>
                <a:close/>
                <a:moveTo>
                  <a:pt x="2658753" y="6293503"/>
                </a:moveTo>
                <a:lnTo>
                  <a:pt x="2692408" y="6304721"/>
                </a:lnTo>
                <a:lnTo>
                  <a:pt x="2714844" y="6315939"/>
                </a:lnTo>
                <a:lnTo>
                  <a:pt x="2748500" y="6327158"/>
                </a:lnTo>
                <a:lnTo>
                  <a:pt x="2770936" y="6360813"/>
                </a:lnTo>
                <a:lnTo>
                  <a:pt x="2804592" y="6416905"/>
                </a:lnTo>
                <a:lnTo>
                  <a:pt x="2815810" y="6495433"/>
                </a:lnTo>
                <a:lnTo>
                  <a:pt x="2804592" y="6573962"/>
                </a:lnTo>
                <a:lnTo>
                  <a:pt x="2770936" y="6641272"/>
                </a:lnTo>
                <a:lnTo>
                  <a:pt x="2748500" y="6663709"/>
                </a:lnTo>
                <a:lnTo>
                  <a:pt x="2714844" y="6674927"/>
                </a:lnTo>
                <a:lnTo>
                  <a:pt x="2692408" y="6686146"/>
                </a:lnTo>
                <a:lnTo>
                  <a:pt x="2658753" y="6697364"/>
                </a:lnTo>
                <a:lnTo>
                  <a:pt x="2625098" y="6686146"/>
                </a:lnTo>
                <a:lnTo>
                  <a:pt x="2602661" y="6674927"/>
                </a:lnTo>
                <a:lnTo>
                  <a:pt x="2569006" y="6663709"/>
                </a:lnTo>
                <a:lnTo>
                  <a:pt x="2546569" y="6641272"/>
                </a:lnTo>
                <a:lnTo>
                  <a:pt x="2512914" y="6573962"/>
                </a:lnTo>
                <a:lnTo>
                  <a:pt x="2501696" y="6495433"/>
                </a:lnTo>
                <a:lnTo>
                  <a:pt x="2512914" y="6416905"/>
                </a:lnTo>
                <a:lnTo>
                  <a:pt x="2546569" y="6360813"/>
                </a:lnTo>
                <a:lnTo>
                  <a:pt x="2569006" y="6327158"/>
                </a:lnTo>
                <a:lnTo>
                  <a:pt x="2602661" y="6315939"/>
                </a:lnTo>
                <a:lnTo>
                  <a:pt x="2625098" y="6304721"/>
                </a:lnTo>
                <a:close/>
                <a:moveTo>
                  <a:pt x="1738847" y="5900860"/>
                </a:moveTo>
                <a:lnTo>
                  <a:pt x="1839812" y="5912078"/>
                </a:lnTo>
                <a:lnTo>
                  <a:pt x="1929559" y="5934515"/>
                </a:lnTo>
                <a:lnTo>
                  <a:pt x="2008088" y="5968170"/>
                </a:lnTo>
                <a:lnTo>
                  <a:pt x="2086616" y="6024262"/>
                </a:lnTo>
                <a:lnTo>
                  <a:pt x="2142708" y="6080354"/>
                </a:lnTo>
                <a:lnTo>
                  <a:pt x="2187581" y="6147664"/>
                </a:lnTo>
                <a:lnTo>
                  <a:pt x="2221236" y="6214974"/>
                </a:lnTo>
                <a:lnTo>
                  <a:pt x="2232455" y="6293503"/>
                </a:lnTo>
                <a:lnTo>
                  <a:pt x="2221236" y="6383250"/>
                </a:lnTo>
                <a:lnTo>
                  <a:pt x="2187581" y="6450560"/>
                </a:lnTo>
                <a:lnTo>
                  <a:pt x="2142708" y="6517870"/>
                </a:lnTo>
                <a:lnTo>
                  <a:pt x="2086616" y="6573962"/>
                </a:lnTo>
                <a:lnTo>
                  <a:pt x="2008088" y="6630054"/>
                </a:lnTo>
                <a:lnTo>
                  <a:pt x="1929559" y="6663709"/>
                </a:lnTo>
                <a:lnTo>
                  <a:pt x="1839812" y="6686146"/>
                </a:lnTo>
                <a:lnTo>
                  <a:pt x="1738847" y="6697364"/>
                </a:lnTo>
                <a:lnTo>
                  <a:pt x="1637882" y="6686146"/>
                </a:lnTo>
                <a:lnTo>
                  <a:pt x="1548135" y="6663709"/>
                </a:lnTo>
                <a:lnTo>
                  <a:pt x="1458388" y="6630054"/>
                </a:lnTo>
                <a:lnTo>
                  <a:pt x="1391078" y="6573962"/>
                </a:lnTo>
                <a:lnTo>
                  <a:pt x="1323767" y="6517870"/>
                </a:lnTo>
                <a:lnTo>
                  <a:pt x="1278894" y="6450560"/>
                </a:lnTo>
                <a:lnTo>
                  <a:pt x="1256457" y="6383250"/>
                </a:lnTo>
                <a:lnTo>
                  <a:pt x="1245239" y="6293503"/>
                </a:lnTo>
                <a:lnTo>
                  <a:pt x="1256457" y="6214974"/>
                </a:lnTo>
                <a:lnTo>
                  <a:pt x="1278894" y="6147664"/>
                </a:lnTo>
                <a:lnTo>
                  <a:pt x="1323767" y="6080354"/>
                </a:lnTo>
                <a:lnTo>
                  <a:pt x="1391078" y="6024262"/>
                </a:lnTo>
                <a:lnTo>
                  <a:pt x="1458388" y="5968170"/>
                </a:lnTo>
                <a:lnTo>
                  <a:pt x="1548135" y="5934515"/>
                </a:lnTo>
                <a:lnTo>
                  <a:pt x="1637882" y="5912078"/>
                </a:lnTo>
                <a:close/>
                <a:moveTo>
                  <a:pt x="751631" y="5900860"/>
                </a:moveTo>
                <a:lnTo>
                  <a:pt x="807723" y="5912078"/>
                </a:lnTo>
                <a:lnTo>
                  <a:pt x="863814" y="5923297"/>
                </a:lnTo>
                <a:lnTo>
                  <a:pt x="908688" y="5934515"/>
                </a:lnTo>
                <a:lnTo>
                  <a:pt x="942343" y="5956952"/>
                </a:lnTo>
                <a:lnTo>
                  <a:pt x="975998" y="5979389"/>
                </a:lnTo>
                <a:lnTo>
                  <a:pt x="1009653" y="6013044"/>
                </a:lnTo>
                <a:lnTo>
                  <a:pt x="1020872" y="6046699"/>
                </a:lnTo>
                <a:lnTo>
                  <a:pt x="1020872" y="6091572"/>
                </a:lnTo>
                <a:lnTo>
                  <a:pt x="1020872" y="6125227"/>
                </a:lnTo>
                <a:lnTo>
                  <a:pt x="1009653" y="6158882"/>
                </a:lnTo>
                <a:lnTo>
                  <a:pt x="975998" y="6192537"/>
                </a:lnTo>
                <a:lnTo>
                  <a:pt x="942343" y="6214974"/>
                </a:lnTo>
                <a:lnTo>
                  <a:pt x="908688" y="6237411"/>
                </a:lnTo>
                <a:lnTo>
                  <a:pt x="863814" y="6259848"/>
                </a:lnTo>
                <a:lnTo>
                  <a:pt x="807723" y="6271066"/>
                </a:lnTo>
                <a:lnTo>
                  <a:pt x="751631" y="6271066"/>
                </a:lnTo>
                <a:lnTo>
                  <a:pt x="695539" y="6271066"/>
                </a:lnTo>
                <a:lnTo>
                  <a:pt x="650665" y="6259848"/>
                </a:lnTo>
                <a:lnTo>
                  <a:pt x="594574" y="6237411"/>
                </a:lnTo>
                <a:lnTo>
                  <a:pt x="560919" y="6214974"/>
                </a:lnTo>
                <a:lnTo>
                  <a:pt x="527263" y="6192537"/>
                </a:lnTo>
                <a:lnTo>
                  <a:pt x="504827" y="6158882"/>
                </a:lnTo>
                <a:lnTo>
                  <a:pt x="482390" y="6125227"/>
                </a:lnTo>
                <a:lnTo>
                  <a:pt x="482390" y="6091572"/>
                </a:lnTo>
                <a:lnTo>
                  <a:pt x="482390" y="6046699"/>
                </a:lnTo>
                <a:lnTo>
                  <a:pt x="504827" y="6013044"/>
                </a:lnTo>
                <a:lnTo>
                  <a:pt x="527263" y="5979389"/>
                </a:lnTo>
                <a:lnTo>
                  <a:pt x="560919" y="5956952"/>
                </a:lnTo>
                <a:lnTo>
                  <a:pt x="594574" y="5934515"/>
                </a:lnTo>
                <a:lnTo>
                  <a:pt x="650665" y="5923297"/>
                </a:lnTo>
                <a:lnTo>
                  <a:pt x="695539" y="5912078"/>
                </a:lnTo>
                <a:close/>
                <a:moveTo>
                  <a:pt x="157057" y="4453691"/>
                </a:moveTo>
                <a:lnTo>
                  <a:pt x="190712" y="4453691"/>
                </a:lnTo>
                <a:lnTo>
                  <a:pt x="224368" y="4453691"/>
                </a:lnTo>
                <a:lnTo>
                  <a:pt x="269241" y="4476128"/>
                </a:lnTo>
                <a:lnTo>
                  <a:pt x="291678" y="4498564"/>
                </a:lnTo>
                <a:lnTo>
                  <a:pt x="325333" y="4521001"/>
                </a:lnTo>
                <a:lnTo>
                  <a:pt x="347770" y="4554656"/>
                </a:lnTo>
                <a:lnTo>
                  <a:pt x="358988" y="4588311"/>
                </a:lnTo>
                <a:lnTo>
                  <a:pt x="370206" y="4633185"/>
                </a:lnTo>
                <a:lnTo>
                  <a:pt x="381425" y="4678058"/>
                </a:lnTo>
                <a:lnTo>
                  <a:pt x="370206" y="4722932"/>
                </a:lnTo>
                <a:lnTo>
                  <a:pt x="358988" y="4767805"/>
                </a:lnTo>
                <a:lnTo>
                  <a:pt x="347770" y="4812679"/>
                </a:lnTo>
                <a:lnTo>
                  <a:pt x="325333" y="4846334"/>
                </a:lnTo>
                <a:lnTo>
                  <a:pt x="291678" y="4868770"/>
                </a:lnTo>
                <a:lnTo>
                  <a:pt x="269241" y="4891207"/>
                </a:lnTo>
                <a:lnTo>
                  <a:pt x="224368" y="4902426"/>
                </a:lnTo>
                <a:lnTo>
                  <a:pt x="190712" y="4913644"/>
                </a:lnTo>
                <a:lnTo>
                  <a:pt x="157057" y="4902426"/>
                </a:lnTo>
                <a:lnTo>
                  <a:pt x="123402" y="4891207"/>
                </a:lnTo>
                <a:lnTo>
                  <a:pt x="89747" y="4868770"/>
                </a:lnTo>
                <a:lnTo>
                  <a:pt x="56092" y="4846334"/>
                </a:lnTo>
                <a:lnTo>
                  <a:pt x="33655" y="4812679"/>
                </a:lnTo>
                <a:lnTo>
                  <a:pt x="22437" y="4767805"/>
                </a:lnTo>
                <a:lnTo>
                  <a:pt x="11219" y="4722932"/>
                </a:lnTo>
                <a:lnTo>
                  <a:pt x="0" y="4678058"/>
                </a:lnTo>
                <a:lnTo>
                  <a:pt x="11219" y="4633185"/>
                </a:lnTo>
                <a:lnTo>
                  <a:pt x="22437" y="4588311"/>
                </a:lnTo>
                <a:lnTo>
                  <a:pt x="33655" y="4554656"/>
                </a:lnTo>
                <a:lnTo>
                  <a:pt x="56092" y="4521001"/>
                </a:lnTo>
                <a:lnTo>
                  <a:pt x="89747" y="4498564"/>
                </a:lnTo>
                <a:lnTo>
                  <a:pt x="123402" y="4476128"/>
                </a:lnTo>
                <a:close/>
                <a:moveTo>
                  <a:pt x="605792" y="3881554"/>
                </a:moveTo>
                <a:lnTo>
                  <a:pt x="650665" y="3892773"/>
                </a:lnTo>
                <a:lnTo>
                  <a:pt x="684321" y="3903991"/>
                </a:lnTo>
                <a:lnTo>
                  <a:pt x="729194" y="3915209"/>
                </a:lnTo>
                <a:lnTo>
                  <a:pt x="762849" y="3948864"/>
                </a:lnTo>
                <a:lnTo>
                  <a:pt x="785286" y="3971301"/>
                </a:lnTo>
                <a:lnTo>
                  <a:pt x="807723" y="4016175"/>
                </a:lnTo>
                <a:lnTo>
                  <a:pt x="818941" y="4049830"/>
                </a:lnTo>
                <a:lnTo>
                  <a:pt x="830159" y="4094703"/>
                </a:lnTo>
                <a:lnTo>
                  <a:pt x="818941" y="4128358"/>
                </a:lnTo>
                <a:lnTo>
                  <a:pt x="807723" y="4173232"/>
                </a:lnTo>
                <a:lnTo>
                  <a:pt x="785286" y="4206887"/>
                </a:lnTo>
                <a:lnTo>
                  <a:pt x="762849" y="4240542"/>
                </a:lnTo>
                <a:lnTo>
                  <a:pt x="729194" y="4262979"/>
                </a:lnTo>
                <a:lnTo>
                  <a:pt x="684321" y="4285416"/>
                </a:lnTo>
                <a:lnTo>
                  <a:pt x="650665" y="4296634"/>
                </a:lnTo>
                <a:lnTo>
                  <a:pt x="605792" y="4296634"/>
                </a:lnTo>
                <a:lnTo>
                  <a:pt x="560919" y="4296634"/>
                </a:lnTo>
                <a:lnTo>
                  <a:pt x="516045" y="4285416"/>
                </a:lnTo>
                <a:lnTo>
                  <a:pt x="482390" y="4262979"/>
                </a:lnTo>
                <a:lnTo>
                  <a:pt x="448735" y="4240542"/>
                </a:lnTo>
                <a:lnTo>
                  <a:pt x="415080" y="4206887"/>
                </a:lnTo>
                <a:lnTo>
                  <a:pt x="392643" y="4173232"/>
                </a:lnTo>
                <a:lnTo>
                  <a:pt x="381425" y="4128358"/>
                </a:lnTo>
                <a:lnTo>
                  <a:pt x="381425" y="4094703"/>
                </a:lnTo>
                <a:lnTo>
                  <a:pt x="381425" y="4049830"/>
                </a:lnTo>
                <a:lnTo>
                  <a:pt x="392643" y="4016175"/>
                </a:lnTo>
                <a:lnTo>
                  <a:pt x="415080" y="3971301"/>
                </a:lnTo>
                <a:lnTo>
                  <a:pt x="448735" y="3948864"/>
                </a:lnTo>
                <a:lnTo>
                  <a:pt x="482390" y="3915209"/>
                </a:lnTo>
                <a:lnTo>
                  <a:pt x="516045" y="3903991"/>
                </a:lnTo>
                <a:lnTo>
                  <a:pt x="560919" y="3892773"/>
                </a:lnTo>
                <a:close/>
                <a:moveTo>
                  <a:pt x="482390" y="2871901"/>
                </a:moveTo>
                <a:lnTo>
                  <a:pt x="549700" y="2883120"/>
                </a:lnTo>
                <a:lnTo>
                  <a:pt x="617010" y="2905557"/>
                </a:lnTo>
                <a:lnTo>
                  <a:pt x="673102" y="2939212"/>
                </a:lnTo>
                <a:lnTo>
                  <a:pt x="729194" y="2984085"/>
                </a:lnTo>
                <a:lnTo>
                  <a:pt x="762849" y="3040177"/>
                </a:lnTo>
                <a:lnTo>
                  <a:pt x="796504" y="3107487"/>
                </a:lnTo>
                <a:lnTo>
                  <a:pt x="818941" y="3174798"/>
                </a:lnTo>
                <a:lnTo>
                  <a:pt x="830159" y="3253326"/>
                </a:lnTo>
                <a:lnTo>
                  <a:pt x="818941" y="3320636"/>
                </a:lnTo>
                <a:lnTo>
                  <a:pt x="796504" y="3387946"/>
                </a:lnTo>
                <a:lnTo>
                  <a:pt x="762849" y="3455256"/>
                </a:lnTo>
                <a:lnTo>
                  <a:pt x="729194" y="3511348"/>
                </a:lnTo>
                <a:lnTo>
                  <a:pt x="673102" y="3556222"/>
                </a:lnTo>
                <a:lnTo>
                  <a:pt x="617010" y="3589877"/>
                </a:lnTo>
                <a:lnTo>
                  <a:pt x="549700" y="3612314"/>
                </a:lnTo>
                <a:lnTo>
                  <a:pt x="482390" y="3623532"/>
                </a:lnTo>
                <a:lnTo>
                  <a:pt x="403861" y="3612314"/>
                </a:lnTo>
                <a:lnTo>
                  <a:pt x="347770" y="3589877"/>
                </a:lnTo>
                <a:lnTo>
                  <a:pt x="280459" y="3556222"/>
                </a:lnTo>
                <a:lnTo>
                  <a:pt x="235586" y="3511348"/>
                </a:lnTo>
                <a:lnTo>
                  <a:pt x="190712" y="3455256"/>
                </a:lnTo>
                <a:lnTo>
                  <a:pt x="157057" y="3387946"/>
                </a:lnTo>
                <a:lnTo>
                  <a:pt x="134621" y="3320636"/>
                </a:lnTo>
                <a:lnTo>
                  <a:pt x="134621" y="3253326"/>
                </a:lnTo>
                <a:lnTo>
                  <a:pt x="134621" y="3174798"/>
                </a:lnTo>
                <a:lnTo>
                  <a:pt x="157057" y="3107487"/>
                </a:lnTo>
                <a:lnTo>
                  <a:pt x="190712" y="3040177"/>
                </a:lnTo>
                <a:lnTo>
                  <a:pt x="235586" y="2984085"/>
                </a:lnTo>
                <a:lnTo>
                  <a:pt x="280459" y="2939212"/>
                </a:lnTo>
                <a:lnTo>
                  <a:pt x="347770" y="2905557"/>
                </a:lnTo>
                <a:lnTo>
                  <a:pt x="403861" y="2883120"/>
                </a:lnTo>
                <a:close/>
                <a:moveTo>
                  <a:pt x="1245239" y="2468040"/>
                </a:moveTo>
                <a:lnTo>
                  <a:pt x="1301331" y="2479259"/>
                </a:lnTo>
                <a:lnTo>
                  <a:pt x="1346204" y="2501696"/>
                </a:lnTo>
                <a:lnTo>
                  <a:pt x="1379859" y="2546569"/>
                </a:lnTo>
                <a:lnTo>
                  <a:pt x="1391078" y="2591443"/>
                </a:lnTo>
                <a:lnTo>
                  <a:pt x="1379859" y="2647534"/>
                </a:lnTo>
                <a:lnTo>
                  <a:pt x="1346204" y="2692408"/>
                </a:lnTo>
                <a:lnTo>
                  <a:pt x="1301331" y="2714845"/>
                </a:lnTo>
                <a:lnTo>
                  <a:pt x="1245239" y="2726063"/>
                </a:lnTo>
                <a:lnTo>
                  <a:pt x="1177929" y="2714845"/>
                </a:lnTo>
                <a:lnTo>
                  <a:pt x="1133055" y="2692408"/>
                </a:lnTo>
                <a:lnTo>
                  <a:pt x="1099400" y="2647534"/>
                </a:lnTo>
                <a:lnTo>
                  <a:pt x="1088182" y="2591443"/>
                </a:lnTo>
                <a:lnTo>
                  <a:pt x="1099400" y="2546569"/>
                </a:lnTo>
                <a:lnTo>
                  <a:pt x="1133055" y="2501696"/>
                </a:lnTo>
                <a:lnTo>
                  <a:pt x="1177929" y="2479259"/>
                </a:lnTo>
                <a:close/>
                <a:moveTo>
                  <a:pt x="6394468" y="2232455"/>
                </a:moveTo>
                <a:lnTo>
                  <a:pt x="6450560" y="2232455"/>
                </a:lnTo>
                <a:lnTo>
                  <a:pt x="6506652" y="2232455"/>
                </a:lnTo>
                <a:lnTo>
                  <a:pt x="6585181" y="2243673"/>
                </a:lnTo>
                <a:lnTo>
                  <a:pt x="6663710" y="2277328"/>
                </a:lnTo>
                <a:lnTo>
                  <a:pt x="6697364" y="2310983"/>
                </a:lnTo>
                <a:lnTo>
                  <a:pt x="6742238" y="2344639"/>
                </a:lnTo>
                <a:lnTo>
                  <a:pt x="6775893" y="2400730"/>
                </a:lnTo>
                <a:lnTo>
                  <a:pt x="6809548" y="2456822"/>
                </a:lnTo>
                <a:lnTo>
                  <a:pt x="6831985" y="2490477"/>
                </a:lnTo>
                <a:lnTo>
                  <a:pt x="6854422" y="2546569"/>
                </a:lnTo>
                <a:lnTo>
                  <a:pt x="6865640" y="2613879"/>
                </a:lnTo>
                <a:lnTo>
                  <a:pt x="6865640" y="2714845"/>
                </a:lnTo>
                <a:lnTo>
                  <a:pt x="6854422" y="2827028"/>
                </a:lnTo>
                <a:lnTo>
                  <a:pt x="6820766" y="2972867"/>
                </a:lnTo>
                <a:lnTo>
                  <a:pt x="6753456" y="3129924"/>
                </a:lnTo>
                <a:lnTo>
                  <a:pt x="6708583" y="3230889"/>
                </a:lnTo>
                <a:lnTo>
                  <a:pt x="6652491" y="3320636"/>
                </a:lnTo>
                <a:lnTo>
                  <a:pt x="6585181" y="3387946"/>
                </a:lnTo>
                <a:lnTo>
                  <a:pt x="6529089" y="3444038"/>
                </a:lnTo>
                <a:lnTo>
                  <a:pt x="6461779" y="3488912"/>
                </a:lnTo>
                <a:lnTo>
                  <a:pt x="6394468" y="3511348"/>
                </a:lnTo>
                <a:lnTo>
                  <a:pt x="6338377" y="3522567"/>
                </a:lnTo>
                <a:lnTo>
                  <a:pt x="6282285" y="3500130"/>
                </a:lnTo>
                <a:lnTo>
                  <a:pt x="6237412" y="3455256"/>
                </a:lnTo>
                <a:lnTo>
                  <a:pt x="6203756" y="3399165"/>
                </a:lnTo>
                <a:lnTo>
                  <a:pt x="6181320" y="3331855"/>
                </a:lnTo>
                <a:lnTo>
                  <a:pt x="6170102" y="3242107"/>
                </a:lnTo>
                <a:lnTo>
                  <a:pt x="6170102" y="3152361"/>
                </a:lnTo>
                <a:lnTo>
                  <a:pt x="6181320" y="3051395"/>
                </a:lnTo>
                <a:lnTo>
                  <a:pt x="6203756" y="2950430"/>
                </a:lnTo>
                <a:lnTo>
                  <a:pt x="6248630" y="2838246"/>
                </a:lnTo>
                <a:lnTo>
                  <a:pt x="6259848" y="2815810"/>
                </a:lnTo>
                <a:lnTo>
                  <a:pt x="6271066" y="2748500"/>
                </a:lnTo>
                <a:lnTo>
                  <a:pt x="6271066" y="2658753"/>
                </a:lnTo>
                <a:lnTo>
                  <a:pt x="6271066" y="2613879"/>
                </a:lnTo>
                <a:lnTo>
                  <a:pt x="6248630" y="2569006"/>
                </a:lnTo>
                <a:lnTo>
                  <a:pt x="6226193" y="2535351"/>
                </a:lnTo>
                <a:lnTo>
                  <a:pt x="6214975" y="2501696"/>
                </a:lnTo>
                <a:lnTo>
                  <a:pt x="6203756" y="2456822"/>
                </a:lnTo>
                <a:lnTo>
                  <a:pt x="6203756" y="2411949"/>
                </a:lnTo>
                <a:lnTo>
                  <a:pt x="6226193" y="2355857"/>
                </a:lnTo>
                <a:lnTo>
                  <a:pt x="6271066" y="2299765"/>
                </a:lnTo>
                <a:lnTo>
                  <a:pt x="6349595" y="2254892"/>
                </a:lnTo>
                <a:close/>
                <a:moveTo>
                  <a:pt x="1783720" y="2097835"/>
                </a:moveTo>
                <a:lnTo>
                  <a:pt x="1839812" y="2109053"/>
                </a:lnTo>
                <a:lnTo>
                  <a:pt x="1895904" y="2120271"/>
                </a:lnTo>
                <a:lnTo>
                  <a:pt x="1940778" y="2142708"/>
                </a:lnTo>
                <a:lnTo>
                  <a:pt x="1985651" y="2165145"/>
                </a:lnTo>
                <a:lnTo>
                  <a:pt x="2019306" y="2198800"/>
                </a:lnTo>
                <a:lnTo>
                  <a:pt x="2052961" y="2232455"/>
                </a:lnTo>
                <a:lnTo>
                  <a:pt x="2064180" y="2266110"/>
                </a:lnTo>
                <a:lnTo>
                  <a:pt x="2075398" y="2310983"/>
                </a:lnTo>
                <a:lnTo>
                  <a:pt x="2064180" y="2355857"/>
                </a:lnTo>
                <a:lnTo>
                  <a:pt x="2052961" y="2400730"/>
                </a:lnTo>
                <a:lnTo>
                  <a:pt x="2019306" y="2434385"/>
                </a:lnTo>
                <a:lnTo>
                  <a:pt x="1985651" y="2468040"/>
                </a:lnTo>
                <a:lnTo>
                  <a:pt x="1940778" y="2490477"/>
                </a:lnTo>
                <a:lnTo>
                  <a:pt x="1895904" y="2512914"/>
                </a:lnTo>
                <a:lnTo>
                  <a:pt x="1839812" y="2524132"/>
                </a:lnTo>
                <a:lnTo>
                  <a:pt x="1783720" y="2524132"/>
                </a:lnTo>
                <a:lnTo>
                  <a:pt x="1727629" y="2524132"/>
                </a:lnTo>
                <a:lnTo>
                  <a:pt x="1671537" y="2512914"/>
                </a:lnTo>
                <a:lnTo>
                  <a:pt x="1615445" y="2490477"/>
                </a:lnTo>
                <a:lnTo>
                  <a:pt x="1570571" y="2468040"/>
                </a:lnTo>
                <a:lnTo>
                  <a:pt x="1536916" y="2434385"/>
                </a:lnTo>
                <a:lnTo>
                  <a:pt x="1514480" y="2400730"/>
                </a:lnTo>
                <a:lnTo>
                  <a:pt x="1492043" y="2355857"/>
                </a:lnTo>
                <a:lnTo>
                  <a:pt x="1492043" y="2310983"/>
                </a:lnTo>
                <a:lnTo>
                  <a:pt x="1492043" y="2266110"/>
                </a:lnTo>
                <a:lnTo>
                  <a:pt x="1514480" y="2232455"/>
                </a:lnTo>
                <a:lnTo>
                  <a:pt x="1536916" y="2198800"/>
                </a:lnTo>
                <a:lnTo>
                  <a:pt x="1570571" y="2165145"/>
                </a:lnTo>
                <a:lnTo>
                  <a:pt x="1615445" y="2142708"/>
                </a:lnTo>
                <a:lnTo>
                  <a:pt x="1671537" y="2120271"/>
                </a:lnTo>
                <a:lnTo>
                  <a:pt x="1727629" y="2109053"/>
                </a:lnTo>
                <a:close/>
                <a:moveTo>
                  <a:pt x="5586746" y="560918"/>
                </a:moveTo>
                <a:lnTo>
                  <a:pt x="5654056" y="560918"/>
                </a:lnTo>
                <a:lnTo>
                  <a:pt x="5710148" y="583355"/>
                </a:lnTo>
                <a:lnTo>
                  <a:pt x="5777458" y="628229"/>
                </a:lnTo>
                <a:lnTo>
                  <a:pt x="5844768" y="684320"/>
                </a:lnTo>
                <a:lnTo>
                  <a:pt x="5900860" y="762849"/>
                </a:lnTo>
                <a:lnTo>
                  <a:pt x="5956952" y="852596"/>
                </a:lnTo>
                <a:lnTo>
                  <a:pt x="6001826" y="953561"/>
                </a:lnTo>
                <a:lnTo>
                  <a:pt x="6035481" y="1054526"/>
                </a:lnTo>
                <a:lnTo>
                  <a:pt x="6057918" y="1166710"/>
                </a:lnTo>
                <a:lnTo>
                  <a:pt x="6069136" y="1267675"/>
                </a:lnTo>
                <a:lnTo>
                  <a:pt x="6069136" y="1368641"/>
                </a:lnTo>
                <a:lnTo>
                  <a:pt x="6057918" y="1447169"/>
                </a:lnTo>
                <a:lnTo>
                  <a:pt x="6035481" y="1514480"/>
                </a:lnTo>
                <a:lnTo>
                  <a:pt x="6001826" y="1570571"/>
                </a:lnTo>
                <a:lnTo>
                  <a:pt x="5956952" y="1615445"/>
                </a:lnTo>
                <a:lnTo>
                  <a:pt x="5900860" y="1626663"/>
                </a:lnTo>
                <a:lnTo>
                  <a:pt x="5833550" y="1626663"/>
                </a:lnTo>
                <a:lnTo>
                  <a:pt x="5766240" y="1604226"/>
                </a:lnTo>
                <a:lnTo>
                  <a:pt x="5710148" y="1559353"/>
                </a:lnTo>
                <a:lnTo>
                  <a:pt x="5642838" y="1492043"/>
                </a:lnTo>
                <a:lnTo>
                  <a:pt x="5586746" y="1424733"/>
                </a:lnTo>
                <a:lnTo>
                  <a:pt x="5530654" y="1334986"/>
                </a:lnTo>
                <a:lnTo>
                  <a:pt x="5485781" y="1234020"/>
                </a:lnTo>
                <a:lnTo>
                  <a:pt x="5452126" y="1133055"/>
                </a:lnTo>
                <a:lnTo>
                  <a:pt x="5418471" y="1020871"/>
                </a:lnTo>
                <a:lnTo>
                  <a:pt x="5407252" y="919906"/>
                </a:lnTo>
                <a:lnTo>
                  <a:pt x="5407252" y="818941"/>
                </a:lnTo>
                <a:lnTo>
                  <a:pt x="5429689" y="740412"/>
                </a:lnTo>
                <a:lnTo>
                  <a:pt x="5452126" y="673102"/>
                </a:lnTo>
                <a:lnTo>
                  <a:pt x="5485781" y="617010"/>
                </a:lnTo>
                <a:lnTo>
                  <a:pt x="5530654" y="572137"/>
                </a:lnTo>
                <a:close/>
                <a:moveTo>
                  <a:pt x="4285416" y="347770"/>
                </a:moveTo>
                <a:lnTo>
                  <a:pt x="4386381" y="347770"/>
                </a:lnTo>
                <a:lnTo>
                  <a:pt x="4487346" y="358988"/>
                </a:lnTo>
                <a:lnTo>
                  <a:pt x="4565875" y="392643"/>
                </a:lnTo>
                <a:lnTo>
                  <a:pt x="4644404" y="426298"/>
                </a:lnTo>
                <a:lnTo>
                  <a:pt x="4711714" y="459953"/>
                </a:lnTo>
                <a:lnTo>
                  <a:pt x="4801460" y="527263"/>
                </a:lnTo>
                <a:lnTo>
                  <a:pt x="4835116" y="560918"/>
                </a:lnTo>
                <a:lnTo>
                  <a:pt x="4924862" y="639447"/>
                </a:lnTo>
                <a:lnTo>
                  <a:pt x="5014610" y="729194"/>
                </a:lnTo>
                <a:lnTo>
                  <a:pt x="5070702" y="830159"/>
                </a:lnTo>
                <a:lnTo>
                  <a:pt x="5126794" y="919906"/>
                </a:lnTo>
                <a:lnTo>
                  <a:pt x="5160448" y="1009653"/>
                </a:lnTo>
                <a:lnTo>
                  <a:pt x="5194104" y="1099400"/>
                </a:lnTo>
                <a:lnTo>
                  <a:pt x="5216540" y="1177929"/>
                </a:lnTo>
                <a:lnTo>
                  <a:pt x="5216540" y="1267675"/>
                </a:lnTo>
                <a:lnTo>
                  <a:pt x="5227758" y="1413514"/>
                </a:lnTo>
                <a:lnTo>
                  <a:pt x="5205322" y="1525698"/>
                </a:lnTo>
                <a:lnTo>
                  <a:pt x="5182885" y="1626663"/>
                </a:lnTo>
                <a:lnTo>
                  <a:pt x="5149230" y="1772502"/>
                </a:lnTo>
                <a:lnTo>
                  <a:pt x="5138012" y="1884686"/>
                </a:lnTo>
                <a:lnTo>
                  <a:pt x="5138012" y="1985651"/>
                </a:lnTo>
                <a:lnTo>
                  <a:pt x="5149230" y="2052961"/>
                </a:lnTo>
                <a:lnTo>
                  <a:pt x="5182885" y="2109053"/>
                </a:lnTo>
                <a:lnTo>
                  <a:pt x="5205322" y="2153926"/>
                </a:lnTo>
                <a:lnTo>
                  <a:pt x="5238977" y="2198800"/>
                </a:lnTo>
                <a:lnTo>
                  <a:pt x="5283850" y="2232455"/>
                </a:lnTo>
                <a:lnTo>
                  <a:pt x="5328724" y="2254892"/>
                </a:lnTo>
                <a:lnTo>
                  <a:pt x="5407252" y="2288547"/>
                </a:lnTo>
                <a:lnTo>
                  <a:pt x="5485781" y="2299765"/>
                </a:lnTo>
                <a:lnTo>
                  <a:pt x="5553091" y="2299765"/>
                </a:lnTo>
                <a:lnTo>
                  <a:pt x="5620402" y="2299765"/>
                </a:lnTo>
                <a:lnTo>
                  <a:pt x="5732585" y="2299765"/>
                </a:lnTo>
                <a:lnTo>
                  <a:pt x="5822332" y="2310983"/>
                </a:lnTo>
                <a:lnTo>
                  <a:pt x="5900860" y="2333420"/>
                </a:lnTo>
                <a:lnTo>
                  <a:pt x="5956952" y="2355857"/>
                </a:lnTo>
                <a:lnTo>
                  <a:pt x="5990608" y="2389512"/>
                </a:lnTo>
                <a:lnTo>
                  <a:pt x="6013044" y="2411949"/>
                </a:lnTo>
                <a:lnTo>
                  <a:pt x="6035481" y="2434385"/>
                </a:lnTo>
                <a:lnTo>
                  <a:pt x="6057918" y="2468040"/>
                </a:lnTo>
                <a:lnTo>
                  <a:pt x="6069136" y="2501696"/>
                </a:lnTo>
                <a:lnTo>
                  <a:pt x="6091572" y="2569006"/>
                </a:lnTo>
                <a:lnTo>
                  <a:pt x="6091572" y="2647534"/>
                </a:lnTo>
                <a:lnTo>
                  <a:pt x="6069136" y="2714845"/>
                </a:lnTo>
                <a:lnTo>
                  <a:pt x="6024262" y="2827028"/>
                </a:lnTo>
                <a:lnTo>
                  <a:pt x="6001826" y="2860683"/>
                </a:lnTo>
                <a:lnTo>
                  <a:pt x="5923298" y="2984085"/>
                </a:lnTo>
                <a:lnTo>
                  <a:pt x="5867206" y="3085050"/>
                </a:lnTo>
                <a:lnTo>
                  <a:pt x="5833550" y="3174798"/>
                </a:lnTo>
                <a:lnTo>
                  <a:pt x="5811114" y="3242107"/>
                </a:lnTo>
                <a:lnTo>
                  <a:pt x="5799895" y="3309418"/>
                </a:lnTo>
                <a:lnTo>
                  <a:pt x="5799895" y="3354291"/>
                </a:lnTo>
                <a:lnTo>
                  <a:pt x="5799895" y="3387946"/>
                </a:lnTo>
                <a:lnTo>
                  <a:pt x="5811114" y="3444038"/>
                </a:lnTo>
                <a:lnTo>
                  <a:pt x="5822332" y="3500130"/>
                </a:lnTo>
                <a:lnTo>
                  <a:pt x="5844768" y="3545004"/>
                </a:lnTo>
                <a:lnTo>
                  <a:pt x="5878424" y="3578658"/>
                </a:lnTo>
                <a:lnTo>
                  <a:pt x="5912079" y="3612314"/>
                </a:lnTo>
                <a:lnTo>
                  <a:pt x="5945734" y="3645969"/>
                </a:lnTo>
                <a:lnTo>
                  <a:pt x="6024262" y="3679624"/>
                </a:lnTo>
                <a:lnTo>
                  <a:pt x="6091572" y="3702061"/>
                </a:lnTo>
                <a:lnTo>
                  <a:pt x="6158883" y="3702061"/>
                </a:lnTo>
                <a:lnTo>
                  <a:pt x="6226193" y="3702061"/>
                </a:lnTo>
                <a:lnTo>
                  <a:pt x="6360814" y="3713279"/>
                </a:lnTo>
                <a:lnTo>
                  <a:pt x="6484216" y="3735716"/>
                </a:lnTo>
                <a:lnTo>
                  <a:pt x="6573962" y="3769371"/>
                </a:lnTo>
                <a:lnTo>
                  <a:pt x="6652491" y="3803026"/>
                </a:lnTo>
                <a:lnTo>
                  <a:pt x="6708583" y="3847899"/>
                </a:lnTo>
                <a:lnTo>
                  <a:pt x="6753456" y="3881554"/>
                </a:lnTo>
                <a:lnTo>
                  <a:pt x="6787112" y="3926428"/>
                </a:lnTo>
                <a:lnTo>
                  <a:pt x="6809548" y="3960083"/>
                </a:lnTo>
                <a:lnTo>
                  <a:pt x="6831985" y="4004956"/>
                </a:lnTo>
                <a:lnTo>
                  <a:pt x="6843204" y="4038611"/>
                </a:lnTo>
                <a:lnTo>
                  <a:pt x="6843204" y="4072266"/>
                </a:lnTo>
                <a:lnTo>
                  <a:pt x="6831985" y="4105922"/>
                </a:lnTo>
                <a:lnTo>
                  <a:pt x="6809548" y="4139577"/>
                </a:lnTo>
                <a:lnTo>
                  <a:pt x="6764674" y="4195669"/>
                </a:lnTo>
                <a:lnTo>
                  <a:pt x="6708583" y="4240542"/>
                </a:lnTo>
                <a:lnTo>
                  <a:pt x="6652491" y="4274197"/>
                </a:lnTo>
                <a:lnTo>
                  <a:pt x="6596399" y="4296634"/>
                </a:lnTo>
                <a:lnTo>
                  <a:pt x="6529089" y="4319071"/>
                </a:lnTo>
                <a:lnTo>
                  <a:pt x="6484216" y="4341507"/>
                </a:lnTo>
                <a:lnTo>
                  <a:pt x="6394468" y="4408818"/>
                </a:lnTo>
                <a:lnTo>
                  <a:pt x="6338377" y="4476128"/>
                </a:lnTo>
                <a:lnTo>
                  <a:pt x="6293504" y="4554656"/>
                </a:lnTo>
                <a:lnTo>
                  <a:pt x="6259848" y="4621966"/>
                </a:lnTo>
                <a:lnTo>
                  <a:pt x="6248630" y="4678058"/>
                </a:lnTo>
                <a:lnTo>
                  <a:pt x="6248630" y="4722932"/>
                </a:lnTo>
                <a:lnTo>
                  <a:pt x="6237412" y="4812679"/>
                </a:lnTo>
                <a:lnTo>
                  <a:pt x="6214975" y="4879989"/>
                </a:lnTo>
                <a:lnTo>
                  <a:pt x="6192538" y="4947299"/>
                </a:lnTo>
                <a:lnTo>
                  <a:pt x="6158883" y="5003391"/>
                </a:lnTo>
                <a:lnTo>
                  <a:pt x="6091572" y="5093138"/>
                </a:lnTo>
                <a:lnTo>
                  <a:pt x="6024262" y="5171666"/>
                </a:lnTo>
                <a:lnTo>
                  <a:pt x="5945734" y="5216540"/>
                </a:lnTo>
                <a:lnTo>
                  <a:pt x="5878424" y="5250195"/>
                </a:lnTo>
                <a:lnTo>
                  <a:pt x="5822332" y="5261413"/>
                </a:lnTo>
                <a:lnTo>
                  <a:pt x="5743804" y="5295068"/>
                </a:lnTo>
                <a:lnTo>
                  <a:pt x="5676493" y="5317505"/>
                </a:lnTo>
                <a:lnTo>
                  <a:pt x="5631620" y="5351160"/>
                </a:lnTo>
                <a:lnTo>
                  <a:pt x="5586746" y="5384815"/>
                </a:lnTo>
                <a:lnTo>
                  <a:pt x="5553091" y="5418470"/>
                </a:lnTo>
                <a:lnTo>
                  <a:pt x="5530654" y="5452125"/>
                </a:lnTo>
                <a:lnTo>
                  <a:pt x="5497000" y="5530654"/>
                </a:lnTo>
                <a:lnTo>
                  <a:pt x="5497000" y="5586746"/>
                </a:lnTo>
                <a:lnTo>
                  <a:pt x="5497000" y="5642838"/>
                </a:lnTo>
                <a:lnTo>
                  <a:pt x="5519436" y="5698929"/>
                </a:lnTo>
                <a:lnTo>
                  <a:pt x="5541873" y="5755021"/>
                </a:lnTo>
                <a:lnTo>
                  <a:pt x="5553091" y="5811113"/>
                </a:lnTo>
                <a:lnTo>
                  <a:pt x="5553091" y="5867205"/>
                </a:lnTo>
                <a:lnTo>
                  <a:pt x="5530654" y="5912078"/>
                </a:lnTo>
                <a:lnTo>
                  <a:pt x="5497000" y="5979389"/>
                </a:lnTo>
                <a:lnTo>
                  <a:pt x="5474562" y="6013044"/>
                </a:lnTo>
                <a:lnTo>
                  <a:pt x="5384816" y="6069135"/>
                </a:lnTo>
                <a:lnTo>
                  <a:pt x="5283850" y="6091572"/>
                </a:lnTo>
                <a:lnTo>
                  <a:pt x="5205322" y="6102791"/>
                </a:lnTo>
                <a:lnTo>
                  <a:pt x="5126794" y="6102791"/>
                </a:lnTo>
                <a:lnTo>
                  <a:pt x="5070702" y="6091572"/>
                </a:lnTo>
                <a:lnTo>
                  <a:pt x="5025828" y="6080354"/>
                </a:lnTo>
                <a:lnTo>
                  <a:pt x="4980954" y="6057917"/>
                </a:lnTo>
                <a:lnTo>
                  <a:pt x="4857552" y="6001825"/>
                </a:lnTo>
                <a:lnTo>
                  <a:pt x="4734150" y="5968170"/>
                </a:lnTo>
                <a:lnTo>
                  <a:pt x="4633185" y="5934515"/>
                </a:lnTo>
                <a:lnTo>
                  <a:pt x="4532220" y="5923297"/>
                </a:lnTo>
                <a:lnTo>
                  <a:pt x="4431254" y="5923297"/>
                </a:lnTo>
                <a:lnTo>
                  <a:pt x="4341508" y="5934515"/>
                </a:lnTo>
                <a:lnTo>
                  <a:pt x="4262979" y="5945733"/>
                </a:lnTo>
                <a:lnTo>
                  <a:pt x="4195669" y="5968170"/>
                </a:lnTo>
                <a:lnTo>
                  <a:pt x="4083485" y="6024262"/>
                </a:lnTo>
                <a:lnTo>
                  <a:pt x="3993738" y="6080354"/>
                </a:lnTo>
                <a:lnTo>
                  <a:pt x="3926428" y="6136446"/>
                </a:lnTo>
                <a:lnTo>
                  <a:pt x="3814244" y="6248629"/>
                </a:lnTo>
                <a:lnTo>
                  <a:pt x="3702061" y="6327158"/>
                </a:lnTo>
                <a:lnTo>
                  <a:pt x="3601096" y="6383250"/>
                </a:lnTo>
                <a:lnTo>
                  <a:pt x="3511348" y="6416905"/>
                </a:lnTo>
                <a:lnTo>
                  <a:pt x="3432820" y="6428123"/>
                </a:lnTo>
                <a:lnTo>
                  <a:pt x="3365510" y="6428123"/>
                </a:lnTo>
                <a:lnTo>
                  <a:pt x="3320636" y="6428123"/>
                </a:lnTo>
                <a:lnTo>
                  <a:pt x="3208453" y="6405686"/>
                </a:lnTo>
                <a:lnTo>
                  <a:pt x="3118706" y="6372031"/>
                </a:lnTo>
                <a:lnTo>
                  <a:pt x="3051396" y="6315939"/>
                </a:lnTo>
                <a:lnTo>
                  <a:pt x="3006522" y="6271066"/>
                </a:lnTo>
                <a:lnTo>
                  <a:pt x="2972867" y="6214974"/>
                </a:lnTo>
                <a:lnTo>
                  <a:pt x="2950430" y="6170101"/>
                </a:lnTo>
                <a:lnTo>
                  <a:pt x="2939212" y="6136446"/>
                </a:lnTo>
                <a:lnTo>
                  <a:pt x="2916775" y="6035480"/>
                </a:lnTo>
                <a:lnTo>
                  <a:pt x="2871902" y="5956952"/>
                </a:lnTo>
                <a:lnTo>
                  <a:pt x="2827028" y="5900860"/>
                </a:lnTo>
                <a:lnTo>
                  <a:pt x="2770936" y="5867205"/>
                </a:lnTo>
                <a:lnTo>
                  <a:pt x="2714844" y="5844768"/>
                </a:lnTo>
                <a:lnTo>
                  <a:pt x="2669971" y="5833550"/>
                </a:lnTo>
                <a:lnTo>
                  <a:pt x="2625098" y="5833550"/>
                </a:lnTo>
                <a:lnTo>
                  <a:pt x="2535351" y="5833550"/>
                </a:lnTo>
                <a:lnTo>
                  <a:pt x="2468040" y="5811113"/>
                </a:lnTo>
                <a:lnTo>
                  <a:pt x="2400730" y="5777458"/>
                </a:lnTo>
                <a:lnTo>
                  <a:pt x="2344638" y="5743803"/>
                </a:lnTo>
                <a:lnTo>
                  <a:pt x="2310984" y="5698929"/>
                </a:lnTo>
                <a:lnTo>
                  <a:pt x="2277328" y="5665274"/>
                </a:lnTo>
                <a:lnTo>
                  <a:pt x="2254892" y="5631619"/>
                </a:lnTo>
                <a:lnTo>
                  <a:pt x="2221236" y="5575527"/>
                </a:lnTo>
                <a:lnTo>
                  <a:pt x="2176363" y="5541872"/>
                </a:lnTo>
                <a:lnTo>
                  <a:pt x="2120271" y="5508217"/>
                </a:lnTo>
                <a:lnTo>
                  <a:pt x="2075398" y="5485781"/>
                </a:lnTo>
                <a:lnTo>
                  <a:pt x="2019306" y="5474562"/>
                </a:lnTo>
                <a:lnTo>
                  <a:pt x="1963214" y="5463344"/>
                </a:lnTo>
                <a:lnTo>
                  <a:pt x="1851031" y="5463344"/>
                </a:lnTo>
                <a:lnTo>
                  <a:pt x="1750065" y="5485781"/>
                </a:lnTo>
                <a:lnTo>
                  <a:pt x="1660318" y="5508217"/>
                </a:lnTo>
                <a:lnTo>
                  <a:pt x="1581790" y="5541872"/>
                </a:lnTo>
                <a:lnTo>
                  <a:pt x="1435951" y="5586746"/>
                </a:lnTo>
                <a:lnTo>
                  <a:pt x="1301331" y="5609183"/>
                </a:lnTo>
                <a:lnTo>
                  <a:pt x="1177929" y="5620401"/>
                </a:lnTo>
                <a:lnTo>
                  <a:pt x="1076963" y="5631619"/>
                </a:lnTo>
                <a:lnTo>
                  <a:pt x="987216" y="5631619"/>
                </a:lnTo>
                <a:lnTo>
                  <a:pt x="897469" y="5620401"/>
                </a:lnTo>
                <a:lnTo>
                  <a:pt x="830159" y="5597964"/>
                </a:lnTo>
                <a:lnTo>
                  <a:pt x="774067" y="5586746"/>
                </a:lnTo>
                <a:lnTo>
                  <a:pt x="684321" y="5530654"/>
                </a:lnTo>
                <a:lnTo>
                  <a:pt x="639447" y="5485781"/>
                </a:lnTo>
                <a:lnTo>
                  <a:pt x="605792" y="5452125"/>
                </a:lnTo>
                <a:lnTo>
                  <a:pt x="594574" y="5429689"/>
                </a:lnTo>
                <a:lnTo>
                  <a:pt x="572137" y="5362379"/>
                </a:lnTo>
                <a:lnTo>
                  <a:pt x="549700" y="5283850"/>
                </a:lnTo>
                <a:lnTo>
                  <a:pt x="538482" y="5216540"/>
                </a:lnTo>
                <a:lnTo>
                  <a:pt x="538482" y="5149230"/>
                </a:lnTo>
                <a:lnTo>
                  <a:pt x="549700" y="5025828"/>
                </a:lnTo>
                <a:lnTo>
                  <a:pt x="583355" y="4913644"/>
                </a:lnTo>
                <a:lnTo>
                  <a:pt x="639447" y="4801460"/>
                </a:lnTo>
                <a:lnTo>
                  <a:pt x="706757" y="4711713"/>
                </a:lnTo>
                <a:lnTo>
                  <a:pt x="796504" y="4621966"/>
                </a:lnTo>
                <a:lnTo>
                  <a:pt x="886251" y="4554656"/>
                </a:lnTo>
                <a:lnTo>
                  <a:pt x="975998" y="4487346"/>
                </a:lnTo>
                <a:lnTo>
                  <a:pt x="1076963" y="4431254"/>
                </a:lnTo>
                <a:lnTo>
                  <a:pt x="1245239" y="4341507"/>
                </a:lnTo>
                <a:lnTo>
                  <a:pt x="1368641" y="4285416"/>
                </a:lnTo>
                <a:lnTo>
                  <a:pt x="1424733" y="4274197"/>
                </a:lnTo>
                <a:lnTo>
                  <a:pt x="1559353" y="4218105"/>
                </a:lnTo>
                <a:lnTo>
                  <a:pt x="1671537" y="4162013"/>
                </a:lnTo>
                <a:lnTo>
                  <a:pt x="1750065" y="4094703"/>
                </a:lnTo>
                <a:lnTo>
                  <a:pt x="1806157" y="4038611"/>
                </a:lnTo>
                <a:lnTo>
                  <a:pt x="1851031" y="3971301"/>
                </a:lnTo>
                <a:lnTo>
                  <a:pt x="1873467" y="3926428"/>
                </a:lnTo>
                <a:lnTo>
                  <a:pt x="1884686" y="3892773"/>
                </a:lnTo>
                <a:lnTo>
                  <a:pt x="1884686" y="3803026"/>
                </a:lnTo>
                <a:lnTo>
                  <a:pt x="1862249" y="3746934"/>
                </a:lnTo>
                <a:lnTo>
                  <a:pt x="1828594" y="3690842"/>
                </a:lnTo>
                <a:lnTo>
                  <a:pt x="1794939" y="3657187"/>
                </a:lnTo>
                <a:lnTo>
                  <a:pt x="1761284" y="3634750"/>
                </a:lnTo>
                <a:lnTo>
                  <a:pt x="1738847" y="3612314"/>
                </a:lnTo>
                <a:lnTo>
                  <a:pt x="1705192" y="3601095"/>
                </a:lnTo>
                <a:lnTo>
                  <a:pt x="1604227" y="3578658"/>
                </a:lnTo>
                <a:lnTo>
                  <a:pt x="1514480" y="3545004"/>
                </a:lnTo>
                <a:lnTo>
                  <a:pt x="1435951" y="3511348"/>
                </a:lnTo>
                <a:lnTo>
                  <a:pt x="1368641" y="3477693"/>
                </a:lnTo>
                <a:lnTo>
                  <a:pt x="1267676" y="3399165"/>
                </a:lnTo>
                <a:lnTo>
                  <a:pt x="1200365" y="3320636"/>
                </a:lnTo>
                <a:lnTo>
                  <a:pt x="1155492" y="3253326"/>
                </a:lnTo>
                <a:lnTo>
                  <a:pt x="1133055" y="3208452"/>
                </a:lnTo>
                <a:lnTo>
                  <a:pt x="1133055" y="3152361"/>
                </a:lnTo>
                <a:lnTo>
                  <a:pt x="1144274" y="3096269"/>
                </a:lnTo>
                <a:lnTo>
                  <a:pt x="1177929" y="3040177"/>
                </a:lnTo>
                <a:lnTo>
                  <a:pt x="1211584" y="2995303"/>
                </a:lnTo>
                <a:lnTo>
                  <a:pt x="1267676" y="2950430"/>
                </a:lnTo>
                <a:lnTo>
                  <a:pt x="1334986" y="2916775"/>
                </a:lnTo>
                <a:lnTo>
                  <a:pt x="1402296" y="2894338"/>
                </a:lnTo>
                <a:lnTo>
                  <a:pt x="1548135" y="2860683"/>
                </a:lnTo>
                <a:lnTo>
                  <a:pt x="1705192" y="2838246"/>
                </a:lnTo>
                <a:lnTo>
                  <a:pt x="1828594" y="2827028"/>
                </a:lnTo>
                <a:lnTo>
                  <a:pt x="1963214" y="2827028"/>
                </a:lnTo>
                <a:lnTo>
                  <a:pt x="2052961" y="2827028"/>
                </a:lnTo>
                <a:lnTo>
                  <a:pt x="2142708" y="2815810"/>
                </a:lnTo>
                <a:lnTo>
                  <a:pt x="2299765" y="2782155"/>
                </a:lnTo>
                <a:lnTo>
                  <a:pt x="2411949" y="2737281"/>
                </a:lnTo>
                <a:lnTo>
                  <a:pt x="2490477" y="2681189"/>
                </a:lnTo>
                <a:lnTo>
                  <a:pt x="2546569" y="2625097"/>
                </a:lnTo>
                <a:lnTo>
                  <a:pt x="2580224" y="2580224"/>
                </a:lnTo>
                <a:lnTo>
                  <a:pt x="2602661" y="2535351"/>
                </a:lnTo>
                <a:lnTo>
                  <a:pt x="2625098" y="2434385"/>
                </a:lnTo>
                <a:lnTo>
                  <a:pt x="2625098" y="2355857"/>
                </a:lnTo>
                <a:lnTo>
                  <a:pt x="2613879" y="2288547"/>
                </a:lnTo>
                <a:lnTo>
                  <a:pt x="2591442" y="2232455"/>
                </a:lnTo>
                <a:lnTo>
                  <a:pt x="2569006" y="2187581"/>
                </a:lnTo>
                <a:lnTo>
                  <a:pt x="2535351" y="2153926"/>
                </a:lnTo>
                <a:lnTo>
                  <a:pt x="2512914" y="2131490"/>
                </a:lnTo>
                <a:lnTo>
                  <a:pt x="2423167" y="2030524"/>
                </a:lnTo>
                <a:lnTo>
                  <a:pt x="2355857" y="1940777"/>
                </a:lnTo>
                <a:lnTo>
                  <a:pt x="2322202" y="1862249"/>
                </a:lnTo>
                <a:lnTo>
                  <a:pt x="2310984" y="1783720"/>
                </a:lnTo>
                <a:lnTo>
                  <a:pt x="2299765" y="1716410"/>
                </a:lnTo>
                <a:lnTo>
                  <a:pt x="2310984" y="1660318"/>
                </a:lnTo>
                <a:lnTo>
                  <a:pt x="2322202" y="1615445"/>
                </a:lnTo>
                <a:lnTo>
                  <a:pt x="2344638" y="1559353"/>
                </a:lnTo>
                <a:lnTo>
                  <a:pt x="2378294" y="1514480"/>
                </a:lnTo>
                <a:lnTo>
                  <a:pt x="2411949" y="1480824"/>
                </a:lnTo>
                <a:lnTo>
                  <a:pt x="2445604" y="1447169"/>
                </a:lnTo>
                <a:lnTo>
                  <a:pt x="2490477" y="1435951"/>
                </a:lnTo>
                <a:lnTo>
                  <a:pt x="2535351" y="1424733"/>
                </a:lnTo>
                <a:lnTo>
                  <a:pt x="2636316" y="1413514"/>
                </a:lnTo>
                <a:lnTo>
                  <a:pt x="2714844" y="1424733"/>
                </a:lnTo>
                <a:lnTo>
                  <a:pt x="2793373" y="1447169"/>
                </a:lnTo>
                <a:lnTo>
                  <a:pt x="2860683" y="1469606"/>
                </a:lnTo>
                <a:lnTo>
                  <a:pt x="2927994" y="1480824"/>
                </a:lnTo>
                <a:lnTo>
                  <a:pt x="2995304" y="1492043"/>
                </a:lnTo>
                <a:lnTo>
                  <a:pt x="3062614" y="1480824"/>
                </a:lnTo>
                <a:lnTo>
                  <a:pt x="3118706" y="1458388"/>
                </a:lnTo>
                <a:lnTo>
                  <a:pt x="3174798" y="1435951"/>
                </a:lnTo>
                <a:lnTo>
                  <a:pt x="3230890" y="1413514"/>
                </a:lnTo>
                <a:lnTo>
                  <a:pt x="3320636" y="1334986"/>
                </a:lnTo>
                <a:lnTo>
                  <a:pt x="3387946" y="1256457"/>
                </a:lnTo>
                <a:lnTo>
                  <a:pt x="3444038" y="1189147"/>
                </a:lnTo>
                <a:lnTo>
                  <a:pt x="3488912" y="1121837"/>
                </a:lnTo>
                <a:lnTo>
                  <a:pt x="3601096" y="897469"/>
                </a:lnTo>
                <a:lnTo>
                  <a:pt x="3724498" y="717976"/>
                </a:lnTo>
                <a:lnTo>
                  <a:pt x="3836681" y="583355"/>
                </a:lnTo>
                <a:lnTo>
                  <a:pt x="3960083" y="482390"/>
                </a:lnTo>
                <a:lnTo>
                  <a:pt x="4072267" y="415080"/>
                </a:lnTo>
                <a:lnTo>
                  <a:pt x="4184450" y="370206"/>
                </a:lnTo>
                <a:close/>
                <a:moveTo>
                  <a:pt x="3387946" y="0"/>
                </a:moveTo>
                <a:lnTo>
                  <a:pt x="3466475" y="11218"/>
                </a:lnTo>
                <a:lnTo>
                  <a:pt x="3533785" y="44874"/>
                </a:lnTo>
                <a:lnTo>
                  <a:pt x="3578659" y="89747"/>
                </a:lnTo>
                <a:lnTo>
                  <a:pt x="3612314" y="157057"/>
                </a:lnTo>
                <a:lnTo>
                  <a:pt x="3634750" y="224367"/>
                </a:lnTo>
                <a:lnTo>
                  <a:pt x="3634750" y="314114"/>
                </a:lnTo>
                <a:lnTo>
                  <a:pt x="3623532" y="403861"/>
                </a:lnTo>
                <a:lnTo>
                  <a:pt x="3589877" y="504827"/>
                </a:lnTo>
                <a:lnTo>
                  <a:pt x="3545004" y="605792"/>
                </a:lnTo>
                <a:lnTo>
                  <a:pt x="3477694" y="695539"/>
                </a:lnTo>
                <a:lnTo>
                  <a:pt x="3410383" y="785286"/>
                </a:lnTo>
                <a:lnTo>
                  <a:pt x="3320636" y="863814"/>
                </a:lnTo>
                <a:lnTo>
                  <a:pt x="3242108" y="931124"/>
                </a:lnTo>
                <a:lnTo>
                  <a:pt x="3152361" y="975998"/>
                </a:lnTo>
                <a:lnTo>
                  <a:pt x="3062614" y="998435"/>
                </a:lnTo>
                <a:lnTo>
                  <a:pt x="2984085" y="1009653"/>
                </a:lnTo>
                <a:lnTo>
                  <a:pt x="2905557" y="998435"/>
                </a:lnTo>
                <a:lnTo>
                  <a:pt x="2849465" y="964780"/>
                </a:lnTo>
                <a:lnTo>
                  <a:pt x="2793373" y="919906"/>
                </a:lnTo>
                <a:lnTo>
                  <a:pt x="2759718" y="852596"/>
                </a:lnTo>
                <a:lnTo>
                  <a:pt x="2737281" y="785286"/>
                </a:lnTo>
                <a:lnTo>
                  <a:pt x="2737281" y="695539"/>
                </a:lnTo>
                <a:lnTo>
                  <a:pt x="2748500" y="605792"/>
                </a:lnTo>
                <a:lnTo>
                  <a:pt x="2782155" y="504827"/>
                </a:lnTo>
                <a:lnTo>
                  <a:pt x="2827028" y="403861"/>
                </a:lnTo>
                <a:lnTo>
                  <a:pt x="2894338" y="314114"/>
                </a:lnTo>
                <a:lnTo>
                  <a:pt x="2972867" y="224367"/>
                </a:lnTo>
                <a:lnTo>
                  <a:pt x="3051396" y="145839"/>
                </a:lnTo>
                <a:lnTo>
                  <a:pt x="3141142" y="78529"/>
                </a:lnTo>
                <a:lnTo>
                  <a:pt x="3219671" y="33655"/>
                </a:lnTo>
                <a:lnTo>
                  <a:pt x="3309418" y="11218"/>
                </a:lnTo>
                <a:close/>
              </a:path>
            </a:pathLst>
          </a:custGeom>
          <a:solidFill>
            <a:schemeClr val="bg1">
              <a:lumMod val="85000"/>
            </a:schemeClr>
          </a:solidFill>
        </p:spPr>
        <p:txBody>
          <a:bodyPr wrap="square">
            <a:noAutofit/>
          </a:bodyPr>
          <a:lstStyle>
            <a:lvl1pPr marL="0" indent="0">
              <a:buNone/>
              <a:defRPr sz="2000"/>
            </a:lvl1pPr>
          </a:lstStyle>
          <a:p>
            <a:endParaRPr lang="en-US" dirty="0"/>
          </a:p>
        </p:txBody>
      </p:sp>
      <p:sp>
        <p:nvSpPr>
          <p:cNvPr id="5" name="Title 1"/>
          <p:cNvSpPr>
            <a:spLocks noGrp="1"/>
          </p:cNvSpPr>
          <p:nvPr>
            <p:ph type="title"/>
          </p:nvPr>
        </p:nvSpPr>
        <p:spPr>
          <a:xfrm>
            <a:off x="518886" y="681214"/>
            <a:ext cx="10515600" cy="977989"/>
          </a:xfrm>
          <a:prstGeom prst="rect">
            <a:avLst/>
          </a:prstGeom>
        </p:spPr>
        <p:txBody>
          <a:bodyPr/>
          <a:lstStyle/>
          <a:p>
            <a:r>
              <a:rPr lang="en-US" dirty="0"/>
              <a:t>Click to edit Master title style</a:t>
            </a:r>
          </a:p>
        </p:txBody>
      </p:sp>
      <p:sp>
        <p:nvSpPr>
          <p:cNvPr id="6" name="Content Placeholder 2"/>
          <p:cNvSpPr>
            <a:spLocks noGrp="1"/>
          </p:cNvSpPr>
          <p:nvPr>
            <p:ph idx="1"/>
          </p:nvPr>
        </p:nvSpPr>
        <p:spPr>
          <a:xfrm>
            <a:off x="518886" y="2141714"/>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9423396"/>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5_Blank">
    <p:spTree>
      <p:nvGrpSpPr>
        <p:cNvPr id="1" name=""/>
        <p:cNvGrpSpPr/>
        <p:nvPr/>
      </p:nvGrpSpPr>
      <p:grpSpPr>
        <a:xfrm>
          <a:off x="0" y="0"/>
          <a:ext cx="0" cy="0"/>
          <a:chOff x="0" y="0"/>
          <a:chExt cx="0" cy="0"/>
        </a:xfrm>
      </p:grpSpPr>
      <p:sp>
        <p:nvSpPr>
          <p:cNvPr id="10" name="Picture Placeholder 10"/>
          <p:cNvSpPr>
            <a:spLocks noGrp="1"/>
          </p:cNvSpPr>
          <p:nvPr>
            <p:ph type="pic" sz="quarter" idx="13"/>
          </p:nvPr>
        </p:nvSpPr>
        <p:spPr>
          <a:xfrm>
            <a:off x="4532414" y="0"/>
            <a:ext cx="3377681" cy="2285116"/>
          </a:xfrm>
          <a:prstGeom prst="rect">
            <a:avLst/>
          </a:prstGeom>
          <a:noFill/>
        </p:spPr>
        <p:txBody>
          <a:bodyPr>
            <a:normAutofit/>
          </a:bodyPr>
          <a:lstStyle>
            <a:lvl1pPr marL="0" indent="0">
              <a:buNone/>
              <a:defRPr sz="2000"/>
            </a:lvl1pPr>
          </a:lstStyle>
          <a:p>
            <a:endParaRPr lang="en-US" dirty="0"/>
          </a:p>
        </p:txBody>
      </p:sp>
      <p:sp>
        <p:nvSpPr>
          <p:cNvPr id="11" name="Picture Placeholder 10"/>
          <p:cNvSpPr>
            <a:spLocks noGrp="1"/>
          </p:cNvSpPr>
          <p:nvPr>
            <p:ph type="pic" sz="quarter" idx="14"/>
          </p:nvPr>
        </p:nvSpPr>
        <p:spPr>
          <a:xfrm>
            <a:off x="4532414" y="2285116"/>
            <a:ext cx="3377681" cy="2285116"/>
          </a:xfrm>
          <a:prstGeom prst="rect">
            <a:avLst/>
          </a:prstGeom>
          <a:noFill/>
        </p:spPr>
        <p:txBody>
          <a:bodyPr>
            <a:normAutofit/>
          </a:bodyPr>
          <a:lstStyle>
            <a:lvl1pPr marL="0" indent="0">
              <a:buNone/>
              <a:defRPr sz="2000"/>
            </a:lvl1pPr>
          </a:lstStyle>
          <a:p>
            <a:endParaRPr lang="en-US" dirty="0"/>
          </a:p>
        </p:txBody>
      </p:sp>
      <p:sp>
        <p:nvSpPr>
          <p:cNvPr id="12" name="Picture Placeholder 10"/>
          <p:cNvSpPr>
            <a:spLocks noGrp="1"/>
          </p:cNvSpPr>
          <p:nvPr>
            <p:ph type="pic" sz="quarter" idx="15"/>
          </p:nvPr>
        </p:nvSpPr>
        <p:spPr>
          <a:xfrm>
            <a:off x="4532414" y="4572884"/>
            <a:ext cx="3377681" cy="2285116"/>
          </a:xfrm>
          <a:prstGeom prst="rect">
            <a:avLst/>
          </a:prstGeom>
          <a:noFill/>
        </p:spPr>
        <p:txBody>
          <a:bodyPr>
            <a:normAutofit/>
          </a:bodyPr>
          <a:lstStyle>
            <a:lvl1pPr marL="0" indent="0">
              <a:buNone/>
              <a:defRPr sz="2000"/>
            </a:lvl1pPr>
          </a:lstStyle>
          <a:p>
            <a:endParaRPr lang="en-US" dirty="0"/>
          </a:p>
        </p:txBody>
      </p:sp>
      <p:sp>
        <p:nvSpPr>
          <p:cNvPr id="6" name="Content Placeholder 2"/>
          <p:cNvSpPr>
            <a:spLocks noGrp="1"/>
          </p:cNvSpPr>
          <p:nvPr>
            <p:ph idx="1"/>
          </p:nvPr>
        </p:nvSpPr>
        <p:spPr>
          <a:xfrm>
            <a:off x="518886" y="2141714"/>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p:cNvSpPr>
            <a:spLocks noGrp="1"/>
          </p:cNvSpPr>
          <p:nvPr>
            <p:ph type="title"/>
          </p:nvPr>
        </p:nvSpPr>
        <p:spPr>
          <a:xfrm>
            <a:off x="518886" y="681214"/>
            <a:ext cx="10515600" cy="977989"/>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457160330"/>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4_Blank">
    <p:spTree>
      <p:nvGrpSpPr>
        <p:cNvPr id="1" name=""/>
        <p:cNvGrpSpPr/>
        <p:nvPr/>
      </p:nvGrpSpPr>
      <p:grpSpPr>
        <a:xfrm>
          <a:off x="0" y="0"/>
          <a:ext cx="0" cy="0"/>
          <a:chOff x="0" y="0"/>
          <a:chExt cx="0" cy="0"/>
        </a:xfrm>
      </p:grpSpPr>
      <p:sp>
        <p:nvSpPr>
          <p:cNvPr id="14" name="Picture Placeholder 10"/>
          <p:cNvSpPr>
            <a:spLocks noGrp="1"/>
          </p:cNvSpPr>
          <p:nvPr>
            <p:ph type="pic" sz="quarter" idx="16"/>
          </p:nvPr>
        </p:nvSpPr>
        <p:spPr>
          <a:xfrm>
            <a:off x="9158109" y="4188735"/>
            <a:ext cx="2570419" cy="1785321"/>
          </a:xfrm>
          <a:prstGeom prst="rect">
            <a:avLst/>
          </a:prstGeom>
          <a:noFill/>
        </p:spPr>
        <p:txBody>
          <a:bodyPr>
            <a:normAutofit/>
          </a:bodyPr>
          <a:lstStyle>
            <a:lvl1pPr marL="0" indent="0">
              <a:buNone/>
              <a:defRPr sz="2000"/>
            </a:lvl1pPr>
          </a:lstStyle>
          <a:p>
            <a:endParaRPr lang="en-US" dirty="0"/>
          </a:p>
        </p:txBody>
      </p:sp>
      <p:sp>
        <p:nvSpPr>
          <p:cNvPr id="11" name="Picture Placeholder 10"/>
          <p:cNvSpPr>
            <a:spLocks noGrp="1"/>
          </p:cNvSpPr>
          <p:nvPr>
            <p:ph type="pic" sz="quarter" idx="13"/>
          </p:nvPr>
        </p:nvSpPr>
        <p:spPr>
          <a:xfrm>
            <a:off x="599103" y="4188735"/>
            <a:ext cx="2570419" cy="1785321"/>
          </a:xfrm>
          <a:prstGeom prst="rect">
            <a:avLst/>
          </a:prstGeom>
          <a:noFill/>
        </p:spPr>
        <p:txBody>
          <a:bodyPr>
            <a:normAutofit/>
          </a:bodyPr>
          <a:lstStyle>
            <a:lvl1pPr marL="0" indent="0">
              <a:buNone/>
              <a:defRPr sz="2000"/>
            </a:lvl1pPr>
          </a:lstStyle>
          <a:p>
            <a:endParaRPr lang="en-US" dirty="0"/>
          </a:p>
        </p:txBody>
      </p:sp>
      <p:sp>
        <p:nvSpPr>
          <p:cNvPr id="12" name="Picture Placeholder 10"/>
          <p:cNvSpPr>
            <a:spLocks noGrp="1"/>
          </p:cNvSpPr>
          <p:nvPr>
            <p:ph type="pic" sz="quarter" idx="14"/>
          </p:nvPr>
        </p:nvSpPr>
        <p:spPr>
          <a:xfrm>
            <a:off x="3454195" y="4188735"/>
            <a:ext cx="2570419" cy="1785321"/>
          </a:xfrm>
          <a:prstGeom prst="rect">
            <a:avLst/>
          </a:prstGeom>
          <a:noFill/>
        </p:spPr>
        <p:txBody>
          <a:bodyPr>
            <a:normAutofit/>
          </a:bodyPr>
          <a:lstStyle>
            <a:lvl1pPr marL="0" indent="0">
              <a:buNone/>
              <a:defRPr sz="2000"/>
            </a:lvl1pPr>
          </a:lstStyle>
          <a:p>
            <a:endParaRPr lang="en-US" dirty="0"/>
          </a:p>
        </p:txBody>
      </p:sp>
      <p:sp>
        <p:nvSpPr>
          <p:cNvPr id="13" name="Picture Placeholder 10"/>
          <p:cNvSpPr>
            <a:spLocks noGrp="1"/>
          </p:cNvSpPr>
          <p:nvPr>
            <p:ph type="pic" sz="quarter" idx="15"/>
          </p:nvPr>
        </p:nvSpPr>
        <p:spPr>
          <a:xfrm>
            <a:off x="6296744" y="4188735"/>
            <a:ext cx="2570419" cy="1785321"/>
          </a:xfrm>
          <a:prstGeom prst="rect">
            <a:avLst/>
          </a:prstGeom>
          <a:noFill/>
        </p:spPr>
        <p:txBody>
          <a:bodyPr>
            <a:normAutofit/>
          </a:bodyPr>
          <a:lstStyle>
            <a:lvl1pPr marL="0" indent="0">
              <a:buNone/>
              <a:defRPr sz="2000"/>
            </a:lvl1pPr>
          </a:lstStyle>
          <a:p>
            <a:endParaRPr lang="en-US" dirty="0"/>
          </a:p>
        </p:txBody>
      </p:sp>
      <p:sp>
        <p:nvSpPr>
          <p:cNvPr id="5" name="Title 1"/>
          <p:cNvSpPr>
            <a:spLocks noGrp="1"/>
          </p:cNvSpPr>
          <p:nvPr>
            <p:ph type="title"/>
          </p:nvPr>
        </p:nvSpPr>
        <p:spPr>
          <a:xfrm>
            <a:off x="518886" y="681214"/>
            <a:ext cx="10515600" cy="977989"/>
          </a:xfrm>
          <a:prstGeom prst="rect">
            <a:avLst/>
          </a:prstGeom>
        </p:spPr>
        <p:txBody>
          <a:bodyPr/>
          <a:lstStyle/>
          <a:p>
            <a:r>
              <a:rPr lang="en-US" dirty="0"/>
              <a:t>Click to edit Master title style</a:t>
            </a:r>
          </a:p>
        </p:txBody>
      </p:sp>
      <p:sp>
        <p:nvSpPr>
          <p:cNvPr id="6" name="Content Placeholder 2"/>
          <p:cNvSpPr>
            <a:spLocks noGrp="1"/>
          </p:cNvSpPr>
          <p:nvPr>
            <p:ph idx="1"/>
          </p:nvPr>
        </p:nvSpPr>
        <p:spPr>
          <a:xfrm>
            <a:off x="518886" y="2141714"/>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2694807"/>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0_Blank">
    <p:spTree>
      <p:nvGrpSpPr>
        <p:cNvPr id="1" name=""/>
        <p:cNvGrpSpPr/>
        <p:nvPr/>
      </p:nvGrpSpPr>
      <p:grpSpPr>
        <a:xfrm>
          <a:off x="0" y="0"/>
          <a:ext cx="0" cy="0"/>
          <a:chOff x="0" y="0"/>
          <a:chExt cx="0" cy="0"/>
        </a:xfrm>
      </p:grpSpPr>
      <p:sp>
        <p:nvSpPr>
          <p:cNvPr id="8" name="Picture Placeholder 10"/>
          <p:cNvSpPr>
            <a:spLocks noGrp="1"/>
          </p:cNvSpPr>
          <p:nvPr>
            <p:ph type="pic" sz="quarter" idx="13"/>
          </p:nvPr>
        </p:nvSpPr>
        <p:spPr>
          <a:xfrm>
            <a:off x="8209820" y="0"/>
            <a:ext cx="3982180" cy="6858000"/>
          </a:xfrm>
          <a:prstGeom prst="rect">
            <a:avLst/>
          </a:prstGeom>
          <a:noFill/>
        </p:spPr>
        <p:txBody>
          <a:bodyPr>
            <a:normAutofit/>
          </a:bodyPr>
          <a:lstStyle>
            <a:lvl1pPr marL="0" indent="0">
              <a:buNone/>
              <a:defRPr sz="2000"/>
            </a:lvl1pPr>
          </a:lstStyle>
          <a:p>
            <a:endParaRPr lang="en-US" dirty="0"/>
          </a:p>
        </p:txBody>
      </p:sp>
      <p:sp>
        <p:nvSpPr>
          <p:cNvPr id="5" name="Title 1"/>
          <p:cNvSpPr>
            <a:spLocks noGrp="1"/>
          </p:cNvSpPr>
          <p:nvPr>
            <p:ph type="title"/>
          </p:nvPr>
        </p:nvSpPr>
        <p:spPr>
          <a:xfrm>
            <a:off x="518886" y="681214"/>
            <a:ext cx="10515600" cy="977989"/>
          </a:xfrm>
          <a:prstGeom prst="rect">
            <a:avLst/>
          </a:prstGeom>
        </p:spPr>
        <p:txBody>
          <a:bodyPr/>
          <a:lstStyle/>
          <a:p>
            <a:r>
              <a:rPr lang="en-US" dirty="0"/>
              <a:t>Click to edit Master title style</a:t>
            </a:r>
          </a:p>
        </p:txBody>
      </p:sp>
      <p:sp>
        <p:nvSpPr>
          <p:cNvPr id="6" name="Content Placeholder 2"/>
          <p:cNvSpPr>
            <a:spLocks noGrp="1"/>
          </p:cNvSpPr>
          <p:nvPr>
            <p:ph idx="1"/>
          </p:nvPr>
        </p:nvSpPr>
        <p:spPr>
          <a:xfrm>
            <a:off x="518886" y="2141714"/>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4670533"/>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8_Blank">
    <p:spTree>
      <p:nvGrpSpPr>
        <p:cNvPr id="1" name=""/>
        <p:cNvGrpSpPr/>
        <p:nvPr/>
      </p:nvGrpSpPr>
      <p:grpSpPr>
        <a:xfrm>
          <a:off x="0" y="0"/>
          <a:ext cx="0" cy="0"/>
          <a:chOff x="0" y="0"/>
          <a:chExt cx="0" cy="0"/>
        </a:xfrm>
      </p:grpSpPr>
      <p:sp>
        <p:nvSpPr>
          <p:cNvPr id="8" name="Picture Placeholder 10"/>
          <p:cNvSpPr>
            <a:spLocks noGrp="1"/>
          </p:cNvSpPr>
          <p:nvPr>
            <p:ph type="pic" sz="quarter" idx="13"/>
          </p:nvPr>
        </p:nvSpPr>
        <p:spPr>
          <a:xfrm>
            <a:off x="0" y="0"/>
            <a:ext cx="11498538" cy="3972689"/>
          </a:xfrm>
          <a:prstGeom prst="rect">
            <a:avLst/>
          </a:prstGeom>
          <a:noFill/>
        </p:spPr>
        <p:txBody>
          <a:bodyPr>
            <a:normAutofit/>
          </a:bodyPr>
          <a:lstStyle>
            <a:lvl1pPr marL="0" indent="0">
              <a:buNone/>
              <a:defRPr sz="2000"/>
            </a:lvl1pPr>
          </a:lstStyle>
          <a:p>
            <a:endParaRPr lang="en-US" dirty="0"/>
          </a:p>
        </p:txBody>
      </p:sp>
      <p:sp>
        <p:nvSpPr>
          <p:cNvPr id="5" name="Title 1"/>
          <p:cNvSpPr>
            <a:spLocks noGrp="1"/>
          </p:cNvSpPr>
          <p:nvPr>
            <p:ph type="title"/>
          </p:nvPr>
        </p:nvSpPr>
        <p:spPr>
          <a:xfrm>
            <a:off x="518886" y="681214"/>
            <a:ext cx="10515600" cy="977989"/>
          </a:xfrm>
          <a:prstGeom prst="rect">
            <a:avLst/>
          </a:prstGeom>
        </p:spPr>
        <p:txBody>
          <a:bodyPr/>
          <a:lstStyle/>
          <a:p>
            <a:r>
              <a:rPr lang="en-US" dirty="0"/>
              <a:t>Click to edit Master title style</a:t>
            </a:r>
          </a:p>
        </p:txBody>
      </p:sp>
      <p:sp>
        <p:nvSpPr>
          <p:cNvPr id="6" name="Content Placeholder 2"/>
          <p:cNvSpPr>
            <a:spLocks noGrp="1"/>
          </p:cNvSpPr>
          <p:nvPr>
            <p:ph idx="1"/>
          </p:nvPr>
        </p:nvSpPr>
        <p:spPr>
          <a:xfrm>
            <a:off x="518886" y="2141714"/>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3187413"/>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6_Blank">
    <p:spTree>
      <p:nvGrpSpPr>
        <p:cNvPr id="1" name=""/>
        <p:cNvGrpSpPr/>
        <p:nvPr/>
      </p:nvGrpSpPr>
      <p:grpSpPr>
        <a:xfrm>
          <a:off x="0" y="0"/>
          <a:ext cx="0" cy="0"/>
          <a:chOff x="0" y="0"/>
          <a:chExt cx="0" cy="0"/>
        </a:xfrm>
      </p:grpSpPr>
      <p:sp>
        <p:nvSpPr>
          <p:cNvPr id="14" name="Picture Placeholder 10"/>
          <p:cNvSpPr>
            <a:spLocks noGrp="1"/>
          </p:cNvSpPr>
          <p:nvPr>
            <p:ph type="pic" sz="quarter" idx="13"/>
          </p:nvPr>
        </p:nvSpPr>
        <p:spPr>
          <a:xfrm>
            <a:off x="6502400" y="0"/>
            <a:ext cx="5689600" cy="5899216"/>
          </a:xfrm>
          <a:prstGeom prst="rect">
            <a:avLst/>
          </a:prstGeom>
          <a:solidFill>
            <a:schemeClr val="bg1">
              <a:lumMod val="85000"/>
            </a:schemeClr>
          </a:solidFill>
        </p:spPr>
        <p:txBody>
          <a:bodyPr>
            <a:normAutofit/>
          </a:bodyPr>
          <a:lstStyle>
            <a:lvl1pPr marL="0" indent="0">
              <a:buNone/>
              <a:defRPr sz="2000"/>
            </a:lvl1pPr>
          </a:lstStyle>
          <a:p>
            <a:endParaRPr lang="en-US" dirty="0"/>
          </a:p>
        </p:txBody>
      </p:sp>
      <p:sp>
        <p:nvSpPr>
          <p:cNvPr id="8" name="Rectangle 7"/>
          <p:cNvSpPr/>
          <p:nvPr userDrawn="1"/>
        </p:nvSpPr>
        <p:spPr>
          <a:xfrm>
            <a:off x="1" y="1"/>
            <a:ext cx="6502400" cy="5899216"/>
          </a:xfrm>
          <a:prstGeom prst="rect">
            <a:avLst/>
          </a:prstGeom>
          <a:solidFill>
            <a:srgbClr val="2422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grpSp>
        <p:nvGrpSpPr>
          <p:cNvPr id="9" name="Group 8"/>
          <p:cNvGrpSpPr/>
          <p:nvPr userDrawn="1"/>
        </p:nvGrpSpPr>
        <p:grpSpPr>
          <a:xfrm flipV="1">
            <a:off x="0" y="5044863"/>
            <a:ext cx="4162790" cy="854354"/>
            <a:chOff x="0" y="-9526"/>
            <a:chExt cx="4162790" cy="854354"/>
          </a:xfrm>
        </p:grpSpPr>
        <p:sp>
          <p:nvSpPr>
            <p:cNvPr id="10" name="Freeform 9"/>
            <p:cNvSpPr/>
            <p:nvPr/>
          </p:nvSpPr>
          <p:spPr>
            <a:xfrm>
              <a:off x="1" y="-9526"/>
              <a:ext cx="4086315" cy="854354"/>
            </a:xfrm>
            <a:custGeom>
              <a:avLst/>
              <a:gdLst>
                <a:gd name="connsiteX0" fmla="*/ 0 w 4086315"/>
                <a:gd name="connsiteY0" fmla="*/ 0 h 854354"/>
                <a:gd name="connsiteX1" fmla="*/ 4086315 w 4086315"/>
                <a:gd name="connsiteY1" fmla="*/ 0 h 854354"/>
                <a:gd name="connsiteX2" fmla="*/ 3700053 w 4086315"/>
                <a:gd name="connsiteY2" fmla="*/ 236387 h 854354"/>
                <a:gd name="connsiteX3" fmla="*/ 3071976 w 4086315"/>
                <a:gd name="connsiteY3" fmla="*/ 837056 h 854354"/>
                <a:gd name="connsiteX4" fmla="*/ 2354350 w 4086315"/>
                <a:gd name="connsiteY4" fmla="*/ 594269 h 854354"/>
                <a:gd name="connsiteX5" fmla="*/ 2326519 w 4086315"/>
                <a:gd name="connsiteY5" fmla="*/ 596417 h 854354"/>
                <a:gd name="connsiteX6" fmla="*/ 2298688 w 4086315"/>
                <a:gd name="connsiteY6" fmla="*/ 594269 h 854354"/>
                <a:gd name="connsiteX7" fmla="*/ 1581063 w 4086315"/>
                <a:gd name="connsiteY7" fmla="*/ 837056 h 854354"/>
                <a:gd name="connsiteX8" fmla="*/ 813774 w 4086315"/>
                <a:gd name="connsiteY8" fmla="*/ 218287 h 854354"/>
                <a:gd name="connsiteX9" fmla="*/ 88899 w 4086315"/>
                <a:gd name="connsiteY9" fmla="*/ 729962 h 854354"/>
                <a:gd name="connsiteX10" fmla="*/ 36789 w 4086315"/>
                <a:gd name="connsiteY10" fmla="*/ 746586 h 854354"/>
                <a:gd name="connsiteX11" fmla="*/ 0 w 4086315"/>
                <a:gd name="connsiteY11" fmla="*/ 751118 h 8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86315" h="854354">
                  <a:moveTo>
                    <a:pt x="0" y="0"/>
                  </a:moveTo>
                  <a:lnTo>
                    <a:pt x="4086315" y="0"/>
                  </a:lnTo>
                  <a:lnTo>
                    <a:pt x="3700053" y="236387"/>
                  </a:lnTo>
                  <a:cubicBezTo>
                    <a:pt x="3634603" y="298480"/>
                    <a:pt x="3296259" y="777409"/>
                    <a:pt x="3071976" y="837056"/>
                  </a:cubicBezTo>
                  <a:cubicBezTo>
                    <a:pt x="2847692" y="896703"/>
                    <a:pt x="2547499" y="605700"/>
                    <a:pt x="2354350" y="594269"/>
                  </a:cubicBezTo>
                  <a:lnTo>
                    <a:pt x="2326519" y="596417"/>
                  </a:lnTo>
                  <a:lnTo>
                    <a:pt x="2298688" y="594269"/>
                  </a:lnTo>
                  <a:cubicBezTo>
                    <a:pt x="2105539" y="605700"/>
                    <a:pt x="1805467" y="931998"/>
                    <a:pt x="1581063" y="837056"/>
                  </a:cubicBezTo>
                  <a:cubicBezTo>
                    <a:pt x="1304873" y="720205"/>
                    <a:pt x="1062468" y="236136"/>
                    <a:pt x="813774" y="218287"/>
                  </a:cubicBezTo>
                  <a:cubicBezTo>
                    <a:pt x="565080" y="200438"/>
                    <a:pt x="352509" y="613111"/>
                    <a:pt x="88899" y="729962"/>
                  </a:cubicBezTo>
                  <a:cubicBezTo>
                    <a:pt x="72423" y="737266"/>
                    <a:pt x="55004" y="742727"/>
                    <a:pt x="36789" y="746586"/>
                  </a:cubicBezTo>
                  <a:lnTo>
                    <a:pt x="0" y="751118"/>
                  </a:lnTo>
                  <a:close/>
                </a:path>
              </a:pathLst>
            </a:custGeom>
            <a:solidFill>
              <a:schemeClr val="tx2">
                <a:lumMod val="50000"/>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10"/>
            <p:cNvSpPr/>
            <p:nvPr/>
          </p:nvSpPr>
          <p:spPr>
            <a:xfrm flipH="1">
              <a:off x="0" y="-9525"/>
              <a:ext cx="4162790" cy="688727"/>
            </a:xfrm>
            <a:custGeom>
              <a:avLst/>
              <a:gdLst>
                <a:gd name="connsiteX0" fmla="*/ 4162790 w 4162790"/>
                <a:gd name="connsiteY0" fmla="*/ 0 h 688727"/>
                <a:gd name="connsiteX1" fmla="*/ 0 w 4162790"/>
                <a:gd name="connsiteY1" fmla="*/ 0 h 688727"/>
                <a:gd name="connsiteX2" fmla="*/ 93505 w 4162790"/>
                <a:gd name="connsiteY2" fmla="*/ 40291 h 688727"/>
                <a:gd name="connsiteX3" fmla="*/ 764963 w 4162790"/>
                <a:gd name="connsiteY3" fmla="*/ 578498 h 688727"/>
                <a:gd name="connsiteX4" fmla="*/ 1524989 w 4162790"/>
                <a:gd name="connsiteY4" fmla="*/ 125080 h 688727"/>
                <a:gd name="connsiteX5" fmla="*/ 2329486 w 4162790"/>
                <a:gd name="connsiteY5" fmla="*/ 673399 h 688727"/>
                <a:gd name="connsiteX6" fmla="*/ 3081911 w 4162790"/>
                <a:gd name="connsiteY6" fmla="*/ 458255 h 688727"/>
                <a:gd name="connsiteX7" fmla="*/ 3111091 w 4162790"/>
                <a:gd name="connsiteY7" fmla="*/ 460157 h 688727"/>
                <a:gd name="connsiteX8" fmla="*/ 3140272 w 4162790"/>
                <a:gd name="connsiteY8" fmla="*/ 458255 h 688727"/>
                <a:gd name="connsiteX9" fmla="*/ 3892696 w 4162790"/>
                <a:gd name="connsiteY9" fmla="*/ 673399 h 688727"/>
                <a:gd name="connsiteX10" fmla="*/ 4103899 w 4162790"/>
                <a:gd name="connsiteY10" fmla="*/ 546264 h 688727"/>
                <a:gd name="connsiteX11" fmla="*/ 4162790 w 4162790"/>
                <a:gd name="connsiteY11" fmla="*/ 495560 h 68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62790" h="688727">
                  <a:moveTo>
                    <a:pt x="4162790" y="0"/>
                  </a:moveTo>
                  <a:lnTo>
                    <a:pt x="0" y="0"/>
                  </a:lnTo>
                  <a:lnTo>
                    <a:pt x="93505" y="40291"/>
                  </a:lnTo>
                  <a:cubicBezTo>
                    <a:pt x="414722" y="224142"/>
                    <a:pt x="407200" y="549345"/>
                    <a:pt x="764963" y="578498"/>
                  </a:cubicBezTo>
                  <a:cubicBezTo>
                    <a:pt x="1173835" y="611816"/>
                    <a:pt x="1264236" y="109263"/>
                    <a:pt x="1524989" y="125080"/>
                  </a:cubicBezTo>
                  <a:cubicBezTo>
                    <a:pt x="1785743" y="140897"/>
                    <a:pt x="2039902" y="569851"/>
                    <a:pt x="2329486" y="673399"/>
                  </a:cubicBezTo>
                  <a:cubicBezTo>
                    <a:pt x="2564772" y="757531"/>
                    <a:pt x="2879395" y="468384"/>
                    <a:pt x="3081911" y="458255"/>
                  </a:cubicBezTo>
                  <a:lnTo>
                    <a:pt x="3111091" y="460157"/>
                  </a:lnTo>
                  <a:lnTo>
                    <a:pt x="3140272" y="458255"/>
                  </a:lnTo>
                  <a:cubicBezTo>
                    <a:pt x="3342787" y="468384"/>
                    <a:pt x="3657409" y="757531"/>
                    <a:pt x="3892696" y="673399"/>
                  </a:cubicBezTo>
                  <a:cubicBezTo>
                    <a:pt x="3965092" y="647512"/>
                    <a:pt x="4035274" y="601287"/>
                    <a:pt x="4103899" y="546264"/>
                  </a:cubicBezTo>
                  <a:lnTo>
                    <a:pt x="4162790" y="495560"/>
                  </a:lnTo>
                  <a:close/>
                </a:path>
              </a:pathLst>
            </a:custGeom>
            <a:gradFill>
              <a:gsLst>
                <a:gs pos="100000">
                  <a:schemeClr val="accent1">
                    <a:alpha val="25000"/>
                  </a:schemeClr>
                </a:gs>
                <a:gs pos="0">
                  <a:schemeClr val="accent2">
                    <a:alpha val="25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11"/>
            <p:cNvSpPr/>
            <p:nvPr userDrawn="1"/>
          </p:nvSpPr>
          <p:spPr>
            <a:xfrm flipH="1">
              <a:off x="0" y="-9525"/>
              <a:ext cx="4148598" cy="562293"/>
            </a:xfrm>
            <a:custGeom>
              <a:avLst/>
              <a:gdLst>
                <a:gd name="connsiteX0" fmla="*/ 4148598 w 4148598"/>
                <a:gd name="connsiteY0" fmla="*/ 0 h 562293"/>
                <a:gd name="connsiteX1" fmla="*/ 0 w 4148598"/>
                <a:gd name="connsiteY1" fmla="*/ 0 h 562293"/>
                <a:gd name="connsiteX2" fmla="*/ 79313 w 4148598"/>
                <a:gd name="connsiteY2" fmla="*/ 28152 h 562293"/>
                <a:gd name="connsiteX3" fmla="*/ 750771 w 4148598"/>
                <a:gd name="connsiteY3" fmla="*/ 471494 h 562293"/>
                <a:gd name="connsiteX4" fmla="*/ 1510797 w 4148598"/>
                <a:gd name="connsiteY4" fmla="*/ 97996 h 562293"/>
                <a:gd name="connsiteX5" fmla="*/ 2315294 w 4148598"/>
                <a:gd name="connsiteY5" fmla="*/ 549667 h 562293"/>
                <a:gd name="connsiteX6" fmla="*/ 3067719 w 4148598"/>
                <a:gd name="connsiteY6" fmla="*/ 372445 h 562293"/>
                <a:gd name="connsiteX7" fmla="*/ 3096899 w 4148598"/>
                <a:gd name="connsiteY7" fmla="*/ 374012 h 562293"/>
                <a:gd name="connsiteX8" fmla="*/ 3126080 w 4148598"/>
                <a:gd name="connsiteY8" fmla="*/ 372445 h 562293"/>
                <a:gd name="connsiteX9" fmla="*/ 3878504 w 4148598"/>
                <a:gd name="connsiteY9" fmla="*/ 549667 h 562293"/>
                <a:gd name="connsiteX10" fmla="*/ 4089707 w 4148598"/>
                <a:gd name="connsiteY10" fmla="*/ 444942 h 562293"/>
                <a:gd name="connsiteX11" fmla="*/ 4148598 w 4148598"/>
                <a:gd name="connsiteY11" fmla="*/ 403175 h 56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48598" h="562293">
                  <a:moveTo>
                    <a:pt x="4148598" y="0"/>
                  </a:moveTo>
                  <a:lnTo>
                    <a:pt x="0" y="0"/>
                  </a:lnTo>
                  <a:lnTo>
                    <a:pt x="79313" y="28152"/>
                  </a:lnTo>
                  <a:cubicBezTo>
                    <a:pt x="400530" y="179597"/>
                    <a:pt x="393008" y="447480"/>
                    <a:pt x="750771" y="471494"/>
                  </a:cubicBezTo>
                  <a:cubicBezTo>
                    <a:pt x="1159643" y="498939"/>
                    <a:pt x="1250044" y="84967"/>
                    <a:pt x="1510797" y="97996"/>
                  </a:cubicBezTo>
                  <a:cubicBezTo>
                    <a:pt x="1771551" y="111025"/>
                    <a:pt x="2025710" y="464371"/>
                    <a:pt x="2315294" y="549667"/>
                  </a:cubicBezTo>
                  <a:cubicBezTo>
                    <a:pt x="2550580" y="618970"/>
                    <a:pt x="2865203" y="380789"/>
                    <a:pt x="3067719" y="372445"/>
                  </a:cubicBezTo>
                  <a:lnTo>
                    <a:pt x="3096899" y="374012"/>
                  </a:lnTo>
                  <a:lnTo>
                    <a:pt x="3126080" y="372445"/>
                  </a:lnTo>
                  <a:cubicBezTo>
                    <a:pt x="3328595" y="380789"/>
                    <a:pt x="3643217" y="618970"/>
                    <a:pt x="3878504" y="549667"/>
                  </a:cubicBezTo>
                  <a:cubicBezTo>
                    <a:pt x="3950900" y="528344"/>
                    <a:pt x="4021082" y="490267"/>
                    <a:pt x="4089707" y="444942"/>
                  </a:cubicBezTo>
                  <a:lnTo>
                    <a:pt x="4148598" y="403175"/>
                  </a:lnTo>
                  <a:close/>
                </a:path>
              </a:pathLst>
            </a:custGeom>
            <a:gradFill flip="none" rotWithShape="1">
              <a:gsLst>
                <a:gs pos="100000">
                  <a:schemeClr val="accent1"/>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Freeform 12"/>
            <p:cNvSpPr/>
            <p:nvPr/>
          </p:nvSpPr>
          <p:spPr>
            <a:xfrm flipV="1">
              <a:off x="0" y="-9526"/>
              <a:ext cx="4045638" cy="463307"/>
            </a:xfrm>
            <a:custGeom>
              <a:avLst/>
              <a:gdLst>
                <a:gd name="connsiteX0" fmla="*/ 0 w 4045638"/>
                <a:gd name="connsiteY0" fmla="*/ 463307 h 463307"/>
                <a:gd name="connsiteX1" fmla="*/ 4045638 w 4045638"/>
                <a:gd name="connsiteY1" fmla="*/ 463307 h 463307"/>
                <a:gd name="connsiteX2" fmla="*/ 3929456 w 4045638"/>
                <a:gd name="connsiteY2" fmla="*/ 432895 h 463307"/>
                <a:gd name="connsiteX3" fmla="*/ 3530987 w 4045638"/>
                <a:gd name="connsiteY3" fmla="*/ 234506 h 463307"/>
                <a:gd name="connsiteX4" fmla="*/ 2523093 w 4045638"/>
                <a:gd name="connsiteY4" fmla="*/ 280673 h 463307"/>
                <a:gd name="connsiteX5" fmla="*/ 1724297 w 4045638"/>
                <a:gd name="connsiteY5" fmla="*/ 308 h 463307"/>
                <a:gd name="connsiteX6" fmla="*/ 878763 w 4045638"/>
                <a:gd name="connsiteY6" fmla="*/ 339353 h 463307"/>
                <a:gd name="connsiteX7" fmla="*/ 41022 w 4045638"/>
                <a:gd name="connsiteY7" fmla="*/ 208123 h 463307"/>
                <a:gd name="connsiteX8" fmla="*/ 0 w 4045638"/>
                <a:gd name="connsiteY8" fmla="*/ 216898 h 463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45638" h="463307">
                  <a:moveTo>
                    <a:pt x="0" y="463307"/>
                  </a:moveTo>
                  <a:lnTo>
                    <a:pt x="4045638" y="463307"/>
                  </a:lnTo>
                  <a:lnTo>
                    <a:pt x="3929456" y="432895"/>
                  </a:lnTo>
                  <a:cubicBezTo>
                    <a:pt x="3728123" y="370337"/>
                    <a:pt x="3698064" y="298850"/>
                    <a:pt x="3530987" y="234506"/>
                  </a:cubicBezTo>
                  <a:cubicBezTo>
                    <a:pt x="3370086" y="150375"/>
                    <a:pt x="2813585" y="344700"/>
                    <a:pt x="2523093" y="280673"/>
                  </a:cubicBezTo>
                  <a:cubicBezTo>
                    <a:pt x="2232600" y="216646"/>
                    <a:pt x="1998352" y="-9472"/>
                    <a:pt x="1724297" y="308"/>
                  </a:cubicBezTo>
                  <a:cubicBezTo>
                    <a:pt x="1450242" y="10088"/>
                    <a:pt x="1183118" y="275326"/>
                    <a:pt x="878763" y="339353"/>
                  </a:cubicBezTo>
                  <a:cubicBezTo>
                    <a:pt x="612453" y="395377"/>
                    <a:pt x="249437" y="183713"/>
                    <a:pt x="41022" y="208123"/>
                  </a:cubicBezTo>
                  <a:lnTo>
                    <a:pt x="0" y="216898"/>
                  </a:lnTo>
                  <a:close/>
                </a:path>
              </a:pathLst>
            </a:custGeom>
            <a:solidFill>
              <a:schemeClr val="accent3">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5" name="Title 1"/>
          <p:cNvSpPr>
            <a:spLocks noGrp="1"/>
          </p:cNvSpPr>
          <p:nvPr>
            <p:ph type="title"/>
          </p:nvPr>
        </p:nvSpPr>
        <p:spPr>
          <a:xfrm>
            <a:off x="518886" y="681214"/>
            <a:ext cx="10515600" cy="977989"/>
          </a:xfrm>
          <a:prstGeom prst="rect">
            <a:avLst/>
          </a:prstGeom>
        </p:spPr>
        <p:txBody>
          <a:bodyPr/>
          <a:lstStyle>
            <a:lvl1pPr>
              <a:defRPr>
                <a:solidFill>
                  <a:schemeClr val="bg1"/>
                </a:solidFill>
              </a:defRPr>
            </a:lvl1pPr>
          </a:lstStyle>
          <a:p>
            <a:r>
              <a:rPr lang="en-US" dirty="0"/>
              <a:t>Click to edit Master title style</a:t>
            </a:r>
          </a:p>
        </p:txBody>
      </p:sp>
      <p:sp>
        <p:nvSpPr>
          <p:cNvPr id="6" name="Content Placeholder 2"/>
          <p:cNvSpPr>
            <a:spLocks noGrp="1"/>
          </p:cNvSpPr>
          <p:nvPr>
            <p:ph idx="1"/>
          </p:nvPr>
        </p:nvSpPr>
        <p:spPr>
          <a:xfrm>
            <a:off x="518886" y="2141714"/>
            <a:ext cx="10515600" cy="435133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0742300"/>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4_Blank">
    <p:spTree>
      <p:nvGrpSpPr>
        <p:cNvPr id="1" name=""/>
        <p:cNvGrpSpPr/>
        <p:nvPr/>
      </p:nvGrpSpPr>
      <p:grpSpPr>
        <a:xfrm>
          <a:off x="0" y="0"/>
          <a:ext cx="0" cy="0"/>
          <a:chOff x="0" y="0"/>
          <a:chExt cx="0" cy="0"/>
        </a:xfrm>
      </p:grpSpPr>
      <p:sp>
        <p:nvSpPr>
          <p:cNvPr id="8" name="Picture Placeholder 10"/>
          <p:cNvSpPr>
            <a:spLocks noGrp="1"/>
          </p:cNvSpPr>
          <p:nvPr>
            <p:ph type="pic" sz="quarter" idx="13"/>
          </p:nvPr>
        </p:nvSpPr>
        <p:spPr>
          <a:xfrm>
            <a:off x="0" y="4711700"/>
            <a:ext cx="12192000" cy="2146300"/>
          </a:xfrm>
          <a:prstGeom prst="rect">
            <a:avLst/>
          </a:prstGeom>
        </p:spPr>
        <p:txBody>
          <a:bodyPr>
            <a:normAutofit/>
          </a:bodyPr>
          <a:lstStyle>
            <a:lvl1pPr marL="0" indent="0">
              <a:buNone/>
              <a:defRPr sz="2000"/>
            </a:lvl1pPr>
          </a:lstStyle>
          <a:p>
            <a:endParaRPr lang="en-US" dirty="0"/>
          </a:p>
        </p:txBody>
      </p:sp>
      <p:sp>
        <p:nvSpPr>
          <p:cNvPr id="5" name="Title 1"/>
          <p:cNvSpPr>
            <a:spLocks noGrp="1"/>
          </p:cNvSpPr>
          <p:nvPr>
            <p:ph type="title"/>
          </p:nvPr>
        </p:nvSpPr>
        <p:spPr>
          <a:xfrm>
            <a:off x="518886" y="681214"/>
            <a:ext cx="10515600" cy="977989"/>
          </a:xfrm>
          <a:prstGeom prst="rect">
            <a:avLst/>
          </a:prstGeom>
        </p:spPr>
        <p:txBody>
          <a:bodyPr/>
          <a:lstStyle/>
          <a:p>
            <a:r>
              <a:rPr lang="en-US" dirty="0"/>
              <a:t>Click to edit Master title style</a:t>
            </a:r>
          </a:p>
        </p:txBody>
      </p:sp>
      <p:sp>
        <p:nvSpPr>
          <p:cNvPr id="6" name="Content Placeholder 2"/>
          <p:cNvSpPr>
            <a:spLocks noGrp="1"/>
          </p:cNvSpPr>
          <p:nvPr>
            <p:ph idx="1"/>
          </p:nvPr>
        </p:nvSpPr>
        <p:spPr>
          <a:xfrm>
            <a:off x="518886" y="2141714"/>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5741476"/>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3_Blank">
    <p:spTree>
      <p:nvGrpSpPr>
        <p:cNvPr id="1" name=""/>
        <p:cNvGrpSpPr/>
        <p:nvPr/>
      </p:nvGrpSpPr>
      <p:grpSpPr>
        <a:xfrm>
          <a:off x="0" y="0"/>
          <a:ext cx="0" cy="0"/>
          <a:chOff x="0" y="0"/>
          <a:chExt cx="0" cy="0"/>
        </a:xfrm>
      </p:grpSpPr>
      <p:sp>
        <p:nvSpPr>
          <p:cNvPr id="9" name="Picture Placeholder 10"/>
          <p:cNvSpPr>
            <a:spLocks noGrp="1"/>
          </p:cNvSpPr>
          <p:nvPr>
            <p:ph type="pic" sz="quarter" idx="13"/>
          </p:nvPr>
        </p:nvSpPr>
        <p:spPr>
          <a:xfrm>
            <a:off x="7708900" y="0"/>
            <a:ext cx="4483100" cy="3429000"/>
          </a:xfrm>
          <a:prstGeom prst="rect">
            <a:avLst/>
          </a:prstGeom>
        </p:spPr>
        <p:txBody>
          <a:bodyPr>
            <a:normAutofit/>
          </a:bodyPr>
          <a:lstStyle>
            <a:lvl1pPr marL="0" indent="0">
              <a:buNone/>
              <a:defRPr sz="2000"/>
            </a:lvl1pPr>
          </a:lstStyle>
          <a:p>
            <a:endParaRPr lang="en-US"/>
          </a:p>
        </p:txBody>
      </p:sp>
      <p:sp>
        <p:nvSpPr>
          <p:cNvPr id="10" name="Picture Placeholder 10"/>
          <p:cNvSpPr>
            <a:spLocks noGrp="1"/>
          </p:cNvSpPr>
          <p:nvPr>
            <p:ph type="pic" sz="quarter" idx="14"/>
          </p:nvPr>
        </p:nvSpPr>
        <p:spPr>
          <a:xfrm>
            <a:off x="7708900" y="3429000"/>
            <a:ext cx="4483100" cy="3429000"/>
          </a:xfrm>
          <a:prstGeom prst="rect">
            <a:avLst/>
          </a:prstGeom>
        </p:spPr>
        <p:txBody>
          <a:bodyPr>
            <a:normAutofit/>
          </a:bodyPr>
          <a:lstStyle>
            <a:lvl1pPr marL="0" indent="0">
              <a:buNone/>
              <a:defRPr sz="2000"/>
            </a:lvl1pPr>
          </a:lstStyle>
          <a:p>
            <a:endParaRPr lang="en-US"/>
          </a:p>
        </p:txBody>
      </p:sp>
      <p:sp>
        <p:nvSpPr>
          <p:cNvPr id="5" name="Title 1"/>
          <p:cNvSpPr>
            <a:spLocks noGrp="1"/>
          </p:cNvSpPr>
          <p:nvPr>
            <p:ph type="title"/>
          </p:nvPr>
        </p:nvSpPr>
        <p:spPr>
          <a:xfrm>
            <a:off x="518886" y="681214"/>
            <a:ext cx="10515600" cy="977989"/>
          </a:xfrm>
          <a:prstGeom prst="rect">
            <a:avLst/>
          </a:prstGeom>
        </p:spPr>
        <p:txBody>
          <a:bodyPr/>
          <a:lstStyle/>
          <a:p>
            <a:r>
              <a:rPr lang="en-US" dirty="0"/>
              <a:t>Click to edit Master title style</a:t>
            </a:r>
          </a:p>
        </p:txBody>
      </p:sp>
      <p:sp>
        <p:nvSpPr>
          <p:cNvPr id="6" name="Content Placeholder 2"/>
          <p:cNvSpPr>
            <a:spLocks noGrp="1"/>
          </p:cNvSpPr>
          <p:nvPr>
            <p:ph idx="1"/>
          </p:nvPr>
        </p:nvSpPr>
        <p:spPr>
          <a:xfrm>
            <a:off x="518886" y="2141714"/>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2153453"/>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8" name="Group 7"/>
          <p:cNvGrpSpPr/>
          <p:nvPr userDrawn="1"/>
        </p:nvGrpSpPr>
        <p:grpSpPr>
          <a:xfrm>
            <a:off x="0" y="-9526"/>
            <a:ext cx="4162790" cy="854354"/>
            <a:chOff x="0" y="-9526"/>
            <a:chExt cx="4162790" cy="854354"/>
          </a:xfrm>
        </p:grpSpPr>
        <p:sp>
          <p:nvSpPr>
            <p:cNvPr id="33" name="Freeform 32"/>
            <p:cNvSpPr/>
            <p:nvPr/>
          </p:nvSpPr>
          <p:spPr>
            <a:xfrm>
              <a:off x="1" y="-9526"/>
              <a:ext cx="4086315" cy="854354"/>
            </a:xfrm>
            <a:custGeom>
              <a:avLst/>
              <a:gdLst>
                <a:gd name="connsiteX0" fmla="*/ 0 w 4086315"/>
                <a:gd name="connsiteY0" fmla="*/ 0 h 854354"/>
                <a:gd name="connsiteX1" fmla="*/ 4086315 w 4086315"/>
                <a:gd name="connsiteY1" fmla="*/ 0 h 854354"/>
                <a:gd name="connsiteX2" fmla="*/ 3700053 w 4086315"/>
                <a:gd name="connsiteY2" fmla="*/ 236387 h 854354"/>
                <a:gd name="connsiteX3" fmla="*/ 3071976 w 4086315"/>
                <a:gd name="connsiteY3" fmla="*/ 837056 h 854354"/>
                <a:gd name="connsiteX4" fmla="*/ 2354350 w 4086315"/>
                <a:gd name="connsiteY4" fmla="*/ 594269 h 854354"/>
                <a:gd name="connsiteX5" fmla="*/ 2326519 w 4086315"/>
                <a:gd name="connsiteY5" fmla="*/ 596417 h 854354"/>
                <a:gd name="connsiteX6" fmla="*/ 2298688 w 4086315"/>
                <a:gd name="connsiteY6" fmla="*/ 594269 h 854354"/>
                <a:gd name="connsiteX7" fmla="*/ 1581063 w 4086315"/>
                <a:gd name="connsiteY7" fmla="*/ 837056 h 854354"/>
                <a:gd name="connsiteX8" fmla="*/ 813774 w 4086315"/>
                <a:gd name="connsiteY8" fmla="*/ 218287 h 854354"/>
                <a:gd name="connsiteX9" fmla="*/ 88899 w 4086315"/>
                <a:gd name="connsiteY9" fmla="*/ 729962 h 854354"/>
                <a:gd name="connsiteX10" fmla="*/ 36789 w 4086315"/>
                <a:gd name="connsiteY10" fmla="*/ 746586 h 854354"/>
                <a:gd name="connsiteX11" fmla="*/ 0 w 4086315"/>
                <a:gd name="connsiteY11" fmla="*/ 751118 h 8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86315" h="854354">
                  <a:moveTo>
                    <a:pt x="0" y="0"/>
                  </a:moveTo>
                  <a:lnTo>
                    <a:pt x="4086315" y="0"/>
                  </a:lnTo>
                  <a:lnTo>
                    <a:pt x="3700053" y="236387"/>
                  </a:lnTo>
                  <a:cubicBezTo>
                    <a:pt x="3634603" y="298480"/>
                    <a:pt x="3296259" y="777409"/>
                    <a:pt x="3071976" y="837056"/>
                  </a:cubicBezTo>
                  <a:cubicBezTo>
                    <a:pt x="2847692" y="896703"/>
                    <a:pt x="2547499" y="605700"/>
                    <a:pt x="2354350" y="594269"/>
                  </a:cubicBezTo>
                  <a:lnTo>
                    <a:pt x="2326519" y="596417"/>
                  </a:lnTo>
                  <a:lnTo>
                    <a:pt x="2298688" y="594269"/>
                  </a:lnTo>
                  <a:cubicBezTo>
                    <a:pt x="2105539" y="605700"/>
                    <a:pt x="1805467" y="931998"/>
                    <a:pt x="1581063" y="837056"/>
                  </a:cubicBezTo>
                  <a:cubicBezTo>
                    <a:pt x="1304873" y="720205"/>
                    <a:pt x="1062468" y="236136"/>
                    <a:pt x="813774" y="218287"/>
                  </a:cubicBezTo>
                  <a:cubicBezTo>
                    <a:pt x="565080" y="200438"/>
                    <a:pt x="352509" y="613111"/>
                    <a:pt x="88899" y="729962"/>
                  </a:cubicBezTo>
                  <a:cubicBezTo>
                    <a:pt x="72423" y="737266"/>
                    <a:pt x="55004" y="742727"/>
                    <a:pt x="36789" y="746586"/>
                  </a:cubicBezTo>
                  <a:lnTo>
                    <a:pt x="0" y="751118"/>
                  </a:lnTo>
                  <a:close/>
                </a:path>
              </a:pathLst>
            </a:custGeom>
            <a:solidFill>
              <a:schemeClr val="bg1">
                <a:lumMod val="75000"/>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1" name="Freeform 30"/>
            <p:cNvSpPr/>
            <p:nvPr/>
          </p:nvSpPr>
          <p:spPr>
            <a:xfrm flipH="1">
              <a:off x="0" y="-9525"/>
              <a:ext cx="4162790" cy="688727"/>
            </a:xfrm>
            <a:custGeom>
              <a:avLst/>
              <a:gdLst>
                <a:gd name="connsiteX0" fmla="*/ 4162790 w 4162790"/>
                <a:gd name="connsiteY0" fmla="*/ 0 h 688727"/>
                <a:gd name="connsiteX1" fmla="*/ 0 w 4162790"/>
                <a:gd name="connsiteY1" fmla="*/ 0 h 688727"/>
                <a:gd name="connsiteX2" fmla="*/ 93505 w 4162790"/>
                <a:gd name="connsiteY2" fmla="*/ 40291 h 688727"/>
                <a:gd name="connsiteX3" fmla="*/ 764963 w 4162790"/>
                <a:gd name="connsiteY3" fmla="*/ 578498 h 688727"/>
                <a:gd name="connsiteX4" fmla="*/ 1524989 w 4162790"/>
                <a:gd name="connsiteY4" fmla="*/ 125080 h 688727"/>
                <a:gd name="connsiteX5" fmla="*/ 2329486 w 4162790"/>
                <a:gd name="connsiteY5" fmla="*/ 673399 h 688727"/>
                <a:gd name="connsiteX6" fmla="*/ 3081911 w 4162790"/>
                <a:gd name="connsiteY6" fmla="*/ 458255 h 688727"/>
                <a:gd name="connsiteX7" fmla="*/ 3111091 w 4162790"/>
                <a:gd name="connsiteY7" fmla="*/ 460157 h 688727"/>
                <a:gd name="connsiteX8" fmla="*/ 3140272 w 4162790"/>
                <a:gd name="connsiteY8" fmla="*/ 458255 h 688727"/>
                <a:gd name="connsiteX9" fmla="*/ 3892696 w 4162790"/>
                <a:gd name="connsiteY9" fmla="*/ 673399 h 688727"/>
                <a:gd name="connsiteX10" fmla="*/ 4103899 w 4162790"/>
                <a:gd name="connsiteY10" fmla="*/ 546264 h 688727"/>
                <a:gd name="connsiteX11" fmla="*/ 4162790 w 4162790"/>
                <a:gd name="connsiteY11" fmla="*/ 495560 h 68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62790" h="688727">
                  <a:moveTo>
                    <a:pt x="4162790" y="0"/>
                  </a:moveTo>
                  <a:lnTo>
                    <a:pt x="0" y="0"/>
                  </a:lnTo>
                  <a:lnTo>
                    <a:pt x="93505" y="40291"/>
                  </a:lnTo>
                  <a:cubicBezTo>
                    <a:pt x="414722" y="224142"/>
                    <a:pt x="407200" y="549345"/>
                    <a:pt x="764963" y="578498"/>
                  </a:cubicBezTo>
                  <a:cubicBezTo>
                    <a:pt x="1173835" y="611816"/>
                    <a:pt x="1264236" y="109263"/>
                    <a:pt x="1524989" y="125080"/>
                  </a:cubicBezTo>
                  <a:cubicBezTo>
                    <a:pt x="1785743" y="140897"/>
                    <a:pt x="2039902" y="569851"/>
                    <a:pt x="2329486" y="673399"/>
                  </a:cubicBezTo>
                  <a:cubicBezTo>
                    <a:pt x="2564772" y="757531"/>
                    <a:pt x="2879395" y="468384"/>
                    <a:pt x="3081911" y="458255"/>
                  </a:cubicBezTo>
                  <a:lnTo>
                    <a:pt x="3111091" y="460157"/>
                  </a:lnTo>
                  <a:lnTo>
                    <a:pt x="3140272" y="458255"/>
                  </a:lnTo>
                  <a:cubicBezTo>
                    <a:pt x="3342787" y="468384"/>
                    <a:pt x="3657409" y="757531"/>
                    <a:pt x="3892696" y="673399"/>
                  </a:cubicBezTo>
                  <a:cubicBezTo>
                    <a:pt x="3965092" y="647512"/>
                    <a:pt x="4035274" y="601287"/>
                    <a:pt x="4103899" y="546264"/>
                  </a:cubicBezTo>
                  <a:lnTo>
                    <a:pt x="4162790" y="495560"/>
                  </a:lnTo>
                  <a:close/>
                </a:path>
              </a:pathLst>
            </a:custGeom>
            <a:gradFill>
              <a:gsLst>
                <a:gs pos="100000">
                  <a:schemeClr val="accent1">
                    <a:alpha val="25000"/>
                  </a:schemeClr>
                </a:gs>
                <a:gs pos="0">
                  <a:schemeClr val="accent2">
                    <a:alpha val="25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Freeform 26"/>
            <p:cNvSpPr/>
            <p:nvPr userDrawn="1"/>
          </p:nvSpPr>
          <p:spPr>
            <a:xfrm flipH="1">
              <a:off x="0" y="-9525"/>
              <a:ext cx="4148598" cy="562293"/>
            </a:xfrm>
            <a:custGeom>
              <a:avLst/>
              <a:gdLst>
                <a:gd name="connsiteX0" fmla="*/ 4148598 w 4148598"/>
                <a:gd name="connsiteY0" fmla="*/ 0 h 562293"/>
                <a:gd name="connsiteX1" fmla="*/ 0 w 4148598"/>
                <a:gd name="connsiteY1" fmla="*/ 0 h 562293"/>
                <a:gd name="connsiteX2" fmla="*/ 79313 w 4148598"/>
                <a:gd name="connsiteY2" fmla="*/ 28152 h 562293"/>
                <a:gd name="connsiteX3" fmla="*/ 750771 w 4148598"/>
                <a:gd name="connsiteY3" fmla="*/ 471494 h 562293"/>
                <a:gd name="connsiteX4" fmla="*/ 1510797 w 4148598"/>
                <a:gd name="connsiteY4" fmla="*/ 97996 h 562293"/>
                <a:gd name="connsiteX5" fmla="*/ 2315294 w 4148598"/>
                <a:gd name="connsiteY5" fmla="*/ 549667 h 562293"/>
                <a:gd name="connsiteX6" fmla="*/ 3067719 w 4148598"/>
                <a:gd name="connsiteY6" fmla="*/ 372445 h 562293"/>
                <a:gd name="connsiteX7" fmla="*/ 3096899 w 4148598"/>
                <a:gd name="connsiteY7" fmla="*/ 374012 h 562293"/>
                <a:gd name="connsiteX8" fmla="*/ 3126080 w 4148598"/>
                <a:gd name="connsiteY8" fmla="*/ 372445 h 562293"/>
                <a:gd name="connsiteX9" fmla="*/ 3878504 w 4148598"/>
                <a:gd name="connsiteY9" fmla="*/ 549667 h 562293"/>
                <a:gd name="connsiteX10" fmla="*/ 4089707 w 4148598"/>
                <a:gd name="connsiteY10" fmla="*/ 444942 h 562293"/>
                <a:gd name="connsiteX11" fmla="*/ 4148598 w 4148598"/>
                <a:gd name="connsiteY11" fmla="*/ 403175 h 56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48598" h="562293">
                  <a:moveTo>
                    <a:pt x="4148598" y="0"/>
                  </a:moveTo>
                  <a:lnTo>
                    <a:pt x="0" y="0"/>
                  </a:lnTo>
                  <a:lnTo>
                    <a:pt x="79313" y="28152"/>
                  </a:lnTo>
                  <a:cubicBezTo>
                    <a:pt x="400530" y="179597"/>
                    <a:pt x="393008" y="447480"/>
                    <a:pt x="750771" y="471494"/>
                  </a:cubicBezTo>
                  <a:cubicBezTo>
                    <a:pt x="1159643" y="498939"/>
                    <a:pt x="1250044" y="84967"/>
                    <a:pt x="1510797" y="97996"/>
                  </a:cubicBezTo>
                  <a:cubicBezTo>
                    <a:pt x="1771551" y="111025"/>
                    <a:pt x="2025710" y="464371"/>
                    <a:pt x="2315294" y="549667"/>
                  </a:cubicBezTo>
                  <a:cubicBezTo>
                    <a:pt x="2550580" y="618970"/>
                    <a:pt x="2865203" y="380789"/>
                    <a:pt x="3067719" y="372445"/>
                  </a:cubicBezTo>
                  <a:lnTo>
                    <a:pt x="3096899" y="374012"/>
                  </a:lnTo>
                  <a:lnTo>
                    <a:pt x="3126080" y="372445"/>
                  </a:lnTo>
                  <a:cubicBezTo>
                    <a:pt x="3328595" y="380789"/>
                    <a:pt x="3643217" y="618970"/>
                    <a:pt x="3878504" y="549667"/>
                  </a:cubicBezTo>
                  <a:cubicBezTo>
                    <a:pt x="3950900" y="528344"/>
                    <a:pt x="4021082" y="490267"/>
                    <a:pt x="4089707" y="444942"/>
                  </a:cubicBezTo>
                  <a:lnTo>
                    <a:pt x="4148598" y="403175"/>
                  </a:lnTo>
                  <a:close/>
                </a:path>
              </a:pathLst>
            </a:custGeom>
            <a:gradFill flip="none" rotWithShape="1">
              <a:gsLst>
                <a:gs pos="100000">
                  <a:schemeClr val="accent1"/>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p:cNvSpPr/>
            <p:nvPr/>
          </p:nvSpPr>
          <p:spPr>
            <a:xfrm flipV="1">
              <a:off x="0" y="-9526"/>
              <a:ext cx="4045638" cy="463307"/>
            </a:xfrm>
            <a:custGeom>
              <a:avLst/>
              <a:gdLst>
                <a:gd name="connsiteX0" fmla="*/ 0 w 4045638"/>
                <a:gd name="connsiteY0" fmla="*/ 463307 h 463307"/>
                <a:gd name="connsiteX1" fmla="*/ 4045638 w 4045638"/>
                <a:gd name="connsiteY1" fmla="*/ 463307 h 463307"/>
                <a:gd name="connsiteX2" fmla="*/ 3929456 w 4045638"/>
                <a:gd name="connsiteY2" fmla="*/ 432895 h 463307"/>
                <a:gd name="connsiteX3" fmla="*/ 3530987 w 4045638"/>
                <a:gd name="connsiteY3" fmla="*/ 234506 h 463307"/>
                <a:gd name="connsiteX4" fmla="*/ 2523093 w 4045638"/>
                <a:gd name="connsiteY4" fmla="*/ 280673 h 463307"/>
                <a:gd name="connsiteX5" fmla="*/ 1724297 w 4045638"/>
                <a:gd name="connsiteY5" fmla="*/ 308 h 463307"/>
                <a:gd name="connsiteX6" fmla="*/ 878763 w 4045638"/>
                <a:gd name="connsiteY6" fmla="*/ 339353 h 463307"/>
                <a:gd name="connsiteX7" fmla="*/ 41022 w 4045638"/>
                <a:gd name="connsiteY7" fmla="*/ 208123 h 463307"/>
                <a:gd name="connsiteX8" fmla="*/ 0 w 4045638"/>
                <a:gd name="connsiteY8" fmla="*/ 216898 h 463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45638" h="463307">
                  <a:moveTo>
                    <a:pt x="0" y="463307"/>
                  </a:moveTo>
                  <a:lnTo>
                    <a:pt x="4045638" y="463307"/>
                  </a:lnTo>
                  <a:lnTo>
                    <a:pt x="3929456" y="432895"/>
                  </a:lnTo>
                  <a:cubicBezTo>
                    <a:pt x="3728123" y="370337"/>
                    <a:pt x="3698064" y="298850"/>
                    <a:pt x="3530987" y="234506"/>
                  </a:cubicBezTo>
                  <a:cubicBezTo>
                    <a:pt x="3370086" y="150375"/>
                    <a:pt x="2813585" y="344700"/>
                    <a:pt x="2523093" y="280673"/>
                  </a:cubicBezTo>
                  <a:cubicBezTo>
                    <a:pt x="2232600" y="216646"/>
                    <a:pt x="1998352" y="-9472"/>
                    <a:pt x="1724297" y="308"/>
                  </a:cubicBezTo>
                  <a:cubicBezTo>
                    <a:pt x="1450242" y="10088"/>
                    <a:pt x="1183118" y="275326"/>
                    <a:pt x="878763" y="339353"/>
                  </a:cubicBezTo>
                  <a:cubicBezTo>
                    <a:pt x="612453" y="395377"/>
                    <a:pt x="249437" y="183713"/>
                    <a:pt x="41022" y="208123"/>
                  </a:cubicBezTo>
                  <a:lnTo>
                    <a:pt x="0" y="216898"/>
                  </a:lnTo>
                  <a:close/>
                </a:path>
              </a:pathLst>
            </a:custGeom>
            <a:solidFill>
              <a:schemeClr val="accent3">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Title Placeholder 3"/>
          <p:cNvSpPr>
            <a:spLocks noGrp="1"/>
          </p:cNvSpPr>
          <p:nvPr>
            <p:ph type="title"/>
          </p:nvPr>
        </p:nvSpPr>
        <p:spPr>
          <a:xfrm>
            <a:off x="406318" y="800693"/>
            <a:ext cx="10515600" cy="824908"/>
          </a:xfrm>
          <a:prstGeom prst="rect">
            <a:avLst/>
          </a:prstGeom>
        </p:spPr>
        <p:txBody>
          <a:bodyPr vert="horz" lIns="91440" tIns="45720" rIns="91440" bIns="45720" rtlCol="0" anchor="ctr">
            <a:normAutofit/>
          </a:bodyPr>
          <a:lstStyle/>
          <a:p>
            <a:r>
              <a:rPr lang="en-US" dirty="0"/>
              <a:t>Click to edit Master title style</a:t>
            </a:r>
          </a:p>
        </p:txBody>
      </p:sp>
      <p:sp>
        <p:nvSpPr>
          <p:cNvPr id="5" name="Text Placeholder 4"/>
          <p:cNvSpPr>
            <a:spLocks noGrp="1"/>
          </p:cNvSpPr>
          <p:nvPr>
            <p:ph type="body" idx="1"/>
          </p:nvPr>
        </p:nvSpPr>
        <p:spPr>
          <a:xfrm>
            <a:off x="406318" y="1825625"/>
            <a:ext cx="10947482"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4853065"/>
      </p:ext>
    </p:extLst>
  </p:cSld>
  <p:clrMap bg1="lt1" tx1="dk1" bg2="lt2" tx2="dk2" accent1="accent1" accent2="accent2" accent3="accent3" accent4="accent4" accent5="accent5" accent6="accent6" hlink="hlink" folHlink="folHlink"/>
  <p:sldLayoutIdLst>
    <p:sldLayoutId id="2147483655" r:id="rId1"/>
    <p:sldLayoutId id="2147483683" r:id="rId2"/>
    <p:sldLayoutId id="2147483682" r:id="rId3"/>
    <p:sldLayoutId id="2147483681" r:id="rId4"/>
    <p:sldLayoutId id="2147483677" r:id="rId5"/>
    <p:sldLayoutId id="2147483675" r:id="rId6"/>
    <p:sldLayoutId id="2147483673" r:id="rId7"/>
    <p:sldLayoutId id="2147483671" r:id="rId8"/>
    <p:sldLayoutId id="2147483670" r:id="rId9"/>
    <p:sldLayoutId id="2147483666" r:id="rId10"/>
    <p:sldLayoutId id="2147483668" r:id="rId11"/>
    <p:sldLayoutId id="2147483667" r:id="rId12"/>
    <p:sldLayoutId id="2147483680" r:id="rId13"/>
    <p:sldLayoutId id="2147483662" r:id="rId14"/>
    <p:sldLayoutId id="2147483663" r:id="rId15"/>
    <p:sldLayoutId id="2147483676" r:id="rId16"/>
    <p:sldLayoutId id="2147483674" r:id="rId17"/>
  </p:sldLayoutIdLst>
  <p:txStyles>
    <p:titleStyle>
      <a:lvl1pPr algn="l" defTabSz="914400" rtl="0" eaLnBrk="1" latinLnBrk="0" hangingPunct="1">
        <a:lnSpc>
          <a:spcPct val="90000"/>
        </a:lnSpc>
        <a:spcBef>
          <a:spcPct val="0"/>
        </a:spcBef>
        <a:buNone/>
        <a:defRPr lang="en-US" sz="3200" b="1" kern="1200" spc="-150" dirty="0">
          <a:solidFill>
            <a:schemeClr val="tx1">
              <a:lumMod val="85000"/>
              <a:lumOff val="15000"/>
            </a:schemeClr>
          </a:solidFill>
          <a:latin typeface="Montserrat" panose="00000500000000000000" pitchFamily="2" charset="0"/>
          <a:ea typeface="Source Sans Pro" panose="020B0503030403020204" pitchFamily="34" charset="0"/>
          <a:cs typeface="Open Sans Light" panose="020B0306030504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xml"/><Relationship Id="rId1" Type="http://schemas.openxmlformats.org/officeDocument/2006/relationships/tags" Target="../tags/tag13.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6.xml"/><Relationship Id="rId1" Type="http://schemas.openxmlformats.org/officeDocument/2006/relationships/tags" Target="../tags/tag15.xml"/><Relationship Id="rId4" Type="http://schemas.openxmlformats.org/officeDocument/2006/relationships/image" Target="../media/image10.jp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8.xml"/><Relationship Id="rId1" Type="http://schemas.openxmlformats.org/officeDocument/2006/relationships/tags" Target="../tags/tag17.xml"/></Relationships>
</file>

<file path=ppt/slides/_rels/slide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image" Target="../media/image11.jp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2.xml"/><Relationship Id="rId1" Type="http://schemas.openxmlformats.org/officeDocument/2006/relationships/tags" Target="../tags/tag21.xml"/><Relationship Id="rId4" Type="http://schemas.openxmlformats.org/officeDocument/2006/relationships/image" Target="../media/image12.jp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4.xml"/><Relationship Id="rId1" Type="http://schemas.openxmlformats.org/officeDocument/2006/relationships/tags" Target="../tags/tag23.xml"/><Relationship Id="rId4" Type="http://schemas.openxmlformats.org/officeDocument/2006/relationships/image" Target="../media/image13.jp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6.xml"/><Relationship Id="rId1" Type="http://schemas.openxmlformats.org/officeDocument/2006/relationships/tags" Target="../tags/tag2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8.xml"/><Relationship Id="rId1" Type="http://schemas.openxmlformats.org/officeDocument/2006/relationships/tags" Target="../tags/tag27.xml"/></Relationships>
</file>

<file path=ppt/slides/_rels/slide19.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Layout" Target="../slideLayouts/slideLayout16.xml"/><Relationship Id="rId1" Type="http://schemas.openxmlformats.org/officeDocument/2006/relationships/tags" Target="../tags/tag29.xml"/></Relationships>
</file>

<file path=ppt/slides/_rels/slide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slideLayout" Target="../slideLayouts/slideLayout13.xml"/><Relationship Id="rId1" Type="http://schemas.openxmlformats.org/officeDocument/2006/relationships/tags" Target="../tags/tag3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9.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jpg"/><Relationship Id="rId5" Type="http://schemas.openxmlformats.org/officeDocument/2006/relationships/image" Target="../media/image10.jpg"/><Relationship Id="rId4" Type="http://schemas.openxmlformats.org/officeDocument/2006/relationships/image" Target="../media/image16.jp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9.jpg"/><Relationship Id="rId5" Type="http://schemas.openxmlformats.org/officeDocument/2006/relationships/image" Target="../media/image18.jpg"/><Relationship Id="rId4" Type="http://schemas.openxmlformats.org/officeDocument/2006/relationships/image" Target="../media/image17.jpg"/></Relationships>
</file>

<file path=ppt/slides/_rels/slide23.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slideLayout" Target="../slideLayouts/slideLayout2.xml"/><Relationship Id="rId1" Type="http://schemas.openxmlformats.org/officeDocument/2006/relationships/tags" Target="../tags/tag35.xml"/></Relationships>
</file>

<file path=ppt/slides/_rels/slide2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4.jp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5.jp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6.jp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7.jp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xml"/><Relationship Id="rId1" Type="http://schemas.openxmlformats.org/officeDocument/2006/relationships/tags" Target="../tags/tag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9.jpg"/><Relationship Id="rId4" Type="http://schemas.openxmlformats.org/officeDocument/2006/relationships/image" Target="../media/image8.jp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image" Target="../media/image10.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D4D8C5D6-DA51-40BC-A238-117C2171018D}"/>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7779" b="7779"/>
          <a:stretch>
            <a:fillRect/>
          </a:stretch>
        </p:blipFill>
        <p:spPr/>
      </p:pic>
      <p:sp>
        <p:nvSpPr>
          <p:cNvPr id="28" name="Freeform 27"/>
          <p:cNvSpPr/>
          <p:nvPr/>
        </p:nvSpPr>
        <p:spPr>
          <a:xfrm>
            <a:off x="0" y="1034343"/>
            <a:ext cx="12192000" cy="5588000"/>
          </a:xfrm>
          <a:custGeom>
            <a:avLst/>
            <a:gdLst>
              <a:gd name="connsiteX0" fmla="*/ 0 w 12192000"/>
              <a:gd name="connsiteY0" fmla="*/ 5584550 h 5588000"/>
              <a:gd name="connsiteX1" fmla="*/ 679 w 12192000"/>
              <a:gd name="connsiteY1" fmla="*/ 5588000 h 5588000"/>
              <a:gd name="connsiteX2" fmla="*/ 0 w 12192000"/>
              <a:gd name="connsiteY2" fmla="*/ 5588000 h 5588000"/>
              <a:gd name="connsiteX3" fmla="*/ 8587222 w 12192000"/>
              <a:gd name="connsiteY3" fmla="*/ 4933546 h 5588000"/>
              <a:gd name="connsiteX4" fmla="*/ 8570068 w 12192000"/>
              <a:gd name="connsiteY4" fmla="*/ 4936017 h 5588000"/>
              <a:gd name="connsiteX5" fmla="*/ 8552914 w 12192000"/>
              <a:gd name="connsiteY5" fmla="*/ 4938488 h 5588000"/>
              <a:gd name="connsiteX6" fmla="*/ 8537646 w 12192000"/>
              <a:gd name="connsiteY6" fmla="*/ 4951036 h 5588000"/>
              <a:gd name="connsiteX7" fmla="*/ 8526196 w 12192000"/>
              <a:gd name="connsiteY7" fmla="*/ 4960446 h 5588000"/>
              <a:gd name="connsiteX8" fmla="*/ 8520449 w 12192000"/>
              <a:gd name="connsiteY8" fmla="*/ 4976797 h 5588000"/>
              <a:gd name="connsiteX9" fmla="*/ 8514702 w 12192000"/>
              <a:gd name="connsiteY9" fmla="*/ 4993147 h 5588000"/>
              <a:gd name="connsiteX10" fmla="*/ 8515624 w 12192000"/>
              <a:gd name="connsiteY10" fmla="*/ 5009831 h 5588000"/>
              <a:gd name="connsiteX11" fmla="*/ 8516545 w 12192000"/>
              <a:gd name="connsiteY11" fmla="*/ 5026514 h 5588000"/>
              <a:gd name="connsiteX12" fmla="*/ 8523170 w 12192000"/>
              <a:gd name="connsiteY12" fmla="*/ 5050137 h 5588000"/>
              <a:gd name="connsiteX13" fmla="*/ 8530760 w 12192000"/>
              <a:gd name="connsiteY13" fmla="*/ 5067154 h 5588000"/>
              <a:gd name="connsiteX14" fmla="*/ 8545019 w 12192000"/>
              <a:gd name="connsiteY14" fmla="*/ 5084503 h 5588000"/>
              <a:gd name="connsiteX15" fmla="*/ 8559278 w 12192000"/>
              <a:gd name="connsiteY15" fmla="*/ 5101852 h 5588000"/>
              <a:gd name="connsiteX16" fmla="*/ 8577354 w 12192000"/>
              <a:gd name="connsiteY16" fmla="*/ 5116065 h 5588000"/>
              <a:gd name="connsiteX17" fmla="*/ 8596395 w 12192000"/>
              <a:gd name="connsiteY17" fmla="*/ 5123670 h 5588000"/>
              <a:gd name="connsiteX18" fmla="*/ 8612584 w 12192000"/>
              <a:gd name="connsiteY18" fmla="*/ 5127806 h 5588000"/>
              <a:gd name="connsiteX19" fmla="*/ 8628773 w 12192000"/>
              <a:gd name="connsiteY19" fmla="*/ 5131942 h 5588000"/>
              <a:gd name="connsiteX20" fmla="*/ 8648778 w 12192000"/>
              <a:gd name="connsiteY20" fmla="*/ 5132940 h 5588000"/>
              <a:gd name="connsiteX21" fmla="*/ 8663081 w 12192000"/>
              <a:gd name="connsiteY21" fmla="*/ 5126999 h 5588000"/>
              <a:gd name="connsiteX22" fmla="*/ 8674531 w 12192000"/>
              <a:gd name="connsiteY22" fmla="*/ 5117589 h 5588000"/>
              <a:gd name="connsiteX23" fmla="*/ 8689798 w 12192000"/>
              <a:gd name="connsiteY23" fmla="*/ 5105041 h 5588000"/>
              <a:gd name="connsiteX24" fmla="*/ 8698397 w 12192000"/>
              <a:gd name="connsiteY24" fmla="*/ 5092160 h 5588000"/>
              <a:gd name="connsiteX25" fmla="*/ 8701292 w 12192000"/>
              <a:gd name="connsiteY25" fmla="*/ 5072340 h 5588000"/>
              <a:gd name="connsiteX26" fmla="*/ 8700371 w 12192000"/>
              <a:gd name="connsiteY26" fmla="*/ 5055656 h 5588000"/>
              <a:gd name="connsiteX27" fmla="*/ 8699449 w 12192000"/>
              <a:gd name="connsiteY27" fmla="*/ 5038973 h 5588000"/>
              <a:gd name="connsiteX28" fmla="*/ 8691859 w 12192000"/>
              <a:gd name="connsiteY28" fmla="*/ 5021956 h 5588000"/>
              <a:gd name="connsiteX29" fmla="*/ 8681417 w 12192000"/>
              <a:gd name="connsiteY29" fmla="*/ 5001470 h 5588000"/>
              <a:gd name="connsiteX30" fmla="*/ 8670975 w 12192000"/>
              <a:gd name="connsiteY30" fmla="*/ 4980984 h 5588000"/>
              <a:gd name="connsiteX31" fmla="*/ 8652899 w 12192000"/>
              <a:gd name="connsiteY31" fmla="*/ 4966772 h 5588000"/>
              <a:gd name="connsiteX32" fmla="*/ 8637676 w 12192000"/>
              <a:gd name="connsiteY32" fmla="*/ 4956029 h 5588000"/>
              <a:gd name="connsiteX33" fmla="*/ 8619600 w 12192000"/>
              <a:gd name="connsiteY33" fmla="*/ 4941817 h 5588000"/>
              <a:gd name="connsiteX34" fmla="*/ 8603411 w 12192000"/>
              <a:gd name="connsiteY34" fmla="*/ 4937681 h 5588000"/>
              <a:gd name="connsiteX35" fmla="*/ 8963637 w 12192000"/>
              <a:gd name="connsiteY35" fmla="*/ 4380010 h 5588000"/>
              <a:gd name="connsiteX36" fmla="*/ 8946483 w 12192000"/>
              <a:gd name="connsiteY36" fmla="*/ 4382481 h 5588000"/>
              <a:gd name="connsiteX37" fmla="*/ 8932181 w 12192000"/>
              <a:gd name="connsiteY37" fmla="*/ 4388422 h 5588000"/>
              <a:gd name="connsiteX38" fmla="*/ 8914061 w 12192000"/>
              <a:gd name="connsiteY38" fmla="*/ 4397500 h 5588000"/>
              <a:gd name="connsiteX39" fmla="*/ 8895942 w 12192000"/>
              <a:gd name="connsiteY39" fmla="*/ 4406578 h 5588000"/>
              <a:gd name="connsiteX40" fmla="*/ 8883527 w 12192000"/>
              <a:gd name="connsiteY40" fmla="*/ 4422595 h 5588000"/>
              <a:gd name="connsiteX41" fmla="*/ 8871111 w 12192000"/>
              <a:gd name="connsiteY41" fmla="*/ 4438613 h 5588000"/>
              <a:gd name="connsiteX42" fmla="*/ 8858696 w 12192000"/>
              <a:gd name="connsiteY42" fmla="*/ 4454630 h 5588000"/>
              <a:gd name="connsiteX43" fmla="*/ 8852949 w 12192000"/>
              <a:gd name="connsiteY43" fmla="*/ 4470981 h 5588000"/>
              <a:gd name="connsiteX44" fmla="*/ 8853870 w 12192000"/>
              <a:gd name="connsiteY44" fmla="*/ 4487664 h 5588000"/>
              <a:gd name="connsiteX45" fmla="*/ 8854792 w 12192000"/>
              <a:gd name="connsiteY45" fmla="*/ 4504348 h 5588000"/>
              <a:gd name="connsiteX46" fmla="*/ 8859530 w 12192000"/>
              <a:gd name="connsiteY46" fmla="*/ 4517894 h 5588000"/>
              <a:gd name="connsiteX47" fmla="*/ 8864269 w 12192000"/>
              <a:gd name="connsiteY47" fmla="*/ 4531441 h 5588000"/>
              <a:gd name="connsiteX48" fmla="*/ 8876641 w 12192000"/>
              <a:gd name="connsiteY48" fmla="*/ 4538713 h 5588000"/>
              <a:gd name="connsiteX49" fmla="*/ 8891865 w 12192000"/>
              <a:gd name="connsiteY49" fmla="*/ 4549456 h 5588000"/>
              <a:gd name="connsiteX50" fmla="*/ 8905202 w 12192000"/>
              <a:gd name="connsiteY50" fmla="*/ 4550122 h 5588000"/>
              <a:gd name="connsiteX51" fmla="*/ 8921391 w 12192000"/>
              <a:gd name="connsiteY51" fmla="*/ 4554257 h 5588000"/>
              <a:gd name="connsiteX52" fmla="*/ 8938545 w 12192000"/>
              <a:gd name="connsiteY52" fmla="*/ 4551786 h 5588000"/>
              <a:gd name="connsiteX53" fmla="*/ 8956664 w 12192000"/>
              <a:gd name="connsiteY53" fmla="*/ 4542708 h 5588000"/>
              <a:gd name="connsiteX54" fmla="*/ 8974783 w 12192000"/>
              <a:gd name="connsiteY54" fmla="*/ 4533630 h 5588000"/>
              <a:gd name="connsiteX55" fmla="*/ 8992902 w 12192000"/>
              <a:gd name="connsiteY55" fmla="*/ 4524553 h 5588000"/>
              <a:gd name="connsiteX56" fmla="*/ 9005318 w 12192000"/>
              <a:gd name="connsiteY56" fmla="*/ 4508535 h 5588000"/>
              <a:gd name="connsiteX57" fmla="*/ 9017733 w 12192000"/>
              <a:gd name="connsiteY57" fmla="*/ 4492517 h 5588000"/>
              <a:gd name="connsiteX58" fmla="*/ 9026332 w 12192000"/>
              <a:gd name="connsiteY58" fmla="*/ 4479637 h 5588000"/>
              <a:gd name="connsiteX59" fmla="*/ 9032079 w 12192000"/>
              <a:gd name="connsiteY59" fmla="*/ 4463286 h 5588000"/>
              <a:gd name="connsiteX60" fmla="*/ 9031158 w 12192000"/>
              <a:gd name="connsiteY60" fmla="*/ 4446603 h 5588000"/>
              <a:gd name="connsiteX61" fmla="*/ 9033088 w 12192000"/>
              <a:gd name="connsiteY61" fmla="*/ 4433389 h 5588000"/>
              <a:gd name="connsiteX62" fmla="*/ 9029314 w 12192000"/>
              <a:gd name="connsiteY62" fmla="*/ 4413236 h 5588000"/>
              <a:gd name="connsiteX63" fmla="*/ 9020759 w 12192000"/>
              <a:gd name="connsiteY63" fmla="*/ 4402826 h 5588000"/>
              <a:gd name="connsiteX64" fmla="*/ 9012204 w 12192000"/>
              <a:gd name="connsiteY64" fmla="*/ 4392417 h 5588000"/>
              <a:gd name="connsiteX65" fmla="*/ 8996015 w 12192000"/>
              <a:gd name="connsiteY65" fmla="*/ 4388281 h 5588000"/>
              <a:gd name="connsiteX66" fmla="*/ 8979826 w 12192000"/>
              <a:gd name="connsiteY66" fmla="*/ 4384145 h 5588000"/>
              <a:gd name="connsiteX67" fmla="*/ 4394409 w 12192000"/>
              <a:gd name="connsiteY67" fmla="*/ 4380010 h 5588000"/>
              <a:gd name="connsiteX68" fmla="*/ 4377255 w 12192000"/>
              <a:gd name="connsiteY68" fmla="*/ 4382481 h 5588000"/>
              <a:gd name="connsiteX69" fmla="*/ 4362953 w 12192000"/>
              <a:gd name="connsiteY69" fmla="*/ 4388422 h 5588000"/>
              <a:gd name="connsiteX70" fmla="*/ 4344836 w 12192000"/>
              <a:gd name="connsiteY70" fmla="*/ 4397500 h 5588000"/>
              <a:gd name="connsiteX71" fmla="*/ 4326714 w 12192000"/>
              <a:gd name="connsiteY71" fmla="*/ 4406578 h 5588000"/>
              <a:gd name="connsiteX72" fmla="*/ 4314301 w 12192000"/>
              <a:gd name="connsiteY72" fmla="*/ 4422595 h 5588000"/>
              <a:gd name="connsiteX73" fmla="*/ 4301883 w 12192000"/>
              <a:gd name="connsiteY73" fmla="*/ 4438613 h 5588000"/>
              <a:gd name="connsiteX74" fmla="*/ 4289469 w 12192000"/>
              <a:gd name="connsiteY74" fmla="*/ 4454630 h 5588000"/>
              <a:gd name="connsiteX75" fmla="*/ 4283722 w 12192000"/>
              <a:gd name="connsiteY75" fmla="*/ 4470981 h 5588000"/>
              <a:gd name="connsiteX76" fmla="*/ 4284644 w 12192000"/>
              <a:gd name="connsiteY76" fmla="*/ 4487664 h 5588000"/>
              <a:gd name="connsiteX77" fmla="*/ 4285564 w 12192000"/>
              <a:gd name="connsiteY77" fmla="*/ 4504348 h 5588000"/>
              <a:gd name="connsiteX78" fmla="*/ 4290305 w 12192000"/>
              <a:gd name="connsiteY78" fmla="*/ 4517894 h 5588000"/>
              <a:gd name="connsiteX79" fmla="*/ 4295044 w 12192000"/>
              <a:gd name="connsiteY79" fmla="*/ 4531441 h 5588000"/>
              <a:gd name="connsiteX80" fmla="*/ 4307413 w 12192000"/>
              <a:gd name="connsiteY80" fmla="*/ 4538713 h 5588000"/>
              <a:gd name="connsiteX81" fmla="*/ 4322637 w 12192000"/>
              <a:gd name="connsiteY81" fmla="*/ 4549456 h 5588000"/>
              <a:gd name="connsiteX82" fmla="*/ 4335977 w 12192000"/>
              <a:gd name="connsiteY82" fmla="*/ 4550122 h 5588000"/>
              <a:gd name="connsiteX83" fmla="*/ 4352163 w 12192000"/>
              <a:gd name="connsiteY83" fmla="*/ 4554257 h 5588000"/>
              <a:gd name="connsiteX84" fmla="*/ 4369317 w 12192000"/>
              <a:gd name="connsiteY84" fmla="*/ 4551786 h 5588000"/>
              <a:gd name="connsiteX85" fmla="*/ 4387436 w 12192000"/>
              <a:gd name="connsiteY85" fmla="*/ 4542708 h 5588000"/>
              <a:gd name="connsiteX86" fmla="*/ 4405556 w 12192000"/>
              <a:gd name="connsiteY86" fmla="*/ 4533630 h 5588000"/>
              <a:gd name="connsiteX87" fmla="*/ 4423675 w 12192000"/>
              <a:gd name="connsiteY87" fmla="*/ 4524553 h 5588000"/>
              <a:gd name="connsiteX88" fmla="*/ 4436091 w 12192000"/>
              <a:gd name="connsiteY88" fmla="*/ 4508535 h 5588000"/>
              <a:gd name="connsiteX89" fmla="*/ 4448507 w 12192000"/>
              <a:gd name="connsiteY89" fmla="*/ 4492517 h 5588000"/>
              <a:gd name="connsiteX90" fmla="*/ 4457104 w 12192000"/>
              <a:gd name="connsiteY90" fmla="*/ 4479637 h 5588000"/>
              <a:gd name="connsiteX91" fmla="*/ 4462851 w 12192000"/>
              <a:gd name="connsiteY91" fmla="*/ 4463286 h 5588000"/>
              <a:gd name="connsiteX92" fmla="*/ 4461930 w 12192000"/>
              <a:gd name="connsiteY92" fmla="*/ 4446603 h 5588000"/>
              <a:gd name="connsiteX93" fmla="*/ 4463862 w 12192000"/>
              <a:gd name="connsiteY93" fmla="*/ 4433389 h 5588000"/>
              <a:gd name="connsiteX94" fmla="*/ 4460087 w 12192000"/>
              <a:gd name="connsiteY94" fmla="*/ 4413236 h 5588000"/>
              <a:gd name="connsiteX95" fmla="*/ 4451532 w 12192000"/>
              <a:gd name="connsiteY95" fmla="*/ 4402826 h 5588000"/>
              <a:gd name="connsiteX96" fmla="*/ 4442977 w 12192000"/>
              <a:gd name="connsiteY96" fmla="*/ 4392417 h 5588000"/>
              <a:gd name="connsiteX97" fmla="*/ 4426787 w 12192000"/>
              <a:gd name="connsiteY97" fmla="*/ 4388281 h 5588000"/>
              <a:gd name="connsiteX98" fmla="*/ 4410600 w 12192000"/>
              <a:gd name="connsiteY98" fmla="*/ 4384145 h 5588000"/>
              <a:gd name="connsiteX99" fmla="*/ 562600 w 12192000"/>
              <a:gd name="connsiteY99" fmla="*/ 4380010 h 5588000"/>
              <a:gd name="connsiteX100" fmla="*/ 545446 w 12192000"/>
              <a:gd name="connsiteY100" fmla="*/ 4382481 h 5588000"/>
              <a:gd name="connsiteX101" fmla="*/ 531144 w 12192000"/>
              <a:gd name="connsiteY101" fmla="*/ 4388422 h 5588000"/>
              <a:gd name="connsiteX102" fmla="*/ 513025 w 12192000"/>
              <a:gd name="connsiteY102" fmla="*/ 4397500 h 5588000"/>
              <a:gd name="connsiteX103" fmla="*/ 494905 w 12192000"/>
              <a:gd name="connsiteY103" fmla="*/ 4406578 h 5588000"/>
              <a:gd name="connsiteX104" fmla="*/ 482490 w 12192000"/>
              <a:gd name="connsiteY104" fmla="*/ 4422595 h 5588000"/>
              <a:gd name="connsiteX105" fmla="*/ 470074 w 12192000"/>
              <a:gd name="connsiteY105" fmla="*/ 4438613 h 5588000"/>
              <a:gd name="connsiteX106" fmla="*/ 457659 w 12192000"/>
              <a:gd name="connsiteY106" fmla="*/ 4454630 h 5588000"/>
              <a:gd name="connsiteX107" fmla="*/ 451912 w 12192000"/>
              <a:gd name="connsiteY107" fmla="*/ 4470981 h 5588000"/>
              <a:gd name="connsiteX108" fmla="*/ 452833 w 12192000"/>
              <a:gd name="connsiteY108" fmla="*/ 4487664 h 5588000"/>
              <a:gd name="connsiteX109" fmla="*/ 453755 w 12192000"/>
              <a:gd name="connsiteY109" fmla="*/ 4504348 h 5588000"/>
              <a:gd name="connsiteX110" fmla="*/ 458493 w 12192000"/>
              <a:gd name="connsiteY110" fmla="*/ 4517894 h 5588000"/>
              <a:gd name="connsiteX111" fmla="*/ 463232 w 12192000"/>
              <a:gd name="connsiteY111" fmla="*/ 4531441 h 5588000"/>
              <a:gd name="connsiteX112" fmla="*/ 475604 w 12192000"/>
              <a:gd name="connsiteY112" fmla="*/ 4538713 h 5588000"/>
              <a:gd name="connsiteX113" fmla="*/ 490828 w 12192000"/>
              <a:gd name="connsiteY113" fmla="*/ 4549456 h 5588000"/>
              <a:gd name="connsiteX114" fmla="*/ 504165 w 12192000"/>
              <a:gd name="connsiteY114" fmla="*/ 4550122 h 5588000"/>
              <a:gd name="connsiteX115" fmla="*/ 520354 w 12192000"/>
              <a:gd name="connsiteY115" fmla="*/ 4554257 h 5588000"/>
              <a:gd name="connsiteX116" fmla="*/ 537508 w 12192000"/>
              <a:gd name="connsiteY116" fmla="*/ 4551786 h 5588000"/>
              <a:gd name="connsiteX117" fmla="*/ 555627 w 12192000"/>
              <a:gd name="connsiteY117" fmla="*/ 4542708 h 5588000"/>
              <a:gd name="connsiteX118" fmla="*/ 573746 w 12192000"/>
              <a:gd name="connsiteY118" fmla="*/ 4533630 h 5588000"/>
              <a:gd name="connsiteX119" fmla="*/ 591865 w 12192000"/>
              <a:gd name="connsiteY119" fmla="*/ 4524553 h 5588000"/>
              <a:gd name="connsiteX120" fmla="*/ 604281 w 12192000"/>
              <a:gd name="connsiteY120" fmla="*/ 4508535 h 5588000"/>
              <a:gd name="connsiteX121" fmla="*/ 616697 w 12192000"/>
              <a:gd name="connsiteY121" fmla="*/ 4492517 h 5588000"/>
              <a:gd name="connsiteX122" fmla="*/ 625295 w 12192000"/>
              <a:gd name="connsiteY122" fmla="*/ 4479637 h 5588000"/>
              <a:gd name="connsiteX123" fmla="*/ 631042 w 12192000"/>
              <a:gd name="connsiteY123" fmla="*/ 4463286 h 5588000"/>
              <a:gd name="connsiteX124" fmla="*/ 630121 w 12192000"/>
              <a:gd name="connsiteY124" fmla="*/ 4446603 h 5588000"/>
              <a:gd name="connsiteX125" fmla="*/ 632051 w 12192000"/>
              <a:gd name="connsiteY125" fmla="*/ 4433389 h 5588000"/>
              <a:gd name="connsiteX126" fmla="*/ 628277 w 12192000"/>
              <a:gd name="connsiteY126" fmla="*/ 4413236 h 5588000"/>
              <a:gd name="connsiteX127" fmla="*/ 619722 w 12192000"/>
              <a:gd name="connsiteY127" fmla="*/ 4402826 h 5588000"/>
              <a:gd name="connsiteX128" fmla="*/ 611167 w 12192000"/>
              <a:gd name="connsiteY128" fmla="*/ 4392417 h 5588000"/>
              <a:gd name="connsiteX129" fmla="*/ 594978 w 12192000"/>
              <a:gd name="connsiteY129" fmla="*/ 4388281 h 5588000"/>
              <a:gd name="connsiteX130" fmla="*/ 578789 w 12192000"/>
              <a:gd name="connsiteY130" fmla="*/ 4384145 h 5588000"/>
              <a:gd name="connsiteX131" fmla="*/ 9241918 w 12192000"/>
              <a:gd name="connsiteY131" fmla="*/ 4337335 h 5588000"/>
              <a:gd name="connsiteX132" fmla="*/ 9220947 w 12192000"/>
              <a:gd name="connsiteY132" fmla="*/ 4342943 h 5588000"/>
              <a:gd name="connsiteX133" fmla="*/ 9206645 w 12192000"/>
              <a:gd name="connsiteY133" fmla="*/ 4348884 h 5588000"/>
              <a:gd name="connsiteX134" fmla="*/ 9191378 w 12192000"/>
              <a:gd name="connsiteY134" fmla="*/ 4361432 h 5588000"/>
              <a:gd name="connsiteX135" fmla="*/ 9179927 w 12192000"/>
              <a:gd name="connsiteY135" fmla="*/ 4370843 h 5588000"/>
              <a:gd name="connsiteX136" fmla="*/ 9167512 w 12192000"/>
              <a:gd name="connsiteY136" fmla="*/ 4386860 h 5588000"/>
              <a:gd name="connsiteX137" fmla="*/ 9161765 w 12192000"/>
              <a:gd name="connsiteY137" fmla="*/ 4403211 h 5588000"/>
              <a:gd name="connsiteX138" fmla="*/ 9158869 w 12192000"/>
              <a:gd name="connsiteY138" fmla="*/ 4423031 h 5588000"/>
              <a:gd name="connsiteX139" fmla="*/ 9159791 w 12192000"/>
              <a:gd name="connsiteY139" fmla="*/ 4439715 h 5588000"/>
              <a:gd name="connsiteX140" fmla="*/ 9160713 w 12192000"/>
              <a:gd name="connsiteY140" fmla="*/ 4456398 h 5588000"/>
              <a:gd name="connsiteX141" fmla="*/ 9168303 w 12192000"/>
              <a:gd name="connsiteY141" fmla="*/ 4473414 h 5588000"/>
              <a:gd name="connsiteX142" fmla="*/ 9179710 w 12192000"/>
              <a:gd name="connsiteY142" fmla="*/ 4487294 h 5588000"/>
              <a:gd name="connsiteX143" fmla="*/ 9191117 w 12192000"/>
              <a:gd name="connsiteY143" fmla="*/ 4501173 h 5588000"/>
              <a:gd name="connsiteX144" fmla="*/ 9203489 w 12192000"/>
              <a:gd name="connsiteY144" fmla="*/ 4508446 h 5588000"/>
              <a:gd name="connsiteX145" fmla="*/ 9222530 w 12192000"/>
              <a:gd name="connsiteY145" fmla="*/ 4516051 h 5588000"/>
              <a:gd name="connsiteX146" fmla="*/ 9238719 w 12192000"/>
              <a:gd name="connsiteY146" fmla="*/ 4520187 h 5588000"/>
              <a:gd name="connsiteX147" fmla="*/ 9255873 w 12192000"/>
              <a:gd name="connsiteY147" fmla="*/ 4517716 h 5588000"/>
              <a:gd name="connsiteX148" fmla="*/ 9273027 w 12192000"/>
              <a:gd name="connsiteY148" fmla="*/ 4515245 h 5588000"/>
              <a:gd name="connsiteX149" fmla="*/ 9291146 w 12192000"/>
              <a:gd name="connsiteY149" fmla="*/ 4506167 h 5588000"/>
              <a:gd name="connsiteX150" fmla="*/ 9305448 w 12192000"/>
              <a:gd name="connsiteY150" fmla="*/ 4500226 h 5588000"/>
              <a:gd name="connsiteX151" fmla="*/ 9317864 w 12192000"/>
              <a:gd name="connsiteY151" fmla="*/ 4484208 h 5588000"/>
              <a:gd name="connsiteX152" fmla="*/ 9326463 w 12192000"/>
              <a:gd name="connsiteY152" fmla="*/ 4471328 h 5588000"/>
              <a:gd name="connsiteX153" fmla="*/ 9336026 w 12192000"/>
              <a:gd name="connsiteY153" fmla="*/ 4451840 h 5588000"/>
              <a:gd name="connsiteX154" fmla="*/ 9337957 w 12192000"/>
              <a:gd name="connsiteY154" fmla="*/ 4438627 h 5588000"/>
              <a:gd name="connsiteX155" fmla="*/ 9340852 w 12192000"/>
              <a:gd name="connsiteY155" fmla="*/ 4418806 h 5588000"/>
              <a:gd name="connsiteX156" fmla="*/ 9333262 w 12192000"/>
              <a:gd name="connsiteY156" fmla="*/ 4401790 h 5588000"/>
              <a:gd name="connsiteX157" fmla="*/ 9328523 w 12192000"/>
              <a:gd name="connsiteY157" fmla="*/ 4388243 h 5588000"/>
              <a:gd name="connsiteX158" fmla="*/ 9320933 w 12192000"/>
              <a:gd name="connsiteY158" fmla="*/ 4371227 h 5588000"/>
              <a:gd name="connsiteX159" fmla="*/ 9305709 w 12192000"/>
              <a:gd name="connsiteY159" fmla="*/ 4360485 h 5588000"/>
              <a:gd name="connsiteX160" fmla="*/ 9290485 w 12192000"/>
              <a:gd name="connsiteY160" fmla="*/ 4349742 h 5588000"/>
              <a:gd name="connsiteX161" fmla="*/ 9278113 w 12192000"/>
              <a:gd name="connsiteY161" fmla="*/ 4342469 h 5588000"/>
              <a:gd name="connsiteX162" fmla="*/ 9258107 w 12192000"/>
              <a:gd name="connsiteY162" fmla="*/ 4341471 h 5588000"/>
              <a:gd name="connsiteX163" fmla="*/ 4672691 w 12192000"/>
              <a:gd name="connsiteY163" fmla="*/ 4337335 h 5588000"/>
              <a:gd name="connsiteX164" fmla="*/ 4651721 w 12192000"/>
              <a:gd name="connsiteY164" fmla="*/ 4342943 h 5588000"/>
              <a:gd name="connsiteX165" fmla="*/ 4637417 w 12192000"/>
              <a:gd name="connsiteY165" fmla="*/ 4348884 h 5588000"/>
              <a:gd name="connsiteX166" fmla="*/ 4622151 w 12192000"/>
              <a:gd name="connsiteY166" fmla="*/ 4361432 h 5588000"/>
              <a:gd name="connsiteX167" fmla="*/ 4610700 w 12192000"/>
              <a:gd name="connsiteY167" fmla="*/ 4370843 h 5588000"/>
              <a:gd name="connsiteX168" fmla="*/ 4598284 w 12192000"/>
              <a:gd name="connsiteY168" fmla="*/ 4386860 h 5588000"/>
              <a:gd name="connsiteX169" fmla="*/ 4592540 w 12192000"/>
              <a:gd name="connsiteY169" fmla="*/ 4403211 h 5588000"/>
              <a:gd name="connsiteX170" fmla="*/ 4589642 w 12192000"/>
              <a:gd name="connsiteY170" fmla="*/ 4423031 h 5588000"/>
              <a:gd name="connsiteX171" fmla="*/ 4590564 w 12192000"/>
              <a:gd name="connsiteY171" fmla="*/ 4439715 h 5588000"/>
              <a:gd name="connsiteX172" fmla="*/ 4591485 w 12192000"/>
              <a:gd name="connsiteY172" fmla="*/ 4456398 h 5588000"/>
              <a:gd name="connsiteX173" fmla="*/ 4599077 w 12192000"/>
              <a:gd name="connsiteY173" fmla="*/ 4473414 h 5588000"/>
              <a:gd name="connsiteX174" fmla="*/ 4610482 w 12192000"/>
              <a:gd name="connsiteY174" fmla="*/ 4487294 h 5588000"/>
              <a:gd name="connsiteX175" fmla="*/ 4621890 w 12192000"/>
              <a:gd name="connsiteY175" fmla="*/ 4501173 h 5588000"/>
              <a:gd name="connsiteX176" fmla="*/ 4634262 w 12192000"/>
              <a:gd name="connsiteY176" fmla="*/ 4508446 h 5588000"/>
              <a:gd name="connsiteX177" fmla="*/ 4653303 w 12192000"/>
              <a:gd name="connsiteY177" fmla="*/ 4516051 h 5588000"/>
              <a:gd name="connsiteX178" fmla="*/ 4669493 w 12192000"/>
              <a:gd name="connsiteY178" fmla="*/ 4520187 h 5588000"/>
              <a:gd name="connsiteX179" fmla="*/ 4686646 w 12192000"/>
              <a:gd name="connsiteY179" fmla="*/ 4517716 h 5588000"/>
              <a:gd name="connsiteX180" fmla="*/ 4703799 w 12192000"/>
              <a:gd name="connsiteY180" fmla="*/ 4515245 h 5588000"/>
              <a:gd name="connsiteX181" fmla="*/ 4721918 w 12192000"/>
              <a:gd name="connsiteY181" fmla="*/ 4506167 h 5588000"/>
              <a:gd name="connsiteX182" fmla="*/ 4736224 w 12192000"/>
              <a:gd name="connsiteY182" fmla="*/ 4500226 h 5588000"/>
              <a:gd name="connsiteX183" fmla="*/ 4748636 w 12192000"/>
              <a:gd name="connsiteY183" fmla="*/ 4484208 h 5588000"/>
              <a:gd name="connsiteX184" fmla="*/ 4757235 w 12192000"/>
              <a:gd name="connsiteY184" fmla="*/ 4471328 h 5588000"/>
              <a:gd name="connsiteX185" fmla="*/ 4766799 w 12192000"/>
              <a:gd name="connsiteY185" fmla="*/ 4451840 h 5588000"/>
              <a:gd name="connsiteX186" fmla="*/ 4768732 w 12192000"/>
              <a:gd name="connsiteY186" fmla="*/ 4438627 h 5588000"/>
              <a:gd name="connsiteX187" fmla="*/ 4771625 w 12192000"/>
              <a:gd name="connsiteY187" fmla="*/ 4418806 h 5588000"/>
              <a:gd name="connsiteX188" fmla="*/ 4764034 w 12192000"/>
              <a:gd name="connsiteY188" fmla="*/ 4401790 h 5588000"/>
              <a:gd name="connsiteX189" fmla="*/ 4759298 w 12192000"/>
              <a:gd name="connsiteY189" fmla="*/ 4388243 h 5588000"/>
              <a:gd name="connsiteX190" fmla="*/ 4751705 w 12192000"/>
              <a:gd name="connsiteY190" fmla="*/ 4371227 h 5588000"/>
              <a:gd name="connsiteX191" fmla="*/ 4736481 w 12192000"/>
              <a:gd name="connsiteY191" fmla="*/ 4360485 h 5588000"/>
              <a:gd name="connsiteX192" fmla="*/ 4721259 w 12192000"/>
              <a:gd name="connsiteY192" fmla="*/ 4349742 h 5588000"/>
              <a:gd name="connsiteX193" fmla="*/ 4708887 w 12192000"/>
              <a:gd name="connsiteY193" fmla="*/ 4342469 h 5588000"/>
              <a:gd name="connsiteX194" fmla="*/ 4688882 w 12192000"/>
              <a:gd name="connsiteY194" fmla="*/ 4341471 h 5588000"/>
              <a:gd name="connsiteX195" fmla="*/ 10130155 w 12192000"/>
              <a:gd name="connsiteY195" fmla="*/ 4188684 h 5588000"/>
              <a:gd name="connsiteX196" fmla="*/ 10113001 w 12192000"/>
              <a:gd name="connsiteY196" fmla="*/ 4191155 h 5588000"/>
              <a:gd name="connsiteX197" fmla="*/ 10095847 w 12192000"/>
              <a:gd name="connsiteY197" fmla="*/ 4193626 h 5588000"/>
              <a:gd name="connsiteX198" fmla="*/ 10080580 w 12192000"/>
              <a:gd name="connsiteY198" fmla="*/ 4206174 h 5588000"/>
              <a:gd name="connsiteX199" fmla="*/ 10065312 w 12192000"/>
              <a:gd name="connsiteY199" fmla="*/ 4218722 h 5588000"/>
              <a:gd name="connsiteX200" fmla="*/ 10055749 w 12192000"/>
              <a:gd name="connsiteY200" fmla="*/ 4238209 h 5588000"/>
              <a:gd name="connsiteX201" fmla="*/ 10050001 w 12192000"/>
              <a:gd name="connsiteY201" fmla="*/ 4254560 h 5588000"/>
              <a:gd name="connsiteX202" fmla="*/ 10047106 w 12192000"/>
              <a:gd name="connsiteY202" fmla="*/ 4274380 h 5588000"/>
              <a:gd name="connsiteX203" fmla="*/ 10050880 w 12192000"/>
              <a:gd name="connsiteY203" fmla="*/ 4294534 h 5588000"/>
              <a:gd name="connsiteX204" fmla="*/ 10057505 w 12192000"/>
              <a:gd name="connsiteY204" fmla="*/ 4318157 h 5588000"/>
              <a:gd name="connsiteX205" fmla="*/ 10067947 w 12192000"/>
              <a:gd name="connsiteY205" fmla="*/ 4338643 h 5588000"/>
              <a:gd name="connsiteX206" fmla="*/ 10082206 w 12192000"/>
              <a:gd name="connsiteY206" fmla="*/ 4355992 h 5588000"/>
              <a:gd name="connsiteX207" fmla="*/ 10096464 w 12192000"/>
              <a:gd name="connsiteY207" fmla="*/ 4373341 h 5588000"/>
              <a:gd name="connsiteX208" fmla="*/ 10114540 w 12192000"/>
              <a:gd name="connsiteY208" fmla="*/ 4387554 h 5588000"/>
              <a:gd name="connsiteX209" fmla="*/ 10133581 w 12192000"/>
              <a:gd name="connsiteY209" fmla="*/ 4395159 h 5588000"/>
              <a:gd name="connsiteX210" fmla="*/ 10152622 w 12192000"/>
              <a:gd name="connsiteY210" fmla="*/ 4402765 h 5588000"/>
              <a:gd name="connsiteX211" fmla="*/ 10172627 w 12192000"/>
              <a:gd name="connsiteY211" fmla="*/ 4403764 h 5588000"/>
              <a:gd name="connsiteX212" fmla="*/ 10192633 w 12192000"/>
              <a:gd name="connsiteY212" fmla="*/ 4404762 h 5588000"/>
              <a:gd name="connsiteX213" fmla="*/ 10210752 w 12192000"/>
              <a:gd name="connsiteY213" fmla="*/ 4395684 h 5588000"/>
              <a:gd name="connsiteX214" fmla="*/ 10228871 w 12192000"/>
              <a:gd name="connsiteY214" fmla="*/ 4386607 h 5588000"/>
              <a:gd name="connsiteX215" fmla="*/ 10241287 w 12192000"/>
              <a:gd name="connsiteY215" fmla="*/ 4370589 h 5588000"/>
              <a:gd name="connsiteX216" fmla="*/ 10249886 w 12192000"/>
              <a:gd name="connsiteY216" fmla="*/ 4357708 h 5588000"/>
              <a:gd name="connsiteX217" fmla="*/ 10252781 w 12192000"/>
              <a:gd name="connsiteY217" fmla="*/ 4337888 h 5588000"/>
              <a:gd name="connsiteX218" fmla="*/ 10255676 w 12192000"/>
              <a:gd name="connsiteY218" fmla="*/ 4318068 h 5588000"/>
              <a:gd name="connsiteX219" fmla="*/ 10251903 w 12192000"/>
              <a:gd name="connsiteY219" fmla="*/ 4297914 h 5588000"/>
              <a:gd name="connsiteX220" fmla="*/ 10248129 w 12192000"/>
              <a:gd name="connsiteY220" fmla="*/ 4277761 h 5588000"/>
              <a:gd name="connsiteX221" fmla="*/ 10237687 w 12192000"/>
              <a:gd name="connsiteY221" fmla="*/ 4257275 h 5588000"/>
              <a:gd name="connsiteX222" fmla="*/ 10227246 w 12192000"/>
              <a:gd name="connsiteY222" fmla="*/ 4236789 h 5588000"/>
              <a:gd name="connsiteX223" fmla="*/ 10209170 w 12192000"/>
              <a:gd name="connsiteY223" fmla="*/ 4222576 h 5588000"/>
              <a:gd name="connsiteX224" fmla="*/ 10191094 w 12192000"/>
              <a:gd name="connsiteY224" fmla="*/ 4208364 h 5588000"/>
              <a:gd name="connsiteX225" fmla="*/ 10169202 w 12192000"/>
              <a:gd name="connsiteY225" fmla="*/ 4197288 h 5588000"/>
              <a:gd name="connsiteX226" fmla="*/ 10150161 w 12192000"/>
              <a:gd name="connsiteY226" fmla="*/ 4189683 h 5588000"/>
              <a:gd name="connsiteX227" fmla="*/ 5560927 w 12192000"/>
              <a:gd name="connsiteY227" fmla="*/ 4188684 h 5588000"/>
              <a:gd name="connsiteX228" fmla="*/ 5543773 w 12192000"/>
              <a:gd name="connsiteY228" fmla="*/ 4191155 h 5588000"/>
              <a:gd name="connsiteX229" fmla="*/ 5526619 w 12192000"/>
              <a:gd name="connsiteY229" fmla="*/ 4193626 h 5588000"/>
              <a:gd name="connsiteX230" fmla="*/ 5511352 w 12192000"/>
              <a:gd name="connsiteY230" fmla="*/ 4206174 h 5588000"/>
              <a:gd name="connsiteX231" fmla="*/ 5496085 w 12192000"/>
              <a:gd name="connsiteY231" fmla="*/ 4218722 h 5588000"/>
              <a:gd name="connsiteX232" fmla="*/ 5486522 w 12192000"/>
              <a:gd name="connsiteY232" fmla="*/ 4238209 h 5588000"/>
              <a:gd name="connsiteX233" fmla="*/ 5480774 w 12192000"/>
              <a:gd name="connsiteY233" fmla="*/ 4254560 h 5588000"/>
              <a:gd name="connsiteX234" fmla="*/ 5477879 w 12192000"/>
              <a:gd name="connsiteY234" fmla="*/ 4274380 h 5588000"/>
              <a:gd name="connsiteX235" fmla="*/ 5481652 w 12192000"/>
              <a:gd name="connsiteY235" fmla="*/ 4294534 h 5588000"/>
              <a:gd name="connsiteX236" fmla="*/ 5488277 w 12192000"/>
              <a:gd name="connsiteY236" fmla="*/ 4318157 h 5588000"/>
              <a:gd name="connsiteX237" fmla="*/ 5498720 w 12192000"/>
              <a:gd name="connsiteY237" fmla="*/ 4338643 h 5588000"/>
              <a:gd name="connsiteX238" fmla="*/ 5512978 w 12192000"/>
              <a:gd name="connsiteY238" fmla="*/ 4355992 h 5588000"/>
              <a:gd name="connsiteX239" fmla="*/ 5527237 w 12192000"/>
              <a:gd name="connsiteY239" fmla="*/ 4373341 h 5588000"/>
              <a:gd name="connsiteX240" fmla="*/ 5545312 w 12192000"/>
              <a:gd name="connsiteY240" fmla="*/ 4387554 h 5588000"/>
              <a:gd name="connsiteX241" fmla="*/ 5564353 w 12192000"/>
              <a:gd name="connsiteY241" fmla="*/ 4395159 h 5588000"/>
              <a:gd name="connsiteX242" fmla="*/ 5583394 w 12192000"/>
              <a:gd name="connsiteY242" fmla="*/ 4402765 h 5588000"/>
              <a:gd name="connsiteX243" fmla="*/ 5603400 w 12192000"/>
              <a:gd name="connsiteY243" fmla="*/ 4403764 h 5588000"/>
              <a:gd name="connsiteX244" fmla="*/ 5623405 w 12192000"/>
              <a:gd name="connsiteY244" fmla="*/ 4404762 h 5588000"/>
              <a:gd name="connsiteX245" fmla="*/ 5641526 w 12192000"/>
              <a:gd name="connsiteY245" fmla="*/ 4395684 h 5588000"/>
              <a:gd name="connsiteX246" fmla="*/ 5659645 w 12192000"/>
              <a:gd name="connsiteY246" fmla="*/ 4386607 h 5588000"/>
              <a:gd name="connsiteX247" fmla="*/ 5672061 w 12192000"/>
              <a:gd name="connsiteY247" fmla="*/ 4370589 h 5588000"/>
              <a:gd name="connsiteX248" fmla="*/ 5680658 w 12192000"/>
              <a:gd name="connsiteY248" fmla="*/ 4357708 h 5588000"/>
              <a:gd name="connsiteX249" fmla="*/ 5683554 w 12192000"/>
              <a:gd name="connsiteY249" fmla="*/ 4337888 h 5588000"/>
              <a:gd name="connsiteX250" fmla="*/ 5686448 w 12192000"/>
              <a:gd name="connsiteY250" fmla="*/ 4318068 h 5588000"/>
              <a:gd name="connsiteX251" fmla="*/ 5682675 w 12192000"/>
              <a:gd name="connsiteY251" fmla="*/ 4297914 h 5588000"/>
              <a:gd name="connsiteX252" fmla="*/ 5678902 w 12192000"/>
              <a:gd name="connsiteY252" fmla="*/ 4277761 h 5588000"/>
              <a:gd name="connsiteX253" fmla="*/ 5668460 w 12192000"/>
              <a:gd name="connsiteY253" fmla="*/ 4257275 h 5588000"/>
              <a:gd name="connsiteX254" fmla="*/ 5658018 w 12192000"/>
              <a:gd name="connsiteY254" fmla="*/ 4236789 h 5588000"/>
              <a:gd name="connsiteX255" fmla="*/ 5639945 w 12192000"/>
              <a:gd name="connsiteY255" fmla="*/ 4222576 h 5588000"/>
              <a:gd name="connsiteX256" fmla="*/ 5621866 w 12192000"/>
              <a:gd name="connsiteY256" fmla="*/ 4208364 h 5588000"/>
              <a:gd name="connsiteX257" fmla="*/ 5599974 w 12192000"/>
              <a:gd name="connsiteY257" fmla="*/ 4197288 h 5588000"/>
              <a:gd name="connsiteX258" fmla="*/ 5580934 w 12192000"/>
              <a:gd name="connsiteY258" fmla="*/ 4189683 h 5588000"/>
              <a:gd name="connsiteX259" fmla="*/ 1729118 w 12192000"/>
              <a:gd name="connsiteY259" fmla="*/ 4188684 h 5588000"/>
              <a:gd name="connsiteX260" fmla="*/ 1711964 w 12192000"/>
              <a:gd name="connsiteY260" fmla="*/ 4191155 h 5588000"/>
              <a:gd name="connsiteX261" fmla="*/ 1694810 w 12192000"/>
              <a:gd name="connsiteY261" fmla="*/ 4193626 h 5588000"/>
              <a:gd name="connsiteX262" fmla="*/ 1679543 w 12192000"/>
              <a:gd name="connsiteY262" fmla="*/ 4206174 h 5588000"/>
              <a:gd name="connsiteX263" fmla="*/ 1664276 w 12192000"/>
              <a:gd name="connsiteY263" fmla="*/ 4218722 h 5588000"/>
              <a:gd name="connsiteX264" fmla="*/ 1654712 w 12192000"/>
              <a:gd name="connsiteY264" fmla="*/ 4238209 h 5588000"/>
              <a:gd name="connsiteX265" fmla="*/ 1648965 w 12192000"/>
              <a:gd name="connsiteY265" fmla="*/ 4254560 h 5588000"/>
              <a:gd name="connsiteX266" fmla="*/ 1646069 w 12192000"/>
              <a:gd name="connsiteY266" fmla="*/ 4274380 h 5588000"/>
              <a:gd name="connsiteX267" fmla="*/ 1649843 w 12192000"/>
              <a:gd name="connsiteY267" fmla="*/ 4294534 h 5588000"/>
              <a:gd name="connsiteX268" fmla="*/ 1656468 w 12192000"/>
              <a:gd name="connsiteY268" fmla="*/ 4318157 h 5588000"/>
              <a:gd name="connsiteX269" fmla="*/ 1666910 w 12192000"/>
              <a:gd name="connsiteY269" fmla="*/ 4338643 h 5588000"/>
              <a:gd name="connsiteX270" fmla="*/ 1681169 w 12192000"/>
              <a:gd name="connsiteY270" fmla="*/ 4355992 h 5588000"/>
              <a:gd name="connsiteX271" fmla="*/ 1695428 w 12192000"/>
              <a:gd name="connsiteY271" fmla="*/ 4373341 h 5588000"/>
              <a:gd name="connsiteX272" fmla="*/ 1713503 w 12192000"/>
              <a:gd name="connsiteY272" fmla="*/ 4387554 h 5588000"/>
              <a:gd name="connsiteX273" fmla="*/ 1732544 w 12192000"/>
              <a:gd name="connsiteY273" fmla="*/ 4395159 h 5588000"/>
              <a:gd name="connsiteX274" fmla="*/ 1751585 w 12192000"/>
              <a:gd name="connsiteY274" fmla="*/ 4402765 h 5588000"/>
              <a:gd name="connsiteX275" fmla="*/ 1771591 w 12192000"/>
              <a:gd name="connsiteY275" fmla="*/ 4403764 h 5588000"/>
              <a:gd name="connsiteX276" fmla="*/ 1791597 w 12192000"/>
              <a:gd name="connsiteY276" fmla="*/ 4404762 h 5588000"/>
              <a:gd name="connsiteX277" fmla="*/ 1809716 w 12192000"/>
              <a:gd name="connsiteY277" fmla="*/ 4395684 h 5588000"/>
              <a:gd name="connsiteX278" fmla="*/ 1827835 w 12192000"/>
              <a:gd name="connsiteY278" fmla="*/ 4386607 h 5588000"/>
              <a:gd name="connsiteX279" fmla="*/ 1840250 w 12192000"/>
              <a:gd name="connsiteY279" fmla="*/ 4370589 h 5588000"/>
              <a:gd name="connsiteX280" fmla="*/ 1848849 w 12192000"/>
              <a:gd name="connsiteY280" fmla="*/ 4357708 h 5588000"/>
              <a:gd name="connsiteX281" fmla="*/ 1851744 w 12192000"/>
              <a:gd name="connsiteY281" fmla="*/ 4337888 h 5588000"/>
              <a:gd name="connsiteX282" fmla="*/ 1854640 w 12192000"/>
              <a:gd name="connsiteY282" fmla="*/ 4318068 h 5588000"/>
              <a:gd name="connsiteX283" fmla="*/ 1850866 w 12192000"/>
              <a:gd name="connsiteY283" fmla="*/ 4297914 h 5588000"/>
              <a:gd name="connsiteX284" fmla="*/ 1847093 w 12192000"/>
              <a:gd name="connsiteY284" fmla="*/ 4277761 h 5588000"/>
              <a:gd name="connsiteX285" fmla="*/ 1836651 w 12192000"/>
              <a:gd name="connsiteY285" fmla="*/ 4257275 h 5588000"/>
              <a:gd name="connsiteX286" fmla="*/ 1826209 w 12192000"/>
              <a:gd name="connsiteY286" fmla="*/ 4236789 h 5588000"/>
              <a:gd name="connsiteX287" fmla="*/ 1808133 w 12192000"/>
              <a:gd name="connsiteY287" fmla="*/ 4222576 h 5588000"/>
              <a:gd name="connsiteX288" fmla="*/ 1790057 w 12192000"/>
              <a:gd name="connsiteY288" fmla="*/ 4208364 h 5588000"/>
              <a:gd name="connsiteX289" fmla="*/ 1768165 w 12192000"/>
              <a:gd name="connsiteY289" fmla="*/ 4197288 h 5588000"/>
              <a:gd name="connsiteX290" fmla="*/ 1749124 w 12192000"/>
              <a:gd name="connsiteY290" fmla="*/ 4189683 h 5588000"/>
              <a:gd name="connsiteX291" fmla="*/ 9924437 w 12192000"/>
              <a:gd name="connsiteY291" fmla="*/ 4148467 h 5588000"/>
              <a:gd name="connsiteX292" fmla="*/ 9900614 w 12192000"/>
              <a:gd name="connsiteY292" fmla="*/ 4150605 h 5588000"/>
              <a:gd name="connsiteX293" fmla="*/ 9882495 w 12192000"/>
              <a:gd name="connsiteY293" fmla="*/ 4159683 h 5588000"/>
              <a:gd name="connsiteX294" fmla="*/ 9866263 w 12192000"/>
              <a:gd name="connsiteY294" fmla="*/ 4178837 h 5588000"/>
              <a:gd name="connsiteX295" fmla="*/ 9859551 w 12192000"/>
              <a:gd name="connsiteY295" fmla="*/ 4201795 h 5588000"/>
              <a:gd name="connsiteX296" fmla="*/ 9863324 w 12192000"/>
              <a:gd name="connsiteY296" fmla="*/ 4221948 h 5588000"/>
              <a:gd name="connsiteX297" fmla="*/ 9876618 w 12192000"/>
              <a:gd name="connsiteY297" fmla="*/ 4245904 h 5588000"/>
              <a:gd name="connsiteX298" fmla="*/ 9894694 w 12192000"/>
              <a:gd name="connsiteY298" fmla="*/ 4260116 h 5588000"/>
              <a:gd name="connsiteX299" fmla="*/ 9913734 w 12192000"/>
              <a:gd name="connsiteY299" fmla="*/ 4267722 h 5588000"/>
              <a:gd name="connsiteX300" fmla="*/ 9937557 w 12192000"/>
              <a:gd name="connsiteY300" fmla="*/ 4265584 h 5588000"/>
              <a:gd name="connsiteX301" fmla="*/ 9959493 w 12192000"/>
              <a:gd name="connsiteY301" fmla="*/ 4253369 h 5588000"/>
              <a:gd name="connsiteX302" fmla="*/ 9971908 w 12192000"/>
              <a:gd name="connsiteY302" fmla="*/ 4237351 h 5588000"/>
              <a:gd name="connsiteX303" fmla="*/ 9978621 w 12192000"/>
              <a:gd name="connsiteY303" fmla="*/ 4214394 h 5588000"/>
              <a:gd name="connsiteX304" fmla="*/ 9974847 w 12192000"/>
              <a:gd name="connsiteY304" fmla="*/ 4194241 h 5588000"/>
              <a:gd name="connsiteX305" fmla="*/ 9964405 w 12192000"/>
              <a:gd name="connsiteY305" fmla="*/ 4173754 h 5588000"/>
              <a:gd name="connsiteX306" fmla="*/ 9943478 w 12192000"/>
              <a:gd name="connsiteY306" fmla="*/ 4156072 h 5588000"/>
              <a:gd name="connsiteX307" fmla="*/ 5355209 w 12192000"/>
              <a:gd name="connsiteY307" fmla="*/ 4148467 h 5588000"/>
              <a:gd name="connsiteX308" fmla="*/ 5331388 w 12192000"/>
              <a:gd name="connsiteY308" fmla="*/ 4150605 h 5588000"/>
              <a:gd name="connsiteX309" fmla="*/ 5313268 w 12192000"/>
              <a:gd name="connsiteY309" fmla="*/ 4159683 h 5588000"/>
              <a:gd name="connsiteX310" fmla="*/ 5297035 w 12192000"/>
              <a:gd name="connsiteY310" fmla="*/ 4178837 h 5588000"/>
              <a:gd name="connsiteX311" fmla="*/ 5290323 w 12192000"/>
              <a:gd name="connsiteY311" fmla="*/ 4201795 h 5588000"/>
              <a:gd name="connsiteX312" fmla="*/ 5294097 w 12192000"/>
              <a:gd name="connsiteY312" fmla="*/ 4221948 h 5588000"/>
              <a:gd name="connsiteX313" fmla="*/ 5307392 w 12192000"/>
              <a:gd name="connsiteY313" fmla="*/ 4245904 h 5588000"/>
              <a:gd name="connsiteX314" fmla="*/ 5325466 w 12192000"/>
              <a:gd name="connsiteY314" fmla="*/ 4260116 h 5588000"/>
              <a:gd name="connsiteX315" fmla="*/ 5344507 w 12192000"/>
              <a:gd name="connsiteY315" fmla="*/ 4267722 h 5588000"/>
              <a:gd name="connsiteX316" fmla="*/ 5368329 w 12192000"/>
              <a:gd name="connsiteY316" fmla="*/ 4265584 h 5588000"/>
              <a:gd name="connsiteX317" fmla="*/ 5390266 w 12192000"/>
              <a:gd name="connsiteY317" fmla="*/ 4253369 h 5588000"/>
              <a:gd name="connsiteX318" fmla="*/ 5402681 w 12192000"/>
              <a:gd name="connsiteY318" fmla="*/ 4237351 h 5588000"/>
              <a:gd name="connsiteX319" fmla="*/ 5409393 w 12192000"/>
              <a:gd name="connsiteY319" fmla="*/ 4214394 h 5588000"/>
              <a:gd name="connsiteX320" fmla="*/ 5405619 w 12192000"/>
              <a:gd name="connsiteY320" fmla="*/ 4194241 h 5588000"/>
              <a:gd name="connsiteX321" fmla="*/ 5395178 w 12192000"/>
              <a:gd name="connsiteY321" fmla="*/ 4173754 h 5588000"/>
              <a:gd name="connsiteX322" fmla="*/ 5374251 w 12192000"/>
              <a:gd name="connsiteY322" fmla="*/ 4156072 h 5588000"/>
              <a:gd name="connsiteX323" fmla="*/ 1523400 w 12192000"/>
              <a:gd name="connsiteY323" fmla="*/ 4148467 h 5588000"/>
              <a:gd name="connsiteX324" fmla="*/ 1499578 w 12192000"/>
              <a:gd name="connsiteY324" fmla="*/ 4150605 h 5588000"/>
              <a:gd name="connsiteX325" fmla="*/ 1481459 w 12192000"/>
              <a:gd name="connsiteY325" fmla="*/ 4159683 h 5588000"/>
              <a:gd name="connsiteX326" fmla="*/ 1465226 w 12192000"/>
              <a:gd name="connsiteY326" fmla="*/ 4178837 h 5588000"/>
              <a:gd name="connsiteX327" fmla="*/ 1458514 w 12192000"/>
              <a:gd name="connsiteY327" fmla="*/ 4201795 h 5588000"/>
              <a:gd name="connsiteX328" fmla="*/ 1462287 w 12192000"/>
              <a:gd name="connsiteY328" fmla="*/ 4221948 h 5588000"/>
              <a:gd name="connsiteX329" fmla="*/ 1475581 w 12192000"/>
              <a:gd name="connsiteY329" fmla="*/ 4245904 h 5588000"/>
              <a:gd name="connsiteX330" fmla="*/ 1493657 w 12192000"/>
              <a:gd name="connsiteY330" fmla="*/ 4260116 h 5588000"/>
              <a:gd name="connsiteX331" fmla="*/ 1512698 w 12192000"/>
              <a:gd name="connsiteY331" fmla="*/ 4267722 h 5588000"/>
              <a:gd name="connsiteX332" fmla="*/ 1536520 w 12192000"/>
              <a:gd name="connsiteY332" fmla="*/ 4265584 h 5588000"/>
              <a:gd name="connsiteX333" fmla="*/ 1558456 w 12192000"/>
              <a:gd name="connsiteY333" fmla="*/ 4253369 h 5588000"/>
              <a:gd name="connsiteX334" fmla="*/ 1570872 w 12192000"/>
              <a:gd name="connsiteY334" fmla="*/ 4237351 h 5588000"/>
              <a:gd name="connsiteX335" fmla="*/ 1577584 w 12192000"/>
              <a:gd name="connsiteY335" fmla="*/ 4214394 h 5588000"/>
              <a:gd name="connsiteX336" fmla="*/ 1573810 w 12192000"/>
              <a:gd name="connsiteY336" fmla="*/ 4194241 h 5588000"/>
              <a:gd name="connsiteX337" fmla="*/ 1563368 w 12192000"/>
              <a:gd name="connsiteY337" fmla="*/ 4173754 h 5588000"/>
              <a:gd name="connsiteX338" fmla="*/ 1542441 w 12192000"/>
              <a:gd name="connsiteY338" fmla="*/ 4156072 h 5588000"/>
              <a:gd name="connsiteX339" fmla="*/ 11166944 w 12192000"/>
              <a:gd name="connsiteY339" fmla="*/ 4080724 h 5588000"/>
              <a:gd name="connsiteX340" fmla="*/ 11116447 w 12192000"/>
              <a:gd name="connsiteY340" fmla="*/ 4081531 h 5588000"/>
              <a:gd name="connsiteX341" fmla="*/ 11068802 w 12192000"/>
              <a:gd name="connsiteY341" fmla="*/ 4085807 h 5588000"/>
              <a:gd name="connsiteX342" fmla="*/ 11023043 w 12192000"/>
              <a:gd name="connsiteY342" fmla="*/ 4100160 h 5588000"/>
              <a:gd name="connsiteX343" fmla="*/ 10980137 w 12192000"/>
              <a:gd name="connsiteY343" fmla="*/ 4117983 h 5588000"/>
              <a:gd name="connsiteX344" fmla="*/ 10946750 w 12192000"/>
              <a:gd name="connsiteY344" fmla="*/ 4139609 h 5588000"/>
              <a:gd name="connsiteX345" fmla="*/ 10916215 w 12192000"/>
              <a:gd name="connsiteY345" fmla="*/ 4164704 h 5588000"/>
              <a:gd name="connsiteX346" fmla="*/ 10899018 w 12192000"/>
              <a:gd name="connsiteY346" fmla="*/ 4190466 h 5588000"/>
              <a:gd name="connsiteX347" fmla="*/ 10884672 w 12192000"/>
              <a:gd name="connsiteY347" fmla="*/ 4219697 h 5588000"/>
              <a:gd name="connsiteX348" fmla="*/ 10883664 w 12192000"/>
              <a:gd name="connsiteY348" fmla="*/ 4249594 h 5588000"/>
              <a:gd name="connsiteX349" fmla="*/ 10886472 w 12192000"/>
              <a:gd name="connsiteY349" fmla="*/ 4276354 h 5588000"/>
              <a:gd name="connsiteX350" fmla="*/ 10902617 w 12192000"/>
              <a:gd name="connsiteY350" fmla="*/ 4303780 h 5588000"/>
              <a:gd name="connsiteX351" fmla="*/ 10926397 w 12192000"/>
              <a:gd name="connsiteY351" fmla="*/ 4324932 h 5588000"/>
              <a:gd name="connsiteX352" fmla="*/ 10956844 w 12192000"/>
              <a:gd name="connsiteY352" fmla="*/ 4346417 h 5588000"/>
              <a:gd name="connsiteX353" fmla="*/ 10994926 w 12192000"/>
              <a:gd name="connsiteY353" fmla="*/ 4361628 h 5588000"/>
              <a:gd name="connsiteX354" fmla="*/ 11037789 w 12192000"/>
              <a:gd name="connsiteY354" fmla="*/ 4367095 h 5588000"/>
              <a:gd name="connsiteX355" fmla="*/ 11087321 w 12192000"/>
              <a:gd name="connsiteY355" fmla="*/ 4372896 h 5588000"/>
              <a:gd name="connsiteX356" fmla="*/ 11134967 w 12192000"/>
              <a:gd name="connsiteY356" fmla="*/ 4368619 h 5588000"/>
              <a:gd name="connsiteX357" fmla="*/ 11182612 w 12192000"/>
              <a:gd name="connsiteY357" fmla="*/ 4364343 h 5588000"/>
              <a:gd name="connsiteX358" fmla="*/ 11228370 w 12192000"/>
              <a:gd name="connsiteY358" fmla="*/ 4349990 h 5588000"/>
              <a:gd name="connsiteX359" fmla="*/ 11271277 w 12192000"/>
              <a:gd name="connsiteY359" fmla="*/ 4332167 h 5588000"/>
              <a:gd name="connsiteX360" fmla="*/ 11304664 w 12192000"/>
              <a:gd name="connsiteY360" fmla="*/ 4310541 h 5588000"/>
              <a:gd name="connsiteX361" fmla="*/ 11335198 w 12192000"/>
              <a:gd name="connsiteY361" fmla="*/ 4285446 h 5588000"/>
              <a:gd name="connsiteX362" fmla="*/ 11352396 w 12192000"/>
              <a:gd name="connsiteY362" fmla="*/ 4259684 h 5588000"/>
              <a:gd name="connsiteX363" fmla="*/ 11366742 w 12192000"/>
              <a:gd name="connsiteY363" fmla="*/ 4230453 h 5588000"/>
              <a:gd name="connsiteX364" fmla="*/ 11370602 w 12192000"/>
              <a:gd name="connsiteY364" fmla="*/ 4204026 h 5588000"/>
              <a:gd name="connsiteX365" fmla="*/ 11364942 w 12192000"/>
              <a:gd name="connsiteY365" fmla="*/ 4173796 h 5588000"/>
              <a:gd name="connsiteX366" fmla="*/ 11348796 w 12192000"/>
              <a:gd name="connsiteY366" fmla="*/ 4146370 h 5588000"/>
              <a:gd name="connsiteX367" fmla="*/ 11325017 w 12192000"/>
              <a:gd name="connsiteY367" fmla="*/ 4125218 h 5588000"/>
              <a:gd name="connsiteX368" fmla="*/ 11294569 w 12192000"/>
              <a:gd name="connsiteY368" fmla="*/ 4103733 h 5588000"/>
              <a:gd name="connsiteX369" fmla="*/ 11259340 w 12192000"/>
              <a:gd name="connsiteY369" fmla="*/ 4091992 h 5588000"/>
              <a:gd name="connsiteX370" fmla="*/ 11213625 w 12192000"/>
              <a:gd name="connsiteY370" fmla="*/ 4083055 h 5588000"/>
              <a:gd name="connsiteX371" fmla="*/ 6597717 w 12192000"/>
              <a:gd name="connsiteY371" fmla="*/ 4080724 h 5588000"/>
              <a:gd name="connsiteX372" fmla="*/ 6547220 w 12192000"/>
              <a:gd name="connsiteY372" fmla="*/ 4081531 h 5588000"/>
              <a:gd name="connsiteX373" fmla="*/ 6499574 w 12192000"/>
              <a:gd name="connsiteY373" fmla="*/ 4085807 h 5588000"/>
              <a:gd name="connsiteX374" fmla="*/ 6453816 w 12192000"/>
              <a:gd name="connsiteY374" fmla="*/ 4100160 h 5588000"/>
              <a:gd name="connsiteX375" fmla="*/ 6410909 w 12192000"/>
              <a:gd name="connsiteY375" fmla="*/ 4117983 h 5588000"/>
              <a:gd name="connsiteX376" fmla="*/ 6377522 w 12192000"/>
              <a:gd name="connsiteY376" fmla="*/ 4139609 h 5588000"/>
              <a:gd name="connsiteX377" fmla="*/ 6346988 w 12192000"/>
              <a:gd name="connsiteY377" fmla="*/ 4164704 h 5588000"/>
              <a:gd name="connsiteX378" fmla="*/ 6329790 w 12192000"/>
              <a:gd name="connsiteY378" fmla="*/ 4190466 h 5588000"/>
              <a:gd name="connsiteX379" fmla="*/ 6315444 w 12192000"/>
              <a:gd name="connsiteY379" fmla="*/ 4219697 h 5588000"/>
              <a:gd name="connsiteX380" fmla="*/ 6314436 w 12192000"/>
              <a:gd name="connsiteY380" fmla="*/ 4249594 h 5588000"/>
              <a:gd name="connsiteX381" fmla="*/ 6317244 w 12192000"/>
              <a:gd name="connsiteY381" fmla="*/ 4276354 h 5588000"/>
              <a:gd name="connsiteX382" fmla="*/ 6333390 w 12192000"/>
              <a:gd name="connsiteY382" fmla="*/ 4303780 h 5588000"/>
              <a:gd name="connsiteX383" fmla="*/ 6357169 w 12192000"/>
              <a:gd name="connsiteY383" fmla="*/ 4324932 h 5588000"/>
              <a:gd name="connsiteX384" fmla="*/ 6387617 w 12192000"/>
              <a:gd name="connsiteY384" fmla="*/ 4346417 h 5588000"/>
              <a:gd name="connsiteX385" fmla="*/ 6425698 w 12192000"/>
              <a:gd name="connsiteY385" fmla="*/ 4361628 h 5588000"/>
              <a:gd name="connsiteX386" fmla="*/ 6468562 w 12192000"/>
              <a:gd name="connsiteY386" fmla="*/ 4367095 h 5588000"/>
              <a:gd name="connsiteX387" fmla="*/ 6518094 w 12192000"/>
              <a:gd name="connsiteY387" fmla="*/ 4372896 h 5588000"/>
              <a:gd name="connsiteX388" fmla="*/ 6565739 w 12192000"/>
              <a:gd name="connsiteY388" fmla="*/ 4368619 h 5588000"/>
              <a:gd name="connsiteX389" fmla="*/ 6613384 w 12192000"/>
              <a:gd name="connsiteY389" fmla="*/ 4364343 h 5588000"/>
              <a:gd name="connsiteX390" fmla="*/ 6659143 w 12192000"/>
              <a:gd name="connsiteY390" fmla="*/ 4349990 h 5588000"/>
              <a:gd name="connsiteX391" fmla="*/ 6702050 w 12192000"/>
              <a:gd name="connsiteY391" fmla="*/ 4332167 h 5588000"/>
              <a:gd name="connsiteX392" fmla="*/ 6735436 w 12192000"/>
              <a:gd name="connsiteY392" fmla="*/ 4310541 h 5588000"/>
              <a:gd name="connsiteX393" fmla="*/ 6765971 w 12192000"/>
              <a:gd name="connsiteY393" fmla="*/ 4285446 h 5588000"/>
              <a:gd name="connsiteX394" fmla="*/ 6783168 w 12192000"/>
              <a:gd name="connsiteY394" fmla="*/ 4259684 h 5588000"/>
              <a:gd name="connsiteX395" fmla="*/ 6797514 w 12192000"/>
              <a:gd name="connsiteY395" fmla="*/ 4230453 h 5588000"/>
              <a:gd name="connsiteX396" fmla="*/ 6801374 w 12192000"/>
              <a:gd name="connsiteY396" fmla="*/ 4204026 h 5588000"/>
              <a:gd name="connsiteX397" fmla="*/ 6795714 w 12192000"/>
              <a:gd name="connsiteY397" fmla="*/ 4173796 h 5588000"/>
              <a:gd name="connsiteX398" fmla="*/ 6779569 w 12192000"/>
              <a:gd name="connsiteY398" fmla="*/ 4146370 h 5588000"/>
              <a:gd name="connsiteX399" fmla="*/ 6755789 w 12192000"/>
              <a:gd name="connsiteY399" fmla="*/ 4125218 h 5588000"/>
              <a:gd name="connsiteX400" fmla="*/ 6725342 w 12192000"/>
              <a:gd name="connsiteY400" fmla="*/ 4103733 h 5588000"/>
              <a:gd name="connsiteX401" fmla="*/ 6690112 w 12192000"/>
              <a:gd name="connsiteY401" fmla="*/ 4091992 h 5588000"/>
              <a:gd name="connsiteX402" fmla="*/ 6644397 w 12192000"/>
              <a:gd name="connsiteY402" fmla="*/ 4083055 h 5588000"/>
              <a:gd name="connsiteX403" fmla="*/ 2765908 w 12192000"/>
              <a:gd name="connsiteY403" fmla="*/ 4080724 h 5588000"/>
              <a:gd name="connsiteX404" fmla="*/ 2715411 w 12192000"/>
              <a:gd name="connsiteY404" fmla="*/ 4081531 h 5588000"/>
              <a:gd name="connsiteX405" fmla="*/ 2667765 w 12192000"/>
              <a:gd name="connsiteY405" fmla="*/ 4085807 h 5588000"/>
              <a:gd name="connsiteX406" fmla="*/ 2622007 w 12192000"/>
              <a:gd name="connsiteY406" fmla="*/ 4100160 h 5588000"/>
              <a:gd name="connsiteX407" fmla="*/ 2579100 w 12192000"/>
              <a:gd name="connsiteY407" fmla="*/ 4117983 h 5588000"/>
              <a:gd name="connsiteX408" fmla="*/ 2545714 w 12192000"/>
              <a:gd name="connsiteY408" fmla="*/ 4139609 h 5588000"/>
              <a:gd name="connsiteX409" fmla="*/ 2515179 w 12192000"/>
              <a:gd name="connsiteY409" fmla="*/ 4164704 h 5588000"/>
              <a:gd name="connsiteX410" fmla="*/ 2497981 w 12192000"/>
              <a:gd name="connsiteY410" fmla="*/ 4190466 h 5588000"/>
              <a:gd name="connsiteX411" fmla="*/ 2483636 w 12192000"/>
              <a:gd name="connsiteY411" fmla="*/ 4219697 h 5588000"/>
              <a:gd name="connsiteX412" fmla="*/ 2482627 w 12192000"/>
              <a:gd name="connsiteY412" fmla="*/ 4249594 h 5588000"/>
              <a:gd name="connsiteX413" fmla="*/ 2485435 w 12192000"/>
              <a:gd name="connsiteY413" fmla="*/ 4276354 h 5588000"/>
              <a:gd name="connsiteX414" fmla="*/ 2501581 w 12192000"/>
              <a:gd name="connsiteY414" fmla="*/ 4303780 h 5588000"/>
              <a:gd name="connsiteX415" fmla="*/ 2525360 w 12192000"/>
              <a:gd name="connsiteY415" fmla="*/ 4324932 h 5588000"/>
              <a:gd name="connsiteX416" fmla="*/ 2555808 w 12192000"/>
              <a:gd name="connsiteY416" fmla="*/ 4346417 h 5588000"/>
              <a:gd name="connsiteX417" fmla="*/ 2593889 w 12192000"/>
              <a:gd name="connsiteY417" fmla="*/ 4361628 h 5588000"/>
              <a:gd name="connsiteX418" fmla="*/ 2636753 w 12192000"/>
              <a:gd name="connsiteY418" fmla="*/ 4367095 h 5588000"/>
              <a:gd name="connsiteX419" fmla="*/ 2686285 w 12192000"/>
              <a:gd name="connsiteY419" fmla="*/ 4372896 h 5588000"/>
              <a:gd name="connsiteX420" fmla="*/ 2733930 w 12192000"/>
              <a:gd name="connsiteY420" fmla="*/ 4368619 h 5588000"/>
              <a:gd name="connsiteX421" fmla="*/ 2781575 w 12192000"/>
              <a:gd name="connsiteY421" fmla="*/ 4364343 h 5588000"/>
              <a:gd name="connsiteX422" fmla="*/ 2827334 w 12192000"/>
              <a:gd name="connsiteY422" fmla="*/ 4349990 h 5588000"/>
              <a:gd name="connsiteX423" fmla="*/ 2870241 w 12192000"/>
              <a:gd name="connsiteY423" fmla="*/ 4332167 h 5588000"/>
              <a:gd name="connsiteX424" fmla="*/ 2903627 w 12192000"/>
              <a:gd name="connsiteY424" fmla="*/ 4310541 h 5588000"/>
              <a:gd name="connsiteX425" fmla="*/ 2934162 w 12192000"/>
              <a:gd name="connsiteY425" fmla="*/ 4285446 h 5588000"/>
              <a:gd name="connsiteX426" fmla="*/ 2951359 w 12192000"/>
              <a:gd name="connsiteY426" fmla="*/ 4259684 h 5588000"/>
              <a:gd name="connsiteX427" fmla="*/ 2965705 w 12192000"/>
              <a:gd name="connsiteY427" fmla="*/ 4230453 h 5588000"/>
              <a:gd name="connsiteX428" fmla="*/ 2969565 w 12192000"/>
              <a:gd name="connsiteY428" fmla="*/ 4204026 h 5588000"/>
              <a:gd name="connsiteX429" fmla="*/ 2963905 w 12192000"/>
              <a:gd name="connsiteY429" fmla="*/ 4173796 h 5588000"/>
              <a:gd name="connsiteX430" fmla="*/ 2947760 w 12192000"/>
              <a:gd name="connsiteY430" fmla="*/ 4146370 h 5588000"/>
              <a:gd name="connsiteX431" fmla="*/ 2923981 w 12192000"/>
              <a:gd name="connsiteY431" fmla="*/ 4125218 h 5588000"/>
              <a:gd name="connsiteX432" fmla="*/ 2893533 w 12192000"/>
              <a:gd name="connsiteY432" fmla="*/ 4103733 h 5588000"/>
              <a:gd name="connsiteX433" fmla="*/ 2858303 w 12192000"/>
              <a:gd name="connsiteY433" fmla="*/ 4091992 h 5588000"/>
              <a:gd name="connsiteX434" fmla="*/ 2812588 w 12192000"/>
              <a:gd name="connsiteY434" fmla="*/ 4083055 h 5588000"/>
              <a:gd name="connsiteX435" fmla="*/ 9532172 w 12192000"/>
              <a:gd name="connsiteY435" fmla="*/ 4005767 h 5588000"/>
              <a:gd name="connsiteX436" fmla="*/ 9501681 w 12192000"/>
              <a:gd name="connsiteY436" fmla="*/ 4007572 h 5588000"/>
              <a:gd name="connsiteX437" fmla="*/ 9470224 w 12192000"/>
              <a:gd name="connsiteY437" fmla="*/ 4015984 h 5588000"/>
              <a:gd name="connsiteX438" fmla="*/ 9441620 w 12192000"/>
              <a:gd name="connsiteY438" fmla="*/ 4027866 h 5588000"/>
              <a:gd name="connsiteX439" fmla="*/ 9414902 w 12192000"/>
              <a:gd name="connsiteY439" fmla="*/ 4049824 h 5588000"/>
              <a:gd name="connsiteX440" fmla="*/ 9392001 w 12192000"/>
              <a:gd name="connsiteY440" fmla="*/ 4068646 h 5588000"/>
              <a:gd name="connsiteX441" fmla="*/ 9374803 w 12192000"/>
              <a:gd name="connsiteY441" fmla="*/ 4094407 h 5588000"/>
              <a:gd name="connsiteX442" fmla="*/ 9360458 w 12192000"/>
              <a:gd name="connsiteY442" fmla="*/ 4123639 h 5588000"/>
              <a:gd name="connsiteX443" fmla="*/ 9352781 w 12192000"/>
              <a:gd name="connsiteY443" fmla="*/ 4153203 h 5588000"/>
              <a:gd name="connsiteX444" fmla="*/ 9348920 w 12192000"/>
              <a:gd name="connsiteY444" fmla="*/ 4179630 h 5588000"/>
              <a:gd name="connsiteX445" fmla="*/ 9354580 w 12192000"/>
              <a:gd name="connsiteY445" fmla="*/ 4209860 h 5588000"/>
              <a:gd name="connsiteX446" fmla="*/ 9361205 w 12192000"/>
              <a:gd name="connsiteY446" fmla="*/ 4233483 h 5588000"/>
              <a:gd name="connsiteX447" fmla="*/ 9377351 w 12192000"/>
              <a:gd name="connsiteY447" fmla="*/ 4260909 h 5588000"/>
              <a:gd name="connsiteX448" fmla="*/ 9398278 w 12192000"/>
              <a:gd name="connsiteY448" fmla="*/ 4278591 h 5588000"/>
              <a:gd name="connsiteX449" fmla="*/ 9423023 w 12192000"/>
              <a:gd name="connsiteY449" fmla="*/ 4293136 h 5588000"/>
              <a:gd name="connsiteX450" fmla="*/ 9448732 w 12192000"/>
              <a:gd name="connsiteY450" fmla="*/ 4301075 h 5588000"/>
              <a:gd name="connsiteX451" fmla="*/ 9478258 w 12192000"/>
              <a:gd name="connsiteY451" fmla="*/ 4305876 h 5588000"/>
              <a:gd name="connsiteX452" fmla="*/ 9505898 w 12192000"/>
              <a:gd name="connsiteY452" fmla="*/ 4300601 h 5588000"/>
              <a:gd name="connsiteX453" fmla="*/ 9537354 w 12192000"/>
              <a:gd name="connsiteY453" fmla="*/ 4292189 h 5588000"/>
              <a:gd name="connsiteX454" fmla="*/ 9565958 w 12192000"/>
              <a:gd name="connsiteY454" fmla="*/ 4280307 h 5588000"/>
              <a:gd name="connsiteX455" fmla="*/ 9591711 w 12192000"/>
              <a:gd name="connsiteY455" fmla="*/ 4264956 h 5588000"/>
              <a:gd name="connsiteX456" fmla="*/ 9615577 w 12192000"/>
              <a:gd name="connsiteY456" fmla="*/ 4239527 h 5588000"/>
              <a:gd name="connsiteX457" fmla="*/ 9632775 w 12192000"/>
              <a:gd name="connsiteY457" fmla="*/ 4213766 h 5588000"/>
              <a:gd name="connsiteX458" fmla="*/ 9647121 w 12192000"/>
              <a:gd name="connsiteY458" fmla="*/ 4184534 h 5588000"/>
              <a:gd name="connsiteX459" fmla="*/ 9657650 w 12192000"/>
              <a:gd name="connsiteY459" fmla="*/ 4158440 h 5588000"/>
              <a:gd name="connsiteX460" fmla="*/ 9658658 w 12192000"/>
              <a:gd name="connsiteY460" fmla="*/ 4128543 h 5588000"/>
              <a:gd name="connsiteX461" fmla="*/ 9655850 w 12192000"/>
              <a:gd name="connsiteY461" fmla="*/ 4101783 h 5588000"/>
              <a:gd name="connsiteX462" fmla="*/ 9646373 w 12192000"/>
              <a:gd name="connsiteY462" fmla="*/ 4074690 h 5588000"/>
              <a:gd name="connsiteX463" fmla="*/ 9633079 w 12192000"/>
              <a:gd name="connsiteY463" fmla="*/ 4050734 h 5588000"/>
              <a:gd name="connsiteX464" fmla="*/ 9609300 w 12192000"/>
              <a:gd name="connsiteY464" fmla="*/ 4029582 h 5588000"/>
              <a:gd name="connsiteX465" fmla="*/ 9587407 w 12192000"/>
              <a:gd name="connsiteY465" fmla="*/ 4018507 h 5588000"/>
              <a:gd name="connsiteX466" fmla="*/ 9558846 w 12192000"/>
              <a:gd name="connsiteY466" fmla="*/ 4007098 h 5588000"/>
              <a:gd name="connsiteX467" fmla="*/ 4962946 w 12192000"/>
              <a:gd name="connsiteY467" fmla="*/ 4005767 h 5588000"/>
              <a:gd name="connsiteX468" fmla="*/ 4932453 w 12192000"/>
              <a:gd name="connsiteY468" fmla="*/ 4007572 h 5588000"/>
              <a:gd name="connsiteX469" fmla="*/ 4900997 w 12192000"/>
              <a:gd name="connsiteY469" fmla="*/ 4015984 h 5588000"/>
              <a:gd name="connsiteX470" fmla="*/ 4872392 w 12192000"/>
              <a:gd name="connsiteY470" fmla="*/ 4027866 h 5588000"/>
              <a:gd name="connsiteX471" fmla="*/ 4845675 w 12192000"/>
              <a:gd name="connsiteY471" fmla="*/ 4049824 h 5588000"/>
              <a:gd name="connsiteX472" fmla="*/ 4822774 w 12192000"/>
              <a:gd name="connsiteY472" fmla="*/ 4068646 h 5588000"/>
              <a:gd name="connsiteX473" fmla="*/ 4805576 w 12192000"/>
              <a:gd name="connsiteY473" fmla="*/ 4094407 h 5588000"/>
              <a:gd name="connsiteX474" fmla="*/ 4791231 w 12192000"/>
              <a:gd name="connsiteY474" fmla="*/ 4123639 h 5588000"/>
              <a:gd name="connsiteX475" fmla="*/ 4783554 w 12192000"/>
              <a:gd name="connsiteY475" fmla="*/ 4153203 h 5588000"/>
              <a:gd name="connsiteX476" fmla="*/ 4779693 w 12192000"/>
              <a:gd name="connsiteY476" fmla="*/ 4179630 h 5588000"/>
              <a:gd name="connsiteX477" fmla="*/ 4785354 w 12192000"/>
              <a:gd name="connsiteY477" fmla="*/ 4209860 h 5588000"/>
              <a:gd name="connsiteX478" fmla="*/ 4791979 w 12192000"/>
              <a:gd name="connsiteY478" fmla="*/ 4233483 h 5588000"/>
              <a:gd name="connsiteX479" fmla="*/ 4808124 w 12192000"/>
              <a:gd name="connsiteY479" fmla="*/ 4260909 h 5588000"/>
              <a:gd name="connsiteX480" fmla="*/ 4829051 w 12192000"/>
              <a:gd name="connsiteY480" fmla="*/ 4278591 h 5588000"/>
              <a:gd name="connsiteX481" fmla="*/ 4853795 w 12192000"/>
              <a:gd name="connsiteY481" fmla="*/ 4293136 h 5588000"/>
              <a:gd name="connsiteX482" fmla="*/ 4879505 w 12192000"/>
              <a:gd name="connsiteY482" fmla="*/ 4301075 h 5588000"/>
              <a:gd name="connsiteX483" fmla="*/ 4909030 w 12192000"/>
              <a:gd name="connsiteY483" fmla="*/ 4305876 h 5588000"/>
              <a:gd name="connsiteX484" fmla="*/ 4936671 w 12192000"/>
              <a:gd name="connsiteY484" fmla="*/ 4300601 h 5588000"/>
              <a:gd name="connsiteX485" fmla="*/ 4968127 w 12192000"/>
              <a:gd name="connsiteY485" fmla="*/ 4292189 h 5588000"/>
              <a:gd name="connsiteX486" fmla="*/ 4996733 w 12192000"/>
              <a:gd name="connsiteY486" fmla="*/ 4280307 h 5588000"/>
              <a:gd name="connsiteX487" fmla="*/ 5022484 w 12192000"/>
              <a:gd name="connsiteY487" fmla="*/ 4264956 h 5588000"/>
              <a:gd name="connsiteX488" fmla="*/ 5046350 w 12192000"/>
              <a:gd name="connsiteY488" fmla="*/ 4239527 h 5588000"/>
              <a:gd name="connsiteX489" fmla="*/ 5063547 w 12192000"/>
              <a:gd name="connsiteY489" fmla="*/ 4213766 h 5588000"/>
              <a:gd name="connsiteX490" fmla="*/ 5077893 w 12192000"/>
              <a:gd name="connsiteY490" fmla="*/ 4184534 h 5588000"/>
              <a:gd name="connsiteX491" fmla="*/ 5088423 w 12192000"/>
              <a:gd name="connsiteY491" fmla="*/ 4158440 h 5588000"/>
              <a:gd name="connsiteX492" fmla="*/ 5089431 w 12192000"/>
              <a:gd name="connsiteY492" fmla="*/ 4128543 h 5588000"/>
              <a:gd name="connsiteX493" fmla="*/ 5086623 w 12192000"/>
              <a:gd name="connsiteY493" fmla="*/ 4101783 h 5588000"/>
              <a:gd name="connsiteX494" fmla="*/ 5077145 w 12192000"/>
              <a:gd name="connsiteY494" fmla="*/ 4074690 h 5588000"/>
              <a:gd name="connsiteX495" fmla="*/ 5063852 w 12192000"/>
              <a:gd name="connsiteY495" fmla="*/ 4050734 h 5588000"/>
              <a:gd name="connsiteX496" fmla="*/ 5040075 w 12192000"/>
              <a:gd name="connsiteY496" fmla="*/ 4029582 h 5588000"/>
              <a:gd name="connsiteX497" fmla="*/ 5018182 w 12192000"/>
              <a:gd name="connsiteY497" fmla="*/ 4018507 h 5588000"/>
              <a:gd name="connsiteX498" fmla="*/ 4989619 w 12192000"/>
              <a:gd name="connsiteY498" fmla="*/ 4007098 h 5588000"/>
              <a:gd name="connsiteX499" fmla="*/ 1131135 w 12192000"/>
              <a:gd name="connsiteY499" fmla="*/ 4005767 h 5588000"/>
              <a:gd name="connsiteX500" fmla="*/ 1100644 w 12192000"/>
              <a:gd name="connsiteY500" fmla="*/ 4007572 h 5588000"/>
              <a:gd name="connsiteX501" fmla="*/ 1069188 w 12192000"/>
              <a:gd name="connsiteY501" fmla="*/ 4015984 h 5588000"/>
              <a:gd name="connsiteX502" fmla="*/ 1040583 w 12192000"/>
              <a:gd name="connsiteY502" fmla="*/ 4027866 h 5588000"/>
              <a:gd name="connsiteX503" fmla="*/ 1013865 w 12192000"/>
              <a:gd name="connsiteY503" fmla="*/ 4049824 h 5588000"/>
              <a:gd name="connsiteX504" fmla="*/ 990964 w 12192000"/>
              <a:gd name="connsiteY504" fmla="*/ 4068646 h 5588000"/>
              <a:gd name="connsiteX505" fmla="*/ 973767 w 12192000"/>
              <a:gd name="connsiteY505" fmla="*/ 4094407 h 5588000"/>
              <a:gd name="connsiteX506" fmla="*/ 959421 w 12192000"/>
              <a:gd name="connsiteY506" fmla="*/ 4123639 h 5588000"/>
              <a:gd name="connsiteX507" fmla="*/ 951744 w 12192000"/>
              <a:gd name="connsiteY507" fmla="*/ 4153203 h 5588000"/>
              <a:gd name="connsiteX508" fmla="*/ 947883 w 12192000"/>
              <a:gd name="connsiteY508" fmla="*/ 4179630 h 5588000"/>
              <a:gd name="connsiteX509" fmla="*/ 953543 w 12192000"/>
              <a:gd name="connsiteY509" fmla="*/ 4209860 h 5588000"/>
              <a:gd name="connsiteX510" fmla="*/ 960169 w 12192000"/>
              <a:gd name="connsiteY510" fmla="*/ 4233483 h 5588000"/>
              <a:gd name="connsiteX511" fmla="*/ 976314 w 12192000"/>
              <a:gd name="connsiteY511" fmla="*/ 4260909 h 5588000"/>
              <a:gd name="connsiteX512" fmla="*/ 997241 w 12192000"/>
              <a:gd name="connsiteY512" fmla="*/ 4278591 h 5588000"/>
              <a:gd name="connsiteX513" fmla="*/ 1021986 w 12192000"/>
              <a:gd name="connsiteY513" fmla="*/ 4293136 h 5588000"/>
              <a:gd name="connsiteX514" fmla="*/ 1047695 w 12192000"/>
              <a:gd name="connsiteY514" fmla="*/ 4301075 h 5588000"/>
              <a:gd name="connsiteX515" fmla="*/ 1077221 w 12192000"/>
              <a:gd name="connsiteY515" fmla="*/ 4305876 h 5588000"/>
              <a:gd name="connsiteX516" fmla="*/ 1104861 w 12192000"/>
              <a:gd name="connsiteY516" fmla="*/ 4300601 h 5588000"/>
              <a:gd name="connsiteX517" fmla="*/ 1136317 w 12192000"/>
              <a:gd name="connsiteY517" fmla="*/ 4292189 h 5588000"/>
              <a:gd name="connsiteX518" fmla="*/ 1164922 w 12192000"/>
              <a:gd name="connsiteY518" fmla="*/ 4280307 h 5588000"/>
              <a:gd name="connsiteX519" fmla="*/ 1190674 w 12192000"/>
              <a:gd name="connsiteY519" fmla="*/ 4264956 h 5588000"/>
              <a:gd name="connsiteX520" fmla="*/ 1214541 w 12192000"/>
              <a:gd name="connsiteY520" fmla="*/ 4239527 h 5588000"/>
              <a:gd name="connsiteX521" fmla="*/ 1231738 w 12192000"/>
              <a:gd name="connsiteY521" fmla="*/ 4213766 h 5588000"/>
              <a:gd name="connsiteX522" fmla="*/ 1246084 w 12192000"/>
              <a:gd name="connsiteY522" fmla="*/ 4184534 h 5588000"/>
              <a:gd name="connsiteX523" fmla="*/ 1256613 w 12192000"/>
              <a:gd name="connsiteY523" fmla="*/ 4158440 h 5588000"/>
              <a:gd name="connsiteX524" fmla="*/ 1257621 w 12192000"/>
              <a:gd name="connsiteY524" fmla="*/ 4128543 h 5588000"/>
              <a:gd name="connsiteX525" fmla="*/ 1254813 w 12192000"/>
              <a:gd name="connsiteY525" fmla="*/ 4101783 h 5588000"/>
              <a:gd name="connsiteX526" fmla="*/ 1245336 w 12192000"/>
              <a:gd name="connsiteY526" fmla="*/ 4074690 h 5588000"/>
              <a:gd name="connsiteX527" fmla="*/ 1232042 w 12192000"/>
              <a:gd name="connsiteY527" fmla="*/ 4050734 h 5588000"/>
              <a:gd name="connsiteX528" fmla="*/ 1208263 w 12192000"/>
              <a:gd name="connsiteY528" fmla="*/ 4029582 h 5588000"/>
              <a:gd name="connsiteX529" fmla="*/ 1186371 w 12192000"/>
              <a:gd name="connsiteY529" fmla="*/ 4018507 h 5588000"/>
              <a:gd name="connsiteX530" fmla="*/ 1157810 w 12192000"/>
              <a:gd name="connsiteY530" fmla="*/ 4007098 h 5588000"/>
              <a:gd name="connsiteX531" fmla="*/ 9931526 w 12192000"/>
              <a:gd name="connsiteY531" fmla="*/ 575324 h 5588000"/>
              <a:gd name="connsiteX532" fmla="*/ 9907704 w 12192000"/>
              <a:gd name="connsiteY532" fmla="*/ 577462 h 5588000"/>
              <a:gd name="connsiteX533" fmla="*/ 9885768 w 12192000"/>
              <a:gd name="connsiteY533" fmla="*/ 589677 h 5588000"/>
              <a:gd name="connsiteX534" fmla="*/ 9869535 w 12192000"/>
              <a:gd name="connsiteY534" fmla="*/ 608831 h 5588000"/>
              <a:gd name="connsiteX535" fmla="*/ 9862823 w 12192000"/>
              <a:gd name="connsiteY535" fmla="*/ 631789 h 5588000"/>
              <a:gd name="connsiteX536" fmla="*/ 9857998 w 12192000"/>
              <a:gd name="connsiteY536" fmla="*/ 664823 h 5588000"/>
              <a:gd name="connsiteX537" fmla="*/ 9863658 w 12192000"/>
              <a:gd name="connsiteY537" fmla="*/ 695053 h 5588000"/>
              <a:gd name="connsiteX538" fmla="*/ 9875021 w 12192000"/>
              <a:gd name="connsiteY538" fmla="*/ 732222 h 5588000"/>
              <a:gd name="connsiteX539" fmla="*/ 9890202 w 12192000"/>
              <a:gd name="connsiteY539" fmla="*/ 766255 h 5588000"/>
              <a:gd name="connsiteX540" fmla="*/ 9911086 w 12192000"/>
              <a:gd name="connsiteY540" fmla="*/ 807228 h 5588000"/>
              <a:gd name="connsiteX541" fmla="*/ 9939603 w 12192000"/>
              <a:gd name="connsiteY541" fmla="*/ 841926 h 5588000"/>
              <a:gd name="connsiteX542" fmla="*/ 9968121 w 12192000"/>
              <a:gd name="connsiteY542" fmla="*/ 876625 h 5588000"/>
              <a:gd name="connsiteX543" fmla="*/ 10004272 w 12192000"/>
              <a:gd name="connsiteY543" fmla="*/ 905049 h 5588000"/>
              <a:gd name="connsiteX544" fmla="*/ 10034720 w 12192000"/>
              <a:gd name="connsiteY544" fmla="*/ 926534 h 5588000"/>
              <a:gd name="connsiteX545" fmla="*/ 10068985 w 12192000"/>
              <a:gd name="connsiteY545" fmla="*/ 944882 h 5588000"/>
              <a:gd name="connsiteX546" fmla="*/ 10097546 w 12192000"/>
              <a:gd name="connsiteY546" fmla="*/ 956291 h 5588000"/>
              <a:gd name="connsiteX547" fmla="*/ 10130889 w 12192000"/>
              <a:gd name="connsiteY547" fmla="*/ 957955 h 5588000"/>
              <a:gd name="connsiteX548" fmla="*/ 10154712 w 12192000"/>
              <a:gd name="connsiteY548" fmla="*/ 955817 h 5588000"/>
              <a:gd name="connsiteX549" fmla="*/ 10176648 w 12192000"/>
              <a:gd name="connsiteY549" fmla="*/ 943602 h 5588000"/>
              <a:gd name="connsiteX550" fmla="*/ 10192880 w 12192000"/>
              <a:gd name="connsiteY550" fmla="*/ 924448 h 5588000"/>
              <a:gd name="connsiteX551" fmla="*/ 10199592 w 12192000"/>
              <a:gd name="connsiteY551" fmla="*/ 901490 h 5588000"/>
              <a:gd name="connsiteX552" fmla="*/ 10200600 w 12192000"/>
              <a:gd name="connsiteY552" fmla="*/ 871593 h 5588000"/>
              <a:gd name="connsiteX553" fmla="*/ 10198757 w 12192000"/>
              <a:gd name="connsiteY553" fmla="*/ 838226 h 5588000"/>
              <a:gd name="connsiteX554" fmla="*/ 10187394 w 12192000"/>
              <a:gd name="connsiteY554" fmla="*/ 801057 h 5588000"/>
              <a:gd name="connsiteX555" fmla="*/ 10172213 w 12192000"/>
              <a:gd name="connsiteY555" fmla="*/ 767024 h 5588000"/>
              <a:gd name="connsiteX556" fmla="*/ 10147512 w 12192000"/>
              <a:gd name="connsiteY556" fmla="*/ 729188 h 5588000"/>
              <a:gd name="connsiteX557" fmla="*/ 10122812 w 12192000"/>
              <a:gd name="connsiteY557" fmla="*/ 691353 h 5588000"/>
              <a:gd name="connsiteX558" fmla="*/ 10090477 w 12192000"/>
              <a:gd name="connsiteY558" fmla="*/ 659791 h 5588000"/>
              <a:gd name="connsiteX559" fmla="*/ 10058143 w 12192000"/>
              <a:gd name="connsiteY559" fmla="*/ 628230 h 5588000"/>
              <a:gd name="connsiteX560" fmla="*/ 10027695 w 12192000"/>
              <a:gd name="connsiteY560" fmla="*/ 606745 h 5588000"/>
              <a:gd name="connsiteX561" fmla="*/ 9993430 w 12192000"/>
              <a:gd name="connsiteY561" fmla="*/ 588397 h 5588000"/>
              <a:gd name="connsiteX562" fmla="*/ 9961052 w 12192000"/>
              <a:gd name="connsiteY562" fmla="*/ 580126 h 5588000"/>
              <a:gd name="connsiteX563" fmla="*/ 4051428 w 12192000"/>
              <a:gd name="connsiteY563" fmla="*/ 575324 h 5588000"/>
              <a:gd name="connsiteX564" fmla="*/ 4027605 w 12192000"/>
              <a:gd name="connsiteY564" fmla="*/ 577462 h 5588000"/>
              <a:gd name="connsiteX565" fmla="*/ 4005669 w 12192000"/>
              <a:gd name="connsiteY565" fmla="*/ 589677 h 5588000"/>
              <a:gd name="connsiteX566" fmla="*/ 3989436 w 12192000"/>
              <a:gd name="connsiteY566" fmla="*/ 608831 h 5588000"/>
              <a:gd name="connsiteX567" fmla="*/ 3982725 w 12192000"/>
              <a:gd name="connsiteY567" fmla="*/ 631789 h 5588000"/>
              <a:gd name="connsiteX568" fmla="*/ 3977899 w 12192000"/>
              <a:gd name="connsiteY568" fmla="*/ 664823 h 5588000"/>
              <a:gd name="connsiteX569" fmla="*/ 3983559 w 12192000"/>
              <a:gd name="connsiteY569" fmla="*/ 695053 h 5588000"/>
              <a:gd name="connsiteX570" fmla="*/ 3994923 w 12192000"/>
              <a:gd name="connsiteY570" fmla="*/ 732222 h 5588000"/>
              <a:gd name="connsiteX571" fmla="*/ 4010103 w 12192000"/>
              <a:gd name="connsiteY571" fmla="*/ 766255 h 5588000"/>
              <a:gd name="connsiteX572" fmla="*/ 4030987 w 12192000"/>
              <a:gd name="connsiteY572" fmla="*/ 807228 h 5588000"/>
              <a:gd name="connsiteX573" fmla="*/ 4059505 w 12192000"/>
              <a:gd name="connsiteY573" fmla="*/ 841926 h 5588000"/>
              <a:gd name="connsiteX574" fmla="*/ 4088022 w 12192000"/>
              <a:gd name="connsiteY574" fmla="*/ 876625 h 5588000"/>
              <a:gd name="connsiteX575" fmla="*/ 4124174 w 12192000"/>
              <a:gd name="connsiteY575" fmla="*/ 905049 h 5588000"/>
              <a:gd name="connsiteX576" fmla="*/ 4154621 w 12192000"/>
              <a:gd name="connsiteY576" fmla="*/ 926534 h 5588000"/>
              <a:gd name="connsiteX577" fmla="*/ 4188886 w 12192000"/>
              <a:gd name="connsiteY577" fmla="*/ 944882 h 5588000"/>
              <a:gd name="connsiteX578" fmla="*/ 4217447 w 12192000"/>
              <a:gd name="connsiteY578" fmla="*/ 956291 h 5588000"/>
              <a:gd name="connsiteX579" fmla="*/ 4250790 w 12192000"/>
              <a:gd name="connsiteY579" fmla="*/ 957955 h 5588000"/>
              <a:gd name="connsiteX580" fmla="*/ 4274613 w 12192000"/>
              <a:gd name="connsiteY580" fmla="*/ 955817 h 5588000"/>
              <a:gd name="connsiteX581" fmla="*/ 4296549 w 12192000"/>
              <a:gd name="connsiteY581" fmla="*/ 943602 h 5588000"/>
              <a:gd name="connsiteX582" fmla="*/ 4312782 w 12192000"/>
              <a:gd name="connsiteY582" fmla="*/ 924448 h 5588000"/>
              <a:gd name="connsiteX583" fmla="*/ 4319495 w 12192000"/>
              <a:gd name="connsiteY583" fmla="*/ 901490 h 5588000"/>
              <a:gd name="connsiteX584" fmla="*/ 4320503 w 12192000"/>
              <a:gd name="connsiteY584" fmla="*/ 871593 h 5588000"/>
              <a:gd name="connsiteX585" fmla="*/ 4318659 w 12192000"/>
              <a:gd name="connsiteY585" fmla="*/ 838226 h 5588000"/>
              <a:gd name="connsiteX586" fmla="*/ 4307296 w 12192000"/>
              <a:gd name="connsiteY586" fmla="*/ 801057 h 5588000"/>
              <a:gd name="connsiteX587" fmla="*/ 4292114 w 12192000"/>
              <a:gd name="connsiteY587" fmla="*/ 767024 h 5588000"/>
              <a:gd name="connsiteX588" fmla="*/ 4267414 w 12192000"/>
              <a:gd name="connsiteY588" fmla="*/ 729188 h 5588000"/>
              <a:gd name="connsiteX589" fmla="*/ 4242713 w 12192000"/>
              <a:gd name="connsiteY589" fmla="*/ 691353 h 5588000"/>
              <a:gd name="connsiteX590" fmla="*/ 4210378 w 12192000"/>
              <a:gd name="connsiteY590" fmla="*/ 659791 h 5588000"/>
              <a:gd name="connsiteX591" fmla="*/ 4178044 w 12192000"/>
              <a:gd name="connsiteY591" fmla="*/ 628230 h 5588000"/>
              <a:gd name="connsiteX592" fmla="*/ 4147596 w 12192000"/>
              <a:gd name="connsiteY592" fmla="*/ 606745 h 5588000"/>
              <a:gd name="connsiteX593" fmla="*/ 4113332 w 12192000"/>
              <a:gd name="connsiteY593" fmla="*/ 588397 h 5588000"/>
              <a:gd name="connsiteX594" fmla="*/ 4080954 w 12192000"/>
              <a:gd name="connsiteY594" fmla="*/ 580126 h 5588000"/>
              <a:gd name="connsiteX595" fmla="*/ 889126 w 12192000"/>
              <a:gd name="connsiteY595" fmla="*/ 575324 h 5588000"/>
              <a:gd name="connsiteX596" fmla="*/ 865304 w 12192000"/>
              <a:gd name="connsiteY596" fmla="*/ 577462 h 5588000"/>
              <a:gd name="connsiteX597" fmla="*/ 843368 w 12192000"/>
              <a:gd name="connsiteY597" fmla="*/ 589677 h 5588000"/>
              <a:gd name="connsiteX598" fmla="*/ 827135 w 12192000"/>
              <a:gd name="connsiteY598" fmla="*/ 608831 h 5588000"/>
              <a:gd name="connsiteX599" fmla="*/ 820423 w 12192000"/>
              <a:gd name="connsiteY599" fmla="*/ 631789 h 5588000"/>
              <a:gd name="connsiteX600" fmla="*/ 815598 w 12192000"/>
              <a:gd name="connsiteY600" fmla="*/ 664823 h 5588000"/>
              <a:gd name="connsiteX601" fmla="*/ 821258 w 12192000"/>
              <a:gd name="connsiteY601" fmla="*/ 695053 h 5588000"/>
              <a:gd name="connsiteX602" fmla="*/ 832622 w 12192000"/>
              <a:gd name="connsiteY602" fmla="*/ 732222 h 5588000"/>
              <a:gd name="connsiteX603" fmla="*/ 847802 w 12192000"/>
              <a:gd name="connsiteY603" fmla="*/ 766255 h 5588000"/>
              <a:gd name="connsiteX604" fmla="*/ 868686 w 12192000"/>
              <a:gd name="connsiteY604" fmla="*/ 807228 h 5588000"/>
              <a:gd name="connsiteX605" fmla="*/ 897204 w 12192000"/>
              <a:gd name="connsiteY605" fmla="*/ 841926 h 5588000"/>
              <a:gd name="connsiteX606" fmla="*/ 925721 w 12192000"/>
              <a:gd name="connsiteY606" fmla="*/ 876625 h 5588000"/>
              <a:gd name="connsiteX607" fmla="*/ 961873 w 12192000"/>
              <a:gd name="connsiteY607" fmla="*/ 905049 h 5588000"/>
              <a:gd name="connsiteX608" fmla="*/ 992320 w 12192000"/>
              <a:gd name="connsiteY608" fmla="*/ 926534 h 5588000"/>
              <a:gd name="connsiteX609" fmla="*/ 1026585 w 12192000"/>
              <a:gd name="connsiteY609" fmla="*/ 944882 h 5588000"/>
              <a:gd name="connsiteX610" fmla="*/ 1055146 w 12192000"/>
              <a:gd name="connsiteY610" fmla="*/ 956291 h 5588000"/>
              <a:gd name="connsiteX611" fmla="*/ 1088489 w 12192000"/>
              <a:gd name="connsiteY611" fmla="*/ 957955 h 5588000"/>
              <a:gd name="connsiteX612" fmla="*/ 1112312 w 12192000"/>
              <a:gd name="connsiteY612" fmla="*/ 955817 h 5588000"/>
              <a:gd name="connsiteX613" fmla="*/ 1134248 w 12192000"/>
              <a:gd name="connsiteY613" fmla="*/ 943602 h 5588000"/>
              <a:gd name="connsiteX614" fmla="*/ 1150480 w 12192000"/>
              <a:gd name="connsiteY614" fmla="*/ 924448 h 5588000"/>
              <a:gd name="connsiteX615" fmla="*/ 1157192 w 12192000"/>
              <a:gd name="connsiteY615" fmla="*/ 901490 h 5588000"/>
              <a:gd name="connsiteX616" fmla="*/ 1158201 w 12192000"/>
              <a:gd name="connsiteY616" fmla="*/ 871593 h 5588000"/>
              <a:gd name="connsiteX617" fmla="*/ 1156358 w 12192000"/>
              <a:gd name="connsiteY617" fmla="*/ 838226 h 5588000"/>
              <a:gd name="connsiteX618" fmla="*/ 1144994 w 12192000"/>
              <a:gd name="connsiteY618" fmla="*/ 801057 h 5588000"/>
              <a:gd name="connsiteX619" fmla="*/ 1129814 w 12192000"/>
              <a:gd name="connsiteY619" fmla="*/ 767024 h 5588000"/>
              <a:gd name="connsiteX620" fmla="*/ 1105113 w 12192000"/>
              <a:gd name="connsiteY620" fmla="*/ 729188 h 5588000"/>
              <a:gd name="connsiteX621" fmla="*/ 1080412 w 12192000"/>
              <a:gd name="connsiteY621" fmla="*/ 691353 h 5588000"/>
              <a:gd name="connsiteX622" fmla="*/ 1048077 w 12192000"/>
              <a:gd name="connsiteY622" fmla="*/ 659791 h 5588000"/>
              <a:gd name="connsiteX623" fmla="*/ 1015743 w 12192000"/>
              <a:gd name="connsiteY623" fmla="*/ 628230 h 5588000"/>
              <a:gd name="connsiteX624" fmla="*/ 985295 w 12192000"/>
              <a:gd name="connsiteY624" fmla="*/ 606745 h 5588000"/>
              <a:gd name="connsiteX625" fmla="*/ 951031 w 12192000"/>
              <a:gd name="connsiteY625" fmla="*/ 588397 h 5588000"/>
              <a:gd name="connsiteX626" fmla="*/ 918653 w 12192000"/>
              <a:gd name="connsiteY626" fmla="*/ 580126 h 5588000"/>
              <a:gd name="connsiteX627" fmla="*/ 9576247 w 12192000"/>
              <a:gd name="connsiteY627" fmla="*/ 524313 h 5588000"/>
              <a:gd name="connsiteX628" fmla="*/ 9544791 w 12192000"/>
              <a:gd name="connsiteY628" fmla="*/ 532725 h 5588000"/>
              <a:gd name="connsiteX629" fmla="*/ 9509518 w 12192000"/>
              <a:gd name="connsiteY629" fmla="*/ 544274 h 5588000"/>
              <a:gd name="connsiteX630" fmla="*/ 9476131 w 12192000"/>
              <a:gd name="connsiteY630" fmla="*/ 565899 h 5588000"/>
              <a:gd name="connsiteX631" fmla="*/ 9452265 w 12192000"/>
              <a:gd name="connsiteY631" fmla="*/ 591328 h 5588000"/>
              <a:gd name="connsiteX632" fmla="*/ 9434103 w 12192000"/>
              <a:gd name="connsiteY632" fmla="*/ 623696 h 5588000"/>
              <a:gd name="connsiteX633" fmla="*/ 9419757 w 12192000"/>
              <a:gd name="connsiteY633" fmla="*/ 652927 h 5588000"/>
              <a:gd name="connsiteX634" fmla="*/ 9414931 w 12192000"/>
              <a:gd name="connsiteY634" fmla="*/ 685961 h 5588000"/>
              <a:gd name="connsiteX635" fmla="*/ 9415809 w 12192000"/>
              <a:gd name="connsiteY635" fmla="*/ 725935 h 5588000"/>
              <a:gd name="connsiteX636" fmla="*/ 9424321 w 12192000"/>
              <a:gd name="connsiteY636" fmla="*/ 759634 h 5588000"/>
              <a:gd name="connsiteX637" fmla="*/ 9436650 w 12192000"/>
              <a:gd name="connsiteY637" fmla="*/ 790197 h 5588000"/>
              <a:gd name="connsiteX638" fmla="*/ 9458499 w 12192000"/>
              <a:gd name="connsiteY638" fmla="*/ 824563 h 5588000"/>
              <a:gd name="connsiteX639" fmla="*/ 9485130 w 12192000"/>
              <a:gd name="connsiteY639" fmla="*/ 849185 h 5588000"/>
              <a:gd name="connsiteX640" fmla="*/ 9515578 w 12192000"/>
              <a:gd name="connsiteY640" fmla="*/ 870670 h 5588000"/>
              <a:gd name="connsiteX641" fmla="*/ 9546991 w 12192000"/>
              <a:gd name="connsiteY641" fmla="*/ 885548 h 5588000"/>
              <a:gd name="connsiteX642" fmla="*/ 9583185 w 12192000"/>
              <a:gd name="connsiteY642" fmla="*/ 890682 h 5588000"/>
              <a:gd name="connsiteX643" fmla="*/ 9616528 w 12192000"/>
              <a:gd name="connsiteY643" fmla="*/ 892347 h 5588000"/>
              <a:gd name="connsiteX644" fmla="*/ 9650836 w 12192000"/>
              <a:gd name="connsiteY644" fmla="*/ 887405 h 5588000"/>
              <a:gd name="connsiteX645" fmla="*/ 9683258 w 12192000"/>
              <a:gd name="connsiteY645" fmla="*/ 872386 h 5588000"/>
              <a:gd name="connsiteX646" fmla="*/ 9712827 w 12192000"/>
              <a:gd name="connsiteY646" fmla="*/ 853897 h 5588000"/>
              <a:gd name="connsiteX647" fmla="*/ 9740510 w 12192000"/>
              <a:gd name="connsiteY647" fmla="*/ 825332 h 5588000"/>
              <a:gd name="connsiteX648" fmla="*/ 9761525 w 12192000"/>
              <a:gd name="connsiteY648" fmla="*/ 796434 h 5588000"/>
              <a:gd name="connsiteX649" fmla="*/ 9773019 w 12192000"/>
              <a:gd name="connsiteY649" fmla="*/ 763732 h 5588000"/>
              <a:gd name="connsiteX650" fmla="*/ 9777844 w 12192000"/>
              <a:gd name="connsiteY650" fmla="*/ 730698 h 5588000"/>
              <a:gd name="connsiteX651" fmla="*/ 9779818 w 12192000"/>
              <a:gd name="connsiteY651" fmla="*/ 694195 h 5588000"/>
              <a:gd name="connsiteX652" fmla="*/ 9771306 w 12192000"/>
              <a:gd name="connsiteY652" fmla="*/ 660495 h 5588000"/>
              <a:gd name="connsiteX653" fmla="*/ 9756125 w 12192000"/>
              <a:gd name="connsiteY653" fmla="*/ 626462 h 5588000"/>
              <a:gd name="connsiteX654" fmla="*/ 9737128 w 12192000"/>
              <a:gd name="connsiteY654" fmla="*/ 595566 h 5588000"/>
              <a:gd name="connsiteX655" fmla="*/ 9707646 w 12192000"/>
              <a:gd name="connsiteY655" fmla="*/ 567475 h 5588000"/>
              <a:gd name="connsiteX656" fmla="*/ 9680049 w 12192000"/>
              <a:gd name="connsiteY656" fmla="*/ 549460 h 5588000"/>
              <a:gd name="connsiteX657" fmla="*/ 9648637 w 12192000"/>
              <a:gd name="connsiteY657" fmla="*/ 534581 h 5588000"/>
              <a:gd name="connsiteX658" fmla="*/ 9609590 w 12192000"/>
              <a:gd name="connsiteY658" fmla="*/ 525977 h 5588000"/>
              <a:gd name="connsiteX659" fmla="*/ 3696148 w 12192000"/>
              <a:gd name="connsiteY659" fmla="*/ 524313 h 5588000"/>
              <a:gd name="connsiteX660" fmla="*/ 3664692 w 12192000"/>
              <a:gd name="connsiteY660" fmla="*/ 532725 h 5588000"/>
              <a:gd name="connsiteX661" fmla="*/ 3629419 w 12192000"/>
              <a:gd name="connsiteY661" fmla="*/ 544274 h 5588000"/>
              <a:gd name="connsiteX662" fmla="*/ 3596032 w 12192000"/>
              <a:gd name="connsiteY662" fmla="*/ 565899 h 5588000"/>
              <a:gd name="connsiteX663" fmla="*/ 3572166 w 12192000"/>
              <a:gd name="connsiteY663" fmla="*/ 591328 h 5588000"/>
              <a:gd name="connsiteX664" fmla="*/ 3554004 w 12192000"/>
              <a:gd name="connsiteY664" fmla="*/ 623696 h 5588000"/>
              <a:gd name="connsiteX665" fmla="*/ 3539658 w 12192000"/>
              <a:gd name="connsiteY665" fmla="*/ 652927 h 5588000"/>
              <a:gd name="connsiteX666" fmla="*/ 3534833 w 12192000"/>
              <a:gd name="connsiteY666" fmla="*/ 685961 h 5588000"/>
              <a:gd name="connsiteX667" fmla="*/ 3535711 w 12192000"/>
              <a:gd name="connsiteY667" fmla="*/ 725935 h 5588000"/>
              <a:gd name="connsiteX668" fmla="*/ 3544223 w 12192000"/>
              <a:gd name="connsiteY668" fmla="*/ 759634 h 5588000"/>
              <a:gd name="connsiteX669" fmla="*/ 3556551 w 12192000"/>
              <a:gd name="connsiteY669" fmla="*/ 790197 h 5588000"/>
              <a:gd name="connsiteX670" fmla="*/ 3578400 w 12192000"/>
              <a:gd name="connsiteY670" fmla="*/ 824563 h 5588000"/>
              <a:gd name="connsiteX671" fmla="*/ 3605031 w 12192000"/>
              <a:gd name="connsiteY671" fmla="*/ 849185 h 5588000"/>
              <a:gd name="connsiteX672" fmla="*/ 3635479 w 12192000"/>
              <a:gd name="connsiteY672" fmla="*/ 870670 h 5588000"/>
              <a:gd name="connsiteX673" fmla="*/ 3666892 w 12192000"/>
              <a:gd name="connsiteY673" fmla="*/ 885548 h 5588000"/>
              <a:gd name="connsiteX674" fmla="*/ 3703087 w 12192000"/>
              <a:gd name="connsiteY674" fmla="*/ 890682 h 5588000"/>
              <a:gd name="connsiteX675" fmla="*/ 3736430 w 12192000"/>
              <a:gd name="connsiteY675" fmla="*/ 892347 h 5588000"/>
              <a:gd name="connsiteX676" fmla="*/ 3770738 w 12192000"/>
              <a:gd name="connsiteY676" fmla="*/ 887405 h 5588000"/>
              <a:gd name="connsiteX677" fmla="*/ 3803159 w 12192000"/>
              <a:gd name="connsiteY677" fmla="*/ 872386 h 5588000"/>
              <a:gd name="connsiteX678" fmla="*/ 3832729 w 12192000"/>
              <a:gd name="connsiteY678" fmla="*/ 853897 h 5588000"/>
              <a:gd name="connsiteX679" fmla="*/ 3860412 w 12192000"/>
              <a:gd name="connsiteY679" fmla="*/ 825332 h 5588000"/>
              <a:gd name="connsiteX680" fmla="*/ 3881426 w 12192000"/>
              <a:gd name="connsiteY680" fmla="*/ 796434 h 5588000"/>
              <a:gd name="connsiteX681" fmla="*/ 3892920 w 12192000"/>
              <a:gd name="connsiteY681" fmla="*/ 763732 h 5588000"/>
              <a:gd name="connsiteX682" fmla="*/ 3897745 w 12192000"/>
              <a:gd name="connsiteY682" fmla="*/ 730698 h 5588000"/>
              <a:gd name="connsiteX683" fmla="*/ 3899719 w 12192000"/>
              <a:gd name="connsiteY683" fmla="*/ 694195 h 5588000"/>
              <a:gd name="connsiteX684" fmla="*/ 3891207 w 12192000"/>
              <a:gd name="connsiteY684" fmla="*/ 660495 h 5588000"/>
              <a:gd name="connsiteX685" fmla="*/ 3876027 w 12192000"/>
              <a:gd name="connsiteY685" fmla="*/ 626462 h 5588000"/>
              <a:gd name="connsiteX686" fmla="*/ 3857030 w 12192000"/>
              <a:gd name="connsiteY686" fmla="*/ 595566 h 5588000"/>
              <a:gd name="connsiteX687" fmla="*/ 3827547 w 12192000"/>
              <a:gd name="connsiteY687" fmla="*/ 567475 h 5588000"/>
              <a:gd name="connsiteX688" fmla="*/ 3799951 w 12192000"/>
              <a:gd name="connsiteY688" fmla="*/ 549460 h 5588000"/>
              <a:gd name="connsiteX689" fmla="*/ 3768538 w 12192000"/>
              <a:gd name="connsiteY689" fmla="*/ 534581 h 5588000"/>
              <a:gd name="connsiteX690" fmla="*/ 3729492 w 12192000"/>
              <a:gd name="connsiteY690" fmla="*/ 525977 h 5588000"/>
              <a:gd name="connsiteX691" fmla="*/ 533847 w 12192000"/>
              <a:gd name="connsiteY691" fmla="*/ 524313 h 5588000"/>
              <a:gd name="connsiteX692" fmla="*/ 502391 w 12192000"/>
              <a:gd name="connsiteY692" fmla="*/ 532725 h 5588000"/>
              <a:gd name="connsiteX693" fmla="*/ 467118 w 12192000"/>
              <a:gd name="connsiteY693" fmla="*/ 544274 h 5588000"/>
              <a:gd name="connsiteX694" fmla="*/ 433731 w 12192000"/>
              <a:gd name="connsiteY694" fmla="*/ 565899 h 5588000"/>
              <a:gd name="connsiteX695" fmla="*/ 409865 w 12192000"/>
              <a:gd name="connsiteY695" fmla="*/ 591328 h 5588000"/>
              <a:gd name="connsiteX696" fmla="*/ 391703 w 12192000"/>
              <a:gd name="connsiteY696" fmla="*/ 623696 h 5588000"/>
              <a:gd name="connsiteX697" fmla="*/ 377357 w 12192000"/>
              <a:gd name="connsiteY697" fmla="*/ 652927 h 5588000"/>
              <a:gd name="connsiteX698" fmla="*/ 372531 w 12192000"/>
              <a:gd name="connsiteY698" fmla="*/ 685961 h 5588000"/>
              <a:gd name="connsiteX699" fmla="*/ 373410 w 12192000"/>
              <a:gd name="connsiteY699" fmla="*/ 725935 h 5588000"/>
              <a:gd name="connsiteX700" fmla="*/ 381922 w 12192000"/>
              <a:gd name="connsiteY700" fmla="*/ 759634 h 5588000"/>
              <a:gd name="connsiteX701" fmla="*/ 394250 w 12192000"/>
              <a:gd name="connsiteY701" fmla="*/ 790197 h 5588000"/>
              <a:gd name="connsiteX702" fmla="*/ 416099 w 12192000"/>
              <a:gd name="connsiteY702" fmla="*/ 824563 h 5588000"/>
              <a:gd name="connsiteX703" fmla="*/ 442730 w 12192000"/>
              <a:gd name="connsiteY703" fmla="*/ 849185 h 5588000"/>
              <a:gd name="connsiteX704" fmla="*/ 473178 w 12192000"/>
              <a:gd name="connsiteY704" fmla="*/ 870670 h 5588000"/>
              <a:gd name="connsiteX705" fmla="*/ 504591 w 12192000"/>
              <a:gd name="connsiteY705" fmla="*/ 885548 h 5588000"/>
              <a:gd name="connsiteX706" fmla="*/ 540785 w 12192000"/>
              <a:gd name="connsiteY706" fmla="*/ 890682 h 5588000"/>
              <a:gd name="connsiteX707" fmla="*/ 574129 w 12192000"/>
              <a:gd name="connsiteY707" fmla="*/ 892347 h 5588000"/>
              <a:gd name="connsiteX708" fmla="*/ 608437 w 12192000"/>
              <a:gd name="connsiteY708" fmla="*/ 887405 h 5588000"/>
              <a:gd name="connsiteX709" fmla="*/ 640858 w 12192000"/>
              <a:gd name="connsiteY709" fmla="*/ 872386 h 5588000"/>
              <a:gd name="connsiteX710" fmla="*/ 670428 w 12192000"/>
              <a:gd name="connsiteY710" fmla="*/ 853897 h 5588000"/>
              <a:gd name="connsiteX711" fmla="*/ 698111 w 12192000"/>
              <a:gd name="connsiteY711" fmla="*/ 825332 h 5588000"/>
              <a:gd name="connsiteX712" fmla="*/ 719125 w 12192000"/>
              <a:gd name="connsiteY712" fmla="*/ 796434 h 5588000"/>
              <a:gd name="connsiteX713" fmla="*/ 730619 w 12192000"/>
              <a:gd name="connsiteY713" fmla="*/ 763732 h 5588000"/>
              <a:gd name="connsiteX714" fmla="*/ 735444 w 12192000"/>
              <a:gd name="connsiteY714" fmla="*/ 730698 h 5588000"/>
              <a:gd name="connsiteX715" fmla="*/ 737418 w 12192000"/>
              <a:gd name="connsiteY715" fmla="*/ 694195 h 5588000"/>
              <a:gd name="connsiteX716" fmla="*/ 728906 w 12192000"/>
              <a:gd name="connsiteY716" fmla="*/ 660495 h 5588000"/>
              <a:gd name="connsiteX717" fmla="*/ 713726 w 12192000"/>
              <a:gd name="connsiteY717" fmla="*/ 626462 h 5588000"/>
              <a:gd name="connsiteX718" fmla="*/ 694728 w 12192000"/>
              <a:gd name="connsiteY718" fmla="*/ 595566 h 5588000"/>
              <a:gd name="connsiteX719" fmla="*/ 665246 w 12192000"/>
              <a:gd name="connsiteY719" fmla="*/ 567475 h 5588000"/>
              <a:gd name="connsiteX720" fmla="*/ 637650 w 12192000"/>
              <a:gd name="connsiteY720" fmla="*/ 549460 h 5588000"/>
              <a:gd name="connsiteX721" fmla="*/ 606237 w 12192000"/>
              <a:gd name="connsiteY721" fmla="*/ 534581 h 5588000"/>
              <a:gd name="connsiteX722" fmla="*/ 567190 w 12192000"/>
              <a:gd name="connsiteY722" fmla="*/ 525977 h 5588000"/>
              <a:gd name="connsiteX723" fmla="*/ 8342050 w 12192000"/>
              <a:gd name="connsiteY723" fmla="*/ 393582 h 5588000"/>
              <a:gd name="connsiteX724" fmla="*/ 8318228 w 12192000"/>
              <a:gd name="connsiteY724" fmla="*/ 395720 h 5588000"/>
              <a:gd name="connsiteX725" fmla="*/ 8296292 w 12192000"/>
              <a:gd name="connsiteY725" fmla="*/ 407935 h 5588000"/>
              <a:gd name="connsiteX726" fmla="*/ 8280059 w 12192000"/>
              <a:gd name="connsiteY726" fmla="*/ 427090 h 5588000"/>
              <a:gd name="connsiteX727" fmla="*/ 8273347 w 12192000"/>
              <a:gd name="connsiteY727" fmla="*/ 450047 h 5588000"/>
              <a:gd name="connsiteX728" fmla="*/ 8268522 w 12192000"/>
              <a:gd name="connsiteY728" fmla="*/ 483081 h 5588000"/>
              <a:gd name="connsiteX729" fmla="*/ 8274182 w 12192000"/>
              <a:gd name="connsiteY729" fmla="*/ 513311 h 5588000"/>
              <a:gd name="connsiteX730" fmla="*/ 8285546 w 12192000"/>
              <a:gd name="connsiteY730" fmla="*/ 550480 h 5588000"/>
              <a:gd name="connsiteX731" fmla="*/ 8300726 w 12192000"/>
              <a:gd name="connsiteY731" fmla="*/ 584513 h 5588000"/>
              <a:gd name="connsiteX732" fmla="*/ 8321610 w 12192000"/>
              <a:gd name="connsiteY732" fmla="*/ 625486 h 5588000"/>
              <a:gd name="connsiteX733" fmla="*/ 8350128 w 12192000"/>
              <a:gd name="connsiteY733" fmla="*/ 660184 h 5588000"/>
              <a:gd name="connsiteX734" fmla="*/ 8378645 w 12192000"/>
              <a:gd name="connsiteY734" fmla="*/ 694883 h 5588000"/>
              <a:gd name="connsiteX735" fmla="*/ 8414796 w 12192000"/>
              <a:gd name="connsiteY735" fmla="*/ 723307 h 5588000"/>
              <a:gd name="connsiteX736" fmla="*/ 8445244 w 12192000"/>
              <a:gd name="connsiteY736" fmla="*/ 744792 h 5588000"/>
              <a:gd name="connsiteX737" fmla="*/ 8479509 w 12192000"/>
              <a:gd name="connsiteY737" fmla="*/ 763140 h 5588000"/>
              <a:gd name="connsiteX738" fmla="*/ 8508070 w 12192000"/>
              <a:gd name="connsiteY738" fmla="*/ 774549 h 5588000"/>
              <a:gd name="connsiteX739" fmla="*/ 8541413 w 12192000"/>
              <a:gd name="connsiteY739" fmla="*/ 776213 h 5588000"/>
              <a:gd name="connsiteX740" fmla="*/ 8565236 w 12192000"/>
              <a:gd name="connsiteY740" fmla="*/ 774075 h 5588000"/>
              <a:gd name="connsiteX741" fmla="*/ 8587172 w 12192000"/>
              <a:gd name="connsiteY741" fmla="*/ 761860 h 5588000"/>
              <a:gd name="connsiteX742" fmla="*/ 8603404 w 12192000"/>
              <a:gd name="connsiteY742" fmla="*/ 742705 h 5588000"/>
              <a:gd name="connsiteX743" fmla="*/ 8610116 w 12192000"/>
              <a:gd name="connsiteY743" fmla="*/ 719748 h 5588000"/>
              <a:gd name="connsiteX744" fmla="*/ 8611124 w 12192000"/>
              <a:gd name="connsiteY744" fmla="*/ 689851 h 5588000"/>
              <a:gd name="connsiteX745" fmla="*/ 8609281 w 12192000"/>
              <a:gd name="connsiteY745" fmla="*/ 656484 h 5588000"/>
              <a:gd name="connsiteX746" fmla="*/ 8597918 w 12192000"/>
              <a:gd name="connsiteY746" fmla="*/ 619315 h 5588000"/>
              <a:gd name="connsiteX747" fmla="*/ 8582737 w 12192000"/>
              <a:gd name="connsiteY747" fmla="*/ 585282 h 5588000"/>
              <a:gd name="connsiteX748" fmla="*/ 8558036 w 12192000"/>
              <a:gd name="connsiteY748" fmla="*/ 547446 h 5588000"/>
              <a:gd name="connsiteX749" fmla="*/ 8533336 w 12192000"/>
              <a:gd name="connsiteY749" fmla="*/ 509611 h 5588000"/>
              <a:gd name="connsiteX750" fmla="*/ 8501001 w 12192000"/>
              <a:gd name="connsiteY750" fmla="*/ 478049 h 5588000"/>
              <a:gd name="connsiteX751" fmla="*/ 8468667 w 12192000"/>
              <a:gd name="connsiteY751" fmla="*/ 446488 h 5588000"/>
              <a:gd name="connsiteX752" fmla="*/ 8438219 w 12192000"/>
              <a:gd name="connsiteY752" fmla="*/ 425003 h 5588000"/>
              <a:gd name="connsiteX753" fmla="*/ 8403954 w 12192000"/>
              <a:gd name="connsiteY753" fmla="*/ 406655 h 5588000"/>
              <a:gd name="connsiteX754" fmla="*/ 8371577 w 12192000"/>
              <a:gd name="connsiteY754" fmla="*/ 398384 h 5588000"/>
              <a:gd name="connsiteX755" fmla="*/ 7986771 w 12192000"/>
              <a:gd name="connsiteY755" fmla="*/ 342571 h 5588000"/>
              <a:gd name="connsiteX756" fmla="*/ 7955315 w 12192000"/>
              <a:gd name="connsiteY756" fmla="*/ 350983 h 5588000"/>
              <a:gd name="connsiteX757" fmla="*/ 7920042 w 12192000"/>
              <a:gd name="connsiteY757" fmla="*/ 362532 h 5588000"/>
              <a:gd name="connsiteX758" fmla="*/ 7886655 w 12192000"/>
              <a:gd name="connsiteY758" fmla="*/ 384157 h 5588000"/>
              <a:gd name="connsiteX759" fmla="*/ 7862789 w 12192000"/>
              <a:gd name="connsiteY759" fmla="*/ 409586 h 5588000"/>
              <a:gd name="connsiteX760" fmla="*/ 7844627 w 12192000"/>
              <a:gd name="connsiteY760" fmla="*/ 441954 h 5588000"/>
              <a:gd name="connsiteX761" fmla="*/ 7830281 w 12192000"/>
              <a:gd name="connsiteY761" fmla="*/ 471185 h 5588000"/>
              <a:gd name="connsiteX762" fmla="*/ 7825456 w 12192000"/>
              <a:gd name="connsiteY762" fmla="*/ 504219 h 5588000"/>
              <a:gd name="connsiteX763" fmla="*/ 7826334 w 12192000"/>
              <a:gd name="connsiteY763" fmla="*/ 544193 h 5588000"/>
              <a:gd name="connsiteX764" fmla="*/ 7834846 w 12192000"/>
              <a:gd name="connsiteY764" fmla="*/ 577892 h 5588000"/>
              <a:gd name="connsiteX765" fmla="*/ 7847174 w 12192000"/>
              <a:gd name="connsiteY765" fmla="*/ 608455 h 5588000"/>
              <a:gd name="connsiteX766" fmla="*/ 7869023 w 12192000"/>
              <a:gd name="connsiteY766" fmla="*/ 642821 h 5588000"/>
              <a:gd name="connsiteX767" fmla="*/ 7895654 w 12192000"/>
              <a:gd name="connsiteY767" fmla="*/ 667443 h 5588000"/>
              <a:gd name="connsiteX768" fmla="*/ 7926102 w 12192000"/>
              <a:gd name="connsiteY768" fmla="*/ 688928 h 5588000"/>
              <a:gd name="connsiteX769" fmla="*/ 7957515 w 12192000"/>
              <a:gd name="connsiteY769" fmla="*/ 703806 h 5588000"/>
              <a:gd name="connsiteX770" fmla="*/ 7993710 w 12192000"/>
              <a:gd name="connsiteY770" fmla="*/ 708941 h 5588000"/>
              <a:gd name="connsiteX771" fmla="*/ 8027053 w 12192000"/>
              <a:gd name="connsiteY771" fmla="*/ 710605 h 5588000"/>
              <a:gd name="connsiteX772" fmla="*/ 8061361 w 12192000"/>
              <a:gd name="connsiteY772" fmla="*/ 705663 h 5588000"/>
              <a:gd name="connsiteX773" fmla="*/ 8093782 w 12192000"/>
              <a:gd name="connsiteY773" fmla="*/ 690644 h 5588000"/>
              <a:gd name="connsiteX774" fmla="*/ 8123352 w 12192000"/>
              <a:gd name="connsiteY774" fmla="*/ 672155 h 5588000"/>
              <a:gd name="connsiteX775" fmla="*/ 8151035 w 12192000"/>
              <a:gd name="connsiteY775" fmla="*/ 643590 h 5588000"/>
              <a:gd name="connsiteX776" fmla="*/ 8172049 w 12192000"/>
              <a:gd name="connsiteY776" fmla="*/ 614692 h 5588000"/>
              <a:gd name="connsiteX777" fmla="*/ 8183543 w 12192000"/>
              <a:gd name="connsiteY777" fmla="*/ 581991 h 5588000"/>
              <a:gd name="connsiteX778" fmla="*/ 8188368 w 12192000"/>
              <a:gd name="connsiteY778" fmla="*/ 548956 h 5588000"/>
              <a:gd name="connsiteX779" fmla="*/ 8190342 w 12192000"/>
              <a:gd name="connsiteY779" fmla="*/ 512453 h 5588000"/>
              <a:gd name="connsiteX780" fmla="*/ 8181830 w 12192000"/>
              <a:gd name="connsiteY780" fmla="*/ 478753 h 5588000"/>
              <a:gd name="connsiteX781" fmla="*/ 8166650 w 12192000"/>
              <a:gd name="connsiteY781" fmla="*/ 444720 h 5588000"/>
              <a:gd name="connsiteX782" fmla="*/ 8147652 w 12192000"/>
              <a:gd name="connsiteY782" fmla="*/ 413824 h 5588000"/>
              <a:gd name="connsiteX783" fmla="*/ 8118170 w 12192000"/>
              <a:gd name="connsiteY783" fmla="*/ 385733 h 5588000"/>
              <a:gd name="connsiteX784" fmla="*/ 8090574 w 12192000"/>
              <a:gd name="connsiteY784" fmla="*/ 367718 h 5588000"/>
              <a:gd name="connsiteX785" fmla="*/ 8059161 w 12192000"/>
              <a:gd name="connsiteY785" fmla="*/ 352839 h 5588000"/>
              <a:gd name="connsiteX786" fmla="*/ 8020114 w 12192000"/>
              <a:gd name="connsiteY786" fmla="*/ 344235 h 5588000"/>
              <a:gd name="connsiteX787" fmla="*/ 6829968 w 12192000"/>
              <a:gd name="connsiteY787" fmla="*/ 219393 h 5588000"/>
              <a:gd name="connsiteX788" fmla="*/ 6806146 w 12192000"/>
              <a:gd name="connsiteY788" fmla="*/ 221531 h 5588000"/>
              <a:gd name="connsiteX789" fmla="*/ 6784210 w 12192000"/>
              <a:gd name="connsiteY789" fmla="*/ 233746 h 5588000"/>
              <a:gd name="connsiteX790" fmla="*/ 6767977 w 12192000"/>
              <a:gd name="connsiteY790" fmla="*/ 252900 h 5588000"/>
              <a:gd name="connsiteX791" fmla="*/ 6761265 w 12192000"/>
              <a:gd name="connsiteY791" fmla="*/ 275858 h 5588000"/>
              <a:gd name="connsiteX792" fmla="*/ 6756440 w 12192000"/>
              <a:gd name="connsiteY792" fmla="*/ 308892 h 5588000"/>
              <a:gd name="connsiteX793" fmla="*/ 6762100 w 12192000"/>
              <a:gd name="connsiteY793" fmla="*/ 339122 h 5588000"/>
              <a:gd name="connsiteX794" fmla="*/ 6773464 w 12192000"/>
              <a:gd name="connsiteY794" fmla="*/ 376291 h 5588000"/>
              <a:gd name="connsiteX795" fmla="*/ 6788644 w 12192000"/>
              <a:gd name="connsiteY795" fmla="*/ 410324 h 5588000"/>
              <a:gd name="connsiteX796" fmla="*/ 6809528 w 12192000"/>
              <a:gd name="connsiteY796" fmla="*/ 451297 h 5588000"/>
              <a:gd name="connsiteX797" fmla="*/ 6838046 w 12192000"/>
              <a:gd name="connsiteY797" fmla="*/ 485995 h 5588000"/>
              <a:gd name="connsiteX798" fmla="*/ 6866563 w 12192000"/>
              <a:gd name="connsiteY798" fmla="*/ 520694 h 5588000"/>
              <a:gd name="connsiteX799" fmla="*/ 6902715 w 12192000"/>
              <a:gd name="connsiteY799" fmla="*/ 549118 h 5588000"/>
              <a:gd name="connsiteX800" fmla="*/ 6933162 w 12192000"/>
              <a:gd name="connsiteY800" fmla="*/ 570603 h 5588000"/>
              <a:gd name="connsiteX801" fmla="*/ 6967427 w 12192000"/>
              <a:gd name="connsiteY801" fmla="*/ 588951 h 5588000"/>
              <a:gd name="connsiteX802" fmla="*/ 6995988 w 12192000"/>
              <a:gd name="connsiteY802" fmla="*/ 600360 h 5588000"/>
              <a:gd name="connsiteX803" fmla="*/ 7029331 w 12192000"/>
              <a:gd name="connsiteY803" fmla="*/ 602024 h 5588000"/>
              <a:gd name="connsiteX804" fmla="*/ 7053154 w 12192000"/>
              <a:gd name="connsiteY804" fmla="*/ 599886 h 5588000"/>
              <a:gd name="connsiteX805" fmla="*/ 7075090 w 12192000"/>
              <a:gd name="connsiteY805" fmla="*/ 587671 h 5588000"/>
              <a:gd name="connsiteX806" fmla="*/ 7091322 w 12192000"/>
              <a:gd name="connsiteY806" fmla="*/ 568517 h 5588000"/>
              <a:gd name="connsiteX807" fmla="*/ 7098034 w 12192000"/>
              <a:gd name="connsiteY807" fmla="*/ 545559 h 5588000"/>
              <a:gd name="connsiteX808" fmla="*/ 7099043 w 12192000"/>
              <a:gd name="connsiteY808" fmla="*/ 515662 h 5588000"/>
              <a:gd name="connsiteX809" fmla="*/ 7097200 w 12192000"/>
              <a:gd name="connsiteY809" fmla="*/ 482295 h 5588000"/>
              <a:gd name="connsiteX810" fmla="*/ 7085836 w 12192000"/>
              <a:gd name="connsiteY810" fmla="*/ 445126 h 5588000"/>
              <a:gd name="connsiteX811" fmla="*/ 7070655 w 12192000"/>
              <a:gd name="connsiteY811" fmla="*/ 411093 h 5588000"/>
              <a:gd name="connsiteX812" fmla="*/ 7045955 w 12192000"/>
              <a:gd name="connsiteY812" fmla="*/ 373257 h 5588000"/>
              <a:gd name="connsiteX813" fmla="*/ 7021254 w 12192000"/>
              <a:gd name="connsiteY813" fmla="*/ 335422 h 5588000"/>
              <a:gd name="connsiteX814" fmla="*/ 6988919 w 12192000"/>
              <a:gd name="connsiteY814" fmla="*/ 303860 h 5588000"/>
              <a:gd name="connsiteX815" fmla="*/ 6956585 w 12192000"/>
              <a:gd name="connsiteY815" fmla="*/ 272299 h 5588000"/>
              <a:gd name="connsiteX816" fmla="*/ 6926137 w 12192000"/>
              <a:gd name="connsiteY816" fmla="*/ 250814 h 5588000"/>
              <a:gd name="connsiteX817" fmla="*/ 6891873 w 12192000"/>
              <a:gd name="connsiteY817" fmla="*/ 232466 h 5588000"/>
              <a:gd name="connsiteX818" fmla="*/ 6859495 w 12192000"/>
              <a:gd name="connsiteY818" fmla="*/ 224194 h 5588000"/>
              <a:gd name="connsiteX819" fmla="*/ 6474689 w 12192000"/>
              <a:gd name="connsiteY819" fmla="*/ 168382 h 5588000"/>
              <a:gd name="connsiteX820" fmla="*/ 6443233 w 12192000"/>
              <a:gd name="connsiteY820" fmla="*/ 176794 h 5588000"/>
              <a:gd name="connsiteX821" fmla="*/ 6407960 w 12192000"/>
              <a:gd name="connsiteY821" fmla="*/ 188343 h 5588000"/>
              <a:gd name="connsiteX822" fmla="*/ 6374573 w 12192000"/>
              <a:gd name="connsiteY822" fmla="*/ 209968 h 5588000"/>
              <a:gd name="connsiteX823" fmla="*/ 6350707 w 12192000"/>
              <a:gd name="connsiteY823" fmla="*/ 235397 h 5588000"/>
              <a:gd name="connsiteX824" fmla="*/ 6332545 w 12192000"/>
              <a:gd name="connsiteY824" fmla="*/ 267765 h 5588000"/>
              <a:gd name="connsiteX825" fmla="*/ 6318199 w 12192000"/>
              <a:gd name="connsiteY825" fmla="*/ 296996 h 5588000"/>
              <a:gd name="connsiteX826" fmla="*/ 6313374 w 12192000"/>
              <a:gd name="connsiteY826" fmla="*/ 330030 h 5588000"/>
              <a:gd name="connsiteX827" fmla="*/ 6314252 w 12192000"/>
              <a:gd name="connsiteY827" fmla="*/ 370004 h 5588000"/>
              <a:gd name="connsiteX828" fmla="*/ 6322764 w 12192000"/>
              <a:gd name="connsiteY828" fmla="*/ 403703 h 5588000"/>
              <a:gd name="connsiteX829" fmla="*/ 6335092 w 12192000"/>
              <a:gd name="connsiteY829" fmla="*/ 434266 h 5588000"/>
              <a:gd name="connsiteX830" fmla="*/ 6356941 w 12192000"/>
              <a:gd name="connsiteY830" fmla="*/ 468632 h 5588000"/>
              <a:gd name="connsiteX831" fmla="*/ 6383572 w 12192000"/>
              <a:gd name="connsiteY831" fmla="*/ 493254 h 5588000"/>
              <a:gd name="connsiteX832" fmla="*/ 6414020 w 12192000"/>
              <a:gd name="connsiteY832" fmla="*/ 514739 h 5588000"/>
              <a:gd name="connsiteX833" fmla="*/ 6445433 w 12192000"/>
              <a:gd name="connsiteY833" fmla="*/ 529617 h 5588000"/>
              <a:gd name="connsiteX834" fmla="*/ 6481628 w 12192000"/>
              <a:gd name="connsiteY834" fmla="*/ 534751 h 5588000"/>
              <a:gd name="connsiteX835" fmla="*/ 6514971 w 12192000"/>
              <a:gd name="connsiteY835" fmla="*/ 536416 h 5588000"/>
              <a:gd name="connsiteX836" fmla="*/ 6549279 w 12192000"/>
              <a:gd name="connsiteY836" fmla="*/ 531474 h 5588000"/>
              <a:gd name="connsiteX837" fmla="*/ 6581700 w 12192000"/>
              <a:gd name="connsiteY837" fmla="*/ 516455 h 5588000"/>
              <a:gd name="connsiteX838" fmla="*/ 6611270 w 12192000"/>
              <a:gd name="connsiteY838" fmla="*/ 497966 h 5588000"/>
              <a:gd name="connsiteX839" fmla="*/ 6638953 w 12192000"/>
              <a:gd name="connsiteY839" fmla="*/ 469401 h 5588000"/>
              <a:gd name="connsiteX840" fmla="*/ 6659967 w 12192000"/>
              <a:gd name="connsiteY840" fmla="*/ 440502 h 5588000"/>
              <a:gd name="connsiteX841" fmla="*/ 6671461 w 12192000"/>
              <a:gd name="connsiteY841" fmla="*/ 407801 h 5588000"/>
              <a:gd name="connsiteX842" fmla="*/ 6676286 w 12192000"/>
              <a:gd name="connsiteY842" fmla="*/ 374767 h 5588000"/>
              <a:gd name="connsiteX843" fmla="*/ 6678260 w 12192000"/>
              <a:gd name="connsiteY843" fmla="*/ 338264 h 5588000"/>
              <a:gd name="connsiteX844" fmla="*/ 6669748 w 12192000"/>
              <a:gd name="connsiteY844" fmla="*/ 304564 h 5588000"/>
              <a:gd name="connsiteX845" fmla="*/ 6654568 w 12192000"/>
              <a:gd name="connsiteY845" fmla="*/ 270531 h 5588000"/>
              <a:gd name="connsiteX846" fmla="*/ 6635570 w 12192000"/>
              <a:gd name="connsiteY846" fmla="*/ 239635 h 5588000"/>
              <a:gd name="connsiteX847" fmla="*/ 6606088 w 12192000"/>
              <a:gd name="connsiteY847" fmla="*/ 211544 h 5588000"/>
              <a:gd name="connsiteX848" fmla="*/ 6578492 w 12192000"/>
              <a:gd name="connsiteY848" fmla="*/ 193528 h 5588000"/>
              <a:gd name="connsiteX849" fmla="*/ 6547079 w 12192000"/>
              <a:gd name="connsiteY849" fmla="*/ 178650 h 5588000"/>
              <a:gd name="connsiteX850" fmla="*/ 6508032 w 12192000"/>
              <a:gd name="connsiteY850" fmla="*/ 170046 h 5588000"/>
              <a:gd name="connsiteX851" fmla="*/ 235540 w 12192000"/>
              <a:gd name="connsiteY851" fmla="*/ 0 h 5588000"/>
              <a:gd name="connsiteX852" fmla="*/ 320537 w 12192000"/>
              <a:gd name="connsiteY852" fmla="*/ 0 h 5588000"/>
              <a:gd name="connsiteX853" fmla="*/ 330957 w 12192000"/>
              <a:gd name="connsiteY853" fmla="*/ 34080 h 5588000"/>
              <a:gd name="connsiteX854" fmla="*/ 346137 w 12192000"/>
              <a:gd name="connsiteY854" fmla="*/ 68113 h 5588000"/>
              <a:gd name="connsiteX855" fmla="*/ 367021 w 12192000"/>
              <a:gd name="connsiteY855" fmla="*/ 109086 h 5588000"/>
              <a:gd name="connsiteX856" fmla="*/ 395539 w 12192000"/>
              <a:gd name="connsiteY856" fmla="*/ 143784 h 5588000"/>
              <a:gd name="connsiteX857" fmla="*/ 424056 w 12192000"/>
              <a:gd name="connsiteY857" fmla="*/ 178483 h 5588000"/>
              <a:gd name="connsiteX858" fmla="*/ 460207 w 12192000"/>
              <a:gd name="connsiteY858" fmla="*/ 206907 h 5588000"/>
              <a:gd name="connsiteX859" fmla="*/ 490655 w 12192000"/>
              <a:gd name="connsiteY859" fmla="*/ 228392 h 5588000"/>
              <a:gd name="connsiteX860" fmla="*/ 524920 w 12192000"/>
              <a:gd name="connsiteY860" fmla="*/ 246740 h 5588000"/>
              <a:gd name="connsiteX861" fmla="*/ 553481 w 12192000"/>
              <a:gd name="connsiteY861" fmla="*/ 258149 h 5588000"/>
              <a:gd name="connsiteX862" fmla="*/ 586824 w 12192000"/>
              <a:gd name="connsiteY862" fmla="*/ 259813 h 5588000"/>
              <a:gd name="connsiteX863" fmla="*/ 610647 w 12192000"/>
              <a:gd name="connsiteY863" fmla="*/ 257675 h 5588000"/>
              <a:gd name="connsiteX864" fmla="*/ 632583 w 12192000"/>
              <a:gd name="connsiteY864" fmla="*/ 245460 h 5588000"/>
              <a:gd name="connsiteX865" fmla="*/ 648815 w 12192000"/>
              <a:gd name="connsiteY865" fmla="*/ 226306 h 5588000"/>
              <a:gd name="connsiteX866" fmla="*/ 655527 w 12192000"/>
              <a:gd name="connsiteY866" fmla="*/ 203348 h 5588000"/>
              <a:gd name="connsiteX867" fmla="*/ 656536 w 12192000"/>
              <a:gd name="connsiteY867" fmla="*/ 173451 h 5588000"/>
              <a:gd name="connsiteX868" fmla="*/ 655217 w 12192000"/>
              <a:gd name="connsiteY868" fmla="*/ 149585 h 5588000"/>
              <a:gd name="connsiteX869" fmla="*/ 665063 w 12192000"/>
              <a:gd name="connsiteY869" fmla="*/ 154857 h 5588000"/>
              <a:gd name="connsiteX870" fmla="*/ 709813 w 12192000"/>
              <a:gd name="connsiteY870" fmla="*/ 170401 h 5588000"/>
              <a:gd name="connsiteX871" fmla="*/ 765049 w 12192000"/>
              <a:gd name="connsiteY871" fmla="*/ 183141 h 5588000"/>
              <a:gd name="connsiteX872" fmla="*/ 831735 w 12192000"/>
              <a:gd name="connsiteY872" fmla="*/ 186470 h 5588000"/>
              <a:gd name="connsiteX873" fmla="*/ 867929 w 12192000"/>
              <a:gd name="connsiteY873" fmla="*/ 191605 h 5588000"/>
              <a:gd name="connsiteX874" fmla="*/ 909828 w 12192000"/>
              <a:gd name="connsiteY874" fmla="*/ 203679 h 5588000"/>
              <a:gd name="connsiteX875" fmla="*/ 957430 w 12192000"/>
              <a:gd name="connsiteY875" fmla="*/ 222693 h 5588000"/>
              <a:gd name="connsiteX876" fmla="*/ 982174 w 12192000"/>
              <a:gd name="connsiteY876" fmla="*/ 237238 h 5588000"/>
              <a:gd name="connsiteX877" fmla="*/ 1005953 w 12192000"/>
              <a:gd name="connsiteY877" fmla="*/ 258390 h 5588000"/>
              <a:gd name="connsiteX878" fmla="*/ 1032584 w 12192000"/>
              <a:gd name="connsiteY878" fmla="*/ 283012 h 5588000"/>
              <a:gd name="connsiteX879" fmla="*/ 1058250 w 12192000"/>
              <a:gd name="connsiteY879" fmla="*/ 314241 h 5588000"/>
              <a:gd name="connsiteX880" fmla="*/ 1080099 w 12192000"/>
              <a:gd name="connsiteY880" fmla="*/ 348606 h 5588000"/>
              <a:gd name="connsiteX881" fmla="*/ 1094314 w 12192000"/>
              <a:gd name="connsiteY881" fmla="*/ 389246 h 5588000"/>
              <a:gd name="connsiteX882" fmla="*/ 1114233 w 12192000"/>
              <a:gd name="connsiteY882" fmla="*/ 436825 h 5588000"/>
              <a:gd name="connsiteX883" fmla="*/ 1126518 w 12192000"/>
              <a:gd name="connsiteY883" fmla="*/ 490678 h 5588000"/>
              <a:gd name="connsiteX884" fmla="*/ 1130292 w 12192000"/>
              <a:gd name="connsiteY884" fmla="*/ 510832 h 5588000"/>
              <a:gd name="connsiteX885" fmla="*/ 1137882 w 12192000"/>
              <a:gd name="connsiteY885" fmla="*/ 527848 h 5588000"/>
              <a:gd name="connsiteX886" fmla="*/ 1148324 w 12192000"/>
              <a:gd name="connsiteY886" fmla="*/ 548334 h 5588000"/>
              <a:gd name="connsiteX887" fmla="*/ 1168286 w 12192000"/>
              <a:gd name="connsiteY887" fmla="*/ 572623 h 5588000"/>
              <a:gd name="connsiteX888" fmla="*/ 1192065 w 12192000"/>
              <a:gd name="connsiteY888" fmla="*/ 593775 h 5588000"/>
              <a:gd name="connsiteX889" fmla="*/ 1225365 w 12192000"/>
              <a:gd name="connsiteY889" fmla="*/ 618730 h 5588000"/>
              <a:gd name="connsiteX890" fmla="*/ 1267263 w 12192000"/>
              <a:gd name="connsiteY890" fmla="*/ 630804 h 5588000"/>
              <a:gd name="connsiteX891" fmla="*/ 1284417 w 12192000"/>
              <a:gd name="connsiteY891" fmla="*/ 628333 h 5588000"/>
              <a:gd name="connsiteX892" fmla="*/ 1315874 w 12192000"/>
              <a:gd name="connsiteY892" fmla="*/ 619921 h 5588000"/>
              <a:gd name="connsiteX893" fmla="*/ 1336844 w 12192000"/>
              <a:gd name="connsiteY893" fmla="*/ 614313 h 5588000"/>
              <a:gd name="connsiteX894" fmla="*/ 1355929 w 12192000"/>
              <a:gd name="connsiteY894" fmla="*/ 598628 h 5588000"/>
              <a:gd name="connsiteX895" fmla="*/ 1372161 w 12192000"/>
              <a:gd name="connsiteY895" fmla="*/ 579473 h 5588000"/>
              <a:gd name="connsiteX896" fmla="*/ 1385542 w 12192000"/>
              <a:gd name="connsiteY896" fmla="*/ 556849 h 5588000"/>
              <a:gd name="connsiteX897" fmla="*/ 1398922 w 12192000"/>
              <a:gd name="connsiteY897" fmla="*/ 534225 h 5588000"/>
              <a:gd name="connsiteX898" fmla="*/ 1418007 w 12192000"/>
              <a:gd name="connsiteY898" fmla="*/ 518540 h 5588000"/>
              <a:gd name="connsiteX899" fmla="*/ 1437091 w 12192000"/>
              <a:gd name="connsiteY899" fmla="*/ 502855 h 5588000"/>
              <a:gd name="connsiteX900" fmla="*/ 1472364 w 12192000"/>
              <a:gd name="connsiteY900" fmla="*/ 491306 h 5588000"/>
              <a:gd name="connsiteX901" fmla="*/ 1489518 w 12192000"/>
              <a:gd name="connsiteY901" fmla="*/ 488835 h 5588000"/>
              <a:gd name="connsiteX902" fmla="*/ 1509524 w 12192000"/>
              <a:gd name="connsiteY902" fmla="*/ 489834 h 5588000"/>
              <a:gd name="connsiteX903" fmla="*/ 1532381 w 12192000"/>
              <a:gd name="connsiteY903" fmla="*/ 494302 h 5588000"/>
              <a:gd name="connsiteX904" fmla="*/ 1555239 w 12192000"/>
              <a:gd name="connsiteY904" fmla="*/ 498771 h 5588000"/>
              <a:gd name="connsiteX905" fmla="*/ 1579983 w 12192000"/>
              <a:gd name="connsiteY905" fmla="*/ 513316 h 5588000"/>
              <a:gd name="connsiteX906" fmla="*/ 1611396 w 12192000"/>
              <a:gd name="connsiteY906" fmla="*/ 528195 h 5588000"/>
              <a:gd name="connsiteX907" fmla="*/ 1629472 w 12192000"/>
              <a:gd name="connsiteY907" fmla="*/ 542407 h 5588000"/>
              <a:gd name="connsiteX908" fmla="*/ 1658033 w 12192000"/>
              <a:gd name="connsiteY908" fmla="*/ 553815 h 5588000"/>
              <a:gd name="connsiteX909" fmla="*/ 1693262 w 12192000"/>
              <a:gd name="connsiteY909" fmla="*/ 565557 h 5588000"/>
              <a:gd name="connsiteX910" fmla="*/ 1737091 w 12192000"/>
              <a:gd name="connsiteY910" fmla="*/ 564417 h 5588000"/>
              <a:gd name="connsiteX911" fmla="*/ 1784736 w 12192000"/>
              <a:gd name="connsiteY911" fmla="*/ 560141 h 5588000"/>
              <a:gd name="connsiteX912" fmla="*/ 1812376 w 12192000"/>
              <a:gd name="connsiteY912" fmla="*/ 554865 h 5588000"/>
              <a:gd name="connsiteX913" fmla="*/ 1840980 w 12192000"/>
              <a:gd name="connsiteY913" fmla="*/ 542984 h 5588000"/>
              <a:gd name="connsiteX914" fmla="*/ 1869585 w 12192000"/>
              <a:gd name="connsiteY914" fmla="*/ 531102 h 5588000"/>
              <a:gd name="connsiteX915" fmla="*/ 1902971 w 12192000"/>
              <a:gd name="connsiteY915" fmla="*/ 509476 h 5588000"/>
              <a:gd name="connsiteX916" fmla="*/ 1918239 w 12192000"/>
              <a:gd name="connsiteY916" fmla="*/ 496928 h 5588000"/>
              <a:gd name="connsiteX917" fmla="*/ 1940174 w 12192000"/>
              <a:gd name="connsiteY917" fmla="*/ 484713 h 5588000"/>
              <a:gd name="connsiteX918" fmla="*/ 1971631 w 12192000"/>
              <a:gd name="connsiteY918" fmla="*/ 476301 h 5588000"/>
              <a:gd name="connsiteX919" fmla="*/ 2009756 w 12192000"/>
              <a:gd name="connsiteY919" fmla="*/ 468222 h 5588000"/>
              <a:gd name="connsiteX920" fmla="*/ 2046916 w 12192000"/>
              <a:gd name="connsiteY920" fmla="*/ 466750 h 5588000"/>
              <a:gd name="connsiteX921" fmla="*/ 2092631 w 12192000"/>
              <a:gd name="connsiteY921" fmla="*/ 475687 h 5588000"/>
              <a:gd name="connsiteX922" fmla="*/ 2111672 w 12192000"/>
              <a:gd name="connsiteY922" fmla="*/ 483293 h 5588000"/>
              <a:gd name="connsiteX923" fmla="*/ 2136416 w 12192000"/>
              <a:gd name="connsiteY923" fmla="*/ 497838 h 5588000"/>
              <a:gd name="connsiteX924" fmla="*/ 2158308 w 12192000"/>
              <a:gd name="connsiteY924" fmla="*/ 508913 h 5588000"/>
              <a:gd name="connsiteX925" fmla="*/ 2184018 w 12192000"/>
              <a:gd name="connsiteY925" fmla="*/ 516852 h 5588000"/>
              <a:gd name="connsiteX926" fmla="*/ 2213544 w 12192000"/>
              <a:gd name="connsiteY926" fmla="*/ 521653 h 5588000"/>
              <a:gd name="connsiteX927" fmla="*/ 2244035 w 12192000"/>
              <a:gd name="connsiteY927" fmla="*/ 519848 h 5588000"/>
              <a:gd name="connsiteX928" fmla="*/ 2261189 w 12192000"/>
              <a:gd name="connsiteY928" fmla="*/ 517377 h 5588000"/>
              <a:gd name="connsiteX929" fmla="*/ 2275491 w 12192000"/>
              <a:gd name="connsiteY929" fmla="*/ 511436 h 5588000"/>
              <a:gd name="connsiteX930" fmla="*/ 2286942 w 12192000"/>
              <a:gd name="connsiteY930" fmla="*/ 502025 h 5588000"/>
              <a:gd name="connsiteX931" fmla="*/ 2295541 w 12192000"/>
              <a:gd name="connsiteY931" fmla="*/ 489144 h 5588000"/>
              <a:gd name="connsiteX932" fmla="*/ 2305104 w 12192000"/>
              <a:gd name="connsiteY932" fmla="*/ 469657 h 5588000"/>
              <a:gd name="connsiteX933" fmla="*/ 2310852 w 12192000"/>
              <a:gd name="connsiteY933" fmla="*/ 453306 h 5588000"/>
              <a:gd name="connsiteX934" fmla="*/ 2317564 w 12192000"/>
              <a:gd name="connsiteY934" fmla="*/ 430349 h 5588000"/>
              <a:gd name="connsiteX935" fmla="*/ 2317607 w 12192000"/>
              <a:gd name="connsiteY935" fmla="*/ 407059 h 5588000"/>
              <a:gd name="connsiteX936" fmla="*/ 2318616 w 12192000"/>
              <a:gd name="connsiteY936" fmla="*/ 377162 h 5588000"/>
              <a:gd name="connsiteX937" fmla="*/ 2310104 w 12192000"/>
              <a:gd name="connsiteY937" fmla="*/ 343462 h 5588000"/>
              <a:gd name="connsiteX938" fmla="*/ 2298740 w 12192000"/>
              <a:gd name="connsiteY938" fmla="*/ 306292 h 5588000"/>
              <a:gd name="connsiteX939" fmla="*/ 2275005 w 12192000"/>
              <a:gd name="connsiteY939" fmla="*/ 261850 h 5588000"/>
              <a:gd name="connsiteX940" fmla="*/ 2244600 w 12192000"/>
              <a:gd name="connsiteY940" fmla="*/ 217075 h 5588000"/>
              <a:gd name="connsiteX941" fmla="*/ 2227490 w 12192000"/>
              <a:gd name="connsiteY941" fmla="*/ 196256 h 5588000"/>
              <a:gd name="connsiteX942" fmla="*/ 2210379 w 12192000"/>
              <a:gd name="connsiteY942" fmla="*/ 175437 h 5588000"/>
              <a:gd name="connsiteX943" fmla="*/ 2200902 w 12192000"/>
              <a:gd name="connsiteY943" fmla="*/ 148344 h 5588000"/>
              <a:gd name="connsiteX944" fmla="*/ 2192390 w 12192000"/>
              <a:gd name="connsiteY944" fmla="*/ 114644 h 5588000"/>
              <a:gd name="connsiteX945" fmla="*/ 2195286 w 12192000"/>
              <a:gd name="connsiteY945" fmla="*/ 94824 h 5588000"/>
              <a:gd name="connsiteX946" fmla="*/ 2198181 w 12192000"/>
              <a:gd name="connsiteY946" fmla="*/ 75003 h 5588000"/>
              <a:gd name="connsiteX947" fmla="*/ 2201076 w 12192000"/>
              <a:gd name="connsiteY947" fmla="*/ 55183 h 5588000"/>
              <a:gd name="connsiteX948" fmla="*/ 2210640 w 12192000"/>
              <a:gd name="connsiteY948" fmla="*/ 35695 h 5588000"/>
              <a:gd name="connsiteX949" fmla="*/ 2226872 w 12192000"/>
              <a:gd name="connsiteY949" fmla="*/ 16541 h 5588000"/>
              <a:gd name="connsiteX950" fmla="*/ 2240889 w 12192000"/>
              <a:gd name="connsiteY950" fmla="*/ 0 h 5588000"/>
              <a:gd name="connsiteX951" fmla="*/ 2494550 w 12192000"/>
              <a:gd name="connsiteY951" fmla="*/ 0 h 5588000"/>
              <a:gd name="connsiteX952" fmla="*/ 2454570 w 12192000"/>
              <a:gd name="connsiteY952" fmla="*/ 21253 h 5588000"/>
              <a:gd name="connsiteX953" fmla="*/ 2417366 w 12192000"/>
              <a:gd name="connsiteY953" fmla="*/ 46016 h 5588000"/>
              <a:gd name="connsiteX954" fmla="*/ 2386831 w 12192000"/>
              <a:gd name="connsiteY954" fmla="*/ 71111 h 5588000"/>
              <a:gd name="connsiteX955" fmla="*/ 2359149 w 12192000"/>
              <a:gd name="connsiteY955" fmla="*/ 99677 h 5588000"/>
              <a:gd name="connsiteX956" fmla="*/ 2341951 w 12192000"/>
              <a:gd name="connsiteY956" fmla="*/ 125438 h 5588000"/>
              <a:gd name="connsiteX957" fmla="*/ 2331422 w 12192000"/>
              <a:gd name="connsiteY957" fmla="*/ 151532 h 5588000"/>
              <a:gd name="connsiteX958" fmla="*/ 2327562 w 12192000"/>
              <a:gd name="connsiteY958" fmla="*/ 177959 h 5588000"/>
              <a:gd name="connsiteX959" fmla="*/ 2334187 w 12192000"/>
              <a:gd name="connsiteY959" fmla="*/ 201582 h 5588000"/>
              <a:gd name="connsiteX960" fmla="*/ 2352263 w 12192000"/>
              <a:gd name="connsiteY960" fmla="*/ 215795 h 5588000"/>
              <a:gd name="connsiteX961" fmla="*/ 2377007 w 12192000"/>
              <a:gd name="connsiteY961" fmla="*/ 230340 h 5588000"/>
              <a:gd name="connsiteX962" fmla="*/ 2409385 w 12192000"/>
              <a:gd name="connsiteY962" fmla="*/ 238611 h 5588000"/>
              <a:gd name="connsiteX963" fmla="*/ 2442728 w 12192000"/>
              <a:gd name="connsiteY963" fmla="*/ 240276 h 5588000"/>
              <a:gd name="connsiteX964" fmla="*/ 2482740 w 12192000"/>
              <a:gd name="connsiteY964" fmla="*/ 242274 h 5588000"/>
              <a:gd name="connsiteX965" fmla="*/ 2527533 w 12192000"/>
              <a:gd name="connsiteY965" fmla="*/ 234527 h 5588000"/>
              <a:gd name="connsiteX966" fmla="*/ 2573292 w 12192000"/>
              <a:gd name="connsiteY966" fmla="*/ 220174 h 5588000"/>
              <a:gd name="connsiteX967" fmla="*/ 2643838 w 12192000"/>
              <a:gd name="connsiteY967" fmla="*/ 197076 h 5588000"/>
              <a:gd name="connsiteX968" fmla="*/ 2702012 w 12192000"/>
              <a:gd name="connsiteY968" fmla="*/ 166706 h 5588000"/>
              <a:gd name="connsiteX969" fmla="*/ 2743032 w 12192000"/>
              <a:gd name="connsiteY969" fmla="*/ 138806 h 5588000"/>
              <a:gd name="connsiteX970" fmla="*/ 2777384 w 12192000"/>
              <a:gd name="connsiteY970" fmla="*/ 110574 h 5588000"/>
              <a:gd name="connsiteX971" fmla="*/ 2797433 w 12192000"/>
              <a:gd name="connsiteY971" fmla="*/ 88282 h 5588000"/>
              <a:gd name="connsiteX972" fmla="*/ 2810814 w 12192000"/>
              <a:gd name="connsiteY972" fmla="*/ 65658 h 5588000"/>
              <a:gd name="connsiteX973" fmla="*/ 2816561 w 12192000"/>
              <a:gd name="connsiteY973" fmla="*/ 49307 h 5588000"/>
              <a:gd name="connsiteX974" fmla="*/ 2827090 w 12192000"/>
              <a:gd name="connsiteY974" fmla="*/ 23213 h 5588000"/>
              <a:gd name="connsiteX975" fmla="*/ 2836456 w 12192000"/>
              <a:gd name="connsiteY975" fmla="*/ 0 h 5588000"/>
              <a:gd name="connsiteX976" fmla="*/ 3708691 w 12192000"/>
              <a:gd name="connsiteY976" fmla="*/ 0 h 5588000"/>
              <a:gd name="connsiteX977" fmla="*/ 3708555 w 12192000"/>
              <a:gd name="connsiteY977" fmla="*/ 2517 h 5588000"/>
              <a:gd name="connsiteX978" fmla="*/ 3719919 w 12192000"/>
              <a:gd name="connsiteY978" fmla="*/ 39686 h 5588000"/>
              <a:gd name="connsiteX979" fmla="*/ 3740802 w 12192000"/>
              <a:gd name="connsiteY979" fmla="*/ 80659 h 5588000"/>
              <a:gd name="connsiteX980" fmla="*/ 3752210 w 12192000"/>
              <a:gd name="connsiteY980" fmla="*/ 94538 h 5588000"/>
              <a:gd name="connsiteX981" fmla="*/ 3769320 w 12192000"/>
              <a:gd name="connsiteY981" fmla="*/ 115357 h 5588000"/>
              <a:gd name="connsiteX982" fmla="*/ 3793100 w 12192000"/>
              <a:gd name="connsiteY982" fmla="*/ 136509 h 5588000"/>
              <a:gd name="connsiteX983" fmla="*/ 3827364 w 12192000"/>
              <a:gd name="connsiteY983" fmla="*/ 154857 h 5588000"/>
              <a:gd name="connsiteX984" fmla="*/ 3872114 w 12192000"/>
              <a:gd name="connsiteY984" fmla="*/ 170401 h 5588000"/>
              <a:gd name="connsiteX985" fmla="*/ 3927350 w 12192000"/>
              <a:gd name="connsiteY985" fmla="*/ 183141 h 5588000"/>
              <a:gd name="connsiteX986" fmla="*/ 3994036 w 12192000"/>
              <a:gd name="connsiteY986" fmla="*/ 186470 h 5588000"/>
              <a:gd name="connsiteX987" fmla="*/ 4030231 w 12192000"/>
              <a:gd name="connsiteY987" fmla="*/ 191605 h 5588000"/>
              <a:gd name="connsiteX988" fmla="*/ 4072129 w 12192000"/>
              <a:gd name="connsiteY988" fmla="*/ 203679 h 5588000"/>
              <a:gd name="connsiteX989" fmla="*/ 4119731 w 12192000"/>
              <a:gd name="connsiteY989" fmla="*/ 222693 h 5588000"/>
              <a:gd name="connsiteX990" fmla="*/ 4144475 w 12192000"/>
              <a:gd name="connsiteY990" fmla="*/ 237238 h 5588000"/>
              <a:gd name="connsiteX991" fmla="*/ 4168254 w 12192000"/>
              <a:gd name="connsiteY991" fmla="*/ 258390 h 5588000"/>
              <a:gd name="connsiteX992" fmla="*/ 4194885 w 12192000"/>
              <a:gd name="connsiteY992" fmla="*/ 283012 h 5588000"/>
              <a:gd name="connsiteX993" fmla="*/ 4220552 w 12192000"/>
              <a:gd name="connsiteY993" fmla="*/ 314241 h 5588000"/>
              <a:gd name="connsiteX994" fmla="*/ 4242401 w 12192000"/>
              <a:gd name="connsiteY994" fmla="*/ 348606 h 5588000"/>
              <a:gd name="connsiteX995" fmla="*/ 4256615 w 12192000"/>
              <a:gd name="connsiteY995" fmla="*/ 389246 h 5588000"/>
              <a:gd name="connsiteX996" fmla="*/ 4276534 w 12192000"/>
              <a:gd name="connsiteY996" fmla="*/ 436825 h 5588000"/>
              <a:gd name="connsiteX997" fmla="*/ 4288819 w 12192000"/>
              <a:gd name="connsiteY997" fmla="*/ 490678 h 5588000"/>
              <a:gd name="connsiteX998" fmla="*/ 4292593 w 12192000"/>
              <a:gd name="connsiteY998" fmla="*/ 510832 h 5588000"/>
              <a:gd name="connsiteX999" fmla="*/ 4300183 w 12192000"/>
              <a:gd name="connsiteY999" fmla="*/ 527848 h 5588000"/>
              <a:gd name="connsiteX1000" fmla="*/ 4310625 w 12192000"/>
              <a:gd name="connsiteY1000" fmla="*/ 548334 h 5588000"/>
              <a:gd name="connsiteX1001" fmla="*/ 4330587 w 12192000"/>
              <a:gd name="connsiteY1001" fmla="*/ 572623 h 5588000"/>
              <a:gd name="connsiteX1002" fmla="*/ 4354366 w 12192000"/>
              <a:gd name="connsiteY1002" fmla="*/ 593775 h 5588000"/>
              <a:gd name="connsiteX1003" fmla="*/ 4387666 w 12192000"/>
              <a:gd name="connsiteY1003" fmla="*/ 618730 h 5588000"/>
              <a:gd name="connsiteX1004" fmla="*/ 4429564 w 12192000"/>
              <a:gd name="connsiteY1004" fmla="*/ 630804 h 5588000"/>
              <a:gd name="connsiteX1005" fmla="*/ 4446718 w 12192000"/>
              <a:gd name="connsiteY1005" fmla="*/ 628333 h 5588000"/>
              <a:gd name="connsiteX1006" fmla="*/ 4478176 w 12192000"/>
              <a:gd name="connsiteY1006" fmla="*/ 619921 h 5588000"/>
              <a:gd name="connsiteX1007" fmla="*/ 4499146 w 12192000"/>
              <a:gd name="connsiteY1007" fmla="*/ 614313 h 5588000"/>
              <a:gd name="connsiteX1008" fmla="*/ 4518231 w 12192000"/>
              <a:gd name="connsiteY1008" fmla="*/ 598628 h 5588000"/>
              <a:gd name="connsiteX1009" fmla="*/ 4534462 w 12192000"/>
              <a:gd name="connsiteY1009" fmla="*/ 579473 h 5588000"/>
              <a:gd name="connsiteX1010" fmla="*/ 4547843 w 12192000"/>
              <a:gd name="connsiteY1010" fmla="*/ 556849 h 5588000"/>
              <a:gd name="connsiteX1011" fmla="*/ 4561224 w 12192000"/>
              <a:gd name="connsiteY1011" fmla="*/ 534225 h 5588000"/>
              <a:gd name="connsiteX1012" fmla="*/ 4580308 w 12192000"/>
              <a:gd name="connsiteY1012" fmla="*/ 518540 h 5588000"/>
              <a:gd name="connsiteX1013" fmla="*/ 4599392 w 12192000"/>
              <a:gd name="connsiteY1013" fmla="*/ 502855 h 5588000"/>
              <a:gd name="connsiteX1014" fmla="*/ 4634665 w 12192000"/>
              <a:gd name="connsiteY1014" fmla="*/ 491306 h 5588000"/>
              <a:gd name="connsiteX1015" fmla="*/ 4651820 w 12192000"/>
              <a:gd name="connsiteY1015" fmla="*/ 488835 h 5588000"/>
              <a:gd name="connsiteX1016" fmla="*/ 4671826 w 12192000"/>
              <a:gd name="connsiteY1016" fmla="*/ 489834 h 5588000"/>
              <a:gd name="connsiteX1017" fmla="*/ 4694683 w 12192000"/>
              <a:gd name="connsiteY1017" fmla="*/ 494302 h 5588000"/>
              <a:gd name="connsiteX1018" fmla="*/ 4717542 w 12192000"/>
              <a:gd name="connsiteY1018" fmla="*/ 498771 h 5588000"/>
              <a:gd name="connsiteX1019" fmla="*/ 4742284 w 12192000"/>
              <a:gd name="connsiteY1019" fmla="*/ 513316 h 5588000"/>
              <a:gd name="connsiteX1020" fmla="*/ 4773697 w 12192000"/>
              <a:gd name="connsiteY1020" fmla="*/ 528195 h 5588000"/>
              <a:gd name="connsiteX1021" fmla="*/ 4791773 w 12192000"/>
              <a:gd name="connsiteY1021" fmla="*/ 542407 h 5588000"/>
              <a:gd name="connsiteX1022" fmla="*/ 4820335 w 12192000"/>
              <a:gd name="connsiteY1022" fmla="*/ 553815 h 5588000"/>
              <a:gd name="connsiteX1023" fmla="*/ 4855563 w 12192000"/>
              <a:gd name="connsiteY1023" fmla="*/ 565557 h 5588000"/>
              <a:gd name="connsiteX1024" fmla="*/ 4899393 w 12192000"/>
              <a:gd name="connsiteY1024" fmla="*/ 564417 h 5588000"/>
              <a:gd name="connsiteX1025" fmla="*/ 4947037 w 12192000"/>
              <a:gd name="connsiteY1025" fmla="*/ 560141 h 5588000"/>
              <a:gd name="connsiteX1026" fmla="*/ 4974677 w 12192000"/>
              <a:gd name="connsiteY1026" fmla="*/ 554865 h 5588000"/>
              <a:gd name="connsiteX1027" fmla="*/ 5003282 w 12192000"/>
              <a:gd name="connsiteY1027" fmla="*/ 542984 h 5588000"/>
              <a:gd name="connsiteX1028" fmla="*/ 5031888 w 12192000"/>
              <a:gd name="connsiteY1028" fmla="*/ 531102 h 5588000"/>
              <a:gd name="connsiteX1029" fmla="*/ 5065272 w 12192000"/>
              <a:gd name="connsiteY1029" fmla="*/ 509476 h 5588000"/>
              <a:gd name="connsiteX1030" fmla="*/ 5080540 w 12192000"/>
              <a:gd name="connsiteY1030" fmla="*/ 496928 h 5588000"/>
              <a:gd name="connsiteX1031" fmla="*/ 5102476 w 12192000"/>
              <a:gd name="connsiteY1031" fmla="*/ 484713 h 5588000"/>
              <a:gd name="connsiteX1032" fmla="*/ 5133933 w 12192000"/>
              <a:gd name="connsiteY1032" fmla="*/ 476301 h 5588000"/>
              <a:gd name="connsiteX1033" fmla="*/ 5172058 w 12192000"/>
              <a:gd name="connsiteY1033" fmla="*/ 468222 h 5588000"/>
              <a:gd name="connsiteX1034" fmla="*/ 5209218 w 12192000"/>
              <a:gd name="connsiteY1034" fmla="*/ 466750 h 5588000"/>
              <a:gd name="connsiteX1035" fmla="*/ 5254933 w 12192000"/>
              <a:gd name="connsiteY1035" fmla="*/ 475687 h 5588000"/>
              <a:gd name="connsiteX1036" fmla="*/ 5273974 w 12192000"/>
              <a:gd name="connsiteY1036" fmla="*/ 483293 h 5588000"/>
              <a:gd name="connsiteX1037" fmla="*/ 5298720 w 12192000"/>
              <a:gd name="connsiteY1037" fmla="*/ 497838 h 5588000"/>
              <a:gd name="connsiteX1038" fmla="*/ 5320609 w 12192000"/>
              <a:gd name="connsiteY1038" fmla="*/ 508913 h 5588000"/>
              <a:gd name="connsiteX1039" fmla="*/ 5346319 w 12192000"/>
              <a:gd name="connsiteY1039" fmla="*/ 516852 h 5588000"/>
              <a:gd name="connsiteX1040" fmla="*/ 5375845 w 12192000"/>
              <a:gd name="connsiteY1040" fmla="*/ 521653 h 5588000"/>
              <a:gd name="connsiteX1041" fmla="*/ 5406336 w 12192000"/>
              <a:gd name="connsiteY1041" fmla="*/ 519848 h 5588000"/>
              <a:gd name="connsiteX1042" fmla="*/ 5423490 w 12192000"/>
              <a:gd name="connsiteY1042" fmla="*/ 517377 h 5588000"/>
              <a:gd name="connsiteX1043" fmla="*/ 5437794 w 12192000"/>
              <a:gd name="connsiteY1043" fmla="*/ 511436 h 5588000"/>
              <a:gd name="connsiteX1044" fmla="*/ 5449244 w 12192000"/>
              <a:gd name="connsiteY1044" fmla="*/ 502025 h 5588000"/>
              <a:gd name="connsiteX1045" fmla="*/ 5457842 w 12192000"/>
              <a:gd name="connsiteY1045" fmla="*/ 489144 h 5588000"/>
              <a:gd name="connsiteX1046" fmla="*/ 5467406 w 12192000"/>
              <a:gd name="connsiteY1046" fmla="*/ 469657 h 5588000"/>
              <a:gd name="connsiteX1047" fmla="*/ 5473153 w 12192000"/>
              <a:gd name="connsiteY1047" fmla="*/ 453306 h 5588000"/>
              <a:gd name="connsiteX1048" fmla="*/ 5479864 w 12192000"/>
              <a:gd name="connsiteY1048" fmla="*/ 430349 h 5588000"/>
              <a:gd name="connsiteX1049" fmla="*/ 5479908 w 12192000"/>
              <a:gd name="connsiteY1049" fmla="*/ 407059 h 5588000"/>
              <a:gd name="connsiteX1050" fmla="*/ 5480918 w 12192000"/>
              <a:gd name="connsiteY1050" fmla="*/ 377162 h 5588000"/>
              <a:gd name="connsiteX1051" fmla="*/ 5472407 w 12192000"/>
              <a:gd name="connsiteY1051" fmla="*/ 343462 h 5588000"/>
              <a:gd name="connsiteX1052" fmla="*/ 5461042 w 12192000"/>
              <a:gd name="connsiteY1052" fmla="*/ 306292 h 5588000"/>
              <a:gd name="connsiteX1053" fmla="*/ 5437305 w 12192000"/>
              <a:gd name="connsiteY1053" fmla="*/ 261850 h 5588000"/>
              <a:gd name="connsiteX1054" fmla="*/ 5406904 w 12192000"/>
              <a:gd name="connsiteY1054" fmla="*/ 217075 h 5588000"/>
              <a:gd name="connsiteX1055" fmla="*/ 5389790 w 12192000"/>
              <a:gd name="connsiteY1055" fmla="*/ 196256 h 5588000"/>
              <a:gd name="connsiteX1056" fmla="*/ 5372681 w 12192000"/>
              <a:gd name="connsiteY1056" fmla="*/ 175437 h 5588000"/>
              <a:gd name="connsiteX1057" fmla="*/ 5363203 w 12192000"/>
              <a:gd name="connsiteY1057" fmla="*/ 148344 h 5588000"/>
              <a:gd name="connsiteX1058" fmla="*/ 5354691 w 12192000"/>
              <a:gd name="connsiteY1058" fmla="*/ 114644 h 5588000"/>
              <a:gd name="connsiteX1059" fmla="*/ 5357586 w 12192000"/>
              <a:gd name="connsiteY1059" fmla="*/ 94824 h 5588000"/>
              <a:gd name="connsiteX1060" fmla="*/ 5360482 w 12192000"/>
              <a:gd name="connsiteY1060" fmla="*/ 75003 h 5588000"/>
              <a:gd name="connsiteX1061" fmla="*/ 5363377 w 12192000"/>
              <a:gd name="connsiteY1061" fmla="*/ 55183 h 5588000"/>
              <a:gd name="connsiteX1062" fmla="*/ 5372941 w 12192000"/>
              <a:gd name="connsiteY1062" fmla="*/ 35695 h 5588000"/>
              <a:gd name="connsiteX1063" fmla="*/ 5389173 w 12192000"/>
              <a:gd name="connsiteY1063" fmla="*/ 16541 h 5588000"/>
              <a:gd name="connsiteX1064" fmla="*/ 5403194 w 12192000"/>
              <a:gd name="connsiteY1064" fmla="*/ 0 h 5588000"/>
              <a:gd name="connsiteX1065" fmla="*/ 5656851 w 12192000"/>
              <a:gd name="connsiteY1065" fmla="*/ 0 h 5588000"/>
              <a:gd name="connsiteX1066" fmla="*/ 5616871 w 12192000"/>
              <a:gd name="connsiteY1066" fmla="*/ 21253 h 5588000"/>
              <a:gd name="connsiteX1067" fmla="*/ 5579667 w 12192000"/>
              <a:gd name="connsiteY1067" fmla="*/ 46016 h 5588000"/>
              <a:gd name="connsiteX1068" fmla="*/ 5549133 w 12192000"/>
              <a:gd name="connsiteY1068" fmla="*/ 71111 h 5588000"/>
              <a:gd name="connsiteX1069" fmla="*/ 5521450 w 12192000"/>
              <a:gd name="connsiteY1069" fmla="*/ 99677 h 5588000"/>
              <a:gd name="connsiteX1070" fmla="*/ 5504252 w 12192000"/>
              <a:gd name="connsiteY1070" fmla="*/ 125438 h 5588000"/>
              <a:gd name="connsiteX1071" fmla="*/ 5493723 w 12192000"/>
              <a:gd name="connsiteY1071" fmla="*/ 151532 h 5588000"/>
              <a:gd name="connsiteX1072" fmla="*/ 5489863 w 12192000"/>
              <a:gd name="connsiteY1072" fmla="*/ 177959 h 5588000"/>
              <a:gd name="connsiteX1073" fmla="*/ 5496489 w 12192000"/>
              <a:gd name="connsiteY1073" fmla="*/ 201582 h 5588000"/>
              <a:gd name="connsiteX1074" fmla="*/ 5514564 w 12192000"/>
              <a:gd name="connsiteY1074" fmla="*/ 215795 h 5588000"/>
              <a:gd name="connsiteX1075" fmla="*/ 5539309 w 12192000"/>
              <a:gd name="connsiteY1075" fmla="*/ 230340 h 5588000"/>
              <a:gd name="connsiteX1076" fmla="*/ 5571689 w 12192000"/>
              <a:gd name="connsiteY1076" fmla="*/ 238611 h 5588000"/>
              <a:gd name="connsiteX1077" fmla="*/ 5605029 w 12192000"/>
              <a:gd name="connsiteY1077" fmla="*/ 240276 h 5588000"/>
              <a:gd name="connsiteX1078" fmla="*/ 5645041 w 12192000"/>
              <a:gd name="connsiteY1078" fmla="*/ 242274 h 5588000"/>
              <a:gd name="connsiteX1079" fmla="*/ 5689834 w 12192000"/>
              <a:gd name="connsiteY1079" fmla="*/ 234527 h 5588000"/>
              <a:gd name="connsiteX1080" fmla="*/ 5735595 w 12192000"/>
              <a:gd name="connsiteY1080" fmla="*/ 220174 h 5588000"/>
              <a:gd name="connsiteX1081" fmla="*/ 5806140 w 12192000"/>
              <a:gd name="connsiteY1081" fmla="*/ 197076 h 5588000"/>
              <a:gd name="connsiteX1082" fmla="*/ 5864313 w 12192000"/>
              <a:gd name="connsiteY1082" fmla="*/ 166706 h 5588000"/>
              <a:gd name="connsiteX1083" fmla="*/ 5905333 w 12192000"/>
              <a:gd name="connsiteY1083" fmla="*/ 138806 h 5588000"/>
              <a:gd name="connsiteX1084" fmla="*/ 5939685 w 12192000"/>
              <a:gd name="connsiteY1084" fmla="*/ 110574 h 5588000"/>
              <a:gd name="connsiteX1085" fmla="*/ 5959734 w 12192000"/>
              <a:gd name="connsiteY1085" fmla="*/ 88282 h 5588000"/>
              <a:gd name="connsiteX1086" fmla="*/ 5973115 w 12192000"/>
              <a:gd name="connsiteY1086" fmla="*/ 65658 h 5588000"/>
              <a:gd name="connsiteX1087" fmla="*/ 5978862 w 12192000"/>
              <a:gd name="connsiteY1087" fmla="*/ 49307 h 5588000"/>
              <a:gd name="connsiteX1088" fmla="*/ 5989391 w 12192000"/>
              <a:gd name="connsiteY1088" fmla="*/ 23213 h 5588000"/>
              <a:gd name="connsiteX1089" fmla="*/ 5998757 w 12192000"/>
              <a:gd name="connsiteY1089" fmla="*/ 0 h 5588000"/>
              <a:gd name="connsiteX1090" fmla="*/ 7023503 w 12192000"/>
              <a:gd name="connsiteY1090" fmla="*/ 0 h 5588000"/>
              <a:gd name="connsiteX1091" fmla="*/ 7035156 w 12192000"/>
              <a:gd name="connsiteY1091" fmla="*/ 33315 h 5588000"/>
              <a:gd name="connsiteX1092" fmla="*/ 7055075 w 12192000"/>
              <a:gd name="connsiteY1092" fmla="*/ 80894 h 5588000"/>
              <a:gd name="connsiteX1093" fmla="*/ 7067360 w 12192000"/>
              <a:gd name="connsiteY1093" fmla="*/ 134747 h 5588000"/>
              <a:gd name="connsiteX1094" fmla="*/ 7071134 w 12192000"/>
              <a:gd name="connsiteY1094" fmla="*/ 154900 h 5588000"/>
              <a:gd name="connsiteX1095" fmla="*/ 7078724 w 12192000"/>
              <a:gd name="connsiteY1095" fmla="*/ 171917 h 5588000"/>
              <a:gd name="connsiteX1096" fmla="*/ 7089166 w 12192000"/>
              <a:gd name="connsiteY1096" fmla="*/ 192403 h 5588000"/>
              <a:gd name="connsiteX1097" fmla="*/ 7109128 w 12192000"/>
              <a:gd name="connsiteY1097" fmla="*/ 216692 h 5588000"/>
              <a:gd name="connsiteX1098" fmla="*/ 7132907 w 12192000"/>
              <a:gd name="connsiteY1098" fmla="*/ 237844 h 5588000"/>
              <a:gd name="connsiteX1099" fmla="*/ 7166207 w 12192000"/>
              <a:gd name="connsiteY1099" fmla="*/ 262799 h 5588000"/>
              <a:gd name="connsiteX1100" fmla="*/ 7208105 w 12192000"/>
              <a:gd name="connsiteY1100" fmla="*/ 274873 h 5588000"/>
              <a:gd name="connsiteX1101" fmla="*/ 7225259 w 12192000"/>
              <a:gd name="connsiteY1101" fmla="*/ 272402 h 5588000"/>
              <a:gd name="connsiteX1102" fmla="*/ 7256716 w 12192000"/>
              <a:gd name="connsiteY1102" fmla="*/ 263990 h 5588000"/>
              <a:gd name="connsiteX1103" fmla="*/ 7277686 w 12192000"/>
              <a:gd name="connsiteY1103" fmla="*/ 258382 h 5588000"/>
              <a:gd name="connsiteX1104" fmla="*/ 7296771 w 12192000"/>
              <a:gd name="connsiteY1104" fmla="*/ 242697 h 5588000"/>
              <a:gd name="connsiteX1105" fmla="*/ 7313003 w 12192000"/>
              <a:gd name="connsiteY1105" fmla="*/ 223542 h 5588000"/>
              <a:gd name="connsiteX1106" fmla="*/ 7326384 w 12192000"/>
              <a:gd name="connsiteY1106" fmla="*/ 200918 h 5588000"/>
              <a:gd name="connsiteX1107" fmla="*/ 7339764 w 12192000"/>
              <a:gd name="connsiteY1107" fmla="*/ 178294 h 5588000"/>
              <a:gd name="connsiteX1108" fmla="*/ 7358848 w 12192000"/>
              <a:gd name="connsiteY1108" fmla="*/ 162609 h 5588000"/>
              <a:gd name="connsiteX1109" fmla="*/ 7377933 w 12192000"/>
              <a:gd name="connsiteY1109" fmla="*/ 146924 h 5588000"/>
              <a:gd name="connsiteX1110" fmla="*/ 7413206 w 12192000"/>
              <a:gd name="connsiteY1110" fmla="*/ 135375 h 5588000"/>
              <a:gd name="connsiteX1111" fmla="*/ 7430360 w 12192000"/>
              <a:gd name="connsiteY1111" fmla="*/ 132904 h 5588000"/>
              <a:gd name="connsiteX1112" fmla="*/ 7450366 w 12192000"/>
              <a:gd name="connsiteY1112" fmla="*/ 133903 h 5588000"/>
              <a:gd name="connsiteX1113" fmla="*/ 7473223 w 12192000"/>
              <a:gd name="connsiteY1113" fmla="*/ 138371 h 5588000"/>
              <a:gd name="connsiteX1114" fmla="*/ 7496081 w 12192000"/>
              <a:gd name="connsiteY1114" fmla="*/ 142840 h 5588000"/>
              <a:gd name="connsiteX1115" fmla="*/ 7520825 w 12192000"/>
              <a:gd name="connsiteY1115" fmla="*/ 157385 h 5588000"/>
              <a:gd name="connsiteX1116" fmla="*/ 7552238 w 12192000"/>
              <a:gd name="connsiteY1116" fmla="*/ 172264 h 5588000"/>
              <a:gd name="connsiteX1117" fmla="*/ 7570314 w 12192000"/>
              <a:gd name="connsiteY1117" fmla="*/ 186476 h 5588000"/>
              <a:gd name="connsiteX1118" fmla="*/ 7598875 w 12192000"/>
              <a:gd name="connsiteY1118" fmla="*/ 197884 h 5588000"/>
              <a:gd name="connsiteX1119" fmla="*/ 7634104 w 12192000"/>
              <a:gd name="connsiteY1119" fmla="*/ 209626 h 5588000"/>
              <a:gd name="connsiteX1120" fmla="*/ 7677933 w 12192000"/>
              <a:gd name="connsiteY1120" fmla="*/ 208486 h 5588000"/>
              <a:gd name="connsiteX1121" fmla="*/ 7725578 w 12192000"/>
              <a:gd name="connsiteY1121" fmla="*/ 204210 h 5588000"/>
              <a:gd name="connsiteX1122" fmla="*/ 7753218 w 12192000"/>
              <a:gd name="connsiteY1122" fmla="*/ 198934 h 5588000"/>
              <a:gd name="connsiteX1123" fmla="*/ 7781822 w 12192000"/>
              <a:gd name="connsiteY1123" fmla="*/ 187053 h 5588000"/>
              <a:gd name="connsiteX1124" fmla="*/ 7810427 w 12192000"/>
              <a:gd name="connsiteY1124" fmla="*/ 175171 h 5588000"/>
              <a:gd name="connsiteX1125" fmla="*/ 7843813 w 12192000"/>
              <a:gd name="connsiteY1125" fmla="*/ 153545 h 5588000"/>
              <a:gd name="connsiteX1126" fmla="*/ 7859081 w 12192000"/>
              <a:gd name="connsiteY1126" fmla="*/ 140997 h 5588000"/>
              <a:gd name="connsiteX1127" fmla="*/ 7881017 w 12192000"/>
              <a:gd name="connsiteY1127" fmla="*/ 128782 h 5588000"/>
              <a:gd name="connsiteX1128" fmla="*/ 7912473 w 12192000"/>
              <a:gd name="connsiteY1128" fmla="*/ 120370 h 5588000"/>
              <a:gd name="connsiteX1129" fmla="*/ 7950598 w 12192000"/>
              <a:gd name="connsiteY1129" fmla="*/ 112291 h 5588000"/>
              <a:gd name="connsiteX1130" fmla="*/ 7987758 w 12192000"/>
              <a:gd name="connsiteY1130" fmla="*/ 110819 h 5588000"/>
              <a:gd name="connsiteX1131" fmla="*/ 8033473 w 12192000"/>
              <a:gd name="connsiteY1131" fmla="*/ 119756 h 5588000"/>
              <a:gd name="connsiteX1132" fmla="*/ 8052514 w 12192000"/>
              <a:gd name="connsiteY1132" fmla="*/ 127362 h 5588000"/>
              <a:gd name="connsiteX1133" fmla="*/ 8077258 w 12192000"/>
              <a:gd name="connsiteY1133" fmla="*/ 141907 h 5588000"/>
              <a:gd name="connsiteX1134" fmla="*/ 8099150 w 12192000"/>
              <a:gd name="connsiteY1134" fmla="*/ 152982 h 5588000"/>
              <a:gd name="connsiteX1135" fmla="*/ 8124860 w 12192000"/>
              <a:gd name="connsiteY1135" fmla="*/ 160921 h 5588000"/>
              <a:gd name="connsiteX1136" fmla="*/ 8154386 w 12192000"/>
              <a:gd name="connsiteY1136" fmla="*/ 165722 h 5588000"/>
              <a:gd name="connsiteX1137" fmla="*/ 8184877 w 12192000"/>
              <a:gd name="connsiteY1137" fmla="*/ 163917 h 5588000"/>
              <a:gd name="connsiteX1138" fmla="*/ 8202031 w 12192000"/>
              <a:gd name="connsiteY1138" fmla="*/ 161446 h 5588000"/>
              <a:gd name="connsiteX1139" fmla="*/ 8216333 w 12192000"/>
              <a:gd name="connsiteY1139" fmla="*/ 155505 h 5588000"/>
              <a:gd name="connsiteX1140" fmla="*/ 8227784 w 12192000"/>
              <a:gd name="connsiteY1140" fmla="*/ 146094 h 5588000"/>
              <a:gd name="connsiteX1141" fmla="*/ 8236383 w 12192000"/>
              <a:gd name="connsiteY1141" fmla="*/ 133213 h 5588000"/>
              <a:gd name="connsiteX1142" fmla="*/ 8245947 w 12192000"/>
              <a:gd name="connsiteY1142" fmla="*/ 113726 h 5588000"/>
              <a:gd name="connsiteX1143" fmla="*/ 8251694 w 12192000"/>
              <a:gd name="connsiteY1143" fmla="*/ 97375 h 5588000"/>
              <a:gd name="connsiteX1144" fmla="*/ 8258405 w 12192000"/>
              <a:gd name="connsiteY1144" fmla="*/ 74418 h 5588000"/>
              <a:gd name="connsiteX1145" fmla="*/ 8258449 w 12192000"/>
              <a:gd name="connsiteY1145" fmla="*/ 51128 h 5588000"/>
              <a:gd name="connsiteX1146" fmla="*/ 8259458 w 12192000"/>
              <a:gd name="connsiteY1146" fmla="*/ 21231 h 5588000"/>
              <a:gd name="connsiteX1147" fmla="*/ 8254915 w 12192000"/>
              <a:gd name="connsiteY1147" fmla="*/ 3243 h 5588000"/>
              <a:gd name="connsiteX1148" fmla="*/ 8284659 w 12192000"/>
              <a:gd name="connsiteY1148" fmla="*/ 4728 h 5588000"/>
              <a:gd name="connsiteX1149" fmla="*/ 8320853 w 12192000"/>
              <a:gd name="connsiteY1149" fmla="*/ 9863 h 5588000"/>
              <a:gd name="connsiteX1150" fmla="*/ 8362752 w 12192000"/>
              <a:gd name="connsiteY1150" fmla="*/ 21937 h 5588000"/>
              <a:gd name="connsiteX1151" fmla="*/ 8410353 w 12192000"/>
              <a:gd name="connsiteY1151" fmla="*/ 40951 h 5588000"/>
              <a:gd name="connsiteX1152" fmla="*/ 8435098 w 12192000"/>
              <a:gd name="connsiteY1152" fmla="*/ 55496 h 5588000"/>
              <a:gd name="connsiteX1153" fmla="*/ 8458877 w 12192000"/>
              <a:gd name="connsiteY1153" fmla="*/ 76648 h 5588000"/>
              <a:gd name="connsiteX1154" fmla="*/ 8485508 w 12192000"/>
              <a:gd name="connsiteY1154" fmla="*/ 101270 h 5588000"/>
              <a:gd name="connsiteX1155" fmla="*/ 8511174 w 12192000"/>
              <a:gd name="connsiteY1155" fmla="*/ 132499 h 5588000"/>
              <a:gd name="connsiteX1156" fmla="*/ 8533023 w 12192000"/>
              <a:gd name="connsiteY1156" fmla="*/ 166864 h 5588000"/>
              <a:gd name="connsiteX1157" fmla="*/ 8547238 w 12192000"/>
              <a:gd name="connsiteY1157" fmla="*/ 207504 h 5588000"/>
              <a:gd name="connsiteX1158" fmla="*/ 8567157 w 12192000"/>
              <a:gd name="connsiteY1158" fmla="*/ 255083 h 5588000"/>
              <a:gd name="connsiteX1159" fmla="*/ 8579442 w 12192000"/>
              <a:gd name="connsiteY1159" fmla="*/ 308936 h 5588000"/>
              <a:gd name="connsiteX1160" fmla="*/ 8583215 w 12192000"/>
              <a:gd name="connsiteY1160" fmla="*/ 329090 h 5588000"/>
              <a:gd name="connsiteX1161" fmla="*/ 8590806 w 12192000"/>
              <a:gd name="connsiteY1161" fmla="*/ 346106 h 5588000"/>
              <a:gd name="connsiteX1162" fmla="*/ 8601248 w 12192000"/>
              <a:gd name="connsiteY1162" fmla="*/ 366592 h 5588000"/>
              <a:gd name="connsiteX1163" fmla="*/ 8621210 w 12192000"/>
              <a:gd name="connsiteY1163" fmla="*/ 390881 h 5588000"/>
              <a:gd name="connsiteX1164" fmla="*/ 8644989 w 12192000"/>
              <a:gd name="connsiteY1164" fmla="*/ 412033 h 5588000"/>
              <a:gd name="connsiteX1165" fmla="*/ 8678289 w 12192000"/>
              <a:gd name="connsiteY1165" fmla="*/ 436988 h 5588000"/>
              <a:gd name="connsiteX1166" fmla="*/ 8720187 w 12192000"/>
              <a:gd name="connsiteY1166" fmla="*/ 449062 h 5588000"/>
              <a:gd name="connsiteX1167" fmla="*/ 8737341 w 12192000"/>
              <a:gd name="connsiteY1167" fmla="*/ 446591 h 5588000"/>
              <a:gd name="connsiteX1168" fmla="*/ 8768797 w 12192000"/>
              <a:gd name="connsiteY1168" fmla="*/ 438179 h 5588000"/>
              <a:gd name="connsiteX1169" fmla="*/ 8789768 w 12192000"/>
              <a:gd name="connsiteY1169" fmla="*/ 432571 h 5588000"/>
              <a:gd name="connsiteX1170" fmla="*/ 8808852 w 12192000"/>
              <a:gd name="connsiteY1170" fmla="*/ 416886 h 5588000"/>
              <a:gd name="connsiteX1171" fmla="*/ 8825085 w 12192000"/>
              <a:gd name="connsiteY1171" fmla="*/ 397732 h 5588000"/>
              <a:gd name="connsiteX1172" fmla="*/ 8838465 w 12192000"/>
              <a:gd name="connsiteY1172" fmla="*/ 375107 h 5588000"/>
              <a:gd name="connsiteX1173" fmla="*/ 8851846 w 12192000"/>
              <a:gd name="connsiteY1173" fmla="*/ 352483 h 5588000"/>
              <a:gd name="connsiteX1174" fmla="*/ 8870930 w 12192000"/>
              <a:gd name="connsiteY1174" fmla="*/ 336798 h 5588000"/>
              <a:gd name="connsiteX1175" fmla="*/ 8890014 w 12192000"/>
              <a:gd name="connsiteY1175" fmla="*/ 321113 h 5588000"/>
              <a:gd name="connsiteX1176" fmla="*/ 8925288 w 12192000"/>
              <a:gd name="connsiteY1176" fmla="*/ 309564 h 5588000"/>
              <a:gd name="connsiteX1177" fmla="*/ 8942442 w 12192000"/>
              <a:gd name="connsiteY1177" fmla="*/ 307093 h 5588000"/>
              <a:gd name="connsiteX1178" fmla="*/ 8962448 w 12192000"/>
              <a:gd name="connsiteY1178" fmla="*/ 308092 h 5588000"/>
              <a:gd name="connsiteX1179" fmla="*/ 8985305 w 12192000"/>
              <a:gd name="connsiteY1179" fmla="*/ 312561 h 5588000"/>
              <a:gd name="connsiteX1180" fmla="*/ 9008163 w 12192000"/>
              <a:gd name="connsiteY1180" fmla="*/ 317029 h 5588000"/>
              <a:gd name="connsiteX1181" fmla="*/ 9032907 w 12192000"/>
              <a:gd name="connsiteY1181" fmla="*/ 331574 h 5588000"/>
              <a:gd name="connsiteX1182" fmla="*/ 9064320 w 12192000"/>
              <a:gd name="connsiteY1182" fmla="*/ 346453 h 5588000"/>
              <a:gd name="connsiteX1183" fmla="*/ 9082395 w 12192000"/>
              <a:gd name="connsiteY1183" fmla="*/ 360665 h 5588000"/>
              <a:gd name="connsiteX1184" fmla="*/ 9110956 w 12192000"/>
              <a:gd name="connsiteY1184" fmla="*/ 372073 h 5588000"/>
              <a:gd name="connsiteX1185" fmla="*/ 9146186 w 12192000"/>
              <a:gd name="connsiteY1185" fmla="*/ 383815 h 5588000"/>
              <a:gd name="connsiteX1186" fmla="*/ 9190015 w 12192000"/>
              <a:gd name="connsiteY1186" fmla="*/ 382675 h 5588000"/>
              <a:gd name="connsiteX1187" fmla="*/ 9237660 w 12192000"/>
              <a:gd name="connsiteY1187" fmla="*/ 378399 h 5588000"/>
              <a:gd name="connsiteX1188" fmla="*/ 9265299 w 12192000"/>
              <a:gd name="connsiteY1188" fmla="*/ 373124 h 5588000"/>
              <a:gd name="connsiteX1189" fmla="*/ 9293904 w 12192000"/>
              <a:gd name="connsiteY1189" fmla="*/ 361242 h 5588000"/>
              <a:gd name="connsiteX1190" fmla="*/ 9322509 w 12192000"/>
              <a:gd name="connsiteY1190" fmla="*/ 349360 h 5588000"/>
              <a:gd name="connsiteX1191" fmla="*/ 9355895 w 12192000"/>
              <a:gd name="connsiteY1191" fmla="*/ 327734 h 5588000"/>
              <a:gd name="connsiteX1192" fmla="*/ 9371162 w 12192000"/>
              <a:gd name="connsiteY1192" fmla="*/ 315186 h 5588000"/>
              <a:gd name="connsiteX1193" fmla="*/ 9393098 w 12192000"/>
              <a:gd name="connsiteY1193" fmla="*/ 302971 h 5588000"/>
              <a:gd name="connsiteX1194" fmla="*/ 9424555 w 12192000"/>
              <a:gd name="connsiteY1194" fmla="*/ 294559 h 5588000"/>
              <a:gd name="connsiteX1195" fmla="*/ 9462680 w 12192000"/>
              <a:gd name="connsiteY1195" fmla="*/ 286480 h 5588000"/>
              <a:gd name="connsiteX1196" fmla="*/ 9499839 w 12192000"/>
              <a:gd name="connsiteY1196" fmla="*/ 285008 h 5588000"/>
              <a:gd name="connsiteX1197" fmla="*/ 9545555 w 12192000"/>
              <a:gd name="connsiteY1197" fmla="*/ 293945 h 5588000"/>
              <a:gd name="connsiteX1198" fmla="*/ 9564595 w 12192000"/>
              <a:gd name="connsiteY1198" fmla="*/ 301551 h 5588000"/>
              <a:gd name="connsiteX1199" fmla="*/ 9589339 w 12192000"/>
              <a:gd name="connsiteY1199" fmla="*/ 316096 h 5588000"/>
              <a:gd name="connsiteX1200" fmla="*/ 9611232 w 12192000"/>
              <a:gd name="connsiteY1200" fmla="*/ 327171 h 5588000"/>
              <a:gd name="connsiteX1201" fmla="*/ 9636941 w 12192000"/>
              <a:gd name="connsiteY1201" fmla="*/ 335110 h 5588000"/>
              <a:gd name="connsiteX1202" fmla="*/ 9666468 w 12192000"/>
              <a:gd name="connsiteY1202" fmla="*/ 339911 h 5588000"/>
              <a:gd name="connsiteX1203" fmla="*/ 9696959 w 12192000"/>
              <a:gd name="connsiteY1203" fmla="*/ 338106 h 5588000"/>
              <a:gd name="connsiteX1204" fmla="*/ 9714113 w 12192000"/>
              <a:gd name="connsiteY1204" fmla="*/ 335635 h 5588000"/>
              <a:gd name="connsiteX1205" fmla="*/ 9728415 w 12192000"/>
              <a:gd name="connsiteY1205" fmla="*/ 329694 h 5588000"/>
              <a:gd name="connsiteX1206" fmla="*/ 9739866 w 12192000"/>
              <a:gd name="connsiteY1206" fmla="*/ 320283 h 5588000"/>
              <a:gd name="connsiteX1207" fmla="*/ 9748464 w 12192000"/>
              <a:gd name="connsiteY1207" fmla="*/ 307403 h 5588000"/>
              <a:gd name="connsiteX1208" fmla="*/ 9758028 w 12192000"/>
              <a:gd name="connsiteY1208" fmla="*/ 287915 h 5588000"/>
              <a:gd name="connsiteX1209" fmla="*/ 9763775 w 12192000"/>
              <a:gd name="connsiteY1209" fmla="*/ 271565 h 5588000"/>
              <a:gd name="connsiteX1210" fmla="*/ 9770487 w 12192000"/>
              <a:gd name="connsiteY1210" fmla="*/ 248607 h 5588000"/>
              <a:gd name="connsiteX1211" fmla="*/ 9770531 w 12192000"/>
              <a:gd name="connsiteY1211" fmla="*/ 225317 h 5588000"/>
              <a:gd name="connsiteX1212" fmla="*/ 9771539 w 12192000"/>
              <a:gd name="connsiteY1212" fmla="*/ 195420 h 5588000"/>
              <a:gd name="connsiteX1213" fmla="*/ 9766024 w 12192000"/>
              <a:gd name="connsiteY1213" fmla="*/ 173587 h 5588000"/>
              <a:gd name="connsiteX1214" fmla="*/ 9807448 w 12192000"/>
              <a:gd name="connsiteY1214" fmla="*/ 183141 h 5588000"/>
              <a:gd name="connsiteX1215" fmla="*/ 9874134 w 12192000"/>
              <a:gd name="connsiteY1215" fmla="*/ 186470 h 5588000"/>
              <a:gd name="connsiteX1216" fmla="*/ 9910329 w 12192000"/>
              <a:gd name="connsiteY1216" fmla="*/ 191605 h 5588000"/>
              <a:gd name="connsiteX1217" fmla="*/ 9952227 w 12192000"/>
              <a:gd name="connsiteY1217" fmla="*/ 203679 h 5588000"/>
              <a:gd name="connsiteX1218" fmla="*/ 9999829 w 12192000"/>
              <a:gd name="connsiteY1218" fmla="*/ 222693 h 5588000"/>
              <a:gd name="connsiteX1219" fmla="*/ 10024574 w 12192000"/>
              <a:gd name="connsiteY1219" fmla="*/ 237238 h 5588000"/>
              <a:gd name="connsiteX1220" fmla="*/ 10048353 w 12192000"/>
              <a:gd name="connsiteY1220" fmla="*/ 258390 h 5588000"/>
              <a:gd name="connsiteX1221" fmla="*/ 10074984 w 12192000"/>
              <a:gd name="connsiteY1221" fmla="*/ 283012 h 5588000"/>
              <a:gd name="connsiteX1222" fmla="*/ 10100650 w 12192000"/>
              <a:gd name="connsiteY1222" fmla="*/ 314241 h 5588000"/>
              <a:gd name="connsiteX1223" fmla="*/ 10122499 w 12192000"/>
              <a:gd name="connsiteY1223" fmla="*/ 348606 h 5588000"/>
              <a:gd name="connsiteX1224" fmla="*/ 10136714 w 12192000"/>
              <a:gd name="connsiteY1224" fmla="*/ 389246 h 5588000"/>
              <a:gd name="connsiteX1225" fmla="*/ 10156633 w 12192000"/>
              <a:gd name="connsiteY1225" fmla="*/ 436825 h 5588000"/>
              <a:gd name="connsiteX1226" fmla="*/ 10168918 w 12192000"/>
              <a:gd name="connsiteY1226" fmla="*/ 490678 h 5588000"/>
              <a:gd name="connsiteX1227" fmla="*/ 10172691 w 12192000"/>
              <a:gd name="connsiteY1227" fmla="*/ 510832 h 5588000"/>
              <a:gd name="connsiteX1228" fmla="*/ 10180282 w 12192000"/>
              <a:gd name="connsiteY1228" fmla="*/ 527848 h 5588000"/>
              <a:gd name="connsiteX1229" fmla="*/ 10190724 w 12192000"/>
              <a:gd name="connsiteY1229" fmla="*/ 548334 h 5588000"/>
              <a:gd name="connsiteX1230" fmla="*/ 10210686 w 12192000"/>
              <a:gd name="connsiteY1230" fmla="*/ 572623 h 5588000"/>
              <a:gd name="connsiteX1231" fmla="*/ 10234465 w 12192000"/>
              <a:gd name="connsiteY1231" fmla="*/ 593775 h 5588000"/>
              <a:gd name="connsiteX1232" fmla="*/ 10267765 w 12192000"/>
              <a:gd name="connsiteY1232" fmla="*/ 618730 h 5588000"/>
              <a:gd name="connsiteX1233" fmla="*/ 10309663 w 12192000"/>
              <a:gd name="connsiteY1233" fmla="*/ 630804 h 5588000"/>
              <a:gd name="connsiteX1234" fmla="*/ 10326817 w 12192000"/>
              <a:gd name="connsiteY1234" fmla="*/ 628333 h 5588000"/>
              <a:gd name="connsiteX1235" fmla="*/ 10358273 w 12192000"/>
              <a:gd name="connsiteY1235" fmla="*/ 619921 h 5588000"/>
              <a:gd name="connsiteX1236" fmla="*/ 10379244 w 12192000"/>
              <a:gd name="connsiteY1236" fmla="*/ 614313 h 5588000"/>
              <a:gd name="connsiteX1237" fmla="*/ 10398328 w 12192000"/>
              <a:gd name="connsiteY1237" fmla="*/ 598628 h 5588000"/>
              <a:gd name="connsiteX1238" fmla="*/ 10414561 w 12192000"/>
              <a:gd name="connsiteY1238" fmla="*/ 579473 h 5588000"/>
              <a:gd name="connsiteX1239" fmla="*/ 10427941 w 12192000"/>
              <a:gd name="connsiteY1239" fmla="*/ 556849 h 5588000"/>
              <a:gd name="connsiteX1240" fmla="*/ 10441322 w 12192000"/>
              <a:gd name="connsiteY1240" fmla="*/ 534225 h 5588000"/>
              <a:gd name="connsiteX1241" fmla="*/ 10460406 w 12192000"/>
              <a:gd name="connsiteY1241" fmla="*/ 518540 h 5588000"/>
              <a:gd name="connsiteX1242" fmla="*/ 10479490 w 12192000"/>
              <a:gd name="connsiteY1242" fmla="*/ 502855 h 5588000"/>
              <a:gd name="connsiteX1243" fmla="*/ 10514764 w 12192000"/>
              <a:gd name="connsiteY1243" fmla="*/ 491306 h 5588000"/>
              <a:gd name="connsiteX1244" fmla="*/ 10531918 w 12192000"/>
              <a:gd name="connsiteY1244" fmla="*/ 488835 h 5588000"/>
              <a:gd name="connsiteX1245" fmla="*/ 10551924 w 12192000"/>
              <a:gd name="connsiteY1245" fmla="*/ 489834 h 5588000"/>
              <a:gd name="connsiteX1246" fmla="*/ 10574781 w 12192000"/>
              <a:gd name="connsiteY1246" fmla="*/ 494302 h 5588000"/>
              <a:gd name="connsiteX1247" fmla="*/ 10597639 w 12192000"/>
              <a:gd name="connsiteY1247" fmla="*/ 498771 h 5588000"/>
              <a:gd name="connsiteX1248" fmla="*/ 10622383 w 12192000"/>
              <a:gd name="connsiteY1248" fmla="*/ 513316 h 5588000"/>
              <a:gd name="connsiteX1249" fmla="*/ 10653796 w 12192000"/>
              <a:gd name="connsiteY1249" fmla="*/ 528195 h 5588000"/>
              <a:gd name="connsiteX1250" fmla="*/ 10671871 w 12192000"/>
              <a:gd name="connsiteY1250" fmla="*/ 542407 h 5588000"/>
              <a:gd name="connsiteX1251" fmla="*/ 10700432 w 12192000"/>
              <a:gd name="connsiteY1251" fmla="*/ 553815 h 5588000"/>
              <a:gd name="connsiteX1252" fmla="*/ 10735662 w 12192000"/>
              <a:gd name="connsiteY1252" fmla="*/ 565557 h 5588000"/>
              <a:gd name="connsiteX1253" fmla="*/ 10779491 w 12192000"/>
              <a:gd name="connsiteY1253" fmla="*/ 564417 h 5588000"/>
              <a:gd name="connsiteX1254" fmla="*/ 10827136 w 12192000"/>
              <a:gd name="connsiteY1254" fmla="*/ 560141 h 5588000"/>
              <a:gd name="connsiteX1255" fmla="*/ 10854775 w 12192000"/>
              <a:gd name="connsiteY1255" fmla="*/ 554865 h 5588000"/>
              <a:gd name="connsiteX1256" fmla="*/ 10883380 w 12192000"/>
              <a:gd name="connsiteY1256" fmla="*/ 542984 h 5588000"/>
              <a:gd name="connsiteX1257" fmla="*/ 10911985 w 12192000"/>
              <a:gd name="connsiteY1257" fmla="*/ 531102 h 5588000"/>
              <a:gd name="connsiteX1258" fmla="*/ 10945371 w 12192000"/>
              <a:gd name="connsiteY1258" fmla="*/ 509476 h 5588000"/>
              <a:gd name="connsiteX1259" fmla="*/ 10960638 w 12192000"/>
              <a:gd name="connsiteY1259" fmla="*/ 496928 h 5588000"/>
              <a:gd name="connsiteX1260" fmla="*/ 10982574 w 12192000"/>
              <a:gd name="connsiteY1260" fmla="*/ 484713 h 5588000"/>
              <a:gd name="connsiteX1261" fmla="*/ 11014031 w 12192000"/>
              <a:gd name="connsiteY1261" fmla="*/ 476301 h 5588000"/>
              <a:gd name="connsiteX1262" fmla="*/ 11052156 w 12192000"/>
              <a:gd name="connsiteY1262" fmla="*/ 468222 h 5588000"/>
              <a:gd name="connsiteX1263" fmla="*/ 11089315 w 12192000"/>
              <a:gd name="connsiteY1263" fmla="*/ 466750 h 5588000"/>
              <a:gd name="connsiteX1264" fmla="*/ 11135031 w 12192000"/>
              <a:gd name="connsiteY1264" fmla="*/ 475687 h 5588000"/>
              <a:gd name="connsiteX1265" fmla="*/ 11154071 w 12192000"/>
              <a:gd name="connsiteY1265" fmla="*/ 483293 h 5588000"/>
              <a:gd name="connsiteX1266" fmla="*/ 11178815 w 12192000"/>
              <a:gd name="connsiteY1266" fmla="*/ 497838 h 5588000"/>
              <a:gd name="connsiteX1267" fmla="*/ 11200708 w 12192000"/>
              <a:gd name="connsiteY1267" fmla="*/ 508913 h 5588000"/>
              <a:gd name="connsiteX1268" fmla="*/ 11226417 w 12192000"/>
              <a:gd name="connsiteY1268" fmla="*/ 516852 h 5588000"/>
              <a:gd name="connsiteX1269" fmla="*/ 11255944 w 12192000"/>
              <a:gd name="connsiteY1269" fmla="*/ 521653 h 5588000"/>
              <a:gd name="connsiteX1270" fmla="*/ 11286435 w 12192000"/>
              <a:gd name="connsiteY1270" fmla="*/ 519848 h 5588000"/>
              <a:gd name="connsiteX1271" fmla="*/ 11303589 w 12192000"/>
              <a:gd name="connsiteY1271" fmla="*/ 517377 h 5588000"/>
              <a:gd name="connsiteX1272" fmla="*/ 11317891 w 12192000"/>
              <a:gd name="connsiteY1272" fmla="*/ 511436 h 5588000"/>
              <a:gd name="connsiteX1273" fmla="*/ 11329342 w 12192000"/>
              <a:gd name="connsiteY1273" fmla="*/ 502025 h 5588000"/>
              <a:gd name="connsiteX1274" fmla="*/ 11337940 w 12192000"/>
              <a:gd name="connsiteY1274" fmla="*/ 489144 h 5588000"/>
              <a:gd name="connsiteX1275" fmla="*/ 11347504 w 12192000"/>
              <a:gd name="connsiteY1275" fmla="*/ 469657 h 5588000"/>
              <a:gd name="connsiteX1276" fmla="*/ 11353251 w 12192000"/>
              <a:gd name="connsiteY1276" fmla="*/ 453306 h 5588000"/>
              <a:gd name="connsiteX1277" fmla="*/ 11359963 w 12192000"/>
              <a:gd name="connsiteY1277" fmla="*/ 430349 h 5588000"/>
              <a:gd name="connsiteX1278" fmla="*/ 11360007 w 12192000"/>
              <a:gd name="connsiteY1278" fmla="*/ 407059 h 5588000"/>
              <a:gd name="connsiteX1279" fmla="*/ 11361015 w 12192000"/>
              <a:gd name="connsiteY1279" fmla="*/ 377162 h 5588000"/>
              <a:gd name="connsiteX1280" fmla="*/ 11352503 w 12192000"/>
              <a:gd name="connsiteY1280" fmla="*/ 343462 h 5588000"/>
              <a:gd name="connsiteX1281" fmla="*/ 11341140 w 12192000"/>
              <a:gd name="connsiteY1281" fmla="*/ 306292 h 5588000"/>
              <a:gd name="connsiteX1282" fmla="*/ 11317404 w 12192000"/>
              <a:gd name="connsiteY1282" fmla="*/ 261850 h 5588000"/>
              <a:gd name="connsiteX1283" fmla="*/ 11287000 w 12192000"/>
              <a:gd name="connsiteY1283" fmla="*/ 217075 h 5588000"/>
              <a:gd name="connsiteX1284" fmla="*/ 11269889 w 12192000"/>
              <a:gd name="connsiteY1284" fmla="*/ 196256 h 5588000"/>
              <a:gd name="connsiteX1285" fmla="*/ 11252779 w 12192000"/>
              <a:gd name="connsiteY1285" fmla="*/ 175437 h 5588000"/>
              <a:gd name="connsiteX1286" fmla="*/ 11243302 w 12192000"/>
              <a:gd name="connsiteY1286" fmla="*/ 148344 h 5588000"/>
              <a:gd name="connsiteX1287" fmla="*/ 11234790 w 12192000"/>
              <a:gd name="connsiteY1287" fmla="*/ 114644 h 5588000"/>
              <a:gd name="connsiteX1288" fmla="*/ 11237685 w 12192000"/>
              <a:gd name="connsiteY1288" fmla="*/ 94824 h 5588000"/>
              <a:gd name="connsiteX1289" fmla="*/ 11240580 w 12192000"/>
              <a:gd name="connsiteY1289" fmla="*/ 75003 h 5588000"/>
              <a:gd name="connsiteX1290" fmla="*/ 11243476 w 12192000"/>
              <a:gd name="connsiteY1290" fmla="*/ 55183 h 5588000"/>
              <a:gd name="connsiteX1291" fmla="*/ 11253039 w 12192000"/>
              <a:gd name="connsiteY1291" fmla="*/ 35695 h 5588000"/>
              <a:gd name="connsiteX1292" fmla="*/ 11269272 w 12192000"/>
              <a:gd name="connsiteY1292" fmla="*/ 16541 h 5588000"/>
              <a:gd name="connsiteX1293" fmla="*/ 11283289 w 12192000"/>
              <a:gd name="connsiteY1293" fmla="*/ 0 h 5588000"/>
              <a:gd name="connsiteX1294" fmla="*/ 11536950 w 12192000"/>
              <a:gd name="connsiteY1294" fmla="*/ 0 h 5588000"/>
              <a:gd name="connsiteX1295" fmla="*/ 11496969 w 12192000"/>
              <a:gd name="connsiteY1295" fmla="*/ 21253 h 5588000"/>
              <a:gd name="connsiteX1296" fmla="*/ 11459766 w 12192000"/>
              <a:gd name="connsiteY1296" fmla="*/ 46016 h 5588000"/>
              <a:gd name="connsiteX1297" fmla="*/ 11429231 w 12192000"/>
              <a:gd name="connsiteY1297" fmla="*/ 71111 h 5588000"/>
              <a:gd name="connsiteX1298" fmla="*/ 11401548 w 12192000"/>
              <a:gd name="connsiteY1298" fmla="*/ 99677 h 5588000"/>
              <a:gd name="connsiteX1299" fmla="*/ 11384351 w 12192000"/>
              <a:gd name="connsiteY1299" fmla="*/ 125438 h 5588000"/>
              <a:gd name="connsiteX1300" fmla="*/ 11373822 w 12192000"/>
              <a:gd name="connsiteY1300" fmla="*/ 151532 h 5588000"/>
              <a:gd name="connsiteX1301" fmla="*/ 11369962 w 12192000"/>
              <a:gd name="connsiteY1301" fmla="*/ 177959 h 5588000"/>
              <a:gd name="connsiteX1302" fmla="*/ 11376587 w 12192000"/>
              <a:gd name="connsiteY1302" fmla="*/ 201582 h 5588000"/>
              <a:gd name="connsiteX1303" fmla="*/ 11394662 w 12192000"/>
              <a:gd name="connsiteY1303" fmla="*/ 215795 h 5588000"/>
              <a:gd name="connsiteX1304" fmla="*/ 11419407 w 12192000"/>
              <a:gd name="connsiteY1304" fmla="*/ 230340 h 5588000"/>
              <a:gd name="connsiteX1305" fmla="*/ 11451785 w 12192000"/>
              <a:gd name="connsiteY1305" fmla="*/ 238611 h 5588000"/>
              <a:gd name="connsiteX1306" fmla="*/ 11485128 w 12192000"/>
              <a:gd name="connsiteY1306" fmla="*/ 240276 h 5588000"/>
              <a:gd name="connsiteX1307" fmla="*/ 11525139 w 12192000"/>
              <a:gd name="connsiteY1307" fmla="*/ 242274 h 5588000"/>
              <a:gd name="connsiteX1308" fmla="*/ 11569933 w 12192000"/>
              <a:gd name="connsiteY1308" fmla="*/ 234527 h 5588000"/>
              <a:gd name="connsiteX1309" fmla="*/ 11615691 w 12192000"/>
              <a:gd name="connsiteY1309" fmla="*/ 220174 h 5588000"/>
              <a:gd name="connsiteX1310" fmla="*/ 11686238 w 12192000"/>
              <a:gd name="connsiteY1310" fmla="*/ 197076 h 5588000"/>
              <a:gd name="connsiteX1311" fmla="*/ 11744412 w 12192000"/>
              <a:gd name="connsiteY1311" fmla="*/ 166706 h 5588000"/>
              <a:gd name="connsiteX1312" fmla="*/ 11785432 w 12192000"/>
              <a:gd name="connsiteY1312" fmla="*/ 138806 h 5588000"/>
              <a:gd name="connsiteX1313" fmla="*/ 11819784 w 12192000"/>
              <a:gd name="connsiteY1313" fmla="*/ 110574 h 5588000"/>
              <a:gd name="connsiteX1314" fmla="*/ 11839833 w 12192000"/>
              <a:gd name="connsiteY1314" fmla="*/ 88282 h 5588000"/>
              <a:gd name="connsiteX1315" fmla="*/ 11853214 w 12192000"/>
              <a:gd name="connsiteY1315" fmla="*/ 65658 h 5588000"/>
              <a:gd name="connsiteX1316" fmla="*/ 11858961 w 12192000"/>
              <a:gd name="connsiteY1316" fmla="*/ 49307 h 5588000"/>
              <a:gd name="connsiteX1317" fmla="*/ 11869489 w 12192000"/>
              <a:gd name="connsiteY1317" fmla="*/ 23213 h 5588000"/>
              <a:gd name="connsiteX1318" fmla="*/ 11878855 w 12192000"/>
              <a:gd name="connsiteY1318" fmla="*/ 0 h 5588000"/>
              <a:gd name="connsiteX1319" fmla="*/ 12192000 w 12192000"/>
              <a:gd name="connsiteY1319" fmla="*/ 0 h 5588000"/>
              <a:gd name="connsiteX1320" fmla="*/ 12192000 w 12192000"/>
              <a:gd name="connsiteY1320" fmla="*/ 5588000 h 5588000"/>
              <a:gd name="connsiteX1321" fmla="*/ 12191317 w 12192000"/>
              <a:gd name="connsiteY1321" fmla="*/ 5588000 h 5588000"/>
              <a:gd name="connsiteX1322" fmla="*/ 12191998 w 12192000"/>
              <a:gd name="connsiteY1322" fmla="*/ 5584540 h 5588000"/>
              <a:gd name="connsiteX1323" fmla="*/ 12191998 w 12192000"/>
              <a:gd name="connsiteY1323" fmla="*/ 4577866 h 5588000"/>
              <a:gd name="connsiteX1324" fmla="*/ 12127518 w 12192000"/>
              <a:gd name="connsiteY1324" fmla="*/ 4577367 h 5588000"/>
              <a:gd name="connsiteX1325" fmla="*/ 11737130 w 12192000"/>
              <a:gd name="connsiteY1325" fmla="*/ 4611400 h 5588000"/>
              <a:gd name="connsiteX1326" fmla="*/ 11562166 w 12192000"/>
              <a:gd name="connsiteY1326" fmla="*/ 4647691 h 5588000"/>
              <a:gd name="connsiteX1327" fmla="*/ 11523813 w 12192000"/>
              <a:gd name="connsiteY1327" fmla="*/ 4657719 h 5588000"/>
              <a:gd name="connsiteX1328" fmla="*/ 11523154 w 12192000"/>
              <a:gd name="connsiteY1328" fmla="*/ 4654197 h 5588000"/>
              <a:gd name="connsiteX1329" fmla="*/ 11514642 w 12192000"/>
              <a:gd name="connsiteY1329" fmla="*/ 4620498 h 5588000"/>
              <a:gd name="connsiteX1330" fmla="*/ 11506130 w 12192000"/>
              <a:gd name="connsiteY1330" fmla="*/ 4586798 h 5588000"/>
              <a:gd name="connsiteX1331" fmla="*/ 11484281 w 12192000"/>
              <a:gd name="connsiteY1331" fmla="*/ 4552432 h 5588000"/>
              <a:gd name="connsiteX1332" fmla="*/ 11458616 w 12192000"/>
              <a:gd name="connsiteY1332" fmla="*/ 4521204 h 5588000"/>
              <a:gd name="connsiteX1333" fmla="*/ 11425316 w 12192000"/>
              <a:gd name="connsiteY1333" fmla="*/ 4496249 h 5588000"/>
              <a:gd name="connsiteX1334" fmla="*/ 11381531 w 12192000"/>
              <a:gd name="connsiteY1334" fmla="*/ 4474098 h 5588000"/>
              <a:gd name="connsiteX1335" fmla="*/ 11330112 w 12192000"/>
              <a:gd name="connsiteY1335" fmla="*/ 4458221 h 5588000"/>
              <a:gd name="connsiteX1336" fmla="*/ 11264391 w 12192000"/>
              <a:gd name="connsiteY1336" fmla="*/ 4448285 h 5588000"/>
              <a:gd name="connsiteX1337" fmla="*/ 11190072 w 12192000"/>
              <a:gd name="connsiteY1337" fmla="*/ 4451230 h 5588000"/>
              <a:gd name="connsiteX1338" fmla="*/ 11097633 w 12192000"/>
              <a:gd name="connsiteY1338" fmla="*/ 4463252 h 5588000"/>
              <a:gd name="connsiteX1339" fmla="*/ 10992778 w 12192000"/>
              <a:gd name="connsiteY1339" fmla="*/ 4491293 h 5588000"/>
              <a:gd name="connsiteX1340" fmla="*/ 10958470 w 12192000"/>
              <a:gd name="connsiteY1340" fmla="*/ 4496235 h 5588000"/>
              <a:gd name="connsiteX1341" fmla="*/ 10921311 w 12192000"/>
              <a:gd name="connsiteY1341" fmla="*/ 4497707 h 5588000"/>
              <a:gd name="connsiteX1342" fmla="*/ 10877482 w 12192000"/>
              <a:gd name="connsiteY1342" fmla="*/ 4498847 h 5588000"/>
              <a:gd name="connsiteX1343" fmla="*/ 10827950 w 12192000"/>
              <a:gd name="connsiteY1343" fmla="*/ 4493046 h 5588000"/>
              <a:gd name="connsiteX1344" fmla="*/ 10806058 w 12192000"/>
              <a:gd name="connsiteY1344" fmla="*/ 4481971 h 5588000"/>
              <a:gd name="connsiteX1345" fmla="*/ 10784165 w 12192000"/>
              <a:gd name="connsiteY1345" fmla="*/ 4470896 h 5588000"/>
              <a:gd name="connsiteX1346" fmla="*/ 10762273 w 12192000"/>
              <a:gd name="connsiteY1346" fmla="*/ 4459820 h 5588000"/>
              <a:gd name="connsiteX1347" fmla="*/ 10741345 w 12192000"/>
              <a:gd name="connsiteY1347" fmla="*/ 4442138 h 5588000"/>
              <a:gd name="connsiteX1348" fmla="*/ 10728051 w 12192000"/>
              <a:gd name="connsiteY1348" fmla="*/ 4418182 h 5588000"/>
              <a:gd name="connsiteX1349" fmla="*/ 10714758 w 12192000"/>
              <a:gd name="connsiteY1349" fmla="*/ 4394226 h 5588000"/>
              <a:gd name="connsiteX1350" fmla="*/ 10705281 w 12192000"/>
              <a:gd name="connsiteY1350" fmla="*/ 4367133 h 5588000"/>
              <a:gd name="connsiteX1351" fmla="*/ 10692952 w 12192000"/>
              <a:gd name="connsiteY1351" fmla="*/ 4336570 h 5588000"/>
              <a:gd name="connsiteX1352" fmla="*/ 10676807 w 12192000"/>
              <a:gd name="connsiteY1352" fmla="*/ 4309144 h 5588000"/>
              <a:gd name="connsiteX1353" fmla="*/ 10647324 w 12192000"/>
              <a:gd name="connsiteY1353" fmla="*/ 4281052 h 5588000"/>
              <a:gd name="connsiteX1354" fmla="*/ 10632100 w 12192000"/>
              <a:gd name="connsiteY1354" fmla="*/ 4270310 h 5588000"/>
              <a:gd name="connsiteX1355" fmla="*/ 10616876 w 12192000"/>
              <a:gd name="connsiteY1355" fmla="*/ 4259567 h 5588000"/>
              <a:gd name="connsiteX1356" fmla="*/ 10596870 w 12192000"/>
              <a:gd name="connsiteY1356" fmla="*/ 4258569 h 5588000"/>
              <a:gd name="connsiteX1357" fmla="*/ 10576865 w 12192000"/>
              <a:gd name="connsiteY1357" fmla="*/ 4257570 h 5588000"/>
              <a:gd name="connsiteX1358" fmla="*/ 10553042 w 12192000"/>
              <a:gd name="connsiteY1358" fmla="*/ 4259708 h 5588000"/>
              <a:gd name="connsiteX1359" fmla="*/ 10528254 w 12192000"/>
              <a:gd name="connsiteY1359" fmla="*/ 4268453 h 5588000"/>
              <a:gd name="connsiteX1360" fmla="*/ 10510135 w 12192000"/>
              <a:gd name="connsiteY1360" fmla="*/ 4277531 h 5588000"/>
              <a:gd name="connsiteX1361" fmla="*/ 10488199 w 12192000"/>
              <a:gd name="connsiteY1361" fmla="*/ 4289746 h 5588000"/>
              <a:gd name="connsiteX1362" fmla="*/ 10468150 w 12192000"/>
              <a:gd name="connsiteY1362" fmla="*/ 4312037 h 5588000"/>
              <a:gd name="connsiteX1363" fmla="*/ 10444284 w 12192000"/>
              <a:gd name="connsiteY1363" fmla="*/ 4337466 h 5588000"/>
              <a:gd name="connsiteX1364" fmla="*/ 10426121 w 12192000"/>
              <a:gd name="connsiteY1364" fmla="*/ 4369834 h 5588000"/>
              <a:gd name="connsiteX1365" fmla="*/ 10412697 w 12192000"/>
              <a:gd name="connsiteY1365" fmla="*/ 4415749 h 5588000"/>
              <a:gd name="connsiteX1366" fmla="*/ 10401160 w 12192000"/>
              <a:gd name="connsiteY1366" fmla="*/ 4471740 h 5588000"/>
              <a:gd name="connsiteX1367" fmla="*/ 10399229 w 12192000"/>
              <a:gd name="connsiteY1367" fmla="*/ 4484953 h 5588000"/>
              <a:gd name="connsiteX1368" fmla="*/ 10396334 w 12192000"/>
              <a:gd name="connsiteY1368" fmla="*/ 4504774 h 5588000"/>
              <a:gd name="connsiteX1369" fmla="*/ 10386770 w 12192000"/>
              <a:gd name="connsiteY1369" fmla="*/ 4524261 h 5588000"/>
              <a:gd name="connsiteX1370" fmla="*/ 10373390 w 12192000"/>
              <a:gd name="connsiteY1370" fmla="*/ 4546886 h 5588000"/>
              <a:gd name="connsiteX1371" fmla="*/ 10353340 w 12192000"/>
              <a:gd name="connsiteY1371" fmla="*/ 4569177 h 5588000"/>
              <a:gd name="connsiteX1372" fmla="*/ 10326622 w 12192000"/>
              <a:gd name="connsiteY1372" fmla="*/ 4591136 h 5588000"/>
              <a:gd name="connsiteX1373" fmla="*/ 10286568 w 12192000"/>
              <a:gd name="connsiteY1373" fmla="*/ 4612428 h 5588000"/>
              <a:gd name="connsiteX1374" fmla="*/ 10265597 w 12192000"/>
              <a:gd name="connsiteY1374" fmla="*/ 4618037 h 5588000"/>
              <a:gd name="connsiteX1375" fmla="*/ 10241774 w 12192000"/>
              <a:gd name="connsiteY1375" fmla="*/ 4620175 h 5588000"/>
              <a:gd name="connsiteX1376" fmla="*/ 10208431 w 12192000"/>
              <a:gd name="connsiteY1376" fmla="*/ 4618510 h 5588000"/>
              <a:gd name="connsiteX1377" fmla="*/ 10169384 w 12192000"/>
              <a:gd name="connsiteY1377" fmla="*/ 4609906 h 5588000"/>
              <a:gd name="connsiteX1378" fmla="*/ 10125599 w 12192000"/>
              <a:gd name="connsiteY1378" fmla="*/ 4587755 h 5588000"/>
              <a:gd name="connsiteX1379" fmla="*/ 10074224 w 12192000"/>
              <a:gd name="connsiteY1379" fmla="*/ 4548588 h 5588000"/>
              <a:gd name="connsiteX1380" fmla="*/ 10047593 w 12192000"/>
              <a:gd name="connsiteY1380" fmla="*/ 4523966 h 5588000"/>
              <a:gd name="connsiteX1381" fmla="*/ 10024779 w 12192000"/>
              <a:gd name="connsiteY1381" fmla="*/ 4496207 h 5588000"/>
              <a:gd name="connsiteX1382" fmla="*/ 9990558 w 12192000"/>
              <a:gd name="connsiteY1382" fmla="*/ 4454569 h 5588000"/>
              <a:gd name="connsiteX1383" fmla="*/ 9955372 w 12192000"/>
              <a:gd name="connsiteY1383" fmla="*/ 4419537 h 5588000"/>
              <a:gd name="connsiteX1384" fmla="*/ 9907813 w 12192000"/>
              <a:gd name="connsiteY1384" fmla="*/ 4377233 h 5588000"/>
              <a:gd name="connsiteX1385" fmla="*/ 9859290 w 12192000"/>
              <a:gd name="connsiteY1385" fmla="*/ 4341536 h 5588000"/>
              <a:gd name="connsiteX1386" fmla="*/ 9834546 w 12192000"/>
              <a:gd name="connsiteY1386" fmla="*/ 4326991 h 5588000"/>
              <a:gd name="connsiteX1387" fmla="*/ 9805985 w 12192000"/>
              <a:gd name="connsiteY1387" fmla="*/ 4315583 h 5588000"/>
              <a:gd name="connsiteX1388" fmla="*/ 9776458 w 12192000"/>
              <a:gd name="connsiteY1388" fmla="*/ 4310781 h 5588000"/>
              <a:gd name="connsiteX1389" fmla="*/ 9752636 w 12192000"/>
              <a:gd name="connsiteY1389" fmla="*/ 4312919 h 5588000"/>
              <a:gd name="connsiteX1390" fmla="*/ 9724996 w 12192000"/>
              <a:gd name="connsiteY1390" fmla="*/ 4318194 h 5588000"/>
              <a:gd name="connsiteX1391" fmla="*/ 9703060 w 12192000"/>
              <a:gd name="connsiteY1391" fmla="*/ 4330409 h 5588000"/>
              <a:gd name="connsiteX1392" fmla="*/ 9683976 w 12192000"/>
              <a:gd name="connsiteY1392" fmla="*/ 4346094 h 5588000"/>
              <a:gd name="connsiteX1393" fmla="*/ 9674412 w 12192000"/>
              <a:gd name="connsiteY1393" fmla="*/ 4365581 h 5588000"/>
              <a:gd name="connsiteX1394" fmla="*/ 9662918 w 12192000"/>
              <a:gd name="connsiteY1394" fmla="*/ 4398282 h 5588000"/>
              <a:gd name="connsiteX1395" fmla="*/ 9653311 w 12192000"/>
              <a:gd name="connsiteY1395" fmla="*/ 4441060 h 5588000"/>
              <a:gd name="connsiteX1396" fmla="*/ 9652259 w 12192000"/>
              <a:gd name="connsiteY1396" fmla="*/ 4494247 h 5588000"/>
              <a:gd name="connsiteX1397" fmla="*/ 9657919 w 12192000"/>
              <a:gd name="connsiteY1397" fmla="*/ 4524477 h 5588000"/>
              <a:gd name="connsiteX1398" fmla="*/ 9666431 w 12192000"/>
              <a:gd name="connsiteY1398" fmla="*/ 4558177 h 5588000"/>
              <a:gd name="connsiteX1399" fmla="*/ 9677795 w 12192000"/>
              <a:gd name="connsiteY1399" fmla="*/ 4595347 h 5588000"/>
              <a:gd name="connsiteX1400" fmla="*/ 9695827 w 12192000"/>
              <a:gd name="connsiteY1400" fmla="*/ 4632849 h 5588000"/>
              <a:gd name="connsiteX1401" fmla="*/ 9700565 w 12192000"/>
              <a:gd name="connsiteY1401" fmla="*/ 4646396 h 5588000"/>
              <a:gd name="connsiteX1402" fmla="*/ 9698635 w 12192000"/>
              <a:gd name="connsiteY1402" fmla="*/ 4659609 h 5588000"/>
              <a:gd name="connsiteX1403" fmla="*/ 9699557 w 12192000"/>
              <a:gd name="connsiteY1403" fmla="*/ 4676293 h 5588000"/>
              <a:gd name="connsiteX1404" fmla="*/ 9696661 w 12192000"/>
              <a:gd name="connsiteY1404" fmla="*/ 4696113 h 5588000"/>
              <a:gd name="connsiteX1405" fmla="*/ 9686133 w 12192000"/>
              <a:gd name="connsiteY1405" fmla="*/ 4722207 h 5588000"/>
              <a:gd name="connsiteX1406" fmla="*/ 9672752 w 12192000"/>
              <a:gd name="connsiteY1406" fmla="*/ 4744832 h 5588000"/>
              <a:gd name="connsiteX1407" fmla="*/ 9642217 w 12192000"/>
              <a:gd name="connsiteY1407" fmla="*/ 4769927 h 5588000"/>
              <a:gd name="connsiteX1408" fmla="*/ 9627915 w 12192000"/>
              <a:gd name="connsiteY1408" fmla="*/ 4775868 h 5588000"/>
              <a:gd name="connsiteX1409" fmla="*/ 9606944 w 12192000"/>
              <a:gd name="connsiteY1409" fmla="*/ 4781476 h 5588000"/>
              <a:gd name="connsiteX1410" fmla="*/ 9572636 w 12192000"/>
              <a:gd name="connsiteY1410" fmla="*/ 4786419 h 5588000"/>
              <a:gd name="connsiteX1411" fmla="*/ 9539293 w 12192000"/>
              <a:gd name="connsiteY1411" fmla="*/ 4784754 h 5588000"/>
              <a:gd name="connsiteX1412" fmla="*/ 9496430 w 12192000"/>
              <a:gd name="connsiteY1412" fmla="*/ 4779287 h 5588000"/>
              <a:gd name="connsiteX1413" fmla="*/ 9448828 w 12192000"/>
              <a:gd name="connsiteY1413" fmla="*/ 4760273 h 5588000"/>
              <a:gd name="connsiteX1414" fmla="*/ 9395522 w 12192000"/>
              <a:gd name="connsiteY1414" fmla="*/ 4734319 h 5588000"/>
              <a:gd name="connsiteX1415" fmla="*/ 9377447 w 12192000"/>
              <a:gd name="connsiteY1415" fmla="*/ 4720107 h 5588000"/>
              <a:gd name="connsiteX1416" fmla="*/ 9326993 w 12192000"/>
              <a:gd name="connsiteY1416" fmla="*/ 4697623 h 5588000"/>
              <a:gd name="connsiteX1417" fmla="*/ 9253682 w 12192000"/>
              <a:gd name="connsiteY1417" fmla="*/ 4670671 h 5588000"/>
              <a:gd name="connsiteX1418" fmla="*/ 9208932 w 12192000"/>
              <a:gd name="connsiteY1418" fmla="*/ 4655127 h 5588000"/>
              <a:gd name="connsiteX1419" fmla="*/ 9163217 w 12192000"/>
              <a:gd name="connsiteY1419" fmla="*/ 4646190 h 5588000"/>
              <a:gd name="connsiteX1420" fmla="*/ 9117502 w 12192000"/>
              <a:gd name="connsiteY1420" fmla="*/ 4637252 h 5588000"/>
              <a:gd name="connsiteX1421" fmla="*/ 9064153 w 12192000"/>
              <a:gd name="connsiteY1421" fmla="*/ 4634589 h 5588000"/>
              <a:gd name="connsiteX1422" fmla="*/ 9016508 w 12192000"/>
              <a:gd name="connsiteY1422" fmla="*/ 4638865 h 5588000"/>
              <a:gd name="connsiteX1423" fmla="*/ 8964080 w 12192000"/>
              <a:gd name="connsiteY1423" fmla="*/ 4652886 h 5588000"/>
              <a:gd name="connsiteX1424" fmla="*/ 8917357 w 12192000"/>
              <a:gd name="connsiteY1424" fmla="*/ 4673845 h 5588000"/>
              <a:gd name="connsiteX1425" fmla="*/ 8872520 w 12192000"/>
              <a:gd name="connsiteY1425" fmla="*/ 4704882 h 5588000"/>
              <a:gd name="connsiteX1426" fmla="*/ 8849619 w 12192000"/>
              <a:gd name="connsiteY1426" fmla="*/ 4723704 h 5588000"/>
              <a:gd name="connsiteX1427" fmla="*/ 8829569 w 12192000"/>
              <a:gd name="connsiteY1427" fmla="*/ 4745995 h 5588000"/>
              <a:gd name="connsiteX1428" fmla="*/ 8808555 w 12192000"/>
              <a:gd name="connsiteY1428" fmla="*/ 4774893 h 5588000"/>
              <a:gd name="connsiteX1429" fmla="*/ 8791357 w 12192000"/>
              <a:gd name="connsiteY1429" fmla="*/ 4800655 h 5588000"/>
              <a:gd name="connsiteX1430" fmla="*/ 8786576 w 12192000"/>
              <a:gd name="connsiteY1430" fmla="*/ 4810398 h 5588000"/>
              <a:gd name="connsiteX1431" fmla="*/ 8783680 w 12192000"/>
              <a:gd name="connsiteY1431" fmla="*/ 4830219 h 5588000"/>
              <a:gd name="connsiteX1432" fmla="*/ 8779820 w 12192000"/>
              <a:gd name="connsiteY1432" fmla="*/ 4856646 h 5588000"/>
              <a:gd name="connsiteX1433" fmla="*/ 8783550 w 12192000"/>
              <a:gd name="connsiteY1433" fmla="*/ 4900089 h 5588000"/>
              <a:gd name="connsiteX1434" fmla="*/ 8793992 w 12192000"/>
              <a:gd name="connsiteY1434" fmla="*/ 4920576 h 5588000"/>
              <a:gd name="connsiteX1435" fmla="*/ 8803469 w 12192000"/>
              <a:gd name="connsiteY1435" fmla="*/ 4947669 h 5588000"/>
              <a:gd name="connsiteX1436" fmla="*/ 8822466 w 12192000"/>
              <a:gd name="connsiteY1436" fmla="*/ 4978564 h 5588000"/>
              <a:gd name="connsiteX1437" fmla="*/ 8845280 w 12192000"/>
              <a:gd name="connsiteY1437" fmla="*/ 5006323 h 5588000"/>
              <a:gd name="connsiteX1438" fmla="*/ 8874763 w 12192000"/>
              <a:gd name="connsiteY1438" fmla="*/ 5034415 h 5588000"/>
              <a:gd name="connsiteX1439" fmla="*/ 8909949 w 12192000"/>
              <a:gd name="connsiteY1439" fmla="*/ 5069446 h 5588000"/>
              <a:gd name="connsiteX1440" fmla="*/ 8951804 w 12192000"/>
              <a:gd name="connsiteY1440" fmla="*/ 5104811 h 5588000"/>
              <a:gd name="connsiteX1441" fmla="*/ 9004144 w 12192000"/>
              <a:gd name="connsiteY1441" fmla="*/ 5137371 h 5588000"/>
              <a:gd name="connsiteX1442" fmla="*/ 9035557 w 12192000"/>
              <a:gd name="connsiteY1442" fmla="*/ 5152249 h 5588000"/>
              <a:gd name="connsiteX1443" fmla="*/ 9066005 w 12192000"/>
              <a:gd name="connsiteY1443" fmla="*/ 5173734 h 5588000"/>
              <a:gd name="connsiteX1444" fmla="*/ 9099304 w 12192000"/>
              <a:gd name="connsiteY1444" fmla="*/ 5198689 h 5588000"/>
              <a:gd name="connsiteX1445" fmla="*/ 9127822 w 12192000"/>
              <a:gd name="connsiteY1445" fmla="*/ 5233388 h 5588000"/>
              <a:gd name="connsiteX1446" fmla="*/ 9138264 w 12192000"/>
              <a:gd name="connsiteY1446" fmla="*/ 5253874 h 5588000"/>
              <a:gd name="connsiteX1447" fmla="*/ 9148706 w 12192000"/>
              <a:gd name="connsiteY1447" fmla="*/ 5274360 h 5588000"/>
              <a:gd name="connsiteX1448" fmla="*/ 9152479 w 12192000"/>
              <a:gd name="connsiteY1448" fmla="*/ 5294513 h 5588000"/>
              <a:gd name="connsiteX1449" fmla="*/ 9155288 w 12192000"/>
              <a:gd name="connsiteY1449" fmla="*/ 5321274 h 5588000"/>
              <a:gd name="connsiteX1450" fmla="*/ 9155244 w 12192000"/>
              <a:gd name="connsiteY1450" fmla="*/ 5344564 h 5588000"/>
              <a:gd name="connsiteX1451" fmla="*/ 9153804 w 12192000"/>
              <a:gd name="connsiteY1451" fmla="*/ 5348133 h 5588000"/>
              <a:gd name="connsiteX1452" fmla="*/ 9140880 w 12192000"/>
              <a:gd name="connsiteY1452" fmla="*/ 5348304 h 5588000"/>
              <a:gd name="connsiteX1453" fmla="*/ 9015754 w 12192000"/>
              <a:gd name="connsiteY1453" fmla="*/ 5340387 h 5588000"/>
              <a:gd name="connsiteX1454" fmla="*/ 8948726 w 12192000"/>
              <a:gd name="connsiteY1454" fmla="*/ 5331787 h 5588000"/>
              <a:gd name="connsiteX1455" fmla="*/ 8943779 w 12192000"/>
              <a:gd name="connsiteY1455" fmla="*/ 5320697 h 5588000"/>
              <a:gd name="connsiteX1456" fmla="*/ 8921930 w 12192000"/>
              <a:gd name="connsiteY1456" fmla="*/ 5286331 h 5588000"/>
              <a:gd name="connsiteX1457" fmla="*/ 8892447 w 12192000"/>
              <a:gd name="connsiteY1457" fmla="*/ 5258239 h 5588000"/>
              <a:gd name="connsiteX1458" fmla="*/ 8862000 w 12192000"/>
              <a:gd name="connsiteY1458" fmla="*/ 5236754 h 5588000"/>
              <a:gd name="connsiteX1459" fmla="*/ 8827735 w 12192000"/>
              <a:gd name="connsiteY1459" fmla="*/ 5218406 h 5588000"/>
              <a:gd name="connsiteX1460" fmla="*/ 8791540 w 12192000"/>
              <a:gd name="connsiteY1460" fmla="*/ 5213272 h 5588000"/>
              <a:gd name="connsiteX1461" fmla="*/ 8755345 w 12192000"/>
              <a:gd name="connsiteY1461" fmla="*/ 5208138 h 5588000"/>
              <a:gd name="connsiteX1462" fmla="*/ 8721037 w 12192000"/>
              <a:gd name="connsiteY1462" fmla="*/ 5213080 h 5588000"/>
              <a:gd name="connsiteX1463" fmla="*/ 8692433 w 12192000"/>
              <a:gd name="connsiteY1463" fmla="*/ 5224962 h 5588000"/>
              <a:gd name="connsiteX1464" fmla="*/ 8662863 w 12192000"/>
              <a:gd name="connsiteY1464" fmla="*/ 5243451 h 5588000"/>
              <a:gd name="connsiteX1465" fmla="*/ 8637383 w 12192000"/>
              <a:gd name="connsiteY1465" fmla="*/ 5269743 h 5588000"/>
              <a:gd name="connsiteX1466" fmla="*/ 8391475 w 12192000"/>
              <a:gd name="connsiteY1466" fmla="*/ 5193983 h 5588000"/>
              <a:gd name="connsiteX1467" fmla="*/ 7114188 w 12192000"/>
              <a:gd name="connsiteY1467" fmla="*/ 4663788 h 5588000"/>
              <a:gd name="connsiteX1468" fmla="*/ 6940444 w 12192000"/>
              <a:gd name="connsiteY1468" fmla="*/ 4600819 h 5588000"/>
              <a:gd name="connsiteX1469" fmla="*/ 6936903 w 12192000"/>
              <a:gd name="connsiteY1469" fmla="*/ 4586798 h 5588000"/>
              <a:gd name="connsiteX1470" fmla="*/ 6915054 w 12192000"/>
              <a:gd name="connsiteY1470" fmla="*/ 4552432 h 5588000"/>
              <a:gd name="connsiteX1471" fmla="*/ 6889388 w 12192000"/>
              <a:gd name="connsiteY1471" fmla="*/ 4521204 h 5588000"/>
              <a:gd name="connsiteX1472" fmla="*/ 6856088 w 12192000"/>
              <a:gd name="connsiteY1472" fmla="*/ 4496249 h 5588000"/>
              <a:gd name="connsiteX1473" fmla="*/ 6812303 w 12192000"/>
              <a:gd name="connsiteY1473" fmla="*/ 4474098 h 5588000"/>
              <a:gd name="connsiteX1474" fmla="*/ 6760885 w 12192000"/>
              <a:gd name="connsiteY1474" fmla="*/ 4458221 h 5588000"/>
              <a:gd name="connsiteX1475" fmla="*/ 6695164 w 12192000"/>
              <a:gd name="connsiteY1475" fmla="*/ 4448285 h 5588000"/>
              <a:gd name="connsiteX1476" fmla="*/ 6620844 w 12192000"/>
              <a:gd name="connsiteY1476" fmla="*/ 4451230 h 5588000"/>
              <a:gd name="connsiteX1477" fmla="*/ 6528405 w 12192000"/>
              <a:gd name="connsiteY1477" fmla="*/ 4463252 h 5588000"/>
              <a:gd name="connsiteX1478" fmla="*/ 6482701 w 12192000"/>
              <a:gd name="connsiteY1478" fmla="*/ 4475475 h 5588000"/>
              <a:gd name="connsiteX1479" fmla="*/ 6392721 w 12192000"/>
              <a:gd name="connsiteY1479" fmla="*/ 4457166 h 5588000"/>
              <a:gd name="connsiteX1480" fmla="*/ 6239004 w 12192000"/>
              <a:gd name="connsiteY1480" fmla="*/ 4438379 h 5588000"/>
              <a:gd name="connsiteX1481" fmla="*/ 6168527 w 12192000"/>
              <a:gd name="connsiteY1481" fmla="*/ 4435668 h 5588000"/>
              <a:gd name="connsiteX1482" fmla="*/ 6158824 w 12192000"/>
              <a:gd name="connsiteY1482" fmla="*/ 4418182 h 5588000"/>
              <a:gd name="connsiteX1483" fmla="*/ 6145530 w 12192000"/>
              <a:gd name="connsiteY1483" fmla="*/ 4394226 h 5588000"/>
              <a:gd name="connsiteX1484" fmla="*/ 6136053 w 12192000"/>
              <a:gd name="connsiteY1484" fmla="*/ 4367133 h 5588000"/>
              <a:gd name="connsiteX1485" fmla="*/ 6123724 w 12192000"/>
              <a:gd name="connsiteY1485" fmla="*/ 4336570 h 5588000"/>
              <a:gd name="connsiteX1486" fmla="*/ 6107579 w 12192000"/>
              <a:gd name="connsiteY1486" fmla="*/ 4309144 h 5588000"/>
              <a:gd name="connsiteX1487" fmla="*/ 6078096 w 12192000"/>
              <a:gd name="connsiteY1487" fmla="*/ 4281052 h 5588000"/>
              <a:gd name="connsiteX1488" fmla="*/ 6062872 w 12192000"/>
              <a:gd name="connsiteY1488" fmla="*/ 4270310 h 5588000"/>
              <a:gd name="connsiteX1489" fmla="*/ 6047648 w 12192000"/>
              <a:gd name="connsiteY1489" fmla="*/ 4259567 h 5588000"/>
              <a:gd name="connsiteX1490" fmla="*/ 6027643 w 12192000"/>
              <a:gd name="connsiteY1490" fmla="*/ 4258569 h 5588000"/>
              <a:gd name="connsiteX1491" fmla="*/ 6007637 w 12192000"/>
              <a:gd name="connsiteY1491" fmla="*/ 4257570 h 5588000"/>
              <a:gd name="connsiteX1492" fmla="*/ 5983815 w 12192000"/>
              <a:gd name="connsiteY1492" fmla="*/ 4259708 h 5588000"/>
              <a:gd name="connsiteX1493" fmla="*/ 5959026 w 12192000"/>
              <a:gd name="connsiteY1493" fmla="*/ 4268453 h 5588000"/>
              <a:gd name="connsiteX1494" fmla="*/ 5940907 w 12192000"/>
              <a:gd name="connsiteY1494" fmla="*/ 4277531 h 5588000"/>
              <a:gd name="connsiteX1495" fmla="*/ 5918971 w 12192000"/>
              <a:gd name="connsiteY1495" fmla="*/ 4289746 h 5588000"/>
              <a:gd name="connsiteX1496" fmla="*/ 5898923 w 12192000"/>
              <a:gd name="connsiteY1496" fmla="*/ 4312037 h 5588000"/>
              <a:gd name="connsiteX1497" fmla="*/ 5875060 w 12192000"/>
              <a:gd name="connsiteY1497" fmla="*/ 4337466 h 5588000"/>
              <a:gd name="connsiteX1498" fmla="*/ 5856893 w 12192000"/>
              <a:gd name="connsiteY1498" fmla="*/ 4369834 h 5588000"/>
              <a:gd name="connsiteX1499" fmla="*/ 5843470 w 12192000"/>
              <a:gd name="connsiteY1499" fmla="*/ 4415749 h 5588000"/>
              <a:gd name="connsiteX1500" fmla="*/ 5837626 w 12192000"/>
              <a:gd name="connsiteY1500" fmla="*/ 4444108 h 5588000"/>
              <a:gd name="connsiteX1501" fmla="*/ 5749322 w 12192000"/>
              <a:gd name="connsiteY1501" fmla="*/ 4451801 h 5588000"/>
              <a:gd name="connsiteX1502" fmla="*/ 5579777 w 12192000"/>
              <a:gd name="connsiteY1502" fmla="*/ 4474359 h 5588000"/>
              <a:gd name="connsiteX1503" fmla="*/ 5454985 w 12192000"/>
              <a:gd name="connsiteY1503" fmla="*/ 4495518 h 5588000"/>
              <a:gd name="connsiteX1504" fmla="*/ 5421331 w 12192000"/>
              <a:gd name="connsiteY1504" fmla="*/ 4454569 h 5588000"/>
              <a:gd name="connsiteX1505" fmla="*/ 5386144 w 12192000"/>
              <a:gd name="connsiteY1505" fmla="*/ 4419537 h 5588000"/>
              <a:gd name="connsiteX1506" fmla="*/ 5338587 w 12192000"/>
              <a:gd name="connsiteY1506" fmla="*/ 4377233 h 5588000"/>
              <a:gd name="connsiteX1507" fmla="*/ 5290062 w 12192000"/>
              <a:gd name="connsiteY1507" fmla="*/ 4341536 h 5588000"/>
              <a:gd name="connsiteX1508" fmla="*/ 5265319 w 12192000"/>
              <a:gd name="connsiteY1508" fmla="*/ 4326991 h 5588000"/>
              <a:gd name="connsiteX1509" fmla="*/ 5236757 w 12192000"/>
              <a:gd name="connsiteY1509" fmla="*/ 4315583 h 5588000"/>
              <a:gd name="connsiteX1510" fmla="*/ 5207231 w 12192000"/>
              <a:gd name="connsiteY1510" fmla="*/ 4310781 h 5588000"/>
              <a:gd name="connsiteX1511" fmla="*/ 5183408 w 12192000"/>
              <a:gd name="connsiteY1511" fmla="*/ 4312919 h 5588000"/>
              <a:gd name="connsiteX1512" fmla="*/ 5155769 w 12192000"/>
              <a:gd name="connsiteY1512" fmla="*/ 4318194 h 5588000"/>
              <a:gd name="connsiteX1513" fmla="*/ 5133834 w 12192000"/>
              <a:gd name="connsiteY1513" fmla="*/ 4330409 h 5588000"/>
              <a:gd name="connsiteX1514" fmla="*/ 5114749 w 12192000"/>
              <a:gd name="connsiteY1514" fmla="*/ 4346094 h 5588000"/>
              <a:gd name="connsiteX1515" fmla="*/ 5105185 w 12192000"/>
              <a:gd name="connsiteY1515" fmla="*/ 4365581 h 5588000"/>
              <a:gd name="connsiteX1516" fmla="*/ 5093692 w 12192000"/>
              <a:gd name="connsiteY1516" fmla="*/ 4398282 h 5588000"/>
              <a:gd name="connsiteX1517" fmla="*/ 5084084 w 12192000"/>
              <a:gd name="connsiteY1517" fmla="*/ 4441060 h 5588000"/>
              <a:gd name="connsiteX1518" fmla="*/ 5083031 w 12192000"/>
              <a:gd name="connsiteY1518" fmla="*/ 4494247 h 5588000"/>
              <a:gd name="connsiteX1519" fmla="*/ 5088691 w 12192000"/>
              <a:gd name="connsiteY1519" fmla="*/ 4524477 h 5588000"/>
              <a:gd name="connsiteX1520" fmla="*/ 5097204 w 12192000"/>
              <a:gd name="connsiteY1520" fmla="*/ 4558177 h 5588000"/>
              <a:gd name="connsiteX1521" fmla="*/ 5100024 w 12192000"/>
              <a:gd name="connsiteY1521" fmla="*/ 4567404 h 5588000"/>
              <a:gd name="connsiteX1522" fmla="*/ 5065601 w 12192000"/>
              <a:gd name="connsiteY1522" fmla="*/ 4574546 h 5588000"/>
              <a:gd name="connsiteX1523" fmla="*/ 4727780 w 12192000"/>
              <a:gd name="connsiteY1523" fmla="*/ 4652902 h 5588000"/>
              <a:gd name="connsiteX1524" fmla="*/ 4670444 w 12192000"/>
              <a:gd name="connsiteY1524" fmla="*/ 4665804 h 5588000"/>
              <a:gd name="connsiteX1525" fmla="*/ 4639705 w 12192000"/>
              <a:gd name="connsiteY1525" fmla="*/ 4655127 h 5588000"/>
              <a:gd name="connsiteX1526" fmla="*/ 4593989 w 12192000"/>
              <a:gd name="connsiteY1526" fmla="*/ 4646190 h 5588000"/>
              <a:gd name="connsiteX1527" fmla="*/ 4548274 w 12192000"/>
              <a:gd name="connsiteY1527" fmla="*/ 4637252 h 5588000"/>
              <a:gd name="connsiteX1528" fmla="*/ 4494925 w 12192000"/>
              <a:gd name="connsiteY1528" fmla="*/ 4634589 h 5588000"/>
              <a:gd name="connsiteX1529" fmla="*/ 4447280 w 12192000"/>
              <a:gd name="connsiteY1529" fmla="*/ 4638865 h 5588000"/>
              <a:gd name="connsiteX1530" fmla="*/ 4394854 w 12192000"/>
              <a:gd name="connsiteY1530" fmla="*/ 4652886 h 5588000"/>
              <a:gd name="connsiteX1531" fmla="*/ 4348129 w 12192000"/>
              <a:gd name="connsiteY1531" fmla="*/ 4673845 h 5588000"/>
              <a:gd name="connsiteX1532" fmla="*/ 4303292 w 12192000"/>
              <a:gd name="connsiteY1532" fmla="*/ 4704882 h 5588000"/>
              <a:gd name="connsiteX1533" fmla="*/ 4280391 w 12192000"/>
              <a:gd name="connsiteY1533" fmla="*/ 4723704 h 5588000"/>
              <a:gd name="connsiteX1534" fmla="*/ 4260342 w 12192000"/>
              <a:gd name="connsiteY1534" fmla="*/ 4745995 h 5588000"/>
              <a:gd name="connsiteX1535" fmla="*/ 4253362 w 12192000"/>
              <a:gd name="connsiteY1535" fmla="*/ 4755594 h 5588000"/>
              <a:gd name="connsiteX1536" fmla="*/ 4247652 w 12192000"/>
              <a:gd name="connsiteY1536" fmla="*/ 4756724 h 5588000"/>
              <a:gd name="connsiteX1537" fmla="*/ 3822438 w 12192000"/>
              <a:gd name="connsiteY1537" fmla="*/ 4806822 h 5588000"/>
              <a:gd name="connsiteX1538" fmla="*/ 3722758 w 12192000"/>
              <a:gd name="connsiteY1538" fmla="*/ 4803730 h 5588000"/>
              <a:gd name="connsiteX1539" fmla="*/ 3623077 w 12192000"/>
              <a:gd name="connsiteY1539" fmla="*/ 4806822 h 5588000"/>
              <a:gd name="connsiteX1540" fmla="*/ 3197865 w 12192000"/>
              <a:gd name="connsiteY1540" fmla="*/ 4756724 h 5588000"/>
              <a:gd name="connsiteX1541" fmla="*/ 3126011 w 12192000"/>
              <a:gd name="connsiteY1541" fmla="*/ 4742508 h 5588000"/>
              <a:gd name="connsiteX1542" fmla="*/ 3127691 w 12192000"/>
              <a:gd name="connsiteY1542" fmla="*/ 4731008 h 5588000"/>
              <a:gd name="connsiteX1543" fmla="*/ 3127777 w 12192000"/>
              <a:gd name="connsiteY1543" fmla="*/ 4684427 h 5588000"/>
              <a:gd name="connsiteX1544" fmla="*/ 3122117 w 12192000"/>
              <a:gd name="connsiteY1544" fmla="*/ 4654197 h 5588000"/>
              <a:gd name="connsiteX1545" fmla="*/ 3113605 w 12192000"/>
              <a:gd name="connsiteY1545" fmla="*/ 4620498 h 5588000"/>
              <a:gd name="connsiteX1546" fmla="*/ 3105093 w 12192000"/>
              <a:gd name="connsiteY1546" fmla="*/ 4586798 h 5588000"/>
              <a:gd name="connsiteX1547" fmla="*/ 3083245 w 12192000"/>
              <a:gd name="connsiteY1547" fmla="*/ 4552432 h 5588000"/>
              <a:gd name="connsiteX1548" fmla="*/ 3057579 w 12192000"/>
              <a:gd name="connsiteY1548" fmla="*/ 4521204 h 5588000"/>
              <a:gd name="connsiteX1549" fmla="*/ 3024279 w 12192000"/>
              <a:gd name="connsiteY1549" fmla="*/ 4496249 h 5588000"/>
              <a:gd name="connsiteX1550" fmla="*/ 2980494 w 12192000"/>
              <a:gd name="connsiteY1550" fmla="*/ 4474098 h 5588000"/>
              <a:gd name="connsiteX1551" fmla="*/ 2929076 w 12192000"/>
              <a:gd name="connsiteY1551" fmla="*/ 4458221 h 5588000"/>
              <a:gd name="connsiteX1552" fmla="*/ 2863355 w 12192000"/>
              <a:gd name="connsiteY1552" fmla="*/ 4448285 h 5588000"/>
              <a:gd name="connsiteX1553" fmla="*/ 2789035 w 12192000"/>
              <a:gd name="connsiteY1553" fmla="*/ 4451230 h 5588000"/>
              <a:gd name="connsiteX1554" fmla="*/ 2696596 w 12192000"/>
              <a:gd name="connsiteY1554" fmla="*/ 4463252 h 5588000"/>
              <a:gd name="connsiteX1555" fmla="*/ 2591742 w 12192000"/>
              <a:gd name="connsiteY1555" fmla="*/ 4491293 h 5588000"/>
              <a:gd name="connsiteX1556" fmla="*/ 2557434 w 12192000"/>
              <a:gd name="connsiteY1556" fmla="*/ 4496235 h 5588000"/>
              <a:gd name="connsiteX1557" fmla="*/ 2520274 w 12192000"/>
              <a:gd name="connsiteY1557" fmla="*/ 4497707 h 5588000"/>
              <a:gd name="connsiteX1558" fmla="*/ 2476445 w 12192000"/>
              <a:gd name="connsiteY1558" fmla="*/ 4498847 h 5588000"/>
              <a:gd name="connsiteX1559" fmla="*/ 2426913 w 12192000"/>
              <a:gd name="connsiteY1559" fmla="*/ 4493046 h 5588000"/>
              <a:gd name="connsiteX1560" fmla="*/ 2405021 w 12192000"/>
              <a:gd name="connsiteY1560" fmla="*/ 4481971 h 5588000"/>
              <a:gd name="connsiteX1561" fmla="*/ 2383128 w 12192000"/>
              <a:gd name="connsiteY1561" fmla="*/ 4470896 h 5588000"/>
              <a:gd name="connsiteX1562" fmla="*/ 2361236 w 12192000"/>
              <a:gd name="connsiteY1562" fmla="*/ 4459820 h 5588000"/>
              <a:gd name="connsiteX1563" fmla="*/ 2340309 w 12192000"/>
              <a:gd name="connsiteY1563" fmla="*/ 4442138 h 5588000"/>
              <a:gd name="connsiteX1564" fmla="*/ 2327015 w 12192000"/>
              <a:gd name="connsiteY1564" fmla="*/ 4418182 h 5588000"/>
              <a:gd name="connsiteX1565" fmla="*/ 2313721 w 12192000"/>
              <a:gd name="connsiteY1565" fmla="*/ 4394226 h 5588000"/>
              <a:gd name="connsiteX1566" fmla="*/ 2304244 w 12192000"/>
              <a:gd name="connsiteY1566" fmla="*/ 4367133 h 5588000"/>
              <a:gd name="connsiteX1567" fmla="*/ 2291916 w 12192000"/>
              <a:gd name="connsiteY1567" fmla="*/ 4336570 h 5588000"/>
              <a:gd name="connsiteX1568" fmla="*/ 2275770 w 12192000"/>
              <a:gd name="connsiteY1568" fmla="*/ 4309144 h 5588000"/>
              <a:gd name="connsiteX1569" fmla="*/ 2246287 w 12192000"/>
              <a:gd name="connsiteY1569" fmla="*/ 4281052 h 5588000"/>
              <a:gd name="connsiteX1570" fmla="*/ 2231063 w 12192000"/>
              <a:gd name="connsiteY1570" fmla="*/ 4270310 h 5588000"/>
              <a:gd name="connsiteX1571" fmla="*/ 2215840 w 12192000"/>
              <a:gd name="connsiteY1571" fmla="*/ 4259567 h 5588000"/>
              <a:gd name="connsiteX1572" fmla="*/ 2195834 w 12192000"/>
              <a:gd name="connsiteY1572" fmla="*/ 4258569 h 5588000"/>
              <a:gd name="connsiteX1573" fmla="*/ 2175828 w 12192000"/>
              <a:gd name="connsiteY1573" fmla="*/ 4257570 h 5588000"/>
              <a:gd name="connsiteX1574" fmla="*/ 2152005 w 12192000"/>
              <a:gd name="connsiteY1574" fmla="*/ 4259708 h 5588000"/>
              <a:gd name="connsiteX1575" fmla="*/ 2127217 w 12192000"/>
              <a:gd name="connsiteY1575" fmla="*/ 4268453 h 5588000"/>
              <a:gd name="connsiteX1576" fmla="*/ 2109098 w 12192000"/>
              <a:gd name="connsiteY1576" fmla="*/ 4277531 h 5588000"/>
              <a:gd name="connsiteX1577" fmla="*/ 2087162 w 12192000"/>
              <a:gd name="connsiteY1577" fmla="*/ 4289746 h 5588000"/>
              <a:gd name="connsiteX1578" fmla="*/ 2067113 w 12192000"/>
              <a:gd name="connsiteY1578" fmla="*/ 4312037 h 5588000"/>
              <a:gd name="connsiteX1579" fmla="*/ 2043247 w 12192000"/>
              <a:gd name="connsiteY1579" fmla="*/ 4337466 h 5588000"/>
              <a:gd name="connsiteX1580" fmla="*/ 2025084 w 12192000"/>
              <a:gd name="connsiteY1580" fmla="*/ 4369834 h 5588000"/>
              <a:gd name="connsiteX1581" fmla="*/ 2011660 w 12192000"/>
              <a:gd name="connsiteY1581" fmla="*/ 4415749 h 5588000"/>
              <a:gd name="connsiteX1582" fmla="*/ 2000123 w 12192000"/>
              <a:gd name="connsiteY1582" fmla="*/ 4471740 h 5588000"/>
              <a:gd name="connsiteX1583" fmla="*/ 1998193 w 12192000"/>
              <a:gd name="connsiteY1583" fmla="*/ 4484953 h 5588000"/>
              <a:gd name="connsiteX1584" fmla="*/ 1996502 w 12192000"/>
              <a:gd name="connsiteY1584" fmla="*/ 4496530 h 5588000"/>
              <a:gd name="connsiteX1585" fmla="*/ 1865741 w 12192000"/>
              <a:gd name="connsiteY1585" fmla="*/ 4474359 h 5588000"/>
              <a:gd name="connsiteX1586" fmla="*/ 1696196 w 12192000"/>
              <a:gd name="connsiteY1586" fmla="*/ 4451801 h 5588000"/>
              <a:gd name="connsiteX1587" fmla="*/ 1576245 w 12192000"/>
              <a:gd name="connsiteY1587" fmla="*/ 4441350 h 5588000"/>
              <a:gd name="connsiteX1588" fmla="*/ 1554335 w 12192000"/>
              <a:gd name="connsiteY1588" fmla="*/ 4419537 h 5588000"/>
              <a:gd name="connsiteX1589" fmla="*/ 1506777 w 12192000"/>
              <a:gd name="connsiteY1589" fmla="*/ 4377233 h 5588000"/>
              <a:gd name="connsiteX1590" fmla="*/ 1458253 w 12192000"/>
              <a:gd name="connsiteY1590" fmla="*/ 4341536 h 5588000"/>
              <a:gd name="connsiteX1591" fmla="*/ 1433509 w 12192000"/>
              <a:gd name="connsiteY1591" fmla="*/ 4326991 h 5588000"/>
              <a:gd name="connsiteX1592" fmla="*/ 1404948 w 12192000"/>
              <a:gd name="connsiteY1592" fmla="*/ 4315583 h 5588000"/>
              <a:gd name="connsiteX1593" fmla="*/ 1375422 w 12192000"/>
              <a:gd name="connsiteY1593" fmla="*/ 4310781 h 5588000"/>
              <a:gd name="connsiteX1594" fmla="*/ 1351599 w 12192000"/>
              <a:gd name="connsiteY1594" fmla="*/ 4312919 h 5588000"/>
              <a:gd name="connsiteX1595" fmla="*/ 1323960 w 12192000"/>
              <a:gd name="connsiteY1595" fmla="*/ 4318194 h 5588000"/>
              <a:gd name="connsiteX1596" fmla="*/ 1302024 w 12192000"/>
              <a:gd name="connsiteY1596" fmla="*/ 4330409 h 5588000"/>
              <a:gd name="connsiteX1597" fmla="*/ 1282940 w 12192000"/>
              <a:gd name="connsiteY1597" fmla="*/ 4346094 h 5588000"/>
              <a:gd name="connsiteX1598" fmla="*/ 1273376 w 12192000"/>
              <a:gd name="connsiteY1598" fmla="*/ 4365581 h 5588000"/>
              <a:gd name="connsiteX1599" fmla="*/ 1261882 w 12192000"/>
              <a:gd name="connsiteY1599" fmla="*/ 4398282 h 5588000"/>
              <a:gd name="connsiteX1600" fmla="*/ 1253280 w 12192000"/>
              <a:gd name="connsiteY1600" fmla="*/ 4436580 h 5588000"/>
              <a:gd name="connsiteX1601" fmla="*/ 1206512 w 12192000"/>
              <a:gd name="connsiteY1601" fmla="*/ 4438379 h 5588000"/>
              <a:gd name="connsiteX1602" fmla="*/ 1052794 w 12192000"/>
              <a:gd name="connsiteY1602" fmla="*/ 4457166 h 5588000"/>
              <a:gd name="connsiteX1603" fmla="*/ 916253 w 12192000"/>
              <a:gd name="connsiteY1603" fmla="*/ 4484948 h 5588000"/>
              <a:gd name="connsiteX1604" fmla="*/ 916827 w 12192000"/>
              <a:gd name="connsiteY1604" fmla="*/ 4484208 h 5588000"/>
              <a:gd name="connsiteX1605" fmla="*/ 925426 w 12192000"/>
              <a:gd name="connsiteY1605" fmla="*/ 4471328 h 5588000"/>
              <a:gd name="connsiteX1606" fmla="*/ 934990 w 12192000"/>
              <a:gd name="connsiteY1606" fmla="*/ 4451840 h 5588000"/>
              <a:gd name="connsiteX1607" fmla="*/ 936920 w 12192000"/>
              <a:gd name="connsiteY1607" fmla="*/ 4438627 h 5588000"/>
              <a:gd name="connsiteX1608" fmla="*/ 939815 w 12192000"/>
              <a:gd name="connsiteY1608" fmla="*/ 4418806 h 5588000"/>
              <a:gd name="connsiteX1609" fmla="*/ 932225 w 12192000"/>
              <a:gd name="connsiteY1609" fmla="*/ 4401790 h 5588000"/>
              <a:gd name="connsiteX1610" fmla="*/ 927486 w 12192000"/>
              <a:gd name="connsiteY1610" fmla="*/ 4388243 h 5588000"/>
              <a:gd name="connsiteX1611" fmla="*/ 919896 w 12192000"/>
              <a:gd name="connsiteY1611" fmla="*/ 4371227 h 5588000"/>
              <a:gd name="connsiteX1612" fmla="*/ 904672 w 12192000"/>
              <a:gd name="connsiteY1612" fmla="*/ 4360485 h 5588000"/>
              <a:gd name="connsiteX1613" fmla="*/ 889448 w 12192000"/>
              <a:gd name="connsiteY1613" fmla="*/ 4349742 h 5588000"/>
              <a:gd name="connsiteX1614" fmla="*/ 877076 w 12192000"/>
              <a:gd name="connsiteY1614" fmla="*/ 4342469 h 5588000"/>
              <a:gd name="connsiteX1615" fmla="*/ 857071 w 12192000"/>
              <a:gd name="connsiteY1615" fmla="*/ 4341471 h 5588000"/>
              <a:gd name="connsiteX1616" fmla="*/ 840881 w 12192000"/>
              <a:gd name="connsiteY1616" fmla="*/ 4337335 h 5588000"/>
              <a:gd name="connsiteX1617" fmla="*/ 819911 w 12192000"/>
              <a:gd name="connsiteY1617" fmla="*/ 4342943 h 5588000"/>
              <a:gd name="connsiteX1618" fmla="*/ 805608 w 12192000"/>
              <a:gd name="connsiteY1618" fmla="*/ 4348884 h 5588000"/>
              <a:gd name="connsiteX1619" fmla="*/ 790341 w 12192000"/>
              <a:gd name="connsiteY1619" fmla="*/ 4361432 h 5588000"/>
              <a:gd name="connsiteX1620" fmla="*/ 778891 w 12192000"/>
              <a:gd name="connsiteY1620" fmla="*/ 4370843 h 5588000"/>
              <a:gd name="connsiteX1621" fmla="*/ 766475 w 12192000"/>
              <a:gd name="connsiteY1621" fmla="*/ 4386860 h 5588000"/>
              <a:gd name="connsiteX1622" fmla="*/ 760728 w 12192000"/>
              <a:gd name="connsiteY1622" fmla="*/ 4403211 h 5588000"/>
              <a:gd name="connsiteX1623" fmla="*/ 757833 w 12192000"/>
              <a:gd name="connsiteY1623" fmla="*/ 4423031 h 5588000"/>
              <a:gd name="connsiteX1624" fmla="*/ 758754 w 12192000"/>
              <a:gd name="connsiteY1624" fmla="*/ 4439715 h 5588000"/>
              <a:gd name="connsiteX1625" fmla="*/ 759676 w 12192000"/>
              <a:gd name="connsiteY1625" fmla="*/ 4456398 h 5588000"/>
              <a:gd name="connsiteX1626" fmla="*/ 767266 w 12192000"/>
              <a:gd name="connsiteY1626" fmla="*/ 4473414 h 5588000"/>
              <a:gd name="connsiteX1627" fmla="*/ 778673 w 12192000"/>
              <a:gd name="connsiteY1627" fmla="*/ 4487294 h 5588000"/>
              <a:gd name="connsiteX1628" fmla="*/ 790080 w 12192000"/>
              <a:gd name="connsiteY1628" fmla="*/ 4501173 h 5588000"/>
              <a:gd name="connsiteX1629" fmla="*/ 802452 w 12192000"/>
              <a:gd name="connsiteY1629" fmla="*/ 4508446 h 5588000"/>
              <a:gd name="connsiteX1630" fmla="*/ 808075 w 12192000"/>
              <a:gd name="connsiteY1630" fmla="*/ 4510692 h 5588000"/>
              <a:gd name="connsiteX1631" fmla="*/ 687230 w 12192000"/>
              <a:gd name="connsiteY1631" fmla="*/ 4542719 h 5588000"/>
              <a:gd name="connsiteX1632" fmla="*/ 331328 w 12192000"/>
              <a:gd name="connsiteY1632" fmla="*/ 4663788 h 5588000"/>
              <a:gd name="connsiteX1633" fmla="*/ 0 w 12192000"/>
              <a:gd name="connsiteY1633" fmla="*/ 4799507 h 5588000"/>
              <a:gd name="connsiteX1634" fmla="*/ 0 w 12192000"/>
              <a:gd name="connsiteY1634" fmla="*/ 186020 h 5588000"/>
              <a:gd name="connsiteX1635" fmla="*/ 2926 w 12192000"/>
              <a:gd name="connsiteY1635" fmla="*/ 187406 h 5588000"/>
              <a:gd name="connsiteX1636" fmla="*/ 39120 w 12192000"/>
              <a:gd name="connsiteY1636" fmla="*/ 192541 h 5588000"/>
              <a:gd name="connsiteX1637" fmla="*/ 72464 w 12192000"/>
              <a:gd name="connsiteY1637" fmla="*/ 194205 h 5588000"/>
              <a:gd name="connsiteX1638" fmla="*/ 106772 w 12192000"/>
              <a:gd name="connsiteY1638" fmla="*/ 189263 h 5588000"/>
              <a:gd name="connsiteX1639" fmla="*/ 139193 w 12192000"/>
              <a:gd name="connsiteY1639" fmla="*/ 174244 h 5588000"/>
              <a:gd name="connsiteX1640" fmla="*/ 168763 w 12192000"/>
              <a:gd name="connsiteY1640" fmla="*/ 155755 h 5588000"/>
              <a:gd name="connsiteX1641" fmla="*/ 196446 w 12192000"/>
              <a:gd name="connsiteY1641" fmla="*/ 127190 h 5588000"/>
              <a:gd name="connsiteX1642" fmla="*/ 217460 w 12192000"/>
              <a:gd name="connsiteY1642" fmla="*/ 98292 h 5588000"/>
              <a:gd name="connsiteX1643" fmla="*/ 228954 w 12192000"/>
              <a:gd name="connsiteY1643" fmla="*/ 65591 h 5588000"/>
              <a:gd name="connsiteX1644" fmla="*/ 233779 w 12192000"/>
              <a:gd name="connsiteY1644" fmla="*/ 32556 h 558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Lst>
            <a:rect l="l" t="t" r="r" b="b"/>
            <a:pathLst>
              <a:path w="12192000" h="5588000">
                <a:moveTo>
                  <a:pt x="0" y="5584550"/>
                </a:moveTo>
                <a:lnTo>
                  <a:pt x="679" y="5588000"/>
                </a:lnTo>
                <a:lnTo>
                  <a:pt x="0" y="5588000"/>
                </a:lnTo>
                <a:close/>
                <a:moveTo>
                  <a:pt x="8587222" y="4933546"/>
                </a:moveTo>
                <a:lnTo>
                  <a:pt x="8570068" y="4936017"/>
                </a:lnTo>
                <a:lnTo>
                  <a:pt x="8552914" y="4938488"/>
                </a:lnTo>
                <a:lnTo>
                  <a:pt x="8537646" y="4951036"/>
                </a:lnTo>
                <a:lnTo>
                  <a:pt x="8526196" y="4960446"/>
                </a:lnTo>
                <a:lnTo>
                  <a:pt x="8520449" y="4976797"/>
                </a:lnTo>
                <a:lnTo>
                  <a:pt x="8514702" y="4993147"/>
                </a:lnTo>
                <a:lnTo>
                  <a:pt x="8515624" y="5009831"/>
                </a:lnTo>
                <a:lnTo>
                  <a:pt x="8516545" y="5026514"/>
                </a:lnTo>
                <a:lnTo>
                  <a:pt x="8523170" y="5050137"/>
                </a:lnTo>
                <a:lnTo>
                  <a:pt x="8530760" y="5067154"/>
                </a:lnTo>
                <a:lnTo>
                  <a:pt x="8545019" y="5084503"/>
                </a:lnTo>
                <a:lnTo>
                  <a:pt x="8559278" y="5101852"/>
                </a:lnTo>
                <a:lnTo>
                  <a:pt x="8577354" y="5116065"/>
                </a:lnTo>
                <a:lnTo>
                  <a:pt x="8596395" y="5123670"/>
                </a:lnTo>
                <a:lnTo>
                  <a:pt x="8612584" y="5127806"/>
                </a:lnTo>
                <a:lnTo>
                  <a:pt x="8628773" y="5131942"/>
                </a:lnTo>
                <a:lnTo>
                  <a:pt x="8648778" y="5132940"/>
                </a:lnTo>
                <a:lnTo>
                  <a:pt x="8663081" y="5126999"/>
                </a:lnTo>
                <a:lnTo>
                  <a:pt x="8674531" y="5117589"/>
                </a:lnTo>
                <a:lnTo>
                  <a:pt x="8689798" y="5105041"/>
                </a:lnTo>
                <a:lnTo>
                  <a:pt x="8698397" y="5092160"/>
                </a:lnTo>
                <a:lnTo>
                  <a:pt x="8701292" y="5072340"/>
                </a:lnTo>
                <a:lnTo>
                  <a:pt x="8700371" y="5055656"/>
                </a:lnTo>
                <a:lnTo>
                  <a:pt x="8699449" y="5038973"/>
                </a:lnTo>
                <a:lnTo>
                  <a:pt x="8691859" y="5021956"/>
                </a:lnTo>
                <a:lnTo>
                  <a:pt x="8681417" y="5001470"/>
                </a:lnTo>
                <a:lnTo>
                  <a:pt x="8670975" y="4980984"/>
                </a:lnTo>
                <a:lnTo>
                  <a:pt x="8652899" y="4966772"/>
                </a:lnTo>
                <a:lnTo>
                  <a:pt x="8637676" y="4956029"/>
                </a:lnTo>
                <a:lnTo>
                  <a:pt x="8619600" y="4941817"/>
                </a:lnTo>
                <a:lnTo>
                  <a:pt x="8603411" y="4937681"/>
                </a:lnTo>
                <a:close/>
                <a:moveTo>
                  <a:pt x="8963637" y="4380010"/>
                </a:moveTo>
                <a:lnTo>
                  <a:pt x="8946483" y="4382481"/>
                </a:lnTo>
                <a:lnTo>
                  <a:pt x="8932181" y="4388422"/>
                </a:lnTo>
                <a:lnTo>
                  <a:pt x="8914061" y="4397500"/>
                </a:lnTo>
                <a:lnTo>
                  <a:pt x="8895942" y="4406578"/>
                </a:lnTo>
                <a:lnTo>
                  <a:pt x="8883527" y="4422595"/>
                </a:lnTo>
                <a:lnTo>
                  <a:pt x="8871111" y="4438613"/>
                </a:lnTo>
                <a:lnTo>
                  <a:pt x="8858696" y="4454630"/>
                </a:lnTo>
                <a:lnTo>
                  <a:pt x="8852949" y="4470981"/>
                </a:lnTo>
                <a:lnTo>
                  <a:pt x="8853870" y="4487664"/>
                </a:lnTo>
                <a:lnTo>
                  <a:pt x="8854792" y="4504348"/>
                </a:lnTo>
                <a:lnTo>
                  <a:pt x="8859530" y="4517894"/>
                </a:lnTo>
                <a:lnTo>
                  <a:pt x="8864269" y="4531441"/>
                </a:lnTo>
                <a:lnTo>
                  <a:pt x="8876641" y="4538713"/>
                </a:lnTo>
                <a:lnTo>
                  <a:pt x="8891865" y="4549456"/>
                </a:lnTo>
                <a:lnTo>
                  <a:pt x="8905202" y="4550122"/>
                </a:lnTo>
                <a:lnTo>
                  <a:pt x="8921391" y="4554257"/>
                </a:lnTo>
                <a:lnTo>
                  <a:pt x="8938545" y="4551786"/>
                </a:lnTo>
                <a:lnTo>
                  <a:pt x="8956664" y="4542708"/>
                </a:lnTo>
                <a:lnTo>
                  <a:pt x="8974783" y="4533630"/>
                </a:lnTo>
                <a:lnTo>
                  <a:pt x="8992902" y="4524553"/>
                </a:lnTo>
                <a:lnTo>
                  <a:pt x="9005318" y="4508535"/>
                </a:lnTo>
                <a:lnTo>
                  <a:pt x="9017733" y="4492517"/>
                </a:lnTo>
                <a:lnTo>
                  <a:pt x="9026332" y="4479637"/>
                </a:lnTo>
                <a:lnTo>
                  <a:pt x="9032079" y="4463286"/>
                </a:lnTo>
                <a:lnTo>
                  <a:pt x="9031158" y="4446603"/>
                </a:lnTo>
                <a:lnTo>
                  <a:pt x="9033088" y="4433389"/>
                </a:lnTo>
                <a:lnTo>
                  <a:pt x="9029314" y="4413236"/>
                </a:lnTo>
                <a:lnTo>
                  <a:pt x="9020759" y="4402826"/>
                </a:lnTo>
                <a:lnTo>
                  <a:pt x="9012204" y="4392417"/>
                </a:lnTo>
                <a:lnTo>
                  <a:pt x="8996015" y="4388281"/>
                </a:lnTo>
                <a:lnTo>
                  <a:pt x="8979826" y="4384145"/>
                </a:lnTo>
                <a:close/>
                <a:moveTo>
                  <a:pt x="4394409" y="4380010"/>
                </a:moveTo>
                <a:lnTo>
                  <a:pt x="4377255" y="4382481"/>
                </a:lnTo>
                <a:lnTo>
                  <a:pt x="4362953" y="4388422"/>
                </a:lnTo>
                <a:lnTo>
                  <a:pt x="4344836" y="4397500"/>
                </a:lnTo>
                <a:lnTo>
                  <a:pt x="4326714" y="4406578"/>
                </a:lnTo>
                <a:lnTo>
                  <a:pt x="4314301" y="4422595"/>
                </a:lnTo>
                <a:lnTo>
                  <a:pt x="4301883" y="4438613"/>
                </a:lnTo>
                <a:lnTo>
                  <a:pt x="4289469" y="4454630"/>
                </a:lnTo>
                <a:lnTo>
                  <a:pt x="4283722" y="4470981"/>
                </a:lnTo>
                <a:lnTo>
                  <a:pt x="4284644" y="4487664"/>
                </a:lnTo>
                <a:lnTo>
                  <a:pt x="4285564" y="4504348"/>
                </a:lnTo>
                <a:lnTo>
                  <a:pt x="4290305" y="4517894"/>
                </a:lnTo>
                <a:lnTo>
                  <a:pt x="4295044" y="4531441"/>
                </a:lnTo>
                <a:lnTo>
                  <a:pt x="4307413" y="4538713"/>
                </a:lnTo>
                <a:lnTo>
                  <a:pt x="4322637" y="4549456"/>
                </a:lnTo>
                <a:lnTo>
                  <a:pt x="4335977" y="4550122"/>
                </a:lnTo>
                <a:lnTo>
                  <a:pt x="4352163" y="4554257"/>
                </a:lnTo>
                <a:lnTo>
                  <a:pt x="4369317" y="4551786"/>
                </a:lnTo>
                <a:lnTo>
                  <a:pt x="4387436" y="4542708"/>
                </a:lnTo>
                <a:lnTo>
                  <a:pt x="4405556" y="4533630"/>
                </a:lnTo>
                <a:lnTo>
                  <a:pt x="4423675" y="4524553"/>
                </a:lnTo>
                <a:lnTo>
                  <a:pt x="4436091" y="4508535"/>
                </a:lnTo>
                <a:lnTo>
                  <a:pt x="4448507" y="4492517"/>
                </a:lnTo>
                <a:lnTo>
                  <a:pt x="4457104" y="4479637"/>
                </a:lnTo>
                <a:lnTo>
                  <a:pt x="4462851" y="4463286"/>
                </a:lnTo>
                <a:lnTo>
                  <a:pt x="4461930" y="4446603"/>
                </a:lnTo>
                <a:lnTo>
                  <a:pt x="4463862" y="4433389"/>
                </a:lnTo>
                <a:lnTo>
                  <a:pt x="4460087" y="4413236"/>
                </a:lnTo>
                <a:lnTo>
                  <a:pt x="4451532" y="4402826"/>
                </a:lnTo>
                <a:lnTo>
                  <a:pt x="4442977" y="4392417"/>
                </a:lnTo>
                <a:lnTo>
                  <a:pt x="4426787" y="4388281"/>
                </a:lnTo>
                <a:lnTo>
                  <a:pt x="4410600" y="4384145"/>
                </a:lnTo>
                <a:close/>
                <a:moveTo>
                  <a:pt x="562600" y="4380010"/>
                </a:moveTo>
                <a:lnTo>
                  <a:pt x="545446" y="4382481"/>
                </a:lnTo>
                <a:lnTo>
                  <a:pt x="531144" y="4388422"/>
                </a:lnTo>
                <a:lnTo>
                  <a:pt x="513025" y="4397500"/>
                </a:lnTo>
                <a:lnTo>
                  <a:pt x="494905" y="4406578"/>
                </a:lnTo>
                <a:lnTo>
                  <a:pt x="482490" y="4422595"/>
                </a:lnTo>
                <a:lnTo>
                  <a:pt x="470074" y="4438613"/>
                </a:lnTo>
                <a:lnTo>
                  <a:pt x="457659" y="4454630"/>
                </a:lnTo>
                <a:lnTo>
                  <a:pt x="451912" y="4470981"/>
                </a:lnTo>
                <a:lnTo>
                  <a:pt x="452833" y="4487664"/>
                </a:lnTo>
                <a:lnTo>
                  <a:pt x="453755" y="4504348"/>
                </a:lnTo>
                <a:lnTo>
                  <a:pt x="458493" y="4517894"/>
                </a:lnTo>
                <a:lnTo>
                  <a:pt x="463232" y="4531441"/>
                </a:lnTo>
                <a:lnTo>
                  <a:pt x="475604" y="4538713"/>
                </a:lnTo>
                <a:lnTo>
                  <a:pt x="490828" y="4549456"/>
                </a:lnTo>
                <a:lnTo>
                  <a:pt x="504165" y="4550122"/>
                </a:lnTo>
                <a:lnTo>
                  <a:pt x="520354" y="4554257"/>
                </a:lnTo>
                <a:lnTo>
                  <a:pt x="537508" y="4551786"/>
                </a:lnTo>
                <a:lnTo>
                  <a:pt x="555627" y="4542708"/>
                </a:lnTo>
                <a:lnTo>
                  <a:pt x="573746" y="4533630"/>
                </a:lnTo>
                <a:lnTo>
                  <a:pt x="591865" y="4524553"/>
                </a:lnTo>
                <a:lnTo>
                  <a:pt x="604281" y="4508535"/>
                </a:lnTo>
                <a:lnTo>
                  <a:pt x="616697" y="4492517"/>
                </a:lnTo>
                <a:lnTo>
                  <a:pt x="625295" y="4479637"/>
                </a:lnTo>
                <a:lnTo>
                  <a:pt x="631042" y="4463286"/>
                </a:lnTo>
                <a:lnTo>
                  <a:pt x="630121" y="4446603"/>
                </a:lnTo>
                <a:lnTo>
                  <a:pt x="632051" y="4433389"/>
                </a:lnTo>
                <a:lnTo>
                  <a:pt x="628277" y="4413236"/>
                </a:lnTo>
                <a:lnTo>
                  <a:pt x="619722" y="4402826"/>
                </a:lnTo>
                <a:lnTo>
                  <a:pt x="611167" y="4392417"/>
                </a:lnTo>
                <a:lnTo>
                  <a:pt x="594978" y="4388281"/>
                </a:lnTo>
                <a:lnTo>
                  <a:pt x="578789" y="4384145"/>
                </a:lnTo>
                <a:close/>
                <a:moveTo>
                  <a:pt x="9241918" y="4337335"/>
                </a:moveTo>
                <a:lnTo>
                  <a:pt x="9220947" y="4342943"/>
                </a:lnTo>
                <a:lnTo>
                  <a:pt x="9206645" y="4348884"/>
                </a:lnTo>
                <a:lnTo>
                  <a:pt x="9191378" y="4361432"/>
                </a:lnTo>
                <a:lnTo>
                  <a:pt x="9179927" y="4370843"/>
                </a:lnTo>
                <a:lnTo>
                  <a:pt x="9167512" y="4386860"/>
                </a:lnTo>
                <a:lnTo>
                  <a:pt x="9161765" y="4403211"/>
                </a:lnTo>
                <a:lnTo>
                  <a:pt x="9158869" y="4423031"/>
                </a:lnTo>
                <a:lnTo>
                  <a:pt x="9159791" y="4439715"/>
                </a:lnTo>
                <a:lnTo>
                  <a:pt x="9160713" y="4456398"/>
                </a:lnTo>
                <a:lnTo>
                  <a:pt x="9168303" y="4473414"/>
                </a:lnTo>
                <a:lnTo>
                  <a:pt x="9179710" y="4487294"/>
                </a:lnTo>
                <a:lnTo>
                  <a:pt x="9191117" y="4501173"/>
                </a:lnTo>
                <a:lnTo>
                  <a:pt x="9203489" y="4508446"/>
                </a:lnTo>
                <a:lnTo>
                  <a:pt x="9222530" y="4516051"/>
                </a:lnTo>
                <a:lnTo>
                  <a:pt x="9238719" y="4520187"/>
                </a:lnTo>
                <a:lnTo>
                  <a:pt x="9255873" y="4517716"/>
                </a:lnTo>
                <a:lnTo>
                  <a:pt x="9273027" y="4515245"/>
                </a:lnTo>
                <a:lnTo>
                  <a:pt x="9291146" y="4506167"/>
                </a:lnTo>
                <a:lnTo>
                  <a:pt x="9305448" y="4500226"/>
                </a:lnTo>
                <a:lnTo>
                  <a:pt x="9317864" y="4484208"/>
                </a:lnTo>
                <a:lnTo>
                  <a:pt x="9326463" y="4471328"/>
                </a:lnTo>
                <a:lnTo>
                  <a:pt x="9336026" y="4451840"/>
                </a:lnTo>
                <a:lnTo>
                  <a:pt x="9337957" y="4438627"/>
                </a:lnTo>
                <a:lnTo>
                  <a:pt x="9340852" y="4418806"/>
                </a:lnTo>
                <a:lnTo>
                  <a:pt x="9333262" y="4401790"/>
                </a:lnTo>
                <a:lnTo>
                  <a:pt x="9328523" y="4388243"/>
                </a:lnTo>
                <a:lnTo>
                  <a:pt x="9320933" y="4371227"/>
                </a:lnTo>
                <a:lnTo>
                  <a:pt x="9305709" y="4360485"/>
                </a:lnTo>
                <a:lnTo>
                  <a:pt x="9290485" y="4349742"/>
                </a:lnTo>
                <a:lnTo>
                  <a:pt x="9278113" y="4342469"/>
                </a:lnTo>
                <a:lnTo>
                  <a:pt x="9258107" y="4341471"/>
                </a:lnTo>
                <a:close/>
                <a:moveTo>
                  <a:pt x="4672691" y="4337335"/>
                </a:moveTo>
                <a:lnTo>
                  <a:pt x="4651721" y="4342943"/>
                </a:lnTo>
                <a:lnTo>
                  <a:pt x="4637417" y="4348884"/>
                </a:lnTo>
                <a:lnTo>
                  <a:pt x="4622151" y="4361432"/>
                </a:lnTo>
                <a:lnTo>
                  <a:pt x="4610700" y="4370843"/>
                </a:lnTo>
                <a:lnTo>
                  <a:pt x="4598284" y="4386860"/>
                </a:lnTo>
                <a:lnTo>
                  <a:pt x="4592540" y="4403211"/>
                </a:lnTo>
                <a:lnTo>
                  <a:pt x="4589642" y="4423031"/>
                </a:lnTo>
                <a:lnTo>
                  <a:pt x="4590564" y="4439715"/>
                </a:lnTo>
                <a:lnTo>
                  <a:pt x="4591485" y="4456398"/>
                </a:lnTo>
                <a:lnTo>
                  <a:pt x="4599077" y="4473414"/>
                </a:lnTo>
                <a:lnTo>
                  <a:pt x="4610482" y="4487294"/>
                </a:lnTo>
                <a:lnTo>
                  <a:pt x="4621890" y="4501173"/>
                </a:lnTo>
                <a:lnTo>
                  <a:pt x="4634262" y="4508446"/>
                </a:lnTo>
                <a:lnTo>
                  <a:pt x="4653303" y="4516051"/>
                </a:lnTo>
                <a:lnTo>
                  <a:pt x="4669493" y="4520187"/>
                </a:lnTo>
                <a:lnTo>
                  <a:pt x="4686646" y="4517716"/>
                </a:lnTo>
                <a:lnTo>
                  <a:pt x="4703799" y="4515245"/>
                </a:lnTo>
                <a:lnTo>
                  <a:pt x="4721918" y="4506167"/>
                </a:lnTo>
                <a:lnTo>
                  <a:pt x="4736224" y="4500226"/>
                </a:lnTo>
                <a:lnTo>
                  <a:pt x="4748636" y="4484208"/>
                </a:lnTo>
                <a:lnTo>
                  <a:pt x="4757235" y="4471328"/>
                </a:lnTo>
                <a:lnTo>
                  <a:pt x="4766799" y="4451840"/>
                </a:lnTo>
                <a:lnTo>
                  <a:pt x="4768732" y="4438627"/>
                </a:lnTo>
                <a:lnTo>
                  <a:pt x="4771625" y="4418806"/>
                </a:lnTo>
                <a:lnTo>
                  <a:pt x="4764034" y="4401790"/>
                </a:lnTo>
                <a:lnTo>
                  <a:pt x="4759298" y="4388243"/>
                </a:lnTo>
                <a:lnTo>
                  <a:pt x="4751705" y="4371227"/>
                </a:lnTo>
                <a:lnTo>
                  <a:pt x="4736481" y="4360485"/>
                </a:lnTo>
                <a:lnTo>
                  <a:pt x="4721259" y="4349742"/>
                </a:lnTo>
                <a:lnTo>
                  <a:pt x="4708887" y="4342469"/>
                </a:lnTo>
                <a:lnTo>
                  <a:pt x="4688882" y="4341471"/>
                </a:lnTo>
                <a:close/>
                <a:moveTo>
                  <a:pt x="10130155" y="4188684"/>
                </a:moveTo>
                <a:lnTo>
                  <a:pt x="10113001" y="4191155"/>
                </a:lnTo>
                <a:lnTo>
                  <a:pt x="10095847" y="4193626"/>
                </a:lnTo>
                <a:lnTo>
                  <a:pt x="10080580" y="4206174"/>
                </a:lnTo>
                <a:lnTo>
                  <a:pt x="10065312" y="4218722"/>
                </a:lnTo>
                <a:lnTo>
                  <a:pt x="10055749" y="4238209"/>
                </a:lnTo>
                <a:lnTo>
                  <a:pt x="10050001" y="4254560"/>
                </a:lnTo>
                <a:lnTo>
                  <a:pt x="10047106" y="4274380"/>
                </a:lnTo>
                <a:lnTo>
                  <a:pt x="10050880" y="4294534"/>
                </a:lnTo>
                <a:lnTo>
                  <a:pt x="10057505" y="4318157"/>
                </a:lnTo>
                <a:lnTo>
                  <a:pt x="10067947" y="4338643"/>
                </a:lnTo>
                <a:lnTo>
                  <a:pt x="10082206" y="4355992"/>
                </a:lnTo>
                <a:lnTo>
                  <a:pt x="10096464" y="4373341"/>
                </a:lnTo>
                <a:lnTo>
                  <a:pt x="10114540" y="4387554"/>
                </a:lnTo>
                <a:lnTo>
                  <a:pt x="10133581" y="4395159"/>
                </a:lnTo>
                <a:lnTo>
                  <a:pt x="10152622" y="4402765"/>
                </a:lnTo>
                <a:lnTo>
                  <a:pt x="10172627" y="4403764"/>
                </a:lnTo>
                <a:lnTo>
                  <a:pt x="10192633" y="4404762"/>
                </a:lnTo>
                <a:lnTo>
                  <a:pt x="10210752" y="4395684"/>
                </a:lnTo>
                <a:lnTo>
                  <a:pt x="10228871" y="4386607"/>
                </a:lnTo>
                <a:lnTo>
                  <a:pt x="10241287" y="4370589"/>
                </a:lnTo>
                <a:lnTo>
                  <a:pt x="10249886" y="4357708"/>
                </a:lnTo>
                <a:lnTo>
                  <a:pt x="10252781" y="4337888"/>
                </a:lnTo>
                <a:lnTo>
                  <a:pt x="10255676" y="4318068"/>
                </a:lnTo>
                <a:lnTo>
                  <a:pt x="10251903" y="4297914"/>
                </a:lnTo>
                <a:lnTo>
                  <a:pt x="10248129" y="4277761"/>
                </a:lnTo>
                <a:lnTo>
                  <a:pt x="10237687" y="4257275"/>
                </a:lnTo>
                <a:lnTo>
                  <a:pt x="10227246" y="4236789"/>
                </a:lnTo>
                <a:lnTo>
                  <a:pt x="10209170" y="4222576"/>
                </a:lnTo>
                <a:lnTo>
                  <a:pt x="10191094" y="4208364"/>
                </a:lnTo>
                <a:lnTo>
                  <a:pt x="10169202" y="4197288"/>
                </a:lnTo>
                <a:lnTo>
                  <a:pt x="10150161" y="4189683"/>
                </a:lnTo>
                <a:close/>
                <a:moveTo>
                  <a:pt x="5560927" y="4188684"/>
                </a:moveTo>
                <a:lnTo>
                  <a:pt x="5543773" y="4191155"/>
                </a:lnTo>
                <a:lnTo>
                  <a:pt x="5526619" y="4193626"/>
                </a:lnTo>
                <a:lnTo>
                  <a:pt x="5511352" y="4206174"/>
                </a:lnTo>
                <a:lnTo>
                  <a:pt x="5496085" y="4218722"/>
                </a:lnTo>
                <a:lnTo>
                  <a:pt x="5486522" y="4238209"/>
                </a:lnTo>
                <a:lnTo>
                  <a:pt x="5480774" y="4254560"/>
                </a:lnTo>
                <a:lnTo>
                  <a:pt x="5477879" y="4274380"/>
                </a:lnTo>
                <a:lnTo>
                  <a:pt x="5481652" y="4294534"/>
                </a:lnTo>
                <a:lnTo>
                  <a:pt x="5488277" y="4318157"/>
                </a:lnTo>
                <a:lnTo>
                  <a:pt x="5498720" y="4338643"/>
                </a:lnTo>
                <a:lnTo>
                  <a:pt x="5512978" y="4355992"/>
                </a:lnTo>
                <a:lnTo>
                  <a:pt x="5527237" y="4373341"/>
                </a:lnTo>
                <a:lnTo>
                  <a:pt x="5545312" y="4387554"/>
                </a:lnTo>
                <a:lnTo>
                  <a:pt x="5564353" y="4395159"/>
                </a:lnTo>
                <a:lnTo>
                  <a:pt x="5583394" y="4402765"/>
                </a:lnTo>
                <a:lnTo>
                  <a:pt x="5603400" y="4403764"/>
                </a:lnTo>
                <a:lnTo>
                  <a:pt x="5623405" y="4404762"/>
                </a:lnTo>
                <a:lnTo>
                  <a:pt x="5641526" y="4395684"/>
                </a:lnTo>
                <a:lnTo>
                  <a:pt x="5659645" y="4386607"/>
                </a:lnTo>
                <a:lnTo>
                  <a:pt x="5672061" y="4370589"/>
                </a:lnTo>
                <a:lnTo>
                  <a:pt x="5680658" y="4357708"/>
                </a:lnTo>
                <a:lnTo>
                  <a:pt x="5683554" y="4337888"/>
                </a:lnTo>
                <a:lnTo>
                  <a:pt x="5686448" y="4318068"/>
                </a:lnTo>
                <a:lnTo>
                  <a:pt x="5682675" y="4297914"/>
                </a:lnTo>
                <a:lnTo>
                  <a:pt x="5678902" y="4277761"/>
                </a:lnTo>
                <a:lnTo>
                  <a:pt x="5668460" y="4257275"/>
                </a:lnTo>
                <a:lnTo>
                  <a:pt x="5658018" y="4236789"/>
                </a:lnTo>
                <a:lnTo>
                  <a:pt x="5639945" y="4222576"/>
                </a:lnTo>
                <a:lnTo>
                  <a:pt x="5621866" y="4208364"/>
                </a:lnTo>
                <a:lnTo>
                  <a:pt x="5599974" y="4197288"/>
                </a:lnTo>
                <a:lnTo>
                  <a:pt x="5580934" y="4189683"/>
                </a:lnTo>
                <a:close/>
                <a:moveTo>
                  <a:pt x="1729118" y="4188684"/>
                </a:moveTo>
                <a:lnTo>
                  <a:pt x="1711964" y="4191155"/>
                </a:lnTo>
                <a:lnTo>
                  <a:pt x="1694810" y="4193626"/>
                </a:lnTo>
                <a:lnTo>
                  <a:pt x="1679543" y="4206174"/>
                </a:lnTo>
                <a:lnTo>
                  <a:pt x="1664276" y="4218722"/>
                </a:lnTo>
                <a:lnTo>
                  <a:pt x="1654712" y="4238209"/>
                </a:lnTo>
                <a:lnTo>
                  <a:pt x="1648965" y="4254560"/>
                </a:lnTo>
                <a:lnTo>
                  <a:pt x="1646069" y="4274380"/>
                </a:lnTo>
                <a:lnTo>
                  <a:pt x="1649843" y="4294534"/>
                </a:lnTo>
                <a:lnTo>
                  <a:pt x="1656468" y="4318157"/>
                </a:lnTo>
                <a:lnTo>
                  <a:pt x="1666910" y="4338643"/>
                </a:lnTo>
                <a:lnTo>
                  <a:pt x="1681169" y="4355992"/>
                </a:lnTo>
                <a:lnTo>
                  <a:pt x="1695428" y="4373341"/>
                </a:lnTo>
                <a:lnTo>
                  <a:pt x="1713503" y="4387554"/>
                </a:lnTo>
                <a:lnTo>
                  <a:pt x="1732544" y="4395159"/>
                </a:lnTo>
                <a:lnTo>
                  <a:pt x="1751585" y="4402765"/>
                </a:lnTo>
                <a:lnTo>
                  <a:pt x="1771591" y="4403764"/>
                </a:lnTo>
                <a:lnTo>
                  <a:pt x="1791597" y="4404762"/>
                </a:lnTo>
                <a:lnTo>
                  <a:pt x="1809716" y="4395684"/>
                </a:lnTo>
                <a:lnTo>
                  <a:pt x="1827835" y="4386607"/>
                </a:lnTo>
                <a:lnTo>
                  <a:pt x="1840250" y="4370589"/>
                </a:lnTo>
                <a:lnTo>
                  <a:pt x="1848849" y="4357708"/>
                </a:lnTo>
                <a:lnTo>
                  <a:pt x="1851744" y="4337888"/>
                </a:lnTo>
                <a:lnTo>
                  <a:pt x="1854640" y="4318068"/>
                </a:lnTo>
                <a:lnTo>
                  <a:pt x="1850866" y="4297914"/>
                </a:lnTo>
                <a:lnTo>
                  <a:pt x="1847093" y="4277761"/>
                </a:lnTo>
                <a:lnTo>
                  <a:pt x="1836651" y="4257275"/>
                </a:lnTo>
                <a:lnTo>
                  <a:pt x="1826209" y="4236789"/>
                </a:lnTo>
                <a:lnTo>
                  <a:pt x="1808133" y="4222576"/>
                </a:lnTo>
                <a:lnTo>
                  <a:pt x="1790057" y="4208364"/>
                </a:lnTo>
                <a:lnTo>
                  <a:pt x="1768165" y="4197288"/>
                </a:lnTo>
                <a:lnTo>
                  <a:pt x="1749124" y="4189683"/>
                </a:lnTo>
                <a:close/>
                <a:moveTo>
                  <a:pt x="9924437" y="4148467"/>
                </a:moveTo>
                <a:lnTo>
                  <a:pt x="9900614" y="4150605"/>
                </a:lnTo>
                <a:lnTo>
                  <a:pt x="9882495" y="4159683"/>
                </a:lnTo>
                <a:lnTo>
                  <a:pt x="9866263" y="4178837"/>
                </a:lnTo>
                <a:lnTo>
                  <a:pt x="9859551" y="4201795"/>
                </a:lnTo>
                <a:lnTo>
                  <a:pt x="9863324" y="4221948"/>
                </a:lnTo>
                <a:lnTo>
                  <a:pt x="9876618" y="4245904"/>
                </a:lnTo>
                <a:lnTo>
                  <a:pt x="9894694" y="4260116"/>
                </a:lnTo>
                <a:lnTo>
                  <a:pt x="9913734" y="4267722"/>
                </a:lnTo>
                <a:lnTo>
                  <a:pt x="9937557" y="4265584"/>
                </a:lnTo>
                <a:lnTo>
                  <a:pt x="9959493" y="4253369"/>
                </a:lnTo>
                <a:lnTo>
                  <a:pt x="9971908" y="4237351"/>
                </a:lnTo>
                <a:lnTo>
                  <a:pt x="9978621" y="4214394"/>
                </a:lnTo>
                <a:lnTo>
                  <a:pt x="9974847" y="4194241"/>
                </a:lnTo>
                <a:lnTo>
                  <a:pt x="9964405" y="4173754"/>
                </a:lnTo>
                <a:lnTo>
                  <a:pt x="9943478" y="4156072"/>
                </a:lnTo>
                <a:close/>
                <a:moveTo>
                  <a:pt x="5355209" y="4148467"/>
                </a:moveTo>
                <a:lnTo>
                  <a:pt x="5331388" y="4150605"/>
                </a:lnTo>
                <a:lnTo>
                  <a:pt x="5313268" y="4159683"/>
                </a:lnTo>
                <a:lnTo>
                  <a:pt x="5297035" y="4178837"/>
                </a:lnTo>
                <a:lnTo>
                  <a:pt x="5290323" y="4201795"/>
                </a:lnTo>
                <a:lnTo>
                  <a:pt x="5294097" y="4221948"/>
                </a:lnTo>
                <a:lnTo>
                  <a:pt x="5307392" y="4245904"/>
                </a:lnTo>
                <a:lnTo>
                  <a:pt x="5325466" y="4260116"/>
                </a:lnTo>
                <a:lnTo>
                  <a:pt x="5344507" y="4267722"/>
                </a:lnTo>
                <a:lnTo>
                  <a:pt x="5368329" y="4265584"/>
                </a:lnTo>
                <a:lnTo>
                  <a:pt x="5390266" y="4253369"/>
                </a:lnTo>
                <a:lnTo>
                  <a:pt x="5402681" y="4237351"/>
                </a:lnTo>
                <a:lnTo>
                  <a:pt x="5409393" y="4214394"/>
                </a:lnTo>
                <a:lnTo>
                  <a:pt x="5405619" y="4194241"/>
                </a:lnTo>
                <a:lnTo>
                  <a:pt x="5395178" y="4173754"/>
                </a:lnTo>
                <a:lnTo>
                  <a:pt x="5374251" y="4156072"/>
                </a:lnTo>
                <a:close/>
                <a:moveTo>
                  <a:pt x="1523400" y="4148467"/>
                </a:moveTo>
                <a:lnTo>
                  <a:pt x="1499578" y="4150605"/>
                </a:lnTo>
                <a:lnTo>
                  <a:pt x="1481459" y="4159683"/>
                </a:lnTo>
                <a:lnTo>
                  <a:pt x="1465226" y="4178837"/>
                </a:lnTo>
                <a:lnTo>
                  <a:pt x="1458514" y="4201795"/>
                </a:lnTo>
                <a:lnTo>
                  <a:pt x="1462287" y="4221948"/>
                </a:lnTo>
                <a:lnTo>
                  <a:pt x="1475581" y="4245904"/>
                </a:lnTo>
                <a:lnTo>
                  <a:pt x="1493657" y="4260116"/>
                </a:lnTo>
                <a:lnTo>
                  <a:pt x="1512698" y="4267722"/>
                </a:lnTo>
                <a:lnTo>
                  <a:pt x="1536520" y="4265584"/>
                </a:lnTo>
                <a:lnTo>
                  <a:pt x="1558456" y="4253369"/>
                </a:lnTo>
                <a:lnTo>
                  <a:pt x="1570872" y="4237351"/>
                </a:lnTo>
                <a:lnTo>
                  <a:pt x="1577584" y="4214394"/>
                </a:lnTo>
                <a:lnTo>
                  <a:pt x="1573810" y="4194241"/>
                </a:lnTo>
                <a:lnTo>
                  <a:pt x="1563368" y="4173754"/>
                </a:lnTo>
                <a:lnTo>
                  <a:pt x="1542441" y="4156072"/>
                </a:lnTo>
                <a:close/>
                <a:moveTo>
                  <a:pt x="11166944" y="4080724"/>
                </a:moveTo>
                <a:lnTo>
                  <a:pt x="11116447" y="4081531"/>
                </a:lnTo>
                <a:lnTo>
                  <a:pt x="11068802" y="4085807"/>
                </a:lnTo>
                <a:lnTo>
                  <a:pt x="11023043" y="4100160"/>
                </a:lnTo>
                <a:lnTo>
                  <a:pt x="10980137" y="4117983"/>
                </a:lnTo>
                <a:lnTo>
                  <a:pt x="10946750" y="4139609"/>
                </a:lnTo>
                <a:lnTo>
                  <a:pt x="10916215" y="4164704"/>
                </a:lnTo>
                <a:lnTo>
                  <a:pt x="10899018" y="4190466"/>
                </a:lnTo>
                <a:lnTo>
                  <a:pt x="10884672" y="4219697"/>
                </a:lnTo>
                <a:lnTo>
                  <a:pt x="10883664" y="4249594"/>
                </a:lnTo>
                <a:lnTo>
                  <a:pt x="10886472" y="4276354"/>
                </a:lnTo>
                <a:lnTo>
                  <a:pt x="10902617" y="4303780"/>
                </a:lnTo>
                <a:lnTo>
                  <a:pt x="10926397" y="4324932"/>
                </a:lnTo>
                <a:lnTo>
                  <a:pt x="10956844" y="4346417"/>
                </a:lnTo>
                <a:lnTo>
                  <a:pt x="10994926" y="4361628"/>
                </a:lnTo>
                <a:lnTo>
                  <a:pt x="11037789" y="4367095"/>
                </a:lnTo>
                <a:lnTo>
                  <a:pt x="11087321" y="4372896"/>
                </a:lnTo>
                <a:lnTo>
                  <a:pt x="11134967" y="4368619"/>
                </a:lnTo>
                <a:lnTo>
                  <a:pt x="11182612" y="4364343"/>
                </a:lnTo>
                <a:lnTo>
                  <a:pt x="11228370" y="4349990"/>
                </a:lnTo>
                <a:lnTo>
                  <a:pt x="11271277" y="4332167"/>
                </a:lnTo>
                <a:lnTo>
                  <a:pt x="11304664" y="4310541"/>
                </a:lnTo>
                <a:lnTo>
                  <a:pt x="11335198" y="4285446"/>
                </a:lnTo>
                <a:lnTo>
                  <a:pt x="11352396" y="4259684"/>
                </a:lnTo>
                <a:lnTo>
                  <a:pt x="11366742" y="4230453"/>
                </a:lnTo>
                <a:lnTo>
                  <a:pt x="11370602" y="4204026"/>
                </a:lnTo>
                <a:lnTo>
                  <a:pt x="11364942" y="4173796"/>
                </a:lnTo>
                <a:lnTo>
                  <a:pt x="11348796" y="4146370"/>
                </a:lnTo>
                <a:lnTo>
                  <a:pt x="11325017" y="4125218"/>
                </a:lnTo>
                <a:lnTo>
                  <a:pt x="11294569" y="4103733"/>
                </a:lnTo>
                <a:lnTo>
                  <a:pt x="11259340" y="4091992"/>
                </a:lnTo>
                <a:lnTo>
                  <a:pt x="11213625" y="4083055"/>
                </a:lnTo>
                <a:close/>
                <a:moveTo>
                  <a:pt x="6597717" y="4080724"/>
                </a:moveTo>
                <a:lnTo>
                  <a:pt x="6547220" y="4081531"/>
                </a:lnTo>
                <a:lnTo>
                  <a:pt x="6499574" y="4085807"/>
                </a:lnTo>
                <a:lnTo>
                  <a:pt x="6453816" y="4100160"/>
                </a:lnTo>
                <a:lnTo>
                  <a:pt x="6410909" y="4117983"/>
                </a:lnTo>
                <a:lnTo>
                  <a:pt x="6377522" y="4139609"/>
                </a:lnTo>
                <a:lnTo>
                  <a:pt x="6346988" y="4164704"/>
                </a:lnTo>
                <a:lnTo>
                  <a:pt x="6329790" y="4190466"/>
                </a:lnTo>
                <a:lnTo>
                  <a:pt x="6315444" y="4219697"/>
                </a:lnTo>
                <a:lnTo>
                  <a:pt x="6314436" y="4249594"/>
                </a:lnTo>
                <a:lnTo>
                  <a:pt x="6317244" y="4276354"/>
                </a:lnTo>
                <a:lnTo>
                  <a:pt x="6333390" y="4303780"/>
                </a:lnTo>
                <a:lnTo>
                  <a:pt x="6357169" y="4324932"/>
                </a:lnTo>
                <a:lnTo>
                  <a:pt x="6387617" y="4346417"/>
                </a:lnTo>
                <a:lnTo>
                  <a:pt x="6425698" y="4361628"/>
                </a:lnTo>
                <a:lnTo>
                  <a:pt x="6468562" y="4367095"/>
                </a:lnTo>
                <a:lnTo>
                  <a:pt x="6518094" y="4372896"/>
                </a:lnTo>
                <a:lnTo>
                  <a:pt x="6565739" y="4368619"/>
                </a:lnTo>
                <a:lnTo>
                  <a:pt x="6613384" y="4364343"/>
                </a:lnTo>
                <a:lnTo>
                  <a:pt x="6659143" y="4349990"/>
                </a:lnTo>
                <a:lnTo>
                  <a:pt x="6702050" y="4332167"/>
                </a:lnTo>
                <a:lnTo>
                  <a:pt x="6735436" y="4310541"/>
                </a:lnTo>
                <a:lnTo>
                  <a:pt x="6765971" y="4285446"/>
                </a:lnTo>
                <a:lnTo>
                  <a:pt x="6783168" y="4259684"/>
                </a:lnTo>
                <a:lnTo>
                  <a:pt x="6797514" y="4230453"/>
                </a:lnTo>
                <a:lnTo>
                  <a:pt x="6801374" y="4204026"/>
                </a:lnTo>
                <a:lnTo>
                  <a:pt x="6795714" y="4173796"/>
                </a:lnTo>
                <a:lnTo>
                  <a:pt x="6779569" y="4146370"/>
                </a:lnTo>
                <a:lnTo>
                  <a:pt x="6755789" y="4125218"/>
                </a:lnTo>
                <a:lnTo>
                  <a:pt x="6725342" y="4103733"/>
                </a:lnTo>
                <a:lnTo>
                  <a:pt x="6690112" y="4091992"/>
                </a:lnTo>
                <a:lnTo>
                  <a:pt x="6644397" y="4083055"/>
                </a:lnTo>
                <a:close/>
                <a:moveTo>
                  <a:pt x="2765908" y="4080724"/>
                </a:moveTo>
                <a:lnTo>
                  <a:pt x="2715411" y="4081531"/>
                </a:lnTo>
                <a:lnTo>
                  <a:pt x="2667765" y="4085807"/>
                </a:lnTo>
                <a:lnTo>
                  <a:pt x="2622007" y="4100160"/>
                </a:lnTo>
                <a:lnTo>
                  <a:pt x="2579100" y="4117983"/>
                </a:lnTo>
                <a:lnTo>
                  <a:pt x="2545714" y="4139609"/>
                </a:lnTo>
                <a:lnTo>
                  <a:pt x="2515179" y="4164704"/>
                </a:lnTo>
                <a:lnTo>
                  <a:pt x="2497981" y="4190466"/>
                </a:lnTo>
                <a:lnTo>
                  <a:pt x="2483636" y="4219697"/>
                </a:lnTo>
                <a:lnTo>
                  <a:pt x="2482627" y="4249594"/>
                </a:lnTo>
                <a:lnTo>
                  <a:pt x="2485435" y="4276354"/>
                </a:lnTo>
                <a:lnTo>
                  <a:pt x="2501581" y="4303780"/>
                </a:lnTo>
                <a:lnTo>
                  <a:pt x="2525360" y="4324932"/>
                </a:lnTo>
                <a:lnTo>
                  <a:pt x="2555808" y="4346417"/>
                </a:lnTo>
                <a:lnTo>
                  <a:pt x="2593889" y="4361628"/>
                </a:lnTo>
                <a:lnTo>
                  <a:pt x="2636753" y="4367095"/>
                </a:lnTo>
                <a:lnTo>
                  <a:pt x="2686285" y="4372896"/>
                </a:lnTo>
                <a:lnTo>
                  <a:pt x="2733930" y="4368619"/>
                </a:lnTo>
                <a:lnTo>
                  <a:pt x="2781575" y="4364343"/>
                </a:lnTo>
                <a:lnTo>
                  <a:pt x="2827334" y="4349990"/>
                </a:lnTo>
                <a:lnTo>
                  <a:pt x="2870241" y="4332167"/>
                </a:lnTo>
                <a:lnTo>
                  <a:pt x="2903627" y="4310541"/>
                </a:lnTo>
                <a:lnTo>
                  <a:pt x="2934162" y="4285446"/>
                </a:lnTo>
                <a:lnTo>
                  <a:pt x="2951359" y="4259684"/>
                </a:lnTo>
                <a:lnTo>
                  <a:pt x="2965705" y="4230453"/>
                </a:lnTo>
                <a:lnTo>
                  <a:pt x="2969565" y="4204026"/>
                </a:lnTo>
                <a:lnTo>
                  <a:pt x="2963905" y="4173796"/>
                </a:lnTo>
                <a:lnTo>
                  <a:pt x="2947760" y="4146370"/>
                </a:lnTo>
                <a:lnTo>
                  <a:pt x="2923981" y="4125218"/>
                </a:lnTo>
                <a:lnTo>
                  <a:pt x="2893533" y="4103733"/>
                </a:lnTo>
                <a:lnTo>
                  <a:pt x="2858303" y="4091992"/>
                </a:lnTo>
                <a:lnTo>
                  <a:pt x="2812588" y="4083055"/>
                </a:lnTo>
                <a:close/>
                <a:moveTo>
                  <a:pt x="9532172" y="4005767"/>
                </a:moveTo>
                <a:lnTo>
                  <a:pt x="9501681" y="4007572"/>
                </a:lnTo>
                <a:lnTo>
                  <a:pt x="9470224" y="4015984"/>
                </a:lnTo>
                <a:lnTo>
                  <a:pt x="9441620" y="4027866"/>
                </a:lnTo>
                <a:lnTo>
                  <a:pt x="9414902" y="4049824"/>
                </a:lnTo>
                <a:lnTo>
                  <a:pt x="9392001" y="4068646"/>
                </a:lnTo>
                <a:lnTo>
                  <a:pt x="9374803" y="4094407"/>
                </a:lnTo>
                <a:lnTo>
                  <a:pt x="9360458" y="4123639"/>
                </a:lnTo>
                <a:lnTo>
                  <a:pt x="9352781" y="4153203"/>
                </a:lnTo>
                <a:lnTo>
                  <a:pt x="9348920" y="4179630"/>
                </a:lnTo>
                <a:lnTo>
                  <a:pt x="9354580" y="4209860"/>
                </a:lnTo>
                <a:lnTo>
                  <a:pt x="9361205" y="4233483"/>
                </a:lnTo>
                <a:lnTo>
                  <a:pt x="9377351" y="4260909"/>
                </a:lnTo>
                <a:lnTo>
                  <a:pt x="9398278" y="4278591"/>
                </a:lnTo>
                <a:lnTo>
                  <a:pt x="9423023" y="4293136"/>
                </a:lnTo>
                <a:lnTo>
                  <a:pt x="9448732" y="4301075"/>
                </a:lnTo>
                <a:lnTo>
                  <a:pt x="9478258" y="4305876"/>
                </a:lnTo>
                <a:lnTo>
                  <a:pt x="9505898" y="4300601"/>
                </a:lnTo>
                <a:lnTo>
                  <a:pt x="9537354" y="4292189"/>
                </a:lnTo>
                <a:lnTo>
                  <a:pt x="9565958" y="4280307"/>
                </a:lnTo>
                <a:lnTo>
                  <a:pt x="9591711" y="4264956"/>
                </a:lnTo>
                <a:lnTo>
                  <a:pt x="9615577" y="4239527"/>
                </a:lnTo>
                <a:lnTo>
                  <a:pt x="9632775" y="4213766"/>
                </a:lnTo>
                <a:lnTo>
                  <a:pt x="9647121" y="4184534"/>
                </a:lnTo>
                <a:lnTo>
                  <a:pt x="9657650" y="4158440"/>
                </a:lnTo>
                <a:lnTo>
                  <a:pt x="9658658" y="4128543"/>
                </a:lnTo>
                <a:lnTo>
                  <a:pt x="9655850" y="4101783"/>
                </a:lnTo>
                <a:lnTo>
                  <a:pt x="9646373" y="4074690"/>
                </a:lnTo>
                <a:lnTo>
                  <a:pt x="9633079" y="4050734"/>
                </a:lnTo>
                <a:lnTo>
                  <a:pt x="9609300" y="4029582"/>
                </a:lnTo>
                <a:lnTo>
                  <a:pt x="9587407" y="4018507"/>
                </a:lnTo>
                <a:lnTo>
                  <a:pt x="9558846" y="4007098"/>
                </a:lnTo>
                <a:close/>
                <a:moveTo>
                  <a:pt x="4962946" y="4005767"/>
                </a:moveTo>
                <a:lnTo>
                  <a:pt x="4932453" y="4007572"/>
                </a:lnTo>
                <a:lnTo>
                  <a:pt x="4900997" y="4015984"/>
                </a:lnTo>
                <a:lnTo>
                  <a:pt x="4872392" y="4027866"/>
                </a:lnTo>
                <a:lnTo>
                  <a:pt x="4845675" y="4049824"/>
                </a:lnTo>
                <a:lnTo>
                  <a:pt x="4822774" y="4068646"/>
                </a:lnTo>
                <a:lnTo>
                  <a:pt x="4805576" y="4094407"/>
                </a:lnTo>
                <a:lnTo>
                  <a:pt x="4791231" y="4123639"/>
                </a:lnTo>
                <a:lnTo>
                  <a:pt x="4783554" y="4153203"/>
                </a:lnTo>
                <a:lnTo>
                  <a:pt x="4779693" y="4179630"/>
                </a:lnTo>
                <a:lnTo>
                  <a:pt x="4785354" y="4209860"/>
                </a:lnTo>
                <a:lnTo>
                  <a:pt x="4791979" y="4233483"/>
                </a:lnTo>
                <a:lnTo>
                  <a:pt x="4808124" y="4260909"/>
                </a:lnTo>
                <a:lnTo>
                  <a:pt x="4829051" y="4278591"/>
                </a:lnTo>
                <a:lnTo>
                  <a:pt x="4853795" y="4293136"/>
                </a:lnTo>
                <a:lnTo>
                  <a:pt x="4879505" y="4301075"/>
                </a:lnTo>
                <a:lnTo>
                  <a:pt x="4909030" y="4305876"/>
                </a:lnTo>
                <a:lnTo>
                  <a:pt x="4936671" y="4300601"/>
                </a:lnTo>
                <a:lnTo>
                  <a:pt x="4968127" y="4292189"/>
                </a:lnTo>
                <a:lnTo>
                  <a:pt x="4996733" y="4280307"/>
                </a:lnTo>
                <a:lnTo>
                  <a:pt x="5022484" y="4264956"/>
                </a:lnTo>
                <a:lnTo>
                  <a:pt x="5046350" y="4239527"/>
                </a:lnTo>
                <a:lnTo>
                  <a:pt x="5063547" y="4213766"/>
                </a:lnTo>
                <a:lnTo>
                  <a:pt x="5077893" y="4184534"/>
                </a:lnTo>
                <a:lnTo>
                  <a:pt x="5088423" y="4158440"/>
                </a:lnTo>
                <a:lnTo>
                  <a:pt x="5089431" y="4128543"/>
                </a:lnTo>
                <a:lnTo>
                  <a:pt x="5086623" y="4101783"/>
                </a:lnTo>
                <a:lnTo>
                  <a:pt x="5077145" y="4074690"/>
                </a:lnTo>
                <a:lnTo>
                  <a:pt x="5063852" y="4050734"/>
                </a:lnTo>
                <a:lnTo>
                  <a:pt x="5040075" y="4029582"/>
                </a:lnTo>
                <a:lnTo>
                  <a:pt x="5018182" y="4018507"/>
                </a:lnTo>
                <a:lnTo>
                  <a:pt x="4989619" y="4007098"/>
                </a:lnTo>
                <a:close/>
                <a:moveTo>
                  <a:pt x="1131135" y="4005767"/>
                </a:moveTo>
                <a:lnTo>
                  <a:pt x="1100644" y="4007572"/>
                </a:lnTo>
                <a:lnTo>
                  <a:pt x="1069188" y="4015984"/>
                </a:lnTo>
                <a:lnTo>
                  <a:pt x="1040583" y="4027866"/>
                </a:lnTo>
                <a:lnTo>
                  <a:pt x="1013865" y="4049824"/>
                </a:lnTo>
                <a:lnTo>
                  <a:pt x="990964" y="4068646"/>
                </a:lnTo>
                <a:lnTo>
                  <a:pt x="973767" y="4094407"/>
                </a:lnTo>
                <a:lnTo>
                  <a:pt x="959421" y="4123639"/>
                </a:lnTo>
                <a:lnTo>
                  <a:pt x="951744" y="4153203"/>
                </a:lnTo>
                <a:lnTo>
                  <a:pt x="947883" y="4179630"/>
                </a:lnTo>
                <a:lnTo>
                  <a:pt x="953543" y="4209860"/>
                </a:lnTo>
                <a:lnTo>
                  <a:pt x="960169" y="4233483"/>
                </a:lnTo>
                <a:lnTo>
                  <a:pt x="976314" y="4260909"/>
                </a:lnTo>
                <a:lnTo>
                  <a:pt x="997241" y="4278591"/>
                </a:lnTo>
                <a:lnTo>
                  <a:pt x="1021986" y="4293136"/>
                </a:lnTo>
                <a:lnTo>
                  <a:pt x="1047695" y="4301075"/>
                </a:lnTo>
                <a:lnTo>
                  <a:pt x="1077221" y="4305876"/>
                </a:lnTo>
                <a:lnTo>
                  <a:pt x="1104861" y="4300601"/>
                </a:lnTo>
                <a:lnTo>
                  <a:pt x="1136317" y="4292189"/>
                </a:lnTo>
                <a:lnTo>
                  <a:pt x="1164922" y="4280307"/>
                </a:lnTo>
                <a:lnTo>
                  <a:pt x="1190674" y="4264956"/>
                </a:lnTo>
                <a:lnTo>
                  <a:pt x="1214541" y="4239527"/>
                </a:lnTo>
                <a:lnTo>
                  <a:pt x="1231738" y="4213766"/>
                </a:lnTo>
                <a:lnTo>
                  <a:pt x="1246084" y="4184534"/>
                </a:lnTo>
                <a:lnTo>
                  <a:pt x="1256613" y="4158440"/>
                </a:lnTo>
                <a:lnTo>
                  <a:pt x="1257621" y="4128543"/>
                </a:lnTo>
                <a:lnTo>
                  <a:pt x="1254813" y="4101783"/>
                </a:lnTo>
                <a:lnTo>
                  <a:pt x="1245336" y="4074690"/>
                </a:lnTo>
                <a:lnTo>
                  <a:pt x="1232042" y="4050734"/>
                </a:lnTo>
                <a:lnTo>
                  <a:pt x="1208263" y="4029582"/>
                </a:lnTo>
                <a:lnTo>
                  <a:pt x="1186371" y="4018507"/>
                </a:lnTo>
                <a:lnTo>
                  <a:pt x="1157810" y="4007098"/>
                </a:lnTo>
                <a:close/>
                <a:moveTo>
                  <a:pt x="9931526" y="575324"/>
                </a:moveTo>
                <a:lnTo>
                  <a:pt x="9907704" y="577462"/>
                </a:lnTo>
                <a:lnTo>
                  <a:pt x="9885768" y="589677"/>
                </a:lnTo>
                <a:lnTo>
                  <a:pt x="9869535" y="608831"/>
                </a:lnTo>
                <a:lnTo>
                  <a:pt x="9862823" y="631789"/>
                </a:lnTo>
                <a:lnTo>
                  <a:pt x="9857998" y="664823"/>
                </a:lnTo>
                <a:lnTo>
                  <a:pt x="9863658" y="695053"/>
                </a:lnTo>
                <a:lnTo>
                  <a:pt x="9875021" y="732222"/>
                </a:lnTo>
                <a:lnTo>
                  <a:pt x="9890202" y="766255"/>
                </a:lnTo>
                <a:lnTo>
                  <a:pt x="9911086" y="807228"/>
                </a:lnTo>
                <a:lnTo>
                  <a:pt x="9939603" y="841926"/>
                </a:lnTo>
                <a:lnTo>
                  <a:pt x="9968121" y="876625"/>
                </a:lnTo>
                <a:lnTo>
                  <a:pt x="10004272" y="905049"/>
                </a:lnTo>
                <a:lnTo>
                  <a:pt x="10034720" y="926534"/>
                </a:lnTo>
                <a:lnTo>
                  <a:pt x="10068985" y="944882"/>
                </a:lnTo>
                <a:lnTo>
                  <a:pt x="10097546" y="956291"/>
                </a:lnTo>
                <a:lnTo>
                  <a:pt x="10130889" y="957955"/>
                </a:lnTo>
                <a:lnTo>
                  <a:pt x="10154712" y="955817"/>
                </a:lnTo>
                <a:lnTo>
                  <a:pt x="10176648" y="943602"/>
                </a:lnTo>
                <a:lnTo>
                  <a:pt x="10192880" y="924448"/>
                </a:lnTo>
                <a:lnTo>
                  <a:pt x="10199592" y="901490"/>
                </a:lnTo>
                <a:lnTo>
                  <a:pt x="10200600" y="871593"/>
                </a:lnTo>
                <a:lnTo>
                  <a:pt x="10198757" y="838226"/>
                </a:lnTo>
                <a:lnTo>
                  <a:pt x="10187394" y="801057"/>
                </a:lnTo>
                <a:lnTo>
                  <a:pt x="10172213" y="767024"/>
                </a:lnTo>
                <a:lnTo>
                  <a:pt x="10147512" y="729188"/>
                </a:lnTo>
                <a:lnTo>
                  <a:pt x="10122812" y="691353"/>
                </a:lnTo>
                <a:lnTo>
                  <a:pt x="10090477" y="659791"/>
                </a:lnTo>
                <a:lnTo>
                  <a:pt x="10058143" y="628230"/>
                </a:lnTo>
                <a:lnTo>
                  <a:pt x="10027695" y="606745"/>
                </a:lnTo>
                <a:lnTo>
                  <a:pt x="9993430" y="588397"/>
                </a:lnTo>
                <a:lnTo>
                  <a:pt x="9961052" y="580126"/>
                </a:lnTo>
                <a:close/>
                <a:moveTo>
                  <a:pt x="4051428" y="575324"/>
                </a:moveTo>
                <a:lnTo>
                  <a:pt x="4027605" y="577462"/>
                </a:lnTo>
                <a:lnTo>
                  <a:pt x="4005669" y="589677"/>
                </a:lnTo>
                <a:lnTo>
                  <a:pt x="3989436" y="608831"/>
                </a:lnTo>
                <a:lnTo>
                  <a:pt x="3982725" y="631789"/>
                </a:lnTo>
                <a:lnTo>
                  <a:pt x="3977899" y="664823"/>
                </a:lnTo>
                <a:lnTo>
                  <a:pt x="3983559" y="695053"/>
                </a:lnTo>
                <a:lnTo>
                  <a:pt x="3994923" y="732222"/>
                </a:lnTo>
                <a:lnTo>
                  <a:pt x="4010103" y="766255"/>
                </a:lnTo>
                <a:lnTo>
                  <a:pt x="4030987" y="807228"/>
                </a:lnTo>
                <a:lnTo>
                  <a:pt x="4059505" y="841926"/>
                </a:lnTo>
                <a:lnTo>
                  <a:pt x="4088022" y="876625"/>
                </a:lnTo>
                <a:lnTo>
                  <a:pt x="4124174" y="905049"/>
                </a:lnTo>
                <a:lnTo>
                  <a:pt x="4154621" y="926534"/>
                </a:lnTo>
                <a:lnTo>
                  <a:pt x="4188886" y="944882"/>
                </a:lnTo>
                <a:lnTo>
                  <a:pt x="4217447" y="956291"/>
                </a:lnTo>
                <a:lnTo>
                  <a:pt x="4250790" y="957955"/>
                </a:lnTo>
                <a:lnTo>
                  <a:pt x="4274613" y="955817"/>
                </a:lnTo>
                <a:lnTo>
                  <a:pt x="4296549" y="943602"/>
                </a:lnTo>
                <a:lnTo>
                  <a:pt x="4312782" y="924448"/>
                </a:lnTo>
                <a:lnTo>
                  <a:pt x="4319495" y="901490"/>
                </a:lnTo>
                <a:lnTo>
                  <a:pt x="4320503" y="871593"/>
                </a:lnTo>
                <a:lnTo>
                  <a:pt x="4318659" y="838226"/>
                </a:lnTo>
                <a:lnTo>
                  <a:pt x="4307296" y="801057"/>
                </a:lnTo>
                <a:lnTo>
                  <a:pt x="4292114" y="767024"/>
                </a:lnTo>
                <a:lnTo>
                  <a:pt x="4267414" y="729188"/>
                </a:lnTo>
                <a:lnTo>
                  <a:pt x="4242713" y="691353"/>
                </a:lnTo>
                <a:lnTo>
                  <a:pt x="4210378" y="659791"/>
                </a:lnTo>
                <a:lnTo>
                  <a:pt x="4178044" y="628230"/>
                </a:lnTo>
                <a:lnTo>
                  <a:pt x="4147596" y="606745"/>
                </a:lnTo>
                <a:lnTo>
                  <a:pt x="4113332" y="588397"/>
                </a:lnTo>
                <a:lnTo>
                  <a:pt x="4080954" y="580126"/>
                </a:lnTo>
                <a:close/>
                <a:moveTo>
                  <a:pt x="889126" y="575324"/>
                </a:moveTo>
                <a:lnTo>
                  <a:pt x="865304" y="577462"/>
                </a:lnTo>
                <a:lnTo>
                  <a:pt x="843368" y="589677"/>
                </a:lnTo>
                <a:lnTo>
                  <a:pt x="827135" y="608831"/>
                </a:lnTo>
                <a:lnTo>
                  <a:pt x="820423" y="631789"/>
                </a:lnTo>
                <a:lnTo>
                  <a:pt x="815598" y="664823"/>
                </a:lnTo>
                <a:lnTo>
                  <a:pt x="821258" y="695053"/>
                </a:lnTo>
                <a:lnTo>
                  <a:pt x="832622" y="732222"/>
                </a:lnTo>
                <a:lnTo>
                  <a:pt x="847802" y="766255"/>
                </a:lnTo>
                <a:lnTo>
                  <a:pt x="868686" y="807228"/>
                </a:lnTo>
                <a:lnTo>
                  <a:pt x="897204" y="841926"/>
                </a:lnTo>
                <a:lnTo>
                  <a:pt x="925721" y="876625"/>
                </a:lnTo>
                <a:lnTo>
                  <a:pt x="961873" y="905049"/>
                </a:lnTo>
                <a:lnTo>
                  <a:pt x="992320" y="926534"/>
                </a:lnTo>
                <a:lnTo>
                  <a:pt x="1026585" y="944882"/>
                </a:lnTo>
                <a:lnTo>
                  <a:pt x="1055146" y="956291"/>
                </a:lnTo>
                <a:lnTo>
                  <a:pt x="1088489" y="957955"/>
                </a:lnTo>
                <a:lnTo>
                  <a:pt x="1112312" y="955817"/>
                </a:lnTo>
                <a:lnTo>
                  <a:pt x="1134248" y="943602"/>
                </a:lnTo>
                <a:lnTo>
                  <a:pt x="1150480" y="924448"/>
                </a:lnTo>
                <a:lnTo>
                  <a:pt x="1157192" y="901490"/>
                </a:lnTo>
                <a:lnTo>
                  <a:pt x="1158201" y="871593"/>
                </a:lnTo>
                <a:lnTo>
                  <a:pt x="1156358" y="838226"/>
                </a:lnTo>
                <a:lnTo>
                  <a:pt x="1144994" y="801057"/>
                </a:lnTo>
                <a:lnTo>
                  <a:pt x="1129814" y="767024"/>
                </a:lnTo>
                <a:lnTo>
                  <a:pt x="1105113" y="729188"/>
                </a:lnTo>
                <a:lnTo>
                  <a:pt x="1080412" y="691353"/>
                </a:lnTo>
                <a:lnTo>
                  <a:pt x="1048077" y="659791"/>
                </a:lnTo>
                <a:lnTo>
                  <a:pt x="1015743" y="628230"/>
                </a:lnTo>
                <a:lnTo>
                  <a:pt x="985295" y="606745"/>
                </a:lnTo>
                <a:lnTo>
                  <a:pt x="951031" y="588397"/>
                </a:lnTo>
                <a:lnTo>
                  <a:pt x="918653" y="580126"/>
                </a:lnTo>
                <a:close/>
                <a:moveTo>
                  <a:pt x="9576247" y="524313"/>
                </a:moveTo>
                <a:lnTo>
                  <a:pt x="9544791" y="532725"/>
                </a:lnTo>
                <a:lnTo>
                  <a:pt x="9509518" y="544274"/>
                </a:lnTo>
                <a:lnTo>
                  <a:pt x="9476131" y="565899"/>
                </a:lnTo>
                <a:lnTo>
                  <a:pt x="9452265" y="591328"/>
                </a:lnTo>
                <a:lnTo>
                  <a:pt x="9434103" y="623696"/>
                </a:lnTo>
                <a:lnTo>
                  <a:pt x="9419757" y="652927"/>
                </a:lnTo>
                <a:lnTo>
                  <a:pt x="9414931" y="685961"/>
                </a:lnTo>
                <a:lnTo>
                  <a:pt x="9415809" y="725935"/>
                </a:lnTo>
                <a:lnTo>
                  <a:pt x="9424321" y="759634"/>
                </a:lnTo>
                <a:lnTo>
                  <a:pt x="9436650" y="790197"/>
                </a:lnTo>
                <a:lnTo>
                  <a:pt x="9458499" y="824563"/>
                </a:lnTo>
                <a:lnTo>
                  <a:pt x="9485130" y="849185"/>
                </a:lnTo>
                <a:lnTo>
                  <a:pt x="9515578" y="870670"/>
                </a:lnTo>
                <a:lnTo>
                  <a:pt x="9546991" y="885548"/>
                </a:lnTo>
                <a:lnTo>
                  <a:pt x="9583185" y="890682"/>
                </a:lnTo>
                <a:lnTo>
                  <a:pt x="9616528" y="892347"/>
                </a:lnTo>
                <a:lnTo>
                  <a:pt x="9650836" y="887405"/>
                </a:lnTo>
                <a:lnTo>
                  <a:pt x="9683258" y="872386"/>
                </a:lnTo>
                <a:lnTo>
                  <a:pt x="9712827" y="853897"/>
                </a:lnTo>
                <a:lnTo>
                  <a:pt x="9740510" y="825332"/>
                </a:lnTo>
                <a:lnTo>
                  <a:pt x="9761525" y="796434"/>
                </a:lnTo>
                <a:lnTo>
                  <a:pt x="9773019" y="763732"/>
                </a:lnTo>
                <a:lnTo>
                  <a:pt x="9777844" y="730698"/>
                </a:lnTo>
                <a:lnTo>
                  <a:pt x="9779818" y="694195"/>
                </a:lnTo>
                <a:lnTo>
                  <a:pt x="9771306" y="660495"/>
                </a:lnTo>
                <a:lnTo>
                  <a:pt x="9756125" y="626462"/>
                </a:lnTo>
                <a:lnTo>
                  <a:pt x="9737128" y="595566"/>
                </a:lnTo>
                <a:lnTo>
                  <a:pt x="9707646" y="567475"/>
                </a:lnTo>
                <a:lnTo>
                  <a:pt x="9680049" y="549460"/>
                </a:lnTo>
                <a:lnTo>
                  <a:pt x="9648637" y="534581"/>
                </a:lnTo>
                <a:lnTo>
                  <a:pt x="9609590" y="525977"/>
                </a:lnTo>
                <a:close/>
                <a:moveTo>
                  <a:pt x="3696148" y="524313"/>
                </a:moveTo>
                <a:lnTo>
                  <a:pt x="3664692" y="532725"/>
                </a:lnTo>
                <a:lnTo>
                  <a:pt x="3629419" y="544274"/>
                </a:lnTo>
                <a:lnTo>
                  <a:pt x="3596032" y="565899"/>
                </a:lnTo>
                <a:lnTo>
                  <a:pt x="3572166" y="591328"/>
                </a:lnTo>
                <a:lnTo>
                  <a:pt x="3554004" y="623696"/>
                </a:lnTo>
                <a:lnTo>
                  <a:pt x="3539658" y="652927"/>
                </a:lnTo>
                <a:lnTo>
                  <a:pt x="3534833" y="685961"/>
                </a:lnTo>
                <a:lnTo>
                  <a:pt x="3535711" y="725935"/>
                </a:lnTo>
                <a:lnTo>
                  <a:pt x="3544223" y="759634"/>
                </a:lnTo>
                <a:lnTo>
                  <a:pt x="3556551" y="790197"/>
                </a:lnTo>
                <a:lnTo>
                  <a:pt x="3578400" y="824563"/>
                </a:lnTo>
                <a:lnTo>
                  <a:pt x="3605031" y="849185"/>
                </a:lnTo>
                <a:lnTo>
                  <a:pt x="3635479" y="870670"/>
                </a:lnTo>
                <a:lnTo>
                  <a:pt x="3666892" y="885548"/>
                </a:lnTo>
                <a:lnTo>
                  <a:pt x="3703087" y="890682"/>
                </a:lnTo>
                <a:lnTo>
                  <a:pt x="3736430" y="892347"/>
                </a:lnTo>
                <a:lnTo>
                  <a:pt x="3770738" y="887405"/>
                </a:lnTo>
                <a:lnTo>
                  <a:pt x="3803159" y="872386"/>
                </a:lnTo>
                <a:lnTo>
                  <a:pt x="3832729" y="853897"/>
                </a:lnTo>
                <a:lnTo>
                  <a:pt x="3860412" y="825332"/>
                </a:lnTo>
                <a:lnTo>
                  <a:pt x="3881426" y="796434"/>
                </a:lnTo>
                <a:lnTo>
                  <a:pt x="3892920" y="763732"/>
                </a:lnTo>
                <a:lnTo>
                  <a:pt x="3897745" y="730698"/>
                </a:lnTo>
                <a:lnTo>
                  <a:pt x="3899719" y="694195"/>
                </a:lnTo>
                <a:lnTo>
                  <a:pt x="3891207" y="660495"/>
                </a:lnTo>
                <a:lnTo>
                  <a:pt x="3876027" y="626462"/>
                </a:lnTo>
                <a:lnTo>
                  <a:pt x="3857030" y="595566"/>
                </a:lnTo>
                <a:lnTo>
                  <a:pt x="3827547" y="567475"/>
                </a:lnTo>
                <a:lnTo>
                  <a:pt x="3799951" y="549460"/>
                </a:lnTo>
                <a:lnTo>
                  <a:pt x="3768538" y="534581"/>
                </a:lnTo>
                <a:lnTo>
                  <a:pt x="3729492" y="525977"/>
                </a:lnTo>
                <a:close/>
                <a:moveTo>
                  <a:pt x="533847" y="524313"/>
                </a:moveTo>
                <a:lnTo>
                  <a:pt x="502391" y="532725"/>
                </a:lnTo>
                <a:lnTo>
                  <a:pt x="467118" y="544274"/>
                </a:lnTo>
                <a:lnTo>
                  <a:pt x="433731" y="565899"/>
                </a:lnTo>
                <a:lnTo>
                  <a:pt x="409865" y="591328"/>
                </a:lnTo>
                <a:lnTo>
                  <a:pt x="391703" y="623696"/>
                </a:lnTo>
                <a:lnTo>
                  <a:pt x="377357" y="652927"/>
                </a:lnTo>
                <a:lnTo>
                  <a:pt x="372531" y="685961"/>
                </a:lnTo>
                <a:lnTo>
                  <a:pt x="373410" y="725935"/>
                </a:lnTo>
                <a:lnTo>
                  <a:pt x="381922" y="759634"/>
                </a:lnTo>
                <a:lnTo>
                  <a:pt x="394250" y="790197"/>
                </a:lnTo>
                <a:lnTo>
                  <a:pt x="416099" y="824563"/>
                </a:lnTo>
                <a:lnTo>
                  <a:pt x="442730" y="849185"/>
                </a:lnTo>
                <a:lnTo>
                  <a:pt x="473178" y="870670"/>
                </a:lnTo>
                <a:lnTo>
                  <a:pt x="504591" y="885548"/>
                </a:lnTo>
                <a:lnTo>
                  <a:pt x="540785" y="890682"/>
                </a:lnTo>
                <a:lnTo>
                  <a:pt x="574129" y="892347"/>
                </a:lnTo>
                <a:lnTo>
                  <a:pt x="608437" y="887405"/>
                </a:lnTo>
                <a:lnTo>
                  <a:pt x="640858" y="872386"/>
                </a:lnTo>
                <a:lnTo>
                  <a:pt x="670428" y="853897"/>
                </a:lnTo>
                <a:lnTo>
                  <a:pt x="698111" y="825332"/>
                </a:lnTo>
                <a:lnTo>
                  <a:pt x="719125" y="796434"/>
                </a:lnTo>
                <a:lnTo>
                  <a:pt x="730619" y="763732"/>
                </a:lnTo>
                <a:lnTo>
                  <a:pt x="735444" y="730698"/>
                </a:lnTo>
                <a:lnTo>
                  <a:pt x="737418" y="694195"/>
                </a:lnTo>
                <a:lnTo>
                  <a:pt x="728906" y="660495"/>
                </a:lnTo>
                <a:lnTo>
                  <a:pt x="713726" y="626462"/>
                </a:lnTo>
                <a:lnTo>
                  <a:pt x="694728" y="595566"/>
                </a:lnTo>
                <a:lnTo>
                  <a:pt x="665246" y="567475"/>
                </a:lnTo>
                <a:lnTo>
                  <a:pt x="637650" y="549460"/>
                </a:lnTo>
                <a:lnTo>
                  <a:pt x="606237" y="534581"/>
                </a:lnTo>
                <a:lnTo>
                  <a:pt x="567190" y="525977"/>
                </a:lnTo>
                <a:close/>
                <a:moveTo>
                  <a:pt x="8342050" y="393582"/>
                </a:moveTo>
                <a:lnTo>
                  <a:pt x="8318228" y="395720"/>
                </a:lnTo>
                <a:lnTo>
                  <a:pt x="8296292" y="407935"/>
                </a:lnTo>
                <a:lnTo>
                  <a:pt x="8280059" y="427090"/>
                </a:lnTo>
                <a:lnTo>
                  <a:pt x="8273347" y="450047"/>
                </a:lnTo>
                <a:lnTo>
                  <a:pt x="8268522" y="483081"/>
                </a:lnTo>
                <a:lnTo>
                  <a:pt x="8274182" y="513311"/>
                </a:lnTo>
                <a:lnTo>
                  <a:pt x="8285546" y="550480"/>
                </a:lnTo>
                <a:lnTo>
                  <a:pt x="8300726" y="584513"/>
                </a:lnTo>
                <a:lnTo>
                  <a:pt x="8321610" y="625486"/>
                </a:lnTo>
                <a:lnTo>
                  <a:pt x="8350128" y="660184"/>
                </a:lnTo>
                <a:lnTo>
                  <a:pt x="8378645" y="694883"/>
                </a:lnTo>
                <a:lnTo>
                  <a:pt x="8414796" y="723307"/>
                </a:lnTo>
                <a:lnTo>
                  <a:pt x="8445244" y="744792"/>
                </a:lnTo>
                <a:lnTo>
                  <a:pt x="8479509" y="763140"/>
                </a:lnTo>
                <a:lnTo>
                  <a:pt x="8508070" y="774549"/>
                </a:lnTo>
                <a:lnTo>
                  <a:pt x="8541413" y="776213"/>
                </a:lnTo>
                <a:lnTo>
                  <a:pt x="8565236" y="774075"/>
                </a:lnTo>
                <a:lnTo>
                  <a:pt x="8587172" y="761860"/>
                </a:lnTo>
                <a:lnTo>
                  <a:pt x="8603404" y="742705"/>
                </a:lnTo>
                <a:lnTo>
                  <a:pt x="8610116" y="719748"/>
                </a:lnTo>
                <a:lnTo>
                  <a:pt x="8611124" y="689851"/>
                </a:lnTo>
                <a:lnTo>
                  <a:pt x="8609281" y="656484"/>
                </a:lnTo>
                <a:lnTo>
                  <a:pt x="8597918" y="619315"/>
                </a:lnTo>
                <a:lnTo>
                  <a:pt x="8582737" y="585282"/>
                </a:lnTo>
                <a:lnTo>
                  <a:pt x="8558036" y="547446"/>
                </a:lnTo>
                <a:lnTo>
                  <a:pt x="8533336" y="509611"/>
                </a:lnTo>
                <a:lnTo>
                  <a:pt x="8501001" y="478049"/>
                </a:lnTo>
                <a:lnTo>
                  <a:pt x="8468667" y="446488"/>
                </a:lnTo>
                <a:lnTo>
                  <a:pt x="8438219" y="425003"/>
                </a:lnTo>
                <a:lnTo>
                  <a:pt x="8403954" y="406655"/>
                </a:lnTo>
                <a:lnTo>
                  <a:pt x="8371577" y="398384"/>
                </a:lnTo>
                <a:close/>
                <a:moveTo>
                  <a:pt x="7986771" y="342571"/>
                </a:moveTo>
                <a:lnTo>
                  <a:pt x="7955315" y="350983"/>
                </a:lnTo>
                <a:lnTo>
                  <a:pt x="7920042" y="362532"/>
                </a:lnTo>
                <a:lnTo>
                  <a:pt x="7886655" y="384157"/>
                </a:lnTo>
                <a:lnTo>
                  <a:pt x="7862789" y="409586"/>
                </a:lnTo>
                <a:lnTo>
                  <a:pt x="7844627" y="441954"/>
                </a:lnTo>
                <a:lnTo>
                  <a:pt x="7830281" y="471185"/>
                </a:lnTo>
                <a:lnTo>
                  <a:pt x="7825456" y="504219"/>
                </a:lnTo>
                <a:lnTo>
                  <a:pt x="7826334" y="544193"/>
                </a:lnTo>
                <a:lnTo>
                  <a:pt x="7834846" y="577892"/>
                </a:lnTo>
                <a:lnTo>
                  <a:pt x="7847174" y="608455"/>
                </a:lnTo>
                <a:lnTo>
                  <a:pt x="7869023" y="642821"/>
                </a:lnTo>
                <a:lnTo>
                  <a:pt x="7895654" y="667443"/>
                </a:lnTo>
                <a:lnTo>
                  <a:pt x="7926102" y="688928"/>
                </a:lnTo>
                <a:lnTo>
                  <a:pt x="7957515" y="703806"/>
                </a:lnTo>
                <a:lnTo>
                  <a:pt x="7993710" y="708941"/>
                </a:lnTo>
                <a:lnTo>
                  <a:pt x="8027053" y="710605"/>
                </a:lnTo>
                <a:lnTo>
                  <a:pt x="8061361" y="705663"/>
                </a:lnTo>
                <a:lnTo>
                  <a:pt x="8093782" y="690644"/>
                </a:lnTo>
                <a:lnTo>
                  <a:pt x="8123352" y="672155"/>
                </a:lnTo>
                <a:lnTo>
                  <a:pt x="8151035" y="643590"/>
                </a:lnTo>
                <a:lnTo>
                  <a:pt x="8172049" y="614692"/>
                </a:lnTo>
                <a:lnTo>
                  <a:pt x="8183543" y="581991"/>
                </a:lnTo>
                <a:lnTo>
                  <a:pt x="8188368" y="548956"/>
                </a:lnTo>
                <a:lnTo>
                  <a:pt x="8190342" y="512453"/>
                </a:lnTo>
                <a:lnTo>
                  <a:pt x="8181830" y="478753"/>
                </a:lnTo>
                <a:lnTo>
                  <a:pt x="8166650" y="444720"/>
                </a:lnTo>
                <a:lnTo>
                  <a:pt x="8147652" y="413824"/>
                </a:lnTo>
                <a:lnTo>
                  <a:pt x="8118170" y="385733"/>
                </a:lnTo>
                <a:lnTo>
                  <a:pt x="8090574" y="367718"/>
                </a:lnTo>
                <a:lnTo>
                  <a:pt x="8059161" y="352839"/>
                </a:lnTo>
                <a:lnTo>
                  <a:pt x="8020114" y="344235"/>
                </a:lnTo>
                <a:close/>
                <a:moveTo>
                  <a:pt x="6829968" y="219393"/>
                </a:moveTo>
                <a:lnTo>
                  <a:pt x="6806146" y="221531"/>
                </a:lnTo>
                <a:lnTo>
                  <a:pt x="6784210" y="233746"/>
                </a:lnTo>
                <a:lnTo>
                  <a:pt x="6767977" y="252900"/>
                </a:lnTo>
                <a:lnTo>
                  <a:pt x="6761265" y="275858"/>
                </a:lnTo>
                <a:lnTo>
                  <a:pt x="6756440" y="308892"/>
                </a:lnTo>
                <a:lnTo>
                  <a:pt x="6762100" y="339122"/>
                </a:lnTo>
                <a:lnTo>
                  <a:pt x="6773464" y="376291"/>
                </a:lnTo>
                <a:lnTo>
                  <a:pt x="6788644" y="410324"/>
                </a:lnTo>
                <a:lnTo>
                  <a:pt x="6809528" y="451297"/>
                </a:lnTo>
                <a:lnTo>
                  <a:pt x="6838046" y="485995"/>
                </a:lnTo>
                <a:lnTo>
                  <a:pt x="6866563" y="520694"/>
                </a:lnTo>
                <a:lnTo>
                  <a:pt x="6902715" y="549118"/>
                </a:lnTo>
                <a:lnTo>
                  <a:pt x="6933162" y="570603"/>
                </a:lnTo>
                <a:lnTo>
                  <a:pt x="6967427" y="588951"/>
                </a:lnTo>
                <a:lnTo>
                  <a:pt x="6995988" y="600360"/>
                </a:lnTo>
                <a:lnTo>
                  <a:pt x="7029331" y="602024"/>
                </a:lnTo>
                <a:lnTo>
                  <a:pt x="7053154" y="599886"/>
                </a:lnTo>
                <a:lnTo>
                  <a:pt x="7075090" y="587671"/>
                </a:lnTo>
                <a:lnTo>
                  <a:pt x="7091322" y="568517"/>
                </a:lnTo>
                <a:lnTo>
                  <a:pt x="7098034" y="545559"/>
                </a:lnTo>
                <a:lnTo>
                  <a:pt x="7099043" y="515662"/>
                </a:lnTo>
                <a:lnTo>
                  <a:pt x="7097200" y="482295"/>
                </a:lnTo>
                <a:lnTo>
                  <a:pt x="7085836" y="445126"/>
                </a:lnTo>
                <a:lnTo>
                  <a:pt x="7070655" y="411093"/>
                </a:lnTo>
                <a:lnTo>
                  <a:pt x="7045955" y="373257"/>
                </a:lnTo>
                <a:lnTo>
                  <a:pt x="7021254" y="335422"/>
                </a:lnTo>
                <a:lnTo>
                  <a:pt x="6988919" y="303860"/>
                </a:lnTo>
                <a:lnTo>
                  <a:pt x="6956585" y="272299"/>
                </a:lnTo>
                <a:lnTo>
                  <a:pt x="6926137" y="250814"/>
                </a:lnTo>
                <a:lnTo>
                  <a:pt x="6891873" y="232466"/>
                </a:lnTo>
                <a:lnTo>
                  <a:pt x="6859495" y="224194"/>
                </a:lnTo>
                <a:close/>
                <a:moveTo>
                  <a:pt x="6474689" y="168382"/>
                </a:moveTo>
                <a:lnTo>
                  <a:pt x="6443233" y="176794"/>
                </a:lnTo>
                <a:lnTo>
                  <a:pt x="6407960" y="188343"/>
                </a:lnTo>
                <a:lnTo>
                  <a:pt x="6374573" y="209968"/>
                </a:lnTo>
                <a:lnTo>
                  <a:pt x="6350707" y="235397"/>
                </a:lnTo>
                <a:lnTo>
                  <a:pt x="6332545" y="267765"/>
                </a:lnTo>
                <a:lnTo>
                  <a:pt x="6318199" y="296996"/>
                </a:lnTo>
                <a:lnTo>
                  <a:pt x="6313374" y="330030"/>
                </a:lnTo>
                <a:lnTo>
                  <a:pt x="6314252" y="370004"/>
                </a:lnTo>
                <a:lnTo>
                  <a:pt x="6322764" y="403703"/>
                </a:lnTo>
                <a:lnTo>
                  <a:pt x="6335092" y="434266"/>
                </a:lnTo>
                <a:lnTo>
                  <a:pt x="6356941" y="468632"/>
                </a:lnTo>
                <a:lnTo>
                  <a:pt x="6383572" y="493254"/>
                </a:lnTo>
                <a:lnTo>
                  <a:pt x="6414020" y="514739"/>
                </a:lnTo>
                <a:lnTo>
                  <a:pt x="6445433" y="529617"/>
                </a:lnTo>
                <a:lnTo>
                  <a:pt x="6481628" y="534751"/>
                </a:lnTo>
                <a:lnTo>
                  <a:pt x="6514971" y="536416"/>
                </a:lnTo>
                <a:lnTo>
                  <a:pt x="6549279" y="531474"/>
                </a:lnTo>
                <a:lnTo>
                  <a:pt x="6581700" y="516455"/>
                </a:lnTo>
                <a:lnTo>
                  <a:pt x="6611270" y="497966"/>
                </a:lnTo>
                <a:lnTo>
                  <a:pt x="6638953" y="469401"/>
                </a:lnTo>
                <a:lnTo>
                  <a:pt x="6659967" y="440502"/>
                </a:lnTo>
                <a:lnTo>
                  <a:pt x="6671461" y="407801"/>
                </a:lnTo>
                <a:lnTo>
                  <a:pt x="6676286" y="374767"/>
                </a:lnTo>
                <a:lnTo>
                  <a:pt x="6678260" y="338264"/>
                </a:lnTo>
                <a:lnTo>
                  <a:pt x="6669748" y="304564"/>
                </a:lnTo>
                <a:lnTo>
                  <a:pt x="6654568" y="270531"/>
                </a:lnTo>
                <a:lnTo>
                  <a:pt x="6635570" y="239635"/>
                </a:lnTo>
                <a:lnTo>
                  <a:pt x="6606088" y="211544"/>
                </a:lnTo>
                <a:lnTo>
                  <a:pt x="6578492" y="193528"/>
                </a:lnTo>
                <a:lnTo>
                  <a:pt x="6547079" y="178650"/>
                </a:lnTo>
                <a:lnTo>
                  <a:pt x="6508032" y="170046"/>
                </a:lnTo>
                <a:close/>
                <a:moveTo>
                  <a:pt x="235540" y="0"/>
                </a:moveTo>
                <a:lnTo>
                  <a:pt x="320537" y="0"/>
                </a:lnTo>
                <a:lnTo>
                  <a:pt x="330957" y="34080"/>
                </a:lnTo>
                <a:lnTo>
                  <a:pt x="346137" y="68113"/>
                </a:lnTo>
                <a:lnTo>
                  <a:pt x="367021" y="109086"/>
                </a:lnTo>
                <a:lnTo>
                  <a:pt x="395539" y="143784"/>
                </a:lnTo>
                <a:lnTo>
                  <a:pt x="424056" y="178483"/>
                </a:lnTo>
                <a:lnTo>
                  <a:pt x="460207" y="206907"/>
                </a:lnTo>
                <a:lnTo>
                  <a:pt x="490655" y="228392"/>
                </a:lnTo>
                <a:lnTo>
                  <a:pt x="524920" y="246740"/>
                </a:lnTo>
                <a:lnTo>
                  <a:pt x="553481" y="258149"/>
                </a:lnTo>
                <a:lnTo>
                  <a:pt x="586824" y="259813"/>
                </a:lnTo>
                <a:lnTo>
                  <a:pt x="610647" y="257675"/>
                </a:lnTo>
                <a:lnTo>
                  <a:pt x="632583" y="245460"/>
                </a:lnTo>
                <a:lnTo>
                  <a:pt x="648815" y="226306"/>
                </a:lnTo>
                <a:lnTo>
                  <a:pt x="655527" y="203348"/>
                </a:lnTo>
                <a:lnTo>
                  <a:pt x="656536" y="173451"/>
                </a:lnTo>
                <a:lnTo>
                  <a:pt x="655217" y="149585"/>
                </a:lnTo>
                <a:lnTo>
                  <a:pt x="665063" y="154857"/>
                </a:lnTo>
                <a:lnTo>
                  <a:pt x="709813" y="170401"/>
                </a:lnTo>
                <a:lnTo>
                  <a:pt x="765049" y="183141"/>
                </a:lnTo>
                <a:lnTo>
                  <a:pt x="831735" y="186470"/>
                </a:lnTo>
                <a:lnTo>
                  <a:pt x="867929" y="191605"/>
                </a:lnTo>
                <a:lnTo>
                  <a:pt x="909828" y="203679"/>
                </a:lnTo>
                <a:lnTo>
                  <a:pt x="957430" y="222693"/>
                </a:lnTo>
                <a:lnTo>
                  <a:pt x="982174" y="237238"/>
                </a:lnTo>
                <a:lnTo>
                  <a:pt x="1005953" y="258390"/>
                </a:lnTo>
                <a:lnTo>
                  <a:pt x="1032584" y="283012"/>
                </a:lnTo>
                <a:lnTo>
                  <a:pt x="1058250" y="314241"/>
                </a:lnTo>
                <a:lnTo>
                  <a:pt x="1080099" y="348606"/>
                </a:lnTo>
                <a:lnTo>
                  <a:pt x="1094314" y="389246"/>
                </a:lnTo>
                <a:lnTo>
                  <a:pt x="1114233" y="436825"/>
                </a:lnTo>
                <a:lnTo>
                  <a:pt x="1126518" y="490678"/>
                </a:lnTo>
                <a:lnTo>
                  <a:pt x="1130292" y="510832"/>
                </a:lnTo>
                <a:lnTo>
                  <a:pt x="1137882" y="527848"/>
                </a:lnTo>
                <a:lnTo>
                  <a:pt x="1148324" y="548334"/>
                </a:lnTo>
                <a:lnTo>
                  <a:pt x="1168286" y="572623"/>
                </a:lnTo>
                <a:lnTo>
                  <a:pt x="1192065" y="593775"/>
                </a:lnTo>
                <a:lnTo>
                  <a:pt x="1225365" y="618730"/>
                </a:lnTo>
                <a:lnTo>
                  <a:pt x="1267263" y="630804"/>
                </a:lnTo>
                <a:lnTo>
                  <a:pt x="1284417" y="628333"/>
                </a:lnTo>
                <a:lnTo>
                  <a:pt x="1315874" y="619921"/>
                </a:lnTo>
                <a:lnTo>
                  <a:pt x="1336844" y="614313"/>
                </a:lnTo>
                <a:lnTo>
                  <a:pt x="1355929" y="598628"/>
                </a:lnTo>
                <a:lnTo>
                  <a:pt x="1372161" y="579473"/>
                </a:lnTo>
                <a:lnTo>
                  <a:pt x="1385542" y="556849"/>
                </a:lnTo>
                <a:lnTo>
                  <a:pt x="1398922" y="534225"/>
                </a:lnTo>
                <a:lnTo>
                  <a:pt x="1418007" y="518540"/>
                </a:lnTo>
                <a:lnTo>
                  <a:pt x="1437091" y="502855"/>
                </a:lnTo>
                <a:lnTo>
                  <a:pt x="1472364" y="491306"/>
                </a:lnTo>
                <a:lnTo>
                  <a:pt x="1489518" y="488835"/>
                </a:lnTo>
                <a:lnTo>
                  <a:pt x="1509524" y="489834"/>
                </a:lnTo>
                <a:lnTo>
                  <a:pt x="1532381" y="494302"/>
                </a:lnTo>
                <a:lnTo>
                  <a:pt x="1555239" y="498771"/>
                </a:lnTo>
                <a:lnTo>
                  <a:pt x="1579983" y="513316"/>
                </a:lnTo>
                <a:lnTo>
                  <a:pt x="1611396" y="528195"/>
                </a:lnTo>
                <a:lnTo>
                  <a:pt x="1629472" y="542407"/>
                </a:lnTo>
                <a:lnTo>
                  <a:pt x="1658033" y="553815"/>
                </a:lnTo>
                <a:lnTo>
                  <a:pt x="1693262" y="565557"/>
                </a:lnTo>
                <a:lnTo>
                  <a:pt x="1737091" y="564417"/>
                </a:lnTo>
                <a:lnTo>
                  <a:pt x="1784736" y="560141"/>
                </a:lnTo>
                <a:lnTo>
                  <a:pt x="1812376" y="554865"/>
                </a:lnTo>
                <a:lnTo>
                  <a:pt x="1840980" y="542984"/>
                </a:lnTo>
                <a:lnTo>
                  <a:pt x="1869585" y="531102"/>
                </a:lnTo>
                <a:lnTo>
                  <a:pt x="1902971" y="509476"/>
                </a:lnTo>
                <a:lnTo>
                  <a:pt x="1918239" y="496928"/>
                </a:lnTo>
                <a:lnTo>
                  <a:pt x="1940174" y="484713"/>
                </a:lnTo>
                <a:lnTo>
                  <a:pt x="1971631" y="476301"/>
                </a:lnTo>
                <a:lnTo>
                  <a:pt x="2009756" y="468222"/>
                </a:lnTo>
                <a:lnTo>
                  <a:pt x="2046916" y="466750"/>
                </a:lnTo>
                <a:lnTo>
                  <a:pt x="2092631" y="475687"/>
                </a:lnTo>
                <a:lnTo>
                  <a:pt x="2111672" y="483293"/>
                </a:lnTo>
                <a:lnTo>
                  <a:pt x="2136416" y="497838"/>
                </a:lnTo>
                <a:lnTo>
                  <a:pt x="2158308" y="508913"/>
                </a:lnTo>
                <a:lnTo>
                  <a:pt x="2184018" y="516852"/>
                </a:lnTo>
                <a:lnTo>
                  <a:pt x="2213544" y="521653"/>
                </a:lnTo>
                <a:lnTo>
                  <a:pt x="2244035" y="519848"/>
                </a:lnTo>
                <a:lnTo>
                  <a:pt x="2261189" y="517377"/>
                </a:lnTo>
                <a:lnTo>
                  <a:pt x="2275491" y="511436"/>
                </a:lnTo>
                <a:lnTo>
                  <a:pt x="2286942" y="502025"/>
                </a:lnTo>
                <a:lnTo>
                  <a:pt x="2295541" y="489144"/>
                </a:lnTo>
                <a:lnTo>
                  <a:pt x="2305104" y="469657"/>
                </a:lnTo>
                <a:lnTo>
                  <a:pt x="2310852" y="453306"/>
                </a:lnTo>
                <a:lnTo>
                  <a:pt x="2317564" y="430349"/>
                </a:lnTo>
                <a:lnTo>
                  <a:pt x="2317607" y="407059"/>
                </a:lnTo>
                <a:lnTo>
                  <a:pt x="2318616" y="377162"/>
                </a:lnTo>
                <a:lnTo>
                  <a:pt x="2310104" y="343462"/>
                </a:lnTo>
                <a:lnTo>
                  <a:pt x="2298740" y="306292"/>
                </a:lnTo>
                <a:lnTo>
                  <a:pt x="2275005" y="261850"/>
                </a:lnTo>
                <a:lnTo>
                  <a:pt x="2244600" y="217075"/>
                </a:lnTo>
                <a:lnTo>
                  <a:pt x="2227490" y="196256"/>
                </a:lnTo>
                <a:lnTo>
                  <a:pt x="2210379" y="175437"/>
                </a:lnTo>
                <a:lnTo>
                  <a:pt x="2200902" y="148344"/>
                </a:lnTo>
                <a:lnTo>
                  <a:pt x="2192390" y="114644"/>
                </a:lnTo>
                <a:lnTo>
                  <a:pt x="2195286" y="94824"/>
                </a:lnTo>
                <a:lnTo>
                  <a:pt x="2198181" y="75003"/>
                </a:lnTo>
                <a:lnTo>
                  <a:pt x="2201076" y="55183"/>
                </a:lnTo>
                <a:lnTo>
                  <a:pt x="2210640" y="35695"/>
                </a:lnTo>
                <a:lnTo>
                  <a:pt x="2226872" y="16541"/>
                </a:lnTo>
                <a:lnTo>
                  <a:pt x="2240889" y="0"/>
                </a:lnTo>
                <a:lnTo>
                  <a:pt x="2494550" y="0"/>
                </a:lnTo>
                <a:lnTo>
                  <a:pt x="2454570" y="21253"/>
                </a:lnTo>
                <a:lnTo>
                  <a:pt x="2417366" y="46016"/>
                </a:lnTo>
                <a:lnTo>
                  <a:pt x="2386831" y="71111"/>
                </a:lnTo>
                <a:lnTo>
                  <a:pt x="2359149" y="99677"/>
                </a:lnTo>
                <a:lnTo>
                  <a:pt x="2341951" y="125438"/>
                </a:lnTo>
                <a:lnTo>
                  <a:pt x="2331422" y="151532"/>
                </a:lnTo>
                <a:lnTo>
                  <a:pt x="2327562" y="177959"/>
                </a:lnTo>
                <a:lnTo>
                  <a:pt x="2334187" y="201582"/>
                </a:lnTo>
                <a:lnTo>
                  <a:pt x="2352263" y="215795"/>
                </a:lnTo>
                <a:lnTo>
                  <a:pt x="2377007" y="230340"/>
                </a:lnTo>
                <a:lnTo>
                  <a:pt x="2409385" y="238611"/>
                </a:lnTo>
                <a:lnTo>
                  <a:pt x="2442728" y="240276"/>
                </a:lnTo>
                <a:lnTo>
                  <a:pt x="2482740" y="242274"/>
                </a:lnTo>
                <a:lnTo>
                  <a:pt x="2527533" y="234527"/>
                </a:lnTo>
                <a:lnTo>
                  <a:pt x="2573292" y="220174"/>
                </a:lnTo>
                <a:lnTo>
                  <a:pt x="2643838" y="197076"/>
                </a:lnTo>
                <a:lnTo>
                  <a:pt x="2702012" y="166706"/>
                </a:lnTo>
                <a:lnTo>
                  <a:pt x="2743032" y="138806"/>
                </a:lnTo>
                <a:lnTo>
                  <a:pt x="2777384" y="110574"/>
                </a:lnTo>
                <a:lnTo>
                  <a:pt x="2797433" y="88282"/>
                </a:lnTo>
                <a:lnTo>
                  <a:pt x="2810814" y="65658"/>
                </a:lnTo>
                <a:lnTo>
                  <a:pt x="2816561" y="49307"/>
                </a:lnTo>
                <a:lnTo>
                  <a:pt x="2827090" y="23213"/>
                </a:lnTo>
                <a:lnTo>
                  <a:pt x="2836456" y="0"/>
                </a:lnTo>
                <a:lnTo>
                  <a:pt x="3708691" y="0"/>
                </a:lnTo>
                <a:lnTo>
                  <a:pt x="3708555" y="2517"/>
                </a:lnTo>
                <a:lnTo>
                  <a:pt x="3719919" y="39686"/>
                </a:lnTo>
                <a:lnTo>
                  <a:pt x="3740802" y="80659"/>
                </a:lnTo>
                <a:lnTo>
                  <a:pt x="3752210" y="94538"/>
                </a:lnTo>
                <a:lnTo>
                  <a:pt x="3769320" y="115357"/>
                </a:lnTo>
                <a:lnTo>
                  <a:pt x="3793100" y="136509"/>
                </a:lnTo>
                <a:lnTo>
                  <a:pt x="3827364" y="154857"/>
                </a:lnTo>
                <a:lnTo>
                  <a:pt x="3872114" y="170401"/>
                </a:lnTo>
                <a:lnTo>
                  <a:pt x="3927350" y="183141"/>
                </a:lnTo>
                <a:lnTo>
                  <a:pt x="3994036" y="186470"/>
                </a:lnTo>
                <a:lnTo>
                  <a:pt x="4030231" y="191605"/>
                </a:lnTo>
                <a:lnTo>
                  <a:pt x="4072129" y="203679"/>
                </a:lnTo>
                <a:lnTo>
                  <a:pt x="4119731" y="222693"/>
                </a:lnTo>
                <a:lnTo>
                  <a:pt x="4144475" y="237238"/>
                </a:lnTo>
                <a:lnTo>
                  <a:pt x="4168254" y="258390"/>
                </a:lnTo>
                <a:lnTo>
                  <a:pt x="4194885" y="283012"/>
                </a:lnTo>
                <a:lnTo>
                  <a:pt x="4220552" y="314241"/>
                </a:lnTo>
                <a:lnTo>
                  <a:pt x="4242401" y="348606"/>
                </a:lnTo>
                <a:lnTo>
                  <a:pt x="4256615" y="389246"/>
                </a:lnTo>
                <a:lnTo>
                  <a:pt x="4276534" y="436825"/>
                </a:lnTo>
                <a:lnTo>
                  <a:pt x="4288819" y="490678"/>
                </a:lnTo>
                <a:lnTo>
                  <a:pt x="4292593" y="510832"/>
                </a:lnTo>
                <a:lnTo>
                  <a:pt x="4300183" y="527848"/>
                </a:lnTo>
                <a:lnTo>
                  <a:pt x="4310625" y="548334"/>
                </a:lnTo>
                <a:lnTo>
                  <a:pt x="4330587" y="572623"/>
                </a:lnTo>
                <a:lnTo>
                  <a:pt x="4354366" y="593775"/>
                </a:lnTo>
                <a:lnTo>
                  <a:pt x="4387666" y="618730"/>
                </a:lnTo>
                <a:lnTo>
                  <a:pt x="4429564" y="630804"/>
                </a:lnTo>
                <a:lnTo>
                  <a:pt x="4446718" y="628333"/>
                </a:lnTo>
                <a:lnTo>
                  <a:pt x="4478176" y="619921"/>
                </a:lnTo>
                <a:lnTo>
                  <a:pt x="4499146" y="614313"/>
                </a:lnTo>
                <a:lnTo>
                  <a:pt x="4518231" y="598628"/>
                </a:lnTo>
                <a:lnTo>
                  <a:pt x="4534462" y="579473"/>
                </a:lnTo>
                <a:lnTo>
                  <a:pt x="4547843" y="556849"/>
                </a:lnTo>
                <a:lnTo>
                  <a:pt x="4561224" y="534225"/>
                </a:lnTo>
                <a:lnTo>
                  <a:pt x="4580308" y="518540"/>
                </a:lnTo>
                <a:lnTo>
                  <a:pt x="4599392" y="502855"/>
                </a:lnTo>
                <a:lnTo>
                  <a:pt x="4634665" y="491306"/>
                </a:lnTo>
                <a:lnTo>
                  <a:pt x="4651820" y="488835"/>
                </a:lnTo>
                <a:lnTo>
                  <a:pt x="4671826" y="489834"/>
                </a:lnTo>
                <a:lnTo>
                  <a:pt x="4694683" y="494302"/>
                </a:lnTo>
                <a:lnTo>
                  <a:pt x="4717542" y="498771"/>
                </a:lnTo>
                <a:lnTo>
                  <a:pt x="4742284" y="513316"/>
                </a:lnTo>
                <a:lnTo>
                  <a:pt x="4773697" y="528195"/>
                </a:lnTo>
                <a:lnTo>
                  <a:pt x="4791773" y="542407"/>
                </a:lnTo>
                <a:lnTo>
                  <a:pt x="4820335" y="553815"/>
                </a:lnTo>
                <a:lnTo>
                  <a:pt x="4855563" y="565557"/>
                </a:lnTo>
                <a:lnTo>
                  <a:pt x="4899393" y="564417"/>
                </a:lnTo>
                <a:lnTo>
                  <a:pt x="4947037" y="560141"/>
                </a:lnTo>
                <a:lnTo>
                  <a:pt x="4974677" y="554865"/>
                </a:lnTo>
                <a:lnTo>
                  <a:pt x="5003282" y="542984"/>
                </a:lnTo>
                <a:lnTo>
                  <a:pt x="5031888" y="531102"/>
                </a:lnTo>
                <a:lnTo>
                  <a:pt x="5065272" y="509476"/>
                </a:lnTo>
                <a:lnTo>
                  <a:pt x="5080540" y="496928"/>
                </a:lnTo>
                <a:lnTo>
                  <a:pt x="5102476" y="484713"/>
                </a:lnTo>
                <a:lnTo>
                  <a:pt x="5133933" y="476301"/>
                </a:lnTo>
                <a:lnTo>
                  <a:pt x="5172058" y="468222"/>
                </a:lnTo>
                <a:lnTo>
                  <a:pt x="5209218" y="466750"/>
                </a:lnTo>
                <a:lnTo>
                  <a:pt x="5254933" y="475687"/>
                </a:lnTo>
                <a:lnTo>
                  <a:pt x="5273974" y="483293"/>
                </a:lnTo>
                <a:lnTo>
                  <a:pt x="5298720" y="497838"/>
                </a:lnTo>
                <a:lnTo>
                  <a:pt x="5320609" y="508913"/>
                </a:lnTo>
                <a:lnTo>
                  <a:pt x="5346319" y="516852"/>
                </a:lnTo>
                <a:lnTo>
                  <a:pt x="5375845" y="521653"/>
                </a:lnTo>
                <a:lnTo>
                  <a:pt x="5406336" y="519848"/>
                </a:lnTo>
                <a:lnTo>
                  <a:pt x="5423490" y="517377"/>
                </a:lnTo>
                <a:lnTo>
                  <a:pt x="5437794" y="511436"/>
                </a:lnTo>
                <a:lnTo>
                  <a:pt x="5449244" y="502025"/>
                </a:lnTo>
                <a:lnTo>
                  <a:pt x="5457842" y="489144"/>
                </a:lnTo>
                <a:lnTo>
                  <a:pt x="5467406" y="469657"/>
                </a:lnTo>
                <a:lnTo>
                  <a:pt x="5473153" y="453306"/>
                </a:lnTo>
                <a:lnTo>
                  <a:pt x="5479864" y="430349"/>
                </a:lnTo>
                <a:lnTo>
                  <a:pt x="5479908" y="407059"/>
                </a:lnTo>
                <a:lnTo>
                  <a:pt x="5480918" y="377162"/>
                </a:lnTo>
                <a:lnTo>
                  <a:pt x="5472407" y="343462"/>
                </a:lnTo>
                <a:lnTo>
                  <a:pt x="5461042" y="306292"/>
                </a:lnTo>
                <a:lnTo>
                  <a:pt x="5437305" y="261850"/>
                </a:lnTo>
                <a:lnTo>
                  <a:pt x="5406904" y="217075"/>
                </a:lnTo>
                <a:lnTo>
                  <a:pt x="5389790" y="196256"/>
                </a:lnTo>
                <a:lnTo>
                  <a:pt x="5372681" y="175437"/>
                </a:lnTo>
                <a:lnTo>
                  <a:pt x="5363203" y="148344"/>
                </a:lnTo>
                <a:lnTo>
                  <a:pt x="5354691" y="114644"/>
                </a:lnTo>
                <a:lnTo>
                  <a:pt x="5357586" y="94824"/>
                </a:lnTo>
                <a:lnTo>
                  <a:pt x="5360482" y="75003"/>
                </a:lnTo>
                <a:lnTo>
                  <a:pt x="5363377" y="55183"/>
                </a:lnTo>
                <a:lnTo>
                  <a:pt x="5372941" y="35695"/>
                </a:lnTo>
                <a:lnTo>
                  <a:pt x="5389173" y="16541"/>
                </a:lnTo>
                <a:lnTo>
                  <a:pt x="5403194" y="0"/>
                </a:lnTo>
                <a:lnTo>
                  <a:pt x="5656851" y="0"/>
                </a:lnTo>
                <a:lnTo>
                  <a:pt x="5616871" y="21253"/>
                </a:lnTo>
                <a:lnTo>
                  <a:pt x="5579667" y="46016"/>
                </a:lnTo>
                <a:lnTo>
                  <a:pt x="5549133" y="71111"/>
                </a:lnTo>
                <a:lnTo>
                  <a:pt x="5521450" y="99677"/>
                </a:lnTo>
                <a:lnTo>
                  <a:pt x="5504252" y="125438"/>
                </a:lnTo>
                <a:lnTo>
                  <a:pt x="5493723" y="151532"/>
                </a:lnTo>
                <a:lnTo>
                  <a:pt x="5489863" y="177959"/>
                </a:lnTo>
                <a:lnTo>
                  <a:pt x="5496489" y="201582"/>
                </a:lnTo>
                <a:lnTo>
                  <a:pt x="5514564" y="215795"/>
                </a:lnTo>
                <a:lnTo>
                  <a:pt x="5539309" y="230340"/>
                </a:lnTo>
                <a:lnTo>
                  <a:pt x="5571689" y="238611"/>
                </a:lnTo>
                <a:lnTo>
                  <a:pt x="5605029" y="240276"/>
                </a:lnTo>
                <a:lnTo>
                  <a:pt x="5645041" y="242274"/>
                </a:lnTo>
                <a:lnTo>
                  <a:pt x="5689834" y="234527"/>
                </a:lnTo>
                <a:lnTo>
                  <a:pt x="5735595" y="220174"/>
                </a:lnTo>
                <a:lnTo>
                  <a:pt x="5806140" y="197076"/>
                </a:lnTo>
                <a:lnTo>
                  <a:pt x="5864313" y="166706"/>
                </a:lnTo>
                <a:lnTo>
                  <a:pt x="5905333" y="138806"/>
                </a:lnTo>
                <a:lnTo>
                  <a:pt x="5939685" y="110574"/>
                </a:lnTo>
                <a:lnTo>
                  <a:pt x="5959734" y="88282"/>
                </a:lnTo>
                <a:lnTo>
                  <a:pt x="5973115" y="65658"/>
                </a:lnTo>
                <a:lnTo>
                  <a:pt x="5978862" y="49307"/>
                </a:lnTo>
                <a:lnTo>
                  <a:pt x="5989391" y="23213"/>
                </a:lnTo>
                <a:lnTo>
                  <a:pt x="5998757" y="0"/>
                </a:lnTo>
                <a:lnTo>
                  <a:pt x="7023503" y="0"/>
                </a:lnTo>
                <a:lnTo>
                  <a:pt x="7035156" y="33315"/>
                </a:lnTo>
                <a:lnTo>
                  <a:pt x="7055075" y="80894"/>
                </a:lnTo>
                <a:lnTo>
                  <a:pt x="7067360" y="134747"/>
                </a:lnTo>
                <a:lnTo>
                  <a:pt x="7071134" y="154900"/>
                </a:lnTo>
                <a:lnTo>
                  <a:pt x="7078724" y="171917"/>
                </a:lnTo>
                <a:lnTo>
                  <a:pt x="7089166" y="192403"/>
                </a:lnTo>
                <a:lnTo>
                  <a:pt x="7109128" y="216692"/>
                </a:lnTo>
                <a:lnTo>
                  <a:pt x="7132907" y="237844"/>
                </a:lnTo>
                <a:lnTo>
                  <a:pt x="7166207" y="262799"/>
                </a:lnTo>
                <a:lnTo>
                  <a:pt x="7208105" y="274873"/>
                </a:lnTo>
                <a:lnTo>
                  <a:pt x="7225259" y="272402"/>
                </a:lnTo>
                <a:lnTo>
                  <a:pt x="7256716" y="263990"/>
                </a:lnTo>
                <a:lnTo>
                  <a:pt x="7277686" y="258382"/>
                </a:lnTo>
                <a:lnTo>
                  <a:pt x="7296771" y="242697"/>
                </a:lnTo>
                <a:lnTo>
                  <a:pt x="7313003" y="223542"/>
                </a:lnTo>
                <a:lnTo>
                  <a:pt x="7326384" y="200918"/>
                </a:lnTo>
                <a:lnTo>
                  <a:pt x="7339764" y="178294"/>
                </a:lnTo>
                <a:lnTo>
                  <a:pt x="7358848" y="162609"/>
                </a:lnTo>
                <a:lnTo>
                  <a:pt x="7377933" y="146924"/>
                </a:lnTo>
                <a:lnTo>
                  <a:pt x="7413206" y="135375"/>
                </a:lnTo>
                <a:lnTo>
                  <a:pt x="7430360" y="132904"/>
                </a:lnTo>
                <a:lnTo>
                  <a:pt x="7450366" y="133903"/>
                </a:lnTo>
                <a:lnTo>
                  <a:pt x="7473223" y="138371"/>
                </a:lnTo>
                <a:lnTo>
                  <a:pt x="7496081" y="142840"/>
                </a:lnTo>
                <a:lnTo>
                  <a:pt x="7520825" y="157385"/>
                </a:lnTo>
                <a:lnTo>
                  <a:pt x="7552238" y="172264"/>
                </a:lnTo>
                <a:lnTo>
                  <a:pt x="7570314" y="186476"/>
                </a:lnTo>
                <a:lnTo>
                  <a:pt x="7598875" y="197884"/>
                </a:lnTo>
                <a:lnTo>
                  <a:pt x="7634104" y="209626"/>
                </a:lnTo>
                <a:lnTo>
                  <a:pt x="7677933" y="208486"/>
                </a:lnTo>
                <a:lnTo>
                  <a:pt x="7725578" y="204210"/>
                </a:lnTo>
                <a:lnTo>
                  <a:pt x="7753218" y="198934"/>
                </a:lnTo>
                <a:lnTo>
                  <a:pt x="7781822" y="187053"/>
                </a:lnTo>
                <a:lnTo>
                  <a:pt x="7810427" y="175171"/>
                </a:lnTo>
                <a:lnTo>
                  <a:pt x="7843813" y="153545"/>
                </a:lnTo>
                <a:lnTo>
                  <a:pt x="7859081" y="140997"/>
                </a:lnTo>
                <a:lnTo>
                  <a:pt x="7881017" y="128782"/>
                </a:lnTo>
                <a:lnTo>
                  <a:pt x="7912473" y="120370"/>
                </a:lnTo>
                <a:lnTo>
                  <a:pt x="7950598" y="112291"/>
                </a:lnTo>
                <a:lnTo>
                  <a:pt x="7987758" y="110819"/>
                </a:lnTo>
                <a:lnTo>
                  <a:pt x="8033473" y="119756"/>
                </a:lnTo>
                <a:lnTo>
                  <a:pt x="8052514" y="127362"/>
                </a:lnTo>
                <a:lnTo>
                  <a:pt x="8077258" y="141907"/>
                </a:lnTo>
                <a:lnTo>
                  <a:pt x="8099150" y="152982"/>
                </a:lnTo>
                <a:lnTo>
                  <a:pt x="8124860" y="160921"/>
                </a:lnTo>
                <a:lnTo>
                  <a:pt x="8154386" y="165722"/>
                </a:lnTo>
                <a:lnTo>
                  <a:pt x="8184877" y="163917"/>
                </a:lnTo>
                <a:lnTo>
                  <a:pt x="8202031" y="161446"/>
                </a:lnTo>
                <a:lnTo>
                  <a:pt x="8216333" y="155505"/>
                </a:lnTo>
                <a:lnTo>
                  <a:pt x="8227784" y="146094"/>
                </a:lnTo>
                <a:lnTo>
                  <a:pt x="8236383" y="133213"/>
                </a:lnTo>
                <a:lnTo>
                  <a:pt x="8245947" y="113726"/>
                </a:lnTo>
                <a:lnTo>
                  <a:pt x="8251694" y="97375"/>
                </a:lnTo>
                <a:lnTo>
                  <a:pt x="8258405" y="74418"/>
                </a:lnTo>
                <a:lnTo>
                  <a:pt x="8258449" y="51128"/>
                </a:lnTo>
                <a:lnTo>
                  <a:pt x="8259458" y="21231"/>
                </a:lnTo>
                <a:lnTo>
                  <a:pt x="8254915" y="3243"/>
                </a:lnTo>
                <a:lnTo>
                  <a:pt x="8284659" y="4728"/>
                </a:lnTo>
                <a:lnTo>
                  <a:pt x="8320853" y="9863"/>
                </a:lnTo>
                <a:lnTo>
                  <a:pt x="8362752" y="21937"/>
                </a:lnTo>
                <a:lnTo>
                  <a:pt x="8410353" y="40951"/>
                </a:lnTo>
                <a:lnTo>
                  <a:pt x="8435098" y="55496"/>
                </a:lnTo>
                <a:lnTo>
                  <a:pt x="8458877" y="76648"/>
                </a:lnTo>
                <a:lnTo>
                  <a:pt x="8485508" y="101270"/>
                </a:lnTo>
                <a:lnTo>
                  <a:pt x="8511174" y="132499"/>
                </a:lnTo>
                <a:lnTo>
                  <a:pt x="8533023" y="166864"/>
                </a:lnTo>
                <a:lnTo>
                  <a:pt x="8547238" y="207504"/>
                </a:lnTo>
                <a:lnTo>
                  <a:pt x="8567157" y="255083"/>
                </a:lnTo>
                <a:lnTo>
                  <a:pt x="8579442" y="308936"/>
                </a:lnTo>
                <a:lnTo>
                  <a:pt x="8583215" y="329090"/>
                </a:lnTo>
                <a:lnTo>
                  <a:pt x="8590806" y="346106"/>
                </a:lnTo>
                <a:lnTo>
                  <a:pt x="8601248" y="366592"/>
                </a:lnTo>
                <a:lnTo>
                  <a:pt x="8621210" y="390881"/>
                </a:lnTo>
                <a:lnTo>
                  <a:pt x="8644989" y="412033"/>
                </a:lnTo>
                <a:lnTo>
                  <a:pt x="8678289" y="436988"/>
                </a:lnTo>
                <a:lnTo>
                  <a:pt x="8720187" y="449062"/>
                </a:lnTo>
                <a:lnTo>
                  <a:pt x="8737341" y="446591"/>
                </a:lnTo>
                <a:lnTo>
                  <a:pt x="8768797" y="438179"/>
                </a:lnTo>
                <a:lnTo>
                  <a:pt x="8789768" y="432571"/>
                </a:lnTo>
                <a:lnTo>
                  <a:pt x="8808852" y="416886"/>
                </a:lnTo>
                <a:lnTo>
                  <a:pt x="8825085" y="397732"/>
                </a:lnTo>
                <a:lnTo>
                  <a:pt x="8838465" y="375107"/>
                </a:lnTo>
                <a:lnTo>
                  <a:pt x="8851846" y="352483"/>
                </a:lnTo>
                <a:lnTo>
                  <a:pt x="8870930" y="336798"/>
                </a:lnTo>
                <a:lnTo>
                  <a:pt x="8890014" y="321113"/>
                </a:lnTo>
                <a:lnTo>
                  <a:pt x="8925288" y="309564"/>
                </a:lnTo>
                <a:lnTo>
                  <a:pt x="8942442" y="307093"/>
                </a:lnTo>
                <a:lnTo>
                  <a:pt x="8962448" y="308092"/>
                </a:lnTo>
                <a:lnTo>
                  <a:pt x="8985305" y="312561"/>
                </a:lnTo>
                <a:lnTo>
                  <a:pt x="9008163" y="317029"/>
                </a:lnTo>
                <a:lnTo>
                  <a:pt x="9032907" y="331574"/>
                </a:lnTo>
                <a:lnTo>
                  <a:pt x="9064320" y="346453"/>
                </a:lnTo>
                <a:lnTo>
                  <a:pt x="9082395" y="360665"/>
                </a:lnTo>
                <a:lnTo>
                  <a:pt x="9110956" y="372073"/>
                </a:lnTo>
                <a:lnTo>
                  <a:pt x="9146186" y="383815"/>
                </a:lnTo>
                <a:lnTo>
                  <a:pt x="9190015" y="382675"/>
                </a:lnTo>
                <a:lnTo>
                  <a:pt x="9237660" y="378399"/>
                </a:lnTo>
                <a:lnTo>
                  <a:pt x="9265299" y="373124"/>
                </a:lnTo>
                <a:lnTo>
                  <a:pt x="9293904" y="361242"/>
                </a:lnTo>
                <a:lnTo>
                  <a:pt x="9322509" y="349360"/>
                </a:lnTo>
                <a:lnTo>
                  <a:pt x="9355895" y="327734"/>
                </a:lnTo>
                <a:lnTo>
                  <a:pt x="9371162" y="315186"/>
                </a:lnTo>
                <a:lnTo>
                  <a:pt x="9393098" y="302971"/>
                </a:lnTo>
                <a:lnTo>
                  <a:pt x="9424555" y="294559"/>
                </a:lnTo>
                <a:lnTo>
                  <a:pt x="9462680" y="286480"/>
                </a:lnTo>
                <a:lnTo>
                  <a:pt x="9499839" y="285008"/>
                </a:lnTo>
                <a:lnTo>
                  <a:pt x="9545555" y="293945"/>
                </a:lnTo>
                <a:lnTo>
                  <a:pt x="9564595" y="301551"/>
                </a:lnTo>
                <a:lnTo>
                  <a:pt x="9589339" y="316096"/>
                </a:lnTo>
                <a:lnTo>
                  <a:pt x="9611232" y="327171"/>
                </a:lnTo>
                <a:lnTo>
                  <a:pt x="9636941" y="335110"/>
                </a:lnTo>
                <a:lnTo>
                  <a:pt x="9666468" y="339911"/>
                </a:lnTo>
                <a:lnTo>
                  <a:pt x="9696959" y="338106"/>
                </a:lnTo>
                <a:lnTo>
                  <a:pt x="9714113" y="335635"/>
                </a:lnTo>
                <a:lnTo>
                  <a:pt x="9728415" y="329694"/>
                </a:lnTo>
                <a:lnTo>
                  <a:pt x="9739866" y="320283"/>
                </a:lnTo>
                <a:lnTo>
                  <a:pt x="9748464" y="307403"/>
                </a:lnTo>
                <a:lnTo>
                  <a:pt x="9758028" y="287915"/>
                </a:lnTo>
                <a:lnTo>
                  <a:pt x="9763775" y="271565"/>
                </a:lnTo>
                <a:lnTo>
                  <a:pt x="9770487" y="248607"/>
                </a:lnTo>
                <a:lnTo>
                  <a:pt x="9770531" y="225317"/>
                </a:lnTo>
                <a:lnTo>
                  <a:pt x="9771539" y="195420"/>
                </a:lnTo>
                <a:lnTo>
                  <a:pt x="9766024" y="173587"/>
                </a:lnTo>
                <a:lnTo>
                  <a:pt x="9807448" y="183141"/>
                </a:lnTo>
                <a:lnTo>
                  <a:pt x="9874134" y="186470"/>
                </a:lnTo>
                <a:lnTo>
                  <a:pt x="9910329" y="191605"/>
                </a:lnTo>
                <a:lnTo>
                  <a:pt x="9952227" y="203679"/>
                </a:lnTo>
                <a:lnTo>
                  <a:pt x="9999829" y="222693"/>
                </a:lnTo>
                <a:lnTo>
                  <a:pt x="10024574" y="237238"/>
                </a:lnTo>
                <a:lnTo>
                  <a:pt x="10048353" y="258390"/>
                </a:lnTo>
                <a:lnTo>
                  <a:pt x="10074984" y="283012"/>
                </a:lnTo>
                <a:lnTo>
                  <a:pt x="10100650" y="314241"/>
                </a:lnTo>
                <a:lnTo>
                  <a:pt x="10122499" y="348606"/>
                </a:lnTo>
                <a:lnTo>
                  <a:pt x="10136714" y="389246"/>
                </a:lnTo>
                <a:lnTo>
                  <a:pt x="10156633" y="436825"/>
                </a:lnTo>
                <a:lnTo>
                  <a:pt x="10168918" y="490678"/>
                </a:lnTo>
                <a:lnTo>
                  <a:pt x="10172691" y="510832"/>
                </a:lnTo>
                <a:lnTo>
                  <a:pt x="10180282" y="527848"/>
                </a:lnTo>
                <a:lnTo>
                  <a:pt x="10190724" y="548334"/>
                </a:lnTo>
                <a:lnTo>
                  <a:pt x="10210686" y="572623"/>
                </a:lnTo>
                <a:lnTo>
                  <a:pt x="10234465" y="593775"/>
                </a:lnTo>
                <a:lnTo>
                  <a:pt x="10267765" y="618730"/>
                </a:lnTo>
                <a:lnTo>
                  <a:pt x="10309663" y="630804"/>
                </a:lnTo>
                <a:lnTo>
                  <a:pt x="10326817" y="628333"/>
                </a:lnTo>
                <a:lnTo>
                  <a:pt x="10358273" y="619921"/>
                </a:lnTo>
                <a:lnTo>
                  <a:pt x="10379244" y="614313"/>
                </a:lnTo>
                <a:lnTo>
                  <a:pt x="10398328" y="598628"/>
                </a:lnTo>
                <a:lnTo>
                  <a:pt x="10414561" y="579473"/>
                </a:lnTo>
                <a:lnTo>
                  <a:pt x="10427941" y="556849"/>
                </a:lnTo>
                <a:lnTo>
                  <a:pt x="10441322" y="534225"/>
                </a:lnTo>
                <a:lnTo>
                  <a:pt x="10460406" y="518540"/>
                </a:lnTo>
                <a:lnTo>
                  <a:pt x="10479490" y="502855"/>
                </a:lnTo>
                <a:lnTo>
                  <a:pt x="10514764" y="491306"/>
                </a:lnTo>
                <a:lnTo>
                  <a:pt x="10531918" y="488835"/>
                </a:lnTo>
                <a:lnTo>
                  <a:pt x="10551924" y="489834"/>
                </a:lnTo>
                <a:lnTo>
                  <a:pt x="10574781" y="494302"/>
                </a:lnTo>
                <a:lnTo>
                  <a:pt x="10597639" y="498771"/>
                </a:lnTo>
                <a:lnTo>
                  <a:pt x="10622383" y="513316"/>
                </a:lnTo>
                <a:lnTo>
                  <a:pt x="10653796" y="528195"/>
                </a:lnTo>
                <a:lnTo>
                  <a:pt x="10671871" y="542407"/>
                </a:lnTo>
                <a:lnTo>
                  <a:pt x="10700432" y="553815"/>
                </a:lnTo>
                <a:lnTo>
                  <a:pt x="10735662" y="565557"/>
                </a:lnTo>
                <a:lnTo>
                  <a:pt x="10779491" y="564417"/>
                </a:lnTo>
                <a:lnTo>
                  <a:pt x="10827136" y="560141"/>
                </a:lnTo>
                <a:lnTo>
                  <a:pt x="10854775" y="554865"/>
                </a:lnTo>
                <a:lnTo>
                  <a:pt x="10883380" y="542984"/>
                </a:lnTo>
                <a:lnTo>
                  <a:pt x="10911985" y="531102"/>
                </a:lnTo>
                <a:lnTo>
                  <a:pt x="10945371" y="509476"/>
                </a:lnTo>
                <a:lnTo>
                  <a:pt x="10960638" y="496928"/>
                </a:lnTo>
                <a:lnTo>
                  <a:pt x="10982574" y="484713"/>
                </a:lnTo>
                <a:lnTo>
                  <a:pt x="11014031" y="476301"/>
                </a:lnTo>
                <a:lnTo>
                  <a:pt x="11052156" y="468222"/>
                </a:lnTo>
                <a:lnTo>
                  <a:pt x="11089315" y="466750"/>
                </a:lnTo>
                <a:lnTo>
                  <a:pt x="11135031" y="475687"/>
                </a:lnTo>
                <a:lnTo>
                  <a:pt x="11154071" y="483293"/>
                </a:lnTo>
                <a:lnTo>
                  <a:pt x="11178815" y="497838"/>
                </a:lnTo>
                <a:lnTo>
                  <a:pt x="11200708" y="508913"/>
                </a:lnTo>
                <a:lnTo>
                  <a:pt x="11226417" y="516852"/>
                </a:lnTo>
                <a:lnTo>
                  <a:pt x="11255944" y="521653"/>
                </a:lnTo>
                <a:lnTo>
                  <a:pt x="11286435" y="519848"/>
                </a:lnTo>
                <a:lnTo>
                  <a:pt x="11303589" y="517377"/>
                </a:lnTo>
                <a:lnTo>
                  <a:pt x="11317891" y="511436"/>
                </a:lnTo>
                <a:lnTo>
                  <a:pt x="11329342" y="502025"/>
                </a:lnTo>
                <a:lnTo>
                  <a:pt x="11337940" y="489144"/>
                </a:lnTo>
                <a:lnTo>
                  <a:pt x="11347504" y="469657"/>
                </a:lnTo>
                <a:lnTo>
                  <a:pt x="11353251" y="453306"/>
                </a:lnTo>
                <a:lnTo>
                  <a:pt x="11359963" y="430349"/>
                </a:lnTo>
                <a:lnTo>
                  <a:pt x="11360007" y="407059"/>
                </a:lnTo>
                <a:lnTo>
                  <a:pt x="11361015" y="377162"/>
                </a:lnTo>
                <a:lnTo>
                  <a:pt x="11352503" y="343462"/>
                </a:lnTo>
                <a:lnTo>
                  <a:pt x="11341140" y="306292"/>
                </a:lnTo>
                <a:lnTo>
                  <a:pt x="11317404" y="261850"/>
                </a:lnTo>
                <a:lnTo>
                  <a:pt x="11287000" y="217075"/>
                </a:lnTo>
                <a:lnTo>
                  <a:pt x="11269889" y="196256"/>
                </a:lnTo>
                <a:lnTo>
                  <a:pt x="11252779" y="175437"/>
                </a:lnTo>
                <a:lnTo>
                  <a:pt x="11243302" y="148344"/>
                </a:lnTo>
                <a:lnTo>
                  <a:pt x="11234790" y="114644"/>
                </a:lnTo>
                <a:lnTo>
                  <a:pt x="11237685" y="94824"/>
                </a:lnTo>
                <a:lnTo>
                  <a:pt x="11240580" y="75003"/>
                </a:lnTo>
                <a:lnTo>
                  <a:pt x="11243476" y="55183"/>
                </a:lnTo>
                <a:lnTo>
                  <a:pt x="11253039" y="35695"/>
                </a:lnTo>
                <a:lnTo>
                  <a:pt x="11269272" y="16541"/>
                </a:lnTo>
                <a:lnTo>
                  <a:pt x="11283289" y="0"/>
                </a:lnTo>
                <a:lnTo>
                  <a:pt x="11536950" y="0"/>
                </a:lnTo>
                <a:lnTo>
                  <a:pt x="11496969" y="21253"/>
                </a:lnTo>
                <a:lnTo>
                  <a:pt x="11459766" y="46016"/>
                </a:lnTo>
                <a:lnTo>
                  <a:pt x="11429231" y="71111"/>
                </a:lnTo>
                <a:lnTo>
                  <a:pt x="11401548" y="99677"/>
                </a:lnTo>
                <a:lnTo>
                  <a:pt x="11384351" y="125438"/>
                </a:lnTo>
                <a:lnTo>
                  <a:pt x="11373822" y="151532"/>
                </a:lnTo>
                <a:lnTo>
                  <a:pt x="11369962" y="177959"/>
                </a:lnTo>
                <a:lnTo>
                  <a:pt x="11376587" y="201582"/>
                </a:lnTo>
                <a:lnTo>
                  <a:pt x="11394662" y="215795"/>
                </a:lnTo>
                <a:lnTo>
                  <a:pt x="11419407" y="230340"/>
                </a:lnTo>
                <a:lnTo>
                  <a:pt x="11451785" y="238611"/>
                </a:lnTo>
                <a:lnTo>
                  <a:pt x="11485128" y="240276"/>
                </a:lnTo>
                <a:lnTo>
                  <a:pt x="11525139" y="242274"/>
                </a:lnTo>
                <a:lnTo>
                  <a:pt x="11569933" y="234527"/>
                </a:lnTo>
                <a:lnTo>
                  <a:pt x="11615691" y="220174"/>
                </a:lnTo>
                <a:lnTo>
                  <a:pt x="11686238" y="197076"/>
                </a:lnTo>
                <a:lnTo>
                  <a:pt x="11744412" y="166706"/>
                </a:lnTo>
                <a:lnTo>
                  <a:pt x="11785432" y="138806"/>
                </a:lnTo>
                <a:lnTo>
                  <a:pt x="11819784" y="110574"/>
                </a:lnTo>
                <a:lnTo>
                  <a:pt x="11839833" y="88282"/>
                </a:lnTo>
                <a:lnTo>
                  <a:pt x="11853214" y="65658"/>
                </a:lnTo>
                <a:lnTo>
                  <a:pt x="11858961" y="49307"/>
                </a:lnTo>
                <a:lnTo>
                  <a:pt x="11869489" y="23213"/>
                </a:lnTo>
                <a:lnTo>
                  <a:pt x="11878855" y="0"/>
                </a:lnTo>
                <a:lnTo>
                  <a:pt x="12192000" y="0"/>
                </a:lnTo>
                <a:lnTo>
                  <a:pt x="12192000" y="5588000"/>
                </a:lnTo>
                <a:lnTo>
                  <a:pt x="12191317" y="5588000"/>
                </a:lnTo>
                <a:lnTo>
                  <a:pt x="12191998" y="5584540"/>
                </a:lnTo>
                <a:lnTo>
                  <a:pt x="12191998" y="4577866"/>
                </a:lnTo>
                <a:lnTo>
                  <a:pt x="12127518" y="4577367"/>
                </a:lnTo>
                <a:cubicBezTo>
                  <a:pt x="11986679" y="4579938"/>
                  <a:pt x="11855150" y="4590364"/>
                  <a:pt x="11737130" y="4611400"/>
                </a:cubicBezTo>
                <a:cubicBezTo>
                  <a:pt x="11678120" y="4621918"/>
                  <a:pt x="11619824" y="4634100"/>
                  <a:pt x="11562166" y="4647691"/>
                </a:cubicBezTo>
                <a:lnTo>
                  <a:pt x="11523813" y="4657719"/>
                </a:lnTo>
                <a:lnTo>
                  <a:pt x="11523154" y="4654197"/>
                </a:lnTo>
                <a:lnTo>
                  <a:pt x="11514642" y="4620498"/>
                </a:lnTo>
                <a:lnTo>
                  <a:pt x="11506130" y="4586798"/>
                </a:lnTo>
                <a:lnTo>
                  <a:pt x="11484281" y="4552432"/>
                </a:lnTo>
                <a:lnTo>
                  <a:pt x="11458616" y="4521204"/>
                </a:lnTo>
                <a:lnTo>
                  <a:pt x="11425316" y="4496249"/>
                </a:lnTo>
                <a:lnTo>
                  <a:pt x="11381531" y="4474098"/>
                </a:lnTo>
                <a:lnTo>
                  <a:pt x="11330112" y="4458221"/>
                </a:lnTo>
                <a:lnTo>
                  <a:pt x="11264391" y="4448285"/>
                </a:lnTo>
                <a:lnTo>
                  <a:pt x="11190072" y="4451230"/>
                </a:lnTo>
                <a:lnTo>
                  <a:pt x="11097633" y="4463252"/>
                </a:lnTo>
                <a:lnTo>
                  <a:pt x="10992778" y="4491293"/>
                </a:lnTo>
                <a:lnTo>
                  <a:pt x="10958470" y="4496235"/>
                </a:lnTo>
                <a:lnTo>
                  <a:pt x="10921311" y="4497707"/>
                </a:lnTo>
                <a:lnTo>
                  <a:pt x="10877482" y="4498847"/>
                </a:lnTo>
                <a:lnTo>
                  <a:pt x="10827950" y="4493046"/>
                </a:lnTo>
                <a:lnTo>
                  <a:pt x="10806058" y="4481971"/>
                </a:lnTo>
                <a:lnTo>
                  <a:pt x="10784165" y="4470896"/>
                </a:lnTo>
                <a:lnTo>
                  <a:pt x="10762273" y="4459820"/>
                </a:lnTo>
                <a:lnTo>
                  <a:pt x="10741345" y="4442138"/>
                </a:lnTo>
                <a:lnTo>
                  <a:pt x="10728051" y="4418182"/>
                </a:lnTo>
                <a:lnTo>
                  <a:pt x="10714758" y="4394226"/>
                </a:lnTo>
                <a:lnTo>
                  <a:pt x="10705281" y="4367133"/>
                </a:lnTo>
                <a:lnTo>
                  <a:pt x="10692952" y="4336570"/>
                </a:lnTo>
                <a:lnTo>
                  <a:pt x="10676807" y="4309144"/>
                </a:lnTo>
                <a:lnTo>
                  <a:pt x="10647324" y="4281052"/>
                </a:lnTo>
                <a:lnTo>
                  <a:pt x="10632100" y="4270310"/>
                </a:lnTo>
                <a:lnTo>
                  <a:pt x="10616876" y="4259567"/>
                </a:lnTo>
                <a:lnTo>
                  <a:pt x="10596870" y="4258569"/>
                </a:lnTo>
                <a:lnTo>
                  <a:pt x="10576865" y="4257570"/>
                </a:lnTo>
                <a:lnTo>
                  <a:pt x="10553042" y="4259708"/>
                </a:lnTo>
                <a:lnTo>
                  <a:pt x="10528254" y="4268453"/>
                </a:lnTo>
                <a:lnTo>
                  <a:pt x="10510135" y="4277531"/>
                </a:lnTo>
                <a:lnTo>
                  <a:pt x="10488199" y="4289746"/>
                </a:lnTo>
                <a:lnTo>
                  <a:pt x="10468150" y="4312037"/>
                </a:lnTo>
                <a:lnTo>
                  <a:pt x="10444284" y="4337466"/>
                </a:lnTo>
                <a:lnTo>
                  <a:pt x="10426121" y="4369834"/>
                </a:lnTo>
                <a:lnTo>
                  <a:pt x="10412697" y="4415749"/>
                </a:lnTo>
                <a:lnTo>
                  <a:pt x="10401160" y="4471740"/>
                </a:lnTo>
                <a:lnTo>
                  <a:pt x="10399229" y="4484953"/>
                </a:lnTo>
                <a:lnTo>
                  <a:pt x="10396334" y="4504774"/>
                </a:lnTo>
                <a:lnTo>
                  <a:pt x="10386770" y="4524261"/>
                </a:lnTo>
                <a:lnTo>
                  <a:pt x="10373390" y="4546886"/>
                </a:lnTo>
                <a:lnTo>
                  <a:pt x="10353340" y="4569177"/>
                </a:lnTo>
                <a:lnTo>
                  <a:pt x="10326622" y="4591136"/>
                </a:lnTo>
                <a:lnTo>
                  <a:pt x="10286568" y="4612428"/>
                </a:lnTo>
                <a:lnTo>
                  <a:pt x="10265597" y="4618037"/>
                </a:lnTo>
                <a:lnTo>
                  <a:pt x="10241774" y="4620175"/>
                </a:lnTo>
                <a:lnTo>
                  <a:pt x="10208431" y="4618510"/>
                </a:lnTo>
                <a:lnTo>
                  <a:pt x="10169384" y="4609906"/>
                </a:lnTo>
                <a:lnTo>
                  <a:pt x="10125599" y="4587755"/>
                </a:lnTo>
                <a:lnTo>
                  <a:pt x="10074224" y="4548588"/>
                </a:lnTo>
                <a:lnTo>
                  <a:pt x="10047593" y="4523966"/>
                </a:lnTo>
                <a:lnTo>
                  <a:pt x="10024779" y="4496207"/>
                </a:lnTo>
                <a:lnTo>
                  <a:pt x="9990558" y="4454569"/>
                </a:lnTo>
                <a:lnTo>
                  <a:pt x="9955372" y="4419537"/>
                </a:lnTo>
                <a:lnTo>
                  <a:pt x="9907813" y="4377233"/>
                </a:lnTo>
                <a:lnTo>
                  <a:pt x="9859290" y="4341536"/>
                </a:lnTo>
                <a:lnTo>
                  <a:pt x="9834546" y="4326991"/>
                </a:lnTo>
                <a:lnTo>
                  <a:pt x="9805985" y="4315583"/>
                </a:lnTo>
                <a:lnTo>
                  <a:pt x="9776458" y="4310781"/>
                </a:lnTo>
                <a:lnTo>
                  <a:pt x="9752636" y="4312919"/>
                </a:lnTo>
                <a:lnTo>
                  <a:pt x="9724996" y="4318194"/>
                </a:lnTo>
                <a:lnTo>
                  <a:pt x="9703060" y="4330409"/>
                </a:lnTo>
                <a:lnTo>
                  <a:pt x="9683976" y="4346094"/>
                </a:lnTo>
                <a:lnTo>
                  <a:pt x="9674412" y="4365581"/>
                </a:lnTo>
                <a:lnTo>
                  <a:pt x="9662918" y="4398282"/>
                </a:lnTo>
                <a:lnTo>
                  <a:pt x="9653311" y="4441060"/>
                </a:lnTo>
                <a:lnTo>
                  <a:pt x="9652259" y="4494247"/>
                </a:lnTo>
                <a:lnTo>
                  <a:pt x="9657919" y="4524477"/>
                </a:lnTo>
                <a:lnTo>
                  <a:pt x="9666431" y="4558177"/>
                </a:lnTo>
                <a:lnTo>
                  <a:pt x="9677795" y="4595347"/>
                </a:lnTo>
                <a:lnTo>
                  <a:pt x="9695827" y="4632849"/>
                </a:lnTo>
                <a:lnTo>
                  <a:pt x="9700565" y="4646396"/>
                </a:lnTo>
                <a:lnTo>
                  <a:pt x="9698635" y="4659609"/>
                </a:lnTo>
                <a:lnTo>
                  <a:pt x="9699557" y="4676293"/>
                </a:lnTo>
                <a:lnTo>
                  <a:pt x="9696661" y="4696113"/>
                </a:lnTo>
                <a:lnTo>
                  <a:pt x="9686133" y="4722207"/>
                </a:lnTo>
                <a:lnTo>
                  <a:pt x="9672752" y="4744832"/>
                </a:lnTo>
                <a:lnTo>
                  <a:pt x="9642217" y="4769927"/>
                </a:lnTo>
                <a:lnTo>
                  <a:pt x="9627915" y="4775868"/>
                </a:lnTo>
                <a:lnTo>
                  <a:pt x="9606944" y="4781476"/>
                </a:lnTo>
                <a:lnTo>
                  <a:pt x="9572636" y="4786419"/>
                </a:lnTo>
                <a:lnTo>
                  <a:pt x="9539293" y="4784754"/>
                </a:lnTo>
                <a:lnTo>
                  <a:pt x="9496430" y="4779287"/>
                </a:lnTo>
                <a:lnTo>
                  <a:pt x="9448828" y="4760273"/>
                </a:lnTo>
                <a:lnTo>
                  <a:pt x="9395522" y="4734319"/>
                </a:lnTo>
                <a:lnTo>
                  <a:pt x="9377447" y="4720107"/>
                </a:lnTo>
                <a:lnTo>
                  <a:pt x="9326993" y="4697623"/>
                </a:lnTo>
                <a:lnTo>
                  <a:pt x="9253682" y="4670671"/>
                </a:lnTo>
                <a:lnTo>
                  <a:pt x="9208932" y="4655127"/>
                </a:lnTo>
                <a:lnTo>
                  <a:pt x="9163217" y="4646190"/>
                </a:lnTo>
                <a:lnTo>
                  <a:pt x="9117502" y="4637252"/>
                </a:lnTo>
                <a:lnTo>
                  <a:pt x="9064153" y="4634589"/>
                </a:lnTo>
                <a:lnTo>
                  <a:pt x="9016508" y="4638865"/>
                </a:lnTo>
                <a:lnTo>
                  <a:pt x="8964080" y="4652886"/>
                </a:lnTo>
                <a:lnTo>
                  <a:pt x="8917357" y="4673845"/>
                </a:lnTo>
                <a:lnTo>
                  <a:pt x="8872520" y="4704882"/>
                </a:lnTo>
                <a:lnTo>
                  <a:pt x="8849619" y="4723704"/>
                </a:lnTo>
                <a:lnTo>
                  <a:pt x="8829569" y="4745995"/>
                </a:lnTo>
                <a:lnTo>
                  <a:pt x="8808555" y="4774893"/>
                </a:lnTo>
                <a:lnTo>
                  <a:pt x="8791357" y="4800655"/>
                </a:lnTo>
                <a:lnTo>
                  <a:pt x="8786576" y="4810398"/>
                </a:lnTo>
                <a:lnTo>
                  <a:pt x="8783680" y="4830219"/>
                </a:lnTo>
                <a:lnTo>
                  <a:pt x="8779820" y="4856646"/>
                </a:lnTo>
                <a:lnTo>
                  <a:pt x="8783550" y="4900089"/>
                </a:lnTo>
                <a:lnTo>
                  <a:pt x="8793992" y="4920576"/>
                </a:lnTo>
                <a:lnTo>
                  <a:pt x="8803469" y="4947669"/>
                </a:lnTo>
                <a:lnTo>
                  <a:pt x="8822466" y="4978564"/>
                </a:lnTo>
                <a:lnTo>
                  <a:pt x="8845280" y="5006323"/>
                </a:lnTo>
                <a:lnTo>
                  <a:pt x="8874763" y="5034415"/>
                </a:lnTo>
                <a:lnTo>
                  <a:pt x="8909949" y="5069446"/>
                </a:lnTo>
                <a:lnTo>
                  <a:pt x="8951804" y="5104811"/>
                </a:lnTo>
                <a:lnTo>
                  <a:pt x="9004144" y="5137371"/>
                </a:lnTo>
                <a:lnTo>
                  <a:pt x="9035557" y="5152249"/>
                </a:lnTo>
                <a:lnTo>
                  <a:pt x="9066005" y="5173734"/>
                </a:lnTo>
                <a:lnTo>
                  <a:pt x="9099304" y="5198689"/>
                </a:lnTo>
                <a:lnTo>
                  <a:pt x="9127822" y="5233388"/>
                </a:lnTo>
                <a:lnTo>
                  <a:pt x="9138264" y="5253874"/>
                </a:lnTo>
                <a:lnTo>
                  <a:pt x="9148706" y="5274360"/>
                </a:lnTo>
                <a:lnTo>
                  <a:pt x="9152479" y="5294513"/>
                </a:lnTo>
                <a:lnTo>
                  <a:pt x="9155288" y="5321274"/>
                </a:lnTo>
                <a:lnTo>
                  <a:pt x="9155244" y="5344564"/>
                </a:lnTo>
                <a:lnTo>
                  <a:pt x="9153804" y="5348133"/>
                </a:lnTo>
                <a:lnTo>
                  <a:pt x="9140880" y="5348304"/>
                </a:lnTo>
                <a:cubicBezTo>
                  <a:pt x="9099127" y="5347099"/>
                  <a:pt x="9057423" y="5344419"/>
                  <a:pt x="9015754" y="5340387"/>
                </a:cubicBezTo>
                <a:lnTo>
                  <a:pt x="8948726" y="5331787"/>
                </a:lnTo>
                <a:lnTo>
                  <a:pt x="8943779" y="5320697"/>
                </a:lnTo>
                <a:lnTo>
                  <a:pt x="8921930" y="5286331"/>
                </a:lnTo>
                <a:lnTo>
                  <a:pt x="8892447" y="5258239"/>
                </a:lnTo>
                <a:lnTo>
                  <a:pt x="8862000" y="5236754"/>
                </a:lnTo>
                <a:lnTo>
                  <a:pt x="8827735" y="5218406"/>
                </a:lnTo>
                <a:lnTo>
                  <a:pt x="8791540" y="5213272"/>
                </a:lnTo>
                <a:lnTo>
                  <a:pt x="8755345" y="5208138"/>
                </a:lnTo>
                <a:lnTo>
                  <a:pt x="8721037" y="5213080"/>
                </a:lnTo>
                <a:lnTo>
                  <a:pt x="8692433" y="5224962"/>
                </a:lnTo>
                <a:lnTo>
                  <a:pt x="8662863" y="5243451"/>
                </a:lnTo>
                <a:lnTo>
                  <a:pt x="8637383" y="5269743"/>
                </a:lnTo>
                <a:lnTo>
                  <a:pt x="8391475" y="5193983"/>
                </a:lnTo>
                <a:cubicBezTo>
                  <a:pt x="7974561" y="5049399"/>
                  <a:pt x="7553727" y="4831459"/>
                  <a:pt x="7114188" y="4663788"/>
                </a:cubicBezTo>
                <a:lnTo>
                  <a:pt x="6940444" y="4600819"/>
                </a:lnTo>
                <a:lnTo>
                  <a:pt x="6936903" y="4586798"/>
                </a:lnTo>
                <a:lnTo>
                  <a:pt x="6915054" y="4552432"/>
                </a:lnTo>
                <a:lnTo>
                  <a:pt x="6889388" y="4521204"/>
                </a:lnTo>
                <a:lnTo>
                  <a:pt x="6856088" y="4496249"/>
                </a:lnTo>
                <a:lnTo>
                  <a:pt x="6812303" y="4474098"/>
                </a:lnTo>
                <a:lnTo>
                  <a:pt x="6760885" y="4458221"/>
                </a:lnTo>
                <a:lnTo>
                  <a:pt x="6695164" y="4448285"/>
                </a:lnTo>
                <a:lnTo>
                  <a:pt x="6620844" y="4451230"/>
                </a:lnTo>
                <a:lnTo>
                  <a:pt x="6528405" y="4463252"/>
                </a:lnTo>
                <a:lnTo>
                  <a:pt x="6482701" y="4475475"/>
                </a:lnTo>
                <a:lnTo>
                  <a:pt x="6392721" y="4457166"/>
                </a:lnTo>
                <a:cubicBezTo>
                  <a:pt x="6342488" y="4448620"/>
                  <a:pt x="6291195" y="4442444"/>
                  <a:pt x="6239004" y="4438379"/>
                </a:cubicBezTo>
                <a:lnTo>
                  <a:pt x="6168527" y="4435668"/>
                </a:lnTo>
                <a:lnTo>
                  <a:pt x="6158824" y="4418182"/>
                </a:lnTo>
                <a:lnTo>
                  <a:pt x="6145530" y="4394226"/>
                </a:lnTo>
                <a:lnTo>
                  <a:pt x="6136053" y="4367133"/>
                </a:lnTo>
                <a:lnTo>
                  <a:pt x="6123724" y="4336570"/>
                </a:lnTo>
                <a:lnTo>
                  <a:pt x="6107579" y="4309144"/>
                </a:lnTo>
                <a:lnTo>
                  <a:pt x="6078096" y="4281052"/>
                </a:lnTo>
                <a:lnTo>
                  <a:pt x="6062872" y="4270310"/>
                </a:lnTo>
                <a:lnTo>
                  <a:pt x="6047648" y="4259567"/>
                </a:lnTo>
                <a:lnTo>
                  <a:pt x="6027643" y="4258569"/>
                </a:lnTo>
                <a:lnTo>
                  <a:pt x="6007637" y="4257570"/>
                </a:lnTo>
                <a:lnTo>
                  <a:pt x="5983815" y="4259708"/>
                </a:lnTo>
                <a:lnTo>
                  <a:pt x="5959026" y="4268453"/>
                </a:lnTo>
                <a:lnTo>
                  <a:pt x="5940907" y="4277531"/>
                </a:lnTo>
                <a:lnTo>
                  <a:pt x="5918971" y="4289746"/>
                </a:lnTo>
                <a:lnTo>
                  <a:pt x="5898923" y="4312037"/>
                </a:lnTo>
                <a:lnTo>
                  <a:pt x="5875060" y="4337466"/>
                </a:lnTo>
                <a:lnTo>
                  <a:pt x="5856893" y="4369834"/>
                </a:lnTo>
                <a:lnTo>
                  <a:pt x="5843470" y="4415749"/>
                </a:lnTo>
                <a:lnTo>
                  <a:pt x="5837626" y="4444108"/>
                </a:lnTo>
                <a:lnTo>
                  <a:pt x="5749322" y="4451801"/>
                </a:lnTo>
                <a:cubicBezTo>
                  <a:pt x="5693173" y="4458072"/>
                  <a:pt x="5636606" y="4465678"/>
                  <a:pt x="5579777" y="4474359"/>
                </a:cubicBezTo>
                <a:lnTo>
                  <a:pt x="5454985" y="4495518"/>
                </a:lnTo>
                <a:lnTo>
                  <a:pt x="5421331" y="4454569"/>
                </a:lnTo>
                <a:lnTo>
                  <a:pt x="5386144" y="4419537"/>
                </a:lnTo>
                <a:lnTo>
                  <a:pt x="5338587" y="4377233"/>
                </a:lnTo>
                <a:lnTo>
                  <a:pt x="5290062" y="4341536"/>
                </a:lnTo>
                <a:lnTo>
                  <a:pt x="5265319" y="4326991"/>
                </a:lnTo>
                <a:lnTo>
                  <a:pt x="5236757" y="4315583"/>
                </a:lnTo>
                <a:lnTo>
                  <a:pt x="5207231" y="4310781"/>
                </a:lnTo>
                <a:lnTo>
                  <a:pt x="5183408" y="4312919"/>
                </a:lnTo>
                <a:lnTo>
                  <a:pt x="5155769" y="4318194"/>
                </a:lnTo>
                <a:lnTo>
                  <a:pt x="5133834" y="4330409"/>
                </a:lnTo>
                <a:lnTo>
                  <a:pt x="5114749" y="4346094"/>
                </a:lnTo>
                <a:lnTo>
                  <a:pt x="5105185" y="4365581"/>
                </a:lnTo>
                <a:lnTo>
                  <a:pt x="5093692" y="4398282"/>
                </a:lnTo>
                <a:lnTo>
                  <a:pt x="5084084" y="4441060"/>
                </a:lnTo>
                <a:lnTo>
                  <a:pt x="5083031" y="4494247"/>
                </a:lnTo>
                <a:lnTo>
                  <a:pt x="5088691" y="4524477"/>
                </a:lnTo>
                <a:lnTo>
                  <a:pt x="5097204" y="4558177"/>
                </a:lnTo>
                <a:lnTo>
                  <a:pt x="5100024" y="4567404"/>
                </a:lnTo>
                <a:lnTo>
                  <a:pt x="5065601" y="4574546"/>
                </a:lnTo>
                <a:cubicBezTo>
                  <a:pt x="4951693" y="4600158"/>
                  <a:pt x="4838661" y="4626967"/>
                  <a:pt x="4727780" y="4652902"/>
                </a:cubicBezTo>
                <a:lnTo>
                  <a:pt x="4670444" y="4665804"/>
                </a:lnTo>
                <a:lnTo>
                  <a:pt x="4639705" y="4655127"/>
                </a:lnTo>
                <a:lnTo>
                  <a:pt x="4593989" y="4646190"/>
                </a:lnTo>
                <a:lnTo>
                  <a:pt x="4548274" y="4637252"/>
                </a:lnTo>
                <a:lnTo>
                  <a:pt x="4494925" y="4634589"/>
                </a:lnTo>
                <a:lnTo>
                  <a:pt x="4447280" y="4638865"/>
                </a:lnTo>
                <a:lnTo>
                  <a:pt x="4394854" y="4652886"/>
                </a:lnTo>
                <a:lnTo>
                  <a:pt x="4348129" y="4673845"/>
                </a:lnTo>
                <a:lnTo>
                  <a:pt x="4303292" y="4704882"/>
                </a:lnTo>
                <a:lnTo>
                  <a:pt x="4280391" y="4723704"/>
                </a:lnTo>
                <a:lnTo>
                  <a:pt x="4260342" y="4745995"/>
                </a:lnTo>
                <a:lnTo>
                  <a:pt x="4253362" y="4755594"/>
                </a:lnTo>
                <a:lnTo>
                  <a:pt x="4247652" y="4756724"/>
                </a:lnTo>
                <a:cubicBezTo>
                  <a:pt x="4095324" y="4784707"/>
                  <a:pt x="3952150" y="4803736"/>
                  <a:pt x="3822438" y="4806822"/>
                </a:cubicBezTo>
                <a:lnTo>
                  <a:pt x="3722758" y="4803730"/>
                </a:lnTo>
                <a:lnTo>
                  <a:pt x="3623077" y="4806822"/>
                </a:lnTo>
                <a:cubicBezTo>
                  <a:pt x="3493366" y="4803735"/>
                  <a:pt x="3350192" y="4784706"/>
                  <a:pt x="3197865" y="4756724"/>
                </a:cubicBezTo>
                <a:lnTo>
                  <a:pt x="3126011" y="4742508"/>
                </a:lnTo>
                <a:lnTo>
                  <a:pt x="3127691" y="4731008"/>
                </a:lnTo>
                <a:lnTo>
                  <a:pt x="3127777" y="4684427"/>
                </a:lnTo>
                <a:lnTo>
                  <a:pt x="3122117" y="4654197"/>
                </a:lnTo>
                <a:lnTo>
                  <a:pt x="3113605" y="4620498"/>
                </a:lnTo>
                <a:lnTo>
                  <a:pt x="3105093" y="4586798"/>
                </a:lnTo>
                <a:lnTo>
                  <a:pt x="3083245" y="4552432"/>
                </a:lnTo>
                <a:lnTo>
                  <a:pt x="3057579" y="4521204"/>
                </a:lnTo>
                <a:lnTo>
                  <a:pt x="3024279" y="4496249"/>
                </a:lnTo>
                <a:lnTo>
                  <a:pt x="2980494" y="4474098"/>
                </a:lnTo>
                <a:lnTo>
                  <a:pt x="2929076" y="4458221"/>
                </a:lnTo>
                <a:lnTo>
                  <a:pt x="2863355" y="4448285"/>
                </a:lnTo>
                <a:lnTo>
                  <a:pt x="2789035" y="4451230"/>
                </a:lnTo>
                <a:lnTo>
                  <a:pt x="2696596" y="4463252"/>
                </a:lnTo>
                <a:lnTo>
                  <a:pt x="2591742" y="4491293"/>
                </a:lnTo>
                <a:lnTo>
                  <a:pt x="2557434" y="4496235"/>
                </a:lnTo>
                <a:lnTo>
                  <a:pt x="2520274" y="4497707"/>
                </a:lnTo>
                <a:lnTo>
                  <a:pt x="2476445" y="4498847"/>
                </a:lnTo>
                <a:lnTo>
                  <a:pt x="2426913" y="4493046"/>
                </a:lnTo>
                <a:lnTo>
                  <a:pt x="2405021" y="4481971"/>
                </a:lnTo>
                <a:lnTo>
                  <a:pt x="2383128" y="4470896"/>
                </a:lnTo>
                <a:lnTo>
                  <a:pt x="2361236" y="4459820"/>
                </a:lnTo>
                <a:lnTo>
                  <a:pt x="2340309" y="4442138"/>
                </a:lnTo>
                <a:lnTo>
                  <a:pt x="2327015" y="4418182"/>
                </a:lnTo>
                <a:lnTo>
                  <a:pt x="2313721" y="4394226"/>
                </a:lnTo>
                <a:lnTo>
                  <a:pt x="2304244" y="4367133"/>
                </a:lnTo>
                <a:lnTo>
                  <a:pt x="2291916" y="4336570"/>
                </a:lnTo>
                <a:lnTo>
                  <a:pt x="2275770" y="4309144"/>
                </a:lnTo>
                <a:lnTo>
                  <a:pt x="2246287" y="4281052"/>
                </a:lnTo>
                <a:lnTo>
                  <a:pt x="2231063" y="4270310"/>
                </a:lnTo>
                <a:lnTo>
                  <a:pt x="2215840" y="4259567"/>
                </a:lnTo>
                <a:lnTo>
                  <a:pt x="2195834" y="4258569"/>
                </a:lnTo>
                <a:lnTo>
                  <a:pt x="2175828" y="4257570"/>
                </a:lnTo>
                <a:lnTo>
                  <a:pt x="2152005" y="4259708"/>
                </a:lnTo>
                <a:lnTo>
                  <a:pt x="2127217" y="4268453"/>
                </a:lnTo>
                <a:lnTo>
                  <a:pt x="2109098" y="4277531"/>
                </a:lnTo>
                <a:lnTo>
                  <a:pt x="2087162" y="4289746"/>
                </a:lnTo>
                <a:lnTo>
                  <a:pt x="2067113" y="4312037"/>
                </a:lnTo>
                <a:lnTo>
                  <a:pt x="2043247" y="4337466"/>
                </a:lnTo>
                <a:lnTo>
                  <a:pt x="2025084" y="4369834"/>
                </a:lnTo>
                <a:lnTo>
                  <a:pt x="2011660" y="4415749"/>
                </a:lnTo>
                <a:lnTo>
                  <a:pt x="2000123" y="4471740"/>
                </a:lnTo>
                <a:lnTo>
                  <a:pt x="1998193" y="4484953"/>
                </a:lnTo>
                <a:lnTo>
                  <a:pt x="1996502" y="4496530"/>
                </a:lnTo>
                <a:lnTo>
                  <a:pt x="1865741" y="4474359"/>
                </a:lnTo>
                <a:cubicBezTo>
                  <a:pt x="1808912" y="4465677"/>
                  <a:pt x="1752344" y="4458072"/>
                  <a:pt x="1696196" y="4451801"/>
                </a:cubicBezTo>
                <a:lnTo>
                  <a:pt x="1576245" y="4441350"/>
                </a:lnTo>
                <a:lnTo>
                  <a:pt x="1554335" y="4419537"/>
                </a:lnTo>
                <a:lnTo>
                  <a:pt x="1506777" y="4377233"/>
                </a:lnTo>
                <a:lnTo>
                  <a:pt x="1458253" y="4341536"/>
                </a:lnTo>
                <a:lnTo>
                  <a:pt x="1433509" y="4326991"/>
                </a:lnTo>
                <a:lnTo>
                  <a:pt x="1404948" y="4315583"/>
                </a:lnTo>
                <a:lnTo>
                  <a:pt x="1375422" y="4310781"/>
                </a:lnTo>
                <a:lnTo>
                  <a:pt x="1351599" y="4312919"/>
                </a:lnTo>
                <a:lnTo>
                  <a:pt x="1323960" y="4318194"/>
                </a:lnTo>
                <a:lnTo>
                  <a:pt x="1302024" y="4330409"/>
                </a:lnTo>
                <a:lnTo>
                  <a:pt x="1282940" y="4346094"/>
                </a:lnTo>
                <a:lnTo>
                  <a:pt x="1273376" y="4365581"/>
                </a:lnTo>
                <a:lnTo>
                  <a:pt x="1261882" y="4398282"/>
                </a:lnTo>
                <a:lnTo>
                  <a:pt x="1253280" y="4436580"/>
                </a:lnTo>
                <a:lnTo>
                  <a:pt x="1206512" y="4438379"/>
                </a:lnTo>
                <a:cubicBezTo>
                  <a:pt x="1154320" y="4442444"/>
                  <a:pt x="1103028" y="4448620"/>
                  <a:pt x="1052794" y="4457166"/>
                </a:cubicBezTo>
                <a:lnTo>
                  <a:pt x="916253" y="4484948"/>
                </a:lnTo>
                <a:lnTo>
                  <a:pt x="916827" y="4484208"/>
                </a:lnTo>
                <a:lnTo>
                  <a:pt x="925426" y="4471328"/>
                </a:lnTo>
                <a:lnTo>
                  <a:pt x="934990" y="4451840"/>
                </a:lnTo>
                <a:lnTo>
                  <a:pt x="936920" y="4438627"/>
                </a:lnTo>
                <a:lnTo>
                  <a:pt x="939815" y="4418806"/>
                </a:lnTo>
                <a:lnTo>
                  <a:pt x="932225" y="4401790"/>
                </a:lnTo>
                <a:lnTo>
                  <a:pt x="927486" y="4388243"/>
                </a:lnTo>
                <a:lnTo>
                  <a:pt x="919896" y="4371227"/>
                </a:lnTo>
                <a:lnTo>
                  <a:pt x="904672" y="4360485"/>
                </a:lnTo>
                <a:lnTo>
                  <a:pt x="889448" y="4349742"/>
                </a:lnTo>
                <a:lnTo>
                  <a:pt x="877076" y="4342469"/>
                </a:lnTo>
                <a:lnTo>
                  <a:pt x="857071" y="4341471"/>
                </a:lnTo>
                <a:lnTo>
                  <a:pt x="840881" y="4337335"/>
                </a:lnTo>
                <a:lnTo>
                  <a:pt x="819911" y="4342943"/>
                </a:lnTo>
                <a:lnTo>
                  <a:pt x="805608" y="4348884"/>
                </a:lnTo>
                <a:lnTo>
                  <a:pt x="790341" y="4361432"/>
                </a:lnTo>
                <a:lnTo>
                  <a:pt x="778891" y="4370843"/>
                </a:lnTo>
                <a:lnTo>
                  <a:pt x="766475" y="4386860"/>
                </a:lnTo>
                <a:lnTo>
                  <a:pt x="760728" y="4403211"/>
                </a:lnTo>
                <a:lnTo>
                  <a:pt x="757833" y="4423031"/>
                </a:lnTo>
                <a:lnTo>
                  <a:pt x="758754" y="4439715"/>
                </a:lnTo>
                <a:lnTo>
                  <a:pt x="759676" y="4456398"/>
                </a:lnTo>
                <a:lnTo>
                  <a:pt x="767266" y="4473414"/>
                </a:lnTo>
                <a:lnTo>
                  <a:pt x="778673" y="4487294"/>
                </a:lnTo>
                <a:lnTo>
                  <a:pt x="790080" y="4501173"/>
                </a:lnTo>
                <a:lnTo>
                  <a:pt x="802452" y="4508446"/>
                </a:lnTo>
                <a:lnTo>
                  <a:pt x="808075" y="4510692"/>
                </a:lnTo>
                <a:lnTo>
                  <a:pt x="687230" y="4542719"/>
                </a:lnTo>
                <a:cubicBezTo>
                  <a:pt x="567079" y="4577937"/>
                  <a:pt x="448539" y="4619075"/>
                  <a:pt x="331328" y="4663788"/>
                </a:cubicBezTo>
                <a:lnTo>
                  <a:pt x="0" y="4799507"/>
                </a:lnTo>
                <a:lnTo>
                  <a:pt x="0" y="186020"/>
                </a:lnTo>
                <a:lnTo>
                  <a:pt x="2926" y="187406"/>
                </a:lnTo>
                <a:lnTo>
                  <a:pt x="39120" y="192541"/>
                </a:lnTo>
                <a:lnTo>
                  <a:pt x="72464" y="194205"/>
                </a:lnTo>
                <a:lnTo>
                  <a:pt x="106772" y="189263"/>
                </a:lnTo>
                <a:lnTo>
                  <a:pt x="139193" y="174244"/>
                </a:lnTo>
                <a:lnTo>
                  <a:pt x="168763" y="155755"/>
                </a:lnTo>
                <a:lnTo>
                  <a:pt x="196446" y="127190"/>
                </a:lnTo>
                <a:lnTo>
                  <a:pt x="217460" y="98292"/>
                </a:lnTo>
                <a:lnTo>
                  <a:pt x="228954" y="65591"/>
                </a:lnTo>
                <a:lnTo>
                  <a:pt x="233779" y="32556"/>
                </a:lnTo>
                <a:close/>
              </a:path>
            </a:pathLst>
          </a:custGeom>
          <a:gradFill>
            <a:gsLst>
              <a:gs pos="100000">
                <a:schemeClr val="accent1">
                  <a:alpha val="80000"/>
                </a:schemeClr>
              </a:gs>
              <a:gs pos="0">
                <a:schemeClr val="accent2">
                  <a:alpha val="8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p:cNvGrpSpPr/>
          <p:nvPr/>
        </p:nvGrpSpPr>
        <p:grpSpPr>
          <a:xfrm>
            <a:off x="927100" y="2452506"/>
            <a:ext cx="10337800" cy="1495793"/>
            <a:chOff x="927100" y="2446863"/>
            <a:chExt cx="10337800" cy="1495793"/>
          </a:xfrm>
        </p:grpSpPr>
        <p:sp>
          <p:nvSpPr>
            <p:cNvPr id="8" name="Title 1"/>
            <p:cNvSpPr txBox="1">
              <a:spLocks/>
            </p:cNvSpPr>
            <p:nvPr/>
          </p:nvSpPr>
          <p:spPr>
            <a:xfrm>
              <a:off x="927100" y="2446863"/>
              <a:ext cx="10337800" cy="116558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3200" b="1" spc="-151">
                  <a:solidFill>
                    <a:schemeClr val="bg1"/>
                  </a:solidFill>
                  <a:latin typeface="Source Sans Pro" panose="020B0503030403020204" pitchFamily="34" charset="0"/>
                  <a:ea typeface="Source Sans Pro" panose="020B0503030403020204" pitchFamily="34" charset="0"/>
                  <a:cs typeface="Open Sans Light" panose="020B0306030504020204" pitchFamily="34" charset="0"/>
                </a:defRPr>
              </a:lvl1pPr>
            </a:lstStyle>
            <a:p>
              <a:pPr algn="ctr"/>
              <a:r>
                <a:rPr lang="en-US" sz="7200" dirty="0">
                  <a:latin typeface="Montserrat" panose="00000500000000000000" pitchFamily="2" charset="0"/>
                </a:rPr>
                <a:t>INCOME TAX</a:t>
              </a:r>
            </a:p>
          </p:txBody>
        </p:sp>
        <p:sp>
          <p:nvSpPr>
            <p:cNvPr id="7" name="Title 11"/>
            <p:cNvSpPr txBox="1">
              <a:spLocks/>
            </p:cNvSpPr>
            <p:nvPr/>
          </p:nvSpPr>
          <p:spPr>
            <a:xfrm>
              <a:off x="2584450" y="3517905"/>
              <a:ext cx="7023100" cy="424751"/>
            </a:xfrm>
            <a:prstGeom prst="rect">
              <a:avLst/>
            </a:prstGeom>
          </p:spPr>
          <p:txBody>
            <a:bodyPr vert="horz" wrap="square" lIns="91416" tIns="45708" rIns="91416" bIns="45708" rtlCol="0" anchor="ctr">
              <a:noAutofit/>
            </a:bodyPr>
            <a:lstStyle>
              <a:defPPr>
                <a:defRPr lang="en-US"/>
              </a:defPPr>
              <a:lvl1pPr algn="ctr">
                <a:lnSpc>
                  <a:spcPct val="100000"/>
                </a:lnSpc>
                <a:spcBef>
                  <a:spcPct val="0"/>
                </a:spcBef>
                <a:buNone/>
                <a:defRPr sz="2800" b="1">
                  <a:solidFill>
                    <a:schemeClr val="tx1">
                      <a:lumMod val="95000"/>
                      <a:lumOff val="5000"/>
                    </a:schemeClr>
                  </a:solidFill>
                  <a:latin typeface="Freestyle Script" panose="030804020302050B0404" pitchFamily="66" charset="0"/>
                  <a:ea typeface="Roboto" panose="02000000000000000000" pitchFamily="2" charset="0"/>
                  <a:cs typeface="Lato" panose="020F0502020204030203" pitchFamily="34" charset="0"/>
                </a:defRPr>
              </a:lvl1pPr>
            </a:lstStyle>
            <a:p>
              <a:r>
                <a:rPr lang="en-US" sz="2400" b="0" dirty="0">
                  <a:solidFill>
                    <a:schemeClr val="bg1"/>
                  </a:solidFill>
                  <a:latin typeface="+mn-lt"/>
                </a:rPr>
                <a:t>Beautiful Presentation Template</a:t>
              </a:r>
            </a:p>
          </p:txBody>
        </p:sp>
      </p:grpSp>
    </p:spTree>
    <p:extLst>
      <p:ext uri="{BB962C8B-B14F-4D97-AF65-F5344CB8AC3E}">
        <p14:creationId xmlns:p14="http://schemas.microsoft.com/office/powerpoint/2010/main" val="2781104674"/>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custDataLst>
              <p:tags r:id="rId1"/>
            </p:custDataLst>
          </p:nvPr>
        </p:nvSpPr>
        <p:spPr>
          <a:xfrm>
            <a:off x="406318" y="890857"/>
            <a:ext cx="9271000"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spc="-150" dirty="0">
                <a:solidFill>
                  <a:schemeClr val="tx1">
                    <a:lumMod val="85000"/>
                    <a:lumOff val="15000"/>
                  </a:schemeClr>
                </a:solidFill>
                <a:ea typeface="Source Sans Pro" panose="020B0503030403020204" pitchFamily="34" charset="0"/>
                <a:cs typeface="Open Sans Light" panose="020B0306030504020204" pitchFamily="34" charset="0"/>
              </a:rPr>
              <a:t>We Are </a:t>
            </a:r>
            <a:r>
              <a:rPr lang="en-US" sz="3200" b="1" spc="-150" dirty="0">
                <a:solidFill>
                  <a:schemeClr val="tx1">
                    <a:lumMod val="85000"/>
                    <a:lumOff val="15000"/>
                  </a:schemeClr>
                </a:solidFill>
                <a:ea typeface="Source Sans Pro" panose="020B0503030403020204" pitchFamily="34" charset="0"/>
                <a:cs typeface="Open Sans Light" panose="020B0306030504020204" pitchFamily="34" charset="0"/>
              </a:rPr>
              <a:t>The Best</a:t>
            </a:r>
          </a:p>
        </p:txBody>
      </p:sp>
      <p:sp>
        <p:nvSpPr>
          <p:cNvPr id="6" name="Rectangle 5"/>
          <p:cNvSpPr/>
          <p:nvPr>
            <p:custDataLst>
              <p:tags r:id="rId2"/>
            </p:custDataLst>
          </p:nvPr>
        </p:nvSpPr>
        <p:spPr>
          <a:xfrm>
            <a:off x="465988" y="1404480"/>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lumMod val="85000"/>
                    <a:lumOff val="15000"/>
                  </a:schemeClr>
                </a:solidFill>
                <a:ea typeface="Open Sans" panose="020B0606030504020204" pitchFamily="34" charset="0"/>
                <a:cs typeface="Open Sans" panose="020B0606030504020204" pitchFamily="34" charset="0"/>
              </a:rPr>
              <a:t>Put Your Great Subtitle Here</a:t>
            </a:r>
          </a:p>
        </p:txBody>
      </p:sp>
      <p:grpSp>
        <p:nvGrpSpPr>
          <p:cNvPr id="113" name="Group 112"/>
          <p:cNvGrpSpPr/>
          <p:nvPr/>
        </p:nvGrpSpPr>
        <p:grpSpPr>
          <a:xfrm>
            <a:off x="7563761" y="1054129"/>
            <a:ext cx="3859541" cy="5183541"/>
            <a:chOff x="7563761" y="1054129"/>
            <a:chExt cx="3859541" cy="5183541"/>
          </a:xfrm>
        </p:grpSpPr>
        <p:sp>
          <p:nvSpPr>
            <p:cNvPr id="57" name="Circle"/>
            <p:cNvSpPr/>
            <p:nvPr/>
          </p:nvSpPr>
          <p:spPr>
            <a:xfrm>
              <a:off x="7563761" y="2952755"/>
              <a:ext cx="698501" cy="698500"/>
            </a:xfrm>
            <a:prstGeom prst="ellipse">
              <a:avLst/>
            </a:prstGeom>
            <a:solidFill>
              <a:schemeClr val="accent4"/>
            </a:solidFill>
            <a:ln w="25400">
              <a:no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64" name="Circle"/>
            <p:cNvSpPr/>
            <p:nvPr/>
          </p:nvSpPr>
          <p:spPr>
            <a:xfrm>
              <a:off x="7595511" y="1086979"/>
              <a:ext cx="635001" cy="635001"/>
            </a:xfrm>
            <a:prstGeom prst="ellipse">
              <a:avLst/>
            </a:prstGeom>
            <a:ln w="25400">
              <a:solidFill>
                <a:schemeClr val="accent3"/>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65" name="Circle"/>
            <p:cNvSpPr/>
            <p:nvPr/>
          </p:nvSpPr>
          <p:spPr>
            <a:xfrm>
              <a:off x="7595511" y="4885735"/>
              <a:ext cx="635001" cy="635001"/>
            </a:xfrm>
            <a:prstGeom prst="ellipse">
              <a:avLst/>
            </a:prstGeom>
            <a:ln w="25400">
              <a:solidFill>
                <a:schemeClr val="accent3"/>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66" name="Line"/>
            <p:cNvSpPr/>
            <p:nvPr/>
          </p:nvSpPr>
          <p:spPr>
            <a:xfrm>
              <a:off x="7919361" y="1728329"/>
              <a:ext cx="0" cy="1256176"/>
            </a:xfrm>
            <a:prstGeom prst="line">
              <a:avLst/>
            </a:prstGeom>
            <a:ln w="25400">
              <a:solidFill>
                <a:schemeClr val="bg1">
                  <a:lumMod val="75000"/>
                </a:scheme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67" name="Line"/>
            <p:cNvSpPr/>
            <p:nvPr/>
          </p:nvSpPr>
          <p:spPr>
            <a:xfrm>
              <a:off x="7919361" y="3619506"/>
              <a:ext cx="6350" cy="1266229"/>
            </a:xfrm>
            <a:prstGeom prst="line">
              <a:avLst/>
            </a:prstGeom>
            <a:ln w="25400">
              <a:solidFill>
                <a:schemeClr val="bg1">
                  <a:lumMod val="75000"/>
                </a:scheme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68" name="Rectangle 67"/>
            <p:cNvSpPr/>
            <p:nvPr/>
          </p:nvSpPr>
          <p:spPr>
            <a:xfrm>
              <a:off x="8519611" y="1476031"/>
              <a:ext cx="2903691" cy="1148648"/>
            </a:xfrm>
            <a:prstGeom prst="rect">
              <a:avLst/>
            </a:prstGeom>
          </p:spPr>
          <p:txBody>
            <a:bodyPr wrap="square">
              <a:spAutoFit/>
            </a:bodyPr>
            <a:lstStyle/>
            <a:p>
              <a:pPr algn="just">
                <a:lnSpc>
                  <a:spcPct val="200000"/>
                </a:lnSpc>
                <a:buClr>
                  <a:srgbClr val="E24848"/>
                </a:buClr>
                <a:defRPr/>
              </a:pPr>
              <a:r>
                <a:rPr lang="en-US" sz="1200" noProof="1">
                  <a:solidFill>
                    <a:schemeClr val="tx1">
                      <a:lumMod val="65000"/>
                      <a:lumOff val="35000"/>
                    </a:schemeClr>
                  </a:solidFill>
                  <a:ea typeface="Roboto Light" panose="02000000000000000000" pitchFamily="2" charset="0"/>
                  <a:cs typeface="Arial" charset="0"/>
                </a:rPr>
                <a:t>Nulla facilisi nam auctor metus vitae quam gravida, ac vehicula elit mollis. Nunc elementum fringilla</a:t>
              </a:r>
            </a:p>
          </p:txBody>
        </p:sp>
        <p:sp>
          <p:nvSpPr>
            <p:cNvPr id="69" name="Rectangle 68"/>
            <p:cNvSpPr/>
            <p:nvPr/>
          </p:nvSpPr>
          <p:spPr>
            <a:xfrm>
              <a:off x="8519611" y="1054129"/>
              <a:ext cx="2337677" cy="460773"/>
            </a:xfrm>
            <a:prstGeom prst="rect">
              <a:avLst/>
            </a:prstGeom>
          </p:spPr>
          <p:txBody>
            <a:bodyPr vert="horz" wrap="square" lIns="91416" tIns="45708" rIns="91416" bIns="45708" rtlCol="0" anchor="ctr">
              <a:noAutofit/>
            </a:bodyPr>
            <a:lstStyle/>
            <a:p>
              <a:pPr>
                <a:lnSpc>
                  <a:spcPct val="90000"/>
                </a:lnSpc>
                <a:spcBef>
                  <a:spcPct val="0"/>
                </a:spcBef>
              </a:pPr>
              <a:r>
                <a:rPr lang="en-US" sz="1600" b="1" noProof="1">
                  <a:solidFill>
                    <a:schemeClr val="tx1">
                      <a:lumMod val="85000"/>
                      <a:lumOff val="15000"/>
                    </a:schemeClr>
                  </a:solidFill>
                  <a:ea typeface="Roboto" panose="02000000000000000000" pitchFamily="2" charset="0"/>
                  <a:cs typeface="Times New Roman" panose="02020603050405020304" pitchFamily="18" charset="0"/>
                </a:rPr>
                <a:t>Advertising</a:t>
              </a:r>
            </a:p>
          </p:txBody>
        </p:sp>
        <p:sp>
          <p:nvSpPr>
            <p:cNvPr id="70" name="Rectangle 69"/>
            <p:cNvSpPr/>
            <p:nvPr/>
          </p:nvSpPr>
          <p:spPr>
            <a:xfrm>
              <a:off x="8519611" y="3375548"/>
              <a:ext cx="2903691" cy="1148648"/>
            </a:xfrm>
            <a:prstGeom prst="rect">
              <a:avLst/>
            </a:prstGeom>
          </p:spPr>
          <p:txBody>
            <a:bodyPr wrap="square">
              <a:spAutoFit/>
            </a:bodyPr>
            <a:lstStyle/>
            <a:p>
              <a:pPr algn="just">
                <a:lnSpc>
                  <a:spcPct val="200000"/>
                </a:lnSpc>
                <a:buClr>
                  <a:srgbClr val="E24848"/>
                </a:buClr>
                <a:defRPr/>
              </a:pPr>
              <a:r>
                <a:rPr lang="en-US" sz="1200" noProof="1">
                  <a:solidFill>
                    <a:schemeClr val="tx1">
                      <a:lumMod val="65000"/>
                      <a:lumOff val="35000"/>
                    </a:schemeClr>
                  </a:solidFill>
                  <a:ea typeface="Roboto Light" panose="02000000000000000000" pitchFamily="2" charset="0"/>
                  <a:cs typeface="Arial" charset="0"/>
                </a:rPr>
                <a:t>Nulla facilisi nam auctor metus vitae quam gravida, ac vehicula elit mollis. Nunc elementum fringilla</a:t>
              </a:r>
            </a:p>
          </p:txBody>
        </p:sp>
        <p:sp>
          <p:nvSpPr>
            <p:cNvPr id="71" name="Rectangle 70"/>
            <p:cNvSpPr/>
            <p:nvPr/>
          </p:nvSpPr>
          <p:spPr>
            <a:xfrm>
              <a:off x="8519611" y="2953646"/>
              <a:ext cx="2337677" cy="460773"/>
            </a:xfrm>
            <a:prstGeom prst="rect">
              <a:avLst/>
            </a:prstGeom>
          </p:spPr>
          <p:txBody>
            <a:bodyPr vert="horz" wrap="square" lIns="91416" tIns="45708" rIns="91416" bIns="45708" rtlCol="0" anchor="ctr">
              <a:noAutofit/>
            </a:bodyPr>
            <a:lstStyle/>
            <a:p>
              <a:pPr>
                <a:lnSpc>
                  <a:spcPct val="90000"/>
                </a:lnSpc>
                <a:spcBef>
                  <a:spcPct val="0"/>
                </a:spcBef>
              </a:pPr>
              <a:r>
                <a:rPr lang="en-US" sz="1600" b="1" noProof="1">
                  <a:solidFill>
                    <a:schemeClr val="tx1">
                      <a:lumMod val="85000"/>
                      <a:lumOff val="15000"/>
                    </a:schemeClr>
                  </a:solidFill>
                  <a:ea typeface="Roboto" panose="02000000000000000000" pitchFamily="2" charset="0"/>
                  <a:cs typeface="Times New Roman" panose="02020603050405020304" pitchFamily="18" charset="0"/>
                </a:rPr>
                <a:t>Advertising</a:t>
              </a:r>
            </a:p>
          </p:txBody>
        </p:sp>
        <p:sp>
          <p:nvSpPr>
            <p:cNvPr id="72" name="Rectangle 71"/>
            <p:cNvSpPr/>
            <p:nvPr/>
          </p:nvSpPr>
          <p:spPr>
            <a:xfrm>
              <a:off x="8519611" y="5089022"/>
              <a:ext cx="2903691" cy="1148648"/>
            </a:xfrm>
            <a:prstGeom prst="rect">
              <a:avLst/>
            </a:prstGeom>
          </p:spPr>
          <p:txBody>
            <a:bodyPr wrap="square">
              <a:spAutoFit/>
            </a:bodyPr>
            <a:lstStyle/>
            <a:p>
              <a:pPr algn="just">
                <a:lnSpc>
                  <a:spcPct val="200000"/>
                </a:lnSpc>
                <a:buClr>
                  <a:srgbClr val="E24848"/>
                </a:buClr>
                <a:defRPr/>
              </a:pPr>
              <a:r>
                <a:rPr lang="en-US" sz="1200" noProof="1">
                  <a:solidFill>
                    <a:schemeClr val="tx1">
                      <a:lumMod val="65000"/>
                      <a:lumOff val="35000"/>
                    </a:schemeClr>
                  </a:solidFill>
                  <a:ea typeface="Roboto Light" panose="02000000000000000000" pitchFamily="2" charset="0"/>
                  <a:cs typeface="Arial" charset="0"/>
                </a:rPr>
                <a:t>Nulla facilisi nam auctor metus vitae quam gravida, ac vehicula elit mollis. Nunc elementum fringilla</a:t>
              </a:r>
            </a:p>
          </p:txBody>
        </p:sp>
        <p:sp>
          <p:nvSpPr>
            <p:cNvPr id="73" name="Rectangle 72"/>
            <p:cNvSpPr/>
            <p:nvPr/>
          </p:nvSpPr>
          <p:spPr>
            <a:xfrm>
              <a:off x="8519611" y="4667120"/>
              <a:ext cx="2337677" cy="460773"/>
            </a:xfrm>
            <a:prstGeom prst="rect">
              <a:avLst/>
            </a:prstGeom>
          </p:spPr>
          <p:txBody>
            <a:bodyPr vert="horz" wrap="square" lIns="91416" tIns="45708" rIns="91416" bIns="45708" rtlCol="0" anchor="ctr">
              <a:noAutofit/>
            </a:bodyPr>
            <a:lstStyle/>
            <a:p>
              <a:pPr>
                <a:lnSpc>
                  <a:spcPct val="90000"/>
                </a:lnSpc>
                <a:spcBef>
                  <a:spcPct val="0"/>
                </a:spcBef>
              </a:pPr>
              <a:r>
                <a:rPr lang="en-US" sz="1600" b="1" noProof="1">
                  <a:solidFill>
                    <a:schemeClr val="tx1">
                      <a:lumMod val="85000"/>
                      <a:lumOff val="15000"/>
                    </a:schemeClr>
                  </a:solidFill>
                  <a:ea typeface="Roboto" panose="02000000000000000000" pitchFamily="2" charset="0"/>
                  <a:cs typeface="Times New Roman" panose="02020603050405020304" pitchFamily="18" charset="0"/>
                </a:rPr>
                <a:t>Advertising</a:t>
              </a:r>
            </a:p>
          </p:txBody>
        </p:sp>
        <p:sp>
          <p:nvSpPr>
            <p:cNvPr id="74" name="Shape"/>
            <p:cNvSpPr/>
            <p:nvPr/>
          </p:nvSpPr>
          <p:spPr>
            <a:xfrm>
              <a:off x="7840212" y="3077935"/>
              <a:ext cx="152668" cy="419835"/>
            </a:xfrm>
            <a:custGeom>
              <a:avLst/>
              <a:gdLst/>
              <a:ahLst/>
              <a:cxnLst>
                <a:cxn ang="0">
                  <a:pos x="wd2" y="hd2"/>
                </a:cxn>
                <a:cxn ang="5400000">
                  <a:pos x="wd2" y="hd2"/>
                </a:cxn>
                <a:cxn ang="10800000">
                  <a:pos x="wd2" y="hd2"/>
                </a:cxn>
                <a:cxn ang="16200000">
                  <a:pos x="wd2" y="hd2"/>
                </a:cxn>
              </a:cxnLst>
              <a:rect l="0" t="0" r="r" b="b"/>
              <a:pathLst>
                <a:path w="21600" h="21600" extrusionOk="0">
                  <a:moveTo>
                    <a:pt x="10800" y="20364"/>
                  </a:moveTo>
                  <a:lnTo>
                    <a:pt x="2804" y="17041"/>
                  </a:lnTo>
                  <a:lnTo>
                    <a:pt x="9142" y="5518"/>
                  </a:lnTo>
                  <a:lnTo>
                    <a:pt x="9803" y="5724"/>
                  </a:lnTo>
                  <a:cubicBezTo>
                    <a:pt x="9859" y="5747"/>
                    <a:pt x="9925" y="5764"/>
                    <a:pt x="9991" y="5783"/>
                  </a:cubicBezTo>
                  <a:lnTo>
                    <a:pt x="10130" y="5826"/>
                  </a:lnTo>
                  <a:lnTo>
                    <a:pt x="10141" y="5820"/>
                  </a:lnTo>
                  <a:cubicBezTo>
                    <a:pt x="10339" y="5861"/>
                    <a:pt x="10555" y="5891"/>
                    <a:pt x="10800" y="5891"/>
                  </a:cubicBezTo>
                  <a:cubicBezTo>
                    <a:pt x="11045" y="5891"/>
                    <a:pt x="11261" y="5861"/>
                    <a:pt x="11459" y="5820"/>
                  </a:cubicBezTo>
                  <a:lnTo>
                    <a:pt x="11470" y="5826"/>
                  </a:lnTo>
                  <a:lnTo>
                    <a:pt x="11609" y="5783"/>
                  </a:lnTo>
                  <a:cubicBezTo>
                    <a:pt x="11675" y="5764"/>
                    <a:pt x="11741" y="5747"/>
                    <a:pt x="11797" y="5724"/>
                  </a:cubicBezTo>
                  <a:lnTo>
                    <a:pt x="12457" y="5518"/>
                  </a:lnTo>
                  <a:lnTo>
                    <a:pt x="14283" y="8836"/>
                  </a:lnTo>
                  <a:lnTo>
                    <a:pt x="10800" y="8836"/>
                  </a:lnTo>
                  <a:cubicBezTo>
                    <a:pt x="10054" y="8836"/>
                    <a:pt x="9450" y="9056"/>
                    <a:pt x="9450" y="9327"/>
                  </a:cubicBezTo>
                  <a:cubicBezTo>
                    <a:pt x="9450" y="9599"/>
                    <a:pt x="10054" y="9818"/>
                    <a:pt x="10800" y="9818"/>
                  </a:cubicBezTo>
                  <a:lnTo>
                    <a:pt x="14824" y="9818"/>
                  </a:lnTo>
                  <a:lnTo>
                    <a:pt x="18796" y="17041"/>
                  </a:lnTo>
                  <a:cubicBezTo>
                    <a:pt x="18796" y="17041"/>
                    <a:pt x="10800" y="20364"/>
                    <a:pt x="10800" y="20364"/>
                  </a:cubicBezTo>
                  <a:close/>
                  <a:moveTo>
                    <a:pt x="2776" y="2264"/>
                  </a:moveTo>
                  <a:cubicBezTo>
                    <a:pt x="3291" y="1541"/>
                    <a:pt x="6683" y="982"/>
                    <a:pt x="10800" y="982"/>
                  </a:cubicBezTo>
                  <a:cubicBezTo>
                    <a:pt x="14917" y="982"/>
                    <a:pt x="18308" y="1541"/>
                    <a:pt x="18825" y="2264"/>
                  </a:cubicBezTo>
                  <a:lnTo>
                    <a:pt x="10800" y="4765"/>
                  </a:lnTo>
                  <a:cubicBezTo>
                    <a:pt x="10800" y="4765"/>
                    <a:pt x="2776" y="2264"/>
                    <a:pt x="2776" y="2264"/>
                  </a:cubicBezTo>
                  <a:close/>
                  <a:moveTo>
                    <a:pt x="21551" y="17094"/>
                  </a:moveTo>
                  <a:lnTo>
                    <a:pt x="21578" y="17093"/>
                  </a:lnTo>
                  <a:lnTo>
                    <a:pt x="17575" y="9818"/>
                  </a:lnTo>
                  <a:lnTo>
                    <a:pt x="18900" y="9818"/>
                  </a:lnTo>
                  <a:cubicBezTo>
                    <a:pt x="19646" y="9818"/>
                    <a:pt x="20250" y="9599"/>
                    <a:pt x="20250" y="9327"/>
                  </a:cubicBezTo>
                  <a:cubicBezTo>
                    <a:pt x="20250" y="9056"/>
                    <a:pt x="19646" y="8836"/>
                    <a:pt x="18900" y="8836"/>
                  </a:cubicBezTo>
                  <a:lnTo>
                    <a:pt x="17036" y="8836"/>
                  </a:lnTo>
                  <a:lnTo>
                    <a:pt x="14828" y="4820"/>
                  </a:lnTo>
                  <a:lnTo>
                    <a:pt x="14801" y="4822"/>
                  </a:lnTo>
                  <a:cubicBezTo>
                    <a:pt x="14795" y="4812"/>
                    <a:pt x="14792" y="4803"/>
                    <a:pt x="14785" y="4793"/>
                  </a:cubicBezTo>
                  <a:lnTo>
                    <a:pt x="20920" y="2881"/>
                  </a:lnTo>
                  <a:lnTo>
                    <a:pt x="20909" y="2874"/>
                  </a:lnTo>
                  <a:cubicBezTo>
                    <a:pt x="21315" y="2789"/>
                    <a:pt x="21600" y="2637"/>
                    <a:pt x="21600" y="2455"/>
                  </a:cubicBezTo>
                  <a:cubicBezTo>
                    <a:pt x="21600" y="1099"/>
                    <a:pt x="16764" y="0"/>
                    <a:pt x="10800" y="0"/>
                  </a:cubicBezTo>
                  <a:cubicBezTo>
                    <a:pt x="4836" y="0"/>
                    <a:pt x="0" y="1099"/>
                    <a:pt x="0" y="2455"/>
                  </a:cubicBezTo>
                  <a:cubicBezTo>
                    <a:pt x="0" y="2637"/>
                    <a:pt x="285" y="2789"/>
                    <a:pt x="691" y="2874"/>
                  </a:cubicBezTo>
                  <a:lnTo>
                    <a:pt x="680" y="2881"/>
                  </a:lnTo>
                  <a:lnTo>
                    <a:pt x="6815" y="4793"/>
                  </a:lnTo>
                  <a:cubicBezTo>
                    <a:pt x="6808" y="4802"/>
                    <a:pt x="6805" y="4812"/>
                    <a:pt x="6799" y="4822"/>
                  </a:cubicBezTo>
                  <a:lnTo>
                    <a:pt x="6772" y="4820"/>
                  </a:lnTo>
                  <a:lnTo>
                    <a:pt x="22" y="17093"/>
                  </a:lnTo>
                  <a:lnTo>
                    <a:pt x="49" y="17094"/>
                  </a:lnTo>
                  <a:cubicBezTo>
                    <a:pt x="34" y="17123"/>
                    <a:pt x="0" y="17151"/>
                    <a:pt x="0" y="17182"/>
                  </a:cubicBezTo>
                  <a:cubicBezTo>
                    <a:pt x="0" y="17306"/>
                    <a:pt x="137" y="17416"/>
                    <a:pt x="345" y="17502"/>
                  </a:cubicBezTo>
                  <a:lnTo>
                    <a:pt x="335" y="17505"/>
                  </a:lnTo>
                  <a:lnTo>
                    <a:pt x="9785" y="21432"/>
                  </a:lnTo>
                  <a:lnTo>
                    <a:pt x="9795" y="21429"/>
                  </a:lnTo>
                  <a:cubicBezTo>
                    <a:pt x="10041" y="21532"/>
                    <a:pt x="10394" y="21600"/>
                    <a:pt x="10800" y="21600"/>
                  </a:cubicBezTo>
                  <a:cubicBezTo>
                    <a:pt x="11206" y="21600"/>
                    <a:pt x="11557" y="21532"/>
                    <a:pt x="11805" y="21429"/>
                  </a:cubicBezTo>
                  <a:lnTo>
                    <a:pt x="11815" y="21432"/>
                  </a:lnTo>
                  <a:lnTo>
                    <a:pt x="21265" y="17505"/>
                  </a:lnTo>
                  <a:lnTo>
                    <a:pt x="21255" y="17502"/>
                  </a:lnTo>
                  <a:cubicBezTo>
                    <a:pt x="21463" y="17416"/>
                    <a:pt x="21600" y="17306"/>
                    <a:pt x="21600" y="17182"/>
                  </a:cubicBezTo>
                  <a:cubicBezTo>
                    <a:pt x="21600" y="17151"/>
                    <a:pt x="21566" y="17123"/>
                    <a:pt x="21551" y="17094"/>
                  </a:cubicBezTo>
                </a:path>
              </a:pathLst>
            </a:custGeom>
            <a:solidFill>
              <a:schemeClr val="bg1"/>
            </a:solidFill>
            <a:ln w="12700">
              <a:miter lim="400000"/>
            </a:ln>
          </p:spPr>
          <p:txBody>
            <a:bodyPr lIns="38100" tIns="38100" rIns="38100" bIns="38100" anchor="ctr"/>
            <a:lstStyle/>
            <a:p>
              <a:pPr defTabSz="457200">
                <a:defRPr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75" name="Shape"/>
            <p:cNvSpPr/>
            <p:nvPr/>
          </p:nvSpPr>
          <p:spPr>
            <a:xfrm>
              <a:off x="7759796" y="1225988"/>
              <a:ext cx="287011" cy="347283"/>
            </a:xfrm>
            <a:custGeom>
              <a:avLst/>
              <a:gdLst/>
              <a:ahLst/>
              <a:cxnLst>
                <a:cxn ang="0">
                  <a:pos x="wd2" y="hd2"/>
                </a:cxn>
                <a:cxn ang="5400000">
                  <a:pos x="wd2" y="hd2"/>
                </a:cxn>
                <a:cxn ang="10800000">
                  <a:pos x="wd2" y="hd2"/>
                </a:cxn>
                <a:cxn ang="16200000">
                  <a:pos x="wd2" y="hd2"/>
                </a:cxn>
              </a:cxnLst>
              <a:rect l="0" t="0" r="r" b="b"/>
              <a:pathLst>
                <a:path w="21600" h="21600" extrusionOk="0">
                  <a:moveTo>
                    <a:pt x="10800" y="15709"/>
                  </a:moveTo>
                  <a:cubicBezTo>
                    <a:pt x="10203" y="15709"/>
                    <a:pt x="9720" y="16149"/>
                    <a:pt x="9720" y="16691"/>
                  </a:cubicBezTo>
                  <a:cubicBezTo>
                    <a:pt x="9720" y="17233"/>
                    <a:pt x="10203" y="17673"/>
                    <a:pt x="10800" y="17673"/>
                  </a:cubicBezTo>
                  <a:cubicBezTo>
                    <a:pt x="11396" y="17673"/>
                    <a:pt x="11880" y="17233"/>
                    <a:pt x="11880" y="16691"/>
                  </a:cubicBezTo>
                  <a:cubicBezTo>
                    <a:pt x="11880" y="16149"/>
                    <a:pt x="11396" y="15709"/>
                    <a:pt x="10800" y="15709"/>
                  </a:cubicBezTo>
                  <a:moveTo>
                    <a:pt x="12960" y="10800"/>
                  </a:moveTo>
                  <a:cubicBezTo>
                    <a:pt x="12363" y="10800"/>
                    <a:pt x="11880" y="11240"/>
                    <a:pt x="11880" y="11782"/>
                  </a:cubicBezTo>
                  <a:cubicBezTo>
                    <a:pt x="11880" y="12324"/>
                    <a:pt x="12363" y="12764"/>
                    <a:pt x="12960" y="12764"/>
                  </a:cubicBezTo>
                  <a:cubicBezTo>
                    <a:pt x="13556" y="12764"/>
                    <a:pt x="14040" y="12324"/>
                    <a:pt x="14040" y="11782"/>
                  </a:cubicBezTo>
                  <a:cubicBezTo>
                    <a:pt x="14040" y="11240"/>
                    <a:pt x="13556" y="10800"/>
                    <a:pt x="12960" y="10800"/>
                  </a:cubicBezTo>
                  <a:moveTo>
                    <a:pt x="15660" y="14727"/>
                  </a:moveTo>
                  <a:cubicBezTo>
                    <a:pt x="15362" y="14727"/>
                    <a:pt x="15120" y="14947"/>
                    <a:pt x="15120" y="15218"/>
                  </a:cubicBezTo>
                  <a:cubicBezTo>
                    <a:pt x="15120" y="15490"/>
                    <a:pt x="15362" y="15709"/>
                    <a:pt x="15660" y="15709"/>
                  </a:cubicBezTo>
                  <a:cubicBezTo>
                    <a:pt x="15958" y="15709"/>
                    <a:pt x="16200" y="15490"/>
                    <a:pt x="16200" y="15218"/>
                  </a:cubicBezTo>
                  <a:cubicBezTo>
                    <a:pt x="16200" y="14947"/>
                    <a:pt x="15958" y="14727"/>
                    <a:pt x="15660" y="14727"/>
                  </a:cubicBezTo>
                  <a:moveTo>
                    <a:pt x="16740" y="17673"/>
                  </a:moveTo>
                  <a:cubicBezTo>
                    <a:pt x="16442" y="17673"/>
                    <a:pt x="16200" y="17892"/>
                    <a:pt x="16200" y="18164"/>
                  </a:cubicBezTo>
                  <a:cubicBezTo>
                    <a:pt x="16200" y="18435"/>
                    <a:pt x="16442" y="18655"/>
                    <a:pt x="16740" y="18655"/>
                  </a:cubicBezTo>
                  <a:cubicBezTo>
                    <a:pt x="17038" y="18655"/>
                    <a:pt x="17280" y="18435"/>
                    <a:pt x="17280" y="18164"/>
                  </a:cubicBezTo>
                  <a:cubicBezTo>
                    <a:pt x="17280" y="17892"/>
                    <a:pt x="17038" y="17673"/>
                    <a:pt x="16740" y="17673"/>
                  </a:cubicBezTo>
                  <a:moveTo>
                    <a:pt x="7020" y="13745"/>
                  </a:moveTo>
                  <a:cubicBezTo>
                    <a:pt x="6722" y="13745"/>
                    <a:pt x="6480" y="13525"/>
                    <a:pt x="6480" y="13255"/>
                  </a:cubicBezTo>
                  <a:cubicBezTo>
                    <a:pt x="6480" y="12983"/>
                    <a:pt x="6722" y="12764"/>
                    <a:pt x="7020" y="12764"/>
                  </a:cubicBezTo>
                  <a:cubicBezTo>
                    <a:pt x="7318" y="12764"/>
                    <a:pt x="7560" y="12983"/>
                    <a:pt x="7560" y="13255"/>
                  </a:cubicBezTo>
                  <a:cubicBezTo>
                    <a:pt x="7560" y="13525"/>
                    <a:pt x="7318" y="13745"/>
                    <a:pt x="7020" y="13745"/>
                  </a:cubicBezTo>
                  <a:moveTo>
                    <a:pt x="7020" y="11782"/>
                  </a:moveTo>
                  <a:cubicBezTo>
                    <a:pt x="6126" y="11782"/>
                    <a:pt x="5400" y="12441"/>
                    <a:pt x="5400" y="13255"/>
                  </a:cubicBezTo>
                  <a:cubicBezTo>
                    <a:pt x="5400" y="14068"/>
                    <a:pt x="6126" y="14727"/>
                    <a:pt x="7020" y="14727"/>
                  </a:cubicBezTo>
                  <a:cubicBezTo>
                    <a:pt x="7914" y="14727"/>
                    <a:pt x="8640" y="14068"/>
                    <a:pt x="8640" y="13255"/>
                  </a:cubicBezTo>
                  <a:cubicBezTo>
                    <a:pt x="8640" y="12441"/>
                    <a:pt x="7914" y="11782"/>
                    <a:pt x="7020" y="11782"/>
                  </a:cubicBezTo>
                  <a:moveTo>
                    <a:pt x="16200" y="20618"/>
                  </a:moveTo>
                  <a:lnTo>
                    <a:pt x="5400" y="20618"/>
                  </a:lnTo>
                  <a:cubicBezTo>
                    <a:pt x="5224" y="20618"/>
                    <a:pt x="1080" y="20574"/>
                    <a:pt x="1080" y="16691"/>
                  </a:cubicBezTo>
                  <a:cubicBezTo>
                    <a:pt x="1080" y="12965"/>
                    <a:pt x="3149" y="11214"/>
                    <a:pt x="4975" y="9670"/>
                  </a:cubicBezTo>
                  <a:cubicBezTo>
                    <a:pt x="6031" y="8777"/>
                    <a:pt x="7028" y="7920"/>
                    <a:pt x="7400" y="6808"/>
                  </a:cubicBezTo>
                  <a:cubicBezTo>
                    <a:pt x="7683" y="6848"/>
                    <a:pt x="7974" y="6878"/>
                    <a:pt x="8279" y="6878"/>
                  </a:cubicBezTo>
                  <a:cubicBezTo>
                    <a:pt x="9182" y="6878"/>
                    <a:pt x="10166" y="6687"/>
                    <a:pt x="11184" y="6177"/>
                  </a:cubicBezTo>
                  <a:cubicBezTo>
                    <a:pt x="12256" y="5642"/>
                    <a:pt x="13226" y="5425"/>
                    <a:pt x="14040" y="5367"/>
                  </a:cubicBezTo>
                  <a:lnTo>
                    <a:pt x="14040" y="5891"/>
                  </a:lnTo>
                  <a:cubicBezTo>
                    <a:pt x="14040" y="7483"/>
                    <a:pt x="15296" y="8546"/>
                    <a:pt x="16625" y="9670"/>
                  </a:cubicBezTo>
                  <a:cubicBezTo>
                    <a:pt x="18451" y="11214"/>
                    <a:pt x="20520" y="12965"/>
                    <a:pt x="20520" y="16691"/>
                  </a:cubicBezTo>
                  <a:cubicBezTo>
                    <a:pt x="20520" y="20474"/>
                    <a:pt x="16637" y="20614"/>
                    <a:pt x="16200" y="20618"/>
                  </a:cubicBezTo>
                  <a:moveTo>
                    <a:pt x="14040" y="2945"/>
                  </a:moveTo>
                  <a:lnTo>
                    <a:pt x="14040" y="4432"/>
                  </a:lnTo>
                  <a:cubicBezTo>
                    <a:pt x="13069" y="4489"/>
                    <a:pt x="11917" y="4734"/>
                    <a:pt x="10654" y="5365"/>
                  </a:cubicBezTo>
                  <a:cubicBezTo>
                    <a:pt x="9547" y="5920"/>
                    <a:pt x="8485" y="6015"/>
                    <a:pt x="7560" y="5894"/>
                  </a:cubicBezTo>
                  <a:lnTo>
                    <a:pt x="7560" y="5891"/>
                  </a:lnTo>
                  <a:lnTo>
                    <a:pt x="7560" y="2945"/>
                  </a:lnTo>
                  <a:cubicBezTo>
                    <a:pt x="7560" y="2945"/>
                    <a:pt x="14040" y="2945"/>
                    <a:pt x="14040" y="2945"/>
                  </a:cubicBezTo>
                  <a:close/>
                  <a:moveTo>
                    <a:pt x="5400" y="982"/>
                  </a:moveTo>
                  <a:lnTo>
                    <a:pt x="16200" y="982"/>
                  </a:lnTo>
                  <a:lnTo>
                    <a:pt x="16200" y="1964"/>
                  </a:lnTo>
                  <a:lnTo>
                    <a:pt x="5400" y="1964"/>
                  </a:lnTo>
                  <a:cubicBezTo>
                    <a:pt x="5400" y="1964"/>
                    <a:pt x="5400" y="982"/>
                    <a:pt x="5400" y="982"/>
                  </a:cubicBezTo>
                  <a:close/>
                  <a:moveTo>
                    <a:pt x="15120" y="5891"/>
                  </a:moveTo>
                  <a:lnTo>
                    <a:pt x="15120" y="2945"/>
                  </a:lnTo>
                  <a:lnTo>
                    <a:pt x="16200" y="2945"/>
                  </a:lnTo>
                  <a:cubicBezTo>
                    <a:pt x="16796" y="2945"/>
                    <a:pt x="17280" y="2505"/>
                    <a:pt x="17280" y="1964"/>
                  </a:cubicBezTo>
                  <a:lnTo>
                    <a:pt x="17280" y="982"/>
                  </a:lnTo>
                  <a:cubicBezTo>
                    <a:pt x="17280" y="440"/>
                    <a:pt x="16796" y="0"/>
                    <a:pt x="16200" y="0"/>
                  </a:cubicBezTo>
                  <a:lnTo>
                    <a:pt x="5400" y="0"/>
                  </a:lnTo>
                  <a:cubicBezTo>
                    <a:pt x="4803" y="0"/>
                    <a:pt x="4320" y="440"/>
                    <a:pt x="4320" y="982"/>
                  </a:cubicBezTo>
                  <a:lnTo>
                    <a:pt x="4320" y="1964"/>
                  </a:lnTo>
                  <a:cubicBezTo>
                    <a:pt x="4320" y="2505"/>
                    <a:pt x="4803" y="2945"/>
                    <a:pt x="5400" y="2945"/>
                  </a:cubicBezTo>
                  <a:lnTo>
                    <a:pt x="6480" y="2945"/>
                  </a:lnTo>
                  <a:lnTo>
                    <a:pt x="6480" y="5891"/>
                  </a:lnTo>
                  <a:cubicBezTo>
                    <a:pt x="6480" y="8836"/>
                    <a:pt x="0" y="9818"/>
                    <a:pt x="0" y="16691"/>
                  </a:cubicBezTo>
                  <a:cubicBezTo>
                    <a:pt x="0" y="21600"/>
                    <a:pt x="5400" y="21600"/>
                    <a:pt x="5400" y="21600"/>
                  </a:cubicBezTo>
                  <a:lnTo>
                    <a:pt x="16200" y="21600"/>
                  </a:lnTo>
                  <a:cubicBezTo>
                    <a:pt x="16200" y="21600"/>
                    <a:pt x="21600" y="21600"/>
                    <a:pt x="21600" y="16691"/>
                  </a:cubicBezTo>
                  <a:cubicBezTo>
                    <a:pt x="21600" y="9818"/>
                    <a:pt x="15120" y="8836"/>
                    <a:pt x="15120" y="5891"/>
                  </a:cubicBezTo>
                  <a:moveTo>
                    <a:pt x="5940" y="16691"/>
                  </a:moveTo>
                  <a:cubicBezTo>
                    <a:pt x="5642" y="16691"/>
                    <a:pt x="5400" y="16910"/>
                    <a:pt x="5400" y="17182"/>
                  </a:cubicBezTo>
                  <a:cubicBezTo>
                    <a:pt x="5400" y="17453"/>
                    <a:pt x="5642" y="17673"/>
                    <a:pt x="5940" y="17673"/>
                  </a:cubicBezTo>
                  <a:cubicBezTo>
                    <a:pt x="6238" y="17673"/>
                    <a:pt x="6480" y="17453"/>
                    <a:pt x="6480" y="17182"/>
                  </a:cubicBezTo>
                  <a:cubicBezTo>
                    <a:pt x="6480" y="16910"/>
                    <a:pt x="6238" y="16691"/>
                    <a:pt x="5940" y="16691"/>
                  </a:cubicBezTo>
                </a:path>
              </a:pathLst>
            </a:custGeom>
            <a:solidFill>
              <a:srgbClr val="53585F"/>
            </a:solidFill>
            <a:ln w="12700">
              <a:miter lim="400000"/>
            </a:ln>
          </p:spPr>
          <p:txBody>
            <a:bodyPr lIns="38100" tIns="38100" rIns="38100" bIns="38100" anchor="ctr"/>
            <a:lstStyle/>
            <a:p>
              <a:pPr defTabSz="457200">
                <a:defRPr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76" name="Shape"/>
            <p:cNvSpPr/>
            <p:nvPr/>
          </p:nvSpPr>
          <p:spPr>
            <a:xfrm>
              <a:off x="7734876" y="5046316"/>
              <a:ext cx="381668" cy="312275"/>
            </a:xfrm>
            <a:custGeom>
              <a:avLst/>
              <a:gdLst/>
              <a:ahLst/>
              <a:cxnLst>
                <a:cxn ang="0">
                  <a:pos x="wd2" y="hd2"/>
                </a:cxn>
                <a:cxn ang="5400000">
                  <a:pos x="wd2" y="hd2"/>
                </a:cxn>
                <a:cxn ang="10800000">
                  <a:pos x="wd2" y="hd2"/>
                </a:cxn>
                <a:cxn ang="16200000">
                  <a:pos x="wd2" y="hd2"/>
                </a:cxn>
              </a:cxnLst>
              <a:rect l="0" t="0" r="r" b="b"/>
              <a:pathLst>
                <a:path w="21600" h="21600" extrusionOk="0">
                  <a:moveTo>
                    <a:pt x="16691" y="20400"/>
                  </a:moveTo>
                  <a:cubicBezTo>
                    <a:pt x="14522" y="20400"/>
                    <a:pt x="12764" y="18251"/>
                    <a:pt x="12764" y="15600"/>
                  </a:cubicBezTo>
                  <a:cubicBezTo>
                    <a:pt x="12764" y="12949"/>
                    <a:pt x="14522" y="10800"/>
                    <a:pt x="16691" y="10800"/>
                  </a:cubicBezTo>
                  <a:cubicBezTo>
                    <a:pt x="18860" y="10800"/>
                    <a:pt x="20618" y="12949"/>
                    <a:pt x="20618" y="15600"/>
                  </a:cubicBezTo>
                  <a:cubicBezTo>
                    <a:pt x="20618" y="18251"/>
                    <a:pt x="18860" y="20400"/>
                    <a:pt x="16691" y="20400"/>
                  </a:cubicBezTo>
                  <a:moveTo>
                    <a:pt x="12762" y="3393"/>
                  </a:moveTo>
                  <a:lnTo>
                    <a:pt x="12781" y="3388"/>
                  </a:lnTo>
                  <a:cubicBezTo>
                    <a:pt x="12870" y="2164"/>
                    <a:pt x="13702" y="1200"/>
                    <a:pt x="14727" y="1200"/>
                  </a:cubicBezTo>
                  <a:cubicBezTo>
                    <a:pt x="15521" y="1200"/>
                    <a:pt x="16202" y="1779"/>
                    <a:pt x="16511" y="2609"/>
                  </a:cubicBezTo>
                  <a:lnTo>
                    <a:pt x="16509" y="2609"/>
                  </a:lnTo>
                  <a:lnTo>
                    <a:pt x="19162" y="10421"/>
                  </a:lnTo>
                  <a:cubicBezTo>
                    <a:pt x="18436" y="9902"/>
                    <a:pt x="17593" y="9600"/>
                    <a:pt x="16691" y="9600"/>
                  </a:cubicBezTo>
                  <a:cubicBezTo>
                    <a:pt x="15082" y="9600"/>
                    <a:pt x="13658" y="10550"/>
                    <a:pt x="12763" y="12012"/>
                  </a:cubicBezTo>
                  <a:cubicBezTo>
                    <a:pt x="12763" y="12012"/>
                    <a:pt x="12762" y="3393"/>
                    <a:pt x="12762" y="3393"/>
                  </a:cubicBezTo>
                  <a:close/>
                  <a:moveTo>
                    <a:pt x="11782" y="13200"/>
                  </a:moveTo>
                  <a:lnTo>
                    <a:pt x="9818" y="13200"/>
                  </a:lnTo>
                  <a:lnTo>
                    <a:pt x="9818" y="4800"/>
                  </a:lnTo>
                  <a:lnTo>
                    <a:pt x="11782" y="4800"/>
                  </a:lnTo>
                  <a:cubicBezTo>
                    <a:pt x="11782" y="4800"/>
                    <a:pt x="11782" y="13200"/>
                    <a:pt x="11782" y="13200"/>
                  </a:cubicBezTo>
                  <a:close/>
                  <a:moveTo>
                    <a:pt x="11782" y="15600"/>
                  </a:moveTo>
                  <a:lnTo>
                    <a:pt x="9818" y="15600"/>
                  </a:lnTo>
                  <a:lnTo>
                    <a:pt x="9818" y="14400"/>
                  </a:lnTo>
                  <a:lnTo>
                    <a:pt x="11782" y="14400"/>
                  </a:lnTo>
                  <a:cubicBezTo>
                    <a:pt x="11782" y="14400"/>
                    <a:pt x="11782" y="15600"/>
                    <a:pt x="11782" y="15600"/>
                  </a:cubicBezTo>
                  <a:close/>
                  <a:moveTo>
                    <a:pt x="8837" y="12012"/>
                  </a:moveTo>
                  <a:cubicBezTo>
                    <a:pt x="7942" y="10550"/>
                    <a:pt x="6518" y="9600"/>
                    <a:pt x="4909" y="9600"/>
                  </a:cubicBezTo>
                  <a:cubicBezTo>
                    <a:pt x="4007" y="9600"/>
                    <a:pt x="3164" y="9902"/>
                    <a:pt x="2438" y="10421"/>
                  </a:cubicBezTo>
                  <a:lnTo>
                    <a:pt x="5091" y="2609"/>
                  </a:lnTo>
                  <a:lnTo>
                    <a:pt x="5089" y="2609"/>
                  </a:lnTo>
                  <a:cubicBezTo>
                    <a:pt x="5398" y="1779"/>
                    <a:pt x="6079" y="1200"/>
                    <a:pt x="6873" y="1200"/>
                  </a:cubicBezTo>
                  <a:cubicBezTo>
                    <a:pt x="7898" y="1200"/>
                    <a:pt x="8730" y="2164"/>
                    <a:pt x="8819" y="3388"/>
                  </a:cubicBezTo>
                  <a:lnTo>
                    <a:pt x="8838" y="3393"/>
                  </a:lnTo>
                  <a:cubicBezTo>
                    <a:pt x="8838" y="3393"/>
                    <a:pt x="8837" y="12012"/>
                    <a:pt x="8837" y="12012"/>
                  </a:cubicBezTo>
                  <a:close/>
                  <a:moveTo>
                    <a:pt x="4909" y="20400"/>
                  </a:moveTo>
                  <a:cubicBezTo>
                    <a:pt x="2740" y="20400"/>
                    <a:pt x="982" y="18251"/>
                    <a:pt x="982" y="15600"/>
                  </a:cubicBezTo>
                  <a:cubicBezTo>
                    <a:pt x="982" y="12949"/>
                    <a:pt x="2740" y="10800"/>
                    <a:pt x="4909" y="10800"/>
                  </a:cubicBezTo>
                  <a:cubicBezTo>
                    <a:pt x="7078" y="10800"/>
                    <a:pt x="8836" y="12949"/>
                    <a:pt x="8836" y="15600"/>
                  </a:cubicBezTo>
                  <a:cubicBezTo>
                    <a:pt x="8836" y="18251"/>
                    <a:pt x="7078" y="20400"/>
                    <a:pt x="4909" y="20400"/>
                  </a:cubicBezTo>
                  <a:moveTo>
                    <a:pt x="21102" y="12980"/>
                  </a:moveTo>
                  <a:lnTo>
                    <a:pt x="17504" y="2400"/>
                  </a:lnTo>
                  <a:lnTo>
                    <a:pt x="17493" y="2402"/>
                  </a:lnTo>
                  <a:cubicBezTo>
                    <a:pt x="17088" y="1006"/>
                    <a:pt x="16009" y="0"/>
                    <a:pt x="14727" y="0"/>
                  </a:cubicBezTo>
                  <a:cubicBezTo>
                    <a:pt x="13101" y="0"/>
                    <a:pt x="11782" y="1612"/>
                    <a:pt x="11782" y="3600"/>
                  </a:cubicBezTo>
                  <a:lnTo>
                    <a:pt x="9818" y="3600"/>
                  </a:lnTo>
                  <a:cubicBezTo>
                    <a:pt x="9818" y="1612"/>
                    <a:pt x="8499" y="0"/>
                    <a:pt x="6873" y="0"/>
                  </a:cubicBezTo>
                  <a:cubicBezTo>
                    <a:pt x="5592" y="0"/>
                    <a:pt x="4512" y="1006"/>
                    <a:pt x="4107" y="2402"/>
                  </a:cubicBezTo>
                  <a:lnTo>
                    <a:pt x="4096" y="2400"/>
                  </a:lnTo>
                  <a:lnTo>
                    <a:pt x="498" y="12980"/>
                  </a:lnTo>
                  <a:cubicBezTo>
                    <a:pt x="182" y="13772"/>
                    <a:pt x="0" y="14659"/>
                    <a:pt x="0" y="15600"/>
                  </a:cubicBezTo>
                  <a:cubicBezTo>
                    <a:pt x="0" y="18914"/>
                    <a:pt x="2198" y="21600"/>
                    <a:pt x="4909" y="21600"/>
                  </a:cubicBezTo>
                  <a:cubicBezTo>
                    <a:pt x="7284" y="21600"/>
                    <a:pt x="9265" y="19539"/>
                    <a:pt x="9719" y="16800"/>
                  </a:cubicBezTo>
                  <a:lnTo>
                    <a:pt x="11881" y="16800"/>
                  </a:lnTo>
                  <a:cubicBezTo>
                    <a:pt x="12335" y="19539"/>
                    <a:pt x="14316" y="21600"/>
                    <a:pt x="16691" y="21600"/>
                  </a:cubicBezTo>
                  <a:cubicBezTo>
                    <a:pt x="19402" y="21600"/>
                    <a:pt x="21600" y="18914"/>
                    <a:pt x="21600" y="15600"/>
                  </a:cubicBezTo>
                  <a:cubicBezTo>
                    <a:pt x="21600" y="14659"/>
                    <a:pt x="21418" y="13772"/>
                    <a:pt x="21102" y="12980"/>
                  </a:cubicBezTo>
                  <a:moveTo>
                    <a:pt x="16691" y="12000"/>
                  </a:moveTo>
                  <a:cubicBezTo>
                    <a:pt x="15064" y="12000"/>
                    <a:pt x="13745" y="13612"/>
                    <a:pt x="13745" y="15600"/>
                  </a:cubicBezTo>
                  <a:cubicBezTo>
                    <a:pt x="13745" y="15932"/>
                    <a:pt x="13965" y="16200"/>
                    <a:pt x="14236" y="16200"/>
                  </a:cubicBezTo>
                  <a:cubicBezTo>
                    <a:pt x="14508" y="16200"/>
                    <a:pt x="14727" y="15932"/>
                    <a:pt x="14727" y="15600"/>
                  </a:cubicBezTo>
                  <a:cubicBezTo>
                    <a:pt x="14727" y="14275"/>
                    <a:pt x="15606" y="13200"/>
                    <a:pt x="16691" y="13200"/>
                  </a:cubicBezTo>
                  <a:cubicBezTo>
                    <a:pt x="16962" y="13200"/>
                    <a:pt x="17182" y="12932"/>
                    <a:pt x="17182" y="12600"/>
                  </a:cubicBezTo>
                  <a:cubicBezTo>
                    <a:pt x="17182" y="12268"/>
                    <a:pt x="16962" y="12000"/>
                    <a:pt x="16691" y="12000"/>
                  </a:cubicBezTo>
                  <a:moveTo>
                    <a:pt x="4909" y="12000"/>
                  </a:moveTo>
                  <a:cubicBezTo>
                    <a:pt x="3282" y="12000"/>
                    <a:pt x="1964" y="13612"/>
                    <a:pt x="1964" y="15600"/>
                  </a:cubicBezTo>
                  <a:cubicBezTo>
                    <a:pt x="1964" y="15932"/>
                    <a:pt x="2183" y="16200"/>
                    <a:pt x="2455" y="16200"/>
                  </a:cubicBezTo>
                  <a:cubicBezTo>
                    <a:pt x="2726" y="16200"/>
                    <a:pt x="2945" y="15932"/>
                    <a:pt x="2945" y="15600"/>
                  </a:cubicBezTo>
                  <a:cubicBezTo>
                    <a:pt x="2945" y="14275"/>
                    <a:pt x="3825" y="13200"/>
                    <a:pt x="4909" y="13200"/>
                  </a:cubicBezTo>
                  <a:cubicBezTo>
                    <a:pt x="5180" y="13200"/>
                    <a:pt x="5400" y="12932"/>
                    <a:pt x="5400" y="12600"/>
                  </a:cubicBezTo>
                  <a:cubicBezTo>
                    <a:pt x="5400" y="12268"/>
                    <a:pt x="5180" y="12000"/>
                    <a:pt x="4909" y="12000"/>
                  </a:cubicBezTo>
                </a:path>
              </a:pathLst>
            </a:custGeom>
            <a:solidFill>
              <a:srgbClr val="53585F"/>
            </a:solidFill>
            <a:ln w="12700">
              <a:miter lim="400000"/>
            </a:ln>
          </p:spPr>
          <p:txBody>
            <a:bodyPr lIns="38100" tIns="38100" rIns="38100" bIns="38100" anchor="ctr"/>
            <a:lstStyle/>
            <a:p>
              <a:pPr defTabSz="457200">
                <a:defRPr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grpSp>
      <p:grpSp>
        <p:nvGrpSpPr>
          <p:cNvPr id="115" name="Group 114"/>
          <p:cNvGrpSpPr/>
          <p:nvPr/>
        </p:nvGrpSpPr>
        <p:grpSpPr>
          <a:xfrm>
            <a:off x="-1290885" y="1284515"/>
            <a:ext cx="9991884" cy="6277623"/>
            <a:chOff x="900773" y="0"/>
            <a:chExt cx="9991884" cy="6277623"/>
          </a:xfrm>
        </p:grpSpPr>
        <p:sp>
          <p:nvSpPr>
            <p:cNvPr id="116" name="AutoShape 3"/>
            <p:cNvSpPr>
              <a:spLocks noChangeAspect="1" noChangeArrowheads="1" noTextEdit="1"/>
            </p:cNvSpPr>
            <p:nvPr/>
          </p:nvSpPr>
          <p:spPr bwMode="auto">
            <a:xfrm>
              <a:off x="900773" y="0"/>
              <a:ext cx="9991884" cy="6277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5"/>
            <p:cNvSpPr>
              <a:spLocks/>
            </p:cNvSpPr>
            <p:nvPr/>
          </p:nvSpPr>
          <p:spPr bwMode="auto">
            <a:xfrm>
              <a:off x="2575775" y="929292"/>
              <a:ext cx="6571160" cy="4246114"/>
            </a:xfrm>
            <a:custGeom>
              <a:avLst/>
              <a:gdLst>
                <a:gd name="T0" fmla="*/ 4150 w 4522"/>
                <a:gd name="T1" fmla="*/ 1761 h 2922"/>
                <a:gd name="T2" fmla="*/ 4029 w 4522"/>
                <a:gd name="T3" fmla="*/ 1728 h 2922"/>
                <a:gd name="T4" fmla="*/ 3877 w 4522"/>
                <a:gd name="T5" fmla="*/ 1703 h 2922"/>
                <a:gd name="T6" fmla="*/ 3677 w 4522"/>
                <a:gd name="T7" fmla="*/ 1671 h 2922"/>
                <a:gd name="T8" fmla="*/ 3561 w 4522"/>
                <a:gd name="T9" fmla="*/ 1635 h 2922"/>
                <a:gd name="T10" fmla="*/ 3498 w 4522"/>
                <a:gd name="T11" fmla="*/ 1602 h 2922"/>
                <a:gd name="T12" fmla="*/ 3442 w 4522"/>
                <a:gd name="T13" fmla="*/ 1559 h 2922"/>
                <a:gd name="T14" fmla="*/ 3404 w 4522"/>
                <a:gd name="T15" fmla="*/ 1519 h 2922"/>
                <a:gd name="T16" fmla="*/ 3352 w 4522"/>
                <a:gd name="T17" fmla="*/ 1443 h 2922"/>
                <a:gd name="T18" fmla="*/ 3303 w 4522"/>
                <a:gd name="T19" fmla="*/ 1331 h 2922"/>
                <a:gd name="T20" fmla="*/ 3245 w 4522"/>
                <a:gd name="T21" fmla="*/ 1187 h 2922"/>
                <a:gd name="T22" fmla="*/ 3202 w 4522"/>
                <a:gd name="T23" fmla="*/ 1106 h 2922"/>
                <a:gd name="T24" fmla="*/ 3175 w 4522"/>
                <a:gd name="T25" fmla="*/ 1067 h 2922"/>
                <a:gd name="T26" fmla="*/ 3114 w 4522"/>
                <a:gd name="T27" fmla="*/ 1000 h 2922"/>
                <a:gd name="T28" fmla="*/ 3005 w 4522"/>
                <a:gd name="T29" fmla="*/ 919 h 2922"/>
                <a:gd name="T30" fmla="*/ 2877 w 4522"/>
                <a:gd name="T31" fmla="*/ 857 h 2922"/>
                <a:gd name="T32" fmla="*/ 2742 w 4522"/>
                <a:gd name="T33" fmla="*/ 816 h 2922"/>
                <a:gd name="T34" fmla="*/ 2601 w 4522"/>
                <a:gd name="T35" fmla="*/ 789 h 2922"/>
                <a:gd name="T36" fmla="*/ 2470 w 4522"/>
                <a:gd name="T37" fmla="*/ 776 h 2922"/>
                <a:gd name="T38" fmla="*/ 2255 w 4522"/>
                <a:gd name="T39" fmla="*/ 753 h 2922"/>
                <a:gd name="T40" fmla="*/ 2131 w 4522"/>
                <a:gd name="T41" fmla="*/ 727 h 2922"/>
                <a:gd name="T42" fmla="*/ 2014 w 4522"/>
                <a:gd name="T43" fmla="*/ 684 h 2922"/>
                <a:gd name="T44" fmla="*/ 1910 w 4522"/>
                <a:gd name="T45" fmla="*/ 616 h 2922"/>
                <a:gd name="T46" fmla="*/ 1855 w 4522"/>
                <a:gd name="T47" fmla="*/ 563 h 2922"/>
                <a:gd name="T48" fmla="*/ 1785 w 4522"/>
                <a:gd name="T49" fmla="*/ 470 h 2922"/>
                <a:gd name="T50" fmla="*/ 1685 w 4522"/>
                <a:gd name="T51" fmla="*/ 305 h 2922"/>
                <a:gd name="T52" fmla="*/ 1618 w 4522"/>
                <a:gd name="T53" fmla="*/ 210 h 2922"/>
                <a:gd name="T54" fmla="*/ 1539 w 4522"/>
                <a:gd name="T55" fmla="*/ 128 h 2922"/>
                <a:gd name="T56" fmla="*/ 1504 w 4522"/>
                <a:gd name="T57" fmla="*/ 101 h 2922"/>
                <a:gd name="T58" fmla="*/ 1390 w 4522"/>
                <a:gd name="T59" fmla="*/ 43 h 2922"/>
                <a:gd name="T60" fmla="*/ 1263 w 4522"/>
                <a:gd name="T61" fmla="*/ 12 h 2922"/>
                <a:gd name="T62" fmla="*/ 1130 w 4522"/>
                <a:gd name="T63" fmla="*/ 0 h 2922"/>
                <a:gd name="T64" fmla="*/ 995 w 4522"/>
                <a:gd name="T65" fmla="*/ 5 h 2922"/>
                <a:gd name="T66" fmla="*/ 861 w 4522"/>
                <a:gd name="T67" fmla="*/ 20 h 2922"/>
                <a:gd name="T68" fmla="*/ 404 w 4522"/>
                <a:gd name="T69" fmla="*/ 93 h 2922"/>
                <a:gd name="T70" fmla="*/ 197 w 4522"/>
                <a:gd name="T71" fmla="*/ 134 h 2922"/>
                <a:gd name="T72" fmla="*/ 0 w 4522"/>
                <a:gd name="T73" fmla="*/ 167 h 2922"/>
                <a:gd name="T74" fmla="*/ 4131 w 4522"/>
                <a:gd name="T75" fmla="*/ 2922 h 2922"/>
                <a:gd name="T76" fmla="*/ 4201 w 4522"/>
                <a:gd name="T77" fmla="*/ 2866 h 2922"/>
                <a:gd name="T78" fmla="*/ 4337 w 4522"/>
                <a:gd name="T79" fmla="*/ 2737 h 2922"/>
                <a:gd name="T80" fmla="*/ 4396 w 4522"/>
                <a:gd name="T81" fmla="*/ 2664 h 2922"/>
                <a:gd name="T82" fmla="*/ 4446 w 4522"/>
                <a:gd name="T83" fmla="*/ 2586 h 2922"/>
                <a:gd name="T84" fmla="*/ 4487 w 4522"/>
                <a:gd name="T85" fmla="*/ 2504 h 2922"/>
                <a:gd name="T86" fmla="*/ 4505 w 4522"/>
                <a:gd name="T87" fmla="*/ 2449 h 2922"/>
                <a:gd name="T88" fmla="*/ 4520 w 4522"/>
                <a:gd name="T89" fmla="*/ 2371 h 2922"/>
                <a:gd name="T90" fmla="*/ 4522 w 4522"/>
                <a:gd name="T91" fmla="*/ 2292 h 2922"/>
                <a:gd name="T92" fmla="*/ 4514 w 4522"/>
                <a:gd name="T93" fmla="*/ 2212 h 2922"/>
                <a:gd name="T94" fmla="*/ 4495 w 4522"/>
                <a:gd name="T95" fmla="*/ 2135 h 2922"/>
                <a:gd name="T96" fmla="*/ 4467 w 4522"/>
                <a:gd name="T97" fmla="*/ 2060 h 2922"/>
                <a:gd name="T98" fmla="*/ 4429 w 4522"/>
                <a:gd name="T99" fmla="*/ 1991 h 2922"/>
                <a:gd name="T100" fmla="*/ 4383 w 4522"/>
                <a:gd name="T101" fmla="*/ 1926 h 2922"/>
                <a:gd name="T102" fmla="*/ 4328 w 4522"/>
                <a:gd name="T103" fmla="*/ 1868 h 2922"/>
                <a:gd name="T104" fmla="*/ 4266 w 4522"/>
                <a:gd name="T105" fmla="*/ 1819 h 2922"/>
                <a:gd name="T106" fmla="*/ 4198 w 4522"/>
                <a:gd name="T107" fmla="*/ 1779 h 2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22" h="2922">
                  <a:moveTo>
                    <a:pt x="4173" y="1769"/>
                  </a:moveTo>
                  <a:lnTo>
                    <a:pt x="4173" y="1769"/>
                  </a:lnTo>
                  <a:lnTo>
                    <a:pt x="4150" y="1761"/>
                  </a:lnTo>
                  <a:lnTo>
                    <a:pt x="4127" y="1752"/>
                  </a:lnTo>
                  <a:lnTo>
                    <a:pt x="4077" y="1738"/>
                  </a:lnTo>
                  <a:lnTo>
                    <a:pt x="4029" y="1728"/>
                  </a:lnTo>
                  <a:lnTo>
                    <a:pt x="3978" y="1718"/>
                  </a:lnTo>
                  <a:lnTo>
                    <a:pt x="3926" y="1709"/>
                  </a:lnTo>
                  <a:lnTo>
                    <a:pt x="3877" y="1703"/>
                  </a:lnTo>
                  <a:lnTo>
                    <a:pt x="3774" y="1690"/>
                  </a:lnTo>
                  <a:lnTo>
                    <a:pt x="3724" y="1681"/>
                  </a:lnTo>
                  <a:lnTo>
                    <a:pt x="3677" y="1671"/>
                  </a:lnTo>
                  <a:lnTo>
                    <a:pt x="3629" y="1658"/>
                  </a:lnTo>
                  <a:lnTo>
                    <a:pt x="3584" y="1643"/>
                  </a:lnTo>
                  <a:lnTo>
                    <a:pt x="3561" y="1635"/>
                  </a:lnTo>
                  <a:lnTo>
                    <a:pt x="3539" y="1625"/>
                  </a:lnTo>
                  <a:lnTo>
                    <a:pt x="3519" y="1613"/>
                  </a:lnTo>
                  <a:lnTo>
                    <a:pt x="3498" y="1602"/>
                  </a:lnTo>
                  <a:lnTo>
                    <a:pt x="3478" y="1589"/>
                  </a:lnTo>
                  <a:lnTo>
                    <a:pt x="3460" y="1575"/>
                  </a:lnTo>
                  <a:lnTo>
                    <a:pt x="3442" y="1559"/>
                  </a:lnTo>
                  <a:lnTo>
                    <a:pt x="3423" y="1542"/>
                  </a:lnTo>
                  <a:lnTo>
                    <a:pt x="3423" y="1542"/>
                  </a:lnTo>
                  <a:lnTo>
                    <a:pt x="3404" y="1519"/>
                  </a:lnTo>
                  <a:lnTo>
                    <a:pt x="3385" y="1494"/>
                  </a:lnTo>
                  <a:lnTo>
                    <a:pt x="3369" y="1469"/>
                  </a:lnTo>
                  <a:lnTo>
                    <a:pt x="3352" y="1443"/>
                  </a:lnTo>
                  <a:lnTo>
                    <a:pt x="3339" y="1417"/>
                  </a:lnTo>
                  <a:lnTo>
                    <a:pt x="3326" y="1388"/>
                  </a:lnTo>
                  <a:lnTo>
                    <a:pt x="3303" y="1331"/>
                  </a:lnTo>
                  <a:lnTo>
                    <a:pt x="3281" y="1273"/>
                  </a:lnTo>
                  <a:lnTo>
                    <a:pt x="3258" y="1215"/>
                  </a:lnTo>
                  <a:lnTo>
                    <a:pt x="3245" y="1187"/>
                  </a:lnTo>
                  <a:lnTo>
                    <a:pt x="3231" y="1158"/>
                  </a:lnTo>
                  <a:lnTo>
                    <a:pt x="3218" y="1132"/>
                  </a:lnTo>
                  <a:lnTo>
                    <a:pt x="3202" y="1106"/>
                  </a:lnTo>
                  <a:lnTo>
                    <a:pt x="3202" y="1106"/>
                  </a:lnTo>
                  <a:lnTo>
                    <a:pt x="3188" y="1086"/>
                  </a:lnTo>
                  <a:lnTo>
                    <a:pt x="3175" y="1067"/>
                  </a:lnTo>
                  <a:lnTo>
                    <a:pt x="3160" y="1049"/>
                  </a:lnTo>
                  <a:lnTo>
                    <a:pt x="3145" y="1033"/>
                  </a:lnTo>
                  <a:lnTo>
                    <a:pt x="3114" y="1000"/>
                  </a:lnTo>
                  <a:lnTo>
                    <a:pt x="3079" y="970"/>
                  </a:lnTo>
                  <a:lnTo>
                    <a:pt x="3043" y="943"/>
                  </a:lnTo>
                  <a:lnTo>
                    <a:pt x="3005" y="919"/>
                  </a:lnTo>
                  <a:lnTo>
                    <a:pt x="2963" y="895"/>
                  </a:lnTo>
                  <a:lnTo>
                    <a:pt x="2922" y="876"/>
                  </a:lnTo>
                  <a:lnTo>
                    <a:pt x="2877" y="857"/>
                  </a:lnTo>
                  <a:lnTo>
                    <a:pt x="2833" y="842"/>
                  </a:lnTo>
                  <a:lnTo>
                    <a:pt x="2788" y="828"/>
                  </a:lnTo>
                  <a:lnTo>
                    <a:pt x="2742" y="816"/>
                  </a:lnTo>
                  <a:lnTo>
                    <a:pt x="2695" y="806"/>
                  </a:lnTo>
                  <a:lnTo>
                    <a:pt x="2649" y="798"/>
                  </a:lnTo>
                  <a:lnTo>
                    <a:pt x="2601" y="789"/>
                  </a:lnTo>
                  <a:lnTo>
                    <a:pt x="2555" y="785"/>
                  </a:lnTo>
                  <a:lnTo>
                    <a:pt x="2555" y="785"/>
                  </a:lnTo>
                  <a:lnTo>
                    <a:pt x="2470" y="776"/>
                  </a:lnTo>
                  <a:lnTo>
                    <a:pt x="2384" y="768"/>
                  </a:lnTo>
                  <a:lnTo>
                    <a:pt x="2298" y="758"/>
                  </a:lnTo>
                  <a:lnTo>
                    <a:pt x="2255" y="753"/>
                  </a:lnTo>
                  <a:lnTo>
                    <a:pt x="2212" y="746"/>
                  </a:lnTo>
                  <a:lnTo>
                    <a:pt x="2171" y="737"/>
                  </a:lnTo>
                  <a:lnTo>
                    <a:pt x="2131" y="727"/>
                  </a:lnTo>
                  <a:lnTo>
                    <a:pt x="2092" y="715"/>
                  </a:lnTo>
                  <a:lnTo>
                    <a:pt x="2052" y="700"/>
                  </a:lnTo>
                  <a:lnTo>
                    <a:pt x="2014" y="684"/>
                  </a:lnTo>
                  <a:lnTo>
                    <a:pt x="1977" y="664"/>
                  </a:lnTo>
                  <a:lnTo>
                    <a:pt x="1943" y="642"/>
                  </a:lnTo>
                  <a:lnTo>
                    <a:pt x="1910" y="616"/>
                  </a:lnTo>
                  <a:lnTo>
                    <a:pt x="1910" y="616"/>
                  </a:lnTo>
                  <a:lnTo>
                    <a:pt x="1881" y="591"/>
                  </a:lnTo>
                  <a:lnTo>
                    <a:pt x="1855" y="563"/>
                  </a:lnTo>
                  <a:lnTo>
                    <a:pt x="1830" y="533"/>
                  </a:lnTo>
                  <a:lnTo>
                    <a:pt x="1809" y="503"/>
                  </a:lnTo>
                  <a:lnTo>
                    <a:pt x="1785" y="470"/>
                  </a:lnTo>
                  <a:lnTo>
                    <a:pt x="1766" y="439"/>
                  </a:lnTo>
                  <a:lnTo>
                    <a:pt x="1724" y="373"/>
                  </a:lnTo>
                  <a:lnTo>
                    <a:pt x="1685" y="305"/>
                  </a:lnTo>
                  <a:lnTo>
                    <a:pt x="1663" y="273"/>
                  </a:lnTo>
                  <a:lnTo>
                    <a:pt x="1642" y="242"/>
                  </a:lnTo>
                  <a:lnTo>
                    <a:pt x="1618" y="210"/>
                  </a:lnTo>
                  <a:lnTo>
                    <a:pt x="1594" y="181"/>
                  </a:lnTo>
                  <a:lnTo>
                    <a:pt x="1567" y="154"/>
                  </a:lnTo>
                  <a:lnTo>
                    <a:pt x="1539" y="128"/>
                  </a:lnTo>
                  <a:lnTo>
                    <a:pt x="1539" y="128"/>
                  </a:lnTo>
                  <a:lnTo>
                    <a:pt x="1522" y="114"/>
                  </a:lnTo>
                  <a:lnTo>
                    <a:pt x="1504" y="101"/>
                  </a:lnTo>
                  <a:lnTo>
                    <a:pt x="1468" y="78"/>
                  </a:lnTo>
                  <a:lnTo>
                    <a:pt x="1430" y="60"/>
                  </a:lnTo>
                  <a:lnTo>
                    <a:pt x="1390" y="43"/>
                  </a:lnTo>
                  <a:lnTo>
                    <a:pt x="1349" y="30"/>
                  </a:lnTo>
                  <a:lnTo>
                    <a:pt x="1306" y="20"/>
                  </a:lnTo>
                  <a:lnTo>
                    <a:pt x="1263" y="12"/>
                  </a:lnTo>
                  <a:lnTo>
                    <a:pt x="1220" y="5"/>
                  </a:lnTo>
                  <a:lnTo>
                    <a:pt x="1175" y="2"/>
                  </a:lnTo>
                  <a:lnTo>
                    <a:pt x="1130" y="0"/>
                  </a:lnTo>
                  <a:lnTo>
                    <a:pt x="1084" y="0"/>
                  </a:lnTo>
                  <a:lnTo>
                    <a:pt x="1039" y="2"/>
                  </a:lnTo>
                  <a:lnTo>
                    <a:pt x="995" y="5"/>
                  </a:lnTo>
                  <a:lnTo>
                    <a:pt x="948" y="10"/>
                  </a:lnTo>
                  <a:lnTo>
                    <a:pt x="861" y="20"/>
                  </a:lnTo>
                  <a:lnTo>
                    <a:pt x="861" y="20"/>
                  </a:lnTo>
                  <a:lnTo>
                    <a:pt x="708" y="42"/>
                  </a:lnTo>
                  <a:lnTo>
                    <a:pt x="556" y="66"/>
                  </a:lnTo>
                  <a:lnTo>
                    <a:pt x="404" y="93"/>
                  </a:lnTo>
                  <a:lnTo>
                    <a:pt x="253" y="124"/>
                  </a:lnTo>
                  <a:lnTo>
                    <a:pt x="253" y="124"/>
                  </a:lnTo>
                  <a:lnTo>
                    <a:pt x="197" y="134"/>
                  </a:lnTo>
                  <a:lnTo>
                    <a:pt x="134" y="144"/>
                  </a:lnTo>
                  <a:lnTo>
                    <a:pt x="68" y="156"/>
                  </a:lnTo>
                  <a:lnTo>
                    <a:pt x="0" y="167"/>
                  </a:lnTo>
                  <a:lnTo>
                    <a:pt x="0" y="2922"/>
                  </a:lnTo>
                  <a:lnTo>
                    <a:pt x="4131" y="2922"/>
                  </a:lnTo>
                  <a:lnTo>
                    <a:pt x="4131" y="2922"/>
                  </a:lnTo>
                  <a:lnTo>
                    <a:pt x="4166" y="2894"/>
                  </a:lnTo>
                  <a:lnTo>
                    <a:pt x="4201" y="2866"/>
                  </a:lnTo>
                  <a:lnTo>
                    <a:pt x="4201" y="2866"/>
                  </a:lnTo>
                  <a:lnTo>
                    <a:pt x="4247" y="2825"/>
                  </a:lnTo>
                  <a:lnTo>
                    <a:pt x="4294" y="2782"/>
                  </a:lnTo>
                  <a:lnTo>
                    <a:pt x="4337" y="2737"/>
                  </a:lnTo>
                  <a:lnTo>
                    <a:pt x="4357" y="2714"/>
                  </a:lnTo>
                  <a:lnTo>
                    <a:pt x="4376" y="2689"/>
                  </a:lnTo>
                  <a:lnTo>
                    <a:pt x="4396" y="2664"/>
                  </a:lnTo>
                  <a:lnTo>
                    <a:pt x="4414" y="2639"/>
                  </a:lnTo>
                  <a:lnTo>
                    <a:pt x="4431" y="2613"/>
                  </a:lnTo>
                  <a:lnTo>
                    <a:pt x="4446" y="2586"/>
                  </a:lnTo>
                  <a:lnTo>
                    <a:pt x="4461" y="2560"/>
                  </a:lnTo>
                  <a:lnTo>
                    <a:pt x="4474" y="2532"/>
                  </a:lnTo>
                  <a:lnTo>
                    <a:pt x="4487" y="2504"/>
                  </a:lnTo>
                  <a:lnTo>
                    <a:pt x="4497" y="2474"/>
                  </a:lnTo>
                  <a:lnTo>
                    <a:pt x="4497" y="2474"/>
                  </a:lnTo>
                  <a:lnTo>
                    <a:pt x="4505" y="2449"/>
                  </a:lnTo>
                  <a:lnTo>
                    <a:pt x="4510" y="2423"/>
                  </a:lnTo>
                  <a:lnTo>
                    <a:pt x="4515" y="2398"/>
                  </a:lnTo>
                  <a:lnTo>
                    <a:pt x="4520" y="2371"/>
                  </a:lnTo>
                  <a:lnTo>
                    <a:pt x="4522" y="2345"/>
                  </a:lnTo>
                  <a:lnTo>
                    <a:pt x="4522" y="2318"/>
                  </a:lnTo>
                  <a:lnTo>
                    <a:pt x="4522" y="2292"/>
                  </a:lnTo>
                  <a:lnTo>
                    <a:pt x="4520" y="2265"/>
                  </a:lnTo>
                  <a:lnTo>
                    <a:pt x="4519" y="2239"/>
                  </a:lnTo>
                  <a:lnTo>
                    <a:pt x="4514" y="2212"/>
                  </a:lnTo>
                  <a:lnTo>
                    <a:pt x="4509" y="2188"/>
                  </a:lnTo>
                  <a:lnTo>
                    <a:pt x="4504" y="2161"/>
                  </a:lnTo>
                  <a:lnTo>
                    <a:pt x="4495" y="2135"/>
                  </a:lnTo>
                  <a:lnTo>
                    <a:pt x="4487" y="2110"/>
                  </a:lnTo>
                  <a:lnTo>
                    <a:pt x="4477" y="2085"/>
                  </a:lnTo>
                  <a:lnTo>
                    <a:pt x="4467" y="2060"/>
                  </a:lnTo>
                  <a:lnTo>
                    <a:pt x="4456" y="2037"/>
                  </a:lnTo>
                  <a:lnTo>
                    <a:pt x="4443" y="2014"/>
                  </a:lnTo>
                  <a:lnTo>
                    <a:pt x="4429" y="1991"/>
                  </a:lnTo>
                  <a:lnTo>
                    <a:pt x="4414" y="1969"/>
                  </a:lnTo>
                  <a:lnTo>
                    <a:pt x="4400" y="1948"/>
                  </a:lnTo>
                  <a:lnTo>
                    <a:pt x="4383" y="1926"/>
                  </a:lnTo>
                  <a:lnTo>
                    <a:pt x="4365" y="1906"/>
                  </a:lnTo>
                  <a:lnTo>
                    <a:pt x="4347" y="1886"/>
                  </a:lnTo>
                  <a:lnTo>
                    <a:pt x="4328" y="1868"/>
                  </a:lnTo>
                  <a:lnTo>
                    <a:pt x="4309" y="1852"/>
                  </a:lnTo>
                  <a:lnTo>
                    <a:pt x="4287" y="1835"/>
                  </a:lnTo>
                  <a:lnTo>
                    <a:pt x="4266" y="1819"/>
                  </a:lnTo>
                  <a:lnTo>
                    <a:pt x="4244" y="1805"/>
                  </a:lnTo>
                  <a:lnTo>
                    <a:pt x="4221" y="1792"/>
                  </a:lnTo>
                  <a:lnTo>
                    <a:pt x="4198" y="1779"/>
                  </a:lnTo>
                  <a:lnTo>
                    <a:pt x="4173" y="1769"/>
                  </a:lnTo>
                  <a:close/>
                </a:path>
              </a:pathLst>
            </a:custGeom>
            <a:gradFill>
              <a:gsLst>
                <a:gs pos="0">
                  <a:schemeClr val="accent1">
                    <a:lumMod val="75000"/>
                  </a:schemeClr>
                </a:gs>
                <a:gs pos="100000">
                  <a:schemeClr val="accent2">
                    <a:lumMod val="75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118" name="Freeform 6"/>
            <p:cNvSpPr>
              <a:spLocks/>
            </p:cNvSpPr>
            <p:nvPr/>
          </p:nvSpPr>
          <p:spPr bwMode="auto">
            <a:xfrm>
              <a:off x="2359739" y="1069521"/>
              <a:ext cx="6571160" cy="4246114"/>
            </a:xfrm>
            <a:custGeom>
              <a:avLst/>
              <a:gdLst>
                <a:gd name="T0" fmla="*/ 4150 w 4522"/>
                <a:gd name="T1" fmla="*/ 1761 h 2922"/>
                <a:gd name="T2" fmla="*/ 4029 w 4522"/>
                <a:gd name="T3" fmla="*/ 1728 h 2922"/>
                <a:gd name="T4" fmla="*/ 3877 w 4522"/>
                <a:gd name="T5" fmla="*/ 1703 h 2922"/>
                <a:gd name="T6" fmla="*/ 3677 w 4522"/>
                <a:gd name="T7" fmla="*/ 1671 h 2922"/>
                <a:gd name="T8" fmla="*/ 3561 w 4522"/>
                <a:gd name="T9" fmla="*/ 1635 h 2922"/>
                <a:gd name="T10" fmla="*/ 3498 w 4522"/>
                <a:gd name="T11" fmla="*/ 1602 h 2922"/>
                <a:gd name="T12" fmla="*/ 3442 w 4522"/>
                <a:gd name="T13" fmla="*/ 1559 h 2922"/>
                <a:gd name="T14" fmla="*/ 3404 w 4522"/>
                <a:gd name="T15" fmla="*/ 1519 h 2922"/>
                <a:gd name="T16" fmla="*/ 3352 w 4522"/>
                <a:gd name="T17" fmla="*/ 1443 h 2922"/>
                <a:gd name="T18" fmla="*/ 3303 w 4522"/>
                <a:gd name="T19" fmla="*/ 1331 h 2922"/>
                <a:gd name="T20" fmla="*/ 3245 w 4522"/>
                <a:gd name="T21" fmla="*/ 1187 h 2922"/>
                <a:gd name="T22" fmla="*/ 3202 w 4522"/>
                <a:gd name="T23" fmla="*/ 1106 h 2922"/>
                <a:gd name="T24" fmla="*/ 3175 w 4522"/>
                <a:gd name="T25" fmla="*/ 1067 h 2922"/>
                <a:gd name="T26" fmla="*/ 3114 w 4522"/>
                <a:gd name="T27" fmla="*/ 1000 h 2922"/>
                <a:gd name="T28" fmla="*/ 3005 w 4522"/>
                <a:gd name="T29" fmla="*/ 919 h 2922"/>
                <a:gd name="T30" fmla="*/ 2877 w 4522"/>
                <a:gd name="T31" fmla="*/ 857 h 2922"/>
                <a:gd name="T32" fmla="*/ 2742 w 4522"/>
                <a:gd name="T33" fmla="*/ 816 h 2922"/>
                <a:gd name="T34" fmla="*/ 2601 w 4522"/>
                <a:gd name="T35" fmla="*/ 789 h 2922"/>
                <a:gd name="T36" fmla="*/ 2470 w 4522"/>
                <a:gd name="T37" fmla="*/ 776 h 2922"/>
                <a:gd name="T38" fmla="*/ 2255 w 4522"/>
                <a:gd name="T39" fmla="*/ 753 h 2922"/>
                <a:gd name="T40" fmla="*/ 2131 w 4522"/>
                <a:gd name="T41" fmla="*/ 727 h 2922"/>
                <a:gd name="T42" fmla="*/ 2014 w 4522"/>
                <a:gd name="T43" fmla="*/ 684 h 2922"/>
                <a:gd name="T44" fmla="*/ 1910 w 4522"/>
                <a:gd name="T45" fmla="*/ 616 h 2922"/>
                <a:gd name="T46" fmla="*/ 1855 w 4522"/>
                <a:gd name="T47" fmla="*/ 563 h 2922"/>
                <a:gd name="T48" fmla="*/ 1785 w 4522"/>
                <a:gd name="T49" fmla="*/ 470 h 2922"/>
                <a:gd name="T50" fmla="*/ 1685 w 4522"/>
                <a:gd name="T51" fmla="*/ 305 h 2922"/>
                <a:gd name="T52" fmla="*/ 1618 w 4522"/>
                <a:gd name="T53" fmla="*/ 210 h 2922"/>
                <a:gd name="T54" fmla="*/ 1539 w 4522"/>
                <a:gd name="T55" fmla="*/ 128 h 2922"/>
                <a:gd name="T56" fmla="*/ 1504 w 4522"/>
                <a:gd name="T57" fmla="*/ 101 h 2922"/>
                <a:gd name="T58" fmla="*/ 1390 w 4522"/>
                <a:gd name="T59" fmla="*/ 43 h 2922"/>
                <a:gd name="T60" fmla="*/ 1263 w 4522"/>
                <a:gd name="T61" fmla="*/ 12 h 2922"/>
                <a:gd name="T62" fmla="*/ 1130 w 4522"/>
                <a:gd name="T63" fmla="*/ 0 h 2922"/>
                <a:gd name="T64" fmla="*/ 995 w 4522"/>
                <a:gd name="T65" fmla="*/ 5 h 2922"/>
                <a:gd name="T66" fmla="*/ 861 w 4522"/>
                <a:gd name="T67" fmla="*/ 20 h 2922"/>
                <a:gd name="T68" fmla="*/ 404 w 4522"/>
                <a:gd name="T69" fmla="*/ 93 h 2922"/>
                <a:gd name="T70" fmla="*/ 197 w 4522"/>
                <a:gd name="T71" fmla="*/ 134 h 2922"/>
                <a:gd name="T72" fmla="*/ 0 w 4522"/>
                <a:gd name="T73" fmla="*/ 167 h 2922"/>
                <a:gd name="T74" fmla="*/ 4131 w 4522"/>
                <a:gd name="T75" fmla="*/ 2922 h 2922"/>
                <a:gd name="T76" fmla="*/ 4201 w 4522"/>
                <a:gd name="T77" fmla="*/ 2866 h 2922"/>
                <a:gd name="T78" fmla="*/ 4337 w 4522"/>
                <a:gd name="T79" fmla="*/ 2737 h 2922"/>
                <a:gd name="T80" fmla="*/ 4396 w 4522"/>
                <a:gd name="T81" fmla="*/ 2664 h 2922"/>
                <a:gd name="T82" fmla="*/ 4446 w 4522"/>
                <a:gd name="T83" fmla="*/ 2586 h 2922"/>
                <a:gd name="T84" fmla="*/ 4487 w 4522"/>
                <a:gd name="T85" fmla="*/ 2504 h 2922"/>
                <a:gd name="T86" fmla="*/ 4505 w 4522"/>
                <a:gd name="T87" fmla="*/ 2449 h 2922"/>
                <a:gd name="T88" fmla="*/ 4520 w 4522"/>
                <a:gd name="T89" fmla="*/ 2371 h 2922"/>
                <a:gd name="T90" fmla="*/ 4522 w 4522"/>
                <a:gd name="T91" fmla="*/ 2292 h 2922"/>
                <a:gd name="T92" fmla="*/ 4514 w 4522"/>
                <a:gd name="T93" fmla="*/ 2212 h 2922"/>
                <a:gd name="T94" fmla="*/ 4495 w 4522"/>
                <a:gd name="T95" fmla="*/ 2135 h 2922"/>
                <a:gd name="T96" fmla="*/ 4467 w 4522"/>
                <a:gd name="T97" fmla="*/ 2060 h 2922"/>
                <a:gd name="T98" fmla="*/ 4429 w 4522"/>
                <a:gd name="T99" fmla="*/ 1991 h 2922"/>
                <a:gd name="T100" fmla="*/ 4383 w 4522"/>
                <a:gd name="T101" fmla="*/ 1926 h 2922"/>
                <a:gd name="T102" fmla="*/ 4328 w 4522"/>
                <a:gd name="T103" fmla="*/ 1868 h 2922"/>
                <a:gd name="T104" fmla="*/ 4266 w 4522"/>
                <a:gd name="T105" fmla="*/ 1819 h 2922"/>
                <a:gd name="T106" fmla="*/ 4198 w 4522"/>
                <a:gd name="T107" fmla="*/ 1779 h 2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22" h="2922">
                  <a:moveTo>
                    <a:pt x="4173" y="1769"/>
                  </a:moveTo>
                  <a:lnTo>
                    <a:pt x="4173" y="1769"/>
                  </a:lnTo>
                  <a:lnTo>
                    <a:pt x="4150" y="1761"/>
                  </a:lnTo>
                  <a:lnTo>
                    <a:pt x="4127" y="1752"/>
                  </a:lnTo>
                  <a:lnTo>
                    <a:pt x="4077" y="1738"/>
                  </a:lnTo>
                  <a:lnTo>
                    <a:pt x="4029" y="1728"/>
                  </a:lnTo>
                  <a:lnTo>
                    <a:pt x="3978" y="1718"/>
                  </a:lnTo>
                  <a:lnTo>
                    <a:pt x="3926" y="1709"/>
                  </a:lnTo>
                  <a:lnTo>
                    <a:pt x="3877" y="1703"/>
                  </a:lnTo>
                  <a:lnTo>
                    <a:pt x="3774" y="1690"/>
                  </a:lnTo>
                  <a:lnTo>
                    <a:pt x="3724" y="1681"/>
                  </a:lnTo>
                  <a:lnTo>
                    <a:pt x="3677" y="1671"/>
                  </a:lnTo>
                  <a:lnTo>
                    <a:pt x="3629" y="1658"/>
                  </a:lnTo>
                  <a:lnTo>
                    <a:pt x="3584" y="1643"/>
                  </a:lnTo>
                  <a:lnTo>
                    <a:pt x="3561" y="1635"/>
                  </a:lnTo>
                  <a:lnTo>
                    <a:pt x="3539" y="1625"/>
                  </a:lnTo>
                  <a:lnTo>
                    <a:pt x="3519" y="1613"/>
                  </a:lnTo>
                  <a:lnTo>
                    <a:pt x="3498" y="1602"/>
                  </a:lnTo>
                  <a:lnTo>
                    <a:pt x="3478" y="1589"/>
                  </a:lnTo>
                  <a:lnTo>
                    <a:pt x="3460" y="1575"/>
                  </a:lnTo>
                  <a:lnTo>
                    <a:pt x="3442" y="1559"/>
                  </a:lnTo>
                  <a:lnTo>
                    <a:pt x="3423" y="1542"/>
                  </a:lnTo>
                  <a:lnTo>
                    <a:pt x="3423" y="1542"/>
                  </a:lnTo>
                  <a:lnTo>
                    <a:pt x="3404" y="1519"/>
                  </a:lnTo>
                  <a:lnTo>
                    <a:pt x="3385" y="1494"/>
                  </a:lnTo>
                  <a:lnTo>
                    <a:pt x="3369" y="1469"/>
                  </a:lnTo>
                  <a:lnTo>
                    <a:pt x="3352" y="1443"/>
                  </a:lnTo>
                  <a:lnTo>
                    <a:pt x="3339" y="1417"/>
                  </a:lnTo>
                  <a:lnTo>
                    <a:pt x="3326" y="1388"/>
                  </a:lnTo>
                  <a:lnTo>
                    <a:pt x="3303" y="1331"/>
                  </a:lnTo>
                  <a:lnTo>
                    <a:pt x="3281" y="1273"/>
                  </a:lnTo>
                  <a:lnTo>
                    <a:pt x="3258" y="1215"/>
                  </a:lnTo>
                  <a:lnTo>
                    <a:pt x="3245" y="1187"/>
                  </a:lnTo>
                  <a:lnTo>
                    <a:pt x="3231" y="1158"/>
                  </a:lnTo>
                  <a:lnTo>
                    <a:pt x="3218" y="1132"/>
                  </a:lnTo>
                  <a:lnTo>
                    <a:pt x="3202" y="1106"/>
                  </a:lnTo>
                  <a:lnTo>
                    <a:pt x="3202" y="1106"/>
                  </a:lnTo>
                  <a:lnTo>
                    <a:pt x="3188" y="1086"/>
                  </a:lnTo>
                  <a:lnTo>
                    <a:pt x="3175" y="1067"/>
                  </a:lnTo>
                  <a:lnTo>
                    <a:pt x="3160" y="1049"/>
                  </a:lnTo>
                  <a:lnTo>
                    <a:pt x="3145" y="1033"/>
                  </a:lnTo>
                  <a:lnTo>
                    <a:pt x="3114" y="1000"/>
                  </a:lnTo>
                  <a:lnTo>
                    <a:pt x="3079" y="970"/>
                  </a:lnTo>
                  <a:lnTo>
                    <a:pt x="3043" y="943"/>
                  </a:lnTo>
                  <a:lnTo>
                    <a:pt x="3005" y="919"/>
                  </a:lnTo>
                  <a:lnTo>
                    <a:pt x="2963" y="895"/>
                  </a:lnTo>
                  <a:lnTo>
                    <a:pt x="2922" y="876"/>
                  </a:lnTo>
                  <a:lnTo>
                    <a:pt x="2877" y="857"/>
                  </a:lnTo>
                  <a:lnTo>
                    <a:pt x="2833" y="842"/>
                  </a:lnTo>
                  <a:lnTo>
                    <a:pt x="2788" y="828"/>
                  </a:lnTo>
                  <a:lnTo>
                    <a:pt x="2742" y="816"/>
                  </a:lnTo>
                  <a:lnTo>
                    <a:pt x="2695" y="806"/>
                  </a:lnTo>
                  <a:lnTo>
                    <a:pt x="2649" y="798"/>
                  </a:lnTo>
                  <a:lnTo>
                    <a:pt x="2601" y="789"/>
                  </a:lnTo>
                  <a:lnTo>
                    <a:pt x="2555" y="785"/>
                  </a:lnTo>
                  <a:lnTo>
                    <a:pt x="2555" y="785"/>
                  </a:lnTo>
                  <a:lnTo>
                    <a:pt x="2470" y="776"/>
                  </a:lnTo>
                  <a:lnTo>
                    <a:pt x="2384" y="768"/>
                  </a:lnTo>
                  <a:lnTo>
                    <a:pt x="2298" y="758"/>
                  </a:lnTo>
                  <a:lnTo>
                    <a:pt x="2255" y="753"/>
                  </a:lnTo>
                  <a:lnTo>
                    <a:pt x="2212" y="746"/>
                  </a:lnTo>
                  <a:lnTo>
                    <a:pt x="2171" y="737"/>
                  </a:lnTo>
                  <a:lnTo>
                    <a:pt x="2131" y="727"/>
                  </a:lnTo>
                  <a:lnTo>
                    <a:pt x="2092" y="715"/>
                  </a:lnTo>
                  <a:lnTo>
                    <a:pt x="2052" y="700"/>
                  </a:lnTo>
                  <a:lnTo>
                    <a:pt x="2014" y="684"/>
                  </a:lnTo>
                  <a:lnTo>
                    <a:pt x="1977" y="664"/>
                  </a:lnTo>
                  <a:lnTo>
                    <a:pt x="1943" y="642"/>
                  </a:lnTo>
                  <a:lnTo>
                    <a:pt x="1910" y="616"/>
                  </a:lnTo>
                  <a:lnTo>
                    <a:pt x="1910" y="616"/>
                  </a:lnTo>
                  <a:lnTo>
                    <a:pt x="1881" y="591"/>
                  </a:lnTo>
                  <a:lnTo>
                    <a:pt x="1855" y="563"/>
                  </a:lnTo>
                  <a:lnTo>
                    <a:pt x="1830" y="533"/>
                  </a:lnTo>
                  <a:lnTo>
                    <a:pt x="1809" y="503"/>
                  </a:lnTo>
                  <a:lnTo>
                    <a:pt x="1785" y="470"/>
                  </a:lnTo>
                  <a:lnTo>
                    <a:pt x="1766" y="439"/>
                  </a:lnTo>
                  <a:lnTo>
                    <a:pt x="1724" y="373"/>
                  </a:lnTo>
                  <a:lnTo>
                    <a:pt x="1685" y="305"/>
                  </a:lnTo>
                  <a:lnTo>
                    <a:pt x="1663" y="273"/>
                  </a:lnTo>
                  <a:lnTo>
                    <a:pt x="1642" y="242"/>
                  </a:lnTo>
                  <a:lnTo>
                    <a:pt x="1618" y="210"/>
                  </a:lnTo>
                  <a:lnTo>
                    <a:pt x="1594" y="181"/>
                  </a:lnTo>
                  <a:lnTo>
                    <a:pt x="1567" y="154"/>
                  </a:lnTo>
                  <a:lnTo>
                    <a:pt x="1539" y="128"/>
                  </a:lnTo>
                  <a:lnTo>
                    <a:pt x="1539" y="128"/>
                  </a:lnTo>
                  <a:lnTo>
                    <a:pt x="1522" y="114"/>
                  </a:lnTo>
                  <a:lnTo>
                    <a:pt x="1504" y="101"/>
                  </a:lnTo>
                  <a:lnTo>
                    <a:pt x="1468" y="78"/>
                  </a:lnTo>
                  <a:lnTo>
                    <a:pt x="1430" y="60"/>
                  </a:lnTo>
                  <a:lnTo>
                    <a:pt x="1390" y="43"/>
                  </a:lnTo>
                  <a:lnTo>
                    <a:pt x="1349" y="30"/>
                  </a:lnTo>
                  <a:lnTo>
                    <a:pt x="1306" y="20"/>
                  </a:lnTo>
                  <a:lnTo>
                    <a:pt x="1263" y="12"/>
                  </a:lnTo>
                  <a:lnTo>
                    <a:pt x="1220" y="5"/>
                  </a:lnTo>
                  <a:lnTo>
                    <a:pt x="1175" y="2"/>
                  </a:lnTo>
                  <a:lnTo>
                    <a:pt x="1130" y="0"/>
                  </a:lnTo>
                  <a:lnTo>
                    <a:pt x="1084" y="0"/>
                  </a:lnTo>
                  <a:lnTo>
                    <a:pt x="1039" y="2"/>
                  </a:lnTo>
                  <a:lnTo>
                    <a:pt x="995" y="5"/>
                  </a:lnTo>
                  <a:lnTo>
                    <a:pt x="948" y="10"/>
                  </a:lnTo>
                  <a:lnTo>
                    <a:pt x="861" y="20"/>
                  </a:lnTo>
                  <a:lnTo>
                    <a:pt x="861" y="20"/>
                  </a:lnTo>
                  <a:lnTo>
                    <a:pt x="708" y="42"/>
                  </a:lnTo>
                  <a:lnTo>
                    <a:pt x="556" y="66"/>
                  </a:lnTo>
                  <a:lnTo>
                    <a:pt x="404" y="93"/>
                  </a:lnTo>
                  <a:lnTo>
                    <a:pt x="253" y="124"/>
                  </a:lnTo>
                  <a:lnTo>
                    <a:pt x="253" y="124"/>
                  </a:lnTo>
                  <a:lnTo>
                    <a:pt x="197" y="134"/>
                  </a:lnTo>
                  <a:lnTo>
                    <a:pt x="134" y="144"/>
                  </a:lnTo>
                  <a:lnTo>
                    <a:pt x="68" y="156"/>
                  </a:lnTo>
                  <a:lnTo>
                    <a:pt x="0" y="167"/>
                  </a:lnTo>
                  <a:lnTo>
                    <a:pt x="0" y="2922"/>
                  </a:lnTo>
                  <a:lnTo>
                    <a:pt x="4131" y="2922"/>
                  </a:lnTo>
                  <a:lnTo>
                    <a:pt x="4131" y="2922"/>
                  </a:lnTo>
                  <a:lnTo>
                    <a:pt x="4166" y="2894"/>
                  </a:lnTo>
                  <a:lnTo>
                    <a:pt x="4201" y="2866"/>
                  </a:lnTo>
                  <a:lnTo>
                    <a:pt x="4201" y="2866"/>
                  </a:lnTo>
                  <a:lnTo>
                    <a:pt x="4247" y="2825"/>
                  </a:lnTo>
                  <a:lnTo>
                    <a:pt x="4294" y="2782"/>
                  </a:lnTo>
                  <a:lnTo>
                    <a:pt x="4337" y="2737"/>
                  </a:lnTo>
                  <a:lnTo>
                    <a:pt x="4357" y="2714"/>
                  </a:lnTo>
                  <a:lnTo>
                    <a:pt x="4376" y="2689"/>
                  </a:lnTo>
                  <a:lnTo>
                    <a:pt x="4396" y="2664"/>
                  </a:lnTo>
                  <a:lnTo>
                    <a:pt x="4414" y="2639"/>
                  </a:lnTo>
                  <a:lnTo>
                    <a:pt x="4431" y="2613"/>
                  </a:lnTo>
                  <a:lnTo>
                    <a:pt x="4446" y="2586"/>
                  </a:lnTo>
                  <a:lnTo>
                    <a:pt x="4461" y="2560"/>
                  </a:lnTo>
                  <a:lnTo>
                    <a:pt x="4474" y="2532"/>
                  </a:lnTo>
                  <a:lnTo>
                    <a:pt x="4487" y="2504"/>
                  </a:lnTo>
                  <a:lnTo>
                    <a:pt x="4497" y="2474"/>
                  </a:lnTo>
                  <a:lnTo>
                    <a:pt x="4497" y="2474"/>
                  </a:lnTo>
                  <a:lnTo>
                    <a:pt x="4505" y="2449"/>
                  </a:lnTo>
                  <a:lnTo>
                    <a:pt x="4510" y="2423"/>
                  </a:lnTo>
                  <a:lnTo>
                    <a:pt x="4515" y="2398"/>
                  </a:lnTo>
                  <a:lnTo>
                    <a:pt x="4520" y="2371"/>
                  </a:lnTo>
                  <a:lnTo>
                    <a:pt x="4522" y="2345"/>
                  </a:lnTo>
                  <a:lnTo>
                    <a:pt x="4522" y="2318"/>
                  </a:lnTo>
                  <a:lnTo>
                    <a:pt x="4522" y="2292"/>
                  </a:lnTo>
                  <a:lnTo>
                    <a:pt x="4520" y="2265"/>
                  </a:lnTo>
                  <a:lnTo>
                    <a:pt x="4519" y="2239"/>
                  </a:lnTo>
                  <a:lnTo>
                    <a:pt x="4514" y="2212"/>
                  </a:lnTo>
                  <a:lnTo>
                    <a:pt x="4509" y="2188"/>
                  </a:lnTo>
                  <a:lnTo>
                    <a:pt x="4504" y="2161"/>
                  </a:lnTo>
                  <a:lnTo>
                    <a:pt x="4495" y="2135"/>
                  </a:lnTo>
                  <a:lnTo>
                    <a:pt x="4487" y="2110"/>
                  </a:lnTo>
                  <a:lnTo>
                    <a:pt x="4477" y="2085"/>
                  </a:lnTo>
                  <a:lnTo>
                    <a:pt x="4467" y="2060"/>
                  </a:lnTo>
                  <a:lnTo>
                    <a:pt x="4456" y="2037"/>
                  </a:lnTo>
                  <a:lnTo>
                    <a:pt x="4443" y="2014"/>
                  </a:lnTo>
                  <a:lnTo>
                    <a:pt x="4429" y="1991"/>
                  </a:lnTo>
                  <a:lnTo>
                    <a:pt x="4414" y="1969"/>
                  </a:lnTo>
                  <a:lnTo>
                    <a:pt x="4400" y="1948"/>
                  </a:lnTo>
                  <a:lnTo>
                    <a:pt x="4383" y="1926"/>
                  </a:lnTo>
                  <a:lnTo>
                    <a:pt x="4365" y="1906"/>
                  </a:lnTo>
                  <a:lnTo>
                    <a:pt x="4347" y="1886"/>
                  </a:lnTo>
                  <a:lnTo>
                    <a:pt x="4328" y="1868"/>
                  </a:lnTo>
                  <a:lnTo>
                    <a:pt x="4309" y="1852"/>
                  </a:lnTo>
                  <a:lnTo>
                    <a:pt x="4287" y="1835"/>
                  </a:lnTo>
                  <a:lnTo>
                    <a:pt x="4266" y="1819"/>
                  </a:lnTo>
                  <a:lnTo>
                    <a:pt x="4244" y="1805"/>
                  </a:lnTo>
                  <a:lnTo>
                    <a:pt x="4221" y="1792"/>
                  </a:lnTo>
                  <a:lnTo>
                    <a:pt x="4198" y="1779"/>
                  </a:lnTo>
                  <a:lnTo>
                    <a:pt x="4173" y="17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7"/>
            <p:cNvSpPr>
              <a:spLocks/>
            </p:cNvSpPr>
            <p:nvPr/>
          </p:nvSpPr>
          <p:spPr bwMode="auto">
            <a:xfrm>
              <a:off x="900773" y="999770"/>
              <a:ext cx="7768559" cy="4918925"/>
            </a:xfrm>
            <a:custGeom>
              <a:avLst/>
              <a:gdLst>
                <a:gd name="T0" fmla="*/ 1863 w 5346"/>
                <a:gd name="T1" fmla="*/ 4 h 3385"/>
                <a:gd name="T2" fmla="*/ 2086 w 5346"/>
                <a:gd name="T3" fmla="*/ 12 h 3385"/>
                <a:gd name="T4" fmla="*/ 2290 w 5346"/>
                <a:gd name="T5" fmla="*/ 78 h 3385"/>
                <a:gd name="T6" fmla="*/ 2391 w 5346"/>
                <a:gd name="T7" fmla="*/ 154 h 3385"/>
                <a:gd name="T8" fmla="*/ 2508 w 5346"/>
                <a:gd name="T9" fmla="*/ 305 h 3385"/>
                <a:gd name="T10" fmla="*/ 2654 w 5346"/>
                <a:gd name="T11" fmla="*/ 533 h 3385"/>
                <a:gd name="T12" fmla="*/ 2766 w 5346"/>
                <a:gd name="T13" fmla="*/ 642 h 3385"/>
                <a:gd name="T14" fmla="*/ 2953 w 5346"/>
                <a:gd name="T15" fmla="*/ 727 h 3385"/>
                <a:gd name="T16" fmla="*/ 3206 w 5346"/>
                <a:gd name="T17" fmla="*/ 768 h 3385"/>
                <a:gd name="T18" fmla="*/ 3471 w 5346"/>
                <a:gd name="T19" fmla="*/ 798 h 3385"/>
                <a:gd name="T20" fmla="*/ 3701 w 5346"/>
                <a:gd name="T21" fmla="*/ 857 h 3385"/>
                <a:gd name="T22" fmla="*/ 3903 w 5346"/>
                <a:gd name="T23" fmla="*/ 970 h 3385"/>
                <a:gd name="T24" fmla="*/ 4012 w 5346"/>
                <a:gd name="T25" fmla="*/ 1086 h 3385"/>
                <a:gd name="T26" fmla="*/ 4068 w 5346"/>
                <a:gd name="T27" fmla="*/ 1187 h 3385"/>
                <a:gd name="T28" fmla="*/ 4163 w 5346"/>
                <a:gd name="T29" fmla="*/ 1417 h 3385"/>
                <a:gd name="T30" fmla="*/ 4247 w 5346"/>
                <a:gd name="T31" fmla="*/ 1542 h 3385"/>
                <a:gd name="T32" fmla="*/ 4321 w 5346"/>
                <a:gd name="T33" fmla="*/ 1602 h 3385"/>
                <a:gd name="T34" fmla="*/ 4452 w 5346"/>
                <a:gd name="T35" fmla="*/ 1658 h 3385"/>
                <a:gd name="T36" fmla="*/ 4750 w 5346"/>
                <a:gd name="T37" fmla="*/ 1709 h 3385"/>
                <a:gd name="T38" fmla="*/ 4972 w 5346"/>
                <a:gd name="T39" fmla="*/ 1761 h 3385"/>
                <a:gd name="T40" fmla="*/ 5066 w 5346"/>
                <a:gd name="T41" fmla="*/ 1805 h 3385"/>
                <a:gd name="T42" fmla="*/ 5170 w 5346"/>
                <a:gd name="T43" fmla="*/ 1886 h 3385"/>
                <a:gd name="T44" fmla="*/ 5253 w 5346"/>
                <a:gd name="T45" fmla="*/ 1991 h 3385"/>
                <a:gd name="T46" fmla="*/ 5311 w 5346"/>
                <a:gd name="T47" fmla="*/ 2110 h 3385"/>
                <a:gd name="T48" fmla="*/ 5341 w 5346"/>
                <a:gd name="T49" fmla="*/ 2239 h 3385"/>
                <a:gd name="T50" fmla="*/ 5342 w 5346"/>
                <a:gd name="T51" fmla="*/ 2371 h 3385"/>
                <a:gd name="T52" fmla="*/ 5321 w 5346"/>
                <a:gd name="T53" fmla="*/ 2474 h 3385"/>
                <a:gd name="T54" fmla="*/ 5253 w 5346"/>
                <a:gd name="T55" fmla="*/ 2613 h 3385"/>
                <a:gd name="T56" fmla="*/ 5159 w 5346"/>
                <a:gd name="T57" fmla="*/ 2737 h 3385"/>
                <a:gd name="T58" fmla="*/ 4977 w 5346"/>
                <a:gd name="T59" fmla="*/ 2904 h 3385"/>
                <a:gd name="T60" fmla="*/ 4722 w 5346"/>
                <a:gd name="T61" fmla="*/ 3078 h 3385"/>
                <a:gd name="T62" fmla="*/ 4444 w 5346"/>
                <a:gd name="T63" fmla="*/ 3213 h 3385"/>
                <a:gd name="T64" fmla="*/ 4151 w 5346"/>
                <a:gd name="T65" fmla="*/ 3308 h 3385"/>
                <a:gd name="T66" fmla="*/ 3847 w 5346"/>
                <a:gd name="T67" fmla="*/ 3361 h 3385"/>
                <a:gd name="T68" fmla="*/ 3460 w 5346"/>
                <a:gd name="T69" fmla="*/ 3384 h 3385"/>
                <a:gd name="T70" fmla="*/ 2725 w 5346"/>
                <a:gd name="T71" fmla="*/ 3376 h 3385"/>
                <a:gd name="T72" fmla="*/ 1970 w 5346"/>
                <a:gd name="T73" fmla="*/ 3357 h 3385"/>
                <a:gd name="T74" fmla="*/ 1502 w 5346"/>
                <a:gd name="T75" fmla="*/ 3308 h 3385"/>
                <a:gd name="T76" fmla="*/ 1173 w 5346"/>
                <a:gd name="T77" fmla="*/ 3235 h 3385"/>
                <a:gd name="T78" fmla="*/ 946 w 5346"/>
                <a:gd name="T79" fmla="*/ 3154 h 3385"/>
                <a:gd name="T80" fmla="*/ 736 w 5346"/>
                <a:gd name="T81" fmla="*/ 3040 h 3385"/>
                <a:gd name="T82" fmla="*/ 551 w 5346"/>
                <a:gd name="T83" fmla="*/ 2886 h 3385"/>
                <a:gd name="T84" fmla="*/ 352 w 5346"/>
                <a:gd name="T85" fmla="*/ 2636 h 3385"/>
                <a:gd name="T86" fmla="*/ 192 w 5346"/>
                <a:gd name="T87" fmla="*/ 2353 h 3385"/>
                <a:gd name="T88" fmla="*/ 68 w 5346"/>
                <a:gd name="T89" fmla="*/ 2082 h 3385"/>
                <a:gd name="T90" fmla="*/ 5 w 5346"/>
                <a:gd name="T91" fmla="*/ 1860 h 3385"/>
                <a:gd name="T92" fmla="*/ 0 w 5346"/>
                <a:gd name="T93" fmla="*/ 1761 h 3385"/>
                <a:gd name="T94" fmla="*/ 48 w 5346"/>
                <a:gd name="T95" fmla="*/ 1562 h 3385"/>
                <a:gd name="T96" fmla="*/ 154 w 5346"/>
                <a:gd name="T97" fmla="*/ 1355 h 3385"/>
                <a:gd name="T98" fmla="*/ 299 w 5346"/>
                <a:gd name="T99" fmla="*/ 1112 h 3385"/>
                <a:gd name="T100" fmla="*/ 425 w 5346"/>
                <a:gd name="T101" fmla="*/ 796 h 3385"/>
                <a:gd name="T102" fmla="*/ 467 w 5346"/>
                <a:gd name="T103" fmla="*/ 555 h 3385"/>
                <a:gd name="T104" fmla="*/ 476 w 5346"/>
                <a:gd name="T105" fmla="*/ 376 h 3385"/>
                <a:gd name="T106" fmla="*/ 523 w 5346"/>
                <a:gd name="T107" fmla="*/ 282 h 3385"/>
                <a:gd name="T108" fmla="*/ 622 w 5346"/>
                <a:gd name="T109" fmla="*/ 222 h 3385"/>
                <a:gd name="T110" fmla="*/ 797 w 5346"/>
                <a:gd name="T111" fmla="*/ 172 h 3385"/>
                <a:gd name="T112" fmla="*/ 1075 w 5346"/>
                <a:gd name="T113" fmla="*/ 124 h 3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46" h="3385">
                  <a:moveTo>
                    <a:pt x="1683" y="20"/>
                  </a:moveTo>
                  <a:lnTo>
                    <a:pt x="1683" y="20"/>
                  </a:lnTo>
                  <a:lnTo>
                    <a:pt x="1772" y="10"/>
                  </a:lnTo>
                  <a:lnTo>
                    <a:pt x="1817" y="5"/>
                  </a:lnTo>
                  <a:lnTo>
                    <a:pt x="1863" y="4"/>
                  </a:lnTo>
                  <a:lnTo>
                    <a:pt x="1908" y="2"/>
                  </a:lnTo>
                  <a:lnTo>
                    <a:pt x="1952" y="0"/>
                  </a:lnTo>
                  <a:lnTo>
                    <a:pt x="1999" y="2"/>
                  </a:lnTo>
                  <a:lnTo>
                    <a:pt x="2042" y="5"/>
                  </a:lnTo>
                  <a:lnTo>
                    <a:pt x="2086" y="12"/>
                  </a:lnTo>
                  <a:lnTo>
                    <a:pt x="2129" y="20"/>
                  </a:lnTo>
                  <a:lnTo>
                    <a:pt x="2171" y="30"/>
                  </a:lnTo>
                  <a:lnTo>
                    <a:pt x="2212" y="43"/>
                  </a:lnTo>
                  <a:lnTo>
                    <a:pt x="2252" y="60"/>
                  </a:lnTo>
                  <a:lnTo>
                    <a:pt x="2290" y="78"/>
                  </a:lnTo>
                  <a:lnTo>
                    <a:pt x="2328" y="101"/>
                  </a:lnTo>
                  <a:lnTo>
                    <a:pt x="2344" y="114"/>
                  </a:lnTo>
                  <a:lnTo>
                    <a:pt x="2363" y="128"/>
                  </a:lnTo>
                  <a:lnTo>
                    <a:pt x="2363" y="128"/>
                  </a:lnTo>
                  <a:lnTo>
                    <a:pt x="2391" y="154"/>
                  </a:lnTo>
                  <a:lnTo>
                    <a:pt x="2417" y="181"/>
                  </a:lnTo>
                  <a:lnTo>
                    <a:pt x="2442" y="210"/>
                  </a:lnTo>
                  <a:lnTo>
                    <a:pt x="2465" y="242"/>
                  </a:lnTo>
                  <a:lnTo>
                    <a:pt x="2487" y="273"/>
                  </a:lnTo>
                  <a:lnTo>
                    <a:pt x="2508" y="305"/>
                  </a:lnTo>
                  <a:lnTo>
                    <a:pt x="2548" y="373"/>
                  </a:lnTo>
                  <a:lnTo>
                    <a:pt x="2588" y="439"/>
                  </a:lnTo>
                  <a:lnTo>
                    <a:pt x="2609" y="472"/>
                  </a:lnTo>
                  <a:lnTo>
                    <a:pt x="2631" y="503"/>
                  </a:lnTo>
                  <a:lnTo>
                    <a:pt x="2654" y="533"/>
                  </a:lnTo>
                  <a:lnTo>
                    <a:pt x="2679" y="563"/>
                  </a:lnTo>
                  <a:lnTo>
                    <a:pt x="2705" y="591"/>
                  </a:lnTo>
                  <a:lnTo>
                    <a:pt x="2733" y="616"/>
                  </a:lnTo>
                  <a:lnTo>
                    <a:pt x="2733" y="616"/>
                  </a:lnTo>
                  <a:lnTo>
                    <a:pt x="2766" y="642"/>
                  </a:lnTo>
                  <a:lnTo>
                    <a:pt x="2801" y="664"/>
                  </a:lnTo>
                  <a:lnTo>
                    <a:pt x="2837" y="684"/>
                  </a:lnTo>
                  <a:lnTo>
                    <a:pt x="2875" y="700"/>
                  </a:lnTo>
                  <a:lnTo>
                    <a:pt x="2914" y="715"/>
                  </a:lnTo>
                  <a:lnTo>
                    <a:pt x="2953" y="727"/>
                  </a:lnTo>
                  <a:lnTo>
                    <a:pt x="2995" y="737"/>
                  </a:lnTo>
                  <a:lnTo>
                    <a:pt x="3036" y="746"/>
                  </a:lnTo>
                  <a:lnTo>
                    <a:pt x="3079" y="753"/>
                  </a:lnTo>
                  <a:lnTo>
                    <a:pt x="3120" y="758"/>
                  </a:lnTo>
                  <a:lnTo>
                    <a:pt x="3206" y="768"/>
                  </a:lnTo>
                  <a:lnTo>
                    <a:pt x="3292" y="776"/>
                  </a:lnTo>
                  <a:lnTo>
                    <a:pt x="3378" y="785"/>
                  </a:lnTo>
                  <a:lnTo>
                    <a:pt x="3378" y="785"/>
                  </a:lnTo>
                  <a:lnTo>
                    <a:pt x="3425" y="790"/>
                  </a:lnTo>
                  <a:lnTo>
                    <a:pt x="3471" y="798"/>
                  </a:lnTo>
                  <a:lnTo>
                    <a:pt x="3519" y="806"/>
                  </a:lnTo>
                  <a:lnTo>
                    <a:pt x="3565" y="816"/>
                  </a:lnTo>
                  <a:lnTo>
                    <a:pt x="3612" y="828"/>
                  </a:lnTo>
                  <a:lnTo>
                    <a:pt x="3656" y="842"/>
                  </a:lnTo>
                  <a:lnTo>
                    <a:pt x="3701" y="857"/>
                  </a:lnTo>
                  <a:lnTo>
                    <a:pt x="3744" y="876"/>
                  </a:lnTo>
                  <a:lnTo>
                    <a:pt x="3787" y="895"/>
                  </a:lnTo>
                  <a:lnTo>
                    <a:pt x="3827" y="919"/>
                  </a:lnTo>
                  <a:lnTo>
                    <a:pt x="3867" y="943"/>
                  </a:lnTo>
                  <a:lnTo>
                    <a:pt x="3903" y="970"/>
                  </a:lnTo>
                  <a:lnTo>
                    <a:pt x="3938" y="1000"/>
                  </a:lnTo>
                  <a:lnTo>
                    <a:pt x="3969" y="1033"/>
                  </a:lnTo>
                  <a:lnTo>
                    <a:pt x="3984" y="1049"/>
                  </a:lnTo>
                  <a:lnTo>
                    <a:pt x="3999" y="1067"/>
                  </a:lnTo>
                  <a:lnTo>
                    <a:pt x="4012" y="1086"/>
                  </a:lnTo>
                  <a:lnTo>
                    <a:pt x="4025" y="1106"/>
                  </a:lnTo>
                  <a:lnTo>
                    <a:pt x="4025" y="1106"/>
                  </a:lnTo>
                  <a:lnTo>
                    <a:pt x="4040" y="1132"/>
                  </a:lnTo>
                  <a:lnTo>
                    <a:pt x="4055" y="1158"/>
                  </a:lnTo>
                  <a:lnTo>
                    <a:pt x="4068" y="1187"/>
                  </a:lnTo>
                  <a:lnTo>
                    <a:pt x="4080" y="1215"/>
                  </a:lnTo>
                  <a:lnTo>
                    <a:pt x="4103" y="1273"/>
                  </a:lnTo>
                  <a:lnTo>
                    <a:pt x="4126" y="1331"/>
                  </a:lnTo>
                  <a:lnTo>
                    <a:pt x="4149" y="1388"/>
                  </a:lnTo>
                  <a:lnTo>
                    <a:pt x="4163" y="1417"/>
                  </a:lnTo>
                  <a:lnTo>
                    <a:pt x="4176" y="1443"/>
                  </a:lnTo>
                  <a:lnTo>
                    <a:pt x="4191" y="1470"/>
                  </a:lnTo>
                  <a:lnTo>
                    <a:pt x="4207" y="1494"/>
                  </a:lnTo>
                  <a:lnTo>
                    <a:pt x="4226" y="1519"/>
                  </a:lnTo>
                  <a:lnTo>
                    <a:pt x="4247" y="1542"/>
                  </a:lnTo>
                  <a:lnTo>
                    <a:pt x="4247" y="1542"/>
                  </a:lnTo>
                  <a:lnTo>
                    <a:pt x="4264" y="1559"/>
                  </a:lnTo>
                  <a:lnTo>
                    <a:pt x="4282" y="1575"/>
                  </a:lnTo>
                  <a:lnTo>
                    <a:pt x="4302" y="1589"/>
                  </a:lnTo>
                  <a:lnTo>
                    <a:pt x="4321" y="1602"/>
                  </a:lnTo>
                  <a:lnTo>
                    <a:pt x="4341" y="1615"/>
                  </a:lnTo>
                  <a:lnTo>
                    <a:pt x="4363" y="1625"/>
                  </a:lnTo>
                  <a:lnTo>
                    <a:pt x="4384" y="1635"/>
                  </a:lnTo>
                  <a:lnTo>
                    <a:pt x="4406" y="1643"/>
                  </a:lnTo>
                  <a:lnTo>
                    <a:pt x="4452" y="1658"/>
                  </a:lnTo>
                  <a:lnTo>
                    <a:pt x="4500" y="1671"/>
                  </a:lnTo>
                  <a:lnTo>
                    <a:pt x="4548" y="1681"/>
                  </a:lnTo>
                  <a:lnTo>
                    <a:pt x="4598" y="1690"/>
                  </a:lnTo>
                  <a:lnTo>
                    <a:pt x="4699" y="1703"/>
                  </a:lnTo>
                  <a:lnTo>
                    <a:pt x="4750" y="1709"/>
                  </a:lnTo>
                  <a:lnTo>
                    <a:pt x="4801" y="1718"/>
                  </a:lnTo>
                  <a:lnTo>
                    <a:pt x="4851" y="1728"/>
                  </a:lnTo>
                  <a:lnTo>
                    <a:pt x="4901" y="1738"/>
                  </a:lnTo>
                  <a:lnTo>
                    <a:pt x="4949" y="1752"/>
                  </a:lnTo>
                  <a:lnTo>
                    <a:pt x="4972" y="1761"/>
                  </a:lnTo>
                  <a:lnTo>
                    <a:pt x="4995" y="1769"/>
                  </a:lnTo>
                  <a:lnTo>
                    <a:pt x="4995" y="1769"/>
                  </a:lnTo>
                  <a:lnTo>
                    <a:pt x="5020" y="1781"/>
                  </a:lnTo>
                  <a:lnTo>
                    <a:pt x="5044" y="1792"/>
                  </a:lnTo>
                  <a:lnTo>
                    <a:pt x="5066" y="1805"/>
                  </a:lnTo>
                  <a:lnTo>
                    <a:pt x="5089" y="1819"/>
                  </a:lnTo>
                  <a:lnTo>
                    <a:pt x="5111" y="1835"/>
                  </a:lnTo>
                  <a:lnTo>
                    <a:pt x="5131" y="1852"/>
                  </a:lnTo>
                  <a:lnTo>
                    <a:pt x="5150" y="1868"/>
                  </a:lnTo>
                  <a:lnTo>
                    <a:pt x="5170" y="1886"/>
                  </a:lnTo>
                  <a:lnTo>
                    <a:pt x="5188" y="1906"/>
                  </a:lnTo>
                  <a:lnTo>
                    <a:pt x="5205" y="1926"/>
                  </a:lnTo>
                  <a:lnTo>
                    <a:pt x="5222" y="1948"/>
                  </a:lnTo>
                  <a:lnTo>
                    <a:pt x="5238" y="1969"/>
                  </a:lnTo>
                  <a:lnTo>
                    <a:pt x="5253" y="1991"/>
                  </a:lnTo>
                  <a:lnTo>
                    <a:pt x="5266" y="2014"/>
                  </a:lnTo>
                  <a:lnTo>
                    <a:pt x="5278" y="2037"/>
                  </a:lnTo>
                  <a:lnTo>
                    <a:pt x="5289" y="2062"/>
                  </a:lnTo>
                  <a:lnTo>
                    <a:pt x="5301" y="2085"/>
                  </a:lnTo>
                  <a:lnTo>
                    <a:pt x="5311" y="2110"/>
                  </a:lnTo>
                  <a:lnTo>
                    <a:pt x="5319" y="2136"/>
                  </a:lnTo>
                  <a:lnTo>
                    <a:pt x="5326" y="2161"/>
                  </a:lnTo>
                  <a:lnTo>
                    <a:pt x="5332" y="2188"/>
                  </a:lnTo>
                  <a:lnTo>
                    <a:pt x="5337" y="2212"/>
                  </a:lnTo>
                  <a:lnTo>
                    <a:pt x="5341" y="2239"/>
                  </a:lnTo>
                  <a:lnTo>
                    <a:pt x="5344" y="2265"/>
                  </a:lnTo>
                  <a:lnTo>
                    <a:pt x="5346" y="2292"/>
                  </a:lnTo>
                  <a:lnTo>
                    <a:pt x="5346" y="2318"/>
                  </a:lnTo>
                  <a:lnTo>
                    <a:pt x="5344" y="2345"/>
                  </a:lnTo>
                  <a:lnTo>
                    <a:pt x="5342" y="2371"/>
                  </a:lnTo>
                  <a:lnTo>
                    <a:pt x="5339" y="2398"/>
                  </a:lnTo>
                  <a:lnTo>
                    <a:pt x="5334" y="2423"/>
                  </a:lnTo>
                  <a:lnTo>
                    <a:pt x="5327" y="2449"/>
                  </a:lnTo>
                  <a:lnTo>
                    <a:pt x="5321" y="2474"/>
                  </a:lnTo>
                  <a:lnTo>
                    <a:pt x="5321" y="2474"/>
                  </a:lnTo>
                  <a:lnTo>
                    <a:pt x="5309" y="2504"/>
                  </a:lnTo>
                  <a:lnTo>
                    <a:pt x="5298" y="2532"/>
                  </a:lnTo>
                  <a:lnTo>
                    <a:pt x="5284" y="2560"/>
                  </a:lnTo>
                  <a:lnTo>
                    <a:pt x="5270" y="2586"/>
                  </a:lnTo>
                  <a:lnTo>
                    <a:pt x="5253" y="2613"/>
                  </a:lnTo>
                  <a:lnTo>
                    <a:pt x="5236" y="2639"/>
                  </a:lnTo>
                  <a:lnTo>
                    <a:pt x="5218" y="2664"/>
                  </a:lnTo>
                  <a:lnTo>
                    <a:pt x="5200" y="2689"/>
                  </a:lnTo>
                  <a:lnTo>
                    <a:pt x="5180" y="2714"/>
                  </a:lnTo>
                  <a:lnTo>
                    <a:pt x="5159" y="2737"/>
                  </a:lnTo>
                  <a:lnTo>
                    <a:pt x="5116" y="2782"/>
                  </a:lnTo>
                  <a:lnTo>
                    <a:pt x="5071" y="2825"/>
                  </a:lnTo>
                  <a:lnTo>
                    <a:pt x="5023" y="2866"/>
                  </a:lnTo>
                  <a:lnTo>
                    <a:pt x="5023" y="2866"/>
                  </a:lnTo>
                  <a:lnTo>
                    <a:pt x="4977" y="2904"/>
                  </a:lnTo>
                  <a:lnTo>
                    <a:pt x="4927" y="2942"/>
                  </a:lnTo>
                  <a:lnTo>
                    <a:pt x="4877" y="2978"/>
                  </a:lnTo>
                  <a:lnTo>
                    <a:pt x="4826" y="3013"/>
                  </a:lnTo>
                  <a:lnTo>
                    <a:pt x="4775" y="3046"/>
                  </a:lnTo>
                  <a:lnTo>
                    <a:pt x="4722" y="3078"/>
                  </a:lnTo>
                  <a:lnTo>
                    <a:pt x="4667" y="3108"/>
                  </a:lnTo>
                  <a:lnTo>
                    <a:pt x="4613" y="3137"/>
                  </a:lnTo>
                  <a:lnTo>
                    <a:pt x="4558" y="3164"/>
                  </a:lnTo>
                  <a:lnTo>
                    <a:pt x="4502" y="3189"/>
                  </a:lnTo>
                  <a:lnTo>
                    <a:pt x="4444" y="3213"/>
                  </a:lnTo>
                  <a:lnTo>
                    <a:pt x="4388" y="3235"/>
                  </a:lnTo>
                  <a:lnTo>
                    <a:pt x="4330" y="3256"/>
                  </a:lnTo>
                  <a:lnTo>
                    <a:pt x="4270" y="3275"/>
                  </a:lnTo>
                  <a:lnTo>
                    <a:pt x="4211" y="3293"/>
                  </a:lnTo>
                  <a:lnTo>
                    <a:pt x="4151" y="3308"/>
                  </a:lnTo>
                  <a:lnTo>
                    <a:pt x="4151" y="3308"/>
                  </a:lnTo>
                  <a:lnTo>
                    <a:pt x="4075" y="3324"/>
                  </a:lnTo>
                  <a:lnTo>
                    <a:pt x="3999" y="3339"/>
                  </a:lnTo>
                  <a:lnTo>
                    <a:pt x="3923" y="3351"/>
                  </a:lnTo>
                  <a:lnTo>
                    <a:pt x="3847" y="3361"/>
                  </a:lnTo>
                  <a:lnTo>
                    <a:pt x="3769" y="3369"/>
                  </a:lnTo>
                  <a:lnTo>
                    <a:pt x="3693" y="3376"/>
                  </a:lnTo>
                  <a:lnTo>
                    <a:pt x="3615" y="3379"/>
                  </a:lnTo>
                  <a:lnTo>
                    <a:pt x="3537" y="3382"/>
                  </a:lnTo>
                  <a:lnTo>
                    <a:pt x="3460" y="3384"/>
                  </a:lnTo>
                  <a:lnTo>
                    <a:pt x="3382" y="3385"/>
                  </a:lnTo>
                  <a:lnTo>
                    <a:pt x="3225" y="3384"/>
                  </a:lnTo>
                  <a:lnTo>
                    <a:pt x="2914" y="3379"/>
                  </a:lnTo>
                  <a:lnTo>
                    <a:pt x="2914" y="3379"/>
                  </a:lnTo>
                  <a:lnTo>
                    <a:pt x="2725" y="3376"/>
                  </a:lnTo>
                  <a:lnTo>
                    <a:pt x="2536" y="3374"/>
                  </a:lnTo>
                  <a:lnTo>
                    <a:pt x="2348" y="3372"/>
                  </a:lnTo>
                  <a:lnTo>
                    <a:pt x="2157" y="3367"/>
                  </a:lnTo>
                  <a:lnTo>
                    <a:pt x="2063" y="3362"/>
                  </a:lnTo>
                  <a:lnTo>
                    <a:pt x="1970" y="3357"/>
                  </a:lnTo>
                  <a:lnTo>
                    <a:pt x="1876" y="3351"/>
                  </a:lnTo>
                  <a:lnTo>
                    <a:pt x="1782" y="3342"/>
                  </a:lnTo>
                  <a:lnTo>
                    <a:pt x="1689" y="3333"/>
                  </a:lnTo>
                  <a:lnTo>
                    <a:pt x="1595" y="3321"/>
                  </a:lnTo>
                  <a:lnTo>
                    <a:pt x="1502" y="3308"/>
                  </a:lnTo>
                  <a:lnTo>
                    <a:pt x="1410" y="3291"/>
                  </a:lnTo>
                  <a:lnTo>
                    <a:pt x="1410" y="3291"/>
                  </a:lnTo>
                  <a:lnTo>
                    <a:pt x="1314" y="3271"/>
                  </a:lnTo>
                  <a:lnTo>
                    <a:pt x="1221" y="3248"/>
                  </a:lnTo>
                  <a:lnTo>
                    <a:pt x="1173" y="3235"/>
                  </a:lnTo>
                  <a:lnTo>
                    <a:pt x="1127" y="3222"/>
                  </a:lnTo>
                  <a:lnTo>
                    <a:pt x="1080" y="3207"/>
                  </a:lnTo>
                  <a:lnTo>
                    <a:pt x="1036" y="3190"/>
                  </a:lnTo>
                  <a:lnTo>
                    <a:pt x="991" y="3174"/>
                  </a:lnTo>
                  <a:lnTo>
                    <a:pt x="946" y="3154"/>
                  </a:lnTo>
                  <a:lnTo>
                    <a:pt x="902" y="3134"/>
                  </a:lnTo>
                  <a:lnTo>
                    <a:pt x="859" y="3112"/>
                  </a:lnTo>
                  <a:lnTo>
                    <a:pt x="817" y="3089"/>
                  </a:lnTo>
                  <a:lnTo>
                    <a:pt x="776" y="3066"/>
                  </a:lnTo>
                  <a:lnTo>
                    <a:pt x="736" y="3040"/>
                  </a:lnTo>
                  <a:lnTo>
                    <a:pt x="697" y="3012"/>
                  </a:lnTo>
                  <a:lnTo>
                    <a:pt x="697" y="3012"/>
                  </a:lnTo>
                  <a:lnTo>
                    <a:pt x="645" y="2972"/>
                  </a:lnTo>
                  <a:lnTo>
                    <a:pt x="597" y="2930"/>
                  </a:lnTo>
                  <a:lnTo>
                    <a:pt x="551" y="2886"/>
                  </a:lnTo>
                  <a:lnTo>
                    <a:pt x="508" y="2839"/>
                  </a:lnTo>
                  <a:lnTo>
                    <a:pt x="467" y="2791"/>
                  </a:lnTo>
                  <a:lnTo>
                    <a:pt x="427" y="2740"/>
                  </a:lnTo>
                  <a:lnTo>
                    <a:pt x="389" y="2689"/>
                  </a:lnTo>
                  <a:lnTo>
                    <a:pt x="352" y="2636"/>
                  </a:lnTo>
                  <a:lnTo>
                    <a:pt x="318" y="2581"/>
                  </a:lnTo>
                  <a:lnTo>
                    <a:pt x="285" y="2525"/>
                  </a:lnTo>
                  <a:lnTo>
                    <a:pt x="251" y="2469"/>
                  </a:lnTo>
                  <a:lnTo>
                    <a:pt x="222" y="2411"/>
                  </a:lnTo>
                  <a:lnTo>
                    <a:pt x="192" y="2353"/>
                  </a:lnTo>
                  <a:lnTo>
                    <a:pt x="164" y="2295"/>
                  </a:lnTo>
                  <a:lnTo>
                    <a:pt x="109" y="2178"/>
                  </a:lnTo>
                  <a:lnTo>
                    <a:pt x="109" y="2178"/>
                  </a:lnTo>
                  <a:lnTo>
                    <a:pt x="88" y="2130"/>
                  </a:lnTo>
                  <a:lnTo>
                    <a:pt x="68" y="2082"/>
                  </a:lnTo>
                  <a:lnTo>
                    <a:pt x="50" y="2034"/>
                  </a:lnTo>
                  <a:lnTo>
                    <a:pt x="33" y="1986"/>
                  </a:lnTo>
                  <a:lnTo>
                    <a:pt x="18" y="1936"/>
                  </a:lnTo>
                  <a:lnTo>
                    <a:pt x="8" y="1885"/>
                  </a:lnTo>
                  <a:lnTo>
                    <a:pt x="5" y="1860"/>
                  </a:lnTo>
                  <a:lnTo>
                    <a:pt x="2" y="1835"/>
                  </a:lnTo>
                  <a:lnTo>
                    <a:pt x="0" y="1809"/>
                  </a:lnTo>
                  <a:lnTo>
                    <a:pt x="0" y="1784"/>
                  </a:lnTo>
                  <a:lnTo>
                    <a:pt x="0" y="1784"/>
                  </a:lnTo>
                  <a:lnTo>
                    <a:pt x="0" y="1761"/>
                  </a:lnTo>
                  <a:lnTo>
                    <a:pt x="3" y="1738"/>
                  </a:lnTo>
                  <a:lnTo>
                    <a:pt x="8" y="1693"/>
                  </a:lnTo>
                  <a:lnTo>
                    <a:pt x="18" y="1648"/>
                  </a:lnTo>
                  <a:lnTo>
                    <a:pt x="31" y="1605"/>
                  </a:lnTo>
                  <a:lnTo>
                    <a:pt x="48" y="1562"/>
                  </a:lnTo>
                  <a:lnTo>
                    <a:pt x="65" y="1519"/>
                  </a:lnTo>
                  <a:lnTo>
                    <a:pt x="86" y="1478"/>
                  </a:lnTo>
                  <a:lnTo>
                    <a:pt x="108" y="1436"/>
                  </a:lnTo>
                  <a:lnTo>
                    <a:pt x="131" y="1397"/>
                  </a:lnTo>
                  <a:lnTo>
                    <a:pt x="154" y="1355"/>
                  </a:lnTo>
                  <a:lnTo>
                    <a:pt x="204" y="1274"/>
                  </a:lnTo>
                  <a:lnTo>
                    <a:pt x="253" y="1193"/>
                  </a:lnTo>
                  <a:lnTo>
                    <a:pt x="278" y="1154"/>
                  </a:lnTo>
                  <a:lnTo>
                    <a:pt x="299" y="1112"/>
                  </a:lnTo>
                  <a:lnTo>
                    <a:pt x="299" y="1112"/>
                  </a:lnTo>
                  <a:lnTo>
                    <a:pt x="331" y="1053"/>
                  </a:lnTo>
                  <a:lnTo>
                    <a:pt x="359" y="990"/>
                  </a:lnTo>
                  <a:lnTo>
                    <a:pt x="384" y="927"/>
                  </a:lnTo>
                  <a:lnTo>
                    <a:pt x="405" y="862"/>
                  </a:lnTo>
                  <a:lnTo>
                    <a:pt x="425" y="796"/>
                  </a:lnTo>
                  <a:lnTo>
                    <a:pt x="440" y="730"/>
                  </a:lnTo>
                  <a:lnTo>
                    <a:pt x="453" y="664"/>
                  </a:lnTo>
                  <a:lnTo>
                    <a:pt x="463" y="596"/>
                  </a:lnTo>
                  <a:lnTo>
                    <a:pt x="463" y="596"/>
                  </a:lnTo>
                  <a:lnTo>
                    <a:pt x="467" y="555"/>
                  </a:lnTo>
                  <a:lnTo>
                    <a:pt x="467" y="512"/>
                  </a:lnTo>
                  <a:lnTo>
                    <a:pt x="468" y="465"/>
                  </a:lnTo>
                  <a:lnTo>
                    <a:pt x="470" y="419"/>
                  </a:lnTo>
                  <a:lnTo>
                    <a:pt x="473" y="397"/>
                  </a:lnTo>
                  <a:lnTo>
                    <a:pt x="476" y="376"/>
                  </a:lnTo>
                  <a:lnTo>
                    <a:pt x="481" y="354"/>
                  </a:lnTo>
                  <a:lnTo>
                    <a:pt x="488" y="335"/>
                  </a:lnTo>
                  <a:lnTo>
                    <a:pt x="498" y="316"/>
                  </a:lnTo>
                  <a:lnTo>
                    <a:pt x="508" y="298"/>
                  </a:lnTo>
                  <a:lnTo>
                    <a:pt x="523" y="282"/>
                  </a:lnTo>
                  <a:lnTo>
                    <a:pt x="538" y="268"/>
                  </a:lnTo>
                  <a:lnTo>
                    <a:pt x="538" y="268"/>
                  </a:lnTo>
                  <a:lnTo>
                    <a:pt x="563" y="250"/>
                  </a:lnTo>
                  <a:lnTo>
                    <a:pt x="591" y="235"/>
                  </a:lnTo>
                  <a:lnTo>
                    <a:pt x="622" y="222"/>
                  </a:lnTo>
                  <a:lnTo>
                    <a:pt x="654" y="209"/>
                  </a:lnTo>
                  <a:lnTo>
                    <a:pt x="688" y="199"/>
                  </a:lnTo>
                  <a:lnTo>
                    <a:pt x="723" y="189"/>
                  </a:lnTo>
                  <a:lnTo>
                    <a:pt x="759" y="181"/>
                  </a:lnTo>
                  <a:lnTo>
                    <a:pt x="797" y="172"/>
                  </a:lnTo>
                  <a:lnTo>
                    <a:pt x="872" y="159"/>
                  </a:lnTo>
                  <a:lnTo>
                    <a:pt x="945" y="148"/>
                  </a:lnTo>
                  <a:lnTo>
                    <a:pt x="1014" y="136"/>
                  </a:lnTo>
                  <a:lnTo>
                    <a:pt x="1075" y="124"/>
                  </a:lnTo>
                  <a:lnTo>
                    <a:pt x="1075" y="124"/>
                  </a:lnTo>
                  <a:lnTo>
                    <a:pt x="1228" y="93"/>
                  </a:lnTo>
                  <a:lnTo>
                    <a:pt x="1378" y="66"/>
                  </a:lnTo>
                  <a:lnTo>
                    <a:pt x="1530" y="42"/>
                  </a:lnTo>
                  <a:lnTo>
                    <a:pt x="1683" y="20"/>
                  </a:lnTo>
                  <a:close/>
                </a:path>
              </a:pathLst>
            </a:custGeom>
            <a:gradFill>
              <a:gsLst>
                <a:gs pos="0">
                  <a:schemeClr val="accent1"/>
                </a:gs>
                <a:gs pos="100000">
                  <a:schemeClr val="accent2"/>
                </a:gs>
              </a:gsLst>
              <a:lin ang="54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8"/>
            <p:cNvSpPr>
              <a:spLocks/>
            </p:cNvSpPr>
            <p:nvPr/>
          </p:nvSpPr>
          <p:spPr bwMode="auto">
            <a:xfrm>
              <a:off x="900773" y="999770"/>
              <a:ext cx="7768559" cy="4918925"/>
            </a:xfrm>
            <a:custGeom>
              <a:avLst/>
              <a:gdLst>
                <a:gd name="T0" fmla="*/ 1863 w 5346"/>
                <a:gd name="T1" fmla="*/ 4 h 3385"/>
                <a:gd name="T2" fmla="*/ 2086 w 5346"/>
                <a:gd name="T3" fmla="*/ 12 h 3385"/>
                <a:gd name="T4" fmla="*/ 2290 w 5346"/>
                <a:gd name="T5" fmla="*/ 78 h 3385"/>
                <a:gd name="T6" fmla="*/ 2391 w 5346"/>
                <a:gd name="T7" fmla="*/ 154 h 3385"/>
                <a:gd name="T8" fmla="*/ 2508 w 5346"/>
                <a:gd name="T9" fmla="*/ 305 h 3385"/>
                <a:gd name="T10" fmla="*/ 2654 w 5346"/>
                <a:gd name="T11" fmla="*/ 533 h 3385"/>
                <a:gd name="T12" fmla="*/ 2766 w 5346"/>
                <a:gd name="T13" fmla="*/ 642 h 3385"/>
                <a:gd name="T14" fmla="*/ 2953 w 5346"/>
                <a:gd name="T15" fmla="*/ 727 h 3385"/>
                <a:gd name="T16" fmla="*/ 3206 w 5346"/>
                <a:gd name="T17" fmla="*/ 768 h 3385"/>
                <a:gd name="T18" fmla="*/ 3471 w 5346"/>
                <a:gd name="T19" fmla="*/ 798 h 3385"/>
                <a:gd name="T20" fmla="*/ 3701 w 5346"/>
                <a:gd name="T21" fmla="*/ 857 h 3385"/>
                <a:gd name="T22" fmla="*/ 3903 w 5346"/>
                <a:gd name="T23" fmla="*/ 970 h 3385"/>
                <a:gd name="T24" fmla="*/ 4012 w 5346"/>
                <a:gd name="T25" fmla="*/ 1086 h 3385"/>
                <a:gd name="T26" fmla="*/ 4068 w 5346"/>
                <a:gd name="T27" fmla="*/ 1187 h 3385"/>
                <a:gd name="T28" fmla="*/ 4163 w 5346"/>
                <a:gd name="T29" fmla="*/ 1417 h 3385"/>
                <a:gd name="T30" fmla="*/ 4247 w 5346"/>
                <a:gd name="T31" fmla="*/ 1542 h 3385"/>
                <a:gd name="T32" fmla="*/ 4321 w 5346"/>
                <a:gd name="T33" fmla="*/ 1602 h 3385"/>
                <a:gd name="T34" fmla="*/ 4452 w 5346"/>
                <a:gd name="T35" fmla="*/ 1658 h 3385"/>
                <a:gd name="T36" fmla="*/ 4750 w 5346"/>
                <a:gd name="T37" fmla="*/ 1709 h 3385"/>
                <a:gd name="T38" fmla="*/ 4972 w 5346"/>
                <a:gd name="T39" fmla="*/ 1761 h 3385"/>
                <a:gd name="T40" fmla="*/ 5066 w 5346"/>
                <a:gd name="T41" fmla="*/ 1805 h 3385"/>
                <a:gd name="T42" fmla="*/ 5170 w 5346"/>
                <a:gd name="T43" fmla="*/ 1886 h 3385"/>
                <a:gd name="T44" fmla="*/ 5253 w 5346"/>
                <a:gd name="T45" fmla="*/ 1991 h 3385"/>
                <a:gd name="T46" fmla="*/ 5311 w 5346"/>
                <a:gd name="T47" fmla="*/ 2110 h 3385"/>
                <a:gd name="T48" fmla="*/ 5341 w 5346"/>
                <a:gd name="T49" fmla="*/ 2239 h 3385"/>
                <a:gd name="T50" fmla="*/ 5342 w 5346"/>
                <a:gd name="T51" fmla="*/ 2371 h 3385"/>
                <a:gd name="T52" fmla="*/ 5321 w 5346"/>
                <a:gd name="T53" fmla="*/ 2474 h 3385"/>
                <a:gd name="T54" fmla="*/ 5253 w 5346"/>
                <a:gd name="T55" fmla="*/ 2613 h 3385"/>
                <a:gd name="T56" fmla="*/ 5159 w 5346"/>
                <a:gd name="T57" fmla="*/ 2737 h 3385"/>
                <a:gd name="T58" fmla="*/ 4977 w 5346"/>
                <a:gd name="T59" fmla="*/ 2904 h 3385"/>
                <a:gd name="T60" fmla="*/ 4722 w 5346"/>
                <a:gd name="T61" fmla="*/ 3078 h 3385"/>
                <a:gd name="T62" fmla="*/ 4444 w 5346"/>
                <a:gd name="T63" fmla="*/ 3213 h 3385"/>
                <a:gd name="T64" fmla="*/ 4151 w 5346"/>
                <a:gd name="T65" fmla="*/ 3308 h 3385"/>
                <a:gd name="T66" fmla="*/ 3847 w 5346"/>
                <a:gd name="T67" fmla="*/ 3361 h 3385"/>
                <a:gd name="T68" fmla="*/ 3460 w 5346"/>
                <a:gd name="T69" fmla="*/ 3384 h 3385"/>
                <a:gd name="T70" fmla="*/ 2725 w 5346"/>
                <a:gd name="T71" fmla="*/ 3376 h 3385"/>
                <a:gd name="T72" fmla="*/ 1970 w 5346"/>
                <a:gd name="T73" fmla="*/ 3357 h 3385"/>
                <a:gd name="T74" fmla="*/ 1502 w 5346"/>
                <a:gd name="T75" fmla="*/ 3308 h 3385"/>
                <a:gd name="T76" fmla="*/ 1173 w 5346"/>
                <a:gd name="T77" fmla="*/ 3235 h 3385"/>
                <a:gd name="T78" fmla="*/ 946 w 5346"/>
                <a:gd name="T79" fmla="*/ 3154 h 3385"/>
                <a:gd name="T80" fmla="*/ 736 w 5346"/>
                <a:gd name="T81" fmla="*/ 3040 h 3385"/>
                <a:gd name="T82" fmla="*/ 551 w 5346"/>
                <a:gd name="T83" fmla="*/ 2886 h 3385"/>
                <a:gd name="T84" fmla="*/ 352 w 5346"/>
                <a:gd name="T85" fmla="*/ 2636 h 3385"/>
                <a:gd name="T86" fmla="*/ 192 w 5346"/>
                <a:gd name="T87" fmla="*/ 2353 h 3385"/>
                <a:gd name="T88" fmla="*/ 68 w 5346"/>
                <a:gd name="T89" fmla="*/ 2082 h 3385"/>
                <a:gd name="T90" fmla="*/ 5 w 5346"/>
                <a:gd name="T91" fmla="*/ 1860 h 3385"/>
                <a:gd name="T92" fmla="*/ 0 w 5346"/>
                <a:gd name="T93" fmla="*/ 1761 h 3385"/>
                <a:gd name="T94" fmla="*/ 48 w 5346"/>
                <a:gd name="T95" fmla="*/ 1562 h 3385"/>
                <a:gd name="T96" fmla="*/ 154 w 5346"/>
                <a:gd name="T97" fmla="*/ 1355 h 3385"/>
                <a:gd name="T98" fmla="*/ 299 w 5346"/>
                <a:gd name="T99" fmla="*/ 1112 h 3385"/>
                <a:gd name="T100" fmla="*/ 425 w 5346"/>
                <a:gd name="T101" fmla="*/ 796 h 3385"/>
                <a:gd name="T102" fmla="*/ 467 w 5346"/>
                <a:gd name="T103" fmla="*/ 555 h 3385"/>
                <a:gd name="T104" fmla="*/ 476 w 5346"/>
                <a:gd name="T105" fmla="*/ 376 h 3385"/>
                <a:gd name="T106" fmla="*/ 523 w 5346"/>
                <a:gd name="T107" fmla="*/ 282 h 3385"/>
                <a:gd name="T108" fmla="*/ 622 w 5346"/>
                <a:gd name="T109" fmla="*/ 222 h 3385"/>
                <a:gd name="T110" fmla="*/ 797 w 5346"/>
                <a:gd name="T111" fmla="*/ 172 h 3385"/>
                <a:gd name="T112" fmla="*/ 1075 w 5346"/>
                <a:gd name="T113" fmla="*/ 124 h 3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46" h="3385">
                  <a:moveTo>
                    <a:pt x="1683" y="20"/>
                  </a:moveTo>
                  <a:lnTo>
                    <a:pt x="1683" y="20"/>
                  </a:lnTo>
                  <a:lnTo>
                    <a:pt x="1772" y="10"/>
                  </a:lnTo>
                  <a:lnTo>
                    <a:pt x="1817" y="5"/>
                  </a:lnTo>
                  <a:lnTo>
                    <a:pt x="1863" y="4"/>
                  </a:lnTo>
                  <a:lnTo>
                    <a:pt x="1908" y="2"/>
                  </a:lnTo>
                  <a:lnTo>
                    <a:pt x="1952" y="0"/>
                  </a:lnTo>
                  <a:lnTo>
                    <a:pt x="1999" y="2"/>
                  </a:lnTo>
                  <a:lnTo>
                    <a:pt x="2042" y="5"/>
                  </a:lnTo>
                  <a:lnTo>
                    <a:pt x="2086" y="12"/>
                  </a:lnTo>
                  <a:lnTo>
                    <a:pt x="2129" y="20"/>
                  </a:lnTo>
                  <a:lnTo>
                    <a:pt x="2171" y="30"/>
                  </a:lnTo>
                  <a:lnTo>
                    <a:pt x="2212" y="43"/>
                  </a:lnTo>
                  <a:lnTo>
                    <a:pt x="2252" y="60"/>
                  </a:lnTo>
                  <a:lnTo>
                    <a:pt x="2290" y="78"/>
                  </a:lnTo>
                  <a:lnTo>
                    <a:pt x="2328" y="101"/>
                  </a:lnTo>
                  <a:lnTo>
                    <a:pt x="2344" y="114"/>
                  </a:lnTo>
                  <a:lnTo>
                    <a:pt x="2363" y="128"/>
                  </a:lnTo>
                  <a:lnTo>
                    <a:pt x="2363" y="128"/>
                  </a:lnTo>
                  <a:lnTo>
                    <a:pt x="2391" y="154"/>
                  </a:lnTo>
                  <a:lnTo>
                    <a:pt x="2417" y="181"/>
                  </a:lnTo>
                  <a:lnTo>
                    <a:pt x="2442" y="210"/>
                  </a:lnTo>
                  <a:lnTo>
                    <a:pt x="2465" y="242"/>
                  </a:lnTo>
                  <a:lnTo>
                    <a:pt x="2487" y="273"/>
                  </a:lnTo>
                  <a:lnTo>
                    <a:pt x="2508" y="305"/>
                  </a:lnTo>
                  <a:lnTo>
                    <a:pt x="2548" y="373"/>
                  </a:lnTo>
                  <a:lnTo>
                    <a:pt x="2588" y="439"/>
                  </a:lnTo>
                  <a:lnTo>
                    <a:pt x="2609" y="472"/>
                  </a:lnTo>
                  <a:lnTo>
                    <a:pt x="2631" y="503"/>
                  </a:lnTo>
                  <a:lnTo>
                    <a:pt x="2654" y="533"/>
                  </a:lnTo>
                  <a:lnTo>
                    <a:pt x="2679" y="563"/>
                  </a:lnTo>
                  <a:lnTo>
                    <a:pt x="2705" y="591"/>
                  </a:lnTo>
                  <a:lnTo>
                    <a:pt x="2733" y="616"/>
                  </a:lnTo>
                  <a:lnTo>
                    <a:pt x="2733" y="616"/>
                  </a:lnTo>
                  <a:lnTo>
                    <a:pt x="2766" y="642"/>
                  </a:lnTo>
                  <a:lnTo>
                    <a:pt x="2801" y="664"/>
                  </a:lnTo>
                  <a:lnTo>
                    <a:pt x="2837" y="684"/>
                  </a:lnTo>
                  <a:lnTo>
                    <a:pt x="2875" y="700"/>
                  </a:lnTo>
                  <a:lnTo>
                    <a:pt x="2914" y="715"/>
                  </a:lnTo>
                  <a:lnTo>
                    <a:pt x="2953" y="727"/>
                  </a:lnTo>
                  <a:lnTo>
                    <a:pt x="2995" y="737"/>
                  </a:lnTo>
                  <a:lnTo>
                    <a:pt x="3036" y="746"/>
                  </a:lnTo>
                  <a:lnTo>
                    <a:pt x="3079" y="753"/>
                  </a:lnTo>
                  <a:lnTo>
                    <a:pt x="3120" y="758"/>
                  </a:lnTo>
                  <a:lnTo>
                    <a:pt x="3206" y="768"/>
                  </a:lnTo>
                  <a:lnTo>
                    <a:pt x="3292" y="776"/>
                  </a:lnTo>
                  <a:lnTo>
                    <a:pt x="3378" y="785"/>
                  </a:lnTo>
                  <a:lnTo>
                    <a:pt x="3378" y="785"/>
                  </a:lnTo>
                  <a:lnTo>
                    <a:pt x="3425" y="790"/>
                  </a:lnTo>
                  <a:lnTo>
                    <a:pt x="3471" y="798"/>
                  </a:lnTo>
                  <a:lnTo>
                    <a:pt x="3519" y="806"/>
                  </a:lnTo>
                  <a:lnTo>
                    <a:pt x="3565" y="816"/>
                  </a:lnTo>
                  <a:lnTo>
                    <a:pt x="3612" y="828"/>
                  </a:lnTo>
                  <a:lnTo>
                    <a:pt x="3656" y="842"/>
                  </a:lnTo>
                  <a:lnTo>
                    <a:pt x="3701" y="857"/>
                  </a:lnTo>
                  <a:lnTo>
                    <a:pt x="3744" y="876"/>
                  </a:lnTo>
                  <a:lnTo>
                    <a:pt x="3787" y="895"/>
                  </a:lnTo>
                  <a:lnTo>
                    <a:pt x="3827" y="919"/>
                  </a:lnTo>
                  <a:lnTo>
                    <a:pt x="3867" y="943"/>
                  </a:lnTo>
                  <a:lnTo>
                    <a:pt x="3903" y="970"/>
                  </a:lnTo>
                  <a:lnTo>
                    <a:pt x="3938" y="1000"/>
                  </a:lnTo>
                  <a:lnTo>
                    <a:pt x="3969" y="1033"/>
                  </a:lnTo>
                  <a:lnTo>
                    <a:pt x="3984" y="1049"/>
                  </a:lnTo>
                  <a:lnTo>
                    <a:pt x="3999" y="1067"/>
                  </a:lnTo>
                  <a:lnTo>
                    <a:pt x="4012" y="1086"/>
                  </a:lnTo>
                  <a:lnTo>
                    <a:pt x="4025" y="1106"/>
                  </a:lnTo>
                  <a:lnTo>
                    <a:pt x="4025" y="1106"/>
                  </a:lnTo>
                  <a:lnTo>
                    <a:pt x="4040" y="1132"/>
                  </a:lnTo>
                  <a:lnTo>
                    <a:pt x="4055" y="1158"/>
                  </a:lnTo>
                  <a:lnTo>
                    <a:pt x="4068" y="1187"/>
                  </a:lnTo>
                  <a:lnTo>
                    <a:pt x="4080" y="1215"/>
                  </a:lnTo>
                  <a:lnTo>
                    <a:pt x="4103" y="1273"/>
                  </a:lnTo>
                  <a:lnTo>
                    <a:pt x="4126" y="1331"/>
                  </a:lnTo>
                  <a:lnTo>
                    <a:pt x="4149" y="1388"/>
                  </a:lnTo>
                  <a:lnTo>
                    <a:pt x="4163" y="1417"/>
                  </a:lnTo>
                  <a:lnTo>
                    <a:pt x="4176" y="1443"/>
                  </a:lnTo>
                  <a:lnTo>
                    <a:pt x="4191" y="1470"/>
                  </a:lnTo>
                  <a:lnTo>
                    <a:pt x="4207" y="1494"/>
                  </a:lnTo>
                  <a:lnTo>
                    <a:pt x="4226" y="1519"/>
                  </a:lnTo>
                  <a:lnTo>
                    <a:pt x="4247" y="1542"/>
                  </a:lnTo>
                  <a:lnTo>
                    <a:pt x="4247" y="1542"/>
                  </a:lnTo>
                  <a:lnTo>
                    <a:pt x="4264" y="1559"/>
                  </a:lnTo>
                  <a:lnTo>
                    <a:pt x="4282" y="1575"/>
                  </a:lnTo>
                  <a:lnTo>
                    <a:pt x="4302" y="1589"/>
                  </a:lnTo>
                  <a:lnTo>
                    <a:pt x="4321" y="1602"/>
                  </a:lnTo>
                  <a:lnTo>
                    <a:pt x="4341" y="1615"/>
                  </a:lnTo>
                  <a:lnTo>
                    <a:pt x="4363" y="1625"/>
                  </a:lnTo>
                  <a:lnTo>
                    <a:pt x="4384" y="1635"/>
                  </a:lnTo>
                  <a:lnTo>
                    <a:pt x="4406" y="1643"/>
                  </a:lnTo>
                  <a:lnTo>
                    <a:pt x="4452" y="1658"/>
                  </a:lnTo>
                  <a:lnTo>
                    <a:pt x="4500" y="1671"/>
                  </a:lnTo>
                  <a:lnTo>
                    <a:pt x="4548" y="1681"/>
                  </a:lnTo>
                  <a:lnTo>
                    <a:pt x="4598" y="1690"/>
                  </a:lnTo>
                  <a:lnTo>
                    <a:pt x="4699" y="1703"/>
                  </a:lnTo>
                  <a:lnTo>
                    <a:pt x="4750" y="1709"/>
                  </a:lnTo>
                  <a:lnTo>
                    <a:pt x="4801" y="1718"/>
                  </a:lnTo>
                  <a:lnTo>
                    <a:pt x="4851" y="1728"/>
                  </a:lnTo>
                  <a:lnTo>
                    <a:pt x="4901" y="1738"/>
                  </a:lnTo>
                  <a:lnTo>
                    <a:pt x="4949" y="1752"/>
                  </a:lnTo>
                  <a:lnTo>
                    <a:pt x="4972" y="1761"/>
                  </a:lnTo>
                  <a:lnTo>
                    <a:pt x="4995" y="1769"/>
                  </a:lnTo>
                  <a:lnTo>
                    <a:pt x="4995" y="1769"/>
                  </a:lnTo>
                  <a:lnTo>
                    <a:pt x="5020" y="1781"/>
                  </a:lnTo>
                  <a:lnTo>
                    <a:pt x="5044" y="1792"/>
                  </a:lnTo>
                  <a:lnTo>
                    <a:pt x="5066" y="1805"/>
                  </a:lnTo>
                  <a:lnTo>
                    <a:pt x="5089" y="1819"/>
                  </a:lnTo>
                  <a:lnTo>
                    <a:pt x="5111" y="1835"/>
                  </a:lnTo>
                  <a:lnTo>
                    <a:pt x="5131" y="1852"/>
                  </a:lnTo>
                  <a:lnTo>
                    <a:pt x="5150" y="1868"/>
                  </a:lnTo>
                  <a:lnTo>
                    <a:pt x="5170" y="1886"/>
                  </a:lnTo>
                  <a:lnTo>
                    <a:pt x="5188" y="1906"/>
                  </a:lnTo>
                  <a:lnTo>
                    <a:pt x="5205" y="1926"/>
                  </a:lnTo>
                  <a:lnTo>
                    <a:pt x="5222" y="1948"/>
                  </a:lnTo>
                  <a:lnTo>
                    <a:pt x="5238" y="1969"/>
                  </a:lnTo>
                  <a:lnTo>
                    <a:pt x="5253" y="1991"/>
                  </a:lnTo>
                  <a:lnTo>
                    <a:pt x="5266" y="2014"/>
                  </a:lnTo>
                  <a:lnTo>
                    <a:pt x="5278" y="2037"/>
                  </a:lnTo>
                  <a:lnTo>
                    <a:pt x="5289" y="2062"/>
                  </a:lnTo>
                  <a:lnTo>
                    <a:pt x="5301" y="2085"/>
                  </a:lnTo>
                  <a:lnTo>
                    <a:pt x="5311" y="2110"/>
                  </a:lnTo>
                  <a:lnTo>
                    <a:pt x="5319" y="2136"/>
                  </a:lnTo>
                  <a:lnTo>
                    <a:pt x="5326" y="2161"/>
                  </a:lnTo>
                  <a:lnTo>
                    <a:pt x="5332" y="2188"/>
                  </a:lnTo>
                  <a:lnTo>
                    <a:pt x="5337" y="2212"/>
                  </a:lnTo>
                  <a:lnTo>
                    <a:pt x="5341" y="2239"/>
                  </a:lnTo>
                  <a:lnTo>
                    <a:pt x="5344" y="2265"/>
                  </a:lnTo>
                  <a:lnTo>
                    <a:pt x="5346" y="2292"/>
                  </a:lnTo>
                  <a:lnTo>
                    <a:pt x="5346" y="2318"/>
                  </a:lnTo>
                  <a:lnTo>
                    <a:pt x="5344" y="2345"/>
                  </a:lnTo>
                  <a:lnTo>
                    <a:pt x="5342" y="2371"/>
                  </a:lnTo>
                  <a:lnTo>
                    <a:pt x="5339" y="2398"/>
                  </a:lnTo>
                  <a:lnTo>
                    <a:pt x="5334" y="2423"/>
                  </a:lnTo>
                  <a:lnTo>
                    <a:pt x="5327" y="2449"/>
                  </a:lnTo>
                  <a:lnTo>
                    <a:pt x="5321" y="2474"/>
                  </a:lnTo>
                  <a:lnTo>
                    <a:pt x="5321" y="2474"/>
                  </a:lnTo>
                  <a:lnTo>
                    <a:pt x="5309" y="2504"/>
                  </a:lnTo>
                  <a:lnTo>
                    <a:pt x="5298" y="2532"/>
                  </a:lnTo>
                  <a:lnTo>
                    <a:pt x="5284" y="2560"/>
                  </a:lnTo>
                  <a:lnTo>
                    <a:pt x="5270" y="2586"/>
                  </a:lnTo>
                  <a:lnTo>
                    <a:pt x="5253" y="2613"/>
                  </a:lnTo>
                  <a:lnTo>
                    <a:pt x="5236" y="2639"/>
                  </a:lnTo>
                  <a:lnTo>
                    <a:pt x="5218" y="2664"/>
                  </a:lnTo>
                  <a:lnTo>
                    <a:pt x="5200" y="2689"/>
                  </a:lnTo>
                  <a:lnTo>
                    <a:pt x="5180" y="2714"/>
                  </a:lnTo>
                  <a:lnTo>
                    <a:pt x="5159" y="2737"/>
                  </a:lnTo>
                  <a:lnTo>
                    <a:pt x="5116" y="2782"/>
                  </a:lnTo>
                  <a:lnTo>
                    <a:pt x="5071" y="2825"/>
                  </a:lnTo>
                  <a:lnTo>
                    <a:pt x="5023" y="2866"/>
                  </a:lnTo>
                  <a:lnTo>
                    <a:pt x="5023" y="2866"/>
                  </a:lnTo>
                  <a:lnTo>
                    <a:pt x="4977" y="2904"/>
                  </a:lnTo>
                  <a:lnTo>
                    <a:pt x="4927" y="2942"/>
                  </a:lnTo>
                  <a:lnTo>
                    <a:pt x="4877" y="2978"/>
                  </a:lnTo>
                  <a:lnTo>
                    <a:pt x="4826" y="3013"/>
                  </a:lnTo>
                  <a:lnTo>
                    <a:pt x="4775" y="3046"/>
                  </a:lnTo>
                  <a:lnTo>
                    <a:pt x="4722" y="3078"/>
                  </a:lnTo>
                  <a:lnTo>
                    <a:pt x="4667" y="3108"/>
                  </a:lnTo>
                  <a:lnTo>
                    <a:pt x="4613" y="3137"/>
                  </a:lnTo>
                  <a:lnTo>
                    <a:pt x="4558" y="3164"/>
                  </a:lnTo>
                  <a:lnTo>
                    <a:pt x="4502" y="3189"/>
                  </a:lnTo>
                  <a:lnTo>
                    <a:pt x="4444" y="3213"/>
                  </a:lnTo>
                  <a:lnTo>
                    <a:pt x="4388" y="3235"/>
                  </a:lnTo>
                  <a:lnTo>
                    <a:pt x="4330" y="3256"/>
                  </a:lnTo>
                  <a:lnTo>
                    <a:pt x="4270" y="3275"/>
                  </a:lnTo>
                  <a:lnTo>
                    <a:pt x="4211" y="3293"/>
                  </a:lnTo>
                  <a:lnTo>
                    <a:pt x="4151" y="3308"/>
                  </a:lnTo>
                  <a:lnTo>
                    <a:pt x="4151" y="3308"/>
                  </a:lnTo>
                  <a:lnTo>
                    <a:pt x="4075" y="3324"/>
                  </a:lnTo>
                  <a:lnTo>
                    <a:pt x="3999" y="3339"/>
                  </a:lnTo>
                  <a:lnTo>
                    <a:pt x="3923" y="3351"/>
                  </a:lnTo>
                  <a:lnTo>
                    <a:pt x="3847" y="3361"/>
                  </a:lnTo>
                  <a:lnTo>
                    <a:pt x="3769" y="3369"/>
                  </a:lnTo>
                  <a:lnTo>
                    <a:pt x="3693" y="3376"/>
                  </a:lnTo>
                  <a:lnTo>
                    <a:pt x="3615" y="3379"/>
                  </a:lnTo>
                  <a:lnTo>
                    <a:pt x="3537" y="3382"/>
                  </a:lnTo>
                  <a:lnTo>
                    <a:pt x="3460" y="3384"/>
                  </a:lnTo>
                  <a:lnTo>
                    <a:pt x="3382" y="3385"/>
                  </a:lnTo>
                  <a:lnTo>
                    <a:pt x="3225" y="3384"/>
                  </a:lnTo>
                  <a:lnTo>
                    <a:pt x="2914" y="3379"/>
                  </a:lnTo>
                  <a:lnTo>
                    <a:pt x="2914" y="3379"/>
                  </a:lnTo>
                  <a:lnTo>
                    <a:pt x="2725" y="3376"/>
                  </a:lnTo>
                  <a:lnTo>
                    <a:pt x="2536" y="3374"/>
                  </a:lnTo>
                  <a:lnTo>
                    <a:pt x="2348" y="3372"/>
                  </a:lnTo>
                  <a:lnTo>
                    <a:pt x="2157" y="3367"/>
                  </a:lnTo>
                  <a:lnTo>
                    <a:pt x="2063" y="3362"/>
                  </a:lnTo>
                  <a:lnTo>
                    <a:pt x="1970" y="3357"/>
                  </a:lnTo>
                  <a:lnTo>
                    <a:pt x="1876" y="3351"/>
                  </a:lnTo>
                  <a:lnTo>
                    <a:pt x="1782" y="3342"/>
                  </a:lnTo>
                  <a:lnTo>
                    <a:pt x="1689" y="3333"/>
                  </a:lnTo>
                  <a:lnTo>
                    <a:pt x="1595" y="3321"/>
                  </a:lnTo>
                  <a:lnTo>
                    <a:pt x="1502" y="3308"/>
                  </a:lnTo>
                  <a:lnTo>
                    <a:pt x="1410" y="3291"/>
                  </a:lnTo>
                  <a:lnTo>
                    <a:pt x="1410" y="3291"/>
                  </a:lnTo>
                  <a:lnTo>
                    <a:pt x="1314" y="3271"/>
                  </a:lnTo>
                  <a:lnTo>
                    <a:pt x="1221" y="3248"/>
                  </a:lnTo>
                  <a:lnTo>
                    <a:pt x="1173" y="3235"/>
                  </a:lnTo>
                  <a:lnTo>
                    <a:pt x="1127" y="3222"/>
                  </a:lnTo>
                  <a:lnTo>
                    <a:pt x="1080" y="3207"/>
                  </a:lnTo>
                  <a:lnTo>
                    <a:pt x="1036" y="3190"/>
                  </a:lnTo>
                  <a:lnTo>
                    <a:pt x="991" y="3174"/>
                  </a:lnTo>
                  <a:lnTo>
                    <a:pt x="946" y="3154"/>
                  </a:lnTo>
                  <a:lnTo>
                    <a:pt x="902" y="3134"/>
                  </a:lnTo>
                  <a:lnTo>
                    <a:pt x="859" y="3112"/>
                  </a:lnTo>
                  <a:lnTo>
                    <a:pt x="817" y="3089"/>
                  </a:lnTo>
                  <a:lnTo>
                    <a:pt x="776" y="3066"/>
                  </a:lnTo>
                  <a:lnTo>
                    <a:pt x="736" y="3040"/>
                  </a:lnTo>
                  <a:lnTo>
                    <a:pt x="697" y="3012"/>
                  </a:lnTo>
                  <a:lnTo>
                    <a:pt x="697" y="3012"/>
                  </a:lnTo>
                  <a:lnTo>
                    <a:pt x="645" y="2972"/>
                  </a:lnTo>
                  <a:lnTo>
                    <a:pt x="597" y="2930"/>
                  </a:lnTo>
                  <a:lnTo>
                    <a:pt x="551" y="2886"/>
                  </a:lnTo>
                  <a:lnTo>
                    <a:pt x="508" y="2839"/>
                  </a:lnTo>
                  <a:lnTo>
                    <a:pt x="467" y="2791"/>
                  </a:lnTo>
                  <a:lnTo>
                    <a:pt x="427" y="2740"/>
                  </a:lnTo>
                  <a:lnTo>
                    <a:pt x="389" y="2689"/>
                  </a:lnTo>
                  <a:lnTo>
                    <a:pt x="352" y="2636"/>
                  </a:lnTo>
                  <a:lnTo>
                    <a:pt x="318" y="2581"/>
                  </a:lnTo>
                  <a:lnTo>
                    <a:pt x="285" y="2525"/>
                  </a:lnTo>
                  <a:lnTo>
                    <a:pt x="251" y="2469"/>
                  </a:lnTo>
                  <a:lnTo>
                    <a:pt x="222" y="2411"/>
                  </a:lnTo>
                  <a:lnTo>
                    <a:pt x="192" y="2353"/>
                  </a:lnTo>
                  <a:lnTo>
                    <a:pt x="164" y="2295"/>
                  </a:lnTo>
                  <a:lnTo>
                    <a:pt x="109" y="2178"/>
                  </a:lnTo>
                  <a:lnTo>
                    <a:pt x="109" y="2178"/>
                  </a:lnTo>
                  <a:lnTo>
                    <a:pt x="88" y="2130"/>
                  </a:lnTo>
                  <a:lnTo>
                    <a:pt x="68" y="2082"/>
                  </a:lnTo>
                  <a:lnTo>
                    <a:pt x="50" y="2034"/>
                  </a:lnTo>
                  <a:lnTo>
                    <a:pt x="33" y="1986"/>
                  </a:lnTo>
                  <a:lnTo>
                    <a:pt x="18" y="1936"/>
                  </a:lnTo>
                  <a:lnTo>
                    <a:pt x="8" y="1885"/>
                  </a:lnTo>
                  <a:lnTo>
                    <a:pt x="5" y="1860"/>
                  </a:lnTo>
                  <a:lnTo>
                    <a:pt x="2" y="1835"/>
                  </a:lnTo>
                  <a:lnTo>
                    <a:pt x="0" y="1809"/>
                  </a:lnTo>
                  <a:lnTo>
                    <a:pt x="0" y="1784"/>
                  </a:lnTo>
                  <a:lnTo>
                    <a:pt x="0" y="1784"/>
                  </a:lnTo>
                  <a:lnTo>
                    <a:pt x="0" y="1761"/>
                  </a:lnTo>
                  <a:lnTo>
                    <a:pt x="3" y="1738"/>
                  </a:lnTo>
                  <a:lnTo>
                    <a:pt x="8" y="1693"/>
                  </a:lnTo>
                  <a:lnTo>
                    <a:pt x="18" y="1648"/>
                  </a:lnTo>
                  <a:lnTo>
                    <a:pt x="31" y="1605"/>
                  </a:lnTo>
                  <a:lnTo>
                    <a:pt x="48" y="1562"/>
                  </a:lnTo>
                  <a:lnTo>
                    <a:pt x="65" y="1519"/>
                  </a:lnTo>
                  <a:lnTo>
                    <a:pt x="86" y="1478"/>
                  </a:lnTo>
                  <a:lnTo>
                    <a:pt x="108" y="1436"/>
                  </a:lnTo>
                  <a:lnTo>
                    <a:pt x="131" y="1397"/>
                  </a:lnTo>
                  <a:lnTo>
                    <a:pt x="154" y="1355"/>
                  </a:lnTo>
                  <a:lnTo>
                    <a:pt x="204" y="1274"/>
                  </a:lnTo>
                  <a:lnTo>
                    <a:pt x="253" y="1193"/>
                  </a:lnTo>
                  <a:lnTo>
                    <a:pt x="278" y="1154"/>
                  </a:lnTo>
                  <a:lnTo>
                    <a:pt x="299" y="1112"/>
                  </a:lnTo>
                  <a:lnTo>
                    <a:pt x="299" y="1112"/>
                  </a:lnTo>
                  <a:lnTo>
                    <a:pt x="331" y="1053"/>
                  </a:lnTo>
                  <a:lnTo>
                    <a:pt x="359" y="990"/>
                  </a:lnTo>
                  <a:lnTo>
                    <a:pt x="384" y="927"/>
                  </a:lnTo>
                  <a:lnTo>
                    <a:pt x="405" y="862"/>
                  </a:lnTo>
                  <a:lnTo>
                    <a:pt x="425" y="796"/>
                  </a:lnTo>
                  <a:lnTo>
                    <a:pt x="440" y="730"/>
                  </a:lnTo>
                  <a:lnTo>
                    <a:pt x="453" y="664"/>
                  </a:lnTo>
                  <a:lnTo>
                    <a:pt x="463" y="596"/>
                  </a:lnTo>
                  <a:lnTo>
                    <a:pt x="463" y="596"/>
                  </a:lnTo>
                  <a:lnTo>
                    <a:pt x="467" y="555"/>
                  </a:lnTo>
                  <a:lnTo>
                    <a:pt x="467" y="512"/>
                  </a:lnTo>
                  <a:lnTo>
                    <a:pt x="468" y="465"/>
                  </a:lnTo>
                  <a:lnTo>
                    <a:pt x="470" y="419"/>
                  </a:lnTo>
                  <a:lnTo>
                    <a:pt x="473" y="397"/>
                  </a:lnTo>
                  <a:lnTo>
                    <a:pt x="476" y="376"/>
                  </a:lnTo>
                  <a:lnTo>
                    <a:pt x="481" y="354"/>
                  </a:lnTo>
                  <a:lnTo>
                    <a:pt x="488" y="335"/>
                  </a:lnTo>
                  <a:lnTo>
                    <a:pt x="498" y="316"/>
                  </a:lnTo>
                  <a:lnTo>
                    <a:pt x="508" y="298"/>
                  </a:lnTo>
                  <a:lnTo>
                    <a:pt x="523" y="282"/>
                  </a:lnTo>
                  <a:lnTo>
                    <a:pt x="538" y="268"/>
                  </a:lnTo>
                  <a:lnTo>
                    <a:pt x="538" y="268"/>
                  </a:lnTo>
                  <a:lnTo>
                    <a:pt x="563" y="250"/>
                  </a:lnTo>
                  <a:lnTo>
                    <a:pt x="591" y="235"/>
                  </a:lnTo>
                  <a:lnTo>
                    <a:pt x="622" y="222"/>
                  </a:lnTo>
                  <a:lnTo>
                    <a:pt x="654" y="209"/>
                  </a:lnTo>
                  <a:lnTo>
                    <a:pt x="688" y="199"/>
                  </a:lnTo>
                  <a:lnTo>
                    <a:pt x="723" y="189"/>
                  </a:lnTo>
                  <a:lnTo>
                    <a:pt x="759" y="181"/>
                  </a:lnTo>
                  <a:lnTo>
                    <a:pt x="797" y="172"/>
                  </a:lnTo>
                  <a:lnTo>
                    <a:pt x="872" y="159"/>
                  </a:lnTo>
                  <a:lnTo>
                    <a:pt x="945" y="148"/>
                  </a:lnTo>
                  <a:lnTo>
                    <a:pt x="1014" y="136"/>
                  </a:lnTo>
                  <a:lnTo>
                    <a:pt x="1075" y="124"/>
                  </a:lnTo>
                  <a:lnTo>
                    <a:pt x="1075" y="124"/>
                  </a:lnTo>
                  <a:lnTo>
                    <a:pt x="1228" y="93"/>
                  </a:lnTo>
                  <a:lnTo>
                    <a:pt x="1378" y="66"/>
                  </a:lnTo>
                  <a:lnTo>
                    <a:pt x="1530" y="42"/>
                  </a:lnTo>
                  <a:lnTo>
                    <a:pt x="1683"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20"/>
            <p:cNvSpPr>
              <a:spLocks/>
            </p:cNvSpPr>
            <p:nvPr/>
          </p:nvSpPr>
          <p:spPr bwMode="auto">
            <a:xfrm>
              <a:off x="1473316" y="1079693"/>
              <a:ext cx="7527336" cy="4981410"/>
            </a:xfrm>
            <a:custGeom>
              <a:avLst/>
              <a:gdLst>
                <a:gd name="T0" fmla="*/ 5170 w 5180"/>
                <a:gd name="T1" fmla="*/ 2631 h 3428"/>
                <a:gd name="T2" fmla="*/ 5091 w 5180"/>
                <a:gd name="T3" fmla="*/ 2440 h 3428"/>
                <a:gd name="T4" fmla="*/ 4947 w 5180"/>
                <a:gd name="T5" fmla="*/ 2293 h 3428"/>
                <a:gd name="T6" fmla="*/ 4753 w 5180"/>
                <a:gd name="T7" fmla="*/ 2210 h 3428"/>
                <a:gd name="T8" fmla="*/ 4588 w 5180"/>
                <a:gd name="T9" fmla="*/ 2202 h 3428"/>
                <a:gd name="T10" fmla="*/ 4510 w 5180"/>
                <a:gd name="T11" fmla="*/ 2068 h 3428"/>
                <a:gd name="T12" fmla="*/ 4364 w 5180"/>
                <a:gd name="T13" fmla="*/ 2004 h 3428"/>
                <a:gd name="T14" fmla="*/ 4248 w 5180"/>
                <a:gd name="T15" fmla="*/ 2018 h 3428"/>
                <a:gd name="T16" fmla="*/ 4143 w 5180"/>
                <a:gd name="T17" fmla="*/ 2091 h 3428"/>
                <a:gd name="T18" fmla="*/ 3921 w 5180"/>
                <a:gd name="T19" fmla="*/ 2164 h 3428"/>
                <a:gd name="T20" fmla="*/ 3808 w 5180"/>
                <a:gd name="T21" fmla="*/ 2171 h 3428"/>
                <a:gd name="T22" fmla="*/ 3712 w 5180"/>
                <a:gd name="T23" fmla="*/ 2166 h 3428"/>
                <a:gd name="T24" fmla="*/ 3626 w 5180"/>
                <a:gd name="T25" fmla="*/ 2229 h 3428"/>
                <a:gd name="T26" fmla="*/ 3565 w 5180"/>
                <a:gd name="T27" fmla="*/ 2248 h 3428"/>
                <a:gd name="T28" fmla="*/ 3443 w 5180"/>
                <a:gd name="T29" fmla="*/ 2220 h 3428"/>
                <a:gd name="T30" fmla="*/ 3325 w 5180"/>
                <a:gd name="T31" fmla="*/ 2232 h 3428"/>
                <a:gd name="T32" fmla="*/ 3152 w 5180"/>
                <a:gd name="T33" fmla="*/ 2136 h 3428"/>
                <a:gd name="T34" fmla="*/ 2998 w 5180"/>
                <a:gd name="T35" fmla="*/ 2167 h 3428"/>
                <a:gd name="T36" fmla="*/ 2893 w 5180"/>
                <a:gd name="T37" fmla="*/ 2278 h 3428"/>
                <a:gd name="T38" fmla="*/ 2738 w 5180"/>
                <a:gd name="T39" fmla="*/ 2204 h 3428"/>
                <a:gd name="T40" fmla="*/ 2536 w 5180"/>
                <a:gd name="T41" fmla="*/ 2229 h 3428"/>
                <a:gd name="T42" fmla="*/ 2422 w 5180"/>
                <a:gd name="T43" fmla="*/ 2182 h 3428"/>
                <a:gd name="T44" fmla="*/ 2311 w 5180"/>
                <a:gd name="T45" fmla="*/ 2166 h 3428"/>
                <a:gd name="T46" fmla="*/ 2212 w 5180"/>
                <a:gd name="T47" fmla="*/ 2248 h 3428"/>
                <a:gd name="T48" fmla="*/ 2088 w 5180"/>
                <a:gd name="T49" fmla="*/ 2182 h 3428"/>
                <a:gd name="T50" fmla="*/ 1959 w 5180"/>
                <a:gd name="T51" fmla="*/ 2176 h 3428"/>
                <a:gd name="T52" fmla="*/ 1868 w 5180"/>
                <a:gd name="T53" fmla="*/ 2119 h 3428"/>
                <a:gd name="T54" fmla="*/ 1755 w 5180"/>
                <a:gd name="T55" fmla="*/ 2045 h 3428"/>
                <a:gd name="T56" fmla="*/ 1608 w 5180"/>
                <a:gd name="T57" fmla="*/ 2042 h 3428"/>
                <a:gd name="T58" fmla="*/ 1509 w 5180"/>
                <a:gd name="T59" fmla="*/ 1911 h 3428"/>
                <a:gd name="T60" fmla="*/ 1350 w 5180"/>
                <a:gd name="T61" fmla="*/ 1805 h 3428"/>
                <a:gd name="T62" fmla="*/ 1347 w 5180"/>
                <a:gd name="T63" fmla="*/ 1721 h 3428"/>
                <a:gd name="T64" fmla="*/ 1294 w 5180"/>
                <a:gd name="T65" fmla="*/ 1593 h 3428"/>
                <a:gd name="T66" fmla="*/ 1312 w 5180"/>
                <a:gd name="T67" fmla="*/ 1489 h 3428"/>
                <a:gd name="T68" fmla="*/ 1342 w 5180"/>
                <a:gd name="T69" fmla="*/ 1342 h 3428"/>
                <a:gd name="T70" fmla="*/ 1297 w 5180"/>
                <a:gd name="T71" fmla="*/ 1219 h 3428"/>
                <a:gd name="T72" fmla="*/ 1265 w 5180"/>
                <a:gd name="T73" fmla="*/ 1156 h 3428"/>
                <a:gd name="T74" fmla="*/ 1348 w 5180"/>
                <a:gd name="T75" fmla="*/ 1100 h 3428"/>
                <a:gd name="T76" fmla="*/ 1378 w 5180"/>
                <a:gd name="T77" fmla="*/ 1006 h 3428"/>
                <a:gd name="T78" fmla="*/ 1312 w 5180"/>
                <a:gd name="T79" fmla="*/ 888 h 3428"/>
                <a:gd name="T80" fmla="*/ 1365 w 5180"/>
                <a:gd name="T81" fmla="*/ 791 h 3428"/>
                <a:gd name="T82" fmla="*/ 1340 w 5180"/>
                <a:gd name="T83" fmla="*/ 693 h 3428"/>
                <a:gd name="T84" fmla="*/ 1247 w 5180"/>
                <a:gd name="T85" fmla="*/ 629 h 3428"/>
                <a:gd name="T86" fmla="*/ 1193 w 5180"/>
                <a:gd name="T87" fmla="*/ 607 h 3428"/>
                <a:gd name="T88" fmla="*/ 1206 w 5180"/>
                <a:gd name="T89" fmla="*/ 445 h 3428"/>
                <a:gd name="T90" fmla="*/ 1113 w 5180"/>
                <a:gd name="T91" fmla="*/ 301 h 3428"/>
                <a:gd name="T92" fmla="*/ 1042 w 5180"/>
                <a:gd name="T93" fmla="*/ 230 h 3428"/>
                <a:gd name="T94" fmla="*/ 997 w 5180"/>
                <a:gd name="T95" fmla="*/ 78 h 3428"/>
                <a:gd name="T96" fmla="*/ 857 w 5180"/>
                <a:gd name="T97" fmla="*/ 2 h 3428"/>
                <a:gd name="T98" fmla="*/ 721 w 5180"/>
                <a:gd name="T99" fmla="*/ 35 h 3428"/>
                <a:gd name="T100" fmla="*/ 632 w 5180"/>
                <a:gd name="T101" fmla="*/ 165 h 3428"/>
                <a:gd name="T102" fmla="*/ 276 w 5180"/>
                <a:gd name="T103" fmla="*/ 3014 h 3428"/>
                <a:gd name="T104" fmla="*/ 4789 w 5180"/>
                <a:gd name="T105" fmla="*/ 3254 h 3428"/>
                <a:gd name="T106" fmla="*/ 4957 w 5180"/>
                <a:gd name="T107" fmla="*/ 3173 h 3428"/>
                <a:gd name="T108" fmla="*/ 5087 w 5180"/>
                <a:gd name="T109" fmla="*/ 3039 h 3428"/>
                <a:gd name="T110" fmla="*/ 5165 w 5180"/>
                <a:gd name="T111" fmla="*/ 2866 h 3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80" h="3428">
                  <a:moveTo>
                    <a:pt x="5177" y="2793"/>
                  </a:moveTo>
                  <a:lnTo>
                    <a:pt x="5177" y="2793"/>
                  </a:lnTo>
                  <a:lnTo>
                    <a:pt x="5180" y="2765"/>
                  </a:lnTo>
                  <a:lnTo>
                    <a:pt x="5180" y="2738"/>
                  </a:lnTo>
                  <a:lnTo>
                    <a:pt x="5180" y="2710"/>
                  </a:lnTo>
                  <a:lnTo>
                    <a:pt x="5178" y="2684"/>
                  </a:lnTo>
                  <a:lnTo>
                    <a:pt x="5175" y="2657"/>
                  </a:lnTo>
                  <a:lnTo>
                    <a:pt x="5170" y="2631"/>
                  </a:lnTo>
                  <a:lnTo>
                    <a:pt x="5163" y="2606"/>
                  </a:lnTo>
                  <a:lnTo>
                    <a:pt x="5157" y="2581"/>
                  </a:lnTo>
                  <a:lnTo>
                    <a:pt x="5148" y="2556"/>
                  </a:lnTo>
                  <a:lnTo>
                    <a:pt x="5139" y="2531"/>
                  </a:lnTo>
                  <a:lnTo>
                    <a:pt x="5129" y="2508"/>
                  </a:lnTo>
                  <a:lnTo>
                    <a:pt x="5117" y="2485"/>
                  </a:lnTo>
                  <a:lnTo>
                    <a:pt x="5104" y="2462"/>
                  </a:lnTo>
                  <a:lnTo>
                    <a:pt x="5091" y="2440"/>
                  </a:lnTo>
                  <a:lnTo>
                    <a:pt x="5076" y="2419"/>
                  </a:lnTo>
                  <a:lnTo>
                    <a:pt x="5061" y="2399"/>
                  </a:lnTo>
                  <a:lnTo>
                    <a:pt x="5044" y="2379"/>
                  </a:lnTo>
                  <a:lnTo>
                    <a:pt x="5026" y="2359"/>
                  </a:lnTo>
                  <a:lnTo>
                    <a:pt x="5008" y="2343"/>
                  </a:lnTo>
                  <a:lnTo>
                    <a:pt x="4988" y="2325"/>
                  </a:lnTo>
                  <a:lnTo>
                    <a:pt x="4968" y="2308"/>
                  </a:lnTo>
                  <a:lnTo>
                    <a:pt x="4947" y="2293"/>
                  </a:lnTo>
                  <a:lnTo>
                    <a:pt x="4925" y="2280"/>
                  </a:lnTo>
                  <a:lnTo>
                    <a:pt x="4902" y="2267"/>
                  </a:lnTo>
                  <a:lnTo>
                    <a:pt x="4879" y="2253"/>
                  </a:lnTo>
                  <a:lnTo>
                    <a:pt x="4856" y="2243"/>
                  </a:lnTo>
                  <a:lnTo>
                    <a:pt x="4831" y="2234"/>
                  </a:lnTo>
                  <a:lnTo>
                    <a:pt x="4806" y="2225"/>
                  </a:lnTo>
                  <a:lnTo>
                    <a:pt x="4780" y="2217"/>
                  </a:lnTo>
                  <a:lnTo>
                    <a:pt x="4753" y="2210"/>
                  </a:lnTo>
                  <a:lnTo>
                    <a:pt x="4727" y="2205"/>
                  </a:lnTo>
                  <a:lnTo>
                    <a:pt x="4698" y="2202"/>
                  </a:lnTo>
                  <a:lnTo>
                    <a:pt x="4698" y="2202"/>
                  </a:lnTo>
                  <a:lnTo>
                    <a:pt x="4670" y="2200"/>
                  </a:lnTo>
                  <a:lnTo>
                    <a:pt x="4642" y="2199"/>
                  </a:lnTo>
                  <a:lnTo>
                    <a:pt x="4616" y="2200"/>
                  </a:lnTo>
                  <a:lnTo>
                    <a:pt x="4588" y="2202"/>
                  </a:lnTo>
                  <a:lnTo>
                    <a:pt x="4588" y="2202"/>
                  </a:lnTo>
                  <a:lnTo>
                    <a:pt x="4583" y="2182"/>
                  </a:lnTo>
                  <a:lnTo>
                    <a:pt x="4576" y="2164"/>
                  </a:lnTo>
                  <a:lnTo>
                    <a:pt x="4568" y="2146"/>
                  </a:lnTo>
                  <a:lnTo>
                    <a:pt x="4559" y="2129"/>
                  </a:lnTo>
                  <a:lnTo>
                    <a:pt x="4548" y="2113"/>
                  </a:lnTo>
                  <a:lnTo>
                    <a:pt x="4536" y="2096"/>
                  </a:lnTo>
                  <a:lnTo>
                    <a:pt x="4523" y="2083"/>
                  </a:lnTo>
                  <a:lnTo>
                    <a:pt x="4510" y="2068"/>
                  </a:lnTo>
                  <a:lnTo>
                    <a:pt x="4493" y="2056"/>
                  </a:lnTo>
                  <a:lnTo>
                    <a:pt x="4478" y="2045"/>
                  </a:lnTo>
                  <a:lnTo>
                    <a:pt x="4460" y="2035"/>
                  </a:lnTo>
                  <a:lnTo>
                    <a:pt x="4444" y="2025"/>
                  </a:lnTo>
                  <a:lnTo>
                    <a:pt x="4424" y="2018"/>
                  </a:lnTo>
                  <a:lnTo>
                    <a:pt x="4406" y="2012"/>
                  </a:lnTo>
                  <a:lnTo>
                    <a:pt x="4384" y="2007"/>
                  </a:lnTo>
                  <a:lnTo>
                    <a:pt x="4364" y="2004"/>
                  </a:lnTo>
                  <a:lnTo>
                    <a:pt x="4364" y="2004"/>
                  </a:lnTo>
                  <a:lnTo>
                    <a:pt x="4346" y="2004"/>
                  </a:lnTo>
                  <a:lnTo>
                    <a:pt x="4330" y="2004"/>
                  </a:lnTo>
                  <a:lnTo>
                    <a:pt x="4313" y="2004"/>
                  </a:lnTo>
                  <a:lnTo>
                    <a:pt x="4296" y="2007"/>
                  </a:lnTo>
                  <a:lnTo>
                    <a:pt x="4280" y="2008"/>
                  </a:lnTo>
                  <a:lnTo>
                    <a:pt x="4263" y="2013"/>
                  </a:lnTo>
                  <a:lnTo>
                    <a:pt x="4248" y="2018"/>
                  </a:lnTo>
                  <a:lnTo>
                    <a:pt x="4234" y="2025"/>
                  </a:lnTo>
                  <a:lnTo>
                    <a:pt x="4219" y="2032"/>
                  </a:lnTo>
                  <a:lnTo>
                    <a:pt x="4204" y="2040"/>
                  </a:lnTo>
                  <a:lnTo>
                    <a:pt x="4191" y="2048"/>
                  </a:lnTo>
                  <a:lnTo>
                    <a:pt x="4177" y="2058"/>
                  </a:lnTo>
                  <a:lnTo>
                    <a:pt x="4166" y="2068"/>
                  </a:lnTo>
                  <a:lnTo>
                    <a:pt x="4154" y="2080"/>
                  </a:lnTo>
                  <a:lnTo>
                    <a:pt x="4143" y="2091"/>
                  </a:lnTo>
                  <a:lnTo>
                    <a:pt x="4133" y="2104"/>
                  </a:lnTo>
                  <a:lnTo>
                    <a:pt x="4133" y="2104"/>
                  </a:lnTo>
                  <a:lnTo>
                    <a:pt x="4095" y="2106"/>
                  </a:lnTo>
                  <a:lnTo>
                    <a:pt x="4057" y="2111"/>
                  </a:lnTo>
                  <a:lnTo>
                    <a:pt x="4020" y="2119"/>
                  </a:lnTo>
                  <a:lnTo>
                    <a:pt x="3985" y="2131"/>
                  </a:lnTo>
                  <a:lnTo>
                    <a:pt x="3952" y="2146"/>
                  </a:lnTo>
                  <a:lnTo>
                    <a:pt x="3921" y="2164"/>
                  </a:lnTo>
                  <a:lnTo>
                    <a:pt x="3891" y="2184"/>
                  </a:lnTo>
                  <a:lnTo>
                    <a:pt x="3863" y="2209"/>
                  </a:lnTo>
                  <a:lnTo>
                    <a:pt x="3863" y="2209"/>
                  </a:lnTo>
                  <a:lnTo>
                    <a:pt x="3853" y="2199"/>
                  </a:lnTo>
                  <a:lnTo>
                    <a:pt x="3843" y="2190"/>
                  </a:lnTo>
                  <a:lnTo>
                    <a:pt x="3832" y="2182"/>
                  </a:lnTo>
                  <a:lnTo>
                    <a:pt x="3820" y="2176"/>
                  </a:lnTo>
                  <a:lnTo>
                    <a:pt x="3808" y="2171"/>
                  </a:lnTo>
                  <a:lnTo>
                    <a:pt x="3795" y="2166"/>
                  </a:lnTo>
                  <a:lnTo>
                    <a:pt x="3782" y="2162"/>
                  </a:lnTo>
                  <a:lnTo>
                    <a:pt x="3769" y="2161"/>
                  </a:lnTo>
                  <a:lnTo>
                    <a:pt x="3769" y="2161"/>
                  </a:lnTo>
                  <a:lnTo>
                    <a:pt x="3754" y="2159"/>
                  </a:lnTo>
                  <a:lnTo>
                    <a:pt x="3739" y="2161"/>
                  </a:lnTo>
                  <a:lnTo>
                    <a:pt x="3726" y="2162"/>
                  </a:lnTo>
                  <a:lnTo>
                    <a:pt x="3712" y="2166"/>
                  </a:lnTo>
                  <a:lnTo>
                    <a:pt x="3699" y="2169"/>
                  </a:lnTo>
                  <a:lnTo>
                    <a:pt x="3686" y="2174"/>
                  </a:lnTo>
                  <a:lnTo>
                    <a:pt x="3674" y="2181"/>
                  </a:lnTo>
                  <a:lnTo>
                    <a:pt x="3663" y="2189"/>
                  </a:lnTo>
                  <a:lnTo>
                    <a:pt x="3653" y="2197"/>
                  </a:lnTo>
                  <a:lnTo>
                    <a:pt x="3643" y="2207"/>
                  </a:lnTo>
                  <a:lnTo>
                    <a:pt x="3635" y="2217"/>
                  </a:lnTo>
                  <a:lnTo>
                    <a:pt x="3626" y="2229"/>
                  </a:lnTo>
                  <a:lnTo>
                    <a:pt x="3620" y="2240"/>
                  </a:lnTo>
                  <a:lnTo>
                    <a:pt x="3615" y="2253"/>
                  </a:lnTo>
                  <a:lnTo>
                    <a:pt x="3610" y="2267"/>
                  </a:lnTo>
                  <a:lnTo>
                    <a:pt x="3607" y="2280"/>
                  </a:lnTo>
                  <a:lnTo>
                    <a:pt x="3607" y="2280"/>
                  </a:lnTo>
                  <a:lnTo>
                    <a:pt x="3593" y="2268"/>
                  </a:lnTo>
                  <a:lnTo>
                    <a:pt x="3580" y="2258"/>
                  </a:lnTo>
                  <a:lnTo>
                    <a:pt x="3565" y="2248"/>
                  </a:lnTo>
                  <a:lnTo>
                    <a:pt x="3550" y="2240"/>
                  </a:lnTo>
                  <a:lnTo>
                    <a:pt x="3534" y="2234"/>
                  </a:lnTo>
                  <a:lnTo>
                    <a:pt x="3517" y="2227"/>
                  </a:lnTo>
                  <a:lnTo>
                    <a:pt x="3499" y="2224"/>
                  </a:lnTo>
                  <a:lnTo>
                    <a:pt x="3481" y="2220"/>
                  </a:lnTo>
                  <a:lnTo>
                    <a:pt x="3481" y="2220"/>
                  </a:lnTo>
                  <a:lnTo>
                    <a:pt x="3461" y="2219"/>
                  </a:lnTo>
                  <a:lnTo>
                    <a:pt x="3443" y="2220"/>
                  </a:lnTo>
                  <a:lnTo>
                    <a:pt x="3425" y="2222"/>
                  </a:lnTo>
                  <a:lnTo>
                    <a:pt x="3406" y="2225"/>
                  </a:lnTo>
                  <a:lnTo>
                    <a:pt x="3390" y="2230"/>
                  </a:lnTo>
                  <a:lnTo>
                    <a:pt x="3373" y="2238"/>
                  </a:lnTo>
                  <a:lnTo>
                    <a:pt x="3357" y="2245"/>
                  </a:lnTo>
                  <a:lnTo>
                    <a:pt x="3342" y="2255"/>
                  </a:lnTo>
                  <a:lnTo>
                    <a:pt x="3342" y="2255"/>
                  </a:lnTo>
                  <a:lnTo>
                    <a:pt x="3325" y="2232"/>
                  </a:lnTo>
                  <a:lnTo>
                    <a:pt x="3307" y="2210"/>
                  </a:lnTo>
                  <a:lnTo>
                    <a:pt x="3286" y="2192"/>
                  </a:lnTo>
                  <a:lnTo>
                    <a:pt x="3262" y="2174"/>
                  </a:lnTo>
                  <a:lnTo>
                    <a:pt x="3236" y="2161"/>
                  </a:lnTo>
                  <a:lnTo>
                    <a:pt x="3209" y="2149"/>
                  </a:lnTo>
                  <a:lnTo>
                    <a:pt x="3181" y="2141"/>
                  </a:lnTo>
                  <a:lnTo>
                    <a:pt x="3152" y="2136"/>
                  </a:lnTo>
                  <a:lnTo>
                    <a:pt x="3152" y="2136"/>
                  </a:lnTo>
                  <a:lnTo>
                    <a:pt x="3130" y="2134"/>
                  </a:lnTo>
                  <a:lnTo>
                    <a:pt x="3110" y="2136"/>
                  </a:lnTo>
                  <a:lnTo>
                    <a:pt x="3090" y="2138"/>
                  </a:lnTo>
                  <a:lnTo>
                    <a:pt x="3070" y="2141"/>
                  </a:lnTo>
                  <a:lnTo>
                    <a:pt x="3052" y="2146"/>
                  </a:lnTo>
                  <a:lnTo>
                    <a:pt x="3034" y="2151"/>
                  </a:lnTo>
                  <a:lnTo>
                    <a:pt x="3016" y="2159"/>
                  </a:lnTo>
                  <a:lnTo>
                    <a:pt x="2998" y="2167"/>
                  </a:lnTo>
                  <a:lnTo>
                    <a:pt x="2983" y="2177"/>
                  </a:lnTo>
                  <a:lnTo>
                    <a:pt x="2966" y="2189"/>
                  </a:lnTo>
                  <a:lnTo>
                    <a:pt x="2951" y="2202"/>
                  </a:lnTo>
                  <a:lnTo>
                    <a:pt x="2938" y="2215"/>
                  </a:lnTo>
                  <a:lnTo>
                    <a:pt x="2925" y="2229"/>
                  </a:lnTo>
                  <a:lnTo>
                    <a:pt x="2913" y="2245"/>
                  </a:lnTo>
                  <a:lnTo>
                    <a:pt x="2903" y="2260"/>
                  </a:lnTo>
                  <a:lnTo>
                    <a:pt x="2893" y="2278"/>
                  </a:lnTo>
                  <a:lnTo>
                    <a:pt x="2893" y="2278"/>
                  </a:lnTo>
                  <a:lnTo>
                    <a:pt x="2874" y="2263"/>
                  </a:lnTo>
                  <a:lnTo>
                    <a:pt x="2854" y="2248"/>
                  </a:lnTo>
                  <a:lnTo>
                    <a:pt x="2832" y="2237"/>
                  </a:lnTo>
                  <a:lnTo>
                    <a:pt x="2811" y="2225"/>
                  </a:lnTo>
                  <a:lnTo>
                    <a:pt x="2786" y="2217"/>
                  </a:lnTo>
                  <a:lnTo>
                    <a:pt x="2763" y="2209"/>
                  </a:lnTo>
                  <a:lnTo>
                    <a:pt x="2738" y="2204"/>
                  </a:lnTo>
                  <a:lnTo>
                    <a:pt x="2711" y="2199"/>
                  </a:lnTo>
                  <a:lnTo>
                    <a:pt x="2711" y="2199"/>
                  </a:lnTo>
                  <a:lnTo>
                    <a:pt x="2680" y="2197"/>
                  </a:lnTo>
                  <a:lnTo>
                    <a:pt x="2650" y="2199"/>
                  </a:lnTo>
                  <a:lnTo>
                    <a:pt x="2620" y="2202"/>
                  </a:lnTo>
                  <a:lnTo>
                    <a:pt x="2591" y="2209"/>
                  </a:lnTo>
                  <a:lnTo>
                    <a:pt x="2563" y="2217"/>
                  </a:lnTo>
                  <a:lnTo>
                    <a:pt x="2536" y="2229"/>
                  </a:lnTo>
                  <a:lnTo>
                    <a:pt x="2510" y="2242"/>
                  </a:lnTo>
                  <a:lnTo>
                    <a:pt x="2485" y="2258"/>
                  </a:lnTo>
                  <a:lnTo>
                    <a:pt x="2485" y="2258"/>
                  </a:lnTo>
                  <a:lnTo>
                    <a:pt x="2477" y="2240"/>
                  </a:lnTo>
                  <a:lnTo>
                    <a:pt x="2467" y="2222"/>
                  </a:lnTo>
                  <a:lnTo>
                    <a:pt x="2453" y="2207"/>
                  </a:lnTo>
                  <a:lnTo>
                    <a:pt x="2438" y="2194"/>
                  </a:lnTo>
                  <a:lnTo>
                    <a:pt x="2422" y="2182"/>
                  </a:lnTo>
                  <a:lnTo>
                    <a:pt x="2402" y="2174"/>
                  </a:lnTo>
                  <a:lnTo>
                    <a:pt x="2382" y="2167"/>
                  </a:lnTo>
                  <a:lnTo>
                    <a:pt x="2362" y="2162"/>
                  </a:lnTo>
                  <a:lnTo>
                    <a:pt x="2362" y="2162"/>
                  </a:lnTo>
                  <a:lnTo>
                    <a:pt x="2349" y="2162"/>
                  </a:lnTo>
                  <a:lnTo>
                    <a:pt x="2336" y="2162"/>
                  </a:lnTo>
                  <a:lnTo>
                    <a:pt x="2324" y="2164"/>
                  </a:lnTo>
                  <a:lnTo>
                    <a:pt x="2311" y="2166"/>
                  </a:lnTo>
                  <a:lnTo>
                    <a:pt x="2299" y="2169"/>
                  </a:lnTo>
                  <a:lnTo>
                    <a:pt x="2288" y="2174"/>
                  </a:lnTo>
                  <a:lnTo>
                    <a:pt x="2266" y="2186"/>
                  </a:lnTo>
                  <a:lnTo>
                    <a:pt x="2248" y="2200"/>
                  </a:lnTo>
                  <a:lnTo>
                    <a:pt x="2232" y="2217"/>
                  </a:lnTo>
                  <a:lnTo>
                    <a:pt x="2223" y="2227"/>
                  </a:lnTo>
                  <a:lnTo>
                    <a:pt x="2217" y="2237"/>
                  </a:lnTo>
                  <a:lnTo>
                    <a:pt x="2212" y="2248"/>
                  </a:lnTo>
                  <a:lnTo>
                    <a:pt x="2207" y="2260"/>
                  </a:lnTo>
                  <a:lnTo>
                    <a:pt x="2207" y="2260"/>
                  </a:lnTo>
                  <a:lnTo>
                    <a:pt x="2190" y="2242"/>
                  </a:lnTo>
                  <a:lnTo>
                    <a:pt x="2172" y="2227"/>
                  </a:lnTo>
                  <a:lnTo>
                    <a:pt x="2154" y="2212"/>
                  </a:lnTo>
                  <a:lnTo>
                    <a:pt x="2132" y="2200"/>
                  </a:lnTo>
                  <a:lnTo>
                    <a:pt x="2111" y="2190"/>
                  </a:lnTo>
                  <a:lnTo>
                    <a:pt x="2088" y="2182"/>
                  </a:lnTo>
                  <a:lnTo>
                    <a:pt x="2065" y="2176"/>
                  </a:lnTo>
                  <a:lnTo>
                    <a:pt x="2038" y="2172"/>
                  </a:lnTo>
                  <a:lnTo>
                    <a:pt x="2038" y="2172"/>
                  </a:lnTo>
                  <a:lnTo>
                    <a:pt x="2022" y="2171"/>
                  </a:lnTo>
                  <a:lnTo>
                    <a:pt x="2007" y="2171"/>
                  </a:lnTo>
                  <a:lnTo>
                    <a:pt x="1990" y="2172"/>
                  </a:lnTo>
                  <a:lnTo>
                    <a:pt x="1974" y="2174"/>
                  </a:lnTo>
                  <a:lnTo>
                    <a:pt x="1959" y="2176"/>
                  </a:lnTo>
                  <a:lnTo>
                    <a:pt x="1942" y="2181"/>
                  </a:lnTo>
                  <a:lnTo>
                    <a:pt x="1912" y="2190"/>
                  </a:lnTo>
                  <a:lnTo>
                    <a:pt x="1912" y="2190"/>
                  </a:lnTo>
                  <a:lnTo>
                    <a:pt x="1906" y="2176"/>
                  </a:lnTo>
                  <a:lnTo>
                    <a:pt x="1897" y="2161"/>
                  </a:lnTo>
                  <a:lnTo>
                    <a:pt x="1889" y="2146"/>
                  </a:lnTo>
                  <a:lnTo>
                    <a:pt x="1879" y="2133"/>
                  </a:lnTo>
                  <a:lnTo>
                    <a:pt x="1868" y="2119"/>
                  </a:lnTo>
                  <a:lnTo>
                    <a:pt x="1856" y="2108"/>
                  </a:lnTo>
                  <a:lnTo>
                    <a:pt x="1845" y="2096"/>
                  </a:lnTo>
                  <a:lnTo>
                    <a:pt x="1831" y="2085"/>
                  </a:lnTo>
                  <a:lnTo>
                    <a:pt x="1816" y="2075"/>
                  </a:lnTo>
                  <a:lnTo>
                    <a:pt x="1801" y="2066"/>
                  </a:lnTo>
                  <a:lnTo>
                    <a:pt x="1787" y="2058"/>
                  </a:lnTo>
                  <a:lnTo>
                    <a:pt x="1772" y="2052"/>
                  </a:lnTo>
                  <a:lnTo>
                    <a:pt x="1755" y="2045"/>
                  </a:lnTo>
                  <a:lnTo>
                    <a:pt x="1739" y="2042"/>
                  </a:lnTo>
                  <a:lnTo>
                    <a:pt x="1720" y="2037"/>
                  </a:lnTo>
                  <a:lnTo>
                    <a:pt x="1702" y="2035"/>
                  </a:lnTo>
                  <a:lnTo>
                    <a:pt x="1702" y="2035"/>
                  </a:lnTo>
                  <a:lnTo>
                    <a:pt x="1677" y="2033"/>
                  </a:lnTo>
                  <a:lnTo>
                    <a:pt x="1654" y="2033"/>
                  </a:lnTo>
                  <a:lnTo>
                    <a:pt x="1631" y="2037"/>
                  </a:lnTo>
                  <a:lnTo>
                    <a:pt x="1608" y="2042"/>
                  </a:lnTo>
                  <a:lnTo>
                    <a:pt x="1608" y="2042"/>
                  </a:lnTo>
                  <a:lnTo>
                    <a:pt x="1596" y="2022"/>
                  </a:lnTo>
                  <a:lnTo>
                    <a:pt x="1583" y="2002"/>
                  </a:lnTo>
                  <a:lnTo>
                    <a:pt x="1570" y="1982"/>
                  </a:lnTo>
                  <a:lnTo>
                    <a:pt x="1555" y="1964"/>
                  </a:lnTo>
                  <a:lnTo>
                    <a:pt x="1540" y="1946"/>
                  </a:lnTo>
                  <a:lnTo>
                    <a:pt x="1525" y="1927"/>
                  </a:lnTo>
                  <a:lnTo>
                    <a:pt x="1509" y="1911"/>
                  </a:lnTo>
                  <a:lnTo>
                    <a:pt x="1490" y="1894"/>
                  </a:lnTo>
                  <a:lnTo>
                    <a:pt x="1472" y="1879"/>
                  </a:lnTo>
                  <a:lnTo>
                    <a:pt x="1454" y="1865"/>
                  </a:lnTo>
                  <a:lnTo>
                    <a:pt x="1434" y="1851"/>
                  </a:lnTo>
                  <a:lnTo>
                    <a:pt x="1414" y="1838"/>
                  </a:lnTo>
                  <a:lnTo>
                    <a:pt x="1393" y="1826"/>
                  </a:lnTo>
                  <a:lnTo>
                    <a:pt x="1371" y="1815"/>
                  </a:lnTo>
                  <a:lnTo>
                    <a:pt x="1350" y="1805"/>
                  </a:lnTo>
                  <a:lnTo>
                    <a:pt x="1327" y="1795"/>
                  </a:lnTo>
                  <a:lnTo>
                    <a:pt x="1327" y="1795"/>
                  </a:lnTo>
                  <a:lnTo>
                    <a:pt x="1333" y="1780"/>
                  </a:lnTo>
                  <a:lnTo>
                    <a:pt x="1340" y="1765"/>
                  </a:lnTo>
                  <a:lnTo>
                    <a:pt x="1343" y="1750"/>
                  </a:lnTo>
                  <a:lnTo>
                    <a:pt x="1345" y="1734"/>
                  </a:lnTo>
                  <a:lnTo>
                    <a:pt x="1345" y="1734"/>
                  </a:lnTo>
                  <a:lnTo>
                    <a:pt x="1347" y="1721"/>
                  </a:lnTo>
                  <a:lnTo>
                    <a:pt x="1347" y="1707"/>
                  </a:lnTo>
                  <a:lnTo>
                    <a:pt x="1345" y="1694"/>
                  </a:lnTo>
                  <a:lnTo>
                    <a:pt x="1343" y="1681"/>
                  </a:lnTo>
                  <a:lnTo>
                    <a:pt x="1340" y="1668"/>
                  </a:lnTo>
                  <a:lnTo>
                    <a:pt x="1335" y="1656"/>
                  </a:lnTo>
                  <a:lnTo>
                    <a:pt x="1325" y="1633"/>
                  </a:lnTo>
                  <a:lnTo>
                    <a:pt x="1310" y="1611"/>
                  </a:lnTo>
                  <a:lnTo>
                    <a:pt x="1294" y="1593"/>
                  </a:lnTo>
                  <a:lnTo>
                    <a:pt x="1274" y="1578"/>
                  </a:lnTo>
                  <a:lnTo>
                    <a:pt x="1262" y="1570"/>
                  </a:lnTo>
                  <a:lnTo>
                    <a:pt x="1251" y="1565"/>
                  </a:lnTo>
                  <a:lnTo>
                    <a:pt x="1251" y="1565"/>
                  </a:lnTo>
                  <a:lnTo>
                    <a:pt x="1269" y="1549"/>
                  </a:lnTo>
                  <a:lnTo>
                    <a:pt x="1285" y="1530"/>
                  </a:lnTo>
                  <a:lnTo>
                    <a:pt x="1300" y="1510"/>
                  </a:lnTo>
                  <a:lnTo>
                    <a:pt x="1312" y="1489"/>
                  </a:lnTo>
                  <a:lnTo>
                    <a:pt x="1323" y="1467"/>
                  </a:lnTo>
                  <a:lnTo>
                    <a:pt x="1332" y="1444"/>
                  </a:lnTo>
                  <a:lnTo>
                    <a:pt x="1338" y="1419"/>
                  </a:lnTo>
                  <a:lnTo>
                    <a:pt x="1342" y="1395"/>
                  </a:lnTo>
                  <a:lnTo>
                    <a:pt x="1342" y="1395"/>
                  </a:lnTo>
                  <a:lnTo>
                    <a:pt x="1343" y="1376"/>
                  </a:lnTo>
                  <a:lnTo>
                    <a:pt x="1343" y="1358"/>
                  </a:lnTo>
                  <a:lnTo>
                    <a:pt x="1342" y="1342"/>
                  </a:lnTo>
                  <a:lnTo>
                    <a:pt x="1340" y="1325"/>
                  </a:lnTo>
                  <a:lnTo>
                    <a:pt x="1337" y="1309"/>
                  </a:lnTo>
                  <a:lnTo>
                    <a:pt x="1332" y="1292"/>
                  </a:lnTo>
                  <a:lnTo>
                    <a:pt x="1327" y="1277"/>
                  </a:lnTo>
                  <a:lnTo>
                    <a:pt x="1320" y="1262"/>
                  </a:lnTo>
                  <a:lnTo>
                    <a:pt x="1313" y="1247"/>
                  </a:lnTo>
                  <a:lnTo>
                    <a:pt x="1305" y="1233"/>
                  </a:lnTo>
                  <a:lnTo>
                    <a:pt x="1297" y="1219"/>
                  </a:lnTo>
                  <a:lnTo>
                    <a:pt x="1287" y="1206"/>
                  </a:lnTo>
                  <a:lnTo>
                    <a:pt x="1275" y="1193"/>
                  </a:lnTo>
                  <a:lnTo>
                    <a:pt x="1264" y="1181"/>
                  </a:lnTo>
                  <a:lnTo>
                    <a:pt x="1252" y="1171"/>
                  </a:lnTo>
                  <a:lnTo>
                    <a:pt x="1239" y="1160"/>
                  </a:lnTo>
                  <a:lnTo>
                    <a:pt x="1239" y="1160"/>
                  </a:lnTo>
                  <a:lnTo>
                    <a:pt x="1252" y="1158"/>
                  </a:lnTo>
                  <a:lnTo>
                    <a:pt x="1265" y="1156"/>
                  </a:lnTo>
                  <a:lnTo>
                    <a:pt x="1277" y="1153"/>
                  </a:lnTo>
                  <a:lnTo>
                    <a:pt x="1289" y="1148"/>
                  </a:lnTo>
                  <a:lnTo>
                    <a:pt x="1300" y="1142"/>
                  </a:lnTo>
                  <a:lnTo>
                    <a:pt x="1312" y="1135"/>
                  </a:lnTo>
                  <a:lnTo>
                    <a:pt x="1322" y="1128"/>
                  </a:lnTo>
                  <a:lnTo>
                    <a:pt x="1332" y="1120"/>
                  </a:lnTo>
                  <a:lnTo>
                    <a:pt x="1340" y="1110"/>
                  </a:lnTo>
                  <a:lnTo>
                    <a:pt x="1348" y="1100"/>
                  </a:lnTo>
                  <a:lnTo>
                    <a:pt x="1355" y="1089"/>
                  </a:lnTo>
                  <a:lnTo>
                    <a:pt x="1361" y="1079"/>
                  </a:lnTo>
                  <a:lnTo>
                    <a:pt x="1366" y="1065"/>
                  </a:lnTo>
                  <a:lnTo>
                    <a:pt x="1371" y="1054"/>
                  </a:lnTo>
                  <a:lnTo>
                    <a:pt x="1375" y="1041"/>
                  </a:lnTo>
                  <a:lnTo>
                    <a:pt x="1376" y="1027"/>
                  </a:lnTo>
                  <a:lnTo>
                    <a:pt x="1376" y="1027"/>
                  </a:lnTo>
                  <a:lnTo>
                    <a:pt x="1378" y="1006"/>
                  </a:lnTo>
                  <a:lnTo>
                    <a:pt x="1375" y="986"/>
                  </a:lnTo>
                  <a:lnTo>
                    <a:pt x="1370" y="966"/>
                  </a:lnTo>
                  <a:lnTo>
                    <a:pt x="1363" y="948"/>
                  </a:lnTo>
                  <a:lnTo>
                    <a:pt x="1353" y="931"/>
                  </a:lnTo>
                  <a:lnTo>
                    <a:pt x="1342" y="915"/>
                  </a:lnTo>
                  <a:lnTo>
                    <a:pt x="1328" y="902"/>
                  </a:lnTo>
                  <a:lnTo>
                    <a:pt x="1312" y="888"/>
                  </a:lnTo>
                  <a:lnTo>
                    <a:pt x="1312" y="888"/>
                  </a:lnTo>
                  <a:lnTo>
                    <a:pt x="1323" y="878"/>
                  </a:lnTo>
                  <a:lnTo>
                    <a:pt x="1332" y="869"/>
                  </a:lnTo>
                  <a:lnTo>
                    <a:pt x="1340" y="857"/>
                  </a:lnTo>
                  <a:lnTo>
                    <a:pt x="1348" y="845"/>
                  </a:lnTo>
                  <a:lnTo>
                    <a:pt x="1353" y="832"/>
                  </a:lnTo>
                  <a:lnTo>
                    <a:pt x="1358" y="819"/>
                  </a:lnTo>
                  <a:lnTo>
                    <a:pt x="1363" y="806"/>
                  </a:lnTo>
                  <a:lnTo>
                    <a:pt x="1365" y="791"/>
                  </a:lnTo>
                  <a:lnTo>
                    <a:pt x="1365" y="791"/>
                  </a:lnTo>
                  <a:lnTo>
                    <a:pt x="1365" y="776"/>
                  </a:lnTo>
                  <a:lnTo>
                    <a:pt x="1365" y="761"/>
                  </a:lnTo>
                  <a:lnTo>
                    <a:pt x="1363" y="746"/>
                  </a:lnTo>
                  <a:lnTo>
                    <a:pt x="1360" y="731"/>
                  </a:lnTo>
                  <a:lnTo>
                    <a:pt x="1355" y="718"/>
                  </a:lnTo>
                  <a:lnTo>
                    <a:pt x="1348" y="705"/>
                  </a:lnTo>
                  <a:lnTo>
                    <a:pt x="1340" y="693"/>
                  </a:lnTo>
                  <a:lnTo>
                    <a:pt x="1332" y="682"/>
                  </a:lnTo>
                  <a:lnTo>
                    <a:pt x="1323" y="670"/>
                  </a:lnTo>
                  <a:lnTo>
                    <a:pt x="1312" y="660"/>
                  </a:lnTo>
                  <a:lnTo>
                    <a:pt x="1300" y="652"/>
                  </a:lnTo>
                  <a:lnTo>
                    <a:pt x="1289" y="644"/>
                  </a:lnTo>
                  <a:lnTo>
                    <a:pt x="1275" y="639"/>
                  </a:lnTo>
                  <a:lnTo>
                    <a:pt x="1262" y="634"/>
                  </a:lnTo>
                  <a:lnTo>
                    <a:pt x="1247" y="629"/>
                  </a:lnTo>
                  <a:lnTo>
                    <a:pt x="1232" y="627"/>
                  </a:lnTo>
                  <a:lnTo>
                    <a:pt x="1232" y="627"/>
                  </a:lnTo>
                  <a:lnTo>
                    <a:pt x="1219" y="625"/>
                  </a:lnTo>
                  <a:lnTo>
                    <a:pt x="1206" y="627"/>
                  </a:lnTo>
                  <a:lnTo>
                    <a:pt x="1194" y="627"/>
                  </a:lnTo>
                  <a:lnTo>
                    <a:pt x="1183" y="630"/>
                  </a:lnTo>
                  <a:lnTo>
                    <a:pt x="1183" y="630"/>
                  </a:lnTo>
                  <a:lnTo>
                    <a:pt x="1193" y="607"/>
                  </a:lnTo>
                  <a:lnTo>
                    <a:pt x="1201" y="584"/>
                  </a:lnTo>
                  <a:lnTo>
                    <a:pt x="1208" y="559"/>
                  </a:lnTo>
                  <a:lnTo>
                    <a:pt x="1211" y="534"/>
                  </a:lnTo>
                  <a:lnTo>
                    <a:pt x="1211" y="534"/>
                  </a:lnTo>
                  <a:lnTo>
                    <a:pt x="1212" y="511"/>
                  </a:lnTo>
                  <a:lnTo>
                    <a:pt x="1212" y="488"/>
                  </a:lnTo>
                  <a:lnTo>
                    <a:pt x="1209" y="466"/>
                  </a:lnTo>
                  <a:lnTo>
                    <a:pt x="1206" y="445"/>
                  </a:lnTo>
                  <a:lnTo>
                    <a:pt x="1199" y="423"/>
                  </a:lnTo>
                  <a:lnTo>
                    <a:pt x="1191" y="404"/>
                  </a:lnTo>
                  <a:lnTo>
                    <a:pt x="1183" y="384"/>
                  </a:lnTo>
                  <a:lnTo>
                    <a:pt x="1171" y="366"/>
                  </a:lnTo>
                  <a:lnTo>
                    <a:pt x="1160" y="347"/>
                  </a:lnTo>
                  <a:lnTo>
                    <a:pt x="1145" y="331"/>
                  </a:lnTo>
                  <a:lnTo>
                    <a:pt x="1130" y="316"/>
                  </a:lnTo>
                  <a:lnTo>
                    <a:pt x="1113" y="301"/>
                  </a:lnTo>
                  <a:lnTo>
                    <a:pt x="1097" y="289"/>
                  </a:lnTo>
                  <a:lnTo>
                    <a:pt x="1078" y="278"/>
                  </a:lnTo>
                  <a:lnTo>
                    <a:pt x="1059" y="268"/>
                  </a:lnTo>
                  <a:lnTo>
                    <a:pt x="1037" y="260"/>
                  </a:lnTo>
                  <a:lnTo>
                    <a:pt x="1037" y="260"/>
                  </a:lnTo>
                  <a:lnTo>
                    <a:pt x="1040" y="245"/>
                  </a:lnTo>
                  <a:lnTo>
                    <a:pt x="1042" y="230"/>
                  </a:lnTo>
                  <a:lnTo>
                    <a:pt x="1042" y="230"/>
                  </a:lnTo>
                  <a:lnTo>
                    <a:pt x="1044" y="210"/>
                  </a:lnTo>
                  <a:lnTo>
                    <a:pt x="1044" y="189"/>
                  </a:lnTo>
                  <a:lnTo>
                    <a:pt x="1040" y="169"/>
                  </a:lnTo>
                  <a:lnTo>
                    <a:pt x="1035" y="149"/>
                  </a:lnTo>
                  <a:lnTo>
                    <a:pt x="1029" y="129"/>
                  </a:lnTo>
                  <a:lnTo>
                    <a:pt x="1019" y="111"/>
                  </a:lnTo>
                  <a:lnTo>
                    <a:pt x="1009" y="94"/>
                  </a:lnTo>
                  <a:lnTo>
                    <a:pt x="997" y="78"/>
                  </a:lnTo>
                  <a:lnTo>
                    <a:pt x="984" y="63"/>
                  </a:lnTo>
                  <a:lnTo>
                    <a:pt x="969" y="50"/>
                  </a:lnTo>
                  <a:lnTo>
                    <a:pt x="953" y="36"/>
                  </a:lnTo>
                  <a:lnTo>
                    <a:pt x="936" y="26"/>
                  </a:lnTo>
                  <a:lnTo>
                    <a:pt x="918" y="18"/>
                  </a:lnTo>
                  <a:lnTo>
                    <a:pt x="898" y="10"/>
                  </a:lnTo>
                  <a:lnTo>
                    <a:pt x="878" y="5"/>
                  </a:lnTo>
                  <a:lnTo>
                    <a:pt x="857" y="2"/>
                  </a:lnTo>
                  <a:lnTo>
                    <a:pt x="857" y="2"/>
                  </a:lnTo>
                  <a:lnTo>
                    <a:pt x="835" y="0"/>
                  </a:lnTo>
                  <a:lnTo>
                    <a:pt x="815" y="2"/>
                  </a:lnTo>
                  <a:lnTo>
                    <a:pt x="794" y="5"/>
                  </a:lnTo>
                  <a:lnTo>
                    <a:pt x="774" y="10"/>
                  </a:lnTo>
                  <a:lnTo>
                    <a:pt x="756" y="16"/>
                  </a:lnTo>
                  <a:lnTo>
                    <a:pt x="738" y="25"/>
                  </a:lnTo>
                  <a:lnTo>
                    <a:pt x="721" y="35"/>
                  </a:lnTo>
                  <a:lnTo>
                    <a:pt x="705" y="46"/>
                  </a:lnTo>
                  <a:lnTo>
                    <a:pt x="690" y="61"/>
                  </a:lnTo>
                  <a:lnTo>
                    <a:pt x="676" y="74"/>
                  </a:lnTo>
                  <a:lnTo>
                    <a:pt x="663" y="91"/>
                  </a:lnTo>
                  <a:lnTo>
                    <a:pt x="653" y="107"/>
                  </a:lnTo>
                  <a:lnTo>
                    <a:pt x="643" y="127"/>
                  </a:lnTo>
                  <a:lnTo>
                    <a:pt x="637" y="145"/>
                  </a:lnTo>
                  <a:lnTo>
                    <a:pt x="632" y="165"/>
                  </a:lnTo>
                  <a:lnTo>
                    <a:pt x="628" y="187"/>
                  </a:lnTo>
                  <a:lnTo>
                    <a:pt x="628" y="187"/>
                  </a:lnTo>
                  <a:lnTo>
                    <a:pt x="627" y="205"/>
                  </a:lnTo>
                  <a:lnTo>
                    <a:pt x="628" y="223"/>
                  </a:lnTo>
                  <a:lnTo>
                    <a:pt x="630" y="240"/>
                  </a:lnTo>
                  <a:lnTo>
                    <a:pt x="633" y="258"/>
                  </a:lnTo>
                  <a:lnTo>
                    <a:pt x="0" y="437"/>
                  </a:lnTo>
                  <a:lnTo>
                    <a:pt x="276" y="3014"/>
                  </a:lnTo>
                  <a:lnTo>
                    <a:pt x="4689" y="3428"/>
                  </a:lnTo>
                  <a:lnTo>
                    <a:pt x="4670" y="3273"/>
                  </a:lnTo>
                  <a:lnTo>
                    <a:pt x="4670" y="3273"/>
                  </a:lnTo>
                  <a:lnTo>
                    <a:pt x="4695" y="3271"/>
                  </a:lnTo>
                  <a:lnTo>
                    <a:pt x="4720" y="3269"/>
                  </a:lnTo>
                  <a:lnTo>
                    <a:pt x="4743" y="3264"/>
                  </a:lnTo>
                  <a:lnTo>
                    <a:pt x="4766" y="3259"/>
                  </a:lnTo>
                  <a:lnTo>
                    <a:pt x="4789" y="3254"/>
                  </a:lnTo>
                  <a:lnTo>
                    <a:pt x="4813" y="3246"/>
                  </a:lnTo>
                  <a:lnTo>
                    <a:pt x="4834" y="3239"/>
                  </a:lnTo>
                  <a:lnTo>
                    <a:pt x="4856" y="3230"/>
                  </a:lnTo>
                  <a:lnTo>
                    <a:pt x="4877" y="3220"/>
                  </a:lnTo>
                  <a:lnTo>
                    <a:pt x="4899" y="3210"/>
                  </a:lnTo>
                  <a:lnTo>
                    <a:pt x="4919" y="3198"/>
                  </a:lnTo>
                  <a:lnTo>
                    <a:pt x="4938" y="3187"/>
                  </a:lnTo>
                  <a:lnTo>
                    <a:pt x="4957" y="3173"/>
                  </a:lnTo>
                  <a:lnTo>
                    <a:pt x="4976" y="3158"/>
                  </a:lnTo>
                  <a:lnTo>
                    <a:pt x="4993" y="3144"/>
                  </a:lnTo>
                  <a:lnTo>
                    <a:pt x="5011" y="3129"/>
                  </a:lnTo>
                  <a:lnTo>
                    <a:pt x="5028" y="3112"/>
                  </a:lnTo>
                  <a:lnTo>
                    <a:pt x="5044" y="3094"/>
                  </a:lnTo>
                  <a:lnTo>
                    <a:pt x="5059" y="3077"/>
                  </a:lnTo>
                  <a:lnTo>
                    <a:pt x="5074" y="3059"/>
                  </a:lnTo>
                  <a:lnTo>
                    <a:pt x="5087" y="3039"/>
                  </a:lnTo>
                  <a:lnTo>
                    <a:pt x="5101" y="3019"/>
                  </a:lnTo>
                  <a:lnTo>
                    <a:pt x="5112" y="3000"/>
                  </a:lnTo>
                  <a:lnTo>
                    <a:pt x="5124" y="2978"/>
                  </a:lnTo>
                  <a:lnTo>
                    <a:pt x="5134" y="2957"/>
                  </a:lnTo>
                  <a:lnTo>
                    <a:pt x="5142" y="2935"/>
                  </a:lnTo>
                  <a:lnTo>
                    <a:pt x="5150" y="2912"/>
                  </a:lnTo>
                  <a:lnTo>
                    <a:pt x="5158" y="2889"/>
                  </a:lnTo>
                  <a:lnTo>
                    <a:pt x="5165" y="2866"/>
                  </a:lnTo>
                  <a:lnTo>
                    <a:pt x="5170" y="2842"/>
                  </a:lnTo>
                  <a:lnTo>
                    <a:pt x="5173" y="2818"/>
                  </a:lnTo>
                  <a:lnTo>
                    <a:pt x="5177" y="2793"/>
                  </a:lnTo>
                  <a:lnTo>
                    <a:pt x="5177" y="2793"/>
                  </a:lnTo>
                  <a:close/>
                </a:path>
              </a:pathLst>
            </a:custGeom>
            <a:gradFill>
              <a:gsLst>
                <a:gs pos="0">
                  <a:schemeClr val="accent1"/>
                </a:gs>
                <a:gs pos="100000">
                  <a:schemeClr val="accent2"/>
                </a:gs>
              </a:gsLst>
              <a:lin ang="5400000" scaled="1"/>
            </a:gradFill>
            <a:ln>
              <a:noFill/>
            </a:ln>
          </p:spPr>
          <p:txBody>
            <a:bodyPr vert="horz" wrap="square" lIns="91440" tIns="45720" rIns="91440" bIns="45720" numCol="1" anchor="t" anchorCtr="0" compatLnSpc="1">
              <a:prstTxWarp prst="textNoShape">
                <a:avLst/>
              </a:prstTxWarp>
            </a:bodyPr>
            <a:lstStyle/>
            <a:p>
              <a:endParaRPr lang="en-US"/>
            </a:p>
          </p:txBody>
        </p:sp>
        <p:grpSp>
          <p:nvGrpSpPr>
            <p:cNvPr id="122" name="Group 121"/>
            <p:cNvGrpSpPr/>
            <p:nvPr/>
          </p:nvGrpSpPr>
          <p:grpSpPr>
            <a:xfrm>
              <a:off x="2502148" y="3000762"/>
              <a:ext cx="2245123" cy="2388984"/>
              <a:chOff x="2502148" y="3000762"/>
              <a:chExt cx="2245123" cy="2388984"/>
            </a:xfrm>
            <a:solidFill>
              <a:schemeClr val="bg1"/>
            </a:solidFill>
          </p:grpSpPr>
          <p:sp>
            <p:nvSpPr>
              <p:cNvPr id="174" name="Freeform 173"/>
              <p:cNvSpPr>
                <a:spLocks/>
              </p:cNvSpPr>
              <p:nvPr/>
            </p:nvSpPr>
            <p:spPr bwMode="auto">
              <a:xfrm>
                <a:off x="2631479" y="3118467"/>
                <a:ext cx="1986461" cy="2153573"/>
              </a:xfrm>
              <a:custGeom>
                <a:avLst/>
                <a:gdLst>
                  <a:gd name="T0" fmla="*/ 108 w 1367"/>
                  <a:gd name="T1" fmla="*/ 1482 h 1482"/>
                  <a:gd name="T2" fmla="*/ 0 w 1367"/>
                  <a:gd name="T3" fmla="*/ 1385 h 1482"/>
                  <a:gd name="T4" fmla="*/ 1259 w 1367"/>
                  <a:gd name="T5" fmla="*/ 0 h 1482"/>
                  <a:gd name="T6" fmla="*/ 1367 w 1367"/>
                  <a:gd name="T7" fmla="*/ 99 h 1482"/>
                  <a:gd name="T8" fmla="*/ 108 w 1367"/>
                  <a:gd name="T9" fmla="*/ 1482 h 1482"/>
                </a:gdLst>
                <a:ahLst/>
                <a:cxnLst>
                  <a:cxn ang="0">
                    <a:pos x="T0" y="T1"/>
                  </a:cxn>
                  <a:cxn ang="0">
                    <a:pos x="T2" y="T3"/>
                  </a:cxn>
                  <a:cxn ang="0">
                    <a:pos x="T4" y="T5"/>
                  </a:cxn>
                  <a:cxn ang="0">
                    <a:pos x="T6" y="T7"/>
                  </a:cxn>
                  <a:cxn ang="0">
                    <a:pos x="T8" y="T9"/>
                  </a:cxn>
                </a:cxnLst>
                <a:rect l="0" t="0" r="r" b="b"/>
                <a:pathLst>
                  <a:path w="1367" h="1482">
                    <a:moveTo>
                      <a:pt x="108" y="1482"/>
                    </a:moveTo>
                    <a:lnTo>
                      <a:pt x="0" y="1385"/>
                    </a:lnTo>
                    <a:lnTo>
                      <a:pt x="1259" y="0"/>
                    </a:lnTo>
                    <a:lnTo>
                      <a:pt x="1367" y="99"/>
                    </a:lnTo>
                    <a:lnTo>
                      <a:pt x="108" y="14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74"/>
              <p:cNvSpPr>
                <a:spLocks/>
              </p:cNvSpPr>
              <p:nvPr/>
            </p:nvSpPr>
            <p:spPr bwMode="auto">
              <a:xfrm>
                <a:off x="2847999" y="3316096"/>
                <a:ext cx="1899272" cy="2073650"/>
              </a:xfrm>
              <a:custGeom>
                <a:avLst/>
                <a:gdLst>
                  <a:gd name="T0" fmla="*/ 48 w 1307"/>
                  <a:gd name="T1" fmla="*/ 1427 h 1427"/>
                  <a:gd name="T2" fmla="*/ 0 w 1307"/>
                  <a:gd name="T3" fmla="*/ 1384 h 1427"/>
                  <a:gd name="T4" fmla="*/ 1259 w 1307"/>
                  <a:gd name="T5" fmla="*/ 0 h 1427"/>
                  <a:gd name="T6" fmla="*/ 1307 w 1307"/>
                  <a:gd name="T7" fmla="*/ 44 h 1427"/>
                  <a:gd name="T8" fmla="*/ 48 w 1307"/>
                  <a:gd name="T9" fmla="*/ 1427 h 1427"/>
                </a:gdLst>
                <a:ahLst/>
                <a:cxnLst>
                  <a:cxn ang="0">
                    <a:pos x="T0" y="T1"/>
                  </a:cxn>
                  <a:cxn ang="0">
                    <a:pos x="T2" y="T3"/>
                  </a:cxn>
                  <a:cxn ang="0">
                    <a:pos x="T4" y="T5"/>
                  </a:cxn>
                  <a:cxn ang="0">
                    <a:pos x="T6" y="T7"/>
                  </a:cxn>
                  <a:cxn ang="0">
                    <a:pos x="T8" y="T9"/>
                  </a:cxn>
                </a:cxnLst>
                <a:rect l="0" t="0" r="r" b="b"/>
                <a:pathLst>
                  <a:path w="1307" h="1427">
                    <a:moveTo>
                      <a:pt x="48" y="1427"/>
                    </a:moveTo>
                    <a:lnTo>
                      <a:pt x="0" y="1384"/>
                    </a:lnTo>
                    <a:lnTo>
                      <a:pt x="1259" y="0"/>
                    </a:lnTo>
                    <a:lnTo>
                      <a:pt x="1307" y="44"/>
                    </a:lnTo>
                    <a:lnTo>
                      <a:pt x="48" y="1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75"/>
              <p:cNvSpPr>
                <a:spLocks/>
              </p:cNvSpPr>
              <p:nvPr/>
            </p:nvSpPr>
            <p:spPr bwMode="auto">
              <a:xfrm>
                <a:off x="2502148" y="3000762"/>
                <a:ext cx="1899272" cy="2076556"/>
              </a:xfrm>
              <a:custGeom>
                <a:avLst/>
                <a:gdLst>
                  <a:gd name="T0" fmla="*/ 48 w 1307"/>
                  <a:gd name="T1" fmla="*/ 1429 h 1429"/>
                  <a:gd name="T2" fmla="*/ 0 w 1307"/>
                  <a:gd name="T3" fmla="*/ 1385 h 1429"/>
                  <a:gd name="T4" fmla="*/ 1259 w 1307"/>
                  <a:gd name="T5" fmla="*/ 0 h 1429"/>
                  <a:gd name="T6" fmla="*/ 1307 w 1307"/>
                  <a:gd name="T7" fmla="*/ 45 h 1429"/>
                  <a:gd name="T8" fmla="*/ 48 w 1307"/>
                  <a:gd name="T9" fmla="*/ 1429 h 1429"/>
                </a:gdLst>
                <a:ahLst/>
                <a:cxnLst>
                  <a:cxn ang="0">
                    <a:pos x="T0" y="T1"/>
                  </a:cxn>
                  <a:cxn ang="0">
                    <a:pos x="T2" y="T3"/>
                  </a:cxn>
                  <a:cxn ang="0">
                    <a:pos x="T4" y="T5"/>
                  </a:cxn>
                  <a:cxn ang="0">
                    <a:pos x="T6" y="T7"/>
                  </a:cxn>
                  <a:cxn ang="0">
                    <a:pos x="T8" y="T9"/>
                  </a:cxn>
                </a:cxnLst>
                <a:rect l="0" t="0" r="r" b="b"/>
                <a:pathLst>
                  <a:path w="1307" h="1429">
                    <a:moveTo>
                      <a:pt x="48" y="1429"/>
                    </a:moveTo>
                    <a:lnTo>
                      <a:pt x="0" y="1385"/>
                    </a:lnTo>
                    <a:lnTo>
                      <a:pt x="1259" y="0"/>
                    </a:lnTo>
                    <a:lnTo>
                      <a:pt x="1307" y="45"/>
                    </a:lnTo>
                    <a:lnTo>
                      <a:pt x="48" y="14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3" name="Freeform 122"/>
            <p:cNvSpPr>
              <a:spLocks/>
            </p:cNvSpPr>
            <p:nvPr/>
          </p:nvSpPr>
          <p:spPr bwMode="auto">
            <a:xfrm>
              <a:off x="1444252" y="774531"/>
              <a:ext cx="8019955" cy="5270588"/>
            </a:xfrm>
            <a:custGeom>
              <a:avLst/>
              <a:gdLst>
                <a:gd name="T0" fmla="*/ 5471 w 5519"/>
                <a:gd name="T1" fmla="*/ 2723 h 3627"/>
                <a:gd name="T2" fmla="*/ 5296 w 5519"/>
                <a:gd name="T3" fmla="*/ 2634 h 3627"/>
                <a:gd name="T4" fmla="*/ 5157 w 5519"/>
                <a:gd name="T5" fmla="*/ 2675 h 3627"/>
                <a:gd name="T6" fmla="*/ 4871 w 5519"/>
                <a:gd name="T7" fmla="*/ 2558 h 3627"/>
                <a:gd name="T8" fmla="*/ 4662 w 5519"/>
                <a:gd name="T9" fmla="*/ 2601 h 3627"/>
                <a:gd name="T10" fmla="*/ 4500 w 5519"/>
                <a:gd name="T11" fmla="*/ 2730 h 3627"/>
                <a:gd name="T12" fmla="*/ 4244 w 5519"/>
                <a:gd name="T13" fmla="*/ 2637 h 3627"/>
                <a:gd name="T14" fmla="*/ 4154 w 5519"/>
                <a:gd name="T15" fmla="*/ 2558 h 3627"/>
                <a:gd name="T16" fmla="*/ 4053 w 5519"/>
                <a:gd name="T17" fmla="*/ 2523 h 3627"/>
                <a:gd name="T18" fmla="*/ 3941 w 5519"/>
                <a:gd name="T19" fmla="*/ 2564 h 3627"/>
                <a:gd name="T20" fmla="*/ 3777 w 5519"/>
                <a:gd name="T21" fmla="*/ 2508 h 3627"/>
                <a:gd name="T22" fmla="*/ 3636 w 5519"/>
                <a:gd name="T23" fmla="*/ 2541 h 3627"/>
                <a:gd name="T24" fmla="*/ 3486 w 5519"/>
                <a:gd name="T25" fmla="*/ 2498 h 3627"/>
                <a:gd name="T26" fmla="*/ 3319 w 5519"/>
                <a:gd name="T27" fmla="*/ 2584 h 3627"/>
                <a:gd name="T28" fmla="*/ 3256 w 5519"/>
                <a:gd name="T29" fmla="*/ 2697 h 3627"/>
                <a:gd name="T30" fmla="*/ 3089 w 5519"/>
                <a:gd name="T31" fmla="*/ 2692 h 3627"/>
                <a:gd name="T32" fmla="*/ 3029 w 5519"/>
                <a:gd name="T33" fmla="*/ 2582 h 3627"/>
                <a:gd name="T34" fmla="*/ 2918 w 5519"/>
                <a:gd name="T35" fmla="*/ 2548 h 3627"/>
                <a:gd name="T36" fmla="*/ 2806 w 5519"/>
                <a:gd name="T37" fmla="*/ 2579 h 3627"/>
                <a:gd name="T38" fmla="*/ 2665 w 5519"/>
                <a:gd name="T39" fmla="*/ 2538 h 3627"/>
                <a:gd name="T40" fmla="*/ 2523 w 5519"/>
                <a:gd name="T41" fmla="*/ 2596 h 3627"/>
                <a:gd name="T42" fmla="*/ 2410 w 5519"/>
                <a:gd name="T43" fmla="*/ 2657 h 3627"/>
                <a:gd name="T44" fmla="*/ 2257 w 5519"/>
                <a:gd name="T45" fmla="*/ 2634 h 3627"/>
                <a:gd name="T46" fmla="*/ 2090 w 5519"/>
                <a:gd name="T47" fmla="*/ 2444 h 3627"/>
                <a:gd name="T48" fmla="*/ 1876 w 5519"/>
                <a:gd name="T49" fmla="*/ 2399 h 3627"/>
                <a:gd name="T50" fmla="*/ 1747 w 5519"/>
                <a:gd name="T51" fmla="*/ 2407 h 3627"/>
                <a:gd name="T52" fmla="*/ 1686 w 5519"/>
                <a:gd name="T53" fmla="*/ 2329 h 3627"/>
                <a:gd name="T54" fmla="*/ 1598 w 5519"/>
                <a:gd name="T55" fmla="*/ 2295 h 3627"/>
                <a:gd name="T56" fmla="*/ 1443 w 5519"/>
                <a:gd name="T57" fmla="*/ 2218 h 3627"/>
                <a:gd name="T58" fmla="*/ 1320 w 5519"/>
                <a:gd name="T59" fmla="*/ 2055 h 3627"/>
                <a:gd name="T60" fmla="*/ 1285 w 5519"/>
                <a:gd name="T61" fmla="*/ 1859 h 3627"/>
                <a:gd name="T62" fmla="*/ 1297 w 5519"/>
                <a:gd name="T63" fmla="*/ 1742 h 3627"/>
                <a:gd name="T64" fmla="*/ 1254 w 5519"/>
                <a:gd name="T65" fmla="*/ 1659 h 3627"/>
                <a:gd name="T66" fmla="*/ 1276 w 5519"/>
                <a:gd name="T67" fmla="*/ 1535 h 3627"/>
                <a:gd name="T68" fmla="*/ 1228 w 5519"/>
                <a:gd name="T69" fmla="*/ 1406 h 3627"/>
                <a:gd name="T70" fmla="*/ 1261 w 5519"/>
                <a:gd name="T71" fmla="*/ 1261 h 3627"/>
                <a:gd name="T72" fmla="*/ 1203 w 5519"/>
                <a:gd name="T73" fmla="*/ 1131 h 3627"/>
                <a:gd name="T74" fmla="*/ 1168 w 5519"/>
                <a:gd name="T75" fmla="*/ 1034 h 3627"/>
                <a:gd name="T76" fmla="*/ 1160 w 5519"/>
                <a:gd name="T77" fmla="*/ 935 h 3627"/>
                <a:gd name="T78" fmla="*/ 1072 w 5519"/>
                <a:gd name="T79" fmla="*/ 865 h 3627"/>
                <a:gd name="T80" fmla="*/ 1049 w 5519"/>
                <a:gd name="T81" fmla="*/ 794 h 3627"/>
                <a:gd name="T82" fmla="*/ 1007 w 5519"/>
                <a:gd name="T83" fmla="*/ 645 h 3627"/>
                <a:gd name="T84" fmla="*/ 890 w 5519"/>
                <a:gd name="T85" fmla="*/ 546 h 3627"/>
                <a:gd name="T86" fmla="*/ 885 w 5519"/>
                <a:gd name="T87" fmla="*/ 331 h 3627"/>
                <a:gd name="T88" fmla="*/ 794 w 5519"/>
                <a:gd name="T89" fmla="*/ 159 h 3627"/>
                <a:gd name="T90" fmla="*/ 640 w 5519"/>
                <a:gd name="T91" fmla="*/ 41 h 3627"/>
                <a:gd name="T92" fmla="*/ 466 w 5519"/>
                <a:gd name="T93" fmla="*/ 0 h 3627"/>
                <a:gd name="T94" fmla="*/ 270 w 5519"/>
                <a:gd name="T95" fmla="*/ 36 h 3627"/>
                <a:gd name="T96" fmla="*/ 114 w 5519"/>
                <a:gd name="T97" fmla="*/ 150 h 3627"/>
                <a:gd name="T98" fmla="*/ 18 w 5519"/>
                <a:gd name="T99" fmla="*/ 321 h 3627"/>
                <a:gd name="T100" fmla="*/ 3 w 5519"/>
                <a:gd name="T101" fmla="*/ 501 h 3627"/>
                <a:gd name="T102" fmla="*/ 68 w 5519"/>
                <a:gd name="T103" fmla="*/ 688 h 3627"/>
                <a:gd name="T104" fmla="*/ 203 w 5519"/>
                <a:gd name="T105" fmla="*/ 825 h 3627"/>
                <a:gd name="T106" fmla="*/ 389 w 5519"/>
                <a:gd name="T107" fmla="*/ 895 h 3627"/>
                <a:gd name="T108" fmla="*/ 5316 w 5519"/>
                <a:gd name="T109" fmla="*/ 3094 h 3627"/>
                <a:gd name="T110" fmla="*/ 5458 w 5519"/>
                <a:gd name="T111" fmla="*/ 3021 h 3627"/>
                <a:gd name="T112" fmla="*/ 5519 w 5519"/>
                <a:gd name="T113" fmla="*/ 2872 h 3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19" h="3627">
                  <a:moveTo>
                    <a:pt x="5519" y="2872"/>
                  </a:moveTo>
                  <a:lnTo>
                    <a:pt x="5519" y="2872"/>
                  </a:lnTo>
                  <a:lnTo>
                    <a:pt x="5518" y="2849"/>
                  </a:lnTo>
                  <a:lnTo>
                    <a:pt x="5516" y="2826"/>
                  </a:lnTo>
                  <a:lnTo>
                    <a:pt x="5511" y="2803"/>
                  </a:lnTo>
                  <a:lnTo>
                    <a:pt x="5504" y="2781"/>
                  </a:lnTo>
                  <a:lnTo>
                    <a:pt x="5494" y="2761"/>
                  </a:lnTo>
                  <a:lnTo>
                    <a:pt x="5484" y="2741"/>
                  </a:lnTo>
                  <a:lnTo>
                    <a:pt x="5471" y="2723"/>
                  </a:lnTo>
                  <a:lnTo>
                    <a:pt x="5456" y="2707"/>
                  </a:lnTo>
                  <a:lnTo>
                    <a:pt x="5441" y="2692"/>
                  </a:lnTo>
                  <a:lnTo>
                    <a:pt x="5423" y="2677"/>
                  </a:lnTo>
                  <a:lnTo>
                    <a:pt x="5405" y="2665"/>
                  </a:lnTo>
                  <a:lnTo>
                    <a:pt x="5385" y="2655"/>
                  </a:lnTo>
                  <a:lnTo>
                    <a:pt x="5365" y="2645"/>
                  </a:lnTo>
                  <a:lnTo>
                    <a:pt x="5342" y="2639"/>
                  </a:lnTo>
                  <a:lnTo>
                    <a:pt x="5321" y="2635"/>
                  </a:lnTo>
                  <a:lnTo>
                    <a:pt x="5296" y="2634"/>
                  </a:lnTo>
                  <a:lnTo>
                    <a:pt x="5296" y="2634"/>
                  </a:lnTo>
                  <a:lnTo>
                    <a:pt x="5278" y="2634"/>
                  </a:lnTo>
                  <a:lnTo>
                    <a:pt x="5258" y="2635"/>
                  </a:lnTo>
                  <a:lnTo>
                    <a:pt x="5240" y="2639"/>
                  </a:lnTo>
                  <a:lnTo>
                    <a:pt x="5221" y="2642"/>
                  </a:lnTo>
                  <a:lnTo>
                    <a:pt x="5205" y="2649"/>
                  </a:lnTo>
                  <a:lnTo>
                    <a:pt x="5187" y="2655"/>
                  </a:lnTo>
                  <a:lnTo>
                    <a:pt x="5172" y="2665"/>
                  </a:lnTo>
                  <a:lnTo>
                    <a:pt x="5157" y="2675"/>
                  </a:lnTo>
                  <a:lnTo>
                    <a:pt x="5157" y="2675"/>
                  </a:lnTo>
                  <a:lnTo>
                    <a:pt x="5127" y="2650"/>
                  </a:lnTo>
                  <a:lnTo>
                    <a:pt x="5096" y="2627"/>
                  </a:lnTo>
                  <a:lnTo>
                    <a:pt x="5061" y="2609"/>
                  </a:lnTo>
                  <a:lnTo>
                    <a:pt x="5026" y="2592"/>
                  </a:lnTo>
                  <a:lnTo>
                    <a:pt x="4990" y="2579"/>
                  </a:lnTo>
                  <a:lnTo>
                    <a:pt x="4952" y="2568"/>
                  </a:lnTo>
                  <a:lnTo>
                    <a:pt x="4912" y="2561"/>
                  </a:lnTo>
                  <a:lnTo>
                    <a:pt x="4871" y="2558"/>
                  </a:lnTo>
                  <a:lnTo>
                    <a:pt x="4871" y="2558"/>
                  </a:lnTo>
                  <a:lnTo>
                    <a:pt x="4843" y="2558"/>
                  </a:lnTo>
                  <a:lnTo>
                    <a:pt x="4814" y="2559"/>
                  </a:lnTo>
                  <a:lnTo>
                    <a:pt x="4788" y="2563"/>
                  </a:lnTo>
                  <a:lnTo>
                    <a:pt x="4761" y="2568"/>
                  </a:lnTo>
                  <a:lnTo>
                    <a:pt x="4737" y="2574"/>
                  </a:lnTo>
                  <a:lnTo>
                    <a:pt x="4710" y="2581"/>
                  </a:lnTo>
                  <a:lnTo>
                    <a:pt x="4685" y="2591"/>
                  </a:lnTo>
                  <a:lnTo>
                    <a:pt x="4662" y="2601"/>
                  </a:lnTo>
                  <a:lnTo>
                    <a:pt x="4639" y="2612"/>
                  </a:lnTo>
                  <a:lnTo>
                    <a:pt x="4616" y="2626"/>
                  </a:lnTo>
                  <a:lnTo>
                    <a:pt x="4594" y="2640"/>
                  </a:lnTo>
                  <a:lnTo>
                    <a:pt x="4573" y="2655"/>
                  </a:lnTo>
                  <a:lnTo>
                    <a:pt x="4555" y="2672"/>
                  </a:lnTo>
                  <a:lnTo>
                    <a:pt x="4535" y="2690"/>
                  </a:lnTo>
                  <a:lnTo>
                    <a:pt x="4517" y="2710"/>
                  </a:lnTo>
                  <a:lnTo>
                    <a:pt x="4500" y="2730"/>
                  </a:lnTo>
                  <a:lnTo>
                    <a:pt x="4500" y="2730"/>
                  </a:lnTo>
                  <a:lnTo>
                    <a:pt x="4474" y="2710"/>
                  </a:lnTo>
                  <a:lnTo>
                    <a:pt x="4444" y="2692"/>
                  </a:lnTo>
                  <a:lnTo>
                    <a:pt x="4414" y="2677"/>
                  </a:lnTo>
                  <a:lnTo>
                    <a:pt x="4381" y="2664"/>
                  </a:lnTo>
                  <a:lnTo>
                    <a:pt x="4350" y="2654"/>
                  </a:lnTo>
                  <a:lnTo>
                    <a:pt x="4315" y="2645"/>
                  </a:lnTo>
                  <a:lnTo>
                    <a:pt x="4280" y="2640"/>
                  </a:lnTo>
                  <a:lnTo>
                    <a:pt x="4244" y="2637"/>
                  </a:lnTo>
                  <a:lnTo>
                    <a:pt x="4244" y="2637"/>
                  </a:lnTo>
                  <a:lnTo>
                    <a:pt x="4220" y="2637"/>
                  </a:lnTo>
                  <a:lnTo>
                    <a:pt x="4197" y="2637"/>
                  </a:lnTo>
                  <a:lnTo>
                    <a:pt x="4197" y="2637"/>
                  </a:lnTo>
                  <a:lnTo>
                    <a:pt x="4194" y="2626"/>
                  </a:lnTo>
                  <a:lnTo>
                    <a:pt x="4191" y="2616"/>
                  </a:lnTo>
                  <a:lnTo>
                    <a:pt x="4187" y="2604"/>
                  </a:lnTo>
                  <a:lnTo>
                    <a:pt x="4182" y="2594"/>
                  </a:lnTo>
                  <a:lnTo>
                    <a:pt x="4171" y="2574"/>
                  </a:lnTo>
                  <a:lnTo>
                    <a:pt x="4154" y="2558"/>
                  </a:lnTo>
                  <a:lnTo>
                    <a:pt x="4136" y="2543"/>
                  </a:lnTo>
                  <a:lnTo>
                    <a:pt x="4126" y="2538"/>
                  </a:lnTo>
                  <a:lnTo>
                    <a:pt x="4116" y="2533"/>
                  </a:lnTo>
                  <a:lnTo>
                    <a:pt x="4105" y="2528"/>
                  </a:lnTo>
                  <a:lnTo>
                    <a:pt x="4093" y="2526"/>
                  </a:lnTo>
                  <a:lnTo>
                    <a:pt x="4082" y="2523"/>
                  </a:lnTo>
                  <a:lnTo>
                    <a:pt x="4070" y="2523"/>
                  </a:lnTo>
                  <a:lnTo>
                    <a:pt x="4070" y="2523"/>
                  </a:lnTo>
                  <a:lnTo>
                    <a:pt x="4053" y="2523"/>
                  </a:lnTo>
                  <a:lnTo>
                    <a:pt x="4035" y="2526"/>
                  </a:lnTo>
                  <a:lnTo>
                    <a:pt x="4020" y="2530"/>
                  </a:lnTo>
                  <a:lnTo>
                    <a:pt x="4005" y="2536"/>
                  </a:lnTo>
                  <a:lnTo>
                    <a:pt x="3991" y="2544"/>
                  </a:lnTo>
                  <a:lnTo>
                    <a:pt x="3977" y="2554"/>
                  </a:lnTo>
                  <a:lnTo>
                    <a:pt x="3966" y="2566"/>
                  </a:lnTo>
                  <a:lnTo>
                    <a:pt x="3956" y="2579"/>
                  </a:lnTo>
                  <a:lnTo>
                    <a:pt x="3956" y="2579"/>
                  </a:lnTo>
                  <a:lnTo>
                    <a:pt x="3941" y="2564"/>
                  </a:lnTo>
                  <a:lnTo>
                    <a:pt x="3923" y="2551"/>
                  </a:lnTo>
                  <a:lnTo>
                    <a:pt x="3904" y="2539"/>
                  </a:lnTo>
                  <a:lnTo>
                    <a:pt x="3886" y="2528"/>
                  </a:lnTo>
                  <a:lnTo>
                    <a:pt x="3865" y="2520"/>
                  </a:lnTo>
                  <a:lnTo>
                    <a:pt x="3843" y="2515"/>
                  </a:lnTo>
                  <a:lnTo>
                    <a:pt x="3820" y="2510"/>
                  </a:lnTo>
                  <a:lnTo>
                    <a:pt x="3799" y="2508"/>
                  </a:lnTo>
                  <a:lnTo>
                    <a:pt x="3799" y="2508"/>
                  </a:lnTo>
                  <a:lnTo>
                    <a:pt x="3777" y="2508"/>
                  </a:lnTo>
                  <a:lnTo>
                    <a:pt x="3757" y="2510"/>
                  </a:lnTo>
                  <a:lnTo>
                    <a:pt x="3737" y="2513"/>
                  </a:lnTo>
                  <a:lnTo>
                    <a:pt x="3719" y="2518"/>
                  </a:lnTo>
                  <a:lnTo>
                    <a:pt x="3701" y="2525"/>
                  </a:lnTo>
                  <a:lnTo>
                    <a:pt x="3684" y="2533"/>
                  </a:lnTo>
                  <a:lnTo>
                    <a:pt x="3666" y="2543"/>
                  </a:lnTo>
                  <a:lnTo>
                    <a:pt x="3651" y="2554"/>
                  </a:lnTo>
                  <a:lnTo>
                    <a:pt x="3651" y="2554"/>
                  </a:lnTo>
                  <a:lnTo>
                    <a:pt x="3636" y="2541"/>
                  </a:lnTo>
                  <a:lnTo>
                    <a:pt x="3620" y="2531"/>
                  </a:lnTo>
                  <a:lnTo>
                    <a:pt x="3603" y="2521"/>
                  </a:lnTo>
                  <a:lnTo>
                    <a:pt x="3587" y="2515"/>
                  </a:lnTo>
                  <a:lnTo>
                    <a:pt x="3567" y="2508"/>
                  </a:lnTo>
                  <a:lnTo>
                    <a:pt x="3549" y="2503"/>
                  </a:lnTo>
                  <a:lnTo>
                    <a:pt x="3529" y="2500"/>
                  </a:lnTo>
                  <a:lnTo>
                    <a:pt x="3509" y="2498"/>
                  </a:lnTo>
                  <a:lnTo>
                    <a:pt x="3509" y="2498"/>
                  </a:lnTo>
                  <a:lnTo>
                    <a:pt x="3486" y="2498"/>
                  </a:lnTo>
                  <a:lnTo>
                    <a:pt x="3464" y="2500"/>
                  </a:lnTo>
                  <a:lnTo>
                    <a:pt x="3443" y="2505"/>
                  </a:lnTo>
                  <a:lnTo>
                    <a:pt x="3421" y="2511"/>
                  </a:lnTo>
                  <a:lnTo>
                    <a:pt x="3402" y="2520"/>
                  </a:lnTo>
                  <a:lnTo>
                    <a:pt x="3383" y="2530"/>
                  </a:lnTo>
                  <a:lnTo>
                    <a:pt x="3365" y="2541"/>
                  </a:lnTo>
                  <a:lnTo>
                    <a:pt x="3349" y="2554"/>
                  </a:lnTo>
                  <a:lnTo>
                    <a:pt x="3334" y="2569"/>
                  </a:lnTo>
                  <a:lnTo>
                    <a:pt x="3319" y="2584"/>
                  </a:lnTo>
                  <a:lnTo>
                    <a:pt x="3307" y="2602"/>
                  </a:lnTo>
                  <a:lnTo>
                    <a:pt x="3296" y="2621"/>
                  </a:lnTo>
                  <a:lnTo>
                    <a:pt x="3287" y="2639"/>
                  </a:lnTo>
                  <a:lnTo>
                    <a:pt x="3279" y="2660"/>
                  </a:lnTo>
                  <a:lnTo>
                    <a:pt x="3274" y="2682"/>
                  </a:lnTo>
                  <a:lnTo>
                    <a:pt x="3271" y="2703"/>
                  </a:lnTo>
                  <a:lnTo>
                    <a:pt x="3271" y="2703"/>
                  </a:lnTo>
                  <a:lnTo>
                    <a:pt x="3256" y="2697"/>
                  </a:lnTo>
                  <a:lnTo>
                    <a:pt x="3256" y="2697"/>
                  </a:lnTo>
                  <a:lnTo>
                    <a:pt x="3234" y="2688"/>
                  </a:lnTo>
                  <a:lnTo>
                    <a:pt x="3213" y="2683"/>
                  </a:lnTo>
                  <a:lnTo>
                    <a:pt x="3191" y="2680"/>
                  </a:lnTo>
                  <a:lnTo>
                    <a:pt x="3172" y="2678"/>
                  </a:lnTo>
                  <a:lnTo>
                    <a:pt x="3150" y="2678"/>
                  </a:lnTo>
                  <a:lnTo>
                    <a:pt x="3129" y="2680"/>
                  </a:lnTo>
                  <a:lnTo>
                    <a:pt x="3109" y="2685"/>
                  </a:lnTo>
                  <a:lnTo>
                    <a:pt x="3089" y="2692"/>
                  </a:lnTo>
                  <a:lnTo>
                    <a:pt x="3089" y="2692"/>
                  </a:lnTo>
                  <a:lnTo>
                    <a:pt x="3087" y="2677"/>
                  </a:lnTo>
                  <a:lnTo>
                    <a:pt x="3084" y="2664"/>
                  </a:lnTo>
                  <a:lnTo>
                    <a:pt x="3079" y="2649"/>
                  </a:lnTo>
                  <a:lnTo>
                    <a:pt x="3072" y="2635"/>
                  </a:lnTo>
                  <a:lnTo>
                    <a:pt x="3066" y="2624"/>
                  </a:lnTo>
                  <a:lnTo>
                    <a:pt x="3057" y="2612"/>
                  </a:lnTo>
                  <a:lnTo>
                    <a:pt x="3049" y="2601"/>
                  </a:lnTo>
                  <a:lnTo>
                    <a:pt x="3039" y="2591"/>
                  </a:lnTo>
                  <a:lnTo>
                    <a:pt x="3029" y="2582"/>
                  </a:lnTo>
                  <a:lnTo>
                    <a:pt x="3018" y="2574"/>
                  </a:lnTo>
                  <a:lnTo>
                    <a:pt x="3004" y="2566"/>
                  </a:lnTo>
                  <a:lnTo>
                    <a:pt x="2993" y="2561"/>
                  </a:lnTo>
                  <a:lnTo>
                    <a:pt x="2980" y="2556"/>
                  </a:lnTo>
                  <a:lnTo>
                    <a:pt x="2965" y="2551"/>
                  </a:lnTo>
                  <a:lnTo>
                    <a:pt x="2950" y="2549"/>
                  </a:lnTo>
                  <a:lnTo>
                    <a:pt x="2935" y="2548"/>
                  </a:lnTo>
                  <a:lnTo>
                    <a:pt x="2935" y="2548"/>
                  </a:lnTo>
                  <a:lnTo>
                    <a:pt x="2918" y="2548"/>
                  </a:lnTo>
                  <a:lnTo>
                    <a:pt x="2904" y="2549"/>
                  </a:lnTo>
                  <a:lnTo>
                    <a:pt x="2887" y="2553"/>
                  </a:lnTo>
                  <a:lnTo>
                    <a:pt x="2872" y="2558"/>
                  </a:lnTo>
                  <a:lnTo>
                    <a:pt x="2859" y="2564"/>
                  </a:lnTo>
                  <a:lnTo>
                    <a:pt x="2846" y="2573"/>
                  </a:lnTo>
                  <a:lnTo>
                    <a:pt x="2832" y="2581"/>
                  </a:lnTo>
                  <a:lnTo>
                    <a:pt x="2821" y="2591"/>
                  </a:lnTo>
                  <a:lnTo>
                    <a:pt x="2821" y="2591"/>
                  </a:lnTo>
                  <a:lnTo>
                    <a:pt x="2806" y="2579"/>
                  </a:lnTo>
                  <a:lnTo>
                    <a:pt x="2791" y="2569"/>
                  </a:lnTo>
                  <a:lnTo>
                    <a:pt x="2774" y="2561"/>
                  </a:lnTo>
                  <a:lnTo>
                    <a:pt x="2758" y="2554"/>
                  </a:lnTo>
                  <a:lnTo>
                    <a:pt x="2740" y="2548"/>
                  </a:lnTo>
                  <a:lnTo>
                    <a:pt x="2722" y="2543"/>
                  </a:lnTo>
                  <a:lnTo>
                    <a:pt x="2703" y="2539"/>
                  </a:lnTo>
                  <a:lnTo>
                    <a:pt x="2683" y="2538"/>
                  </a:lnTo>
                  <a:lnTo>
                    <a:pt x="2683" y="2538"/>
                  </a:lnTo>
                  <a:lnTo>
                    <a:pt x="2665" y="2538"/>
                  </a:lnTo>
                  <a:lnTo>
                    <a:pt x="2647" y="2539"/>
                  </a:lnTo>
                  <a:lnTo>
                    <a:pt x="2631" y="2543"/>
                  </a:lnTo>
                  <a:lnTo>
                    <a:pt x="2612" y="2546"/>
                  </a:lnTo>
                  <a:lnTo>
                    <a:pt x="2596" y="2553"/>
                  </a:lnTo>
                  <a:lnTo>
                    <a:pt x="2581" y="2559"/>
                  </a:lnTo>
                  <a:lnTo>
                    <a:pt x="2564" y="2566"/>
                  </a:lnTo>
                  <a:lnTo>
                    <a:pt x="2551" y="2574"/>
                  </a:lnTo>
                  <a:lnTo>
                    <a:pt x="2536" y="2584"/>
                  </a:lnTo>
                  <a:lnTo>
                    <a:pt x="2523" y="2596"/>
                  </a:lnTo>
                  <a:lnTo>
                    <a:pt x="2511" y="2607"/>
                  </a:lnTo>
                  <a:lnTo>
                    <a:pt x="2500" y="2619"/>
                  </a:lnTo>
                  <a:lnTo>
                    <a:pt x="2488" y="2632"/>
                  </a:lnTo>
                  <a:lnTo>
                    <a:pt x="2480" y="2647"/>
                  </a:lnTo>
                  <a:lnTo>
                    <a:pt x="2470" y="2662"/>
                  </a:lnTo>
                  <a:lnTo>
                    <a:pt x="2463" y="2677"/>
                  </a:lnTo>
                  <a:lnTo>
                    <a:pt x="2463" y="2677"/>
                  </a:lnTo>
                  <a:lnTo>
                    <a:pt x="2439" y="2665"/>
                  </a:lnTo>
                  <a:lnTo>
                    <a:pt x="2410" y="2657"/>
                  </a:lnTo>
                  <a:lnTo>
                    <a:pt x="2382" y="2650"/>
                  </a:lnTo>
                  <a:lnTo>
                    <a:pt x="2354" y="2649"/>
                  </a:lnTo>
                  <a:lnTo>
                    <a:pt x="2354" y="2649"/>
                  </a:lnTo>
                  <a:lnTo>
                    <a:pt x="2331" y="2649"/>
                  </a:lnTo>
                  <a:lnTo>
                    <a:pt x="2308" y="2650"/>
                  </a:lnTo>
                  <a:lnTo>
                    <a:pt x="2286" y="2655"/>
                  </a:lnTo>
                  <a:lnTo>
                    <a:pt x="2265" y="2660"/>
                  </a:lnTo>
                  <a:lnTo>
                    <a:pt x="2265" y="2660"/>
                  </a:lnTo>
                  <a:lnTo>
                    <a:pt x="2257" y="2634"/>
                  </a:lnTo>
                  <a:lnTo>
                    <a:pt x="2243" y="2607"/>
                  </a:lnTo>
                  <a:lnTo>
                    <a:pt x="2230" y="2581"/>
                  </a:lnTo>
                  <a:lnTo>
                    <a:pt x="2215" y="2558"/>
                  </a:lnTo>
                  <a:lnTo>
                    <a:pt x="2197" y="2535"/>
                  </a:lnTo>
                  <a:lnTo>
                    <a:pt x="2179" y="2513"/>
                  </a:lnTo>
                  <a:lnTo>
                    <a:pt x="2159" y="2493"/>
                  </a:lnTo>
                  <a:lnTo>
                    <a:pt x="2136" y="2475"/>
                  </a:lnTo>
                  <a:lnTo>
                    <a:pt x="2113" y="2458"/>
                  </a:lnTo>
                  <a:lnTo>
                    <a:pt x="2090" y="2444"/>
                  </a:lnTo>
                  <a:lnTo>
                    <a:pt x="2063" y="2430"/>
                  </a:lnTo>
                  <a:lnTo>
                    <a:pt x="2037" y="2420"/>
                  </a:lnTo>
                  <a:lnTo>
                    <a:pt x="2008" y="2410"/>
                  </a:lnTo>
                  <a:lnTo>
                    <a:pt x="1980" y="2404"/>
                  </a:lnTo>
                  <a:lnTo>
                    <a:pt x="1951" y="2399"/>
                  </a:lnTo>
                  <a:lnTo>
                    <a:pt x="1919" y="2397"/>
                  </a:lnTo>
                  <a:lnTo>
                    <a:pt x="1919" y="2397"/>
                  </a:lnTo>
                  <a:lnTo>
                    <a:pt x="1898" y="2397"/>
                  </a:lnTo>
                  <a:lnTo>
                    <a:pt x="1876" y="2399"/>
                  </a:lnTo>
                  <a:lnTo>
                    <a:pt x="1853" y="2400"/>
                  </a:lnTo>
                  <a:lnTo>
                    <a:pt x="1833" y="2404"/>
                  </a:lnTo>
                  <a:lnTo>
                    <a:pt x="1812" y="2409"/>
                  </a:lnTo>
                  <a:lnTo>
                    <a:pt x="1792" y="2415"/>
                  </a:lnTo>
                  <a:lnTo>
                    <a:pt x="1772" y="2422"/>
                  </a:lnTo>
                  <a:lnTo>
                    <a:pt x="1752" y="2430"/>
                  </a:lnTo>
                  <a:lnTo>
                    <a:pt x="1752" y="2430"/>
                  </a:lnTo>
                  <a:lnTo>
                    <a:pt x="1750" y="2419"/>
                  </a:lnTo>
                  <a:lnTo>
                    <a:pt x="1747" y="2407"/>
                  </a:lnTo>
                  <a:lnTo>
                    <a:pt x="1744" y="2396"/>
                  </a:lnTo>
                  <a:lnTo>
                    <a:pt x="1740" y="2386"/>
                  </a:lnTo>
                  <a:lnTo>
                    <a:pt x="1734" y="2376"/>
                  </a:lnTo>
                  <a:lnTo>
                    <a:pt x="1729" y="2366"/>
                  </a:lnTo>
                  <a:lnTo>
                    <a:pt x="1721" y="2357"/>
                  </a:lnTo>
                  <a:lnTo>
                    <a:pt x="1714" y="2349"/>
                  </a:lnTo>
                  <a:lnTo>
                    <a:pt x="1706" y="2341"/>
                  </a:lnTo>
                  <a:lnTo>
                    <a:pt x="1696" y="2334"/>
                  </a:lnTo>
                  <a:lnTo>
                    <a:pt x="1686" y="2329"/>
                  </a:lnTo>
                  <a:lnTo>
                    <a:pt x="1676" y="2324"/>
                  </a:lnTo>
                  <a:lnTo>
                    <a:pt x="1664" y="2319"/>
                  </a:lnTo>
                  <a:lnTo>
                    <a:pt x="1654" y="2316"/>
                  </a:lnTo>
                  <a:lnTo>
                    <a:pt x="1643" y="2314"/>
                  </a:lnTo>
                  <a:lnTo>
                    <a:pt x="1630" y="2314"/>
                  </a:lnTo>
                  <a:lnTo>
                    <a:pt x="1630" y="2314"/>
                  </a:lnTo>
                  <a:lnTo>
                    <a:pt x="1610" y="2314"/>
                  </a:lnTo>
                  <a:lnTo>
                    <a:pt x="1610" y="2314"/>
                  </a:lnTo>
                  <a:lnTo>
                    <a:pt x="1598" y="2295"/>
                  </a:lnTo>
                  <a:lnTo>
                    <a:pt x="1585" y="2276"/>
                  </a:lnTo>
                  <a:lnTo>
                    <a:pt x="1568" y="2262"/>
                  </a:lnTo>
                  <a:lnTo>
                    <a:pt x="1550" y="2247"/>
                  </a:lnTo>
                  <a:lnTo>
                    <a:pt x="1530" y="2235"/>
                  </a:lnTo>
                  <a:lnTo>
                    <a:pt x="1509" y="2227"/>
                  </a:lnTo>
                  <a:lnTo>
                    <a:pt x="1487" y="2222"/>
                  </a:lnTo>
                  <a:lnTo>
                    <a:pt x="1462" y="2218"/>
                  </a:lnTo>
                  <a:lnTo>
                    <a:pt x="1462" y="2218"/>
                  </a:lnTo>
                  <a:lnTo>
                    <a:pt x="1443" y="2218"/>
                  </a:lnTo>
                  <a:lnTo>
                    <a:pt x="1421" y="2222"/>
                  </a:lnTo>
                  <a:lnTo>
                    <a:pt x="1421" y="2222"/>
                  </a:lnTo>
                  <a:lnTo>
                    <a:pt x="1416" y="2194"/>
                  </a:lnTo>
                  <a:lnTo>
                    <a:pt x="1408" y="2166"/>
                  </a:lnTo>
                  <a:lnTo>
                    <a:pt x="1396" y="2139"/>
                  </a:lnTo>
                  <a:lnTo>
                    <a:pt x="1381" y="2114"/>
                  </a:lnTo>
                  <a:lnTo>
                    <a:pt x="1363" y="2091"/>
                  </a:lnTo>
                  <a:lnTo>
                    <a:pt x="1342" y="2071"/>
                  </a:lnTo>
                  <a:lnTo>
                    <a:pt x="1320" y="2055"/>
                  </a:lnTo>
                  <a:lnTo>
                    <a:pt x="1294" y="2040"/>
                  </a:lnTo>
                  <a:lnTo>
                    <a:pt x="1294" y="2040"/>
                  </a:lnTo>
                  <a:lnTo>
                    <a:pt x="1302" y="2013"/>
                  </a:lnTo>
                  <a:lnTo>
                    <a:pt x="1307" y="1987"/>
                  </a:lnTo>
                  <a:lnTo>
                    <a:pt x="1309" y="1960"/>
                  </a:lnTo>
                  <a:lnTo>
                    <a:pt x="1307" y="1934"/>
                  </a:lnTo>
                  <a:lnTo>
                    <a:pt x="1302" y="1909"/>
                  </a:lnTo>
                  <a:lnTo>
                    <a:pt x="1295" y="1884"/>
                  </a:lnTo>
                  <a:lnTo>
                    <a:pt x="1285" y="1859"/>
                  </a:lnTo>
                  <a:lnTo>
                    <a:pt x="1272" y="1838"/>
                  </a:lnTo>
                  <a:lnTo>
                    <a:pt x="1272" y="1838"/>
                  </a:lnTo>
                  <a:lnTo>
                    <a:pt x="1284" y="1825"/>
                  </a:lnTo>
                  <a:lnTo>
                    <a:pt x="1294" y="1808"/>
                  </a:lnTo>
                  <a:lnTo>
                    <a:pt x="1299" y="1792"/>
                  </a:lnTo>
                  <a:lnTo>
                    <a:pt x="1302" y="1773"/>
                  </a:lnTo>
                  <a:lnTo>
                    <a:pt x="1302" y="1773"/>
                  </a:lnTo>
                  <a:lnTo>
                    <a:pt x="1300" y="1757"/>
                  </a:lnTo>
                  <a:lnTo>
                    <a:pt x="1297" y="1742"/>
                  </a:lnTo>
                  <a:lnTo>
                    <a:pt x="1292" y="1729"/>
                  </a:lnTo>
                  <a:lnTo>
                    <a:pt x="1284" y="1716"/>
                  </a:lnTo>
                  <a:lnTo>
                    <a:pt x="1274" y="1704"/>
                  </a:lnTo>
                  <a:lnTo>
                    <a:pt x="1262" y="1694"/>
                  </a:lnTo>
                  <a:lnTo>
                    <a:pt x="1251" y="1687"/>
                  </a:lnTo>
                  <a:lnTo>
                    <a:pt x="1236" y="1681"/>
                  </a:lnTo>
                  <a:lnTo>
                    <a:pt x="1236" y="1681"/>
                  </a:lnTo>
                  <a:lnTo>
                    <a:pt x="1246" y="1671"/>
                  </a:lnTo>
                  <a:lnTo>
                    <a:pt x="1254" y="1659"/>
                  </a:lnTo>
                  <a:lnTo>
                    <a:pt x="1261" y="1648"/>
                  </a:lnTo>
                  <a:lnTo>
                    <a:pt x="1267" y="1634"/>
                  </a:lnTo>
                  <a:lnTo>
                    <a:pt x="1272" y="1621"/>
                  </a:lnTo>
                  <a:lnTo>
                    <a:pt x="1276" y="1606"/>
                  </a:lnTo>
                  <a:lnTo>
                    <a:pt x="1279" y="1591"/>
                  </a:lnTo>
                  <a:lnTo>
                    <a:pt x="1280" y="1577"/>
                  </a:lnTo>
                  <a:lnTo>
                    <a:pt x="1280" y="1577"/>
                  </a:lnTo>
                  <a:lnTo>
                    <a:pt x="1279" y="1555"/>
                  </a:lnTo>
                  <a:lnTo>
                    <a:pt x="1276" y="1535"/>
                  </a:lnTo>
                  <a:lnTo>
                    <a:pt x="1269" y="1514"/>
                  </a:lnTo>
                  <a:lnTo>
                    <a:pt x="1261" y="1495"/>
                  </a:lnTo>
                  <a:lnTo>
                    <a:pt x="1249" y="1479"/>
                  </a:lnTo>
                  <a:lnTo>
                    <a:pt x="1237" y="1462"/>
                  </a:lnTo>
                  <a:lnTo>
                    <a:pt x="1223" y="1449"/>
                  </a:lnTo>
                  <a:lnTo>
                    <a:pt x="1204" y="1436"/>
                  </a:lnTo>
                  <a:lnTo>
                    <a:pt x="1204" y="1436"/>
                  </a:lnTo>
                  <a:lnTo>
                    <a:pt x="1218" y="1421"/>
                  </a:lnTo>
                  <a:lnTo>
                    <a:pt x="1228" y="1406"/>
                  </a:lnTo>
                  <a:lnTo>
                    <a:pt x="1237" y="1388"/>
                  </a:lnTo>
                  <a:lnTo>
                    <a:pt x="1246" y="1371"/>
                  </a:lnTo>
                  <a:lnTo>
                    <a:pt x="1251" y="1353"/>
                  </a:lnTo>
                  <a:lnTo>
                    <a:pt x="1256" y="1333"/>
                  </a:lnTo>
                  <a:lnTo>
                    <a:pt x="1259" y="1313"/>
                  </a:lnTo>
                  <a:lnTo>
                    <a:pt x="1261" y="1294"/>
                  </a:lnTo>
                  <a:lnTo>
                    <a:pt x="1261" y="1294"/>
                  </a:lnTo>
                  <a:lnTo>
                    <a:pt x="1261" y="1277"/>
                  </a:lnTo>
                  <a:lnTo>
                    <a:pt x="1261" y="1261"/>
                  </a:lnTo>
                  <a:lnTo>
                    <a:pt x="1257" y="1244"/>
                  </a:lnTo>
                  <a:lnTo>
                    <a:pt x="1254" y="1227"/>
                  </a:lnTo>
                  <a:lnTo>
                    <a:pt x="1249" y="1213"/>
                  </a:lnTo>
                  <a:lnTo>
                    <a:pt x="1244" y="1198"/>
                  </a:lnTo>
                  <a:lnTo>
                    <a:pt x="1237" y="1183"/>
                  </a:lnTo>
                  <a:lnTo>
                    <a:pt x="1231" y="1170"/>
                  </a:lnTo>
                  <a:lnTo>
                    <a:pt x="1221" y="1156"/>
                  </a:lnTo>
                  <a:lnTo>
                    <a:pt x="1213" y="1143"/>
                  </a:lnTo>
                  <a:lnTo>
                    <a:pt x="1203" y="1131"/>
                  </a:lnTo>
                  <a:lnTo>
                    <a:pt x="1191" y="1120"/>
                  </a:lnTo>
                  <a:lnTo>
                    <a:pt x="1180" y="1108"/>
                  </a:lnTo>
                  <a:lnTo>
                    <a:pt x="1168" y="1098"/>
                  </a:lnTo>
                  <a:lnTo>
                    <a:pt x="1155" y="1090"/>
                  </a:lnTo>
                  <a:lnTo>
                    <a:pt x="1140" y="1082"/>
                  </a:lnTo>
                  <a:lnTo>
                    <a:pt x="1140" y="1082"/>
                  </a:lnTo>
                  <a:lnTo>
                    <a:pt x="1153" y="1064"/>
                  </a:lnTo>
                  <a:lnTo>
                    <a:pt x="1165" y="1044"/>
                  </a:lnTo>
                  <a:lnTo>
                    <a:pt x="1168" y="1034"/>
                  </a:lnTo>
                  <a:lnTo>
                    <a:pt x="1171" y="1022"/>
                  </a:lnTo>
                  <a:lnTo>
                    <a:pt x="1173" y="1011"/>
                  </a:lnTo>
                  <a:lnTo>
                    <a:pt x="1175" y="999"/>
                  </a:lnTo>
                  <a:lnTo>
                    <a:pt x="1175" y="999"/>
                  </a:lnTo>
                  <a:lnTo>
                    <a:pt x="1173" y="984"/>
                  </a:lnTo>
                  <a:lnTo>
                    <a:pt x="1173" y="971"/>
                  </a:lnTo>
                  <a:lnTo>
                    <a:pt x="1170" y="959"/>
                  </a:lnTo>
                  <a:lnTo>
                    <a:pt x="1165" y="946"/>
                  </a:lnTo>
                  <a:lnTo>
                    <a:pt x="1160" y="935"/>
                  </a:lnTo>
                  <a:lnTo>
                    <a:pt x="1153" y="923"/>
                  </a:lnTo>
                  <a:lnTo>
                    <a:pt x="1146" y="913"/>
                  </a:lnTo>
                  <a:lnTo>
                    <a:pt x="1138" y="903"/>
                  </a:lnTo>
                  <a:lnTo>
                    <a:pt x="1130" y="895"/>
                  </a:lnTo>
                  <a:lnTo>
                    <a:pt x="1120" y="887"/>
                  </a:lnTo>
                  <a:lnTo>
                    <a:pt x="1108" y="880"/>
                  </a:lnTo>
                  <a:lnTo>
                    <a:pt x="1097" y="873"/>
                  </a:lnTo>
                  <a:lnTo>
                    <a:pt x="1085" y="868"/>
                  </a:lnTo>
                  <a:lnTo>
                    <a:pt x="1072" y="865"/>
                  </a:lnTo>
                  <a:lnTo>
                    <a:pt x="1059" y="862"/>
                  </a:lnTo>
                  <a:lnTo>
                    <a:pt x="1046" y="862"/>
                  </a:lnTo>
                  <a:lnTo>
                    <a:pt x="1046" y="862"/>
                  </a:lnTo>
                  <a:lnTo>
                    <a:pt x="1037" y="862"/>
                  </a:lnTo>
                  <a:lnTo>
                    <a:pt x="1037" y="862"/>
                  </a:lnTo>
                  <a:lnTo>
                    <a:pt x="1042" y="845"/>
                  </a:lnTo>
                  <a:lnTo>
                    <a:pt x="1046" y="829"/>
                  </a:lnTo>
                  <a:lnTo>
                    <a:pt x="1047" y="812"/>
                  </a:lnTo>
                  <a:lnTo>
                    <a:pt x="1049" y="794"/>
                  </a:lnTo>
                  <a:lnTo>
                    <a:pt x="1049" y="794"/>
                  </a:lnTo>
                  <a:lnTo>
                    <a:pt x="1049" y="774"/>
                  </a:lnTo>
                  <a:lnTo>
                    <a:pt x="1047" y="754"/>
                  </a:lnTo>
                  <a:lnTo>
                    <a:pt x="1044" y="734"/>
                  </a:lnTo>
                  <a:lnTo>
                    <a:pt x="1039" y="715"/>
                  </a:lnTo>
                  <a:lnTo>
                    <a:pt x="1032" y="696"/>
                  </a:lnTo>
                  <a:lnTo>
                    <a:pt x="1026" y="678"/>
                  </a:lnTo>
                  <a:lnTo>
                    <a:pt x="1017" y="662"/>
                  </a:lnTo>
                  <a:lnTo>
                    <a:pt x="1007" y="645"/>
                  </a:lnTo>
                  <a:lnTo>
                    <a:pt x="996" y="628"/>
                  </a:lnTo>
                  <a:lnTo>
                    <a:pt x="984" y="614"/>
                  </a:lnTo>
                  <a:lnTo>
                    <a:pt x="971" y="600"/>
                  </a:lnTo>
                  <a:lnTo>
                    <a:pt x="956" y="587"/>
                  </a:lnTo>
                  <a:lnTo>
                    <a:pt x="941" y="576"/>
                  </a:lnTo>
                  <a:lnTo>
                    <a:pt x="925" y="564"/>
                  </a:lnTo>
                  <a:lnTo>
                    <a:pt x="908" y="554"/>
                  </a:lnTo>
                  <a:lnTo>
                    <a:pt x="890" y="546"/>
                  </a:lnTo>
                  <a:lnTo>
                    <a:pt x="890" y="546"/>
                  </a:lnTo>
                  <a:lnTo>
                    <a:pt x="897" y="506"/>
                  </a:lnTo>
                  <a:lnTo>
                    <a:pt x="900" y="466"/>
                  </a:lnTo>
                  <a:lnTo>
                    <a:pt x="900" y="466"/>
                  </a:lnTo>
                  <a:lnTo>
                    <a:pt x="902" y="443"/>
                  </a:lnTo>
                  <a:lnTo>
                    <a:pt x="900" y="420"/>
                  </a:lnTo>
                  <a:lnTo>
                    <a:pt x="898" y="397"/>
                  </a:lnTo>
                  <a:lnTo>
                    <a:pt x="895" y="375"/>
                  </a:lnTo>
                  <a:lnTo>
                    <a:pt x="890" y="352"/>
                  </a:lnTo>
                  <a:lnTo>
                    <a:pt x="885" y="331"/>
                  </a:lnTo>
                  <a:lnTo>
                    <a:pt x="878" y="309"/>
                  </a:lnTo>
                  <a:lnTo>
                    <a:pt x="872" y="289"/>
                  </a:lnTo>
                  <a:lnTo>
                    <a:pt x="864" y="269"/>
                  </a:lnTo>
                  <a:lnTo>
                    <a:pt x="854" y="250"/>
                  </a:lnTo>
                  <a:lnTo>
                    <a:pt x="844" y="230"/>
                  </a:lnTo>
                  <a:lnTo>
                    <a:pt x="832" y="212"/>
                  </a:lnTo>
                  <a:lnTo>
                    <a:pt x="821" y="193"/>
                  </a:lnTo>
                  <a:lnTo>
                    <a:pt x="809" y="175"/>
                  </a:lnTo>
                  <a:lnTo>
                    <a:pt x="794" y="159"/>
                  </a:lnTo>
                  <a:lnTo>
                    <a:pt x="781" y="142"/>
                  </a:lnTo>
                  <a:lnTo>
                    <a:pt x="766" y="127"/>
                  </a:lnTo>
                  <a:lnTo>
                    <a:pt x="749" y="112"/>
                  </a:lnTo>
                  <a:lnTo>
                    <a:pt x="733" y="99"/>
                  </a:lnTo>
                  <a:lnTo>
                    <a:pt x="716" y="86"/>
                  </a:lnTo>
                  <a:lnTo>
                    <a:pt x="698" y="73"/>
                  </a:lnTo>
                  <a:lnTo>
                    <a:pt x="680" y="61"/>
                  </a:lnTo>
                  <a:lnTo>
                    <a:pt x="660" y="51"/>
                  </a:lnTo>
                  <a:lnTo>
                    <a:pt x="640" y="41"/>
                  </a:lnTo>
                  <a:lnTo>
                    <a:pt x="620" y="33"/>
                  </a:lnTo>
                  <a:lnTo>
                    <a:pt x="600" y="25"/>
                  </a:lnTo>
                  <a:lnTo>
                    <a:pt x="579" y="18"/>
                  </a:lnTo>
                  <a:lnTo>
                    <a:pt x="557" y="11"/>
                  </a:lnTo>
                  <a:lnTo>
                    <a:pt x="536" y="6"/>
                  </a:lnTo>
                  <a:lnTo>
                    <a:pt x="513" y="3"/>
                  </a:lnTo>
                  <a:lnTo>
                    <a:pt x="490" y="1"/>
                  </a:lnTo>
                  <a:lnTo>
                    <a:pt x="466" y="0"/>
                  </a:lnTo>
                  <a:lnTo>
                    <a:pt x="466" y="0"/>
                  </a:lnTo>
                  <a:lnTo>
                    <a:pt x="443" y="0"/>
                  </a:lnTo>
                  <a:lnTo>
                    <a:pt x="420" y="0"/>
                  </a:lnTo>
                  <a:lnTo>
                    <a:pt x="399" y="1"/>
                  </a:lnTo>
                  <a:lnTo>
                    <a:pt x="375" y="5"/>
                  </a:lnTo>
                  <a:lnTo>
                    <a:pt x="354" y="10"/>
                  </a:lnTo>
                  <a:lnTo>
                    <a:pt x="332" y="15"/>
                  </a:lnTo>
                  <a:lnTo>
                    <a:pt x="311" y="21"/>
                  </a:lnTo>
                  <a:lnTo>
                    <a:pt x="291" y="28"/>
                  </a:lnTo>
                  <a:lnTo>
                    <a:pt x="270" y="36"/>
                  </a:lnTo>
                  <a:lnTo>
                    <a:pt x="250" y="46"/>
                  </a:lnTo>
                  <a:lnTo>
                    <a:pt x="232" y="56"/>
                  </a:lnTo>
                  <a:lnTo>
                    <a:pt x="212" y="68"/>
                  </a:lnTo>
                  <a:lnTo>
                    <a:pt x="195" y="79"/>
                  </a:lnTo>
                  <a:lnTo>
                    <a:pt x="177" y="92"/>
                  </a:lnTo>
                  <a:lnTo>
                    <a:pt x="160" y="106"/>
                  </a:lnTo>
                  <a:lnTo>
                    <a:pt x="144" y="119"/>
                  </a:lnTo>
                  <a:lnTo>
                    <a:pt x="129" y="135"/>
                  </a:lnTo>
                  <a:lnTo>
                    <a:pt x="114" y="150"/>
                  </a:lnTo>
                  <a:lnTo>
                    <a:pt x="99" y="167"/>
                  </a:lnTo>
                  <a:lnTo>
                    <a:pt x="86" y="185"/>
                  </a:lnTo>
                  <a:lnTo>
                    <a:pt x="74" y="202"/>
                  </a:lnTo>
                  <a:lnTo>
                    <a:pt x="63" y="220"/>
                  </a:lnTo>
                  <a:lnTo>
                    <a:pt x="51" y="240"/>
                  </a:lnTo>
                  <a:lnTo>
                    <a:pt x="43" y="260"/>
                  </a:lnTo>
                  <a:lnTo>
                    <a:pt x="33" y="279"/>
                  </a:lnTo>
                  <a:lnTo>
                    <a:pt x="26" y="299"/>
                  </a:lnTo>
                  <a:lnTo>
                    <a:pt x="18" y="321"/>
                  </a:lnTo>
                  <a:lnTo>
                    <a:pt x="13" y="342"/>
                  </a:lnTo>
                  <a:lnTo>
                    <a:pt x="8" y="365"/>
                  </a:lnTo>
                  <a:lnTo>
                    <a:pt x="5" y="387"/>
                  </a:lnTo>
                  <a:lnTo>
                    <a:pt x="2" y="410"/>
                  </a:lnTo>
                  <a:lnTo>
                    <a:pt x="0" y="433"/>
                  </a:lnTo>
                  <a:lnTo>
                    <a:pt x="0" y="433"/>
                  </a:lnTo>
                  <a:lnTo>
                    <a:pt x="0" y="456"/>
                  </a:lnTo>
                  <a:lnTo>
                    <a:pt x="2" y="480"/>
                  </a:lnTo>
                  <a:lnTo>
                    <a:pt x="3" y="501"/>
                  </a:lnTo>
                  <a:lnTo>
                    <a:pt x="7" y="524"/>
                  </a:lnTo>
                  <a:lnTo>
                    <a:pt x="10" y="546"/>
                  </a:lnTo>
                  <a:lnTo>
                    <a:pt x="16" y="567"/>
                  </a:lnTo>
                  <a:lnTo>
                    <a:pt x="21" y="589"/>
                  </a:lnTo>
                  <a:lnTo>
                    <a:pt x="30" y="610"/>
                  </a:lnTo>
                  <a:lnTo>
                    <a:pt x="38" y="630"/>
                  </a:lnTo>
                  <a:lnTo>
                    <a:pt x="46" y="650"/>
                  </a:lnTo>
                  <a:lnTo>
                    <a:pt x="58" y="668"/>
                  </a:lnTo>
                  <a:lnTo>
                    <a:pt x="68" y="688"/>
                  </a:lnTo>
                  <a:lnTo>
                    <a:pt x="79" y="706"/>
                  </a:lnTo>
                  <a:lnTo>
                    <a:pt x="93" y="723"/>
                  </a:lnTo>
                  <a:lnTo>
                    <a:pt x="106" y="739"/>
                  </a:lnTo>
                  <a:lnTo>
                    <a:pt x="121" y="756"/>
                  </a:lnTo>
                  <a:lnTo>
                    <a:pt x="136" y="772"/>
                  </a:lnTo>
                  <a:lnTo>
                    <a:pt x="152" y="786"/>
                  </a:lnTo>
                  <a:lnTo>
                    <a:pt x="169" y="801"/>
                  </a:lnTo>
                  <a:lnTo>
                    <a:pt x="185" y="814"/>
                  </a:lnTo>
                  <a:lnTo>
                    <a:pt x="203" y="825"/>
                  </a:lnTo>
                  <a:lnTo>
                    <a:pt x="222" y="837"/>
                  </a:lnTo>
                  <a:lnTo>
                    <a:pt x="241" y="849"/>
                  </a:lnTo>
                  <a:lnTo>
                    <a:pt x="260" y="858"/>
                  </a:lnTo>
                  <a:lnTo>
                    <a:pt x="281" y="867"/>
                  </a:lnTo>
                  <a:lnTo>
                    <a:pt x="301" y="875"/>
                  </a:lnTo>
                  <a:lnTo>
                    <a:pt x="323" y="882"/>
                  </a:lnTo>
                  <a:lnTo>
                    <a:pt x="344" y="887"/>
                  </a:lnTo>
                  <a:lnTo>
                    <a:pt x="366" y="892"/>
                  </a:lnTo>
                  <a:lnTo>
                    <a:pt x="389" y="895"/>
                  </a:lnTo>
                  <a:lnTo>
                    <a:pt x="412" y="898"/>
                  </a:lnTo>
                  <a:lnTo>
                    <a:pt x="435" y="900"/>
                  </a:lnTo>
                  <a:lnTo>
                    <a:pt x="435" y="900"/>
                  </a:lnTo>
                  <a:lnTo>
                    <a:pt x="470" y="900"/>
                  </a:lnTo>
                  <a:lnTo>
                    <a:pt x="505" y="897"/>
                  </a:lnTo>
                  <a:lnTo>
                    <a:pt x="375" y="2521"/>
                  </a:lnTo>
                  <a:lnTo>
                    <a:pt x="1497" y="3627"/>
                  </a:lnTo>
                  <a:lnTo>
                    <a:pt x="5230" y="3549"/>
                  </a:lnTo>
                  <a:lnTo>
                    <a:pt x="5316" y="3094"/>
                  </a:lnTo>
                  <a:lnTo>
                    <a:pt x="5316" y="3094"/>
                  </a:lnTo>
                  <a:lnTo>
                    <a:pt x="5337" y="3090"/>
                  </a:lnTo>
                  <a:lnTo>
                    <a:pt x="5357" y="3084"/>
                  </a:lnTo>
                  <a:lnTo>
                    <a:pt x="5375" y="3077"/>
                  </a:lnTo>
                  <a:lnTo>
                    <a:pt x="5394" y="3069"/>
                  </a:lnTo>
                  <a:lnTo>
                    <a:pt x="5412" y="3059"/>
                  </a:lnTo>
                  <a:lnTo>
                    <a:pt x="5428" y="3047"/>
                  </a:lnTo>
                  <a:lnTo>
                    <a:pt x="5443" y="3034"/>
                  </a:lnTo>
                  <a:lnTo>
                    <a:pt x="5458" y="3021"/>
                  </a:lnTo>
                  <a:lnTo>
                    <a:pt x="5470" y="3006"/>
                  </a:lnTo>
                  <a:lnTo>
                    <a:pt x="5481" y="2990"/>
                  </a:lnTo>
                  <a:lnTo>
                    <a:pt x="5493" y="2971"/>
                  </a:lnTo>
                  <a:lnTo>
                    <a:pt x="5501" y="2953"/>
                  </a:lnTo>
                  <a:lnTo>
                    <a:pt x="5508" y="2935"/>
                  </a:lnTo>
                  <a:lnTo>
                    <a:pt x="5513" y="2915"/>
                  </a:lnTo>
                  <a:lnTo>
                    <a:pt x="5518" y="2894"/>
                  </a:lnTo>
                  <a:lnTo>
                    <a:pt x="5519" y="2872"/>
                  </a:lnTo>
                  <a:lnTo>
                    <a:pt x="5519" y="2872"/>
                  </a:lnTo>
                  <a:close/>
                </a:path>
              </a:pathLst>
            </a:custGeom>
            <a:gradFill>
              <a:gsLst>
                <a:gs pos="0">
                  <a:schemeClr val="accent1">
                    <a:lumMod val="60000"/>
                    <a:lumOff val="40000"/>
                  </a:schemeClr>
                </a:gs>
                <a:gs pos="100000">
                  <a:schemeClr val="accent2">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124" name="Freeform 123"/>
            <p:cNvSpPr>
              <a:spLocks/>
            </p:cNvSpPr>
            <p:nvPr/>
          </p:nvSpPr>
          <p:spPr bwMode="auto">
            <a:xfrm>
              <a:off x="1489300" y="1855677"/>
              <a:ext cx="6434564" cy="4397242"/>
            </a:xfrm>
            <a:custGeom>
              <a:avLst/>
              <a:gdLst>
                <a:gd name="T0" fmla="*/ 4424 w 4428"/>
                <a:gd name="T1" fmla="*/ 2371 h 3026"/>
                <a:gd name="T2" fmla="*/ 4378 w 4428"/>
                <a:gd name="T3" fmla="*/ 2221 h 3026"/>
                <a:gd name="T4" fmla="*/ 4285 w 4428"/>
                <a:gd name="T5" fmla="*/ 2095 h 3026"/>
                <a:gd name="T6" fmla="*/ 4156 w 4428"/>
                <a:gd name="T7" fmla="*/ 2007 h 3026"/>
                <a:gd name="T8" fmla="*/ 4022 w 4428"/>
                <a:gd name="T9" fmla="*/ 1969 h 3026"/>
                <a:gd name="T10" fmla="*/ 3916 w 4428"/>
                <a:gd name="T11" fmla="*/ 1934 h 3026"/>
                <a:gd name="T12" fmla="*/ 3849 w 4428"/>
                <a:gd name="T13" fmla="*/ 1840 h 3026"/>
                <a:gd name="T14" fmla="*/ 3736 w 4428"/>
                <a:gd name="T15" fmla="*/ 1792 h 3026"/>
                <a:gd name="T16" fmla="*/ 3599 w 4428"/>
                <a:gd name="T17" fmla="*/ 1820 h 3026"/>
                <a:gd name="T18" fmla="*/ 3438 w 4428"/>
                <a:gd name="T19" fmla="*/ 1886 h 3026"/>
                <a:gd name="T20" fmla="*/ 3293 w 4428"/>
                <a:gd name="T21" fmla="*/ 1951 h 3026"/>
                <a:gd name="T22" fmla="*/ 3220 w 4428"/>
                <a:gd name="T23" fmla="*/ 1916 h 3026"/>
                <a:gd name="T24" fmla="*/ 3149 w 4428"/>
                <a:gd name="T25" fmla="*/ 1928 h 3026"/>
                <a:gd name="T26" fmla="*/ 3091 w 4428"/>
                <a:gd name="T27" fmla="*/ 1982 h 3026"/>
                <a:gd name="T28" fmla="*/ 3043 w 4428"/>
                <a:gd name="T29" fmla="*/ 1989 h 3026"/>
                <a:gd name="T30" fmla="*/ 2955 w 4428"/>
                <a:gd name="T31" fmla="*/ 1961 h 3026"/>
                <a:gd name="T32" fmla="*/ 2851 w 4428"/>
                <a:gd name="T33" fmla="*/ 1991 h 3026"/>
                <a:gd name="T34" fmla="*/ 2739 w 4428"/>
                <a:gd name="T35" fmla="*/ 1896 h 3026"/>
                <a:gd name="T36" fmla="*/ 2619 w 4428"/>
                <a:gd name="T37" fmla="*/ 1886 h 3026"/>
                <a:gd name="T38" fmla="*/ 2515 w 4428"/>
                <a:gd name="T39" fmla="*/ 1938 h 3026"/>
                <a:gd name="T40" fmla="*/ 2447 w 4428"/>
                <a:gd name="T41" fmla="*/ 1989 h 3026"/>
                <a:gd name="T42" fmla="*/ 2308 w 4428"/>
                <a:gd name="T43" fmla="*/ 1931 h 3026"/>
                <a:gd name="T44" fmla="*/ 2156 w 4428"/>
                <a:gd name="T45" fmla="*/ 1953 h 3026"/>
                <a:gd name="T46" fmla="*/ 2072 w 4428"/>
                <a:gd name="T47" fmla="*/ 1921 h 3026"/>
                <a:gd name="T48" fmla="*/ 1964 w 4428"/>
                <a:gd name="T49" fmla="*/ 1895 h 3026"/>
                <a:gd name="T50" fmla="*/ 1872 w 4428"/>
                <a:gd name="T51" fmla="*/ 1974 h 3026"/>
                <a:gd name="T52" fmla="*/ 1751 w 4428"/>
                <a:gd name="T53" fmla="*/ 1900 h 3026"/>
                <a:gd name="T54" fmla="*/ 1620 w 4428"/>
                <a:gd name="T55" fmla="*/ 1910 h 3026"/>
                <a:gd name="T56" fmla="*/ 1499 w 4428"/>
                <a:gd name="T57" fmla="*/ 1787 h 3026"/>
                <a:gd name="T58" fmla="*/ 1400 w 4428"/>
                <a:gd name="T59" fmla="*/ 1769 h 3026"/>
                <a:gd name="T60" fmla="*/ 1261 w 4428"/>
                <a:gd name="T61" fmla="*/ 1647 h 3026"/>
                <a:gd name="T62" fmla="*/ 1132 w 4428"/>
                <a:gd name="T63" fmla="*/ 1532 h 3026"/>
                <a:gd name="T64" fmla="*/ 1122 w 4428"/>
                <a:gd name="T65" fmla="*/ 1418 h 3026"/>
                <a:gd name="T66" fmla="*/ 1091 w 4428"/>
                <a:gd name="T67" fmla="*/ 1329 h 3026"/>
                <a:gd name="T68" fmla="*/ 1142 w 4428"/>
                <a:gd name="T69" fmla="*/ 1211 h 3026"/>
                <a:gd name="T70" fmla="*/ 1097 w 4428"/>
                <a:gd name="T71" fmla="*/ 1048 h 3026"/>
                <a:gd name="T72" fmla="*/ 1120 w 4428"/>
                <a:gd name="T73" fmla="*/ 988 h 3026"/>
                <a:gd name="T74" fmla="*/ 1178 w 4428"/>
                <a:gd name="T75" fmla="*/ 895 h 3026"/>
                <a:gd name="T76" fmla="*/ 1150 w 4428"/>
                <a:gd name="T77" fmla="*/ 799 h 3026"/>
                <a:gd name="T78" fmla="*/ 1157 w 4428"/>
                <a:gd name="T79" fmla="*/ 738 h 3026"/>
                <a:gd name="T80" fmla="*/ 1173 w 4428"/>
                <a:gd name="T81" fmla="*/ 665 h 3026"/>
                <a:gd name="T82" fmla="*/ 1139 w 4428"/>
                <a:gd name="T83" fmla="*/ 588 h 3026"/>
                <a:gd name="T84" fmla="*/ 1061 w 4428"/>
                <a:gd name="T85" fmla="*/ 548 h 3026"/>
                <a:gd name="T86" fmla="*/ 1041 w 4428"/>
                <a:gd name="T87" fmla="*/ 490 h 3026"/>
                <a:gd name="T88" fmla="*/ 1036 w 4428"/>
                <a:gd name="T89" fmla="*/ 373 h 3026"/>
                <a:gd name="T90" fmla="*/ 965 w 4428"/>
                <a:gd name="T91" fmla="*/ 265 h 3026"/>
                <a:gd name="T92" fmla="*/ 905 w 4428"/>
                <a:gd name="T93" fmla="*/ 204 h 3026"/>
                <a:gd name="T94" fmla="*/ 879 w 4428"/>
                <a:gd name="T95" fmla="*/ 85 h 3026"/>
                <a:gd name="T96" fmla="*/ 785 w 4428"/>
                <a:gd name="T97" fmla="*/ 10 h 3026"/>
                <a:gd name="T98" fmla="*/ 677 w 4428"/>
                <a:gd name="T99" fmla="*/ 7 h 3026"/>
                <a:gd name="T100" fmla="*/ 581 w 4428"/>
                <a:gd name="T101" fmla="*/ 76 h 3026"/>
                <a:gd name="T102" fmla="*/ 546 w 4428"/>
                <a:gd name="T103" fmla="*/ 174 h 3026"/>
                <a:gd name="T104" fmla="*/ 3979 w 4428"/>
                <a:gd name="T105" fmla="*/ 2892 h 3026"/>
                <a:gd name="T106" fmla="*/ 4211 w 4428"/>
                <a:gd name="T107" fmla="*/ 2821 h 3026"/>
                <a:gd name="T108" fmla="*/ 4391 w 4428"/>
                <a:gd name="T109" fmla="*/ 2610 h 3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28" h="3026">
                  <a:moveTo>
                    <a:pt x="4424" y="2487"/>
                  </a:moveTo>
                  <a:lnTo>
                    <a:pt x="4424" y="2487"/>
                  </a:lnTo>
                  <a:lnTo>
                    <a:pt x="4426" y="2464"/>
                  </a:lnTo>
                  <a:lnTo>
                    <a:pt x="4428" y="2439"/>
                  </a:lnTo>
                  <a:lnTo>
                    <a:pt x="4428" y="2416"/>
                  </a:lnTo>
                  <a:lnTo>
                    <a:pt x="4426" y="2393"/>
                  </a:lnTo>
                  <a:lnTo>
                    <a:pt x="4424" y="2371"/>
                  </a:lnTo>
                  <a:lnTo>
                    <a:pt x="4419" y="2348"/>
                  </a:lnTo>
                  <a:lnTo>
                    <a:pt x="4416" y="2325"/>
                  </a:lnTo>
                  <a:lnTo>
                    <a:pt x="4410" y="2303"/>
                  </a:lnTo>
                  <a:lnTo>
                    <a:pt x="4403" y="2282"/>
                  </a:lnTo>
                  <a:lnTo>
                    <a:pt x="4396" y="2260"/>
                  </a:lnTo>
                  <a:lnTo>
                    <a:pt x="4386" y="2241"/>
                  </a:lnTo>
                  <a:lnTo>
                    <a:pt x="4378" y="2221"/>
                  </a:lnTo>
                  <a:lnTo>
                    <a:pt x="4367" y="2201"/>
                  </a:lnTo>
                  <a:lnTo>
                    <a:pt x="4355" y="2181"/>
                  </a:lnTo>
                  <a:lnTo>
                    <a:pt x="4343" y="2163"/>
                  </a:lnTo>
                  <a:lnTo>
                    <a:pt x="4330" y="2145"/>
                  </a:lnTo>
                  <a:lnTo>
                    <a:pt x="4315" y="2128"/>
                  </a:lnTo>
                  <a:lnTo>
                    <a:pt x="4300" y="2111"/>
                  </a:lnTo>
                  <a:lnTo>
                    <a:pt x="4285" y="2095"/>
                  </a:lnTo>
                  <a:lnTo>
                    <a:pt x="4269" y="2080"/>
                  </a:lnTo>
                  <a:lnTo>
                    <a:pt x="4252" y="2067"/>
                  </a:lnTo>
                  <a:lnTo>
                    <a:pt x="4234" y="2052"/>
                  </a:lnTo>
                  <a:lnTo>
                    <a:pt x="4216" y="2040"/>
                  </a:lnTo>
                  <a:lnTo>
                    <a:pt x="4196" y="2029"/>
                  </a:lnTo>
                  <a:lnTo>
                    <a:pt x="4176" y="2017"/>
                  </a:lnTo>
                  <a:lnTo>
                    <a:pt x="4156" y="2007"/>
                  </a:lnTo>
                  <a:lnTo>
                    <a:pt x="4135" y="1999"/>
                  </a:lnTo>
                  <a:lnTo>
                    <a:pt x="4113" y="1991"/>
                  </a:lnTo>
                  <a:lnTo>
                    <a:pt x="4092" y="1984"/>
                  </a:lnTo>
                  <a:lnTo>
                    <a:pt x="4069" y="1977"/>
                  </a:lnTo>
                  <a:lnTo>
                    <a:pt x="4046" y="1973"/>
                  </a:lnTo>
                  <a:lnTo>
                    <a:pt x="4022" y="1969"/>
                  </a:lnTo>
                  <a:lnTo>
                    <a:pt x="4022" y="1969"/>
                  </a:lnTo>
                  <a:lnTo>
                    <a:pt x="3998" y="1968"/>
                  </a:lnTo>
                  <a:lnTo>
                    <a:pt x="3974" y="1966"/>
                  </a:lnTo>
                  <a:lnTo>
                    <a:pt x="3950" y="1966"/>
                  </a:lnTo>
                  <a:lnTo>
                    <a:pt x="3926" y="1968"/>
                  </a:lnTo>
                  <a:lnTo>
                    <a:pt x="3926" y="1968"/>
                  </a:lnTo>
                  <a:lnTo>
                    <a:pt x="3923" y="1951"/>
                  </a:lnTo>
                  <a:lnTo>
                    <a:pt x="3916" y="1934"/>
                  </a:lnTo>
                  <a:lnTo>
                    <a:pt x="3910" y="1920"/>
                  </a:lnTo>
                  <a:lnTo>
                    <a:pt x="3903" y="1903"/>
                  </a:lnTo>
                  <a:lnTo>
                    <a:pt x="3893" y="1890"/>
                  </a:lnTo>
                  <a:lnTo>
                    <a:pt x="3883" y="1875"/>
                  </a:lnTo>
                  <a:lnTo>
                    <a:pt x="3873" y="1863"/>
                  </a:lnTo>
                  <a:lnTo>
                    <a:pt x="3860" y="1850"/>
                  </a:lnTo>
                  <a:lnTo>
                    <a:pt x="3849" y="1840"/>
                  </a:lnTo>
                  <a:lnTo>
                    <a:pt x="3834" y="1830"/>
                  </a:lnTo>
                  <a:lnTo>
                    <a:pt x="3821" y="1820"/>
                  </a:lnTo>
                  <a:lnTo>
                    <a:pt x="3804" y="1812"/>
                  </a:lnTo>
                  <a:lnTo>
                    <a:pt x="3789" y="1805"/>
                  </a:lnTo>
                  <a:lnTo>
                    <a:pt x="3773" y="1800"/>
                  </a:lnTo>
                  <a:lnTo>
                    <a:pt x="3754" y="1795"/>
                  </a:lnTo>
                  <a:lnTo>
                    <a:pt x="3736" y="1792"/>
                  </a:lnTo>
                  <a:lnTo>
                    <a:pt x="3736" y="1792"/>
                  </a:lnTo>
                  <a:lnTo>
                    <a:pt x="3721" y="1791"/>
                  </a:lnTo>
                  <a:lnTo>
                    <a:pt x="3706" y="1791"/>
                  </a:lnTo>
                  <a:lnTo>
                    <a:pt x="3678" y="1792"/>
                  </a:lnTo>
                  <a:lnTo>
                    <a:pt x="3650" y="1799"/>
                  </a:lnTo>
                  <a:lnTo>
                    <a:pt x="3624" y="1809"/>
                  </a:lnTo>
                  <a:lnTo>
                    <a:pt x="3599" y="1820"/>
                  </a:lnTo>
                  <a:lnTo>
                    <a:pt x="3576" y="1835"/>
                  </a:lnTo>
                  <a:lnTo>
                    <a:pt x="3554" y="1853"/>
                  </a:lnTo>
                  <a:lnTo>
                    <a:pt x="3534" y="1875"/>
                  </a:lnTo>
                  <a:lnTo>
                    <a:pt x="3534" y="1875"/>
                  </a:lnTo>
                  <a:lnTo>
                    <a:pt x="3501" y="1875"/>
                  </a:lnTo>
                  <a:lnTo>
                    <a:pt x="3470" y="1880"/>
                  </a:lnTo>
                  <a:lnTo>
                    <a:pt x="3438" y="1886"/>
                  </a:lnTo>
                  <a:lnTo>
                    <a:pt x="3409" y="1895"/>
                  </a:lnTo>
                  <a:lnTo>
                    <a:pt x="3379" y="1908"/>
                  </a:lnTo>
                  <a:lnTo>
                    <a:pt x="3351" y="1923"/>
                  </a:lnTo>
                  <a:lnTo>
                    <a:pt x="3324" y="1939"/>
                  </a:lnTo>
                  <a:lnTo>
                    <a:pt x="3301" y="1959"/>
                  </a:lnTo>
                  <a:lnTo>
                    <a:pt x="3301" y="1959"/>
                  </a:lnTo>
                  <a:lnTo>
                    <a:pt x="3293" y="1951"/>
                  </a:lnTo>
                  <a:lnTo>
                    <a:pt x="3284" y="1943"/>
                  </a:lnTo>
                  <a:lnTo>
                    <a:pt x="3275" y="1936"/>
                  </a:lnTo>
                  <a:lnTo>
                    <a:pt x="3265" y="1931"/>
                  </a:lnTo>
                  <a:lnTo>
                    <a:pt x="3255" y="1926"/>
                  </a:lnTo>
                  <a:lnTo>
                    <a:pt x="3243" y="1921"/>
                  </a:lnTo>
                  <a:lnTo>
                    <a:pt x="3232" y="1918"/>
                  </a:lnTo>
                  <a:lnTo>
                    <a:pt x="3220" y="1916"/>
                  </a:lnTo>
                  <a:lnTo>
                    <a:pt x="3220" y="1916"/>
                  </a:lnTo>
                  <a:lnTo>
                    <a:pt x="3207" y="1915"/>
                  </a:lnTo>
                  <a:lnTo>
                    <a:pt x="3195" y="1916"/>
                  </a:lnTo>
                  <a:lnTo>
                    <a:pt x="3184" y="1916"/>
                  </a:lnTo>
                  <a:lnTo>
                    <a:pt x="3172" y="1920"/>
                  </a:lnTo>
                  <a:lnTo>
                    <a:pt x="3160" y="1923"/>
                  </a:lnTo>
                  <a:lnTo>
                    <a:pt x="3149" y="1928"/>
                  </a:lnTo>
                  <a:lnTo>
                    <a:pt x="3139" y="1933"/>
                  </a:lnTo>
                  <a:lnTo>
                    <a:pt x="3129" y="1939"/>
                  </a:lnTo>
                  <a:lnTo>
                    <a:pt x="3121" y="1946"/>
                  </a:lnTo>
                  <a:lnTo>
                    <a:pt x="3112" y="1954"/>
                  </a:lnTo>
                  <a:lnTo>
                    <a:pt x="3104" y="1963"/>
                  </a:lnTo>
                  <a:lnTo>
                    <a:pt x="3098" y="1973"/>
                  </a:lnTo>
                  <a:lnTo>
                    <a:pt x="3091" y="1982"/>
                  </a:lnTo>
                  <a:lnTo>
                    <a:pt x="3086" y="1994"/>
                  </a:lnTo>
                  <a:lnTo>
                    <a:pt x="3081" y="2006"/>
                  </a:lnTo>
                  <a:lnTo>
                    <a:pt x="3078" y="2017"/>
                  </a:lnTo>
                  <a:lnTo>
                    <a:pt x="3078" y="2017"/>
                  </a:lnTo>
                  <a:lnTo>
                    <a:pt x="3068" y="2007"/>
                  </a:lnTo>
                  <a:lnTo>
                    <a:pt x="3056" y="1997"/>
                  </a:lnTo>
                  <a:lnTo>
                    <a:pt x="3043" y="1989"/>
                  </a:lnTo>
                  <a:lnTo>
                    <a:pt x="3030" y="1981"/>
                  </a:lnTo>
                  <a:lnTo>
                    <a:pt x="3016" y="1974"/>
                  </a:lnTo>
                  <a:lnTo>
                    <a:pt x="3002" y="1969"/>
                  </a:lnTo>
                  <a:lnTo>
                    <a:pt x="2987" y="1966"/>
                  </a:lnTo>
                  <a:lnTo>
                    <a:pt x="2972" y="1963"/>
                  </a:lnTo>
                  <a:lnTo>
                    <a:pt x="2972" y="1963"/>
                  </a:lnTo>
                  <a:lnTo>
                    <a:pt x="2955" y="1961"/>
                  </a:lnTo>
                  <a:lnTo>
                    <a:pt x="2939" y="1963"/>
                  </a:lnTo>
                  <a:lnTo>
                    <a:pt x="2922" y="1963"/>
                  </a:lnTo>
                  <a:lnTo>
                    <a:pt x="2907" y="1966"/>
                  </a:lnTo>
                  <a:lnTo>
                    <a:pt x="2892" y="1971"/>
                  </a:lnTo>
                  <a:lnTo>
                    <a:pt x="2877" y="1976"/>
                  </a:lnTo>
                  <a:lnTo>
                    <a:pt x="2864" y="1982"/>
                  </a:lnTo>
                  <a:lnTo>
                    <a:pt x="2851" y="1991"/>
                  </a:lnTo>
                  <a:lnTo>
                    <a:pt x="2851" y="1991"/>
                  </a:lnTo>
                  <a:lnTo>
                    <a:pt x="2838" y="1971"/>
                  </a:lnTo>
                  <a:lnTo>
                    <a:pt x="2821" y="1951"/>
                  </a:lnTo>
                  <a:lnTo>
                    <a:pt x="2803" y="1934"/>
                  </a:lnTo>
                  <a:lnTo>
                    <a:pt x="2783" y="1920"/>
                  </a:lnTo>
                  <a:lnTo>
                    <a:pt x="2762" y="1908"/>
                  </a:lnTo>
                  <a:lnTo>
                    <a:pt x="2739" y="1896"/>
                  </a:lnTo>
                  <a:lnTo>
                    <a:pt x="2714" y="1890"/>
                  </a:lnTo>
                  <a:lnTo>
                    <a:pt x="2689" y="1885"/>
                  </a:lnTo>
                  <a:lnTo>
                    <a:pt x="2689" y="1885"/>
                  </a:lnTo>
                  <a:lnTo>
                    <a:pt x="2671" y="1883"/>
                  </a:lnTo>
                  <a:lnTo>
                    <a:pt x="2652" y="1883"/>
                  </a:lnTo>
                  <a:lnTo>
                    <a:pt x="2636" y="1885"/>
                  </a:lnTo>
                  <a:lnTo>
                    <a:pt x="2619" y="1886"/>
                  </a:lnTo>
                  <a:lnTo>
                    <a:pt x="2603" y="1890"/>
                  </a:lnTo>
                  <a:lnTo>
                    <a:pt x="2586" y="1895"/>
                  </a:lnTo>
                  <a:lnTo>
                    <a:pt x="2571" y="1901"/>
                  </a:lnTo>
                  <a:lnTo>
                    <a:pt x="2557" y="1910"/>
                  </a:lnTo>
                  <a:lnTo>
                    <a:pt x="2542" y="1918"/>
                  </a:lnTo>
                  <a:lnTo>
                    <a:pt x="2528" y="1926"/>
                  </a:lnTo>
                  <a:lnTo>
                    <a:pt x="2515" y="1938"/>
                  </a:lnTo>
                  <a:lnTo>
                    <a:pt x="2504" y="1948"/>
                  </a:lnTo>
                  <a:lnTo>
                    <a:pt x="2492" y="1961"/>
                  </a:lnTo>
                  <a:lnTo>
                    <a:pt x="2482" y="1974"/>
                  </a:lnTo>
                  <a:lnTo>
                    <a:pt x="2472" y="1987"/>
                  </a:lnTo>
                  <a:lnTo>
                    <a:pt x="2464" y="2002"/>
                  </a:lnTo>
                  <a:lnTo>
                    <a:pt x="2464" y="2002"/>
                  </a:lnTo>
                  <a:lnTo>
                    <a:pt x="2447" y="1989"/>
                  </a:lnTo>
                  <a:lnTo>
                    <a:pt x="2431" y="1976"/>
                  </a:lnTo>
                  <a:lnTo>
                    <a:pt x="2413" y="1966"/>
                  </a:lnTo>
                  <a:lnTo>
                    <a:pt x="2393" y="1956"/>
                  </a:lnTo>
                  <a:lnTo>
                    <a:pt x="2373" y="1948"/>
                  </a:lnTo>
                  <a:lnTo>
                    <a:pt x="2351" y="1939"/>
                  </a:lnTo>
                  <a:lnTo>
                    <a:pt x="2330" y="1934"/>
                  </a:lnTo>
                  <a:lnTo>
                    <a:pt x="2308" y="1931"/>
                  </a:lnTo>
                  <a:lnTo>
                    <a:pt x="2308" y="1931"/>
                  </a:lnTo>
                  <a:lnTo>
                    <a:pt x="2282" y="1929"/>
                  </a:lnTo>
                  <a:lnTo>
                    <a:pt x="2255" y="1929"/>
                  </a:lnTo>
                  <a:lnTo>
                    <a:pt x="2229" y="1933"/>
                  </a:lnTo>
                  <a:lnTo>
                    <a:pt x="2204" y="1938"/>
                  </a:lnTo>
                  <a:lnTo>
                    <a:pt x="2179" y="1944"/>
                  </a:lnTo>
                  <a:lnTo>
                    <a:pt x="2156" y="1953"/>
                  </a:lnTo>
                  <a:lnTo>
                    <a:pt x="2133" y="1964"/>
                  </a:lnTo>
                  <a:lnTo>
                    <a:pt x="2111" y="1977"/>
                  </a:lnTo>
                  <a:lnTo>
                    <a:pt x="2111" y="1977"/>
                  </a:lnTo>
                  <a:lnTo>
                    <a:pt x="2105" y="1961"/>
                  </a:lnTo>
                  <a:lnTo>
                    <a:pt x="2097" y="1946"/>
                  </a:lnTo>
                  <a:lnTo>
                    <a:pt x="2085" y="1933"/>
                  </a:lnTo>
                  <a:lnTo>
                    <a:pt x="2072" y="1921"/>
                  </a:lnTo>
                  <a:lnTo>
                    <a:pt x="2059" y="1911"/>
                  </a:lnTo>
                  <a:lnTo>
                    <a:pt x="2042" y="1903"/>
                  </a:lnTo>
                  <a:lnTo>
                    <a:pt x="2025" y="1896"/>
                  </a:lnTo>
                  <a:lnTo>
                    <a:pt x="2007" y="1893"/>
                  </a:lnTo>
                  <a:lnTo>
                    <a:pt x="2007" y="1893"/>
                  </a:lnTo>
                  <a:lnTo>
                    <a:pt x="1986" y="1893"/>
                  </a:lnTo>
                  <a:lnTo>
                    <a:pt x="1964" y="1895"/>
                  </a:lnTo>
                  <a:lnTo>
                    <a:pt x="1944" y="1901"/>
                  </a:lnTo>
                  <a:lnTo>
                    <a:pt x="1925" y="1911"/>
                  </a:lnTo>
                  <a:lnTo>
                    <a:pt x="1908" y="1923"/>
                  </a:lnTo>
                  <a:lnTo>
                    <a:pt x="1893" y="1938"/>
                  </a:lnTo>
                  <a:lnTo>
                    <a:pt x="1881" y="1954"/>
                  </a:lnTo>
                  <a:lnTo>
                    <a:pt x="1872" y="1974"/>
                  </a:lnTo>
                  <a:lnTo>
                    <a:pt x="1872" y="1974"/>
                  </a:lnTo>
                  <a:lnTo>
                    <a:pt x="1858" y="1959"/>
                  </a:lnTo>
                  <a:lnTo>
                    <a:pt x="1843" y="1944"/>
                  </a:lnTo>
                  <a:lnTo>
                    <a:pt x="1827" y="1933"/>
                  </a:lnTo>
                  <a:lnTo>
                    <a:pt x="1809" y="1921"/>
                  </a:lnTo>
                  <a:lnTo>
                    <a:pt x="1790" y="1913"/>
                  </a:lnTo>
                  <a:lnTo>
                    <a:pt x="1771" y="1905"/>
                  </a:lnTo>
                  <a:lnTo>
                    <a:pt x="1751" y="1900"/>
                  </a:lnTo>
                  <a:lnTo>
                    <a:pt x="1729" y="1895"/>
                  </a:lnTo>
                  <a:lnTo>
                    <a:pt x="1729" y="1895"/>
                  </a:lnTo>
                  <a:lnTo>
                    <a:pt x="1699" y="1893"/>
                  </a:lnTo>
                  <a:lnTo>
                    <a:pt x="1673" y="1895"/>
                  </a:lnTo>
                  <a:lnTo>
                    <a:pt x="1645" y="1900"/>
                  </a:lnTo>
                  <a:lnTo>
                    <a:pt x="1620" y="1910"/>
                  </a:lnTo>
                  <a:lnTo>
                    <a:pt x="1620" y="1910"/>
                  </a:lnTo>
                  <a:lnTo>
                    <a:pt x="1607" y="1883"/>
                  </a:lnTo>
                  <a:lnTo>
                    <a:pt x="1592" y="1858"/>
                  </a:lnTo>
                  <a:lnTo>
                    <a:pt x="1572" y="1837"/>
                  </a:lnTo>
                  <a:lnTo>
                    <a:pt x="1551" y="1817"/>
                  </a:lnTo>
                  <a:lnTo>
                    <a:pt x="1526" y="1800"/>
                  </a:lnTo>
                  <a:lnTo>
                    <a:pt x="1514" y="1792"/>
                  </a:lnTo>
                  <a:lnTo>
                    <a:pt x="1499" y="1787"/>
                  </a:lnTo>
                  <a:lnTo>
                    <a:pt x="1486" y="1781"/>
                  </a:lnTo>
                  <a:lnTo>
                    <a:pt x="1471" y="1777"/>
                  </a:lnTo>
                  <a:lnTo>
                    <a:pt x="1456" y="1774"/>
                  </a:lnTo>
                  <a:lnTo>
                    <a:pt x="1441" y="1771"/>
                  </a:lnTo>
                  <a:lnTo>
                    <a:pt x="1441" y="1771"/>
                  </a:lnTo>
                  <a:lnTo>
                    <a:pt x="1420" y="1769"/>
                  </a:lnTo>
                  <a:lnTo>
                    <a:pt x="1400" y="1769"/>
                  </a:lnTo>
                  <a:lnTo>
                    <a:pt x="1379" y="1772"/>
                  </a:lnTo>
                  <a:lnTo>
                    <a:pt x="1359" y="1776"/>
                  </a:lnTo>
                  <a:lnTo>
                    <a:pt x="1359" y="1776"/>
                  </a:lnTo>
                  <a:lnTo>
                    <a:pt x="1339" y="1741"/>
                  </a:lnTo>
                  <a:lnTo>
                    <a:pt x="1316" y="1706"/>
                  </a:lnTo>
                  <a:lnTo>
                    <a:pt x="1289" y="1675"/>
                  </a:lnTo>
                  <a:lnTo>
                    <a:pt x="1261" y="1647"/>
                  </a:lnTo>
                  <a:lnTo>
                    <a:pt x="1230" y="1620"/>
                  </a:lnTo>
                  <a:lnTo>
                    <a:pt x="1195" y="1595"/>
                  </a:lnTo>
                  <a:lnTo>
                    <a:pt x="1160" y="1575"/>
                  </a:lnTo>
                  <a:lnTo>
                    <a:pt x="1122" y="1557"/>
                  </a:lnTo>
                  <a:lnTo>
                    <a:pt x="1122" y="1557"/>
                  </a:lnTo>
                  <a:lnTo>
                    <a:pt x="1127" y="1546"/>
                  </a:lnTo>
                  <a:lnTo>
                    <a:pt x="1132" y="1532"/>
                  </a:lnTo>
                  <a:lnTo>
                    <a:pt x="1137" y="1519"/>
                  </a:lnTo>
                  <a:lnTo>
                    <a:pt x="1139" y="1504"/>
                  </a:lnTo>
                  <a:lnTo>
                    <a:pt x="1139" y="1504"/>
                  </a:lnTo>
                  <a:lnTo>
                    <a:pt x="1140" y="1481"/>
                  </a:lnTo>
                  <a:lnTo>
                    <a:pt x="1137" y="1460"/>
                  </a:lnTo>
                  <a:lnTo>
                    <a:pt x="1132" y="1438"/>
                  </a:lnTo>
                  <a:lnTo>
                    <a:pt x="1122" y="1418"/>
                  </a:lnTo>
                  <a:lnTo>
                    <a:pt x="1110" y="1400"/>
                  </a:lnTo>
                  <a:lnTo>
                    <a:pt x="1096" y="1383"/>
                  </a:lnTo>
                  <a:lnTo>
                    <a:pt x="1079" y="1369"/>
                  </a:lnTo>
                  <a:lnTo>
                    <a:pt x="1059" y="1357"/>
                  </a:lnTo>
                  <a:lnTo>
                    <a:pt x="1059" y="1357"/>
                  </a:lnTo>
                  <a:lnTo>
                    <a:pt x="1076" y="1344"/>
                  </a:lnTo>
                  <a:lnTo>
                    <a:pt x="1091" y="1329"/>
                  </a:lnTo>
                  <a:lnTo>
                    <a:pt x="1102" y="1312"/>
                  </a:lnTo>
                  <a:lnTo>
                    <a:pt x="1114" y="1294"/>
                  </a:lnTo>
                  <a:lnTo>
                    <a:pt x="1124" y="1274"/>
                  </a:lnTo>
                  <a:lnTo>
                    <a:pt x="1132" y="1254"/>
                  </a:lnTo>
                  <a:lnTo>
                    <a:pt x="1137" y="1233"/>
                  </a:lnTo>
                  <a:lnTo>
                    <a:pt x="1142" y="1211"/>
                  </a:lnTo>
                  <a:lnTo>
                    <a:pt x="1142" y="1211"/>
                  </a:lnTo>
                  <a:lnTo>
                    <a:pt x="1144" y="1197"/>
                  </a:lnTo>
                  <a:lnTo>
                    <a:pt x="1144" y="1182"/>
                  </a:lnTo>
                  <a:lnTo>
                    <a:pt x="1140" y="1152"/>
                  </a:lnTo>
                  <a:lnTo>
                    <a:pt x="1135" y="1124"/>
                  </a:lnTo>
                  <a:lnTo>
                    <a:pt x="1125" y="1097"/>
                  </a:lnTo>
                  <a:lnTo>
                    <a:pt x="1112" y="1072"/>
                  </a:lnTo>
                  <a:lnTo>
                    <a:pt x="1097" y="1048"/>
                  </a:lnTo>
                  <a:lnTo>
                    <a:pt x="1079" y="1028"/>
                  </a:lnTo>
                  <a:lnTo>
                    <a:pt x="1058" y="1008"/>
                  </a:lnTo>
                  <a:lnTo>
                    <a:pt x="1058" y="1008"/>
                  </a:lnTo>
                  <a:lnTo>
                    <a:pt x="1069" y="1008"/>
                  </a:lnTo>
                  <a:lnTo>
                    <a:pt x="1079" y="1005"/>
                  </a:lnTo>
                  <a:lnTo>
                    <a:pt x="1101" y="998"/>
                  </a:lnTo>
                  <a:lnTo>
                    <a:pt x="1120" y="988"/>
                  </a:lnTo>
                  <a:lnTo>
                    <a:pt x="1137" y="975"/>
                  </a:lnTo>
                  <a:lnTo>
                    <a:pt x="1152" y="958"/>
                  </a:lnTo>
                  <a:lnTo>
                    <a:pt x="1165" y="940"/>
                  </a:lnTo>
                  <a:lnTo>
                    <a:pt x="1168" y="930"/>
                  </a:lnTo>
                  <a:lnTo>
                    <a:pt x="1173" y="919"/>
                  </a:lnTo>
                  <a:lnTo>
                    <a:pt x="1177" y="907"/>
                  </a:lnTo>
                  <a:lnTo>
                    <a:pt x="1178" y="895"/>
                  </a:lnTo>
                  <a:lnTo>
                    <a:pt x="1178" y="895"/>
                  </a:lnTo>
                  <a:lnTo>
                    <a:pt x="1178" y="879"/>
                  </a:lnTo>
                  <a:lnTo>
                    <a:pt x="1178" y="861"/>
                  </a:lnTo>
                  <a:lnTo>
                    <a:pt x="1173" y="844"/>
                  </a:lnTo>
                  <a:lnTo>
                    <a:pt x="1168" y="828"/>
                  </a:lnTo>
                  <a:lnTo>
                    <a:pt x="1160" y="813"/>
                  </a:lnTo>
                  <a:lnTo>
                    <a:pt x="1150" y="799"/>
                  </a:lnTo>
                  <a:lnTo>
                    <a:pt x="1139" y="786"/>
                  </a:lnTo>
                  <a:lnTo>
                    <a:pt x="1125" y="776"/>
                  </a:lnTo>
                  <a:lnTo>
                    <a:pt x="1125" y="776"/>
                  </a:lnTo>
                  <a:lnTo>
                    <a:pt x="1134" y="768"/>
                  </a:lnTo>
                  <a:lnTo>
                    <a:pt x="1142" y="758"/>
                  </a:lnTo>
                  <a:lnTo>
                    <a:pt x="1150" y="750"/>
                  </a:lnTo>
                  <a:lnTo>
                    <a:pt x="1157" y="738"/>
                  </a:lnTo>
                  <a:lnTo>
                    <a:pt x="1162" y="728"/>
                  </a:lnTo>
                  <a:lnTo>
                    <a:pt x="1167" y="717"/>
                  </a:lnTo>
                  <a:lnTo>
                    <a:pt x="1170" y="703"/>
                  </a:lnTo>
                  <a:lnTo>
                    <a:pt x="1172" y="692"/>
                  </a:lnTo>
                  <a:lnTo>
                    <a:pt x="1172" y="692"/>
                  </a:lnTo>
                  <a:lnTo>
                    <a:pt x="1173" y="679"/>
                  </a:lnTo>
                  <a:lnTo>
                    <a:pt x="1173" y="665"/>
                  </a:lnTo>
                  <a:lnTo>
                    <a:pt x="1172" y="652"/>
                  </a:lnTo>
                  <a:lnTo>
                    <a:pt x="1168" y="641"/>
                  </a:lnTo>
                  <a:lnTo>
                    <a:pt x="1165" y="629"/>
                  </a:lnTo>
                  <a:lnTo>
                    <a:pt x="1158" y="617"/>
                  </a:lnTo>
                  <a:lnTo>
                    <a:pt x="1154" y="608"/>
                  </a:lnTo>
                  <a:lnTo>
                    <a:pt x="1147" y="598"/>
                  </a:lnTo>
                  <a:lnTo>
                    <a:pt x="1139" y="588"/>
                  </a:lnTo>
                  <a:lnTo>
                    <a:pt x="1129" y="579"/>
                  </a:lnTo>
                  <a:lnTo>
                    <a:pt x="1119" y="571"/>
                  </a:lnTo>
                  <a:lnTo>
                    <a:pt x="1109" y="565"/>
                  </a:lnTo>
                  <a:lnTo>
                    <a:pt x="1097" y="558"/>
                  </a:lnTo>
                  <a:lnTo>
                    <a:pt x="1086" y="555"/>
                  </a:lnTo>
                  <a:lnTo>
                    <a:pt x="1074" y="550"/>
                  </a:lnTo>
                  <a:lnTo>
                    <a:pt x="1061" y="548"/>
                  </a:lnTo>
                  <a:lnTo>
                    <a:pt x="1061" y="548"/>
                  </a:lnTo>
                  <a:lnTo>
                    <a:pt x="1039" y="548"/>
                  </a:lnTo>
                  <a:lnTo>
                    <a:pt x="1018" y="550"/>
                  </a:lnTo>
                  <a:lnTo>
                    <a:pt x="1018" y="550"/>
                  </a:lnTo>
                  <a:lnTo>
                    <a:pt x="1028" y="531"/>
                  </a:lnTo>
                  <a:lnTo>
                    <a:pt x="1034" y="512"/>
                  </a:lnTo>
                  <a:lnTo>
                    <a:pt x="1041" y="490"/>
                  </a:lnTo>
                  <a:lnTo>
                    <a:pt x="1044" y="467"/>
                  </a:lnTo>
                  <a:lnTo>
                    <a:pt x="1044" y="467"/>
                  </a:lnTo>
                  <a:lnTo>
                    <a:pt x="1046" y="449"/>
                  </a:lnTo>
                  <a:lnTo>
                    <a:pt x="1046" y="429"/>
                  </a:lnTo>
                  <a:lnTo>
                    <a:pt x="1044" y="409"/>
                  </a:lnTo>
                  <a:lnTo>
                    <a:pt x="1041" y="391"/>
                  </a:lnTo>
                  <a:lnTo>
                    <a:pt x="1036" y="373"/>
                  </a:lnTo>
                  <a:lnTo>
                    <a:pt x="1029" y="354"/>
                  </a:lnTo>
                  <a:lnTo>
                    <a:pt x="1023" y="338"/>
                  </a:lnTo>
                  <a:lnTo>
                    <a:pt x="1013" y="321"/>
                  </a:lnTo>
                  <a:lnTo>
                    <a:pt x="1003" y="306"/>
                  </a:lnTo>
                  <a:lnTo>
                    <a:pt x="991" y="292"/>
                  </a:lnTo>
                  <a:lnTo>
                    <a:pt x="978" y="278"/>
                  </a:lnTo>
                  <a:lnTo>
                    <a:pt x="965" y="265"/>
                  </a:lnTo>
                  <a:lnTo>
                    <a:pt x="950" y="255"/>
                  </a:lnTo>
                  <a:lnTo>
                    <a:pt x="933" y="244"/>
                  </a:lnTo>
                  <a:lnTo>
                    <a:pt x="917" y="235"/>
                  </a:lnTo>
                  <a:lnTo>
                    <a:pt x="900" y="229"/>
                  </a:lnTo>
                  <a:lnTo>
                    <a:pt x="900" y="229"/>
                  </a:lnTo>
                  <a:lnTo>
                    <a:pt x="905" y="204"/>
                  </a:lnTo>
                  <a:lnTo>
                    <a:pt x="905" y="204"/>
                  </a:lnTo>
                  <a:lnTo>
                    <a:pt x="905" y="184"/>
                  </a:lnTo>
                  <a:lnTo>
                    <a:pt x="905" y="167"/>
                  </a:lnTo>
                  <a:lnTo>
                    <a:pt x="904" y="149"/>
                  </a:lnTo>
                  <a:lnTo>
                    <a:pt x="899" y="133"/>
                  </a:lnTo>
                  <a:lnTo>
                    <a:pt x="894" y="116"/>
                  </a:lnTo>
                  <a:lnTo>
                    <a:pt x="887" y="100"/>
                  </a:lnTo>
                  <a:lnTo>
                    <a:pt x="879" y="85"/>
                  </a:lnTo>
                  <a:lnTo>
                    <a:pt x="869" y="70"/>
                  </a:lnTo>
                  <a:lnTo>
                    <a:pt x="857" y="57"/>
                  </a:lnTo>
                  <a:lnTo>
                    <a:pt x="844" y="45"/>
                  </a:lnTo>
                  <a:lnTo>
                    <a:pt x="831" y="35"/>
                  </a:lnTo>
                  <a:lnTo>
                    <a:pt x="816" y="25"/>
                  </a:lnTo>
                  <a:lnTo>
                    <a:pt x="801" y="17"/>
                  </a:lnTo>
                  <a:lnTo>
                    <a:pt x="785" y="10"/>
                  </a:lnTo>
                  <a:lnTo>
                    <a:pt x="766" y="5"/>
                  </a:lnTo>
                  <a:lnTo>
                    <a:pt x="748" y="2"/>
                  </a:lnTo>
                  <a:lnTo>
                    <a:pt x="748" y="2"/>
                  </a:lnTo>
                  <a:lnTo>
                    <a:pt x="730" y="0"/>
                  </a:lnTo>
                  <a:lnTo>
                    <a:pt x="712" y="2"/>
                  </a:lnTo>
                  <a:lnTo>
                    <a:pt x="695" y="4"/>
                  </a:lnTo>
                  <a:lnTo>
                    <a:pt x="677" y="7"/>
                  </a:lnTo>
                  <a:lnTo>
                    <a:pt x="660" y="14"/>
                  </a:lnTo>
                  <a:lnTo>
                    <a:pt x="646" y="20"/>
                  </a:lnTo>
                  <a:lnTo>
                    <a:pt x="631" y="28"/>
                  </a:lnTo>
                  <a:lnTo>
                    <a:pt x="616" y="38"/>
                  </a:lnTo>
                  <a:lnTo>
                    <a:pt x="603" y="50"/>
                  </a:lnTo>
                  <a:lnTo>
                    <a:pt x="591" y="63"/>
                  </a:lnTo>
                  <a:lnTo>
                    <a:pt x="581" y="76"/>
                  </a:lnTo>
                  <a:lnTo>
                    <a:pt x="571" y="91"/>
                  </a:lnTo>
                  <a:lnTo>
                    <a:pt x="563" y="106"/>
                  </a:lnTo>
                  <a:lnTo>
                    <a:pt x="556" y="123"/>
                  </a:lnTo>
                  <a:lnTo>
                    <a:pt x="551" y="141"/>
                  </a:lnTo>
                  <a:lnTo>
                    <a:pt x="548" y="157"/>
                  </a:lnTo>
                  <a:lnTo>
                    <a:pt x="548" y="157"/>
                  </a:lnTo>
                  <a:lnTo>
                    <a:pt x="546" y="174"/>
                  </a:lnTo>
                  <a:lnTo>
                    <a:pt x="546" y="189"/>
                  </a:lnTo>
                  <a:lnTo>
                    <a:pt x="548" y="204"/>
                  </a:lnTo>
                  <a:lnTo>
                    <a:pt x="551" y="219"/>
                  </a:lnTo>
                  <a:lnTo>
                    <a:pt x="0" y="363"/>
                  </a:lnTo>
                  <a:lnTo>
                    <a:pt x="192" y="2591"/>
                  </a:lnTo>
                  <a:lnTo>
                    <a:pt x="3991" y="3026"/>
                  </a:lnTo>
                  <a:lnTo>
                    <a:pt x="3979" y="2892"/>
                  </a:lnTo>
                  <a:lnTo>
                    <a:pt x="3979" y="2892"/>
                  </a:lnTo>
                  <a:lnTo>
                    <a:pt x="4021" y="2889"/>
                  </a:lnTo>
                  <a:lnTo>
                    <a:pt x="4060" y="2883"/>
                  </a:lnTo>
                  <a:lnTo>
                    <a:pt x="4100" y="2873"/>
                  </a:lnTo>
                  <a:lnTo>
                    <a:pt x="4138" y="2859"/>
                  </a:lnTo>
                  <a:lnTo>
                    <a:pt x="4175" y="2841"/>
                  </a:lnTo>
                  <a:lnTo>
                    <a:pt x="4211" y="2821"/>
                  </a:lnTo>
                  <a:lnTo>
                    <a:pt x="4244" y="2800"/>
                  </a:lnTo>
                  <a:lnTo>
                    <a:pt x="4274" y="2773"/>
                  </a:lnTo>
                  <a:lnTo>
                    <a:pt x="4304" y="2745"/>
                  </a:lnTo>
                  <a:lnTo>
                    <a:pt x="4330" y="2714"/>
                  </a:lnTo>
                  <a:lnTo>
                    <a:pt x="4353" y="2682"/>
                  </a:lnTo>
                  <a:lnTo>
                    <a:pt x="4373" y="2646"/>
                  </a:lnTo>
                  <a:lnTo>
                    <a:pt x="4391" y="2610"/>
                  </a:lnTo>
                  <a:lnTo>
                    <a:pt x="4406" y="2570"/>
                  </a:lnTo>
                  <a:lnTo>
                    <a:pt x="4416" y="2530"/>
                  </a:lnTo>
                  <a:lnTo>
                    <a:pt x="4424" y="2487"/>
                  </a:lnTo>
                  <a:lnTo>
                    <a:pt x="4424" y="2487"/>
                  </a:lnTo>
                  <a:close/>
                </a:path>
              </a:pathLst>
            </a:custGeom>
            <a:gradFill>
              <a:gsLst>
                <a:gs pos="0">
                  <a:schemeClr val="accent1">
                    <a:lumMod val="40000"/>
                    <a:lumOff val="60000"/>
                  </a:schemeClr>
                </a:gs>
                <a:gs pos="100000">
                  <a:schemeClr val="accent2">
                    <a:lumMod val="40000"/>
                    <a:lumOff val="6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125" name="Freeform 124"/>
            <p:cNvSpPr>
              <a:spLocks/>
            </p:cNvSpPr>
            <p:nvPr/>
          </p:nvSpPr>
          <p:spPr bwMode="auto">
            <a:xfrm>
              <a:off x="1319281" y="1421184"/>
              <a:ext cx="6377891" cy="4856439"/>
            </a:xfrm>
            <a:custGeom>
              <a:avLst/>
              <a:gdLst>
                <a:gd name="T0" fmla="*/ 4376 w 4389"/>
                <a:gd name="T1" fmla="*/ 2710 h 3342"/>
                <a:gd name="T2" fmla="*/ 4295 w 4389"/>
                <a:gd name="T3" fmla="*/ 2612 h 3342"/>
                <a:gd name="T4" fmla="*/ 4191 w 4389"/>
                <a:gd name="T5" fmla="*/ 2586 h 3342"/>
                <a:gd name="T6" fmla="*/ 4103 w 4389"/>
                <a:gd name="T7" fmla="*/ 2609 h 3342"/>
                <a:gd name="T8" fmla="*/ 3908 w 4389"/>
                <a:gd name="T9" fmla="*/ 2497 h 3342"/>
                <a:gd name="T10" fmla="*/ 3761 w 4389"/>
                <a:gd name="T11" fmla="*/ 2492 h 3342"/>
                <a:gd name="T12" fmla="*/ 3620 w 4389"/>
                <a:gd name="T13" fmla="*/ 2546 h 3342"/>
                <a:gd name="T14" fmla="*/ 3509 w 4389"/>
                <a:gd name="T15" fmla="*/ 2566 h 3342"/>
                <a:gd name="T16" fmla="*/ 3347 w 4389"/>
                <a:gd name="T17" fmla="*/ 2505 h 3342"/>
                <a:gd name="T18" fmla="*/ 3281 w 4389"/>
                <a:gd name="T19" fmla="*/ 2430 h 3342"/>
                <a:gd name="T20" fmla="*/ 3183 w 4389"/>
                <a:gd name="T21" fmla="*/ 2394 h 3342"/>
                <a:gd name="T22" fmla="*/ 3114 w 4389"/>
                <a:gd name="T23" fmla="*/ 2432 h 3342"/>
                <a:gd name="T24" fmla="*/ 3006 w 4389"/>
                <a:gd name="T25" fmla="*/ 2364 h 3342"/>
                <a:gd name="T26" fmla="*/ 2905 w 4389"/>
                <a:gd name="T27" fmla="*/ 2366 h 3342"/>
                <a:gd name="T28" fmla="*/ 2826 w 4389"/>
                <a:gd name="T29" fmla="*/ 2356 h 3342"/>
                <a:gd name="T30" fmla="*/ 2730 w 4389"/>
                <a:gd name="T31" fmla="*/ 2326 h 3342"/>
                <a:gd name="T32" fmla="*/ 2611 w 4389"/>
                <a:gd name="T33" fmla="*/ 2361 h 3342"/>
                <a:gd name="T34" fmla="*/ 2538 w 4389"/>
                <a:gd name="T35" fmla="*/ 2460 h 3342"/>
                <a:gd name="T36" fmla="*/ 2470 w 4389"/>
                <a:gd name="T37" fmla="*/ 2454 h 3342"/>
                <a:gd name="T38" fmla="*/ 2382 w 4389"/>
                <a:gd name="T39" fmla="*/ 2442 h 3342"/>
                <a:gd name="T40" fmla="*/ 2351 w 4389"/>
                <a:gd name="T41" fmla="*/ 2367 h 3342"/>
                <a:gd name="T42" fmla="*/ 2280 w 4389"/>
                <a:gd name="T43" fmla="*/ 2324 h 3342"/>
                <a:gd name="T44" fmla="*/ 2202 w 4389"/>
                <a:gd name="T45" fmla="*/ 2329 h 3342"/>
                <a:gd name="T46" fmla="*/ 2132 w 4389"/>
                <a:gd name="T47" fmla="*/ 2319 h 3342"/>
                <a:gd name="T48" fmla="*/ 2045 w 4389"/>
                <a:gd name="T49" fmla="*/ 2293 h 3342"/>
                <a:gd name="T50" fmla="*/ 1946 w 4389"/>
                <a:gd name="T51" fmla="*/ 2313 h 3342"/>
                <a:gd name="T52" fmla="*/ 1873 w 4389"/>
                <a:gd name="T53" fmla="*/ 2379 h 3342"/>
                <a:gd name="T54" fmla="*/ 1777 w 4389"/>
                <a:gd name="T55" fmla="*/ 2358 h 3342"/>
                <a:gd name="T56" fmla="*/ 1689 w 4389"/>
                <a:gd name="T57" fmla="*/ 2315 h 3342"/>
                <a:gd name="T58" fmla="*/ 1591 w 4389"/>
                <a:gd name="T59" fmla="*/ 2181 h 3342"/>
                <a:gd name="T60" fmla="*/ 1436 w 4389"/>
                <a:gd name="T61" fmla="*/ 2114 h 3342"/>
                <a:gd name="T62" fmla="*/ 1328 w 4389"/>
                <a:gd name="T63" fmla="*/ 2118 h 3342"/>
                <a:gd name="T64" fmla="*/ 1256 w 4389"/>
                <a:gd name="T65" fmla="*/ 2043 h 3342"/>
                <a:gd name="T66" fmla="*/ 1178 w 4389"/>
                <a:gd name="T67" fmla="*/ 2002 h 3342"/>
                <a:gd name="T68" fmla="*/ 1072 w 4389"/>
                <a:gd name="T69" fmla="*/ 1927 h 3342"/>
                <a:gd name="T70" fmla="*/ 1022 w 4389"/>
                <a:gd name="T71" fmla="*/ 1856 h 3342"/>
                <a:gd name="T72" fmla="*/ 955 w 4389"/>
                <a:gd name="T73" fmla="*/ 1745 h 3342"/>
                <a:gd name="T74" fmla="*/ 945 w 4389"/>
                <a:gd name="T75" fmla="*/ 1596 h 3342"/>
                <a:gd name="T76" fmla="*/ 974 w 4389"/>
                <a:gd name="T77" fmla="*/ 1532 h 3342"/>
                <a:gd name="T78" fmla="*/ 928 w 4389"/>
                <a:gd name="T79" fmla="*/ 1462 h 3342"/>
                <a:gd name="T80" fmla="*/ 966 w 4389"/>
                <a:gd name="T81" fmla="*/ 1405 h 3342"/>
                <a:gd name="T82" fmla="*/ 963 w 4389"/>
                <a:gd name="T83" fmla="*/ 1310 h 3342"/>
                <a:gd name="T84" fmla="*/ 943 w 4389"/>
                <a:gd name="T85" fmla="*/ 1234 h 3342"/>
                <a:gd name="T86" fmla="*/ 981 w 4389"/>
                <a:gd name="T87" fmla="*/ 1143 h 3342"/>
                <a:gd name="T88" fmla="*/ 936 w 4389"/>
                <a:gd name="T89" fmla="*/ 993 h 3342"/>
                <a:gd name="T90" fmla="*/ 931 w 4389"/>
                <a:gd name="T91" fmla="*/ 892 h 3342"/>
                <a:gd name="T92" fmla="*/ 921 w 4389"/>
                <a:gd name="T93" fmla="*/ 827 h 3342"/>
                <a:gd name="T94" fmla="*/ 868 w 4389"/>
                <a:gd name="T95" fmla="*/ 776 h 3342"/>
                <a:gd name="T96" fmla="*/ 839 w 4389"/>
                <a:gd name="T97" fmla="*/ 739 h 3342"/>
                <a:gd name="T98" fmla="*/ 839 w 4389"/>
                <a:gd name="T99" fmla="*/ 629 h 3342"/>
                <a:gd name="T100" fmla="*/ 784 w 4389"/>
                <a:gd name="T101" fmla="*/ 531 h 3342"/>
                <a:gd name="T102" fmla="*/ 749 w 4389"/>
                <a:gd name="T103" fmla="*/ 427 h 3342"/>
                <a:gd name="T104" fmla="*/ 713 w 4389"/>
                <a:gd name="T105" fmla="*/ 208 h 3342"/>
                <a:gd name="T106" fmla="*/ 534 w 4389"/>
                <a:gd name="T107" fmla="*/ 35 h 3342"/>
                <a:gd name="T108" fmla="*/ 314 w 4389"/>
                <a:gd name="T109" fmla="*/ 5 h 3342"/>
                <a:gd name="T110" fmla="*/ 96 w 4389"/>
                <a:gd name="T111" fmla="*/ 126 h 3342"/>
                <a:gd name="T112" fmla="*/ 3 w 4389"/>
                <a:gd name="T113" fmla="*/ 326 h 3342"/>
                <a:gd name="T114" fmla="*/ 56 w 4389"/>
                <a:gd name="T115" fmla="*/ 574 h 3342"/>
                <a:gd name="T116" fmla="*/ 251 w 4389"/>
                <a:gd name="T117" fmla="*/ 729 h 3342"/>
                <a:gd name="T118" fmla="*/ 984 w 4389"/>
                <a:gd name="T119" fmla="*/ 3100 h 3342"/>
                <a:gd name="T120" fmla="*/ 4267 w 4389"/>
                <a:gd name="T121" fmla="*/ 2956 h 3342"/>
                <a:gd name="T122" fmla="*/ 4356 w 4389"/>
                <a:gd name="T123" fmla="*/ 2884 h 3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389" h="3342">
                  <a:moveTo>
                    <a:pt x="4388" y="2804"/>
                  </a:moveTo>
                  <a:lnTo>
                    <a:pt x="4388" y="2804"/>
                  </a:lnTo>
                  <a:lnTo>
                    <a:pt x="4389" y="2784"/>
                  </a:lnTo>
                  <a:lnTo>
                    <a:pt x="4389" y="2765"/>
                  </a:lnTo>
                  <a:lnTo>
                    <a:pt x="4386" y="2746"/>
                  </a:lnTo>
                  <a:lnTo>
                    <a:pt x="4383" y="2728"/>
                  </a:lnTo>
                  <a:lnTo>
                    <a:pt x="4376" y="2710"/>
                  </a:lnTo>
                  <a:lnTo>
                    <a:pt x="4369" y="2693"/>
                  </a:lnTo>
                  <a:lnTo>
                    <a:pt x="4359" y="2677"/>
                  </a:lnTo>
                  <a:lnTo>
                    <a:pt x="4349" y="2662"/>
                  </a:lnTo>
                  <a:lnTo>
                    <a:pt x="4338" y="2647"/>
                  </a:lnTo>
                  <a:lnTo>
                    <a:pt x="4325" y="2634"/>
                  </a:lnTo>
                  <a:lnTo>
                    <a:pt x="4310" y="2622"/>
                  </a:lnTo>
                  <a:lnTo>
                    <a:pt x="4295" y="2612"/>
                  </a:lnTo>
                  <a:lnTo>
                    <a:pt x="4278" y="2604"/>
                  </a:lnTo>
                  <a:lnTo>
                    <a:pt x="4260" y="2596"/>
                  </a:lnTo>
                  <a:lnTo>
                    <a:pt x="4242" y="2591"/>
                  </a:lnTo>
                  <a:lnTo>
                    <a:pt x="4222" y="2588"/>
                  </a:lnTo>
                  <a:lnTo>
                    <a:pt x="4222" y="2588"/>
                  </a:lnTo>
                  <a:lnTo>
                    <a:pt x="4206" y="2586"/>
                  </a:lnTo>
                  <a:lnTo>
                    <a:pt x="4191" y="2586"/>
                  </a:lnTo>
                  <a:lnTo>
                    <a:pt x="4174" y="2586"/>
                  </a:lnTo>
                  <a:lnTo>
                    <a:pt x="4159" y="2589"/>
                  </a:lnTo>
                  <a:lnTo>
                    <a:pt x="4144" y="2592"/>
                  </a:lnTo>
                  <a:lnTo>
                    <a:pt x="4129" y="2597"/>
                  </a:lnTo>
                  <a:lnTo>
                    <a:pt x="4116" y="2602"/>
                  </a:lnTo>
                  <a:lnTo>
                    <a:pt x="4103" y="2609"/>
                  </a:lnTo>
                  <a:lnTo>
                    <a:pt x="4103" y="2609"/>
                  </a:lnTo>
                  <a:lnTo>
                    <a:pt x="4080" y="2588"/>
                  </a:lnTo>
                  <a:lnTo>
                    <a:pt x="4055" y="2566"/>
                  </a:lnTo>
                  <a:lnTo>
                    <a:pt x="4029" y="2548"/>
                  </a:lnTo>
                  <a:lnTo>
                    <a:pt x="4000" y="2531"/>
                  </a:lnTo>
                  <a:lnTo>
                    <a:pt x="3971" y="2516"/>
                  </a:lnTo>
                  <a:lnTo>
                    <a:pt x="3941" y="2505"/>
                  </a:lnTo>
                  <a:lnTo>
                    <a:pt x="3908" y="2497"/>
                  </a:lnTo>
                  <a:lnTo>
                    <a:pt x="3875" y="2490"/>
                  </a:lnTo>
                  <a:lnTo>
                    <a:pt x="3875" y="2490"/>
                  </a:lnTo>
                  <a:lnTo>
                    <a:pt x="3851" y="2487"/>
                  </a:lnTo>
                  <a:lnTo>
                    <a:pt x="3828" y="2487"/>
                  </a:lnTo>
                  <a:lnTo>
                    <a:pt x="3805" y="2487"/>
                  </a:lnTo>
                  <a:lnTo>
                    <a:pt x="3784" y="2488"/>
                  </a:lnTo>
                  <a:lnTo>
                    <a:pt x="3761" y="2492"/>
                  </a:lnTo>
                  <a:lnTo>
                    <a:pt x="3739" y="2497"/>
                  </a:lnTo>
                  <a:lnTo>
                    <a:pt x="3719" y="2501"/>
                  </a:lnTo>
                  <a:lnTo>
                    <a:pt x="3698" y="2508"/>
                  </a:lnTo>
                  <a:lnTo>
                    <a:pt x="3678" y="2516"/>
                  </a:lnTo>
                  <a:lnTo>
                    <a:pt x="3658" y="2525"/>
                  </a:lnTo>
                  <a:lnTo>
                    <a:pt x="3638" y="2536"/>
                  </a:lnTo>
                  <a:lnTo>
                    <a:pt x="3620" y="2546"/>
                  </a:lnTo>
                  <a:lnTo>
                    <a:pt x="3602" y="2559"/>
                  </a:lnTo>
                  <a:lnTo>
                    <a:pt x="3585" y="2573"/>
                  </a:lnTo>
                  <a:lnTo>
                    <a:pt x="3569" y="2586"/>
                  </a:lnTo>
                  <a:lnTo>
                    <a:pt x="3554" y="2602"/>
                  </a:lnTo>
                  <a:lnTo>
                    <a:pt x="3554" y="2602"/>
                  </a:lnTo>
                  <a:lnTo>
                    <a:pt x="3532" y="2583"/>
                  </a:lnTo>
                  <a:lnTo>
                    <a:pt x="3509" y="2566"/>
                  </a:lnTo>
                  <a:lnTo>
                    <a:pt x="3484" y="2551"/>
                  </a:lnTo>
                  <a:lnTo>
                    <a:pt x="3459" y="2538"/>
                  </a:lnTo>
                  <a:lnTo>
                    <a:pt x="3433" y="2526"/>
                  </a:lnTo>
                  <a:lnTo>
                    <a:pt x="3405" y="2516"/>
                  </a:lnTo>
                  <a:lnTo>
                    <a:pt x="3377" y="2510"/>
                  </a:lnTo>
                  <a:lnTo>
                    <a:pt x="3347" y="2505"/>
                  </a:lnTo>
                  <a:lnTo>
                    <a:pt x="3347" y="2505"/>
                  </a:lnTo>
                  <a:lnTo>
                    <a:pt x="3327" y="2501"/>
                  </a:lnTo>
                  <a:lnTo>
                    <a:pt x="3309" y="2501"/>
                  </a:lnTo>
                  <a:lnTo>
                    <a:pt x="3309" y="2501"/>
                  </a:lnTo>
                  <a:lnTo>
                    <a:pt x="3306" y="2482"/>
                  </a:lnTo>
                  <a:lnTo>
                    <a:pt x="3301" y="2463"/>
                  </a:lnTo>
                  <a:lnTo>
                    <a:pt x="3291" y="2445"/>
                  </a:lnTo>
                  <a:lnTo>
                    <a:pt x="3281" y="2430"/>
                  </a:lnTo>
                  <a:lnTo>
                    <a:pt x="3266" y="2417"/>
                  </a:lnTo>
                  <a:lnTo>
                    <a:pt x="3249" y="2407"/>
                  </a:lnTo>
                  <a:lnTo>
                    <a:pt x="3233" y="2399"/>
                  </a:lnTo>
                  <a:lnTo>
                    <a:pt x="3213" y="2394"/>
                  </a:lnTo>
                  <a:lnTo>
                    <a:pt x="3213" y="2394"/>
                  </a:lnTo>
                  <a:lnTo>
                    <a:pt x="3198" y="2394"/>
                  </a:lnTo>
                  <a:lnTo>
                    <a:pt x="3183" y="2394"/>
                  </a:lnTo>
                  <a:lnTo>
                    <a:pt x="3170" y="2397"/>
                  </a:lnTo>
                  <a:lnTo>
                    <a:pt x="3157" y="2401"/>
                  </a:lnTo>
                  <a:lnTo>
                    <a:pt x="3145" y="2407"/>
                  </a:lnTo>
                  <a:lnTo>
                    <a:pt x="3133" y="2414"/>
                  </a:lnTo>
                  <a:lnTo>
                    <a:pt x="3124" y="2422"/>
                  </a:lnTo>
                  <a:lnTo>
                    <a:pt x="3114" y="2432"/>
                  </a:lnTo>
                  <a:lnTo>
                    <a:pt x="3114" y="2432"/>
                  </a:lnTo>
                  <a:lnTo>
                    <a:pt x="3102" y="2419"/>
                  </a:lnTo>
                  <a:lnTo>
                    <a:pt x="3089" y="2406"/>
                  </a:lnTo>
                  <a:lnTo>
                    <a:pt x="3074" y="2394"/>
                  </a:lnTo>
                  <a:lnTo>
                    <a:pt x="3059" y="2384"/>
                  </a:lnTo>
                  <a:lnTo>
                    <a:pt x="3042" y="2376"/>
                  </a:lnTo>
                  <a:lnTo>
                    <a:pt x="3024" y="2369"/>
                  </a:lnTo>
                  <a:lnTo>
                    <a:pt x="3006" y="2364"/>
                  </a:lnTo>
                  <a:lnTo>
                    <a:pt x="2988" y="2361"/>
                  </a:lnTo>
                  <a:lnTo>
                    <a:pt x="2988" y="2361"/>
                  </a:lnTo>
                  <a:lnTo>
                    <a:pt x="2971" y="2359"/>
                  </a:lnTo>
                  <a:lnTo>
                    <a:pt x="2953" y="2359"/>
                  </a:lnTo>
                  <a:lnTo>
                    <a:pt x="2938" y="2359"/>
                  </a:lnTo>
                  <a:lnTo>
                    <a:pt x="2922" y="2363"/>
                  </a:lnTo>
                  <a:lnTo>
                    <a:pt x="2905" y="2366"/>
                  </a:lnTo>
                  <a:lnTo>
                    <a:pt x="2890" y="2372"/>
                  </a:lnTo>
                  <a:lnTo>
                    <a:pt x="2875" y="2379"/>
                  </a:lnTo>
                  <a:lnTo>
                    <a:pt x="2862" y="2386"/>
                  </a:lnTo>
                  <a:lnTo>
                    <a:pt x="2862" y="2386"/>
                  </a:lnTo>
                  <a:lnTo>
                    <a:pt x="2851" y="2376"/>
                  </a:lnTo>
                  <a:lnTo>
                    <a:pt x="2839" y="2364"/>
                  </a:lnTo>
                  <a:lnTo>
                    <a:pt x="2826" y="2356"/>
                  </a:lnTo>
                  <a:lnTo>
                    <a:pt x="2811" y="2348"/>
                  </a:lnTo>
                  <a:lnTo>
                    <a:pt x="2796" y="2341"/>
                  </a:lnTo>
                  <a:lnTo>
                    <a:pt x="2781" y="2334"/>
                  </a:lnTo>
                  <a:lnTo>
                    <a:pt x="2765" y="2331"/>
                  </a:lnTo>
                  <a:lnTo>
                    <a:pt x="2748" y="2328"/>
                  </a:lnTo>
                  <a:lnTo>
                    <a:pt x="2748" y="2328"/>
                  </a:lnTo>
                  <a:lnTo>
                    <a:pt x="2730" y="2326"/>
                  </a:lnTo>
                  <a:lnTo>
                    <a:pt x="2710" y="2326"/>
                  </a:lnTo>
                  <a:lnTo>
                    <a:pt x="2693" y="2328"/>
                  </a:lnTo>
                  <a:lnTo>
                    <a:pt x="2675" y="2331"/>
                  </a:lnTo>
                  <a:lnTo>
                    <a:pt x="2657" y="2338"/>
                  </a:lnTo>
                  <a:lnTo>
                    <a:pt x="2642" y="2344"/>
                  </a:lnTo>
                  <a:lnTo>
                    <a:pt x="2626" y="2353"/>
                  </a:lnTo>
                  <a:lnTo>
                    <a:pt x="2611" y="2361"/>
                  </a:lnTo>
                  <a:lnTo>
                    <a:pt x="2597" y="2372"/>
                  </a:lnTo>
                  <a:lnTo>
                    <a:pt x="2584" y="2384"/>
                  </a:lnTo>
                  <a:lnTo>
                    <a:pt x="2573" y="2397"/>
                  </a:lnTo>
                  <a:lnTo>
                    <a:pt x="2561" y="2412"/>
                  </a:lnTo>
                  <a:lnTo>
                    <a:pt x="2553" y="2427"/>
                  </a:lnTo>
                  <a:lnTo>
                    <a:pt x="2544" y="2444"/>
                  </a:lnTo>
                  <a:lnTo>
                    <a:pt x="2538" y="2460"/>
                  </a:lnTo>
                  <a:lnTo>
                    <a:pt x="2533" y="2478"/>
                  </a:lnTo>
                  <a:lnTo>
                    <a:pt x="2533" y="2478"/>
                  </a:lnTo>
                  <a:lnTo>
                    <a:pt x="2521" y="2472"/>
                  </a:lnTo>
                  <a:lnTo>
                    <a:pt x="2521" y="2472"/>
                  </a:lnTo>
                  <a:lnTo>
                    <a:pt x="2505" y="2463"/>
                  </a:lnTo>
                  <a:lnTo>
                    <a:pt x="2488" y="2457"/>
                  </a:lnTo>
                  <a:lnTo>
                    <a:pt x="2470" y="2454"/>
                  </a:lnTo>
                  <a:lnTo>
                    <a:pt x="2453" y="2450"/>
                  </a:lnTo>
                  <a:lnTo>
                    <a:pt x="2435" y="2449"/>
                  </a:lnTo>
                  <a:lnTo>
                    <a:pt x="2417" y="2449"/>
                  </a:lnTo>
                  <a:lnTo>
                    <a:pt x="2401" y="2450"/>
                  </a:lnTo>
                  <a:lnTo>
                    <a:pt x="2384" y="2454"/>
                  </a:lnTo>
                  <a:lnTo>
                    <a:pt x="2384" y="2454"/>
                  </a:lnTo>
                  <a:lnTo>
                    <a:pt x="2382" y="2442"/>
                  </a:lnTo>
                  <a:lnTo>
                    <a:pt x="2381" y="2430"/>
                  </a:lnTo>
                  <a:lnTo>
                    <a:pt x="2379" y="2419"/>
                  </a:lnTo>
                  <a:lnTo>
                    <a:pt x="2374" y="2407"/>
                  </a:lnTo>
                  <a:lnTo>
                    <a:pt x="2371" y="2396"/>
                  </a:lnTo>
                  <a:lnTo>
                    <a:pt x="2364" y="2386"/>
                  </a:lnTo>
                  <a:lnTo>
                    <a:pt x="2358" y="2376"/>
                  </a:lnTo>
                  <a:lnTo>
                    <a:pt x="2351" y="2367"/>
                  </a:lnTo>
                  <a:lnTo>
                    <a:pt x="2343" y="2359"/>
                  </a:lnTo>
                  <a:lnTo>
                    <a:pt x="2334" y="2351"/>
                  </a:lnTo>
                  <a:lnTo>
                    <a:pt x="2324" y="2344"/>
                  </a:lnTo>
                  <a:lnTo>
                    <a:pt x="2314" y="2338"/>
                  </a:lnTo>
                  <a:lnTo>
                    <a:pt x="2303" y="2333"/>
                  </a:lnTo>
                  <a:lnTo>
                    <a:pt x="2291" y="2328"/>
                  </a:lnTo>
                  <a:lnTo>
                    <a:pt x="2280" y="2324"/>
                  </a:lnTo>
                  <a:lnTo>
                    <a:pt x="2268" y="2323"/>
                  </a:lnTo>
                  <a:lnTo>
                    <a:pt x="2268" y="2323"/>
                  </a:lnTo>
                  <a:lnTo>
                    <a:pt x="2255" y="2321"/>
                  </a:lnTo>
                  <a:lnTo>
                    <a:pt x="2242" y="2321"/>
                  </a:lnTo>
                  <a:lnTo>
                    <a:pt x="2228" y="2323"/>
                  </a:lnTo>
                  <a:lnTo>
                    <a:pt x="2215" y="2326"/>
                  </a:lnTo>
                  <a:lnTo>
                    <a:pt x="2202" y="2329"/>
                  </a:lnTo>
                  <a:lnTo>
                    <a:pt x="2190" y="2334"/>
                  </a:lnTo>
                  <a:lnTo>
                    <a:pt x="2180" y="2341"/>
                  </a:lnTo>
                  <a:lnTo>
                    <a:pt x="2169" y="2348"/>
                  </a:lnTo>
                  <a:lnTo>
                    <a:pt x="2169" y="2348"/>
                  </a:lnTo>
                  <a:lnTo>
                    <a:pt x="2157" y="2338"/>
                  </a:lnTo>
                  <a:lnTo>
                    <a:pt x="2146" y="2329"/>
                  </a:lnTo>
                  <a:lnTo>
                    <a:pt x="2132" y="2319"/>
                  </a:lnTo>
                  <a:lnTo>
                    <a:pt x="2119" y="2313"/>
                  </a:lnTo>
                  <a:lnTo>
                    <a:pt x="2106" y="2306"/>
                  </a:lnTo>
                  <a:lnTo>
                    <a:pt x="2091" y="2301"/>
                  </a:lnTo>
                  <a:lnTo>
                    <a:pt x="2075" y="2296"/>
                  </a:lnTo>
                  <a:lnTo>
                    <a:pt x="2060" y="2295"/>
                  </a:lnTo>
                  <a:lnTo>
                    <a:pt x="2060" y="2295"/>
                  </a:lnTo>
                  <a:lnTo>
                    <a:pt x="2045" y="2293"/>
                  </a:lnTo>
                  <a:lnTo>
                    <a:pt x="2030" y="2293"/>
                  </a:lnTo>
                  <a:lnTo>
                    <a:pt x="2015" y="2293"/>
                  </a:lnTo>
                  <a:lnTo>
                    <a:pt x="2000" y="2295"/>
                  </a:lnTo>
                  <a:lnTo>
                    <a:pt x="1985" y="2298"/>
                  </a:lnTo>
                  <a:lnTo>
                    <a:pt x="1972" y="2303"/>
                  </a:lnTo>
                  <a:lnTo>
                    <a:pt x="1959" y="2308"/>
                  </a:lnTo>
                  <a:lnTo>
                    <a:pt x="1946" y="2313"/>
                  </a:lnTo>
                  <a:lnTo>
                    <a:pt x="1934" y="2319"/>
                  </a:lnTo>
                  <a:lnTo>
                    <a:pt x="1922" y="2328"/>
                  </a:lnTo>
                  <a:lnTo>
                    <a:pt x="1911" y="2336"/>
                  </a:lnTo>
                  <a:lnTo>
                    <a:pt x="1899" y="2346"/>
                  </a:lnTo>
                  <a:lnTo>
                    <a:pt x="1889" y="2356"/>
                  </a:lnTo>
                  <a:lnTo>
                    <a:pt x="1881" y="2367"/>
                  </a:lnTo>
                  <a:lnTo>
                    <a:pt x="1873" y="2379"/>
                  </a:lnTo>
                  <a:lnTo>
                    <a:pt x="1864" y="2391"/>
                  </a:lnTo>
                  <a:lnTo>
                    <a:pt x="1864" y="2391"/>
                  </a:lnTo>
                  <a:lnTo>
                    <a:pt x="1845" y="2379"/>
                  </a:lnTo>
                  <a:lnTo>
                    <a:pt x="1823" y="2369"/>
                  </a:lnTo>
                  <a:lnTo>
                    <a:pt x="1800" y="2363"/>
                  </a:lnTo>
                  <a:lnTo>
                    <a:pt x="1777" y="2358"/>
                  </a:lnTo>
                  <a:lnTo>
                    <a:pt x="1777" y="2358"/>
                  </a:lnTo>
                  <a:lnTo>
                    <a:pt x="1757" y="2356"/>
                  </a:lnTo>
                  <a:lnTo>
                    <a:pt x="1739" y="2356"/>
                  </a:lnTo>
                  <a:lnTo>
                    <a:pt x="1721" y="2358"/>
                  </a:lnTo>
                  <a:lnTo>
                    <a:pt x="1702" y="2361"/>
                  </a:lnTo>
                  <a:lnTo>
                    <a:pt x="1702" y="2361"/>
                  </a:lnTo>
                  <a:lnTo>
                    <a:pt x="1696" y="2338"/>
                  </a:lnTo>
                  <a:lnTo>
                    <a:pt x="1689" y="2315"/>
                  </a:lnTo>
                  <a:lnTo>
                    <a:pt x="1679" y="2293"/>
                  </a:lnTo>
                  <a:lnTo>
                    <a:pt x="1669" y="2272"/>
                  </a:lnTo>
                  <a:lnTo>
                    <a:pt x="1656" y="2252"/>
                  </a:lnTo>
                  <a:lnTo>
                    <a:pt x="1643" y="2232"/>
                  </a:lnTo>
                  <a:lnTo>
                    <a:pt x="1626" y="2214"/>
                  </a:lnTo>
                  <a:lnTo>
                    <a:pt x="1610" y="2197"/>
                  </a:lnTo>
                  <a:lnTo>
                    <a:pt x="1591" y="2181"/>
                  </a:lnTo>
                  <a:lnTo>
                    <a:pt x="1573" y="2167"/>
                  </a:lnTo>
                  <a:lnTo>
                    <a:pt x="1553" y="2154"/>
                  </a:lnTo>
                  <a:lnTo>
                    <a:pt x="1532" y="2142"/>
                  </a:lnTo>
                  <a:lnTo>
                    <a:pt x="1509" y="2133"/>
                  </a:lnTo>
                  <a:lnTo>
                    <a:pt x="1486" y="2124"/>
                  </a:lnTo>
                  <a:lnTo>
                    <a:pt x="1461" y="2118"/>
                  </a:lnTo>
                  <a:lnTo>
                    <a:pt x="1436" y="2114"/>
                  </a:lnTo>
                  <a:lnTo>
                    <a:pt x="1436" y="2114"/>
                  </a:lnTo>
                  <a:lnTo>
                    <a:pt x="1418" y="2113"/>
                  </a:lnTo>
                  <a:lnTo>
                    <a:pt x="1400" y="2111"/>
                  </a:lnTo>
                  <a:lnTo>
                    <a:pt x="1381" y="2111"/>
                  </a:lnTo>
                  <a:lnTo>
                    <a:pt x="1363" y="2113"/>
                  </a:lnTo>
                  <a:lnTo>
                    <a:pt x="1345" y="2114"/>
                  </a:lnTo>
                  <a:lnTo>
                    <a:pt x="1328" y="2118"/>
                  </a:lnTo>
                  <a:lnTo>
                    <a:pt x="1294" y="2128"/>
                  </a:lnTo>
                  <a:lnTo>
                    <a:pt x="1294" y="2128"/>
                  </a:lnTo>
                  <a:lnTo>
                    <a:pt x="1294" y="2108"/>
                  </a:lnTo>
                  <a:lnTo>
                    <a:pt x="1289" y="2090"/>
                  </a:lnTo>
                  <a:lnTo>
                    <a:pt x="1280" y="2073"/>
                  </a:lnTo>
                  <a:lnTo>
                    <a:pt x="1269" y="2056"/>
                  </a:lnTo>
                  <a:lnTo>
                    <a:pt x="1256" y="2043"/>
                  </a:lnTo>
                  <a:lnTo>
                    <a:pt x="1241" y="2033"/>
                  </a:lnTo>
                  <a:lnTo>
                    <a:pt x="1223" y="2025"/>
                  </a:lnTo>
                  <a:lnTo>
                    <a:pt x="1203" y="2020"/>
                  </a:lnTo>
                  <a:lnTo>
                    <a:pt x="1203" y="2020"/>
                  </a:lnTo>
                  <a:lnTo>
                    <a:pt x="1186" y="2020"/>
                  </a:lnTo>
                  <a:lnTo>
                    <a:pt x="1186" y="2020"/>
                  </a:lnTo>
                  <a:lnTo>
                    <a:pt x="1178" y="2002"/>
                  </a:lnTo>
                  <a:lnTo>
                    <a:pt x="1168" y="1987"/>
                  </a:lnTo>
                  <a:lnTo>
                    <a:pt x="1156" y="1972"/>
                  </a:lnTo>
                  <a:lnTo>
                    <a:pt x="1143" y="1959"/>
                  </a:lnTo>
                  <a:lnTo>
                    <a:pt x="1127" y="1947"/>
                  </a:lnTo>
                  <a:lnTo>
                    <a:pt x="1110" y="1939"/>
                  </a:lnTo>
                  <a:lnTo>
                    <a:pt x="1092" y="1932"/>
                  </a:lnTo>
                  <a:lnTo>
                    <a:pt x="1072" y="1927"/>
                  </a:lnTo>
                  <a:lnTo>
                    <a:pt x="1072" y="1927"/>
                  </a:lnTo>
                  <a:lnTo>
                    <a:pt x="1054" y="1927"/>
                  </a:lnTo>
                  <a:lnTo>
                    <a:pt x="1037" y="1927"/>
                  </a:lnTo>
                  <a:lnTo>
                    <a:pt x="1037" y="1927"/>
                  </a:lnTo>
                  <a:lnTo>
                    <a:pt x="1036" y="1903"/>
                  </a:lnTo>
                  <a:lnTo>
                    <a:pt x="1031" y="1879"/>
                  </a:lnTo>
                  <a:lnTo>
                    <a:pt x="1022" y="1856"/>
                  </a:lnTo>
                  <a:lnTo>
                    <a:pt x="1012" y="1835"/>
                  </a:lnTo>
                  <a:lnTo>
                    <a:pt x="999" y="1815"/>
                  </a:lnTo>
                  <a:lnTo>
                    <a:pt x="984" y="1797"/>
                  </a:lnTo>
                  <a:lnTo>
                    <a:pt x="966" y="1780"/>
                  </a:lnTo>
                  <a:lnTo>
                    <a:pt x="946" y="1767"/>
                  </a:lnTo>
                  <a:lnTo>
                    <a:pt x="946" y="1767"/>
                  </a:lnTo>
                  <a:lnTo>
                    <a:pt x="955" y="1745"/>
                  </a:lnTo>
                  <a:lnTo>
                    <a:pt x="961" y="1724"/>
                  </a:lnTo>
                  <a:lnTo>
                    <a:pt x="964" y="1701"/>
                  </a:lnTo>
                  <a:lnTo>
                    <a:pt x="966" y="1679"/>
                  </a:lnTo>
                  <a:lnTo>
                    <a:pt x="964" y="1658"/>
                  </a:lnTo>
                  <a:lnTo>
                    <a:pt x="959" y="1636"/>
                  </a:lnTo>
                  <a:lnTo>
                    <a:pt x="953" y="1616"/>
                  </a:lnTo>
                  <a:lnTo>
                    <a:pt x="945" y="1596"/>
                  </a:lnTo>
                  <a:lnTo>
                    <a:pt x="945" y="1596"/>
                  </a:lnTo>
                  <a:lnTo>
                    <a:pt x="956" y="1587"/>
                  </a:lnTo>
                  <a:lnTo>
                    <a:pt x="964" y="1573"/>
                  </a:lnTo>
                  <a:lnTo>
                    <a:pt x="971" y="1560"/>
                  </a:lnTo>
                  <a:lnTo>
                    <a:pt x="974" y="1545"/>
                  </a:lnTo>
                  <a:lnTo>
                    <a:pt x="974" y="1545"/>
                  </a:lnTo>
                  <a:lnTo>
                    <a:pt x="974" y="1532"/>
                  </a:lnTo>
                  <a:lnTo>
                    <a:pt x="974" y="1519"/>
                  </a:lnTo>
                  <a:lnTo>
                    <a:pt x="969" y="1507"/>
                  </a:lnTo>
                  <a:lnTo>
                    <a:pt x="964" y="1496"/>
                  </a:lnTo>
                  <a:lnTo>
                    <a:pt x="958" y="1486"/>
                  </a:lnTo>
                  <a:lnTo>
                    <a:pt x="950" y="1476"/>
                  </a:lnTo>
                  <a:lnTo>
                    <a:pt x="938" y="1469"/>
                  </a:lnTo>
                  <a:lnTo>
                    <a:pt x="928" y="1462"/>
                  </a:lnTo>
                  <a:lnTo>
                    <a:pt x="928" y="1462"/>
                  </a:lnTo>
                  <a:lnTo>
                    <a:pt x="936" y="1456"/>
                  </a:lnTo>
                  <a:lnTo>
                    <a:pt x="943" y="1446"/>
                  </a:lnTo>
                  <a:lnTo>
                    <a:pt x="951" y="1438"/>
                  </a:lnTo>
                  <a:lnTo>
                    <a:pt x="958" y="1426"/>
                  </a:lnTo>
                  <a:lnTo>
                    <a:pt x="963" y="1416"/>
                  </a:lnTo>
                  <a:lnTo>
                    <a:pt x="966" y="1405"/>
                  </a:lnTo>
                  <a:lnTo>
                    <a:pt x="969" y="1393"/>
                  </a:lnTo>
                  <a:lnTo>
                    <a:pt x="973" y="1380"/>
                  </a:lnTo>
                  <a:lnTo>
                    <a:pt x="973" y="1380"/>
                  </a:lnTo>
                  <a:lnTo>
                    <a:pt x="973" y="1362"/>
                  </a:lnTo>
                  <a:lnTo>
                    <a:pt x="973" y="1345"/>
                  </a:lnTo>
                  <a:lnTo>
                    <a:pt x="969" y="1327"/>
                  </a:lnTo>
                  <a:lnTo>
                    <a:pt x="963" y="1310"/>
                  </a:lnTo>
                  <a:lnTo>
                    <a:pt x="956" y="1295"/>
                  </a:lnTo>
                  <a:lnTo>
                    <a:pt x="946" y="1282"/>
                  </a:lnTo>
                  <a:lnTo>
                    <a:pt x="935" y="1269"/>
                  </a:lnTo>
                  <a:lnTo>
                    <a:pt x="921" y="1257"/>
                  </a:lnTo>
                  <a:lnTo>
                    <a:pt x="921" y="1257"/>
                  </a:lnTo>
                  <a:lnTo>
                    <a:pt x="933" y="1246"/>
                  </a:lnTo>
                  <a:lnTo>
                    <a:pt x="943" y="1234"/>
                  </a:lnTo>
                  <a:lnTo>
                    <a:pt x="953" y="1221"/>
                  </a:lnTo>
                  <a:lnTo>
                    <a:pt x="961" y="1206"/>
                  </a:lnTo>
                  <a:lnTo>
                    <a:pt x="968" y="1191"/>
                  </a:lnTo>
                  <a:lnTo>
                    <a:pt x="973" y="1176"/>
                  </a:lnTo>
                  <a:lnTo>
                    <a:pt x="978" y="1160"/>
                  </a:lnTo>
                  <a:lnTo>
                    <a:pt x="981" y="1143"/>
                  </a:lnTo>
                  <a:lnTo>
                    <a:pt x="981" y="1143"/>
                  </a:lnTo>
                  <a:lnTo>
                    <a:pt x="981" y="1130"/>
                  </a:lnTo>
                  <a:lnTo>
                    <a:pt x="983" y="1115"/>
                  </a:lnTo>
                  <a:lnTo>
                    <a:pt x="979" y="1089"/>
                  </a:lnTo>
                  <a:lnTo>
                    <a:pt x="974" y="1062"/>
                  </a:lnTo>
                  <a:lnTo>
                    <a:pt x="964" y="1037"/>
                  </a:lnTo>
                  <a:lnTo>
                    <a:pt x="951" y="1014"/>
                  </a:lnTo>
                  <a:lnTo>
                    <a:pt x="936" y="993"/>
                  </a:lnTo>
                  <a:lnTo>
                    <a:pt x="918" y="974"/>
                  </a:lnTo>
                  <a:lnTo>
                    <a:pt x="897" y="958"/>
                  </a:lnTo>
                  <a:lnTo>
                    <a:pt x="897" y="958"/>
                  </a:lnTo>
                  <a:lnTo>
                    <a:pt x="910" y="943"/>
                  </a:lnTo>
                  <a:lnTo>
                    <a:pt x="920" y="928"/>
                  </a:lnTo>
                  <a:lnTo>
                    <a:pt x="928" y="910"/>
                  </a:lnTo>
                  <a:lnTo>
                    <a:pt x="931" y="892"/>
                  </a:lnTo>
                  <a:lnTo>
                    <a:pt x="931" y="892"/>
                  </a:lnTo>
                  <a:lnTo>
                    <a:pt x="933" y="880"/>
                  </a:lnTo>
                  <a:lnTo>
                    <a:pt x="933" y="868"/>
                  </a:lnTo>
                  <a:lnTo>
                    <a:pt x="931" y="857"/>
                  </a:lnTo>
                  <a:lnTo>
                    <a:pt x="930" y="847"/>
                  </a:lnTo>
                  <a:lnTo>
                    <a:pt x="926" y="837"/>
                  </a:lnTo>
                  <a:lnTo>
                    <a:pt x="921" y="827"/>
                  </a:lnTo>
                  <a:lnTo>
                    <a:pt x="916" y="817"/>
                  </a:lnTo>
                  <a:lnTo>
                    <a:pt x="910" y="809"/>
                  </a:lnTo>
                  <a:lnTo>
                    <a:pt x="903" y="801"/>
                  </a:lnTo>
                  <a:lnTo>
                    <a:pt x="895" y="794"/>
                  </a:lnTo>
                  <a:lnTo>
                    <a:pt x="887" y="787"/>
                  </a:lnTo>
                  <a:lnTo>
                    <a:pt x="878" y="781"/>
                  </a:lnTo>
                  <a:lnTo>
                    <a:pt x="868" y="776"/>
                  </a:lnTo>
                  <a:lnTo>
                    <a:pt x="859" y="771"/>
                  </a:lnTo>
                  <a:lnTo>
                    <a:pt x="849" y="768"/>
                  </a:lnTo>
                  <a:lnTo>
                    <a:pt x="837" y="766"/>
                  </a:lnTo>
                  <a:lnTo>
                    <a:pt x="837" y="766"/>
                  </a:lnTo>
                  <a:lnTo>
                    <a:pt x="830" y="766"/>
                  </a:lnTo>
                  <a:lnTo>
                    <a:pt x="830" y="766"/>
                  </a:lnTo>
                  <a:lnTo>
                    <a:pt x="839" y="739"/>
                  </a:lnTo>
                  <a:lnTo>
                    <a:pt x="844" y="711"/>
                  </a:lnTo>
                  <a:lnTo>
                    <a:pt x="844" y="711"/>
                  </a:lnTo>
                  <a:lnTo>
                    <a:pt x="845" y="695"/>
                  </a:lnTo>
                  <a:lnTo>
                    <a:pt x="847" y="678"/>
                  </a:lnTo>
                  <a:lnTo>
                    <a:pt x="845" y="660"/>
                  </a:lnTo>
                  <a:lnTo>
                    <a:pt x="844" y="645"/>
                  </a:lnTo>
                  <a:lnTo>
                    <a:pt x="839" y="629"/>
                  </a:lnTo>
                  <a:lnTo>
                    <a:pt x="835" y="612"/>
                  </a:lnTo>
                  <a:lnTo>
                    <a:pt x="829" y="597"/>
                  </a:lnTo>
                  <a:lnTo>
                    <a:pt x="822" y="582"/>
                  </a:lnTo>
                  <a:lnTo>
                    <a:pt x="814" y="569"/>
                  </a:lnTo>
                  <a:lnTo>
                    <a:pt x="806" y="556"/>
                  </a:lnTo>
                  <a:lnTo>
                    <a:pt x="796" y="543"/>
                  </a:lnTo>
                  <a:lnTo>
                    <a:pt x="784" y="531"/>
                  </a:lnTo>
                  <a:lnTo>
                    <a:pt x="773" y="519"/>
                  </a:lnTo>
                  <a:lnTo>
                    <a:pt x="761" y="509"/>
                  </a:lnTo>
                  <a:lnTo>
                    <a:pt x="748" y="501"/>
                  </a:lnTo>
                  <a:lnTo>
                    <a:pt x="733" y="491"/>
                  </a:lnTo>
                  <a:lnTo>
                    <a:pt x="733" y="491"/>
                  </a:lnTo>
                  <a:lnTo>
                    <a:pt x="743" y="460"/>
                  </a:lnTo>
                  <a:lnTo>
                    <a:pt x="749" y="427"/>
                  </a:lnTo>
                  <a:lnTo>
                    <a:pt x="749" y="427"/>
                  </a:lnTo>
                  <a:lnTo>
                    <a:pt x="751" y="387"/>
                  </a:lnTo>
                  <a:lnTo>
                    <a:pt x="751" y="351"/>
                  </a:lnTo>
                  <a:lnTo>
                    <a:pt x="746" y="313"/>
                  </a:lnTo>
                  <a:lnTo>
                    <a:pt x="739" y="278"/>
                  </a:lnTo>
                  <a:lnTo>
                    <a:pt x="728" y="243"/>
                  </a:lnTo>
                  <a:lnTo>
                    <a:pt x="713" y="208"/>
                  </a:lnTo>
                  <a:lnTo>
                    <a:pt x="696" y="177"/>
                  </a:lnTo>
                  <a:lnTo>
                    <a:pt x="675" y="147"/>
                  </a:lnTo>
                  <a:lnTo>
                    <a:pt x="652" y="121"/>
                  </a:lnTo>
                  <a:lnTo>
                    <a:pt x="627" y="94"/>
                  </a:lnTo>
                  <a:lnTo>
                    <a:pt x="599" y="73"/>
                  </a:lnTo>
                  <a:lnTo>
                    <a:pt x="567" y="51"/>
                  </a:lnTo>
                  <a:lnTo>
                    <a:pt x="534" y="35"/>
                  </a:lnTo>
                  <a:lnTo>
                    <a:pt x="501" y="21"/>
                  </a:lnTo>
                  <a:lnTo>
                    <a:pt x="465" y="10"/>
                  </a:lnTo>
                  <a:lnTo>
                    <a:pt x="427" y="3"/>
                  </a:lnTo>
                  <a:lnTo>
                    <a:pt x="427" y="3"/>
                  </a:lnTo>
                  <a:lnTo>
                    <a:pt x="389" y="0"/>
                  </a:lnTo>
                  <a:lnTo>
                    <a:pt x="351" y="0"/>
                  </a:lnTo>
                  <a:lnTo>
                    <a:pt x="314" y="5"/>
                  </a:lnTo>
                  <a:lnTo>
                    <a:pt x="278" y="13"/>
                  </a:lnTo>
                  <a:lnTo>
                    <a:pt x="243" y="25"/>
                  </a:lnTo>
                  <a:lnTo>
                    <a:pt x="210" y="38"/>
                  </a:lnTo>
                  <a:lnTo>
                    <a:pt x="179" y="56"/>
                  </a:lnTo>
                  <a:lnTo>
                    <a:pt x="149" y="76"/>
                  </a:lnTo>
                  <a:lnTo>
                    <a:pt x="121" y="99"/>
                  </a:lnTo>
                  <a:lnTo>
                    <a:pt x="96" y="126"/>
                  </a:lnTo>
                  <a:lnTo>
                    <a:pt x="73" y="154"/>
                  </a:lnTo>
                  <a:lnTo>
                    <a:pt x="53" y="183"/>
                  </a:lnTo>
                  <a:lnTo>
                    <a:pt x="35" y="217"/>
                  </a:lnTo>
                  <a:lnTo>
                    <a:pt x="21" y="251"/>
                  </a:lnTo>
                  <a:lnTo>
                    <a:pt x="10" y="288"/>
                  </a:lnTo>
                  <a:lnTo>
                    <a:pt x="3" y="326"/>
                  </a:lnTo>
                  <a:lnTo>
                    <a:pt x="3" y="326"/>
                  </a:lnTo>
                  <a:lnTo>
                    <a:pt x="0" y="364"/>
                  </a:lnTo>
                  <a:lnTo>
                    <a:pt x="2" y="402"/>
                  </a:lnTo>
                  <a:lnTo>
                    <a:pt x="5" y="438"/>
                  </a:lnTo>
                  <a:lnTo>
                    <a:pt x="13" y="475"/>
                  </a:lnTo>
                  <a:lnTo>
                    <a:pt x="25" y="509"/>
                  </a:lnTo>
                  <a:lnTo>
                    <a:pt x="40" y="543"/>
                  </a:lnTo>
                  <a:lnTo>
                    <a:pt x="56" y="574"/>
                  </a:lnTo>
                  <a:lnTo>
                    <a:pt x="78" y="604"/>
                  </a:lnTo>
                  <a:lnTo>
                    <a:pt x="101" y="630"/>
                  </a:lnTo>
                  <a:lnTo>
                    <a:pt x="126" y="657"/>
                  </a:lnTo>
                  <a:lnTo>
                    <a:pt x="154" y="678"/>
                  </a:lnTo>
                  <a:lnTo>
                    <a:pt x="185" y="700"/>
                  </a:lnTo>
                  <a:lnTo>
                    <a:pt x="217" y="716"/>
                  </a:lnTo>
                  <a:lnTo>
                    <a:pt x="251" y="729"/>
                  </a:lnTo>
                  <a:lnTo>
                    <a:pt x="288" y="741"/>
                  </a:lnTo>
                  <a:lnTo>
                    <a:pt x="326" y="748"/>
                  </a:lnTo>
                  <a:lnTo>
                    <a:pt x="326" y="748"/>
                  </a:lnTo>
                  <a:lnTo>
                    <a:pt x="356" y="751"/>
                  </a:lnTo>
                  <a:lnTo>
                    <a:pt x="385" y="751"/>
                  </a:lnTo>
                  <a:lnTo>
                    <a:pt x="144" y="2091"/>
                  </a:lnTo>
                  <a:lnTo>
                    <a:pt x="984" y="3100"/>
                  </a:lnTo>
                  <a:lnTo>
                    <a:pt x="4091" y="3342"/>
                  </a:lnTo>
                  <a:lnTo>
                    <a:pt x="4201" y="2971"/>
                  </a:lnTo>
                  <a:lnTo>
                    <a:pt x="4201" y="2971"/>
                  </a:lnTo>
                  <a:lnTo>
                    <a:pt x="4217" y="2970"/>
                  </a:lnTo>
                  <a:lnTo>
                    <a:pt x="4235" y="2966"/>
                  </a:lnTo>
                  <a:lnTo>
                    <a:pt x="4252" y="2963"/>
                  </a:lnTo>
                  <a:lnTo>
                    <a:pt x="4267" y="2956"/>
                  </a:lnTo>
                  <a:lnTo>
                    <a:pt x="4282" y="2950"/>
                  </a:lnTo>
                  <a:lnTo>
                    <a:pt x="4297" y="2942"/>
                  </a:lnTo>
                  <a:lnTo>
                    <a:pt x="4311" y="2933"/>
                  </a:lnTo>
                  <a:lnTo>
                    <a:pt x="4325" y="2922"/>
                  </a:lnTo>
                  <a:lnTo>
                    <a:pt x="4336" y="2910"/>
                  </a:lnTo>
                  <a:lnTo>
                    <a:pt x="4346" y="2899"/>
                  </a:lnTo>
                  <a:lnTo>
                    <a:pt x="4356" y="2884"/>
                  </a:lnTo>
                  <a:lnTo>
                    <a:pt x="4366" y="2870"/>
                  </a:lnTo>
                  <a:lnTo>
                    <a:pt x="4373" y="2854"/>
                  </a:lnTo>
                  <a:lnTo>
                    <a:pt x="4379" y="2839"/>
                  </a:lnTo>
                  <a:lnTo>
                    <a:pt x="4384" y="2821"/>
                  </a:lnTo>
                  <a:lnTo>
                    <a:pt x="4388" y="2804"/>
                  </a:lnTo>
                  <a:lnTo>
                    <a:pt x="4388" y="2804"/>
                  </a:lnTo>
                  <a:close/>
                </a:path>
              </a:pathLst>
            </a:custGeom>
            <a:gradFill>
              <a:gsLst>
                <a:gs pos="0">
                  <a:schemeClr val="accent1">
                    <a:lumMod val="20000"/>
                    <a:lumOff val="80000"/>
                  </a:schemeClr>
                </a:gs>
                <a:gs pos="100000">
                  <a:schemeClr val="accent2">
                    <a:lumMod val="20000"/>
                    <a:lumOff val="8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126" name="Freeform 125"/>
            <p:cNvSpPr>
              <a:spLocks/>
            </p:cNvSpPr>
            <p:nvPr/>
          </p:nvSpPr>
          <p:spPr bwMode="auto">
            <a:xfrm>
              <a:off x="4090445" y="2996402"/>
              <a:ext cx="299350" cy="463556"/>
            </a:xfrm>
            <a:custGeom>
              <a:avLst/>
              <a:gdLst>
                <a:gd name="T0" fmla="*/ 187 w 206"/>
                <a:gd name="T1" fmla="*/ 203 h 319"/>
                <a:gd name="T2" fmla="*/ 187 w 206"/>
                <a:gd name="T3" fmla="*/ 203 h 319"/>
                <a:gd name="T4" fmla="*/ 163 w 206"/>
                <a:gd name="T5" fmla="*/ 153 h 319"/>
                <a:gd name="T6" fmla="*/ 135 w 206"/>
                <a:gd name="T7" fmla="*/ 105 h 319"/>
                <a:gd name="T8" fmla="*/ 135 w 206"/>
                <a:gd name="T9" fmla="*/ 105 h 319"/>
                <a:gd name="T10" fmla="*/ 120 w 206"/>
                <a:gd name="T11" fmla="*/ 79 h 319"/>
                <a:gd name="T12" fmla="*/ 106 w 206"/>
                <a:gd name="T13" fmla="*/ 54 h 319"/>
                <a:gd name="T14" fmla="*/ 100 w 206"/>
                <a:gd name="T15" fmla="*/ 41 h 319"/>
                <a:gd name="T16" fmla="*/ 95 w 206"/>
                <a:gd name="T17" fmla="*/ 28 h 319"/>
                <a:gd name="T18" fmla="*/ 91 w 206"/>
                <a:gd name="T19" fmla="*/ 13 h 319"/>
                <a:gd name="T20" fmla="*/ 88 w 206"/>
                <a:gd name="T21" fmla="*/ 0 h 319"/>
                <a:gd name="T22" fmla="*/ 7 w 206"/>
                <a:gd name="T23" fmla="*/ 66 h 319"/>
                <a:gd name="T24" fmla="*/ 7 w 206"/>
                <a:gd name="T25" fmla="*/ 66 h 319"/>
                <a:gd name="T26" fmla="*/ 5 w 206"/>
                <a:gd name="T27" fmla="*/ 69 h 319"/>
                <a:gd name="T28" fmla="*/ 5 w 206"/>
                <a:gd name="T29" fmla="*/ 69 h 319"/>
                <a:gd name="T30" fmla="*/ 2 w 206"/>
                <a:gd name="T31" fmla="*/ 74 h 319"/>
                <a:gd name="T32" fmla="*/ 0 w 206"/>
                <a:gd name="T33" fmla="*/ 81 h 319"/>
                <a:gd name="T34" fmla="*/ 2 w 206"/>
                <a:gd name="T35" fmla="*/ 89 h 319"/>
                <a:gd name="T36" fmla="*/ 5 w 206"/>
                <a:gd name="T37" fmla="*/ 99 h 319"/>
                <a:gd name="T38" fmla="*/ 10 w 206"/>
                <a:gd name="T39" fmla="*/ 110 h 319"/>
                <a:gd name="T40" fmla="*/ 17 w 206"/>
                <a:gd name="T41" fmla="*/ 124 h 319"/>
                <a:gd name="T42" fmla="*/ 35 w 206"/>
                <a:gd name="T43" fmla="*/ 152 h 319"/>
                <a:gd name="T44" fmla="*/ 60 w 206"/>
                <a:gd name="T45" fmla="*/ 183 h 319"/>
                <a:gd name="T46" fmla="*/ 91 w 206"/>
                <a:gd name="T47" fmla="*/ 218 h 319"/>
                <a:gd name="T48" fmla="*/ 126 w 206"/>
                <a:gd name="T49" fmla="*/ 254 h 319"/>
                <a:gd name="T50" fmla="*/ 164 w 206"/>
                <a:gd name="T51" fmla="*/ 292 h 319"/>
                <a:gd name="T52" fmla="*/ 164 w 206"/>
                <a:gd name="T53" fmla="*/ 292 h 319"/>
                <a:gd name="T54" fmla="*/ 196 w 206"/>
                <a:gd name="T55" fmla="*/ 319 h 319"/>
                <a:gd name="T56" fmla="*/ 196 w 206"/>
                <a:gd name="T57" fmla="*/ 319 h 319"/>
                <a:gd name="T58" fmla="*/ 202 w 206"/>
                <a:gd name="T59" fmla="*/ 301 h 319"/>
                <a:gd name="T60" fmla="*/ 204 w 206"/>
                <a:gd name="T61" fmla="*/ 291 h 319"/>
                <a:gd name="T62" fmla="*/ 206 w 206"/>
                <a:gd name="T63" fmla="*/ 281 h 319"/>
                <a:gd name="T64" fmla="*/ 206 w 206"/>
                <a:gd name="T65" fmla="*/ 281 h 319"/>
                <a:gd name="T66" fmla="*/ 206 w 206"/>
                <a:gd name="T67" fmla="*/ 271 h 319"/>
                <a:gd name="T68" fmla="*/ 206 w 206"/>
                <a:gd name="T69" fmla="*/ 261 h 319"/>
                <a:gd name="T70" fmla="*/ 201 w 206"/>
                <a:gd name="T71" fmla="*/ 241 h 319"/>
                <a:gd name="T72" fmla="*/ 196 w 206"/>
                <a:gd name="T73" fmla="*/ 223 h 319"/>
                <a:gd name="T74" fmla="*/ 187 w 206"/>
                <a:gd name="T75" fmla="*/ 203 h 319"/>
                <a:gd name="T76" fmla="*/ 187 w 206"/>
                <a:gd name="T77" fmla="*/ 203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6" h="319">
                  <a:moveTo>
                    <a:pt x="187" y="203"/>
                  </a:moveTo>
                  <a:lnTo>
                    <a:pt x="187" y="203"/>
                  </a:lnTo>
                  <a:lnTo>
                    <a:pt x="163" y="153"/>
                  </a:lnTo>
                  <a:lnTo>
                    <a:pt x="135" y="105"/>
                  </a:lnTo>
                  <a:lnTo>
                    <a:pt x="135" y="105"/>
                  </a:lnTo>
                  <a:lnTo>
                    <a:pt x="120" y="79"/>
                  </a:lnTo>
                  <a:lnTo>
                    <a:pt x="106" y="54"/>
                  </a:lnTo>
                  <a:lnTo>
                    <a:pt x="100" y="41"/>
                  </a:lnTo>
                  <a:lnTo>
                    <a:pt x="95" y="28"/>
                  </a:lnTo>
                  <a:lnTo>
                    <a:pt x="91" y="13"/>
                  </a:lnTo>
                  <a:lnTo>
                    <a:pt x="88" y="0"/>
                  </a:lnTo>
                  <a:lnTo>
                    <a:pt x="7" y="66"/>
                  </a:lnTo>
                  <a:lnTo>
                    <a:pt x="7" y="66"/>
                  </a:lnTo>
                  <a:lnTo>
                    <a:pt x="5" y="69"/>
                  </a:lnTo>
                  <a:lnTo>
                    <a:pt x="5" y="69"/>
                  </a:lnTo>
                  <a:lnTo>
                    <a:pt x="2" y="74"/>
                  </a:lnTo>
                  <a:lnTo>
                    <a:pt x="0" y="81"/>
                  </a:lnTo>
                  <a:lnTo>
                    <a:pt x="2" y="89"/>
                  </a:lnTo>
                  <a:lnTo>
                    <a:pt x="5" y="99"/>
                  </a:lnTo>
                  <a:lnTo>
                    <a:pt x="10" y="110"/>
                  </a:lnTo>
                  <a:lnTo>
                    <a:pt x="17" y="124"/>
                  </a:lnTo>
                  <a:lnTo>
                    <a:pt x="35" y="152"/>
                  </a:lnTo>
                  <a:lnTo>
                    <a:pt x="60" y="183"/>
                  </a:lnTo>
                  <a:lnTo>
                    <a:pt x="91" y="218"/>
                  </a:lnTo>
                  <a:lnTo>
                    <a:pt x="126" y="254"/>
                  </a:lnTo>
                  <a:lnTo>
                    <a:pt x="164" y="292"/>
                  </a:lnTo>
                  <a:lnTo>
                    <a:pt x="164" y="292"/>
                  </a:lnTo>
                  <a:lnTo>
                    <a:pt x="196" y="319"/>
                  </a:lnTo>
                  <a:lnTo>
                    <a:pt x="196" y="319"/>
                  </a:lnTo>
                  <a:lnTo>
                    <a:pt x="202" y="301"/>
                  </a:lnTo>
                  <a:lnTo>
                    <a:pt x="204" y="291"/>
                  </a:lnTo>
                  <a:lnTo>
                    <a:pt x="206" y="281"/>
                  </a:lnTo>
                  <a:lnTo>
                    <a:pt x="206" y="281"/>
                  </a:lnTo>
                  <a:lnTo>
                    <a:pt x="206" y="271"/>
                  </a:lnTo>
                  <a:lnTo>
                    <a:pt x="206" y="261"/>
                  </a:lnTo>
                  <a:lnTo>
                    <a:pt x="201" y="241"/>
                  </a:lnTo>
                  <a:lnTo>
                    <a:pt x="196" y="223"/>
                  </a:lnTo>
                  <a:lnTo>
                    <a:pt x="187" y="203"/>
                  </a:lnTo>
                  <a:lnTo>
                    <a:pt x="187" y="203"/>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126"/>
            <p:cNvSpPr>
              <a:spLocks/>
            </p:cNvSpPr>
            <p:nvPr/>
          </p:nvSpPr>
          <p:spPr bwMode="auto">
            <a:xfrm>
              <a:off x="4218323" y="2711584"/>
              <a:ext cx="796328" cy="916940"/>
            </a:xfrm>
            <a:custGeom>
              <a:avLst/>
              <a:gdLst>
                <a:gd name="T0" fmla="*/ 315 w 548"/>
                <a:gd name="T1" fmla="*/ 627 h 631"/>
                <a:gd name="T2" fmla="*/ 315 w 548"/>
                <a:gd name="T3" fmla="*/ 627 h 631"/>
                <a:gd name="T4" fmla="*/ 316 w 548"/>
                <a:gd name="T5" fmla="*/ 624 h 631"/>
                <a:gd name="T6" fmla="*/ 548 w 548"/>
                <a:gd name="T7" fmla="*/ 283 h 631"/>
                <a:gd name="T8" fmla="*/ 237 w 548"/>
                <a:gd name="T9" fmla="*/ 0 h 631"/>
                <a:gd name="T10" fmla="*/ 0 w 548"/>
                <a:gd name="T11" fmla="*/ 196 h 631"/>
                <a:gd name="T12" fmla="*/ 0 w 548"/>
                <a:gd name="T13" fmla="*/ 196 h 631"/>
                <a:gd name="T14" fmla="*/ 3 w 548"/>
                <a:gd name="T15" fmla="*/ 209 h 631"/>
                <a:gd name="T16" fmla="*/ 7 w 548"/>
                <a:gd name="T17" fmla="*/ 224 h 631"/>
                <a:gd name="T18" fmla="*/ 12 w 548"/>
                <a:gd name="T19" fmla="*/ 237 h 631"/>
                <a:gd name="T20" fmla="*/ 18 w 548"/>
                <a:gd name="T21" fmla="*/ 250 h 631"/>
                <a:gd name="T22" fmla="*/ 32 w 548"/>
                <a:gd name="T23" fmla="*/ 275 h 631"/>
                <a:gd name="T24" fmla="*/ 47 w 548"/>
                <a:gd name="T25" fmla="*/ 301 h 631"/>
                <a:gd name="T26" fmla="*/ 47 w 548"/>
                <a:gd name="T27" fmla="*/ 301 h 631"/>
                <a:gd name="T28" fmla="*/ 75 w 548"/>
                <a:gd name="T29" fmla="*/ 349 h 631"/>
                <a:gd name="T30" fmla="*/ 99 w 548"/>
                <a:gd name="T31" fmla="*/ 399 h 631"/>
                <a:gd name="T32" fmla="*/ 99 w 548"/>
                <a:gd name="T33" fmla="*/ 399 h 631"/>
                <a:gd name="T34" fmla="*/ 108 w 548"/>
                <a:gd name="T35" fmla="*/ 419 h 631"/>
                <a:gd name="T36" fmla="*/ 113 w 548"/>
                <a:gd name="T37" fmla="*/ 437 h 631"/>
                <a:gd name="T38" fmla="*/ 118 w 548"/>
                <a:gd name="T39" fmla="*/ 457 h 631"/>
                <a:gd name="T40" fmla="*/ 118 w 548"/>
                <a:gd name="T41" fmla="*/ 467 h 631"/>
                <a:gd name="T42" fmla="*/ 118 w 548"/>
                <a:gd name="T43" fmla="*/ 477 h 631"/>
                <a:gd name="T44" fmla="*/ 118 w 548"/>
                <a:gd name="T45" fmla="*/ 477 h 631"/>
                <a:gd name="T46" fmla="*/ 116 w 548"/>
                <a:gd name="T47" fmla="*/ 487 h 631"/>
                <a:gd name="T48" fmla="*/ 114 w 548"/>
                <a:gd name="T49" fmla="*/ 497 h 631"/>
                <a:gd name="T50" fmla="*/ 108 w 548"/>
                <a:gd name="T51" fmla="*/ 515 h 631"/>
                <a:gd name="T52" fmla="*/ 108 w 548"/>
                <a:gd name="T53" fmla="*/ 515 h 631"/>
                <a:gd name="T54" fmla="*/ 144 w 548"/>
                <a:gd name="T55" fmla="*/ 545 h 631"/>
                <a:gd name="T56" fmla="*/ 179 w 548"/>
                <a:gd name="T57" fmla="*/ 571 h 631"/>
                <a:gd name="T58" fmla="*/ 212 w 548"/>
                <a:gd name="T59" fmla="*/ 593 h 631"/>
                <a:gd name="T60" fmla="*/ 240 w 548"/>
                <a:gd name="T61" fmla="*/ 611 h 631"/>
                <a:gd name="T62" fmla="*/ 267 w 548"/>
                <a:gd name="T63" fmla="*/ 622 h 631"/>
                <a:gd name="T64" fmla="*/ 288 w 548"/>
                <a:gd name="T65" fmla="*/ 631 h 631"/>
                <a:gd name="T66" fmla="*/ 296 w 548"/>
                <a:gd name="T67" fmla="*/ 631 h 631"/>
                <a:gd name="T68" fmla="*/ 305 w 548"/>
                <a:gd name="T69" fmla="*/ 631 h 631"/>
                <a:gd name="T70" fmla="*/ 311 w 548"/>
                <a:gd name="T71" fmla="*/ 629 h 631"/>
                <a:gd name="T72" fmla="*/ 315 w 548"/>
                <a:gd name="T73" fmla="*/ 627 h 631"/>
                <a:gd name="T74" fmla="*/ 315 w 548"/>
                <a:gd name="T75" fmla="*/ 627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8" h="631">
                  <a:moveTo>
                    <a:pt x="315" y="627"/>
                  </a:moveTo>
                  <a:lnTo>
                    <a:pt x="315" y="627"/>
                  </a:lnTo>
                  <a:lnTo>
                    <a:pt x="316" y="624"/>
                  </a:lnTo>
                  <a:lnTo>
                    <a:pt x="548" y="283"/>
                  </a:lnTo>
                  <a:lnTo>
                    <a:pt x="237" y="0"/>
                  </a:lnTo>
                  <a:lnTo>
                    <a:pt x="0" y="196"/>
                  </a:lnTo>
                  <a:lnTo>
                    <a:pt x="0" y="196"/>
                  </a:lnTo>
                  <a:lnTo>
                    <a:pt x="3" y="209"/>
                  </a:lnTo>
                  <a:lnTo>
                    <a:pt x="7" y="224"/>
                  </a:lnTo>
                  <a:lnTo>
                    <a:pt x="12" y="237"/>
                  </a:lnTo>
                  <a:lnTo>
                    <a:pt x="18" y="250"/>
                  </a:lnTo>
                  <a:lnTo>
                    <a:pt x="32" y="275"/>
                  </a:lnTo>
                  <a:lnTo>
                    <a:pt x="47" y="301"/>
                  </a:lnTo>
                  <a:lnTo>
                    <a:pt x="47" y="301"/>
                  </a:lnTo>
                  <a:lnTo>
                    <a:pt x="75" y="349"/>
                  </a:lnTo>
                  <a:lnTo>
                    <a:pt x="99" y="399"/>
                  </a:lnTo>
                  <a:lnTo>
                    <a:pt x="99" y="399"/>
                  </a:lnTo>
                  <a:lnTo>
                    <a:pt x="108" y="419"/>
                  </a:lnTo>
                  <a:lnTo>
                    <a:pt x="113" y="437"/>
                  </a:lnTo>
                  <a:lnTo>
                    <a:pt x="118" y="457"/>
                  </a:lnTo>
                  <a:lnTo>
                    <a:pt x="118" y="467"/>
                  </a:lnTo>
                  <a:lnTo>
                    <a:pt x="118" y="477"/>
                  </a:lnTo>
                  <a:lnTo>
                    <a:pt x="118" y="477"/>
                  </a:lnTo>
                  <a:lnTo>
                    <a:pt x="116" y="487"/>
                  </a:lnTo>
                  <a:lnTo>
                    <a:pt x="114" y="497"/>
                  </a:lnTo>
                  <a:lnTo>
                    <a:pt x="108" y="515"/>
                  </a:lnTo>
                  <a:lnTo>
                    <a:pt x="108" y="515"/>
                  </a:lnTo>
                  <a:lnTo>
                    <a:pt x="144" y="545"/>
                  </a:lnTo>
                  <a:lnTo>
                    <a:pt x="179" y="571"/>
                  </a:lnTo>
                  <a:lnTo>
                    <a:pt x="212" y="593"/>
                  </a:lnTo>
                  <a:lnTo>
                    <a:pt x="240" y="611"/>
                  </a:lnTo>
                  <a:lnTo>
                    <a:pt x="267" y="622"/>
                  </a:lnTo>
                  <a:lnTo>
                    <a:pt x="288" y="631"/>
                  </a:lnTo>
                  <a:lnTo>
                    <a:pt x="296" y="631"/>
                  </a:lnTo>
                  <a:lnTo>
                    <a:pt x="305" y="631"/>
                  </a:lnTo>
                  <a:lnTo>
                    <a:pt x="311" y="629"/>
                  </a:lnTo>
                  <a:lnTo>
                    <a:pt x="315" y="627"/>
                  </a:lnTo>
                  <a:lnTo>
                    <a:pt x="315" y="627"/>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8" name="Freeform 127"/>
            <p:cNvSpPr>
              <a:spLocks/>
            </p:cNvSpPr>
            <p:nvPr/>
          </p:nvSpPr>
          <p:spPr bwMode="auto">
            <a:xfrm>
              <a:off x="3545513" y="1752503"/>
              <a:ext cx="1740878" cy="1188680"/>
            </a:xfrm>
            <a:custGeom>
              <a:avLst/>
              <a:gdLst>
                <a:gd name="T0" fmla="*/ 998 w 1198"/>
                <a:gd name="T1" fmla="*/ 0 h 818"/>
                <a:gd name="T2" fmla="*/ 998 w 1198"/>
                <a:gd name="T3" fmla="*/ 0 h 818"/>
                <a:gd name="T4" fmla="*/ 945 w 1198"/>
                <a:gd name="T5" fmla="*/ 65 h 818"/>
                <a:gd name="T6" fmla="*/ 890 w 1198"/>
                <a:gd name="T7" fmla="*/ 128 h 818"/>
                <a:gd name="T8" fmla="*/ 835 w 1198"/>
                <a:gd name="T9" fmla="*/ 190 h 818"/>
                <a:gd name="T10" fmla="*/ 779 w 1198"/>
                <a:gd name="T11" fmla="*/ 250 h 818"/>
                <a:gd name="T12" fmla="*/ 720 w 1198"/>
                <a:gd name="T13" fmla="*/ 310 h 818"/>
                <a:gd name="T14" fmla="*/ 658 w 1198"/>
                <a:gd name="T15" fmla="*/ 364 h 818"/>
                <a:gd name="T16" fmla="*/ 627 w 1198"/>
                <a:gd name="T17" fmla="*/ 392 h 818"/>
                <a:gd name="T18" fmla="*/ 596 w 1198"/>
                <a:gd name="T19" fmla="*/ 417 h 818"/>
                <a:gd name="T20" fmla="*/ 562 w 1198"/>
                <a:gd name="T21" fmla="*/ 444 h 818"/>
                <a:gd name="T22" fmla="*/ 529 w 1198"/>
                <a:gd name="T23" fmla="*/ 468 h 818"/>
                <a:gd name="T24" fmla="*/ 529 w 1198"/>
                <a:gd name="T25" fmla="*/ 468 h 818"/>
                <a:gd name="T26" fmla="*/ 475 w 1198"/>
                <a:gd name="T27" fmla="*/ 505 h 818"/>
                <a:gd name="T28" fmla="*/ 447 w 1198"/>
                <a:gd name="T29" fmla="*/ 521 h 818"/>
                <a:gd name="T30" fmla="*/ 417 w 1198"/>
                <a:gd name="T31" fmla="*/ 538 h 818"/>
                <a:gd name="T32" fmla="*/ 387 w 1198"/>
                <a:gd name="T33" fmla="*/ 553 h 818"/>
                <a:gd name="T34" fmla="*/ 357 w 1198"/>
                <a:gd name="T35" fmla="*/ 568 h 818"/>
                <a:gd name="T36" fmla="*/ 328 w 1198"/>
                <a:gd name="T37" fmla="*/ 579 h 818"/>
                <a:gd name="T38" fmla="*/ 296 w 1198"/>
                <a:gd name="T39" fmla="*/ 589 h 818"/>
                <a:gd name="T40" fmla="*/ 296 w 1198"/>
                <a:gd name="T41" fmla="*/ 589 h 818"/>
                <a:gd name="T42" fmla="*/ 273 w 1198"/>
                <a:gd name="T43" fmla="*/ 596 h 818"/>
                <a:gd name="T44" fmla="*/ 251 w 1198"/>
                <a:gd name="T45" fmla="*/ 601 h 818"/>
                <a:gd name="T46" fmla="*/ 228 w 1198"/>
                <a:gd name="T47" fmla="*/ 606 h 818"/>
                <a:gd name="T48" fmla="*/ 205 w 1198"/>
                <a:gd name="T49" fmla="*/ 609 h 818"/>
                <a:gd name="T50" fmla="*/ 182 w 1198"/>
                <a:gd name="T51" fmla="*/ 611 h 818"/>
                <a:gd name="T52" fmla="*/ 159 w 1198"/>
                <a:gd name="T53" fmla="*/ 611 h 818"/>
                <a:gd name="T54" fmla="*/ 136 w 1198"/>
                <a:gd name="T55" fmla="*/ 611 h 818"/>
                <a:gd name="T56" fmla="*/ 112 w 1198"/>
                <a:gd name="T57" fmla="*/ 609 h 818"/>
                <a:gd name="T58" fmla="*/ 0 w 1198"/>
                <a:gd name="T59" fmla="*/ 741 h 818"/>
                <a:gd name="T60" fmla="*/ 0 w 1198"/>
                <a:gd name="T61" fmla="*/ 741 h 818"/>
                <a:gd name="T62" fmla="*/ 0 w 1198"/>
                <a:gd name="T63" fmla="*/ 741 h 818"/>
                <a:gd name="T64" fmla="*/ 18 w 1198"/>
                <a:gd name="T65" fmla="*/ 756 h 818"/>
                <a:gd name="T66" fmla="*/ 36 w 1198"/>
                <a:gd name="T67" fmla="*/ 770 h 818"/>
                <a:gd name="T68" fmla="*/ 56 w 1198"/>
                <a:gd name="T69" fmla="*/ 781 h 818"/>
                <a:gd name="T70" fmla="*/ 76 w 1198"/>
                <a:gd name="T71" fmla="*/ 791 h 818"/>
                <a:gd name="T72" fmla="*/ 98 w 1198"/>
                <a:gd name="T73" fmla="*/ 801 h 818"/>
                <a:gd name="T74" fmla="*/ 119 w 1198"/>
                <a:gd name="T75" fmla="*/ 808 h 818"/>
                <a:gd name="T76" fmla="*/ 139 w 1198"/>
                <a:gd name="T77" fmla="*/ 813 h 818"/>
                <a:gd name="T78" fmla="*/ 160 w 1198"/>
                <a:gd name="T79" fmla="*/ 816 h 818"/>
                <a:gd name="T80" fmla="*/ 182 w 1198"/>
                <a:gd name="T81" fmla="*/ 818 h 818"/>
                <a:gd name="T82" fmla="*/ 203 w 1198"/>
                <a:gd name="T83" fmla="*/ 816 h 818"/>
                <a:gd name="T84" fmla="*/ 225 w 1198"/>
                <a:gd name="T85" fmla="*/ 814 h 818"/>
                <a:gd name="T86" fmla="*/ 246 w 1198"/>
                <a:gd name="T87" fmla="*/ 811 h 818"/>
                <a:gd name="T88" fmla="*/ 266 w 1198"/>
                <a:gd name="T89" fmla="*/ 804 h 818"/>
                <a:gd name="T90" fmla="*/ 286 w 1198"/>
                <a:gd name="T91" fmla="*/ 798 h 818"/>
                <a:gd name="T92" fmla="*/ 304 w 1198"/>
                <a:gd name="T93" fmla="*/ 788 h 818"/>
                <a:gd name="T94" fmla="*/ 324 w 1198"/>
                <a:gd name="T95" fmla="*/ 776 h 818"/>
                <a:gd name="T96" fmla="*/ 1198 w 1198"/>
                <a:gd name="T97" fmla="*/ 184 h 818"/>
                <a:gd name="T98" fmla="*/ 998 w 1198"/>
                <a:gd name="T99" fmla="*/ 0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98" h="818">
                  <a:moveTo>
                    <a:pt x="998" y="0"/>
                  </a:moveTo>
                  <a:lnTo>
                    <a:pt x="998" y="0"/>
                  </a:lnTo>
                  <a:lnTo>
                    <a:pt x="945" y="65"/>
                  </a:lnTo>
                  <a:lnTo>
                    <a:pt x="890" y="128"/>
                  </a:lnTo>
                  <a:lnTo>
                    <a:pt x="835" y="190"/>
                  </a:lnTo>
                  <a:lnTo>
                    <a:pt x="779" y="250"/>
                  </a:lnTo>
                  <a:lnTo>
                    <a:pt x="720" y="310"/>
                  </a:lnTo>
                  <a:lnTo>
                    <a:pt x="658" y="364"/>
                  </a:lnTo>
                  <a:lnTo>
                    <a:pt x="627" y="392"/>
                  </a:lnTo>
                  <a:lnTo>
                    <a:pt x="596" y="417"/>
                  </a:lnTo>
                  <a:lnTo>
                    <a:pt x="562" y="444"/>
                  </a:lnTo>
                  <a:lnTo>
                    <a:pt x="529" y="468"/>
                  </a:lnTo>
                  <a:lnTo>
                    <a:pt x="529" y="468"/>
                  </a:lnTo>
                  <a:lnTo>
                    <a:pt x="475" y="505"/>
                  </a:lnTo>
                  <a:lnTo>
                    <a:pt x="447" y="521"/>
                  </a:lnTo>
                  <a:lnTo>
                    <a:pt x="417" y="538"/>
                  </a:lnTo>
                  <a:lnTo>
                    <a:pt x="387" y="553"/>
                  </a:lnTo>
                  <a:lnTo>
                    <a:pt x="357" y="568"/>
                  </a:lnTo>
                  <a:lnTo>
                    <a:pt x="328" y="579"/>
                  </a:lnTo>
                  <a:lnTo>
                    <a:pt x="296" y="589"/>
                  </a:lnTo>
                  <a:lnTo>
                    <a:pt x="296" y="589"/>
                  </a:lnTo>
                  <a:lnTo>
                    <a:pt x="273" y="596"/>
                  </a:lnTo>
                  <a:lnTo>
                    <a:pt x="251" y="601"/>
                  </a:lnTo>
                  <a:lnTo>
                    <a:pt x="228" y="606"/>
                  </a:lnTo>
                  <a:lnTo>
                    <a:pt x="205" y="609"/>
                  </a:lnTo>
                  <a:lnTo>
                    <a:pt x="182" y="611"/>
                  </a:lnTo>
                  <a:lnTo>
                    <a:pt x="159" y="611"/>
                  </a:lnTo>
                  <a:lnTo>
                    <a:pt x="136" y="611"/>
                  </a:lnTo>
                  <a:lnTo>
                    <a:pt x="112" y="609"/>
                  </a:lnTo>
                  <a:lnTo>
                    <a:pt x="0" y="741"/>
                  </a:lnTo>
                  <a:lnTo>
                    <a:pt x="0" y="741"/>
                  </a:lnTo>
                  <a:lnTo>
                    <a:pt x="0" y="741"/>
                  </a:lnTo>
                  <a:lnTo>
                    <a:pt x="18" y="756"/>
                  </a:lnTo>
                  <a:lnTo>
                    <a:pt x="36" y="770"/>
                  </a:lnTo>
                  <a:lnTo>
                    <a:pt x="56" y="781"/>
                  </a:lnTo>
                  <a:lnTo>
                    <a:pt x="76" y="791"/>
                  </a:lnTo>
                  <a:lnTo>
                    <a:pt x="98" y="801"/>
                  </a:lnTo>
                  <a:lnTo>
                    <a:pt x="119" y="808"/>
                  </a:lnTo>
                  <a:lnTo>
                    <a:pt x="139" y="813"/>
                  </a:lnTo>
                  <a:lnTo>
                    <a:pt x="160" y="816"/>
                  </a:lnTo>
                  <a:lnTo>
                    <a:pt x="182" y="818"/>
                  </a:lnTo>
                  <a:lnTo>
                    <a:pt x="203" y="816"/>
                  </a:lnTo>
                  <a:lnTo>
                    <a:pt x="225" y="814"/>
                  </a:lnTo>
                  <a:lnTo>
                    <a:pt x="246" y="811"/>
                  </a:lnTo>
                  <a:lnTo>
                    <a:pt x="266" y="804"/>
                  </a:lnTo>
                  <a:lnTo>
                    <a:pt x="286" y="798"/>
                  </a:lnTo>
                  <a:lnTo>
                    <a:pt x="304" y="788"/>
                  </a:lnTo>
                  <a:lnTo>
                    <a:pt x="324" y="776"/>
                  </a:lnTo>
                  <a:lnTo>
                    <a:pt x="1198" y="184"/>
                  </a:lnTo>
                  <a:lnTo>
                    <a:pt x="998" y="0"/>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Freeform 128"/>
            <p:cNvSpPr>
              <a:spLocks/>
            </p:cNvSpPr>
            <p:nvPr/>
          </p:nvSpPr>
          <p:spPr bwMode="auto">
            <a:xfrm>
              <a:off x="3545513" y="1752503"/>
              <a:ext cx="1740878" cy="1188680"/>
            </a:xfrm>
            <a:custGeom>
              <a:avLst/>
              <a:gdLst>
                <a:gd name="T0" fmla="*/ 998 w 1198"/>
                <a:gd name="T1" fmla="*/ 0 h 818"/>
                <a:gd name="T2" fmla="*/ 998 w 1198"/>
                <a:gd name="T3" fmla="*/ 0 h 818"/>
                <a:gd name="T4" fmla="*/ 945 w 1198"/>
                <a:gd name="T5" fmla="*/ 65 h 818"/>
                <a:gd name="T6" fmla="*/ 890 w 1198"/>
                <a:gd name="T7" fmla="*/ 128 h 818"/>
                <a:gd name="T8" fmla="*/ 835 w 1198"/>
                <a:gd name="T9" fmla="*/ 190 h 818"/>
                <a:gd name="T10" fmla="*/ 779 w 1198"/>
                <a:gd name="T11" fmla="*/ 250 h 818"/>
                <a:gd name="T12" fmla="*/ 720 w 1198"/>
                <a:gd name="T13" fmla="*/ 310 h 818"/>
                <a:gd name="T14" fmla="*/ 658 w 1198"/>
                <a:gd name="T15" fmla="*/ 364 h 818"/>
                <a:gd name="T16" fmla="*/ 627 w 1198"/>
                <a:gd name="T17" fmla="*/ 392 h 818"/>
                <a:gd name="T18" fmla="*/ 596 w 1198"/>
                <a:gd name="T19" fmla="*/ 417 h 818"/>
                <a:gd name="T20" fmla="*/ 562 w 1198"/>
                <a:gd name="T21" fmla="*/ 444 h 818"/>
                <a:gd name="T22" fmla="*/ 529 w 1198"/>
                <a:gd name="T23" fmla="*/ 468 h 818"/>
                <a:gd name="T24" fmla="*/ 529 w 1198"/>
                <a:gd name="T25" fmla="*/ 468 h 818"/>
                <a:gd name="T26" fmla="*/ 475 w 1198"/>
                <a:gd name="T27" fmla="*/ 505 h 818"/>
                <a:gd name="T28" fmla="*/ 447 w 1198"/>
                <a:gd name="T29" fmla="*/ 521 h 818"/>
                <a:gd name="T30" fmla="*/ 417 w 1198"/>
                <a:gd name="T31" fmla="*/ 538 h 818"/>
                <a:gd name="T32" fmla="*/ 387 w 1198"/>
                <a:gd name="T33" fmla="*/ 553 h 818"/>
                <a:gd name="T34" fmla="*/ 357 w 1198"/>
                <a:gd name="T35" fmla="*/ 568 h 818"/>
                <a:gd name="T36" fmla="*/ 328 w 1198"/>
                <a:gd name="T37" fmla="*/ 579 h 818"/>
                <a:gd name="T38" fmla="*/ 296 w 1198"/>
                <a:gd name="T39" fmla="*/ 589 h 818"/>
                <a:gd name="T40" fmla="*/ 296 w 1198"/>
                <a:gd name="T41" fmla="*/ 589 h 818"/>
                <a:gd name="T42" fmla="*/ 273 w 1198"/>
                <a:gd name="T43" fmla="*/ 596 h 818"/>
                <a:gd name="T44" fmla="*/ 251 w 1198"/>
                <a:gd name="T45" fmla="*/ 601 h 818"/>
                <a:gd name="T46" fmla="*/ 228 w 1198"/>
                <a:gd name="T47" fmla="*/ 606 h 818"/>
                <a:gd name="T48" fmla="*/ 205 w 1198"/>
                <a:gd name="T49" fmla="*/ 609 h 818"/>
                <a:gd name="T50" fmla="*/ 182 w 1198"/>
                <a:gd name="T51" fmla="*/ 611 h 818"/>
                <a:gd name="T52" fmla="*/ 159 w 1198"/>
                <a:gd name="T53" fmla="*/ 611 h 818"/>
                <a:gd name="T54" fmla="*/ 136 w 1198"/>
                <a:gd name="T55" fmla="*/ 611 h 818"/>
                <a:gd name="T56" fmla="*/ 112 w 1198"/>
                <a:gd name="T57" fmla="*/ 609 h 818"/>
                <a:gd name="T58" fmla="*/ 0 w 1198"/>
                <a:gd name="T59" fmla="*/ 741 h 818"/>
                <a:gd name="T60" fmla="*/ 0 w 1198"/>
                <a:gd name="T61" fmla="*/ 741 h 818"/>
                <a:gd name="T62" fmla="*/ 0 w 1198"/>
                <a:gd name="T63" fmla="*/ 741 h 818"/>
                <a:gd name="T64" fmla="*/ 18 w 1198"/>
                <a:gd name="T65" fmla="*/ 756 h 818"/>
                <a:gd name="T66" fmla="*/ 36 w 1198"/>
                <a:gd name="T67" fmla="*/ 770 h 818"/>
                <a:gd name="T68" fmla="*/ 56 w 1198"/>
                <a:gd name="T69" fmla="*/ 781 h 818"/>
                <a:gd name="T70" fmla="*/ 76 w 1198"/>
                <a:gd name="T71" fmla="*/ 791 h 818"/>
                <a:gd name="T72" fmla="*/ 98 w 1198"/>
                <a:gd name="T73" fmla="*/ 801 h 818"/>
                <a:gd name="T74" fmla="*/ 119 w 1198"/>
                <a:gd name="T75" fmla="*/ 808 h 818"/>
                <a:gd name="T76" fmla="*/ 139 w 1198"/>
                <a:gd name="T77" fmla="*/ 813 h 818"/>
                <a:gd name="T78" fmla="*/ 160 w 1198"/>
                <a:gd name="T79" fmla="*/ 816 h 818"/>
                <a:gd name="T80" fmla="*/ 182 w 1198"/>
                <a:gd name="T81" fmla="*/ 818 h 818"/>
                <a:gd name="T82" fmla="*/ 203 w 1198"/>
                <a:gd name="T83" fmla="*/ 816 h 818"/>
                <a:gd name="T84" fmla="*/ 225 w 1198"/>
                <a:gd name="T85" fmla="*/ 814 h 818"/>
                <a:gd name="T86" fmla="*/ 246 w 1198"/>
                <a:gd name="T87" fmla="*/ 811 h 818"/>
                <a:gd name="T88" fmla="*/ 266 w 1198"/>
                <a:gd name="T89" fmla="*/ 804 h 818"/>
                <a:gd name="T90" fmla="*/ 286 w 1198"/>
                <a:gd name="T91" fmla="*/ 798 h 818"/>
                <a:gd name="T92" fmla="*/ 304 w 1198"/>
                <a:gd name="T93" fmla="*/ 788 h 818"/>
                <a:gd name="T94" fmla="*/ 324 w 1198"/>
                <a:gd name="T95" fmla="*/ 776 h 818"/>
                <a:gd name="T96" fmla="*/ 1198 w 1198"/>
                <a:gd name="T97" fmla="*/ 184 h 818"/>
                <a:gd name="T98" fmla="*/ 998 w 1198"/>
                <a:gd name="T99" fmla="*/ 0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98" h="818">
                  <a:moveTo>
                    <a:pt x="998" y="0"/>
                  </a:moveTo>
                  <a:lnTo>
                    <a:pt x="998" y="0"/>
                  </a:lnTo>
                  <a:lnTo>
                    <a:pt x="945" y="65"/>
                  </a:lnTo>
                  <a:lnTo>
                    <a:pt x="890" y="128"/>
                  </a:lnTo>
                  <a:lnTo>
                    <a:pt x="835" y="190"/>
                  </a:lnTo>
                  <a:lnTo>
                    <a:pt x="779" y="250"/>
                  </a:lnTo>
                  <a:lnTo>
                    <a:pt x="720" y="310"/>
                  </a:lnTo>
                  <a:lnTo>
                    <a:pt x="658" y="364"/>
                  </a:lnTo>
                  <a:lnTo>
                    <a:pt x="627" y="392"/>
                  </a:lnTo>
                  <a:lnTo>
                    <a:pt x="596" y="417"/>
                  </a:lnTo>
                  <a:lnTo>
                    <a:pt x="562" y="444"/>
                  </a:lnTo>
                  <a:lnTo>
                    <a:pt x="529" y="468"/>
                  </a:lnTo>
                  <a:lnTo>
                    <a:pt x="529" y="468"/>
                  </a:lnTo>
                  <a:lnTo>
                    <a:pt x="475" y="505"/>
                  </a:lnTo>
                  <a:lnTo>
                    <a:pt x="447" y="521"/>
                  </a:lnTo>
                  <a:lnTo>
                    <a:pt x="417" y="538"/>
                  </a:lnTo>
                  <a:lnTo>
                    <a:pt x="387" y="553"/>
                  </a:lnTo>
                  <a:lnTo>
                    <a:pt x="357" y="568"/>
                  </a:lnTo>
                  <a:lnTo>
                    <a:pt x="328" y="579"/>
                  </a:lnTo>
                  <a:lnTo>
                    <a:pt x="296" y="589"/>
                  </a:lnTo>
                  <a:lnTo>
                    <a:pt x="296" y="589"/>
                  </a:lnTo>
                  <a:lnTo>
                    <a:pt x="273" y="596"/>
                  </a:lnTo>
                  <a:lnTo>
                    <a:pt x="251" y="601"/>
                  </a:lnTo>
                  <a:lnTo>
                    <a:pt x="228" y="606"/>
                  </a:lnTo>
                  <a:lnTo>
                    <a:pt x="205" y="609"/>
                  </a:lnTo>
                  <a:lnTo>
                    <a:pt x="182" y="611"/>
                  </a:lnTo>
                  <a:lnTo>
                    <a:pt x="159" y="611"/>
                  </a:lnTo>
                  <a:lnTo>
                    <a:pt x="136" y="611"/>
                  </a:lnTo>
                  <a:lnTo>
                    <a:pt x="112" y="609"/>
                  </a:lnTo>
                  <a:lnTo>
                    <a:pt x="0" y="741"/>
                  </a:lnTo>
                  <a:lnTo>
                    <a:pt x="0" y="741"/>
                  </a:lnTo>
                  <a:lnTo>
                    <a:pt x="0" y="741"/>
                  </a:lnTo>
                  <a:lnTo>
                    <a:pt x="18" y="756"/>
                  </a:lnTo>
                  <a:lnTo>
                    <a:pt x="36" y="770"/>
                  </a:lnTo>
                  <a:lnTo>
                    <a:pt x="56" y="781"/>
                  </a:lnTo>
                  <a:lnTo>
                    <a:pt x="76" y="791"/>
                  </a:lnTo>
                  <a:lnTo>
                    <a:pt x="98" y="801"/>
                  </a:lnTo>
                  <a:lnTo>
                    <a:pt x="119" y="808"/>
                  </a:lnTo>
                  <a:lnTo>
                    <a:pt x="139" y="813"/>
                  </a:lnTo>
                  <a:lnTo>
                    <a:pt x="160" y="816"/>
                  </a:lnTo>
                  <a:lnTo>
                    <a:pt x="182" y="818"/>
                  </a:lnTo>
                  <a:lnTo>
                    <a:pt x="203" y="816"/>
                  </a:lnTo>
                  <a:lnTo>
                    <a:pt x="225" y="814"/>
                  </a:lnTo>
                  <a:lnTo>
                    <a:pt x="246" y="811"/>
                  </a:lnTo>
                  <a:lnTo>
                    <a:pt x="266" y="804"/>
                  </a:lnTo>
                  <a:lnTo>
                    <a:pt x="286" y="798"/>
                  </a:lnTo>
                  <a:lnTo>
                    <a:pt x="304" y="788"/>
                  </a:lnTo>
                  <a:lnTo>
                    <a:pt x="324" y="776"/>
                  </a:lnTo>
                  <a:lnTo>
                    <a:pt x="1198" y="184"/>
                  </a:lnTo>
                  <a:lnTo>
                    <a:pt x="9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29"/>
            <p:cNvSpPr>
              <a:spLocks/>
            </p:cNvSpPr>
            <p:nvPr/>
          </p:nvSpPr>
          <p:spPr bwMode="auto">
            <a:xfrm>
              <a:off x="3708266" y="1634798"/>
              <a:ext cx="1287494" cy="1005582"/>
            </a:xfrm>
            <a:custGeom>
              <a:avLst/>
              <a:gdLst>
                <a:gd name="T0" fmla="*/ 184 w 886"/>
                <a:gd name="T1" fmla="*/ 670 h 692"/>
                <a:gd name="T2" fmla="*/ 184 w 886"/>
                <a:gd name="T3" fmla="*/ 670 h 692"/>
                <a:gd name="T4" fmla="*/ 216 w 886"/>
                <a:gd name="T5" fmla="*/ 660 h 692"/>
                <a:gd name="T6" fmla="*/ 245 w 886"/>
                <a:gd name="T7" fmla="*/ 649 h 692"/>
                <a:gd name="T8" fmla="*/ 275 w 886"/>
                <a:gd name="T9" fmla="*/ 634 h 692"/>
                <a:gd name="T10" fmla="*/ 305 w 886"/>
                <a:gd name="T11" fmla="*/ 619 h 692"/>
                <a:gd name="T12" fmla="*/ 335 w 886"/>
                <a:gd name="T13" fmla="*/ 602 h 692"/>
                <a:gd name="T14" fmla="*/ 363 w 886"/>
                <a:gd name="T15" fmla="*/ 586 h 692"/>
                <a:gd name="T16" fmla="*/ 417 w 886"/>
                <a:gd name="T17" fmla="*/ 549 h 692"/>
                <a:gd name="T18" fmla="*/ 417 w 886"/>
                <a:gd name="T19" fmla="*/ 549 h 692"/>
                <a:gd name="T20" fmla="*/ 450 w 886"/>
                <a:gd name="T21" fmla="*/ 525 h 692"/>
                <a:gd name="T22" fmla="*/ 484 w 886"/>
                <a:gd name="T23" fmla="*/ 498 h 692"/>
                <a:gd name="T24" fmla="*/ 515 w 886"/>
                <a:gd name="T25" fmla="*/ 473 h 692"/>
                <a:gd name="T26" fmla="*/ 546 w 886"/>
                <a:gd name="T27" fmla="*/ 445 h 692"/>
                <a:gd name="T28" fmla="*/ 608 w 886"/>
                <a:gd name="T29" fmla="*/ 391 h 692"/>
                <a:gd name="T30" fmla="*/ 667 w 886"/>
                <a:gd name="T31" fmla="*/ 331 h 692"/>
                <a:gd name="T32" fmla="*/ 723 w 886"/>
                <a:gd name="T33" fmla="*/ 271 h 692"/>
                <a:gd name="T34" fmla="*/ 778 w 886"/>
                <a:gd name="T35" fmla="*/ 209 h 692"/>
                <a:gd name="T36" fmla="*/ 833 w 886"/>
                <a:gd name="T37" fmla="*/ 146 h 692"/>
                <a:gd name="T38" fmla="*/ 886 w 886"/>
                <a:gd name="T39" fmla="*/ 81 h 692"/>
                <a:gd name="T40" fmla="*/ 871 w 886"/>
                <a:gd name="T41" fmla="*/ 68 h 692"/>
                <a:gd name="T42" fmla="*/ 871 w 886"/>
                <a:gd name="T43" fmla="*/ 68 h 692"/>
                <a:gd name="T44" fmla="*/ 851 w 886"/>
                <a:gd name="T45" fmla="*/ 51 h 692"/>
                <a:gd name="T46" fmla="*/ 829 w 886"/>
                <a:gd name="T47" fmla="*/ 36 h 692"/>
                <a:gd name="T48" fmla="*/ 806 w 886"/>
                <a:gd name="T49" fmla="*/ 25 h 692"/>
                <a:gd name="T50" fmla="*/ 783 w 886"/>
                <a:gd name="T51" fmla="*/ 15 h 692"/>
                <a:gd name="T52" fmla="*/ 760 w 886"/>
                <a:gd name="T53" fmla="*/ 8 h 692"/>
                <a:gd name="T54" fmla="*/ 737 w 886"/>
                <a:gd name="T55" fmla="*/ 3 h 692"/>
                <a:gd name="T56" fmla="*/ 714 w 886"/>
                <a:gd name="T57" fmla="*/ 0 h 692"/>
                <a:gd name="T58" fmla="*/ 690 w 886"/>
                <a:gd name="T59" fmla="*/ 0 h 692"/>
                <a:gd name="T60" fmla="*/ 666 w 886"/>
                <a:gd name="T61" fmla="*/ 2 h 692"/>
                <a:gd name="T62" fmla="*/ 642 w 886"/>
                <a:gd name="T63" fmla="*/ 5 h 692"/>
                <a:gd name="T64" fmla="*/ 621 w 886"/>
                <a:gd name="T65" fmla="*/ 12 h 692"/>
                <a:gd name="T66" fmla="*/ 599 w 886"/>
                <a:gd name="T67" fmla="*/ 22 h 692"/>
                <a:gd name="T68" fmla="*/ 578 w 886"/>
                <a:gd name="T69" fmla="*/ 32 h 692"/>
                <a:gd name="T70" fmla="*/ 558 w 886"/>
                <a:gd name="T71" fmla="*/ 45 h 692"/>
                <a:gd name="T72" fmla="*/ 540 w 886"/>
                <a:gd name="T73" fmla="*/ 61 h 692"/>
                <a:gd name="T74" fmla="*/ 523 w 886"/>
                <a:gd name="T75" fmla="*/ 78 h 692"/>
                <a:gd name="T76" fmla="*/ 0 w 886"/>
                <a:gd name="T77" fmla="*/ 690 h 692"/>
                <a:gd name="T78" fmla="*/ 0 w 886"/>
                <a:gd name="T79" fmla="*/ 690 h 692"/>
                <a:gd name="T80" fmla="*/ 24 w 886"/>
                <a:gd name="T81" fmla="*/ 692 h 692"/>
                <a:gd name="T82" fmla="*/ 47 w 886"/>
                <a:gd name="T83" fmla="*/ 692 h 692"/>
                <a:gd name="T84" fmla="*/ 70 w 886"/>
                <a:gd name="T85" fmla="*/ 692 h 692"/>
                <a:gd name="T86" fmla="*/ 93 w 886"/>
                <a:gd name="T87" fmla="*/ 690 h 692"/>
                <a:gd name="T88" fmla="*/ 116 w 886"/>
                <a:gd name="T89" fmla="*/ 687 h 692"/>
                <a:gd name="T90" fmla="*/ 139 w 886"/>
                <a:gd name="T91" fmla="*/ 682 h 692"/>
                <a:gd name="T92" fmla="*/ 161 w 886"/>
                <a:gd name="T93" fmla="*/ 677 h 692"/>
                <a:gd name="T94" fmla="*/ 184 w 886"/>
                <a:gd name="T95" fmla="*/ 670 h 692"/>
                <a:gd name="T96" fmla="*/ 184 w 886"/>
                <a:gd name="T97" fmla="*/ 670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6" h="692">
                  <a:moveTo>
                    <a:pt x="184" y="670"/>
                  </a:moveTo>
                  <a:lnTo>
                    <a:pt x="184" y="670"/>
                  </a:lnTo>
                  <a:lnTo>
                    <a:pt x="216" y="660"/>
                  </a:lnTo>
                  <a:lnTo>
                    <a:pt x="245" y="649"/>
                  </a:lnTo>
                  <a:lnTo>
                    <a:pt x="275" y="634"/>
                  </a:lnTo>
                  <a:lnTo>
                    <a:pt x="305" y="619"/>
                  </a:lnTo>
                  <a:lnTo>
                    <a:pt x="335" y="602"/>
                  </a:lnTo>
                  <a:lnTo>
                    <a:pt x="363" y="586"/>
                  </a:lnTo>
                  <a:lnTo>
                    <a:pt x="417" y="549"/>
                  </a:lnTo>
                  <a:lnTo>
                    <a:pt x="417" y="549"/>
                  </a:lnTo>
                  <a:lnTo>
                    <a:pt x="450" y="525"/>
                  </a:lnTo>
                  <a:lnTo>
                    <a:pt x="484" y="498"/>
                  </a:lnTo>
                  <a:lnTo>
                    <a:pt x="515" y="473"/>
                  </a:lnTo>
                  <a:lnTo>
                    <a:pt x="546" y="445"/>
                  </a:lnTo>
                  <a:lnTo>
                    <a:pt x="608" y="391"/>
                  </a:lnTo>
                  <a:lnTo>
                    <a:pt x="667" y="331"/>
                  </a:lnTo>
                  <a:lnTo>
                    <a:pt x="723" y="271"/>
                  </a:lnTo>
                  <a:lnTo>
                    <a:pt x="778" y="209"/>
                  </a:lnTo>
                  <a:lnTo>
                    <a:pt x="833" y="146"/>
                  </a:lnTo>
                  <a:lnTo>
                    <a:pt x="886" y="81"/>
                  </a:lnTo>
                  <a:lnTo>
                    <a:pt x="871" y="68"/>
                  </a:lnTo>
                  <a:lnTo>
                    <a:pt x="871" y="68"/>
                  </a:lnTo>
                  <a:lnTo>
                    <a:pt x="851" y="51"/>
                  </a:lnTo>
                  <a:lnTo>
                    <a:pt x="829" y="36"/>
                  </a:lnTo>
                  <a:lnTo>
                    <a:pt x="806" y="25"/>
                  </a:lnTo>
                  <a:lnTo>
                    <a:pt x="783" y="15"/>
                  </a:lnTo>
                  <a:lnTo>
                    <a:pt x="760" y="8"/>
                  </a:lnTo>
                  <a:lnTo>
                    <a:pt x="737" y="3"/>
                  </a:lnTo>
                  <a:lnTo>
                    <a:pt x="714" y="0"/>
                  </a:lnTo>
                  <a:lnTo>
                    <a:pt x="690" y="0"/>
                  </a:lnTo>
                  <a:lnTo>
                    <a:pt x="666" y="2"/>
                  </a:lnTo>
                  <a:lnTo>
                    <a:pt x="642" y="5"/>
                  </a:lnTo>
                  <a:lnTo>
                    <a:pt x="621" y="12"/>
                  </a:lnTo>
                  <a:lnTo>
                    <a:pt x="599" y="22"/>
                  </a:lnTo>
                  <a:lnTo>
                    <a:pt x="578" y="32"/>
                  </a:lnTo>
                  <a:lnTo>
                    <a:pt x="558" y="45"/>
                  </a:lnTo>
                  <a:lnTo>
                    <a:pt x="540" y="61"/>
                  </a:lnTo>
                  <a:lnTo>
                    <a:pt x="523" y="78"/>
                  </a:lnTo>
                  <a:lnTo>
                    <a:pt x="0" y="690"/>
                  </a:lnTo>
                  <a:lnTo>
                    <a:pt x="0" y="690"/>
                  </a:lnTo>
                  <a:lnTo>
                    <a:pt x="24" y="692"/>
                  </a:lnTo>
                  <a:lnTo>
                    <a:pt x="47" y="692"/>
                  </a:lnTo>
                  <a:lnTo>
                    <a:pt x="70" y="692"/>
                  </a:lnTo>
                  <a:lnTo>
                    <a:pt x="93" y="690"/>
                  </a:lnTo>
                  <a:lnTo>
                    <a:pt x="116" y="687"/>
                  </a:lnTo>
                  <a:lnTo>
                    <a:pt x="139" y="682"/>
                  </a:lnTo>
                  <a:lnTo>
                    <a:pt x="161" y="677"/>
                  </a:lnTo>
                  <a:lnTo>
                    <a:pt x="184" y="670"/>
                  </a:lnTo>
                  <a:lnTo>
                    <a:pt x="184" y="67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31" name="Freeform 130"/>
            <p:cNvSpPr>
              <a:spLocks/>
            </p:cNvSpPr>
            <p:nvPr/>
          </p:nvSpPr>
          <p:spPr bwMode="auto">
            <a:xfrm>
              <a:off x="4923102" y="2336671"/>
              <a:ext cx="1143632" cy="1300572"/>
            </a:xfrm>
            <a:custGeom>
              <a:avLst/>
              <a:gdLst>
                <a:gd name="T0" fmla="*/ 516 w 787"/>
                <a:gd name="T1" fmla="*/ 599 h 895"/>
                <a:gd name="T2" fmla="*/ 516 w 787"/>
                <a:gd name="T3" fmla="*/ 599 h 895"/>
                <a:gd name="T4" fmla="*/ 787 w 787"/>
                <a:gd name="T5" fmla="*/ 344 h 895"/>
                <a:gd name="T6" fmla="*/ 787 w 787"/>
                <a:gd name="T7" fmla="*/ 344 h 895"/>
                <a:gd name="T8" fmla="*/ 784 w 787"/>
                <a:gd name="T9" fmla="*/ 323 h 895"/>
                <a:gd name="T10" fmla="*/ 778 w 787"/>
                <a:gd name="T11" fmla="*/ 303 h 895"/>
                <a:gd name="T12" fmla="*/ 769 w 787"/>
                <a:gd name="T13" fmla="*/ 285 h 895"/>
                <a:gd name="T14" fmla="*/ 761 w 787"/>
                <a:gd name="T15" fmla="*/ 265 h 895"/>
                <a:gd name="T16" fmla="*/ 749 w 787"/>
                <a:gd name="T17" fmla="*/ 247 h 895"/>
                <a:gd name="T18" fmla="*/ 736 w 787"/>
                <a:gd name="T19" fmla="*/ 229 h 895"/>
                <a:gd name="T20" fmla="*/ 723 w 787"/>
                <a:gd name="T21" fmla="*/ 212 h 895"/>
                <a:gd name="T22" fmla="*/ 706 w 787"/>
                <a:gd name="T23" fmla="*/ 197 h 895"/>
                <a:gd name="T24" fmla="*/ 491 w 787"/>
                <a:gd name="T25" fmla="*/ 0 h 895"/>
                <a:gd name="T26" fmla="*/ 0 w 787"/>
                <a:gd name="T27" fmla="*/ 895 h 895"/>
                <a:gd name="T28" fmla="*/ 0 w 787"/>
                <a:gd name="T29" fmla="*/ 895 h 895"/>
                <a:gd name="T30" fmla="*/ 28 w 787"/>
                <a:gd name="T31" fmla="*/ 892 h 895"/>
                <a:gd name="T32" fmla="*/ 58 w 787"/>
                <a:gd name="T33" fmla="*/ 889 h 895"/>
                <a:gd name="T34" fmla="*/ 86 w 787"/>
                <a:gd name="T35" fmla="*/ 882 h 895"/>
                <a:gd name="T36" fmla="*/ 114 w 787"/>
                <a:gd name="T37" fmla="*/ 875 h 895"/>
                <a:gd name="T38" fmla="*/ 142 w 787"/>
                <a:gd name="T39" fmla="*/ 866 h 895"/>
                <a:gd name="T40" fmla="*/ 170 w 787"/>
                <a:gd name="T41" fmla="*/ 856 h 895"/>
                <a:gd name="T42" fmla="*/ 197 w 787"/>
                <a:gd name="T43" fmla="*/ 844 h 895"/>
                <a:gd name="T44" fmla="*/ 223 w 787"/>
                <a:gd name="T45" fmla="*/ 831 h 895"/>
                <a:gd name="T46" fmla="*/ 223 w 787"/>
                <a:gd name="T47" fmla="*/ 831 h 895"/>
                <a:gd name="T48" fmla="*/ 265 w 787"/>
                <a:gd name="T49" fmla="*/ 808 h 895"/>
                <a:gd name="T50" fmla="*/ 303 w 787"/>
                <a:gd name="T51" fmla="*/ 781 h 895"/>
                <a:gd name="T52" fmla="*/ 341 w 787"/>
                <a:gd name="T53" fmla="*/ 755 h 895"/>
                <a:gd name="T54" fmla="*/ 377 w 787"/>
                <a:gd name="T55" fmla="*/ 725 h 895"/>
                <a:gd name="T56" fmla="*/ 414 w 787"/>
                <a:gd name="T57" fmla="*/ 695 h 895"/>
                <a:gd name="T58" fmla="*/ 448 w 787"/>
                <a:gd name="T59" fmla="*/ 664 h 895"/>
                <a:gd name="T60" fmla="*/ 516 w 787"/>
                <a:gd name="T61" fmla="*/ 599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87" h="895">
                  <a:moveTo>
                    <a:pt x="516" y="599"/>
                  </a:moveTo>
                  <a:lnTo>
                    <a:pt x="516" y="599"/>
                  </a:lnTo>
                  <a:lnTo>
                    <a:pt x="787" y="344"/>
                  </a:lnTo>
                  <a:lnTo>
                    <a:pt x="787" y="344"/>
                  </a:lnTo>
                  <a:lnTo>
                    <a:pt x="784" y="323"/>
                  </a:lnTo>
                  <a:lnTo>
                    <a:pt x="778" y="303"/>
                  </a:lnTo>
                  <a:lnTo>
                    <a:pt x="769" y="285"/>
                  </a:lnTo>
                  <a:lnTo>
                    <a:pt x="761" y="265"/>
                  </a:lnTo>
                  <a:lnTo>
                    <a:pt x="749" y="247"/>
                  </a:lnTo>
                  <a:lnTo>
                    <a:pt x="736" y="229"/>
                  </a:lnTo>
                  <a:lnTo>
                    <a:pt x="723" y="212"/>
                  </a:lnTo>
                  <a:lnTo>
                    <a:pt x="706" y="197"/>
                  </a:lnTo>
                  <a:lnTo>
                    <a:pt x="491" y="0"/>
                  </a:lnTo>
                  <a:lnTo>
                    <a:pt x="0" y="895"/>
                  </a:lnTo>
                  <a:lnTo>
                    <a:pt x="0" y="895"/>
                  </a:lnTo>
                  <a:lnTo>
                    <a:pt x="28" y="892"/>
                  </a:lnTo>
                  <a:lnTo>
                    <a:pt x="58" y="889"/>
                  </a:lnTo>
                  <a:lnTo>
                    <a:pt x="86" y="882"/>
                  </a:lnTo>
                  <a:lnTo>
                    <a:pt x="114" y="875"/>
                  </a:lnTo>
                  <a:lnTo>
                    <a:pt x="142" y="866"/>
                  </a:lnTo>
                  <a:lnTo>
                    <a:pt x="170" y="856"/>
                  </a:lnTo>
                  <a:lnTo>
                    <a:pt x="197" y="844"/>
                  </a:lnTo>
                  <a:lnTo>
                    <a:pt x="223" y="831"/>
                  </a:lnTo>
                  <a:lnTo>
                    <a:pt x="223" y="831"/>
                  </a:lnTo>
                  <a:lnTo>
                    <a:pt x="265" y="808"/>
                  </a:lnTo>
                  <a:lnTo>
                    <a:pt x="303" y="781"/>
                  </a:lnTo>
                  <a:lnTo>
                    <a:pt x="341" y="755"/>
                  </a:lnTo>
                  <a:lnTo>
                    <a:pt x="377" y="725"/>
                  </a:lnTo>
                  <a:lnTo>
                    <a:pt x="414" y="695"/>
                  </a:lnTo>
                  <a:lnTo>
                    <a:pt x="448" y="664"/>
                  </a:lnTo>
                  <a:lnTo>
                    <a:pt x="516" y="599"/>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32" name="Freeform 131"/>
            <p:cNvSpPr>
              <a:spLocks/>
            </p:cNvSpPr>
            <p:nvPr/>
          </p:nvSpPr>
          <p:spPr bwMode="auto">
            <a:xfrm>
              <a:off x="4923102" y="2336671"/>
              <a:ext cx="1143632" cy="1300572"/>
            </a:xfrm>
            <a:custGeom>
              <a:avLst/>
              <a:gdLst>
                <a:gd name="T0" fmla="*/ 516 w 787"/>
                <a:gd name="T1" fmla="*/ 599 h 895"/>
                <a:gd name="T2" fmla="*/ 516 w 787"/>
                <a:gd name="T3" fmla="*/ 599 h 895"/>
                <a:gd name="T4" fmla="*/ 787 w 787"/>
                <a:gd name="T5" fmla="*/ 344 h 895"/>
                <a:gd name="T6" fmla="*/ 787 w 787"/>
                <a:gd name="T7" fmla="*/ 344 h 895"/>
                <a:gd name="T8" fmla="*/ 784 w 787"/>
                <a:gd name="T9" fmla="*/ 323 h 895"/>
                <a:gd name="T10" fmla="*/ 778 w 787"/>
                <a:gd name="T11" fmla="*/ 303 h 895"/>
                <a:gd name="T12" fmla="*/ 769 w 787"/>
                <a:gd name="T13" fmla="*/ 285 h 895"/>
                <a:gd name="T14" fmla="*/ 761 w 787"/>
                <a:gd name="T15" fmla="*/ 265 h 895"/>
                <a:gd name="T16" fmla="*/ 749 w 787"/>
                <a:gd name="T17" fmla="*/ 247 h 895"/>
                <a:gd name="T18" fmla="*/ 736 w 787"/>
                <a:gd name="T19" fmla="*/ 229 h 895"/>
                <a:gd name="T20" fmla="*/ 723 w 787"/>
                <a:gd name="T21" fmla="*/ 212 h 895"/>
                <a:gd name="T22" fmla="*/ 706 w 787"/>
                <a:gd name="T23" fmla="*/ 197 h 895"/>
                <a:gd name="T24" fmla="*/ 491 w 787"/>
                <a:gd name="T25" fmla="*/ 0 h 895"/>
                <a:gd name="T26" fmla="*/ 0 w 787"/>
                <a:gd name="T27" fmla="*/ 895 h 895"/>
                <a:gd name="T28" fmla="*/ 0 w 787"/>
                <a:gd name="T29" fmla="*/ 895 h 895"/>
                <a:gd name="T30" fmla="*/ 28 w 787"/>
                <a:gd name="T31" fmla="*/ 892 h 895"/>
                <a:gd name="T32" fmla="*/ 58 w 787"/>
                <a:gd name="T33" fmla="*/ 889 h 895"/>
                <a:gd name="T34" fmla="*/ 86 w 787"/>
                <a:gd name="T35" fmla="*/ 882 h 895"/>
                <a:gd name="T36" fmla="*/ 114 w 787"/>
                <a:gd name="T37" fmla="*/ 875 h 895"/>
                <a:gd name="T38" fmla="*/ 142 w 787"/>
                <a:gd name="T39" fmla="*/ 866 h 895"/>
                <a:gd name="T40" fmla="*/ 170 w 787"/>
                <a:gd name="T41" fmla="*/ 856 h 895"/>
                <a:gd name="T42" fmla="*/ 197 w 787"/>
                <a:gd name="T43" fmla="*/ 844 h 895"/>
                <a:gd name="T44" fmla="*/ 223 w 787"/>
                <a:gd name="T45" fmla="*/ 831 h 895"/>
                <a:gd name="T46" fmla="*/ 223 w 787"/>
                <a:gd name="T47" fmla="*/ 831 h 895"/>
                <a:gd name="T48" fmla="*/ 265 w 787"/>
                <a:gd name="T49" fmla="*/ 808 h 895"/>
                <a:gd name="T50" fmla="*/ 303 w 787"/>
                <a:gd name="T51" fmla="*/ 781 h 895"/>
                <a:gd name="T52" fmla="*/ 341 w 787"/>
                <a:gd name="T53" fmla="*/ 755 h 895"/>
                <a:gd name="T54" fmla="*/ 377 w 787"/>
                <a:gd name="T55" fmla="*/ 725 h 895"/>
                <a:gd name="T56" fmla="*/ 414 w 787"/>
                <a:gd name="T57" fmla="*/ 695 h 895"/>
                <a:gd name="T58" fmla="*/ 448 w 787"/>
                <a:gd name="T59" fmla="*/ 664 h 895"/>
                <a:gd name="T60" fmla="*/ 516 w 787"/>
                <a:gd name="T61" fmla="*/ 599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87" h="895">
                  <a:moveTo>
                    <a:pt x="516" y="599"/>
                  </a:moveTo>
                  <a:lnTo>
                    <a:pt x="516" y="599"/>
                  </a:lnTo>
                  <a:lnTo>
                    <a:pt x="787" y="344"/>
                  </a:lnTo>
                  <a:lnTo>
                    <a:pt x="787" y="344"/>
                  </a:lnTo>
                  <a:lnTo>
                    <a:pt x="784" y="323"/>
                  </a:lnTo>
                  <a:lnTo>
                    <a:pt x="778" y="303"/>
                  </a:lnTo>
                  <a:lnTo>
                    <a:pt x="769" y="285"/>
                  </a:lnTo>
                  <a:lnTo>
                    <a:pt x="761" y="265"/>
                  </a:lnTo>
                  <a:lnTo>
                    <a:pt x="749" y="247"/>
                  </a:lnTo>
                  <a:lnTo>
                    <a:pt x="736" y="229"/>
                  </a:lnTo>
                  <a:lnTo>
                    <a:pt x="723" y="212"/>
                  </a:lnTo>
                  <a:lnTo>
                    <a:pt x="706" y="197"/>
                  </a:lnTo>
                  <a:lnTo>
                    <a:pt x="491" y="0"/>
                  </a:lnTo>
                  <a:lnTo>
                    <a:pt x="0" y="895"/>
                  </a:lnTo>
                  <a:lnTo>
                    <a:pt x="0" y="895"/>
                  </a:lnTo>
                  <a:lnTo>
                    <a:pt x="28" y="892"/>
                  </a:lnTo>
                  <a:lnTo>
                    <a:pt x="58" y="889"/>
                  </a:lnTo>
                  <a:lnTo>
                    <a:pt x="86" y="882"/>
                  </a:lnTo>
                  <a:lnTo>
                    <a:pt x="114" y="875"/>
                  </a:lnTo>
                  <a:lnTo>
                    <a:pt x="142" y="866"/>
                  </a:lnTo>
                  <a:lnTo>
                    <a:pt x="170" y="856"/>
                  </a:lnTo>
                  <a:lnTo>
                    <a:pt x="197" y="844"/>
                  </a:lnTo>
                  <a:lnTo>
                    <a:pt x="223" y="831"/>
                  </a:lnTo>
                  <a:lnTo>
                    <a:pt x="223" y="831"/>
                  </a:lnTo>
                  <a:lnTo>
                    <a:pt x="265" y="808"/>
                  </a:lnTo>
                  <a:lnTo>
                    <a:pt x="303" y="781"/>
                  </a:lnTo>
                  <a:lnTo>
                    <a:pt x="341" y="755"/>
                  </a:lnTo>
                  <a:lnTo>
                    <a:pt x="377" y="725"/>
                  </a:lnTo>
                  <a:lnTo>
                    <a:pt x="414" y="695"/>
                  </a:lnTo>
                  <a:lnTo>
                    <a:pt x="448" y="664"/>
                  </a:lnTo>
                  <a:lnTo>
                    <a:pt x="516" y="5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32"/>
            <p:cNvSpPr>
              <a:spLocks/>
            </p:cNvSpPr>
            <p:nvPr/>
          </p:nvSpPr>
          <p:spPr bwMode="auto">
            <a:xfrm>
              <a:off x="4856257" y="2836556"/>
              <a:ext cx="1216290" cy="1310744"/>
            </a:xfrm>
            <a:custGeom>
              <a:avLst/>
              <a:gdLst>
                <a:gd name="T0" fmla="*/ 833 w 837"/>
                <a:gd name="T1" fmla="*/ 0 h 902"/>
                <a:gd name="T2" fmla="*/ 833 w 837"/>
                <a:gd name="T3" fmla="*/ 0 h 902"/>
                <a:gd name="T4" fmla="*/ 562 w 837"/>
                <a:gd name="T5" fmla="*/ 255 h 902"/>
                <a:gd name="T6" fmla="*/ 562 w 837"/>
                <a:gd name="T7" fmla="*/ 255 h 902"/>
                <a:gd name="T8" fmla="*/ 494 w 837"/>
                <a:gd name="T9" fmla="*/ 320 h 902"/>
                <a:gd name="T10" fmla="*/ 460 w 837"/>
                <a:gd name="T11" fmla="*/ 351 h 902"/>
                <a:gd name="T12" fmla="*/ 423 w 837"/>
                <a:gd name="T13" fmla="*/ 381 h 902"/>
                <a:gd name="T14" fmla="*/ 387 w 837"/>
                <a:gd name="T15" fmla="*/ 411 h 902"/>
                <a:gd name="T16" fmla="*/ 349 w 837"/>
                <a:gd name="T17" fmla="*/ 437 h 902"/>
                <a:gd name="T18" fmla="*/ 311 w 837"/>
                <a:gd name="T19" fmla="*/ 464 h 902"/>
                <a:gd name="T20" fmla="*/ 269 w 837"/>
                <a:gd name="T21" fmla="*/ 487 h 902"/>
                <a:gd name="T22" fmla="*/ 269 w 837"/>
                <a:gd name="T23" fmla="*/ 487 h 902"/>
                <a:gd name="T24" fmla="*/ 243 w 837"/>
                <a:gd name="T25" fmla="*/ 500 h 902"/>
                <a:gd name="T26" fmla="*/ 216 w 837"/>
                <a:gd name="T27" fmla="*/ 512 h 902"/>
                <a:gd name="T28" fmla="*/ 188 w 837"/>
                <a:gd name="T29" fmla="*/ 522 h 902"/>
                <a:gd name="T30" fmla="*/ 160 w 837"/>
                <a:gd name="T31" fmla="*/ 531 h 902"/>
                <a:gd name="T32" fmla="*/ 132 w 837"/>
                <a:gd name="T33" fmla="*/ 538 h 902"/>
                <a:gd name="T34" fmla="*/ 104 w 837"/>
                <a:gd name="T35" fmla="*/ 545 h 902"/>
                <a:gd name="T36" fmla="*/ 74 w 837"/>
                <a:gd name="T37" fmla="*/ 548 h 902"/>
                <a:gd name="T38" fmla="*/ 46 w 837"/>
                <a:gd name="T39" fmla="*/ 551 h 902"/>
                <a:gd name="T40" fmla="*/ 28 w 837"/>
                <a:gd name="T41" fmla="*/ 583 h 902"/>
                <a:gd name="T42" fmla="*/ 28 w 837"/>
                <a:gd name="T43" fmla="*/ 583 h 902"/>
                <a:gd name="T44" fmla="*/ 19 w 837"/>
                <a:gd name="T45" fmla="*/ 603 h 902"/>
                <a:gd name="T46" fmla="*/ 11 w 837"/>
                <a:gd name="T47" fmla="*/ 622 h 902"/>
                <a:gd name="T48" fmla="*/ 6 w 837"/>
                <a:gd name="T49" fmla="*/ 642 h 902"/>
                <a:gd name="T50" fmla="*/ 1 w 837"/>
                <a:gd name="T51" fmla="*/ 664 h 902"/>
                <a:gd name="T52" fmla="*/ 0 w 837"/>
                <a:gd name="T53" fmla="*/ 684 h 902"/>
                <a:gd name="T54" fmla="*/ 0 w 837"/>
                <a:gd name="T55" fmla="*/ 705 h 902"/>
                <a:gd name="T56" fmla="*/ 1 w 837"/>
                <a:gd name="T57" fmla="*/ 727 h 902"/>
                <a:gd name="T58" fmla="*/ 5 w 837"/>
                <a:gd name="T59" fmla="*/ 748 h 902"/>
                <a:gd name="T60" fmla="*/ 11 w 837"/>
                <a:gd name="T61" fmla="*/ 770 h 902"/>
                <a:gd name="T62" fmla="*/ 18 w 837"/>
                <a:gd name="T63" fmla="*/ 790 h 902"/>
                <a:gd name="T64" fmla="*/ 26 w 837"/>
                <a:gd name="T65" fmla="*/ 809 h 902"/>
                <a:gd name="T66" fmla="*/ 36 w 837"/>
                <a:gd name="T67" fmla="*/ 829 h 902"/>
                <a:gd name="T68" fmla="*/ 49 w 837"/>
                <a:gd name="T69" fmla="*/ 849 h 902"/>
                <a:gd name="T70" fmla="*/ 62 w 837"/>
                <a:gd name="T71" fmla="*/ 867 h 902"/>
                <a:gd name="T72" fmla="*/ 77 w 837"/>
                <a:gd name="T73" fmla="*/ 886 h 902"/>
                <a:gd name="T74" fmla="*/ 94 w 837"/>
                <a:gd name="T75" fmla="*/ 902 h 902"/>
                <a:gd name="T76" fmla="*/ 774 w 837"/>
                <a:gd name="T77" fmla="*/ 199 h 902"/>
                <a:gd name="T78" fmla="*/ 774 w 837"/>
                <a:gd name="T79" fmla="*/ 199 h 902"/>
                <a:gd name="T80" fmla="*/ 792 w 837"/>
                <a:gd name="T81" fmla="*/ 177 h 902"/>
                <a:gd name="T82" fmla="*/ 809 w 837"/>
                <a:gd name="T83" fmla="*/ 154 h 902"/>
                <a:gd name="T84" fmla="*/ 820 w 837"/>
                <a:gd name="T85" fmla="*/ 131 h 902"/>
                <a:gd name="T86" fmla="*/ 829 w 837"/>
                <a:gd name="T87" fmla="*/ 106 h 902"/>
                <a:gd name="T88" fmla="*/ 835 w 837"/>
                <a:gd name="T89" fmla="*/ 80 h 902"/>
                <a:gd name="T90" fmla="*/ 837 w 837"/>
                <a:gd name="T91" fmla="*/ 53 h 902"/>
                <a:gd name="T92" fmla="*/ 837 w 837"/>
                <a:gd name="T93" fmla="*/ 27 h 902"/>
                <a:gd name="T94" fmla="*/ 833 w 837"/>
                <a:gd name="T95" fmla="*/ 0 h 902"/>
                <a:gd name="T96" fmla="*/ 833 w 837"/>
                <a:gd name="T97"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37" h="902">
                  <a:moveTo>
                    <a:pt x="833" y="0"/>
                  </a:moveTo>
                  <a:lnTo>
                    <a:pt x="833" y="0"/>
                  </a:lnTo>
                  <a:lnTo>
                    <a:pt x="562" y="255"/>
                  </a:lnTo>
                  <a:lnTo>
                    <a:pt x="562" y="255"/>
                  </a:lnTo>
                  <a:lnTo>
                    <a:pt x="494" y="320"/>
                  </a:lnTo>
                  <a:lnTo>
                    <a:pt x="460" y="351"/>
                  </a:lnTo>
                  <a:lnTo>
                    <a:pt x="423" y="381"/>
                  </a:lnTo>
                  <a:lnTo>
                    <a:pt x="387" y="411"/>
                  </a:lnTo>
                  <a:lnTo>
                    <a:pt x="349" y="437"/>
                  </a:lnTo>
                  <a:lnTo>
                    <a:pt x="311" y="464"/>
                  </a:lnTo>
                  <a:lnTo>
                    <a:pt x="269" y="487"/>
                  </a:lnTo>
                  <a:lnTo>
                    <a:pt x="269" y="487"/>
                  </a:lnTo>
                  <a:lnTo>
                    <a:pt x="243" y="500"/>
                  </a:lnTo>
                  <a:lnTo>
                    <a:pt x="216" y="512"/>
                  </a:lnTo>
                  <a:lnTo>
                    <a:pt x="188" y="522"/>
                  </a:lnTo>
                  <a:lnTo>
                    <a:pt x="160" y="531"/>
                  </a:lnTo>
                  <a:lnTo>
                    <a:pt x="132" y="538"/>
                  </a:lnTo>
                  <a:lnTo>
                    <a:pt x="104" y="545"/>
                  </a:lnTo>
                  <a:lnTo>
                    <a:pt x="74" y="548"/>
                  </a:lnTo>
                  <a:lnTo>
                    <a:pt x="46" y="551"/>
                  </a:lnTo>
                  <a:lnTo>
                    <a:pt x="28" y="583"/>
                  </a:lnTo>
                  <a:lnTo>
                    <a:pt x="28" y="583"/>
                  </a:lnTo>
                  <a:lnTo>
                    <a:pt x="19" y="603"/>
                  </a:lnTo>
                  <a:lnTo>
                    <a:pt x="11" y="622"/>
                  </a:lnTo>
                  <a:lnTo>
                    <a:pt x="6" y="642"/>
                  </a:lnTo>
                  <a:lnTo>
                    <a:pt x="1" y="664"/>
                  </a:lnTo>
                  <a:lnTo>
                    <a:pt x="0" y="684"/>
                  </a:lnTo>
                  <a:lnTo>
                    <a:pt x="0" y="705"/>
                  </a:lnTo>
                  <a:lnTo>
                    <a:pt x="1" y="727"/>
                  </a:lnTo>
                  <a:lnTo>
                    <a:pt x="5" y="748"/>
                  </a:lnTo>
                  <a:lnTo>
                    <a:pt x="11" y="770"/>
                  </a:lnTo>
                  <a:lnTo>
                    <a:pt x="18" y="790"/>
                  </a:lnTo>
                  <a:lnTo>
                    <a:pt x="26" y="809"/>
                  </a:lnTo>
                  <a:lnTo>
                    <a:pt x="36" y="829"/>
                  </a:lnTo>
                  <a:lnTo>
                    <a:pt x="49" y="849"/>
                  </a:lnTo>
                  <a:lnTo>
                    <a:pt x="62" y="867"/>
                  </a:lnTo>
                  <a:lnTo>
                    <a:pt x="77" y="886"/>
                  </a:lnTo>
                  <a:lnTo>
                    <a:pt x="94" y="902"/>
                  </a:lnTo>
                  <a:lnTo>
                    <a:pt x="774" y="199"/>
                  </a:lnTo>
                  <a:lnTo>
                    <a:pt x="774" y="199"/>
                  </a:lnTo>
                  <a:lnTo>
                    <a:pt x="792" y="177"/>
                  </a:lnTo>
                  <a:lnTo>
                    <a:pt x="809" y="154"/>
                  </a:lnTo>
                  <a:lnTo>
                    <a:pt x="820" y="131"/>
                  </a:lnTo>
                  <a:lnTo>
                    <a:pt x="829" y="106"/>
                  </a:lnTo>
                  <a:lnTo>
                    <a:pt x="835" y="80"/>
                  </a:lnTo>
                  <a:lnTo>
                    <a:pt x="837" y="53"/>
                  </a:lnTo>
                  <a:lnTo>
                    <a:pt x="837" y="27"/>
                  </a:lnTo>
                  <a:lnTo>
                    <a:pt x="833" y="0"/>
                  </a:lnTo>
                  <a:lnTo>
                    <a:pt x="833" y="0"/>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34" name="Freeform 133"/>
            <p:cNvSpPr>
              <a:spLocks/>
            </p:cNvSpPr>
            <p:nvPr/>
          </p:nvSpPr>
          <p:spPr bwMode="auto">
            <a:xfrm>
              <a:off x="4235760" y="2721756"/>
              <a:ext cx="264474" cy="309522"/>
            </a:xfrm>
            <a:custGeom>
              <a:avLst/>
              <a:gdLst>
                <a:gd name="T0" fmla="*/ 182 w 182"/>
                <a:gd name="T1" fmla="*/ 197 h 213"/>
                <a:gd name="T2" fmla="*/ 182 w 182"/>
                <a:gd name="T3" fmla="*/ 197 h 213"/>
                <a:gd name="T4" fmla="*/ 157 w 182"/>
                <a:gd name="T5" fmla="*/ 169 h 213"/>
                <a:gd name="T6" fmla="*/ 135 w 182"/>
                <a:gd name="T7" fmla="*/ 141 h 213"/>
                <a:gd name="T8" fmla="*/ 116 w 182"/>
                <a:gd name="T9" fmla="*/ 114 h 213"/>
                <a:gd name="T10" fmla="*/ 99 w 182"/>
                <a:gd name="T11" fmla="*/ 89 h 213"/>
                <a:gd name="T12" fmla="*/ 84 w 182"/>
                <a:gd name="T13" fmla="*/ 64 h 213"/>
                <a:gd name="T14" fmla="*/ 73 w 182"/>
                <a:gd name="T15" fmla="*/ 41 h 213"/>
                <a:gd name="T16" fmla="*/ 64 w 182"/>
                <a:gd name="T17" fmla="*/ 20 h 213"/>
                <a:gd name="T18" fmla="*/ 58 w 182"/>
                <a:gd name="T19" fmla="*/ 0 h 213"/>
                <a:gd name="T20" fmla="*/ 6 w 182"/>
                <a:gd name="T21" fmla="*/ 68 h 213"/>
                <a:gd name="T22" fmla="*/ 6 w 182"/>
                <a:gd name="T23" fmla="*/ 68 h 213"/>
                <a:gd name="T24" fmla="*/ 3 w 182"/>
                <a:gd name="T25" fmla="*/ 73 h 213"/>
                <a:gd name="T26" fmla="*/ 1 w 182"/>
                <a:gd name="T27" fmla="*/ 79 h 213"/>
                <a:gd name="T28" fmla="*/ 0 w 182"/>
                <a:gd name="T29" fmla="*/ 93 h 213"/>
                <a:gd name="T30" fmla="*/ 1 w 182"/>
                <a:gd name="T31" fmla="*/ 107 h 213"/>
                <a:gd name="T32" fmla="*/ 6 w 182"/>
                <a:gd name="T33" fmla="*/ 126 h 213"/>
                <a:gd name="T34" fmla="*/ 13 w 182"/>
                <a:gd name="T35" fmla="*/ 146 h 213"/>
                <a:gd name="T36" fmla="*/ 25 w 182"/>
                <a:gd name="T37" fmla="*/ 167 h 213"/>
                <a:gd name="T38" fmla="*/ 38 w 182"/>
                <a:gd name="T39" fmla="*/ 189 h 213"/>
                <a:gd name="T40" fmla="*/ 54 w 182"/>
                <a:gd name="T41" fmla="*/ 213 h 213"/>
                <a:gd name="T42" fmla="*/ 54 w 182"/>
                <a:gd name="T43" fmla="*/ 213 h 213"/>
                <a:gd name="T44" fmla="*/ 84 w 182"/>
                <a:gd name="T45" fmla="*/ 203 h 213"/>
                <a:gd name="T46" fmla="*/ 101 w 182"/>
                <a:gd name="T47" fmla="*/ 200 h 213"/>
                <a:gd name="T48" fmla="*/ 117 w 182"/>
                <a:gd name="T49" fmla="*/ 198 h 213"/>
                <a:gd name="T50" fmla="*/ 117 w 182"/>
                <a:gd name="T51" fmla="*/ 198 h 213"/>
                <a:gd name="T52" fmla="*/ 149 w 182"/>
                <a:gd name="T53" fmla="*/ 197 h 213"/>
                <a:gd name="T54" fmla="*/ 182 w 182"/>
                <a:gd name="T55" fmla="*/ 197 h 213"/>
                <a:gd name="T56" fmla="*/ 182 w 182"/>
                <a:gd name="T57" fmla="*/ 197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2" h="213">
                  <a:moveTo>
                    <a:pt x="182" y="197"/>
                  </a:moveTo>
                  <a:lnTo>
                    <a:pt x="182" y="197"/>
                  </a:lnTo>
                  <a:lnTo>
                    <a:pt x="157" y="169"/>
                  </a:lnTo>
                  <a:lnTo>
                    <a:pt x="135" y="141"/>
                  </a:lnTo>
                  <a:lnTo>
                    <a:pt x="116" y="114"/>
                  </a:lnTo>
                  <a:lnTo>
                    <a:pt x="99" y="89"/>
                  </a:lnTo>
                  <a:lnTo>
                    <a:pt x="84" y="64"/>
                  </a:lnTo>
                  <a:lnTo>
                    <a:pt x="73" y="41"/>
                  </a:lnTo>
                  <a:lnTo>
                    <a:pt x="64" y="20"/>
                  </a:lnTo>
                  <a:lnTo>
                    <a:pt x="58" y="0"/>
                  </a:lnTo>
                  <a:lnTo>
                    <a:pt x="6" y="68"/>
                  </a:lnTo>
                  <a:lnTo>
                    <a:pt x="6" y="68"/>
                  </a:lnTo>
                  <a:lnTo>
                    <a:pt x="3" y="73"/>
                  </a:lnTo>
                  <a:lnTo>
                    <a:pt x="1" y="79"/>
                  </a:lnTo>
                  <a:lnTo>
                    <a:pt x="0" y="93"/>
                  </a:lnTo>
                  <a:lnTo>
                    <a:pt x="1" y="107"/>
                  </a:lnTo>
                  <a:lnTo>
                    <a:pt x="6" y="126"/>
                  </a:lnTo>
                  <a:lnTo>
                    <a:pt x="13" y="146"/>
                  </a:lnTo>
                  <a:lnTo>
                    <a:pt x="25" y="167"/>
                  </a:lnTo>
                  <a:lnTo>
                    <a:pt x="38" y="189"/>
                  </a:lnTo>
                  <a:lnTo>
                    <a:pt x="54" y="213"/>
                  </a:lnTo>
                  <a:lnTo>
                    <a:pt x="54" y="213"/>
                  </a:lnTo>
                  <a:lnTo>
                    <a:pt x="84" y="203"/>
                  </a:lnTo>
                  <a:lnTo>
                    <a:pt x="101" y="200"/>
                  </a:lnTo>
                  <a:lnTo>
                    <a:pt x="117" y="198"/>
                  </a:lnTo>
                  <a:lnTo>
                    <a:pt x="117" y="198"/>
                  </a:lnTo>
                  <a:lnTo>
                    <a:pt x="149" y="197"/>
                  </a:lnTo>
                  <a:lnTo>
                    <a:pt x="182" y="197"/>
                  </a:lnTo>
                  <a:lnTo>
                    <a:pt x="182" y="19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35" name="Freeform 134"/>
            <p:cNvSpPr>
              <a:spLocks/>
            </p:cNvSpPr>
            <p:nvPr/>
          </p:nvSpPr>
          <p:spPr bwMode="auto">
            <a:xfrm>
              <a:off x="4314231" y="3008028"/>
              <a:ext cx="712045" cy="454837"/>
            </a:xfrm>
            <a:custGeom>
              <a:avLst/>
              <a:gdLst>
                <a:gd name="T0" fmla="*/ 416 w 490"/>
                <a:gd name="T1" fmla="*/ 222 h 313"/>
                <a:gd name="T2" fmla="*/ 416 w 490"/>
                <a:gd name="T3" fmla="*/ 222 h 313"/>
                <a:gd name="T4" fmla="*/ 399 w 490"/>
                <a:gd name="T5" fmla="*/ 213 h 313"/>
                <a:gd name="T6" fmla="*/ 399 w 490"/>
                <a:gd name="T7" fmla="*/ 213 h 313"/>
                <a:gd name="T8" fmla="*/ 363 w 490"/>
                <a:gd name="T9" fmla="*/ 193 h 313"/>
                <a:gd name="T10" fmla="*/ 363 w 490"/>
                <a:gd name="T11" fmla="*/ 193 h 313"/>
                <a:gd name="T12" fmla="*/ 325 w 490"/>
                <a:gd name="T13" fmla="*/ 170 h 313"/>
                <a:gd name="T14" fmla="*/ 325 w 490"/>
                <a:gd name="T15" fmla="*/ 170 h 313"/>
                <a:gd name="T16" fmla="*/ 295 w 490"/>
                <a:gd name="T17" fmla="*/ 149 h 313"/>
                <a:gd name="T18" fmla="*/ 263 w 490"/>
                <a:gd name="T19" fmla="*/ 126 h 313"/>
                <a:gd name="T20" fmla="*/ 234 w 490"/>
                <a:gd name="T21" fmla="*/ 101 h 313"/>
                <a:gd name="T22" fmla="*/ 202 w 490"/>
                <a:gd name="T23" fmla="*/ 74 h 313"/>
                <a:gd name="T24" fmla="*/ 202 w 490"/>
                <a:gd name="T25" fmla="*/ 74 h 313"/>
                <a:gd name="T26" fmla="*/ 164 w 490"/>
                <a:gd name="T27" fmla="*/ 36 h 313"/>
                <a:gd name="T28" fmla="*/ 128 w 490"/>
                <a:gd name="T29" fmla="*/ 0 h 313"/>
                <a:gd name="T30" fmla="*/ 128 w 490"/>
                <a:gd name="T31" fmla="*/ 0 h 313"/>
                <a:gd name="T32" fmla="*/ 95 w 490"/>
                <a:gd name="T33" fmla="*/ 0 h 313"/>
                <a:gd name="T34" fmla="*/ 63 w 490"/>
                <a:gd name="T35" fmla="*/ 1 h 313"/>
                <a:gd name="T36" fmla="*/ 63 w 490"/>
                <a:gd name="T37" fmla="*/ 1 h 313"/>
                <a:gd name="T38" fmla="*/ 47 w 490"/>
                <a:gd name="T39" fmla="*/ 3 h 313"/>
                <a:gd name="T40" fmla="*/ 30 w 490"/>
                <a:gd name="T41" fmla="*/ 6 h 313"/>
                <a:gd name="T42" fmla="*/ 0 w 490"/>
                <a:gd name="T43" fmla="*/ 16 h 313"/>
                <a:gd name="T44" fmla="*/ 0 w 490"/>
                <a:gd name="T45" fmla="*/ 16 h 313"/>
                <a:gd name="T46" fmla="*/ 25 w 490"/>
                <a:gd name="T47" fmla="*/ 49 h 313"/>
                <a:gd name="T48" fmla="*/ 55 w 490"/>
                <a:gd name="T49" fmla="*/ 86 h 313"/>
                <a:gd name="T50" fmla="*/ 90 w 490"/>
                <a:gd name="T51" fmla="*/ 121 h 313"/>
                <a:gd name="T52" fmla="*/ 128 w 490"/>
                <a:gd name="T53" fmla="*/ 157 h 313"/>
                <a:gd name="T54" fmla="*/ 128 w 490"/>
                <a:gd name="T55" fmla="*/ 157 h 313"/>
                <a:gd name="T56" fmla="*/ 176 w 490"/>
                <a:gd name="T57" fmla="*/ 198 h 313"/>
                <a:gd name="T58" fmla="*/ 222 w 490"/>
                <a:gd name="T59" fmla="*/ 235 h 313"/>
                <a:gd name="T60" fmla="*/ 268 w 490"/>
                <a:gd name="T61" fmla="*/ 265 h 313"/>
                <a:gd name="T62" fmla="*/ 290 w 490"/>
                <a:gd name="T63" fmla="*/ 276 h 313"/>
                <a:gd name="T64" fmla="*/ 311 w 490"/>
                <a:gd name="T65" fmla="*/ 288 h 313"/>
                <a:gd name="T66" fmla="*/ 331 w 490"/>
                <a:gd name="T67" fmla="*/ 296 h 313"/>
                <a:gd name="T68" fmla="*/ 349 w 490"/>
                <a:gd name="T69" fmla="*/ 304 h 313"/>
                <a:gd name="T70" fmla="*/ 368 w 490"/>
                <a:gd name="T71" fmla="*/ 309 h 313"/>
                <a:gd name="T72" fmla="*/ 383 w 490"/>
                <a:gd name="T73" fmla="*/ 313 h 313"/>
                <a:gd name="T74" fmla="*/ 397 w 490"/>
                <a:gd name="T75" fmla="*/ 313 h 313"/>
                <a:gd name="T76" fmla="*/ 409 w 490"/>
                <a:gd name="T77" fmla="*/ 313 h 313"/>
                <a:gd name="T78" fmla="*/ 419 w 490"/>
                <a:gd name="T79" fmla="*/ 309 h 313"/>
                <a:gd name="T80" fmla="*/ 427 w 490"/>
                <a:gd name="T81" fmla="*/ 303 h 313"/>
                <a:gd name="T82" fmla="*/ 490 w 490"/>
                <a:gd name="T83" fmla="*/ 246 h 313"/>
                <a:gd name="T84" fmla="*/ 490 w 490"/>
                <a:gd name="T85" fmla="*/ 246 h 313"/>
                <a:gd name="T86" fmla="*/ 478 w 490"/>
                <a:gd name="T87" fmla="*/ 243 h 313"/>
                <a:gd name="T88" fmla="*/ 464 w 490"/>
                <a:gd name="T89" fmla="*/ 240 h 313"/>
                <a:gd name="T90" fmla="*/ 464 w 490"/>
                <a:gd name="T91" fmla="*/ 240 h 313"/>
                <a:gd name="T92" fmla="*/ 440 w 490"/>
                <a:gd name="T93" fmla="*/ 233 h 313"/>
                <a:gd name="T94" fmla="*/ 416 w 490"/>
                <a:gd name="T95" fmla="*/ 222 h 313"/>
                <a:gd name="T96" fmla="*/ 416 w 490"/>
                <a:gd name="T97" fmla="*/ 222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90" h="313">
                  <a:moveTo>
                    <a:pt x="416" y="222"/>
                  </a:moveTo>
                  <a:lnTo>
                    <a:pt x="416" y="222"/>
                  </a:lnTo>
                  <a:lnTo>
                    <a:pt x="399" y="213"/>
                  </a:lnTo>
                  <a:lnTo>
                    <a:pt x="399" y="213"/>
                  </a:lnTo>
                  <a:lnTo>
                    <a:pt x="363" y="193"/>
                  </a:lnTo>
                  <a:lnTo>
                    <a:pt x="363" y="193"/>
                  </a:lnTo>
                  <a:lnTo>
                    <a:pt x="325" y="170"/>
                  </a:lnTo>
                  <a:lnTo>
                    <a:pt x="325" y="170"/>
                  </a:lnTo>
                  <a:lnTo>
                    <a:pt x="295" y="149"/>
                  </a:lnTo>
                  <a:lnTo>
                    <a:pt x="263" y="126"/>
                  </a:lnTo>
                  <a:lnTo>
                    <a:pt x="234" y="101"/>
                  </a:lnTo>
                  <a:lnTo>
                    <a:pt x="202" y="74"/>
                  </a:lnTo>
                  <a:lnTo>
                    <a:pt x="202" y="74"/>
                  </a:lnTo>
                  <a:lnTo>
                    <a:pt x="164" y="36"/>
                  </a:lnTo>
                  <a:lnTo>
                    <a:pt x="128" y="0"/>
                  </a:lnTo>
                  <a:lnTo>
                    <a:pt x="128" y="0"/>
                  </a:lnTo>
                  <a:lnTo>
                    <a:pt x="95" y="0"/>
                  </a:lnTo>
                  <a:lnTo>
                    <a:pt x="63" y="1"/>
                  </a:lnTo>
                  <a:lnTo>
                    <a:pt x="63" y="1"/>
                  </a:lnTo>
                  <a:lnTo>
                    <a:pt x="47" y="3"/>
                  </a:lnTo>
                  <a:lnTo>
                    <a:pt x="30" y="6"/>
                  </a:lnTo>
                  <a:lnTo>
                    <a:pt x="0" y="16"/>
                  </a:lnTo>
                  <a:lnTo>
                    <a:pt x="0" y="16"/>
                  </a:lnTo>
                  <a:lnTo>
                    <a:pt x="25" y="49"/>
                  </a:lnTo>
                  <a:lnTo>
                    <a:pt x="55" y="86"/>
                  </a:lnTo>
                  <a:lnTo>
                    <a:pt x="90" y="121"/>
                  </a:lnTo>
                  <a:lnTo>
                    <a:pt x="128" y="157"/>
                  </a:lnTo>
                  <a:lnTo>
                    <a:pt x="128" y="157"/>
                  </a:lnTo>
                  <a:lnTo>
                    <a:pt x="176" y="198"/>
                  </a:lnTo>
                  <a:lnTo>
                    <a:pt x="222" y="235"/>
                  </a:lnTo>
                  <a:lnTo>
                    <a:pt x="268" y="265"/>
                  </a:lnTo>
                  <a:lnTo>
                    <a:pt x="290" y="276"/>
                  </a:lnTo>
                  <a:lnTo>
                    <a:pt x="311" y="288"/>
                  </a:lnTo>
                  <a:lnTo>
                    <a:pt x="331" y="296"/>
                  </a:lnTo>
                  <a:lnTo>
                    <a:pt x="349" y="304"/>
                  </a:lnTo>
                  <a:lnTo>
                    <a:pt x="368" y="309"/>
                  </a:lnTo>
                  <a:lnTo>
                    <a:pt x="383" y="313"/>
                  </a:lnTo>
                  <a:lnTo>
                    <a:pt x="397" y="313"/>
                  </a:lnTo>
                  <a:lnTo>
                    <a:pt x="409" y="313"/>
                  </a:lnTo>
                  <a:lnTo>
                    <a:pt x="419" y="309"/>
                  </a:lnTo>
                  <a:lnTo>
                    <a:pt x="427" y="303"/>
                  </a:lnTo>
                  <a:lnTo>
                    <a:pt x="490" y="246"/>
                  </a:lnTo>
                  <a:lnTo>
                    <a:pt x="490" y="246"/>
                  </a:lnTo>
                  <a:lnTo>
                    <a:pt x="478" y="243"/>
                  </a:lnTo>
                  <a:lnTo>
                    <a:pt x="464" y="240"/>
                  </a:lnTo>
                  <a:lnTo>
                    <a:pt x="464" y="240"/>
                  </a:lnTo>
                  <a:lnTo>
                    <a:pt x="440" y="233"/>
                  </a:lnTo>
                  <a:lnTo>
                    <a:pt x="416" y="222"/>
                  </a:lnTo>
                  <a:lnTo>
                    <a:pt x="416" y="222"/>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36" name="Freeform 135"/>
            <p:cNvSpPr>
              <a:spLocks/>
            </p:cNvSpPr>
            <p:nvPr/>
          </p:nvSpPr>
          <p:spPr bwMode="auto">
            <a:xfrm>
              <a:off x="4320043" y="1219196"/>
              <a:ext cx="1745237" cy="1788832"/>
            </a:xfrm>
            <a:custGeom>
              <a:avLst/>
              <a:gdLst>
                <a:gd name="T0" fmla="*/ 213 w 1201"/>
                <a:gd name="T1" fmla="*/ 1224 h 1231"/>
                <a:gd name="T2" fmla="*/ 213 w 1201"/>
                <a:gd name="T3" fmla="*/ 1224 h 1231"/>
                <a:gd name="T4" fmla="*/ 235 w 1201"/>
                <a:gd name="T5" fmla="*/ 1218 h 1231"/>
                <a:gd name="T6" fmla="*/ 256 w 1201"/>
                <a:gd name="T7" fmla="*/ 1209 h 1231"/>
                <a:gd name="T8" fmla="*/ 276 w 1201"/>
                <a:gd name="T9" fmla="*/ 1199 h 1231"/>
                <a:gd name="T10" fmla="*/ 296 w 1201"/>
                <a:gd name="T11" fmla="*/ 1188 h 1231"/>
                <a:gd name="T12" fmla="*/ 314 w 1201"/>
                <a:gd name="T13" fmla="*/ 1175 h 1231"/>
                <a:gd name="T14" fmla="*/ 332 w 1201"/>
                <a:gd name="T15" fmla="*/ 1161 h 1231"/>
                <a:gd name="T16" fmla="*/ 369 w 1201"/>
                <a:gd name="T17" fmla="*/ 1132 h 1231"/>
                <a:gd name="T18" fmla="*/ 369 w 1201"/>
                <a:gd name="T19" fmla="*/ 1132 h 1231"/>
                <a:gd name="T20" fmla="*/ 481 w 1201"/>
                <a:gd name="T21" fmla="*/ 1037 h 1231"/>
                <a:gd name="T22" fmla="*/ 590 w 1201"/>
                <a:gd name="T23" fmla="*/ 940 h 1231"/>
                <a:gd name="T24" fmla="*/ 698 w 1201"/>
                <a:gd name="T25" fmla="*/ 839 h 1231"/>
                <a:gd name="T26" fmla="*/ 802 w 1201"/>
                <a:gd name="T27" fmla="*/ 738 h 1231"/>
                <a:gd name="T28" fmla="*/ 906 w 1201"/>
                <a:gd name="T29" fmla="*/ 632 h 1231"/>
                <a:gd name="T30" fmla="*/ 1007 w 1201"/>
                <a:gd name="T31" fmla="*/ 526 h 1231"/>
                <a:gd name="T32" fmla="*/ 1105 w 1201"/>
                <a:gd name="T33" fmla="*/ 417 h 1231"/>
                <a:gd name="T34" fmla="*/ 1201 w 1201"/>
                <a:gd name="T35" fmla="*/ 306 h 1231"/>
                <a:gd name="T36" fmla="*/ 1201 w 1201"/>
                <a:gd name="T37" fmla="*/ 306 h 1231"/>
                <a:gd name="T38" fmla="*/ 1174 w 1201"/>
                <a:gd name="T39" fmla="*/ 284 h 1231"/>
                <a:gd name="T40" fmla="*/ 1148 w 1201"/>
                <a:gd name="T41" fmla="*/ 261 h 1231"/>
                <a:gd name="T42" fmla="*/ 1148 w 1201"/>
                <a:gd name="T43" fmla="*/ 261 h 1231"/>
                <a:gd name="T44" fmla="*/ 1115 w 1201"/>
                <a:gd name="T45" fmla="*/ 228 h 1231"/>
                <a:gd name="T46" fmla="*/ 1082 w 1201"/>
                <a:gd name="T47" fmla="*/ 195 h 1231"/>
                <a:gd name="T48" fmla="*/ 1052 w 1201"/>
                <a:gd name="T49" fmla="*/ 162 h 1231"/>
                <a:gd name="T50" fmla="*/ 1025 w 1201"/>
                <a:gd name="T51" fmla="*/ 129 h 1231"/>
                <a:gd name="T52" fmla="*/ 1001 w 1201"/>
                <a:gd name="T53" fmla="*/ 94 h 1231"/>
                <a:gd name="T54" fmla="*/ 979 w 1201"/>
                <a:gd name="T55" fmla="*/ 63 h 1231"/>
                <a:gd name="T56" fmla="*/ 961 w 1201"/>
                <a:gd name="T57" fmla="*/ 31 h 1231"/>
                <a:gd name="T58" fmla="*/ 944 w 1201"/>
                <a:gd name="T59" fmla="*/ 0 h 1231"/>
                <a:gd name="T60" fmla="*/ 944 w 1201"/>
                <a:gd name="T61" fmla="*/ 0 h 1231"/>
                <a:gd name="T62" fmla="*/ 906 w 1201"/>
                <a:gd name="T63" fmla="*/ 25 h 1231"/>
                <a:gd name="T64" fmla="*/ 868 w 1201"/>
                <a:gd name="T65" fmla="*/ 51 h 1231"/>
                <a:gd name="T66" fmla="*/ 830 w 1201"/>
                <a:gd name="T67" fmla="*/ 78 h 1231"/>
                <a:gd name="T68" fmla="*/ 794 w 1201"/>
                <a:gd name="T69" fmla="*/ 104 h 1231"/>
                <a:gd name="T70" fmla="*/ 757 w 1201"/>
                <a:gd name="T71" fmla="*/ 132 h 1231"/>
                <a:gd name="T72" fmla="*/ 723 w 1201"/>
                <a:gd name="T73" fmla="*/ 160 h 1231"/>
                <a:gd name="T74" fmla="*/ 688 w 1201"/>
                <a:gd name="T75" fmla="*/ 190 h 1231"/>
                <a:gd name="T76" fmla="*/ 655 w 1201"/>
                <a:gd name="T77" fmla="*/ 218 h 1231"/>
                <a:gd name="T78" fmla="*/ 623 w 1201"/>
                <a:gd name="T79" fmla="*/ 248 h 1231"/>
                <a:gd name="T80" fmla="*/ 592 w 1201"/>
                <a:gd name="T81" fmla="*/ 279 h 1231"/>
                <a:gd name="T82" fmla="*/ 561 w 1201"/>
                <a:gd name="T83" fmla="*/ 309 h 1231"/>
                <a:gd name="T84" fmla="*/ 532 w 1201"/>
                <a:gd name="T85" fmla="*/ 341 h 1231"/>
                <a:gd name="T86" fmla="*/ 503 w 1201"/>
                <a:gd name="T87" fmla="*/ 374 h 1231"/>
                <a:gd name="T88" fmla="*/ 476 w 1201"/>
                <a:gd name="T89" fmla="*/ 405 h 1231"/>
                <a:gd name="T90" fmla="*/ 450 w 1201"/>
                <a:gd name="T91" fmla="*/ 438 h 1231"/>
                <a:gd name="T92" fmla="*/ 423 w 1201"/>
                <a:gd name="T93" fmla="*/ 471 h 1231"/>
                <a:gd name="T94" fmla="*/ 0 w 1201"/>
                <a:gd name="T95" fmla="*/ 1034 h 1231"/>
                <a:gd name="T96" fmla="*/ 0 w 1201"/>
                <a:gd name="T97" fmla="*/ 1034 h 1231"/>
                <a:gd name="T98" fmla="*/ 6 w 1201"/>
                <a:gd name="T99" fmla="*/ 1054 h 1231"/>
                <a:gd name="T100" fmla="*/ 15 w 1201"/>
                <a:gd name="T101" fmla="*/ 1075 h 1231"/>
                <a:gd name="T102" fmla="*/ 26 w 1201"/>
                <a:gd name="T103" fmla="*/ 1098 h 1231"/>
                <a:gd name="T104" fmla="*/ 41 w 1201"/>
                <a:gd name="T105" fmla="*/ 1123 h 1231"/>
                <a:gd name="T106" fmla="*/ 58 w 1201"/>
                <a:gd name="T107" fmla="*/ 1148 h 1231"/>
                <a:gd name="T108" fmla="*/ 77 w 1201"/>
                <a:gd name="T109" fmla="*/ 1175 h 1231"/>
                <a:gd name="T110" fmla="*/ 99 w 1201"/>
                <a:gd name="T111" fmla="*/ 1203 h 1231"/>
                <a:gd name="T112" fmla="*/ 124 w 1201"/>
                <a:gd name="T113" fmla="*/ 1231 h 1231"/>
                <a:gd name="T114" fmla="*/ 124 w 1201"/>
                <a:gd name="T115" fmla="*/ 1231 h 1231"/>
                <a:gd name="T116" fmla="*/ 168 w 1201"/>
                <a:gd name="T117" fmla="*/ 1229 h 1231"/>
                <a:gd name="T118" fmla="*/ 190 w 1201"/>
                <a:gd name="T119" fmla="*/ 1228 h 1231"/>
                <a:gd name="T120" fmla="*/ 213 w 1201"/>
                <a:gd name="T121" fmla="*/ 1224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1" h="1231">
                  <a:moveTo>
                    <a:pt x="213" y="1224"/>
                  </a:moveTo>
                  <a:lnTo>
                    <a:pt x="213" y="1224"/>
                  </a:lnTo>
                  <a:lnTo>
                    <a:pt x="235" y="1218"/>
                  </a:lnTo>
                  <a:lnTo>
                    <a:pt x="256" y="1209"/>
                  </a:lnTo>
                  <a:lnTo>
                    <a:pt x="276" y="1199"/>
                  </a:lnTo>
                  <a:lnTo>
                    <a:pt x="296" y="1188"/>
                  </a:lnTo>
                  <a:lnTo>
                    <a:pt x="314" y="1175"/>
                  </a:lnTo>
                  <a:lnTo>
                    <a:pt x="332" y="1161"/>
                  </a:lnTo>
                  <a:lnTo>
                    <a:pt x="369" y="1132"/>
                  </a:lnTo>
                  <a:lnTo>
                    <a:pt x="369" y="1132"/>
                  </a:lnTo>
                  <a:lnTo>
                    <a:pt x="481" y="1037"/>
                  </a:lnTo>
                  <a:lnTo>
                    <a:pt x="590" y="940"/>
                  </a:lnTo>
                  <a:lnTo>
                    <a:pt x="698" y="839"/>
                  </a:lnTo>
                  <a:lnTo>
                    <a:pt x="802" y="738"/>
                  </a:lnTo>
                  <a:lnTo>
                    <a:pt x="906" y="632"/>
                  </a:lnTo>
                  <a:lnTo>
                    <a:pt x="1007" y="526"/>
                  </a:lnTo>
                  <a:lnTo>
                    <a:pt x="1105" y="417"/>
                  </a:lnTo>
                  <a:lnTo>
                    <a:pt x="1201" y="306"/>
                  </a:lnTo>
                  <a:lnTo>
                    <a:pt x="1201" y="306"/>
                  </a:lnTo>
                  <a:lnTo>
                    <a:pt x="1174" y="284"/>
                  </a:lnTo>
                  <a:lnTo>
                    <a:pt x="1148" y="261"/>
                  </a:lnTo>
                  <a:lnTo>
                    <a:pt x="1148" y="261"/>
                  </a:lnTo>
                  <a:lnTo>
                    <a:pt x="1115" y="228"/>
                  </a:lnTo>
                  <a:lnTo>
                    <a:pt x="1082" y="195"/>
                  </a:lnTo>
                  <a:lnTo>
                    <a:pt x="1052" y="162"/>
                  </a:lnTo>
                  <a:lnTo>
                    <a:pt x="1025" y="129"/>
                  </a:lnTo>
                  <a:lnTo>
                    <a:pt x="1001" y="94"/>
                  </a:lnTo>
                  <a:lnTo>
                    <a:pt x="979" y="63"/>
                  </a:lnTo>
                  <a:lnTo>
                    <a:pt x="961" y="31"/>
                  </a:lnTo>
                  <a:lnTo>
                    <a:pt x="944" y="0"/>
                  </a:lnTo>
                  <a:lnTo>
                    <a:pt x="944" y="0"/>
                  </a:lnTo>
                  <a:lnTo>
                    <a:pt x="906" y="25"/>
                  </a:lnTo>
                  <a:lnTo>
                    <a:pt x="868" y="51"/>
                  </a:lnTo>
                  <a:lnTo>
                    <a:pt x="830" y="78"/>
                  </a:lnTo>
                  <a:lnTo>
                    <a:pt x="794" y="104"/>
                  </a:lnTo>
                  <a:lnTo>
                    <a:pt x="757" y="132"/>
                  </a:lnTo>
                  <a:lnTo>
                    <a:pt x="723" y="160"/>
                  </a:lnTo>
                  <a:lnTo>
                    <a:pt x="688" y="190"/>
                  </a:lnTo>
                  <a:lnTo>
                    <a:pt x="655" y="218"/>
                  </a:lnTo>
                  <a:lnTo>
                    <a:pt x="623" y="248"/>
                  </a:lnTo>
                  <a:lnTo>
                    <a:pt x="592" y="279"/>
                  </a:lnTo>
                  <a:lnTo>
                    <a:pt x="561" y="309"/>
                  </a:lnTo>
                  <a:lnTo>
                    <a:pt x="532" y="341"/>
                  </a:lnTo>
                  <a:lnTo>
                    <a:pt x="503" y="374"/>
                  </a:lnTo>
                  <a:lnTo>
                    <a:pt x="476" y="405"/>
                  </a:lnTo>
                  <a:lnTo>
                    <a:pt x="450" y="438"/>
                  </a:lnTo>
                  <a:lnTo>
                    <a:pt x="423" y="471"/>
                  </a:lnTo>
                  <a:lnTo>
                    <a:pt x="0" y="1034"/>
                  </a:lnTo>
                  <a:lnTo>
                    <a:pt x="0" y="1034"/>
                  </a:lnTo>
                  <a:lnTo>
                    <a:pt x="6" y="1054"/>
                  </a:lnTo>
                  <a:lnTo>
                    <a:pt x="15" y="1075"/>
                  </a:lnTo>
                  <a:lnTo>
                    <a:pt x="26" y="1098"/>
                  </a:lnTo>
                  <a:lnTo>
                    <a:pt x="41" y="1123"/>
                  </a:lnTo>
                  <a:lnTo>
                    <a:pt x="58" y="1148"/>
                  </a:lnTo>
                  <a:lnTo>
                    <a:pt x="77" y="1175"/>
                  </a:lnTo>
                  <a:lnTo>
                    <a:pt x="99" y="1203"/>
                  </a:lnTo>
                  <a:lnTo>
                    <a:pt x="124" y="1231"/>
                  </a:lnTo>
                  <a:lnTo>
                    <a:pt x="124" y="1231"/>
                  </a:lnTo>
                  <a:lnTo>
                    <a:pt x="168" y="1229"/>
                  </a:lnTo>
                  <a:lnTo>
                    <a:pt x="190" y="1228"/>
                  </a:lnTo>
                  <a:lnTo>
                    <a:pt x="213" y="1224"/>
                  </a:lnTo>
                  <a:close/>
                </a:path>
              </a:pathLst>
            </a:custGeom>
            <a:solidFill>
              <a:srgbClr val="F0F1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36"/>
            <p:cNvSpPr>
              <a:spLocks/>
            </p:cNvSpPr>
            <p:nvPr/>
          </p:nvSpPr>
          <p:spPr bwMode="auto">
            <a:xfrm>
              <a:off x="4320043" y="1219196"/>
              <a:ext cx="1745237" cy="1788832"/>
            </a:xfrm>
            <a:custGeom>
              <a:avLst/>
              <a:gdLst>
                <a:gd name="T0" fmla="*/ 213 w 1201"/>
                <a:gd name="T1" fmla="*/ 1224 h 1231"/>
                <a:gd name="T2" fmla="*/ 213 w 1201"/>
                <a:gd name="T3" fmla="*/ 1224 h 1231"/>
                <a:gd name="T4" fmla="*/ 235 w 1201"/>
                <a:gd name="T5" fmla="*/ 1218 h 1231"/>
                <a:gd name="T6" fmla="*/ 256 w 1201"/>
                <a:gd name="T7" fmla="*/ 1209 h 1231"/>
                <a:gd name="T8" fmla="*/ 276 w 1201"/>
                <a:gd name="T9" fmla="*/ 1199 h 1231"/>
                <a:gd name="T10" fmla="*/ 296 w 1201"/>
                <a:gd name="T11" fmla="*/ 1188 h 1231"/>
                <a:gd name="T12" fmla="*/ 314 w 1201"/>
                <a:gd name="T13" fmla="*/ 1175 h 1231"/>
                <a:gd name="T14" fmla="*/ 332 w 1201"/>
                <a:gd name="T15" fmla="*/ 1161 h 1231"/>
                <a:gd name="T16" fmla="*/ 369 w 1201"/>
                <a:gd name="T17" fmla="*/ 1132 h 1231"/>
                <a:gd name="T18" fmla="*/ 369 w 1201"/>
                <a:gd name="T19" fmla="*/ 1132 h 1231"/>
                <a:gd name="T20" fmla="*/ 481 w 1201"/>
                <a:gd name="T21" fmla="*/ 1037 h 1231"/>
                <a:gd name="T22" fmla="*/ 590 w 1201"/>
                <a:gd name="T23" fmla="*/ 940 h 1231"/>
                <a:gd name="T24" fmla="*/ 698 w 1201"/>
                <a:gd name="T25" fmla="*/ 839 h 1231"/>
                <a:gd name="T26" fmla="*/ 802 w 1201"/>
                <a:gd name="T27" fmla="*/ 738 h 1231"/>
                <a:gd name="T28" fmla="*/ 906 w 1201"/>
                <a:gd name="T29" fmla="*/ 632 h 1231"/>
                <a:gd name="T30" fmla="*/ 1007 w 1201"/>
                <a:gd name="T31" fmla="*/ 526 h 1231"/>
                <a:gd name="T32" fmla="*/ 1105 w 1201"/>
                <a:gd name="T33" fmla="*/ 417 h 1231"/>
                <a:gd name="T34" fmla="*/ 1201 w 1201"/>
                <a:gd name="T35" fmla="*/ 306 h 1231"/>
                <a:gd name="T36" fmla="*/ 1201 w 1201"/>
                <a:gd name="T37" fmla="*/ 306 h 1231"/>
                <a:gd name="T38" fmla="*/ 1174 w 1201"/>
                <a:gd name="T39" fmla="*/ 284 h 1231"/>
                <a:gd name="T40" fmla="*/ 1148 w 1201"/>
                <a:gd name="T41" fmla="*/ 261 h 1231"/>
                <a:gd name="T42" fmla="*/ 1148 w 1201"/>
                <a:gd name="T43" fmla="*/ 261 h 1231"/>
                <a:gd name="T44" fmla="*/ 1115 w 1201"/>
                <a:gd name="T45" fmla="*/ 228 h 1231"/>
                <a:gd name="T46" fmla="*/ 1082 w 1201"/>
                <a:gd name="T47" fmla="*/ 195 h 1231"/>
                <a:gd name="T48" fmla="*/ 1052 w 1201"/>
                <a:gd name="T49" fmla="*/ 162 h 1231"/>
                <a:gd name="T50" fmla="*/ 1025 w 1201"/>
                <a:gd name="T51" fmla="*/ 129 h 1231"/>
                <a:gd name="T52" fmla="*/ 1001 w 1201"/>
                <a:gd name="T53" fmla="*/ 94 h 1231"/>
                <a:gd name="T54" fmla="*/ 979 w 1201"/>
                <a:gd name="T55" fmla="*/ 63 h 1231"/>
                <a:gd name="T56" fmla="*/ 961 w 1201"/>
                <a:gd name="T57" fmla="*/ 31 h 1231"/>
                <a:gd name="T58" fmla="*/ 944 w 1201"/>
                <a:gd name="T59" fmla="*/ 0 h 1231"/>
                <a:gd name="T60" fmla="*/ 944 w 1201"/>
                <a:gd name="T61" fmla="*/ 0 h 1231"/>
                <a:gd name="T62" fmla="*/ 906 w 1201"/>
                <a:gd name="T63" fmla="*/ 25 h 1231"/>
                <a:gd name="T64" fmla="*/ 868 w 1201"/>
                <a:gd name="T65" fmla="*/ 51 h 1231"/>
                <a:gd name="T66" fmla="*/ 830 w 1201"/>
                <a:gd name="T67" fmla="*/ 78 h 1231"/>
                <a:gd name="T68" fmla="*/ 794 w 1201"/>
                <a:gd name="T69" fmla="*/ 104 h 1231"/>
                <a:gd name="T70" fmla="*/ 757 w 1201"/>
                <a:gd name="T71" fmla="*/ 132 h 1231"/>
                <a:gd name="T72" fmla="*/ 723 w 1201"/>
                <a:gd name="T73" fmla="*/ 160 h 1231"/>
                <a:gd name="T74" fmla="*/ 688 w 1201"/>
                <a:gd name="T75" fmla="*/ 190 h 1231"/>
                <a:gd name="T76" fmla="*/ 655 w 1201"/>
                <a:gd name="T77" fmla="*/ 218 h 1231"/>
                <a:gd name="T78" fmla="*/ 623 w 1201"/>
                <a:gd name="T79" fmla="*/ 248 h 1231"/>
                <a:gd name="T80" fmla="*/ 592 w 1201"/>
                <a:gd name="T81" fmla="*/ 279 h 1231"/>
                <a:gd name="T82" fmla="*/ 561 w 1201"/>
                <a:gd name="T83" fmla="*/ 309 h 1231"/>
                <a:gd name="T84" fmla="*/ 532 w 1201"/>
                <a:gd name="T85" fmla="*/ 341 h 1231"/>
                <a:gd name="T86" fmla="*/ 503 w 1201"/>
                <a:gd name="T87" fmla="*/ 374 h 1231"/>
                <a:gd name="T88" fmla="*/ 476 w 1201"/>
                <a:gd name="T89" fmla="*/ 405 h 1231"/>
                <a:gd name="T90" fmla="*/ 450 w 1201"/>
                <a:gd name="T91" fmla="*/ 438 h 1231"/>
                <a:gd name="T92" fmla="*/ 423 w 1201"/>
                <a:gd name="T93" fmla="*/ 471 h 1231"/>
                <a:gd name="T94" fmla="*/ 0 w 1201"/>
                <a:gd name="T95" fmla="*/ 1034 h 1231"/>
                <a:gd name="T96" fmla="*/ 0 w 1201"/>
                <a:gd name="T97" fmla="*/ 1034 h 1231"/>
                <a:gd name="T98" fmla="*/ 6 w 1201"/>
                <a:gd name="T99" fmla="*/ 1054 h 1231"/>
                <a:gd name="T100" fmla="*/ 15 w 1201"/>
                <a:gd name="T101" fmla="*/ 1075 h 1231"/>
                <a:gd name="T102" fmla="*/ 26 w 1201"/>
                <a:gd name="T103" fmla="*/ 1098 h 1231"/>
                <a:gd name="T104" fmla="*/ 41 w 1201"/>
                <a:gd name="T105" fmla="*/ 1123 h 1231"/>
                <a:gd name="T106" fmla="*/ 58 w 1201"/>
                <a:gd name="T107" fmla="*/ 1148 h 1231"/>
                <a:gd name="T108" fmla="*/ 77 w 1201"/>
                <a:gd name="T109" fmla="*/ 1175 h 1231"/>
                <a:gd name="T110" fmla="*/ 99 w 1201"/>
                <a:gd name="T111" fmla="*/ 1203 h 1231"/>
                <a:gd name="T112" fmla="*/ 124 w 1201"/>
                <a:gd name="T113" fmla="*/ 1231 h 1231"/>
                <a:gd name="T114" fmla="*/ 124 w 1201"/>
                <a:gd name="T115" fmla="*/ 1231 h 1231"/>
                <a:gd name="T116" fmla="*/ 168 w 1201"/>
                <a:gd name="T117" fmla="*/ 1229 h 1231"/>
                <a:gd name="T118" fmla="*/ 190 w 1201"/>
                <a:gd name="T119" fmla="*/ 1228 h 1231"/>
                <a:gd name="T120" fmla="*/ 213 w 1201"/>
                <a:gd name="T121" fmla="*/ 1224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1" h="1231">
                  <a:moveTo>
                    <a:pt x="213" y="1224"/>
                  </a:moveTo>
                  <a:lnTo>
                    <a:pt x="213" y="1224"/>
                  </a:lnTo>
                  <a:lnTo>
                    <a:pt x="235" y="1218"/>
                  </a:lnTo>
                  <a:lnTo>
                    <a:pt x="256" y="1209"/>
                  </a:lnTo>
                  <a:lnTo>
                    <a:pt x="276" y="1199"/>
                  </a:lnTo>
                  <a:lnTo>
                    <a:pt x="296" y="1188"/>
                  </a:lnTo>
                  <a:lnTo>
                    <a:pt x="314" y="1175"/>
                  </a:lnTo>
                  <a:lnTo>
                    <a:pt x="332" y="1161"/>
                  </a:lnTo>
                  <a:lnTo>
                    <a:pt x="369" y="1132"/>
                  </a:lnTo>
                  <a:lnTo>
                    <a:pt x="369" y="1132"/>
                  </a:lnTo>
                  <a:lnTo>
                    <a:pt x="481" y="1037"/>
                  </a:lnTo>
                  <a:lnTo>
                    <a:pt x="590" y="940"/>
                  </a:lnTo>
                  <a:lnTo>
                    <a:pt x="698" y="839"/>
                  </a:lnTo>
                  <a:lnTo>
                    <a:pt x="802" y="738"/>
                  </a:lnTo>
                  <a:lnTo>
                    <a:pt x="906" y="632"/>
                  </a:lnTo>
                  <a:lnTo>
                    <a:pt x="1007" y="526"/>
                  </a:lnTo>
                  <a:lnTo>
                    <a:pt x="1105" y="417"/>
                  </a:lnTo>
                  <a:lnTo>
                    <a:pt x="1201" y="306"/>
                  </a:lnTo>
                  <a:lnTo>
                    <a:pt x="1201" y="306"/>
                  </a:lnTo>
                  <a:lnTo>
                    <a:pt x="1174" y="284"/>
                  </a:lnTo>
                  <a:lnTo>
                    <a:pt x="1148" y="261"/>
                  </a:lnTo>
                  <a:lnTo>
                    <a:pt x="1148" y="261"/>
                  </a:lnTo>
                  <a:lnTo>
                    <a:pt x="1115" y="228"/>
                  </a:lnTo>
                  <a:lnTo>
                    <a:pt x="1082" y="195"/>
                  </a:lnTo>
                  <a:lnTo>
                    <a:pt x="1052" y="162"/>
                  </a:lnTo>
                  <a:lnTo>
                    <a:pt x="1025" y="129"/>
                  </a:lnTo>
                  <a:lnTo>
                    <a:pt x="1001" y="94"/>
                  </a:lnTo>
                  <a:lnTo>
                    <a:pt x="979" y="63"/>
                  </a:lnTo>
                  <a:lnTo>
                    <a:pt x="961" y="31"/>
                  </a:lnTo>
                  <a:lnTo>
                    <a:pt x="944" y="0"/>
                  </a:lnTo>
                  <a:lnTo>
                    <a:pt x="944" y="0"/>
                  </a:lnTo>
                  <a:lnTo>
                    <a:pt x="906" y="25"/>
                  </a:lnTo>
                  <a:lnTo>
                    <a:pt x="868" y="51"/>
                  </a:lnTo>
                  <a:lnTo>
                    <a:pt x="830" y="78"/>
                  </a:lnTo>
                  <a:lnTo>
                    <a:pt x="794" y="104"/>
                  </a:lnTo>
                  <a:lnTo>
                    <a:pt x="757" y="132"/>
                  </a:lnTo>
                  <a:lnTo>
                    <a:pt x="723" y="160"/>
                  </a:lnTo>
                  <a:lnTo>
                    <a:pt x="688" y="190"/>
                  </a:lnTo>
                  <a:lnTo>
                    <a:pt x="655" y="218"/>
                  </a:lnTo>
                  <a:lnTo>
                    <a:pt x="623" y="248"/>
                  </a:lnTo>
                  <a:lnTo>
                    <a:pt x="592" y="279"/>
                  </a:lnTo>
                  <a:lnTo>
                    <a:pt x="561" y="309"/>
                  </a:lnTo>
                  <a:lnTo>
                    <a:pt x="532" y="341"/>
                  </a:lnTo>
                  <a:lnTo>
                    <a:pt x="503" y="374"/>
                  </a:lnTo>
                  <a:lnTo>
                    <a:pt x="476" y="405"/>
                  </a:lnTo>
                  <a:lnTo>
                    <a:pt x="450" y="438"/>
                  </a:lnTo>
                  <a:lnTo>
                    <a:pt x="423" y="471"/>
                  </a:lnTo>
                  <a:lnTo>
                    <a:pt x="0" y="1034"/>
                  </a:lnTo>
                  <a:lnTo>
                    <a:pt x="0" y="1034"/>
                  </a:lnTo>
                  <a:lnTo>
                    <a:pt x="6" y="1054"/>
                  </a:lnTo>
                  <a:lnTo>
                    <a:pt x="15" y="1075"/>
                  </a:lnTo>
                  <a:lnTo>
                    <a:pt x="26" y="1098"/>
                  </a:lnTo>
                  <a:lnTo>
                    <a:pt x="41" y="1123"/>
                  </a:lnTo>
                  <a:lnTo>
                    <a:pt x="58" y="1148"/>
                  </a:lnTo>
                  <a:lnTo>
                    <a:pt x="77" y="1175"/>
                  </a:lnTo>
                  <a:lnTo>
                    <a:pt x="99" y="1203"/>
                  </a:lnTo>
                  <a:lnTo>
                    <a:pt x="124" y="1231"/>
                  </a:lnTo>
                  <a:lnTo>
                    <a:pt x="124" y="1231"/>
                  </a:lnTo>
                  <a:lnTo>
                    <a:pt x="168" y="1229"/>
                  </a:lnTo>
                  <a:lnTo>
                    <a:pt x="190" y="1228"/>
                  </a:lnTo>
                  <a:lnTo>
                    <a:pt x="213" y="12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137"/>
            <p:cNvSpPr>
              <a:spLocks/>
            </p:cNvSpPr>
            <p:nvPr/>
          </p:nvSpPr>
          <p:spPr bwMode="auto">
            <a:xfrm>
              <a:off x="4500234" y="1663861"/>
              <a:ext cx="1893459" cy="1701643"/>
            </a:xfrm>
            <a:custGeom>
              <a:avLst/>
              <a:gdLst>
                <a:gd name="T0" fmla="*/ 1303 w 1303"/>
                <a:gd name="T1" fmla="*/ 132 h 1171"/>
                <a:gd name="T2" fmla="*/ 1251 w 1303"/>
                <a:gd name="T3" fmla="*/ 111 h 1171"/>
                <a:gd name="T4" fmla="*/ 1194 w 1303"/>
                <a:gd name="T5" fmla="*/ 79 h 1171"/>
                <a:gd name="T6" fmla="*/ 1136 w 1303"/>
                <a:gd name="T7" fmla="*/ 43 h 1171"/>
                <a:gd name="T8" fmla="*/ 1077 w 1303"/>
                <a:gd name="T9" fmla="*/ 0 h 1171"/>
                <a:gd name="T10" fmla="*/ 981 w 1303"/>
                <a:gd name="T11" fmla="*/ 111 h 1171"/>
                <a:gd name="T12" fmla="*/ 782 w 1303"/>
                <a:gd name="T13" fmla="*/ 326 h 1171"/>
                <a:gd name="T14" fmla="*/ 574 w 1303"/>
                <a:gd name="T15" fmla="*/ 533 h 1171"/>
                <a:gd name="T16" fmla="*/ 357 w 1303"/>
                <a:gd name="T17" fmla="*/ 731 h 1171"/>
                <a:gd name="T18" fmla="*/ 245 w 1303"/>
                <a:gd name="T19" fmla="*/ 826 h 1171"/>
                <a:gd name="T20" fmla="*/ 190 w 1303"/>
                <a:gd name="T21" fmla="*/ 869 h 1171"/>
                <a:gd name="T22" fmla="*/ 152 w 1303"/>
                <a:gd name="T23" fmla="*/ 893 h 1171"/>
                <a:gd name="T24" fmla="*/ 111 w 1303"/>
                <a:gd name="T25" fmla="*/ 912 h 1171"/>
                <a:gd name="T26" fmla="*/ 89 w 1303"/>
                <a:gd name="T27" fmla="*/ 918 h 1171"/>
                <a:gd name="T28" fmla="*/ 44 w 1303"/>
                <a:gd name="T29" fmla="*/ 923 h 1171"/>
                <a:gd name="T30" fmla="*/ 0 w 1303"/>
                <a:gd name="T31" fmla="*/ 925 h 1171"/>
                <a:gd name="T32" fmla="*/ 74 w 1303"/>
                <a:gd name="T33" fmla="*/ 999 h 1171"/>
                <a:gd name="T34" fmla="*/ 106 w 1303"/>
                <a:gd name="T35" fmla="*/ 1026 h 1171"/>
                <a:gd name="T36" fmla="*/ 167 w 1303"/>
                <a:gd name="T37" fmla="*/ 1074 h 1171"/>
                <a:gd name="T38" fmla="*/ 197 w 1303"/>
                <a:gd name="T39" fmla="*/ 1095 h 1171"/>
                <a:gd name="T40" fmla="*/ 235 w 1303"/>
                <a:gd name="T41" fmla="*/ 1118 h 1171"/>
                <a:gd name="T42" fmla="*/ 271 w 1303"/>
                <a:gd name="T43" fmla="*/ 1138 h 1171"/>
                <a:gd name="T44" fmla="*/ 288 w 1303"/>
                <a:gd name="T45" fmla="*/ 1147 h 1171"/>
                <a:gd name="T46" fmla="*/ 336 w 1303"/>
                <a:gd name="T47" fmla="*/ 1165 h 1171"/>
                <a:gd name="T48" fmla="*/ 350 w 1303"/>
                <a:gd name="T49" fmla="*/ 1168 h 1171"/>
                <a:gd name="T50" fmla="*/ 883 w 1303"/>
                <a:gd name="T51" fmla="*/ 697 h 1171"/>
                <a:gd name="T52" fmla="*/ 913 w 1303"/>
                <a:gd name="T53" fmla="*/ 667 h 1171"/>
                <a:gd name="T54" fmla="*/ 973 w 1303"/>
                <a:gd name="T55" fmla="*/ 607 h 1171"/>
                <a:gd name="T56" fmla="*/ 1030 w 1303"/>
                <a:gd name="T57" fmla="*/ 544 h 1171"/>
                <a:gd name="T58" fmla="*/ 1085 w 1303"/>
                <a:gd name="T59" fmla="*/ 476 h 1171"/>
                <a:gd name="T60" fmla="*/ 1138 w 1303"/>
                <a:gd name="T61" fmla="*/ 405 h 1171"/>
                <a:gd name="T62" fmla="*/ 1189 w 1303"/>
                <a:gd name="T63" fmla="*/ 333 h 1171"/>
                <a:gd name="T64" fmla="*/ 1237 w 1303"/>
                <a:gd name="T65" fmla="*/ 255 h 1171"/>
                <a:gd name="T66" fmla="*/ 1282 w 1303"/>
                <a:gd name="T67" fmla="*/ 174 h 1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03" h="1171">
                  <a:moveTo>
                    <a:pt x="1303" y="132"/>
                  </a:moveTo>
                  <a:lnTo>
                    <a:pt x="1303" y="132"/>
                  </a:lnTo>
                  <a:lnTo>
                    <a:pt x="1277" y="122"/>
                  </a:lnTo>
                  <a:lnTo>
                    <a:pt x="1251" y="111"/>
                  </a:lnTo>
                  <a:lnTo>
                    <a:pt x="1222" y="96"/>
                  </a:lnTo>
                  <a:lnTo>
                    <a:pt x="1194" y="79"/>
                  </a:lnTo>
                  <a:lnTo>
                    <a:pt x="1165" y="63"/>
                  </a:lnTo>
                  <a:lnTo>
                    <a:pt x="1136" y="43"/>
                  </a:lnTo>
                  <a:lnTo>
                    <a:pt x="1107" y="21"/>
                  </a:lnTo>
                  <a:lnTo>
                    <a:pt x="1077" y="0"/>
                  </a:lnTo>
                  <a:lnTo>
                    <a:pt x="1077" y="0"/>
                  </a:lnTo>
                  <a:lnTo>
                    <a:pt x="981" y="111"/>
                  </a:lnTo>
                  <a:lnTo>
                    <a:pt x="883" y="220"/>
                  </a:lnTo>
                  <a:lnTo>
                    <a:pt x="782" y="326"/>
                  </a:lnTo>
                  <a:lnTo>
                    <a:pt x="678" y="432"/>
                  </a:lnTo>
                  <a:lnTo>
                    <a:pt x="574" y="533"/>
                  </a:lnTo>
                  <a:lnTo>
                    <a:pt x="466" y="634"/>
                  </a:lnTo>
                  <a:lnTo>
                    <a:pt x="357" y="731"/>
                  </a:lnTo>
                  <a:lnTo>
                    <a:pt x="245" y="826"/>
                  </a:lnTo>
                  <a:lnTo>
                    <a:pt x="245" y="826"/>
                  </a:lnTo>
                  <a:lnTo>
                    <a:pt x="208" y="855"/>
                  </a:lnTo>
                  <a:lnTo>
                    <a:pt x="190" y="869"/>
                  </a:lnTo>
                  <a:lnTo>
                    <a:pt x="172" y="882"/>
                  </a:lnTo>
                  <a:lnTo>
                    <a:pt x="152" y="893"/>
                  </a:lnTo>
                  <a:lnTo>
                    <a:pt x="132" y="903"/>
                  </a:lnTo>
                  <a:lnTo>
                    <a:pt x="111" y="912"/>
                  </a:lnTo>
                  <a:lnTo>
                    <a:pt x="89" y="918"/>
                  </a:lnTo>
                  <a:lnTo>
                    <a:pt x="89" y="918"/>
                  </a:lnTo>
                  <a:lnTo>
                    <a:pt x="66" y="922"/>
                  </a:lnTo>
                  <a:lnTo>
                    <a:pt x="44" y="923"/>
                  </a:lnTo>
                  <a:lnTo>
                    <a:pt x="0" y="925"/>
                  </a:lnTo>
                  <a:lnTo>
                    <a:pt x="0" y="925"/>
                  </a:lnTo>
                  <a:lnTo>
                    <a:pt x="36" y="961"/>
                  </a:lnTo>
                  <a:lnTo>
                    <a:pt x="74" y="999"/>
                  </a:lnTo>
                  <a:lnTo>
                    <a:pt x="74" y="999"/>
                  </a:lnTo>
                  <a:lnTo>
                    <a:pt x="106" y="1026"/>
                  </a:lnTo>
                  <a:lnTo>
                    <a:pt x="135" y="1051"/>
                  </a:lnTo>
                  <a:lnTo>
                    <a:pt x="167" y="1074"/>
                  </a:lnTo>
                  <a:lnTo>
                    <a:pt x="197" y="1095"/>
                  </a:lnTo>
                  <a:lnTo>
                    <a:pt x="197" y="1095"/>
                  </a:lnTo>
                  <a:lnTo>
                    <a:pt x="235" y="1118"/>
                  </a:lnTo>
                  <a:lnTo>
                    <a:pt x="235" y="1118"/>
                  </a:lnTo>
                  <a:lnTo>
                    <a:pt x="271" y="1138"/>
                  </a:lnTo>
                  <a:lnTo>
                    <a:pt x="271" y="1138"/>
                  </a:lnTo>
                  <a:lnTo>
                    <a:pt x="288" y="1147"/>
                  </a:lnTo>
                  <a:lnTo>
                    <a:pt x="288" y="1147"/>
                  </a:lnTo>
                  <a:lnTo>
                    <a:pt x="312" y="1158"/>
                  </a:lnTo>
                  <a:lnTo>
                    <a:pt x="336" y="1165"/>
                  </a:lnTo>
                  <a:lnTo>
                    <a:pt x="336" y="1165"/>
                  </a:lnTo>
                  <a:lnTo>
                    <a:pt x="350" y="1168"/>
                  </a:lnTo>
                  <a:lnTo>
                    <a:pt x="362" y="1171"/>
                  </a:lnTo>
                  <a:lnTo>
                    <a:pt x="883" y="697"/>
                  </a:lnTo>
                  <a:lnTo>
                    <a:pt x="883" y="697"/>
                  </a:lnTo>
                  <a:lnTo>
                    <a:pt x="913" y="667"/>
                  </a:lnTo>
                  <a:lnTo>
                    <a:pt x="944" y="639"/>
                  </a:lnTo>
                  <a:lnTo>
                    <a:pt x="973" y="607"/>
                  </a:lnTo>
                  <a:lnTo>
                    <a:pt x="1002" y="576"/>
                  </a:lnTo>
                  <a:lnTo>
                    <a:pt x="1030" y="544"/>
                  </a:lnTo>
                  <a:lnTo>
                    <a:pt x="1059" y="511"/>
                  </a:lnTo>
                  <a:lnTo>
                    <a:pt x="1085" y="476"/>
                  </a:lnTo>
                  <a:lnTo>
                    <a:pt x="1113" y="442"/>
                  </a:lnTo>
                  <a:lnTo>
                    <a:pt x="1138" y="405"/>
                  </a:lnTo>
                  <a:lnTo>
                    <a:pt x="1165" y="369"/>
                  </a:lnTo>
                  <a:lnTo>
                    <a:pt x="1189" y="333"/>
                  </a:lnTo>
                  <a:lnTo>
                    <a:pt x="1214" y="293"/>
                  </a:lnTo>
                  <a:lnTo>
                    <a:pt x="1237" y="255"/>
                  </a:lnTo>
                  <a:lnTo>
                    <a:pt x="1260" y="215"/>
                  </a:lnTo>
                  <a:lnTo>
                    <a:pt x="1282" y="174"/>
                  </a:lnTo>
                  <a:lnTo>
                    <a:pt x="1303" y="132"/>
                  </a:lnTo>
                  <a:close/>
                </a:path>
              </a:pathLst>
            </a:custGeom>
            <a:solidFill>
              <a:srgbClr val="D2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38"/>
            <p:cNvSpPr>
              <a:spLocks/>
            </p:cNvSpPr>
            <p:nvPr/>
          </p:nvSpPr>
          <p:spPr bwMode="auto">
            <a:xfrm>
              <a:off x="4500234" y="1663861"/>
              <a:ext cx="1893459" cy="1701643"/>
            </a:xfrm>
            <a:custGeom>
              <a:avLst/>
              <a:gdLst>
                <a:gd name="T0" fmla="*/ 1303 w 1303"/>
                <a:gd name="T1" fmla="*/ 132 h 1171"/>
                <a:gd name="T2" fmla="*/ 1251 w 1303"/>
                <a:gd name="T3" fmla="*/ 111 h 1171"/>
                <a:gd name="T4" fmla="*/ 1194 w 1303"/>
                <a:gd name="T5" fmla="*/ 79 h 1171"/>
                <a:gd name="T6" fmla="*/ 1136 w 1303"/>
                <a:gd name="T7" fmla="*/ 43 h 1171"/>
                <a:gd name="T8" fmla="*/ 1077 w 1303"/>
                <a:gd name="T9" fmla="*/ 0 h 1171"/>
                <a:gd name="T10" fmla="*/ 981 w 1303"/>
                <a:gd name="T11" fmla="*/ 111 h 1171"/>
                <a:gd name="T12" fmla="*/ 782 w 1303"/>
                <a:gd name="T13" fmla="*/ 326 h 1171"/>
                <a:gd name="T14" fmla="*/ 574 w 1303"/>
                <a:gd name="T15" fmla="*/ 533 h 1171"/>
                <a:gd name="T16" fmla="*/ 357 w 1303"/>
                <a:gd name="T17" fmla="*/ 731 h 1171"/>
                <a:gd name="T18" fmla="*/ 245 w 1303"/>
                <a:gd name="T19" fmla="*/ 826 h 1171"/>
                <a:gd name="T20" fmla="*/ 190 w 1303"/>
                <a:gd name="T21" fmla="*/ 869 h 1171"/>
                <a:gd name="T22" fmla="*/ 152 w 1303"/>
                <a:gd name="T23" fmla="*/ 893 h 1171"/>
                <a:gd name="T24" fmla="*/ 111 w 1303"/>
                <a:gd name="T25" fmla="*/ 912 h 1171"/>
                <a:gd name="T26" fmla="*/ 89 w 1303"/>
                <a:gd name="T27" fmla="*/ 918 h 1171"/>
                <a:gd name="T28" fmla="*/ 44 w 1303"/>
                <a:gd name="T29" fmla="*/ 923 h 1171"/>
                <a:gd name="T30" fmla="*/ 0 w 1303"/>
                <a:gd name="T31" fmla="*/ 925 h 1171"/>
                <a:gd name="T32" fmla="*/ 74 w 1303"/>
                <a:gd name="T33" fmla="*/ 999 h 1171"/>
                <a:gd name="T34" fmla="*/ 106 w 1303"/>
                <a:gd name="T35" fmla="*/ 1026 h 1171"/>
                <a:gd name="T36" fmla="*/ 167 w 1303"/>
                <a:gd name="T37" fmla="*/ 1074 h 1171"/>
                <a:gd name="T38" fmla="*/ 197 w 1303"/>
                <a:gd name="T39" fmla="*/ 1095 h 1171"/>
                <a:gd name="T40" fmla="*/ 235 w 1303"/>
                <a:gd name="T41" fmla="*/ 1118 h 1171"/>
                <a:gd name="T42" fmla="*/ 271 w 1303"/>
                <a:gd name="T43" fmla="*/ 1138 h 1171"/>
                <a:gd name="T44" fmla="*/ 288 w 1303"/>
                <a:gd name="T45" fmla="*/ 1147 h 1171"/>
                <a:gd name="T46" fmla="*/ 336 w 1303"/>
                <a:gd name="T47" fmla="*/ 1165 h 1171"/>
                <a:gd name="T48" fmla="*/ 350 w 1303"/>
                <a:gd name="T49" fmla="*/ 1168 h 1171"/>
                <a:gd name="T50" fmla="*/ 883 w 1303"/>
                <a:gd name="T51" fmla="*/ 697 h 1171"/>
                <a:gd name="T52" fmla="*/ 913 w 1303"/>
                <a:gd name="T53" fmla="*/ 667 h 1171"/>
                <a:gd name="T54" fmla="*/ 973 w 1303"/>
                <a:gd name="T55" fmla="*/ 607 h 1171"/>
                <a:gd name="T56" fmla="*/ 1030 w 1303"/>
                <a:gd name="T57" fmla="*/ 544 h 1171"/>
                <a:gd name="T58" fmla="*/ 1085 w 1303"/>
                <a:gd name="T59" fmla="*/ 476 h 1171"/>
                <a:gd name="T60" fmla="*/ 1138 w 1303"/>
                <a:gd name="T61" fmla="*/ 405 h 1171"/>
                <a:gd name="T62" fmla="*/ 1189 w 1303"/>
                <a:gd name="T63" fmla="*/ 333 h 1171"/>
                <a:gd name="T64" fmla="*/ 1237 w 1303"/>
                <a:gd name="T65" fmla="*/ 255 h 1171"/>
                <a:gd name="T66" fmla="*/ 1282 w 1303"/>
                <a:gd name="T67" fmla="*/ 174 h 1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03" h="1171">
                  <a:moveTo>
                    <a:pt x="1303" y="132"/>
                  </a:moveTo>
                  <a:lnTo>
                    <a:pt x="1303" y="132"/>
                  </a:lnTo>
                  <a:lnTo>
                    <a:pt x="1277" y="122"/>
                  </a:lnTo>
                  <a:lnTo>
                    <a:pt x="1251" y="111"/>
                  </a:lnTo>
                  <a:lnTo>
                    <a:pt x="1222" y="96"/>
                  </a:lnTo>
                  <a:lnTo>
                    <a:pt x="1194" y="79"/>
                  </a:lnTo>
                  <a:lnTo>
                    <a:pt x="1165" y="63"/>
                  </a:lnTo>
                  <a:lnTo>
                    <a:pt x="1136" y="43"/>
                  </a:lnTo>
                  <a:lnTo>
                    <a:pt x="1107" y="21"/>
                  </a:lnTo>
                  <a:lnTo>
                    <a:pt x="1077" y="0"/>
                  </a:lnTo>
                  <a:lnTo>
                    <a:pt x="1077" y="0"/>
                  </a:lnTo>
                  <a:lnTo>
                    <a:pt x="981" y="111"/>
                  </a:lnTo>
                  <a:lnTo>
                    <a:pt x="883" y="220"/>
                  </a:lnTo>
                  <a:lnTo>
                    <a:pt x="782" y="326"/>
                  </a:lnTo>
                  <a:lnTo>
                    <a:pt x="678" y="432"/>
                  </a:lnTo>
                  <a:lnTo>
                    <a:pt x="574" y="533"/>
                  </a:lnTo>
                  <a:lnTo>
                    <a:pt x="466" y="634"/>
                  </a:lnTo>
                  <a:lnTo>
                    <a:pt x="357" y="731"/>
                  </a:lnTo>
                  <a:lnTo>
                    <a:pt x="245" y="826"/>
                  </a:lnTo>
                  <a:lnTo>
                    <a:pt x="245" y="826"/>
                  </a:lnTo>
                  <a:lnTo>
                    <a:pt x="208" y="855"/>
                  </a:lnTo>
                  <a:lnTo>
                    <a:pt x="190" y="869"/>
                  </a:lnTo>
                  <a:lnTo>
                    <a:pt x="172" y="882"/>
                  </a:lnTo>
                  <a:lnTo>
                    <a:pt x="152" y="893"/>
                  </a:lnTo>
                  <a:lnTo>
                    <a:pt x="132" y="903"/>
                  </a:lnTo>
                  <a:lnTo>
                    <a:pt x="111" y="912"/>
                  </a:lnTo>
                  <a:lnTo>
                    <a:pt x="89" y="918"/>
                  </a:lnTo>
                  <a:lnTo>
                    <a:pt x="89" y="918"/>
                  </a:lnTo>
                  <a:lnTo>
                    <a:pt x="66" y="922"/>
                  </a:lnTo>
                  <a:lnTo>
                    <a:pt x="44" y="923"/>
                  </a:lnTo>
                  <a:lnTo>
                    <a:pt x="0" y="925"/>
                  </a:lnTo>
                  <a:lnTo>
                    <a:pt x="0" y="925"/>
                  </a:lnTo>
                  <a:lnTo>
                    <a:pt x="36" y="961"/>
                  </a:lnTo>
                  <a:lnTo>
                    <a:pt x="74" y="999"/>
                  </a:lnTo>
                  <a:lnTo>
                    <a:pt x="74" y="999"/>
                  </a:lnTo>
                  <a:lnTo>
                    <a:pt x="106" y="1026"/>
                  </a:lnTo>
                  <a:lnTo>
                    <a:pt x="135" y="1051"/>
                  </a:lnTo>
                  <a:lnTo>
                    <a:pt x="167" y="1074"/>
                  </a:lnTo>
                  <a:lnTo>
                    <a:pt x="197" y="1095"/>
                  </a:lnTo>
                  <a:lnTo>
                    <a:pt x="197" y="1095"/>
                  </a:lnTo>
                  <a:lnTo>
                    <a:pt x="235" y="1118"/>
                  </a:lnTo>
                  <a:lnTo>
                    <a:pt x="235" y="1118"/>
                  </a:lnTo>
                  <a:lnTo>
                    <a:pt x="271" y="1138"/>
                  </a:lnTo>
                  <a:lnTo>
                    <a:pt x="271" y="1138"/>
                  </a:lnTo>
                  <a:lnTo>
                    <a:pt x="288" y="1147"/>
                  </a:lnTo>
                  <a:lnTo>
                    <a:pt x="288" y="1147"/>
                  </a:lnTo>
                  <a:lnTo>
                    <a:pt x="312" y="1158"/>
                  </a:lnTo>
                  <a:lnTo>
                    <a:pt x="336" y="1165"/>
                  </a:lnTo>
                  <a:lnTo>
                    <a:pt x="336" y="1165"/>
                  </a:lnTo>
                  <a:lnTo>
                    <a:pt x="350" y="1168"/>
                  </a:lnTo>
                  <a:lnTo>
                    <a:pt x="362" y="1171"/>
                  </a:lnTo>
                  <a:lnTo>
                    <a:pt x="883" y="697"/>
                  </a:lnTo>
                  <a:lnTo>
                    <a:pt x="883" y="697"/>
                  </a:lnTo>
                  <a:lnTo>
                    <a:pt x="913" y="667"/>
                  </a:lnTo>
                  <a:lnTo>
                    <a:pt x="944" y="639"/>
                  </a:lnTo>
                  <a:lnTo>
                    <a:pt x="973" y="607"/>
                  </a:lnTo>
                  <a:lnTo>
                    <a:pt x="1002" y="576"/>
                  </a:lnTo>
                  <a:lnTo>
                    <a:pt x="1030" y="544"/>
                  </a:lnTo>
                  <a:lnTo>
                    <a:pt x="1059" y="511"/>
                  </a:lnTo>
                  <a:lnTo>
                    <a:pt x="1085" y="476"/>
                  </a:lnTo>
                  <a:lnTo>
                    <a:pt x="1113" y="442"/>
                  </a:lnTo>
                  <a:lnTo>
                    <a:pt x="1138" y="405"/>
                  </a:lnTo>
                  <a:lnTo>
                    <a:pt x="1165" y="369"/>
                  </a:lnTo>
                  <a:lnTo>
                    <a:pt x="1189" y="333"/>
                  </a:lnTo>
                  <a:lnTo>
                    <a:pt x="1214" y="293"/>
                  </a:lnTo>
                  <a:lnTo>
                    <a:pt x="1237" y="255"/>
                  </a:lnTo>
                  <a:lnTo>
                    <a:pt x="1260" y="215"/>
                  </a:lnTo>
                  <a:lnTo>
                    <a:pt x="1282" y="174"/>
                  </a:lnTo>
                  <a:lnTo>
                    <a:pt x="1303" y="1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139"/>
            <p:cNvSpPr>
              <a:spLocks/>
            </p:cNvSpPr>
            <p:nvPr/>
          </p:nvSpPr>
          <p:spPr bwMode="auto">
            <a:xfrm>
              <a:off x="5691820" y="796328"/>
              <a:ext cx="1024473" cy="867533"/>
            </a:xfrm>
            <a:custGeom>
              <a:avLst/>
              <a:gdLst>
                <a:gd name="T0" fmla="*/ 257 w 705"/>
                <a:gd name="T1" fmla="*/ 597 h 597"/>
                <a:gd name="T2" fmla="*/ 257 w 705"/>
                <a:gd name="T3" fmla="*/ 597 h 597"/>
                <a:gd name="T4" fmla="*/ 316 w 705"/>
                <a:gd name="T5" fmla="*/ 524 h 597"/>
                <a:gd name="T6" fmla="*/ 374 w 705"/>
                <a:gd name="T7" fmla="*/ 451 h 597"/>
                <a:gd name="T8" fmla="*/ 432 w 705"/>
                <a:gd name="T9" fmla="*/ 379 h 597"/>
                <a:gd name="T10" fmla="*/ 490 w 705"/>
                <a:gd name="T11" fmla="*/ 304 h 597"/>
                <a:gd name="T12" fmla="*/ 545 w 705"/>
                <a:gd name="T13" fmla="*/ 230 h 597"/>
                <a:gd name="T14" fmla="*/ 599 w 705"/>
                <a:gd name="T15" fmla="*/ 154 h 597"/>
                <a:gd name="T16" fmla="*/ 652 w 705"/>
                <a:gd name="T17" fmla="*/ 77 h 597"/>
                <a:gd name="T18" fmla="*/ 705 w 705"/>
                <a:gd name="T19" fmla="*/ 0 h 597"/>
                <a:gd name="T20" fmla="*/ 705 w 705"/>
                <a:gd name="T21" fmla="*/ 0 h 597"/>
                <a:gd name="T22" fmla="*/ 657 w 705"/>
                <a:gd name="T23" fmla="*/ 11 h 597"/>
                <a:gd name="T24" fmla="*/ 609 w 705"/>
                <a:gd name="T25" fmla="*/ 24 h 597"/>
                <a:gd name="T26" fmla="*/ 561 w 705"/>
                <a:gd name="T27" fmla="*/ 38 h 597"/>
                <a:gd name="T28" fmla="*/ 515 w 705"/>
                <a:gd name="T29" fmla="*/ 53 h 597"/>
                <a:gd name="T30" fmla="*/ 469 w 705"/>
                <a:gd name="T31" fmla="*/ 67 h 597"/>
                <a:gd name="T32" fmla="*/ 422 w 705"/>
                <a:gd name="T33" fmla="*/ 84 h 597"/>
                <a:gd name="T34" fmla="*/ 378 w 705"/>
                <a:gd name="T35" fmla="*/ 101 h 597"/>
                <a:gd name="T36" fmla="*/ 333 w 705"/>
                <a:gd name="T37" fmla="*/ 119 h 597"/>
                <a:gd name="T38" fmla="*/ 290 w 705"/>
                <a:gd name="T39" fmla="*/ 137 h 597"/>
                <a:gd name="T40" fmla="*/ 245 w 705"/>
                <a:gd name="T41" fmla="*/ 157 h 597"/>
                <a:gd name="T42" fmla="*/ 161 w 705"/>
                <a:gd name="T43" fmla="*/ 198 h 597"/>
                <a:gd name="T44" fmla="*/ 80 w 705"/>
                <a:gd name="T45" fmla="*/ 243 h 597"/>
                <a:gd name="T46" fmla="*/ 0 w 705"/>
                <a:gd name="T47" fmla="*/ 291 h 597"/>
                <a:gd name="T48" fmla="*/ 0 w 705"/>
                <a:gd name="T49" fmla="*/ 291 h 597"/>
                <a:gd name="T50" fmla="*/ 17 w 705"/>
                <a:gd name="T51" fmla="*/ 322 h 597"/>
                <a:gd name="T52" fmla="*/ 35 w 705"/>
                <a:gd name="T53" fmla="*/ 354 h 597"/>
                <a:gd name="T54" fmla="*/ 57 w 705"/>
                <a:gd name="T55" fmla="*/ 385 h 597"/>
                <a:gd name="T56" fmla="*/ 81 w 705"/>
                <a:gd name="T57" fmla="*/ 420 h 597"/>
                <a:gd name="T58" fmla="*/ 108 w 705"/>
                <a:gd name="T59" fmla="*/ 453 h 597"/>
                <a:gd name="T60" fmla="*/ 138 w 705"/>
                <a:gd name="T61" fmla="*/ 486 h 597"/>
                <a:gd name="T62" fmla="*/ 171 w 705"/>
                <a:gd name="T63" fmla="*/ 519 h 597"/>
                <a:gd name="T64" fmla="*/ 204 w 705"/>
                <a:gd name="T65" fmla="*/ 552 h 597"/>
                <a:gd name="T66" fmla="*/ 204 w 705"/>
                <a:gd name="T67" fmla="*/ 552 h 597"/>
                <a:gd name="T68" fmla="*/ 230 w 705"/>
                <a:gd name="T69" fmla="*/ 575 h 597"/>
                <a:gd name="T70" fmla="*/ 257 w 705"/>
                <a:gd name="T71" fmla="*/ 597 h 597"/>
                <a:gd name="T72" fmla="*/ 257 w 705"/>
                <a:gd name="T73"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5" h="597">
                  <a:moveTo>
                    <a:pt x="257" y="597"/>
                  </a:moveTo>
                  <a:lnTo>
                    <a:pt x="257" y="597"/>
                  </a:lnTo>
                  <a:lnTo>
                    <a:pt x="316" y="524"/>
                  </a:lnTo>
                  <a:lnTo>
                    <a:pt x="374" y="451"/>
                  </a:lnTo>
                  <a:lnTo>
                    <a:pt x="432" y="379"/>
                  </a:lnTo>
                  <a:lnTo>
                    <a:pt x="490" y="304"/>
                  </a:lnTo>
                  <a:lnTo>
                    <a:pt x="545" y="230"/>
                  </a:lnTo>
                  <a:lnTo>
                    <a:pt x="599" y="154"/>
                  </a:lnTo>
                  <a:lnTo>
                    <a:pt x="652" y="77"/>
                  </a:lnTo>
                  <a:lnTo>
                    <a:pt x="705" y="0"/>
                  </a:lnTo>
                  <a:lnTo>
                    <a:pt x="705" y="0"/>
                  </a:lnTo>
                  <a:lnTo>
                    <a:pt x="657" y="11"/>
                  </a:lnTo>
                  <a:lnTo>
                    <a:pt x="609" y="24"/>
                  </a:lnTo>
                  <a:lnTo>
                    <a:pt x="561" y="38"/>
                  </a:lnTo>
                  <a:lnTo>
                    <a:pt x="515" y="53"/>
                  </a:lnTo>
                  <a:lnTo>
                    <a:pt x="469" y="67"/>
                  </a:lnTo>
                  <a:lnTo>
                    <a:pt x="422" y="84"/>
                  </a:lnTo>
                  <a:lnTo>
                    <a:pt x="378" y="101"/>
                  </a:lnTo>
                  <a:lnTo>
                    <a:pt x="333" y="119"/>
                  </a:lnTo>
                  <a:lnTo>
                    <a:pt x="290" y="137"/>
                  </a:lnTo>
                  <a:lnTo>
                    <a:pt x="245" y="157"/>
                  </a:lnTo>
                  <a:lnTo>
                    <a:pt x="161" y="198"/>
                  </a:lnTo>
                  <a:lnTo>
                    <a:pt x="80" y="243"/>
                  </a:lnTo>
                  <a:lnTo>
                    <a:pt x="0" y="291"/>
                  </a:lnTo>
                  <a:lnTo>
                    <a:pt x="0" y="291"/>
                  </a:lnTo>
                  <a:lnTo>
                    <a:pt x="17" y="322"/>
                  </a:lnTo>
                  <a:lnTo>
                    <a:pt x="35" y="354"/>
                  </a:lnTo>
                  <a:lnTo>
                    <a:pt x="57" y="385"/>
                  </a:lnTo>
                  <a:lnTo>
                    <a:pt x="81" y="420"/>
                  </a:lnTo>
                  <a:lnTo>
                    <a:pt x="108" y="453"/>
                  </a:lnTo>
                  <a:lnTo>
                    <a:pt x="138" y="486"/>
                  </a:lnTo>
                  <a:lnTo>
                    <a:pt x="171" y="519"/>
                  </a:lnTo>
                  <a:lnTo>
                    <a:pt x="204" y="552"/>
                  </a:lnTo>
                  <a:lnTo>
                    <a:pt x="204" y="552"/>
                  </a:lnTo>
                  <a:lnTo>
                    <a:pt x="230" y="575"/>
                  </a:lnTo>
                  <a:lnTo>
                    <a:pt x="257" y="597"/>
                  </a:lnTo>
                  <a:lnTo>
                    <a:pt x="257" y="597"/>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1" name="Freeform 140"/>
            <p:cNvSpPr>
              <a:spLocks/>
            </p:cNvSpPr>
            <p:nvPr/>
          </p:nvSpPr>
          <p:spPr bwMode="auto">
            <a:xfrm>
              <a:off x="6065281" y="796328"/>
              <a:ext cx="653919" cy="1059349"/>
            </a:xfrm>
            <a:custGeom>
              <a:avLst/>
              <a:gdLst>
                <a:gd name="T0" fmla="*/ 226 w 450"/>
                <a:gd name="T1" fmla="*/ 729 h 729"/>
                <a:gd name="T2" fmla="*/ 226 w 450"/>
                <a:gd name="T3" fmla="*/ 729 h 729"/>
                <a:gd name="T4" fmla="*/ 266 w 450"/>
                <a:gd name="T5" fmla="*/ 647 h 729"/>
                <a:gd name="T6" fmla="*/ 303 w 450"/>
                <a:gd name="T7" fmla="*/ 561 h 729"/>
                <a:gd name="T8" fmla="*/ 336 w 450"/>
                <a:gd name="T9" fmla="*/ 473 h 729"/>
                <a:gd name="T10" fmla="*/ 352 w 450"/>
                <a:gd name="T11" fmla="*/ 428 h 729"/>
                <a:gd name="T12" fmla="*/ 367 w 450"/>
                <a:gd name="T13" fmla="*/ 382 h 729"/>
                <a:gd name="T14" fmla="*/ 380 w 450"/>
                <a:gd name="T15" fmla="*/ 336 h 729"/>
                <a:gd name="T16" fmla="*/ 394 w 450"/>
                <a:gd name="T17" fmla="*/ 289 h 729"/>
                <a:gd name="T18" fmla="*/ 405 w 450"/>
                <a:gd name="T19" fmla="*/ 243 h 729"/>
                <a:gd name="T20" fmla="*/ 415 w 450"/>
                <a:gd name="T21" fmla="*/ 195 h 729"/>
                <a:gd name="T22" fmla="*/ 425 w 450"/>
                <a:gd name="T23" fmla="*/ 147 h 729"/>
                <a:gd name="T24" fmla="*/ 435 w 450"/>
                <a:gd name="T25" fmla="*/ 97 h 729"/>
                <a:gd name="T26" fmla="*/ 443 w 450"/>
                <a:gd name="T27" fmla="*/ 49 h 729"/>
                <a:gd name="T28" fmla="*/ 450 w 450"/>
                <a:gd name="T29" fmla="*/ 0 h 729"/>
                <a:gd name="T30" fmla="*/ 450 w 450"/>
                <a:gd name="T31" fmla="*/ 0 h 729"/>
                <a:gd name="T32" fmla="*/ 450 w 450"/>
                <a:gd name="T33" fmla="*/ 0 h 729"/>
                <a:gd name="T34" fmla="*/ 448 w 450"/>
                <a:gd name="T35" fmla="*/ 0 h 729"/>
                <a:gd name="T36" fmla="*/ 448 w 450"/>
                <a:gd name="T37" fmla="*/ 0 h 729"/>
                <a:gd name="T38" fmla="*/ 395 w 450"/>
                <a:gd name="T39" fmla="*/ 77 h 729"/>
                <a:gd name="T40" fmla="*/ 342 w 450"/>
                <a:gd name="T41" fmla="*/ 154 h 729"/>
                <a:gd name="T42" fmla="*/ 288 w 450"/>
                <a:gd name="T43" fmla="*/ 230 h 729"/>
                <a:gd name="T44" fmla="*/ 233 w 450"/>
                <a:gd name="T45" fmla="*/ 304 h 729"/>
                <a:gd name="T46" fmla="*/ 175 w 450"/>
                <a:gd name="T47" fmla="*/ 379 h 729"/>
                <a:gd name="T48" fmla="*/ 117 w 450"/>
                <a:gd name="T49" fmla="*/ 451 h 729"/>
                <a:gd name="T50" fmla="*/ 59 w 450"/>
                <a:gd name="T51" fmla="*/ 524 h 729"/>
                <a:gd name="T52" fmla="*/ 0 w 450"/>
                <a:gd name="T53" fmla="*/ 597 h 729"/>
                <a:gd name="T54" fmla="*/ 0 w 450"/>
                <a:gd name="T55" fmla="*/ 597 h 729"/>
                <a:gd name="T56" fmla="*/ 30 w 450"/>
                <a:gd name="T57" fmla="*/ 618 h 729"/>
                <a:gd name="T58" fmla="*/ 59 w 450"/>
                <a:gd name="T59" fmla="*/ 640 h 729"/>
                <a:gd name="T60" fmla="*/ 88 w 450"/>
                <a:gd name="T61" fmla="*/ 660 h 729"/>
                <a:gd name="T62" fmla="*/ 117 w 450"/>
                <a:gd name="T63" fmla="*/ 676 h 729"/>
                <a:gd name="T64" fmla="*/ 145 w 450"/>
                <a:gd name="T65" fmla="*/ 693 h 729"/>
                <a:gd name="T66" fmla="*/ 174 w 450"/>
                <a:gd name="T67" fmla="*/ 708 h 729"/>
                <a:gd name="T68" fmla="*/ 200 w 450"/>
                <a:gd name="T69" fmla="*/ 719 h 729"/>
                <a:gd name="T70" fmla="*/ 226 w 450"/>
                <a:gd name="T71" fmla="*/ 729 h 729"/>
                <a:gd name="T72" fmla="*/ 226 w 450"/>
                <a:gd name="T73" fmla="*/ 729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50" h="729">
                  <a:moveTo>
                    <a:pt x="226" y="729"/>
                  </a:moveTo>
                  <a:lnTo>
                    <a:pt x="226" y="729"/>
                  </a:lnTo>
                  <a:lnTo>
                    <a:pt x="266" y="647"/>
                  </a:lnTo>
                  <a:lnTo>
                    <a:pt x="303" y="561"/>
                  </a:lnTo>
                  <a:lnTo>
                    <a:pt x="336" y="473"/>
                  </a:lnTo>
                  <a:lnTo>
                    <a:pt x="352" y="428"/>
                  </a:lnTo>
                  <a:lnTo>
                    <a:pt x="367" y="382"/>
                  </a:lnTo>
                  <a:lnTo>
                    <a:pt x="380" y="336"/>
                  </a:lnTo>
                  <a:lnTo>
                    <a:pt x="394" y="289"/>
                  </a:lnTo>
                  <a:lnTo>
                    <a:pt x="405" y="243"/>
                  </a:lnTo>
                  <a:lnTo>
                    <a:pt x="415" y="195"/>
                  </a:lnTo>
                  <a:lnTo>
                    <a:pt x="425" y="147"/>
                  </a:lnTo>
                  <a:lnTo>
                    <a:pt x="435" y="97"/>
                  </a:lnTo>
                  <a:lnTo>
                    <a:pt x="443" y="49"/>
                  </a:lnTo>
                  <a:lnTo>
                    <a:pt x="450" y="0"/>
                  </a:lnTo>
                  <a:lnTo>
                    <a:pt x="450" y="0"/>
                  </a:lnTo>
                  <a:lnTo>
                    <a:pt x="450" y="0"/>
                  </a:lnTo>
                  <a:lnTo>
                    <a:pt x="448" y="0"/>
                  </a:lnTo>
                  <a:lnTo>
                    <a:pt x="448" y="0"/>
                  </a:lnTo>
                  <a:lnTo>
                    <a:pt x="395" y="77"/>
                  </a:lnTo>
                  <a:lnTo>
                    <a:pt x="342" y="154"/>
                  </a:lnTo>
                  <a:lnTo>
                    <a:pt x="288" y="230"/>
                  </a:lnTo>
                  <a:lnTo>
                    <a:pt x="233" y="304"/>
                  </a:lnTo>
                  <a:lnTo>
                    <a:pt x="175" y="379"/>
                  </a:lnTo>
                  <a:lnTo>
                    <a:pt x="117" y="451"/>
                  </a:lnTo>
                  <a:lnTo>
                    <a:pt x="59" y="524"/>
                  </a:lnTo>
                  <a:lnTo>
                    <a:pt x="0" y="597"/>
                  </a:lnTo>
                  <a:lnTo>
                    <a:pt x="0" y="597"/>
                  </a:lnTo>
                  <a:lnTo>
                    <a:pt x="30" y="618"/>
                  </a:lnTo>
                  <a:lnTo>
                    <a:pt x="59" y="640"/>
                  </a:lnTo>
                  <a:lnTo>
                    <a:pt x="88" y="660"/>
                  </a:lnTo>
                  <a:lnTo>
                    <a:pt x="117" y="676"/>
                  </a:lnTo>
                  <a:lnTo>
                    <a:pt x="145" y="693"/>
                  </a:lnTo>
                  <a:lnTo>
                    <a:pt x="174" y="708"/>
                  </a:lnTo>
                  <a:lnTo>
                    <a:pt x="200" y="719"/>
                  </a:lnTo>
                  <a:lnTo>
                    <a:pt x="226" y="729"/>
                  </a:lnTo>
                  <a:lnTo>
                    <a:pt x="226" y="729"/>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2" name="Freeform 141"/>
            <p:cNvSpPr>
              <a:spLocks/>
            </p:cNvSpPr>
            <p:nvPr/>
          </p:nvSpPr>
          <p:spPr bwMode="auto">
            <a:xfrm>
              <a:off x="5100387" y="1800457"/>
              <a:ext cx="722217" cy="723670"/>
            </a:xfrm>
            <a:custGeom>
              <a:avLst/>
              <a:gdLst>
                <a:gd name="T0" fmla="*/ 283 w 497"/>
                <a:gd name="T1" fmla="*/ 0 h 498"/>
                <a:gd name="T2" fmla="*/ 283 w 497"/>
                <a:gd name="T3" fmla="*/ 0 h 498"/>
                <a:gd name="T4" fmla="*/ 255 w 497"/>
                <a:gd name="T5" fmla="*/ 2 h 498"/>
                <a:gd name="T6" fmla="*/ 227 w 497"/>
                <a:gd name="T7" fmla="*/ 7 h 498"/>
                <a:gd name="T8" fmla="*/ 199 w 497"/>
                <a:gd name="T9" fmla="*/ 13 h 498"/>
                <a:gd name="T10" fmla="*/ 171 w 497"/>
                <a:gd name="T11" fmla="*/ 23 h 498"/>
                <a:gd name="T12" fmla="*/ 144 w 497"/>
                <a:gd name="T13" fmla="*/ 37 h 498"/>
                <a:gd name="T14" fmla="*/ 119 w 497"/>
                <a:gd name="T15" fmla="*/ 53 h 498"/>
                <a:gd name="T16" fmla="*/ 96 w 497"/>
                <a:gd name="T17" fmla="*/ 71 h 498"/>
                <a:gd name="T18" fmla="*/ 73 w 497"/>
                <a:gd name="T19" fmla="*/ 93 h 498"/>
                <a:gd name="T20" fmla="*/ 73 w 497"/>
                <a:gd name="T21" fmla="*/ 93 h 498"/>
                <a:gd name="T22" fmla="*/ 60 w 497"/>
                <a:gd name="T23" fmla="*/ 109 h 498"/>
                <a:gd name="T24" fmla="*/ 47 w 497"/>
                <a:gd name="T25" fmla="*/ 128 h 498"/>
                <a:gd name="T26" fmla="*/ 37 w 497"/>
                <a:gd name="T27" fmla="*/ 146 h 498"/>
                <a:gd name="T28" fmla="*/ 27 w 497"/>
                <a:gd name="T29" fmla="*/ 164 h 498"/>
                <a:gd name="T30" fmla="*/ 19 w 497"/>
                <a:gd name="T31" fmla="*/ 184 h 498"/>
                <a:gd name="T32" fmla="*/ 12 w 497"/>
                <a:gd name="T33" fmla="*/ 204 h 498"/>
                <a:gd name="T34" fmla="*/ 7 w 497"/>
                <a:gd name="T35" fmla="*/ 224 h 498"/>
                <a:gd name="T36" fmla="*/ 4 w 497"/>
                <a:gd name="T37" fmla="*/ 243 h 498"/>
                <a:gd name="T38" fmla="*/ 4 w 497"/>
                <a:gd name="T39" fmla="*/ 243 h 498"/>
                <a:gd name="T40" fmla="*/ 0 w 497"/>
                <a:gd name="T41" fmla="*/ 260 h 498"/>
                <a:gd name="T42" fmla="*/ 0 w 497"/>
                <a:gd name="T43" fmla="*/ 277 h 498"/>
                <a:gd name="T44" fmla="*/ 0 w 497"/>
                <a:gd name="T45" fmla="*/ 295 h 498"/>
                <a:gd name="T46" fmla="*/ 2 w 497"/>
                <a:gd name="T47" fmla="*/ 311 h 498"/>
                <a:gd name="T48" fmla="*/ 4 w 497"/>
                <a:gd name="T49" fmla="*/ 328 h 498"/>
                <a:gd name="T50" fmla="*/ 7 w 497"/>
                <a:gd name="T51" fmla="*/ 344 h 498"/>
                <a:gd name="T52" fmla="*/ 10 w 497"/>
                <a:gd name="T53" fmla="*/ 361 h 498"/>
                <a:gd name="T54" fmla="*/ 15 w 497"/>
                <a:gd name="T55" fmla="*/ 377 h 498"/>
                <a:gd name="T56" fmla="*/ 22 w 497"/>
                <a:gd name="T57" fmla="*/ 394 h 498"/>
                <a:gd name="T58" fmla="*/ 28 w 497"/>
                <a:gd name="T59" fmla="*/ 409 h 498"/>
                <a:gd name="T60" fmla="*/ 37 w 497"/>
                <a:gd name="T61" fmla="*/ 425 h 498"/>
                <a:gd name="T62" fmla="*/ 47 w 497"/>
                <a:gd name="T63" fmla="*/ 440 h 498"/>
                <a:gd name="T64" fmla="*/ 57 w 497"/>
                <a:gd name="T65" fmla="*/ 454 h 498"/>
                <a:gd name="T66" fmla="*/ 68 w 497"/>
                <a:gd name="T67" fmla="*/ 468 h 498"/>
                <a:gd name="T68" fmla="*/ 80 w 497"/>
                <a:gd name="T69" fmla="*/ 482 h 498"/>
                <a:gd name="T70" fmla="*/ 93 w 497"/>
                <a:gd name="T71" fmla="*/ 493 h 498"/>
                <a:gd name="T72" fmla="*/ 93 w 497"/>
                <a:gd name="T73" fmla="*/ 493 h 498"/>
                <a:gd name="T74" fmla="*/ 98 w 497"/>
                <a:gd name="T75" fmla="*/ 498 h 498"/>
                <a:gd name="T76" fmla="*/ 98 w 497"/>
                <a:gd name="T77" fmla="*/ 498 h 498"/>
                <a:gd name="T78" fmla="*/ 201 w 497"/>
                <a:gd name="T79" fmla="*/ 401 h 498"/>
                <a:gd name="T80" fmla="*/ 301 w 497"/>
                <a:gd name="T81" fmla="*/ 301 h 498"/>
                <a:gd name="T82" fmla="*/ 399 w 497"/>
                <a:gd name="T83" fmla="*/ 200 h 498"/>
                <a:gd name="T84" fmla="*/ 497 w 497"/>
                <a:gd name="T85" fmla="*/ 96 h 498"/>
                <a:gd name="T86" fmla="*/ 497 w 497"/>
                <a:gd name="T87" fmla="*/ 96 h 498"/>
                <a:gd name="T88" fmla="*/ 475 w 497"/>
                <a:gd name="T89" fmla="*/ 75 h 498"/>
                <a:gd name="T90" fmla="*/ 475 w 497"/>
                <a:gd name="T91" fmla="*/ 75 h 498"/>
                <a:gd name="T92" fmla="*/ 454 w 497"/>
                <a:gd name="T93" fmla="*/ 57 h 498"/>
                <a:gd name="T94" fmla="*/ 431 w 497"/>
                <a:gd name="T95" fmla="*/ 42 h 498"/>
                <a:gd name="T96" fmla="*/ 409 w 497"/>
                <a:gd name="T97" fmla="*/ 30 h 498"/>
                <a:gd name="T98" fmla="*/ 384 w 497"/>
                <a:gd name="T99" fmla="*/ 18 h 498"/>
                <a:gd name="T100" fmla="*/ 359 w 497"/>
                <a:gd name="T101" fmla="*/ 10 h 498"/>
                <a:gd name="T102" fmla="*/ 335 w 497"/>
                <a:gd name="T103" fmla="*/ 5 h 498"/>
                <a:gd name="T104" fmla="*/ 310 w 497"/>
                <a:gd name="T105" fmla="*/ 2 h 498"/>
                <a:gd name="T106" fmla="*/ 283 w 497"/>
                <a:gd name="T107" fmla="*/ 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7" h="498">
                  <a:moveTo>
                    <a:pt x="283" y="0"/>
                  </a:moveTo>
                  <a:lnTo>
                    <a:pt x="283" y="0"/>
                  </a:lnTo>
                  <a:lnTo>
                    <a:pt x="255" y="2"/>
                  </a:lnTo>
                  <a:lnTo>
                    <a:pt x="227" y="7"/>
                  </a:lnTo>
                  <a:lnTo>
                    <a:pt x="199" y="13"/>
                  </a:lnTo>
                  <a:lnTo>
                    <a:pt x="171" y="23"/>
                  </a:lnTo>
                  <a:lnTo>
                    <a:pt x="144" y="37"/>
                  </a:lnTo>
                  <a:lnTo>
                    <a:pt x="119" y="53"/>
                  </a:lnTo>
                  <a:lnTo>
                    <a:pt x="96" y="71"/>
                  </a:lnTo>
                  <a:lnTo>
                    <a:pt x="73" y="93"/>
                  </a:lnTo>
                  <a:lnTo>
                    <a:pt x="73" y="93"/>
                  </a:lnTo>
                  <a:lnTo>
                    <a:pt x="60" y="109"/>
                  </a:lnTo>
                  <a:lnTo>
                    <a:pt x="47" y="128"/>
                  </a:lnTo>
                  <a:lnTo>
                    <a:pt x="37" y="146"/>
                  </a:lnTo>
                  <a:lnTo>
                    <a:pt x="27" y="164"/>
                  </a:lnTo>
                  <a:lnTo>
                    <a:pt x="19" y="184"/>
                  </a:lnTo>
                  <a:lnTo>
                    <a:pt x="12" y="204"/>
                  </a:lnTo>
                  <a:lnTo>
                    <a:pt x="7" y="224"/>
                  </a:lnTo>
                  <a:lnTo>
                    <a:pt x="4" y="243"/>
                  </a:lnTo>
                  <a:lnTo>
                    <a:pt x="4" y="243"/>
                  </a:lnTo>
                  <a:lnTo>
                    <a:pt x="0" y="260"/>
                  </a:lnTo>
                  <a:lnTo>
                    <a:pt x="0" y="277"/>
                  </a:lnTo>
                  <a:lnTo>
                    <a:pt x="0" y="295"/>
                  </a:lnTo>
                  <a:lnTo>
                    <a:pt x="2" y="311"/>
                  </a:lnTo>
                  <a:lnTo>
                    <a:pt x="4" y="328"/>
                  </a:lnTo>
                  <a:lnTo>
                    <a:pt x="7" y="344"/>
                  </a:lnTo>
                  <a:lnTo>
                    <a:pt x="10" y="361"/>
                  </a:lnTo>
                  <a:lnTo>
                    <a:pt x="15" y="377"/>
                  </a:lnTo>
                  <a:lnTo>
                    <a:pt x="22" y="394"/>
                  </a:lnTo>
                  <a:lnTo>
                    <a:pt x="28" y="409"/>
                  </a:lnTo>
                  <a:lnTo>
                    <a:pt x="37" y="425"/>
                  </a:lnTo>
                  <a:lnTo>
                    <a:pt x="47" y="440"/>
                  </a:lnTo>
                  <a:lnTo>
                    <a:pt x="57" y="454"/>
                  </a:lnTo>
                  <a:lnTo>
                    <a:pt x="68" y="468"/>
                  </a:lnTo>
                  <a:lnTo>
                    <a:pt x="80" y="482"/>
                  </a:lnTo>
                  <a:lnTo>
                    <a:pt x="93" y="493"/>
                  </a:lnTo>
                  <a:lnTo>
                    <a:pt x="93" y="493"/>
                  </a:lnTo>
                  <a:lnTo>
                    <a:pt x="98" y="498"/>
                  </a:lnTo>
                  <a:lnTo>
                    <a:pt x="98" y="498"/>
                  </a:lnTo>
                  <a:lnTo>
                    <a:pt x="201" y="401"/>
                  </a:lnTo>
                  <a:lnTo>
                    <a:pt x="301" y="301"/>
                  </a:lnTo>
                  <a:lnTo>
                    <a:pt x="399" y="200"/>
                  </a:lnTo>
                  <a:lnTo>
                    <a:pt x="497" y="96"/>
                  </a:lnTo>
                  <a:lnTo>
                    <a:pt x="497" y="96"/>
                  </a:lnTo>
                  <a:lnTo>
                    <a:pt x="475" y="75"/>
                  </a:lnTo>
                  <a:lnTo>
                    <a:pt x="475" y="75"/>
                  </a:lnTo>
                  <a:lnTo>
                    <a:pt x="454" y="57"/>
                  </a:lnTo>
                  <a:lnTo>
                    <a:pt x="431" y="42"/>
                  </a:lnTo>
                  <a:lnTo>
                    <a:pt x="409" y="30"/>
                  </a:lnTo>
                  <a:lnTo>
                    <a:pt x="384" y="18"/>
                  </a:lnTo>
                  <a:lnTo>
                    <a:pt x="359" y="10"/>
                  </a:lnTo>
                  <a:lnTo>
                    <a:pt x="335" y="5"/>
                  </a:lnTo>
                  <a:lnTo>
                    <a:pt x="310" y="2"/>
                  </a:lnTo>
                  <a:lnTo>
                    <a:pt x="283" y="0"/>
                  </a:lnTo>
                  <a:close/>
                </a:path>
              </a:pathLst>
            </a:custGeom>
            <a:solidFill>
              <a:srgbClr val="ACAB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42"/>
            <p:cNvSpPr>
              <a:spLocks/>
            </p:cNvSpPr>
            <p:nvPr/>
          </p:nvSpPr>
          <p:spPr bwMode="auto">
            <a:xfrm>
              <a:off x="5100387" y="1800457"/>
              <a:ext cx="722217" cy="723670"/>
            </a:xfrm>
            <a:custGeom>
              <a:avLst/>
              <a:gdLst>
                <a:gd name="T0" fmla="*/ 283 w 497"/>
                <a:gd name="T1" fmla="*/ 0 h 498"/>
                <a:gd name="T2" fmla="*/ 283 w 497"/>
                <a:gd name="T3" fmla="*/ 0 h 498"/>
                <a:gd name="T4" fmla="*/ 255 w 497"/>
                <a:gd name="T5" fmla="*/ 2 h 498"/>
                <a:gd name="T6" fmla="*/ 227 w 497"/>
                <a:gd name="T7" fmla="*/ 7 h 498"/>
                <a:gd name="T8" fmla="*/ 199 w 497"/>
                <a:gd name="T9" fmla="*/ 13 h 498"/>
                <a:gd name="T10" fmla="*/ 171 w 497"/>
                <a:gd name="T11" fmla="*/ 23 h 498"/>
                <a:gd name="T12" fmla="*/ 144 w 497"/>
                <a:gd name="T13" fmla="*/ 37 h 498"/>
                <a:gd name="T14" fmla="*/ 119 w 497"/>
                <a:gd name="T15" fmla="*/ 53 h 498"/>
                <a:gd name="T16" fmla="*/ 96 w 497"/>
                <a:gd name="T17" fmla="*/ 71 h 498"/>
                <a:gd name="T18" fmla="*/ 73 w 497"/>
                <a:gd name="T19" fmla="*/ 93 h 498"/>
                <a:gd name="T20" fmla="*/ 73 w 497"/>
                <a:gd name="T21" fmla="*/ 93 h 498"/>
                <a:gd name="T22" fmla="*/ 60 w 497"/>
                <a:gd name="T23" fmla="*/ 109 h 498"/>
                <a:gd name="T24" fmla="*/ 47 w 497"/>
                <a:gd name="T25" fmla="*/ 128 h 498"/>
                <a:gd name="T26" fmla="*/ 37 w 497"/>
                <a:gd name="T27" fmla="*/ 146 h 498"/>
                <a:gd name="T28" fmla="*/ 27 w 497"/>
                <a:gd name="T29" fmla="*/ 164 h 498"/>
                <a:gd name="T30" fmla="*/ 19 w 497"/>
                <a:gd name="T31" fmla="*/ 184 h 498"/>
                <a:gd name="T32" fmla="*/ 12 w 497"/>
                <a:gd name="T33" fmla="*/ 204 h 498"/>
                <a:gd name="T34" fmla="*/ 7 w 497"/>
                <a:gd name="T35" fmla="*/ 224 h 498"/>
                <a:gd name="T36" fmla="*/ 4 w 497"/>
                <a:gd name="T37" fmla="*/ 243 h 498"/>
                <a:gd name="T38" fmla="*/ 4 w 497"/>
                <a:gd name="T39" fmla="*/ 243 h 498"/>
                <a:gd name="T40" fmla="*/ 0 w 497"/>
                <a:gd name="T41" fmla="*/ 260 h 498"/>
                <a:gd name="T42" fmla="*/ 0 w 497"/>
                <a:gd name="T43" fmla="*/ 277 h 498"/>
                <a:gd name="T44" fmla="*/ 0 w 497"/>
                <a:gd name="T45" fmla="*/ 295 h 498"/>
                <a:gd name="T46" fmla="*/ 2 w 497"/>
                <a:gd name="T47" fmla="*/ 311 h 498"/>
                <a:gd name="T48" fmla="*/ 4 w 497"/>
                <a:gd name="T49" fmla="*/ 328 h 498"/>
                <a:gd name="T50" fmla="*/ 7 w 497"/>
                <a:gd name="T51" fmla="*/ 344 h 498"/>
                <a:gd name="T52" fmla="*/ 10 w 497"/>
                <a:gd name="T53" fmla="*/ 361 h 498"/>
                <a:gd name="T54" fmla="*/ 15 w 497"/>
                <a:gd name="T55" fmla="*/ 377 h 498"/>
                <a:gd name="T56" fmla="*/ 22 w 497"/>
                <a:gd name="T57" fmla="*/ 394 h 498"/>
                <a:gd name="T58" fmla="*/ 28 w 497"/>
                <a:gd name="T59" fmla="*/ 409 h 498"/>
                <a:gd name="T60" fmla="*/ 37 w 497"/>
                <a:gd name="T61" fmla="*/ 425 h 498"/>
                <a:gd name="T62" fmla="*/ 47 w 497"/>
                <a:gd name="T63" fmla="*/ 440 h 498"/>
                <a:gd name="T64" fmla="*/ 57 w 497"/>
                <a:gd name="T65" fmla="*/ 454 h 498"/>
                <a:gd name="T66" fmla="*/ 68 w 497"/>
                <a:gd name="T67" fmla="*/ 468 h 498"/>
                <a:gd name="T68" fmla="*/ 80 w 497"/>
                <a:gd name="T69" fmla="*/ 482 h 498"/>
                <a:gd name="T70" fmla="*/ 93 w 497"/>
                <a:gd name="T71" fmla="*/ 493 h 498"/>
                <a:gd name="T72" fmla="*/ 93 w 497"/>
                <a:gd name="T73" fmla="*/ 493 h 498"/>
                <a:gd name="T74" fmla="*/ 98 w 497"/>
                <a:gd name="T75" fmla="*/ 498 h 498"/>
                <a:gd name="T76" fmla="*/ 98 w 497"/>
                <a:gd name="T77" fmla="*/ 498 h 498"/>
                <a:gd name="T78" fmla="*/ 201 w 497"/>
                <a:gd name="T79" fmla="*/ 401 h 498"/>
                <a:gd name="T80" fmla="*/ 301 w 497"/>
                <a:gd name="T81" fmla="*/ 301 h 498"/>
                <a:gd name="T82" fmla="*/ 399 w 497"/>
                <a:gd name="T83" fmla="*/ 200 h 498"/>
                <a:gd name="T84" fmla="*/ 497 w 497"/>
                <a:gd name="T85" fmla="*/ 96 h 498"/>
                <a:gd name="T86" fmla="*/ 497 w 497"/>
                <a:gd name="T87" fmla="*/ 96 h 498"/>
                <a:gd name="T88" fmla="*/ 475 w 497"/>
                <a:gd name="T89" fmla="*/ 75 h 498"/>
                <a:gd name="T90" fmla="*/ 475 w 497"/>
                <a:gd name="T91" fmla="*/ 75 h 498"/>
                <a:gd name="T92" fmla="*/ 454 w 497"/>
                <a:gd name="T93" fmla="*/ 57 h 498"/>
                <a:gd name="T94" fmla="*/ 431 w 497"/>
                <a:gd name="T95" fmla="*/ 42 h 498"/>
                <a:gd name="T96" fmla="*/ 409 w 497"/>
                <a:gd name="T97" fmla="*/ 30 h 498"/>
                <a:gd name="T98" fmla="*/ 384 w 497"/>
                <a:gd name="T99" fmla="*/ 18 h 498"/>
                <a:gd name="T100" fmla="*/ 359 w 497"/>
                <a:gd name="T101" fmla="*/ 10 h 498"/>
                <a:gd name="T102" fmla="*/ 335 w 497"/>
                <a:gd name="T103" fmla="*/ 5 h 498"/>
                <a:gd name="T104" fmla="*/ 310 w 497"/>
                <a:gd name="T105" fmla="*/ 2 h 498"/>
                <a:gd name="T106" fmla="*/ 283 w 497"/>
                <a:gd name="T107" fmla="*/ 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7" h="498">
                  <a:moveTo>
                    <a:pt x="283" y="0"/>
                  </a:moveTo>
                  <a:lnTo>
                    <a:pt x="283" y="0"/>
                  </a:lnTo>
                  <a:lnTo>
                    <a:pt x="255" y="2"/>
                  </a:lnTo>
                  <a:lnTo>
                    <a:pt x="227" y="7"/>
                  </a:lnTo>
                  <a:lnTo>
                    <a:pt x="199" y="13"/>
                  </a:lnTo>
                  <a:lnTo>
                    <a:pt x="171" y="23"/>
                  </a:lnTo>
                  <a:lnTo>
                    <a:pt x="144" y="37"/>
                  </a:lnTo>
                  <a:lnTo>
                    <a:pt x="119" y="53"/>
                  </a:lnTo>
                  <a:lnTo>
                    <a:pt x="96" y="71"/>
                  </a:lnTo>
                  <a:lnTo>
                    <a:pt x="73" y="93"/>
                  </a:lnTo>
                  <a:lnTo>
                    <a:pt x="73" y="93"/>
                  </a:lnTo>
                  <a:lnTo>
                    <a:pt x="60" y="109"/>
                  </a:lnTo>
                  <a:lnTo>
                    <a:pt x="47" y="128"/>
                  </a:lnTo>
                  <a:lnTo>
                    <a:pt x="37" y="146"/>
                  </a:lnTo>
                  <a:lnTo>
                    <a:pt x="27" y="164"/>
                  </a:lnTo>
                  <a:lnTo>
                    <a:pt x="19" y="184"/>
                  </a:lnTo>
                  <a:lnTo>
                    <a:pt x="12" y="204"/>
                  </a:lnTo>
                  <a:lnTo>
                    <a:pt x="7" y="224"/>
                  </a:lnTo>
                  <a:lnTo>
                    <a:pt x="4" y="243"/>
                  </a:lnTo>
                  <a:lnTo>
                    <a:pt x="4" y="243"/>
                  </a:lnTo>
                  <a:lnTo>
                    <a:pt x="0" y="260"/>
                  </a:lnTo>
                  <a:lnTo>
                    <a:pt x="0" y="277"/>
                  </a:lnTo>
                  <a:lnTo>
                    <a:pt x="0" y="295"/>
                  </a:lnTo>
                  <a:lnTo>
                    <a:pt x="2" y="311"/>
                  </a:lnTo>
                  <a:lnTo>
                    <a:pt x="4" y="328"/>
                  </a:lnTo>
                  <a:lnTo>
                    <a:pt x="7" y="344"/>
                  </a:lnTo>
                  <a:lnTo>
                    <a:pt x="10" y="361"/>
                  </a:lnTo>
                  <a:lnTo>
                    <a:pt x="15" y="377"/>
                  </a:lnTo>
                  <a:lnTo>
                    <a:pt x="22" y="394"/>
                  </a:lnTo>
                  <a:lnTo>
                    <a:pt x="28" y="409"/>
                  </a:lnTo>
                  <a:lnTo>
                    <a:pt x="37" y="425"/>
                  </a:lnTo>
                  <a:lnTo>
                    <a:pt x="47" y="440"/>
                  </a:lnTo>
                  <a:lnTo>
                    <a:pt x="57" y="454"/>
                  </a:lnTo>
                  <a:lnTo>
                    <a:pt x="68" y="468"/>
                  </a:lnTo>
                  <a:lnTo>
                    <a:pt x="80" y="482"/>
                  </a:lnTo>
                  <a:lnTo>
                    <a:pt x="93" y="493"/>
                  </a:lnTo>
                  <a:lnTo>
                    <a:pt x="93" y="493"/>
                  </a:lnTo>
                  <a:lnTo>
                    <a:pt x="98" y="498"/>
                  </a:lnTo>
                  <a:lnTo>
                    <a:pt x="98" y="498"/>
                  </a:lnTo>
                  <a:lnTo>
                    <a:pt x="201" y="401"/>
                  </a:lnTo>
                  <a:lnTo>
                    <a:pt x="301" y="301"/>
                  </a:lnTo>
                  <a:lnTo>
                    <a:pt x="399" y="200"/>
                  </a:lnTo>
                  <a:lnTo>
                    <a:pt x="497" y="96"/>
                  </a:lnTo>
                  <a:lnTo>
                    <a:pt x="497" y="96"/>
                  </a:lnTo>
                  <a:lnTo>
                    <a:pt x="475" y="75"/>
                  </a:lnTo>
                  <a:lnTo>
                    <a:pt x="475" y="75"/>
                  </a:lnTo>
                  <a:lnTo>
                    <a:pt x="454" y="57"/>
                  </a:lnTo>
                  <a:lnTo>
                    <a:pt x="431" y="42"/>
                  </a:lnTo>
                  <a:lnTo>
                    <a:pt x="409" y="30"/>
                  </a:lnTo>
                  <a:lnTo>
                    <a:pt x="384" y="18"/>
                  </a:lnTo>
                  <a:lnTo>
                    <a:pt x="359" y="10"/>
                  </a:lnTo>
                  <a:lnTo>
                    <a:pt x="335" y="5"/>
                  </a:lnTo>
                  <a:lnTo>
                    <a:pt x="310" y="2"/>
                  </a:lnTo>
                  <a:lnTo>
                    <a:pt x="28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43"/>
            <p:cNvSpPr>
              <a:spLocks/>
            </p:cNvSpPr>
            <p:nvPr/>
          </p:nvSpPr>
          <p:spPr bwMode="auto">
            <a:xfrm>
              <a:off x="5242796" y="1939960"/>
              <a:ext cx="682982" cy="685888"/>
            </a:xfrm>
            <a:custGeom>
              <a:avLst/>
              <a:gdLst>
                <a:gd name="T0" fmla="*/ 399 w 470"/>
                <a:gd name="T1" fmla="*/ 0 h 472"/>
                <a:gd name="T2" fmla="*/ 399 w 470"/>
                <a:gd name="T3" fmla="*/ 0 h 472"/>
                <a:gd name="T4" fmla="*/ 301 w 470"/>
                <a:gd name="T5" fmla="*/ 104 h 472"/>
                <a:gd name="T6" fmla="*/ 203 w 470"/>
                <a:gd name="T7" fmla="*/ 205 h 472"/>
                <a:gd name="T8" fmla="*/ 103 w 470"/>
                <a:gd name="T9" fmla="*/ 305 h 472"/>
                <a:gd name="T10" fmla="*/ 0 w 470"/>
                <a:gd name="T11" fmla="*/ 402 h 472"/>
                <a:gd name="T12" fmla="*/ 0 w 470"/>
                <a:gd name="T13" fmla="*/ 402 h 472"/>
                <a:gd name="T14" fmla="*/ 20 w 470"/>
                <a:gd name="T15" fmla="*/ 419 h 472"/>
                <a:gd name="T16" fmla="*/ 43 w 470"/>
                <a:gd name="T17" fmla="*/ 432 h 472"/>
                <a:gd name="T18" fmla="*/ 65 w 470"/>
                <a:gd name="T19" fmla="*/ 445 h 472"/>
                <a:gd name="T20" fmla="*/ 88 w 470"/>
                <a:gd name="T21" fmla="*/ 455 h 472"/>
                <a:gd name="T22" fmla="*/ 112 w 470"/>
                <a:gd name="T23" fmla="*/ 462 h 472"/>
                <a:gd name="T24" fmla="*/ 136 w 470"/>
                <a:gd name="T25" fmla="*/ 467 h 472"/>
                <a:gd name="T26" fmla="*/ 160 w 470"/>
                <a:gd name="T27" fmla="*/ 470 h 472"/>
                <a:gd name="T28" fmla="*/ 185 w 470"/>
                <a:gd name="T29" fmla="*/ 472 h 472"/>
                <a:gd name="T30" fmla="*/ 185 w 470"/>
                <a:gd name="T31" fmla="*/ 472 h 472"/>
                <a:gd name="T32" fmla="*/ 215 w 470"/>
                <a:gd name="T33" fmla="*/ 470 h 472"/>
                <a:gd name="T34" fmla="*/ 243 w 470"/>
                <a:gd name="T35" fmla="*/ 465 h 472"/>
                <a:gd name="T36" fmla="*/ 271 w 470"/>
                <a:gd name="T37" fmla="*/ 459 h 472"/>
                <a:gd name="T38" fmla="*/ 298 w 470"/>
                <a:gd name="T39" fmla="*/ 449 h 472"/>
                <a:gd name="T40" fmla="*/ 324 w 470"/>
                <a:gd name="T41" fmla="*/ 435 h 472"/>
                <a:gd name="T42" fmla="*/ 349 w 470"/>
                <a:gd name="T43" fmla="*/ 419 h 472"/>
                <a:gd name="T44" fmla="*/ 374 w 470"/>
                <a:gd name="T45" fmla="*/ 401 h 472"/>
                <a:gd name="T46" fmla="*/ 395 w 470"/>
                <a:gd name="T47" fmla="*/ 379 h 472"/>
                <a:gd name="T48" fmla="*/ 395 w 470"/>
                <a:gd name="T49" fmla="*/ 379 h 472"/>
                <a:gd name="T50" fmla="*/ 415 w 470"/>
                <a:gd name="T51" fmla="*/ 354 h 472"/>
                <a:gd name="T52" fmla="*/ 432 w 470"/>
                <a:gd name="T53" fmla="*/ 329 h 472"/>
                <a:gd name="T54" fmla="*/ 445 w 470"/>
                <a:gd name="T55" fmla="*/ 303 h 472"/>
                <a:gd name="T56" fmla="*/ 455 w 470"/>
                <a:gd name="T57" fmla="*/ 275 h 472"/>
                <a:gd name="T58" fmla="*/ 463 w 470"/>
                <a:gd name="T59" fmla="*/ 247 h 472"/>
                <a:gd name="T60" fmla="*/ 468 w 470"/>
                <a:gd name="T61" fmla="*/ 217 h 472"/>
                <a:gd name="T62" fmla="*/ 470 w 470"/>
                <a:gd name="T63" fmla="*/ 189 h 472"/>
                <a:gd name="T64" fmla="*/ 468 w 470"/>
                <a:gd name="T65" fmla="*/ 159 h 472"/>
                <a:gd name="T66" fmla="*/ 468 w 470"/>
                <a:gd name="T67" fmla="*/ 159 h 472"/>
                <a:gd name="T68" fmla="*/ 465 w 470"/>
                <a:gd name="T69" fmla="*/ 138 h 472"/>
                <a:gd name="T70" fmla="*/ 460 w 470"/>
                <a:gd name="T71" fmla="*/ 116 h 472"/>
                <a:gd name="T72" fmla="*/ 453 w 470"/>
                <a:gd name="T73" fmla="*/ 96 h 472"/>
                <a:gd name="T74" fmla="*/ 445 w 470"/>
                <a:gd name="T75" fmla="*/ 75 h 472"/>
                <a:gd name="T76" fmla="*/ 437 w 470"/>
                <a:gd name="T77" fmla="*/ 55 h 472"/>
                <a:gd name="T78" fmla="*/ 425 w 470"/>
                <a:gd name="T79" fmla="*/ 37 h 472"/>
                <a:gd name="T80" fmla="*/ 412 w 470"/>
                <a:gd name="T81" fmla="*/ 18 h 472"/>
                <a:gd name="T82" fmla="*/ 399 w 470"/>
                <a:gd name="T83" fmla="*/ 0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0" h="472">
                  <a:moveTo>
                    <a:pt x="399" y="0"/>
                  </a:moveTo>
                  <a:lnTo>
                    <a:pt x="399" y="0"/>
                  </a:lnTo>
                  <a:lnTo>
                    <a:pt x="301" y="104"/>
                  </a:lnTo>
                  <a:lnTo>
                    <a:pt x="203" y="205"/>
                  </a:lnTo>
                  <a:lnTo>
                    <a:pt x="103" y="305"/>
                  </a:lnTo>
                  <a:lnTo>
                    <a:pt x="0" y="402"/>
                  </a:lnTo>
                  <a:lnTo>
                    <a:pt x="0" y="402"/>
                  </a:lnTo>
                  <a:lnTo>
                    <a:pt x="20" y="419"/>
                  </a:lnTo>
                  <a:lnTo>
                    <a:pt x="43" y="432"/>
                  </a:lnTo>
                  <a:lnTo>
                    <a:pt x="65" y="445"/>
                  </a:lnTo>
                  <a:lnTo>
                    <a:pt x="88" y="455"/>
                  </a:lnTo>
                  <a:lnTo>
                    <a:pt x="112" y="462"/>
                  </a:lnTo>
                  <a:lnTo>
                    <a:pt x="136" y="467"/>
                  </a:lnTo>
                  <a:lnTo>
                    <a:pt x="160" y="470"/>
                  </a:lnTo>
                  <a:lnTo>
                    <a:pt x="185" y="472"/>
                  </a:lnTo>
                  <a:lnTo>
                    <a:pt x="185" y="472"/>
                  </a:lnTo>
                  <a:lnTo>
                    <a:pt x="215" y="470"/>
                  </a:lnTo>
                  <a:lnTo>
                    <a:pt x="243" y="465"/>
                  </a:lnTo>
                  <a:lnTo>
                    <a:pt x="271" y="459"/>
                  </a:lnTo>
                  <a:lnTo>
                    <a:pt x="298" y="449"/>
                  </a:lnTo>
                  <a:lnTo>
                    <a:pt x="324" y="435"/>
                  </a:lnTo>
                  <a:lnTo>
                    <a:pt x="349" y="419"/>
                  </a:lnTo>
                  <a:lnTo>
                    <a:pt x="374" y="401"/>
                  </a:lnTo>
                  <a:lnTo>
                    <a:pt x="395" y="379"/>
                  </a:lnTo>
                  <a:lnTo>
                    <a:pt x="395" y="379"/>
                  </a:lnTo>
                  <a:lnTo>
                    <a:pt x="415" y="354"/>
                  </a:lnTo>
                  <a:lnTo>
                    <a:pt x="432" y="329"/>
                  </a:lnTo>
                  <a:lnTo>
                    <a:pt x="445" y="303"/>
                  </a:lnTo>
                  <a:lnTo>
                    <a:pt x="455" y="275"/>
                  </a:lnTo>
                  <a:lnTo>
                    <a:pt x="463" y="247"/>
                  </a:lnTo>
                  <a:lnTo>
                    <a:pt x="468" y="217"/>
                  </a:lnTo>
                  <a:lnTo>
                    <a:pt x="470" y="189"/>
                  </a:lnTo>
                  <a:lnTo>
                    <a:pt x="468" y="159"/>
                  </a:lnTo>
                  <a:lnTo>
                    <a:pt x="468" y="159"/>
                  </a:lnTo>
                  <a:lnTo>
                    <a:pt x="465" y="138"/>
                  </a:lnTo>
                  <a:lnTo>
                    <a:pt x="460" y="116"/>
                  </a:lnTo>
                  <a:lnTo>
                    <a:pt x="453" y="96"/>
                  </a:lnTo>
                  <a:lnTo>
                    <a:pt x="445" y="75"/>
                  </a:lnTo>
                  <a:lnTo>
                    <a:pt x="437" y="55"/>
                  </a:lnTo>
                  <a:lnTo>
                    <a:pt x="425" y="37"/>
                  </a:lnTo>
                  <a:lnTo>
                    <a:pt x="412" y="18"/>
                  </a:lnTo>
                  <a:lnTo>
                    <a:pt x="399" y="0"/>
                  </a:lnTo>
                  <a:close/>
                </a:path>
              </a:pathLst>
            </a:custGeom>
            <a:solidFill>
              <a:srgbClr val="9796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44"/>
            <p:cNvSpPr>
              <a:spLocks/>
            </p:cNvSpPr>
            <p:nvPr/>
          </p:nvSpPr>
          <p:spPr bwMode="auto">
            <a:xfrm>
              <a:off x="5242796" y="1939960"/>
              <a:ext cx="682982" cy="685888"/>
            </a:xfrm>
            <a:custGeom>
              <a:avLst/>
              <a:gdLst>
                <a:gd name="T0" fmla="*/ 399 w 470"/>
                <a:gd name="T1" fmla="*/ 0 h 472"/>
                <a:gd name="T2" fmla="*/ 399 w 470"/>
                <a:gd name="T3" fmla="*/ 0 h 472"/>
                <a:gd name="T4" fmla="*/ 301 w 470"/>
                <a:gd name="T5" fmla="*/ 104 h 472"/>
                <a:gd name="T6" fmla="*/ 203 w 470"/>
                <a:gd name="T7" fmla="*/ 205 h 472"/>
                <a:gd name="T8" fmla="*/ 103 w 470"/>
                <a:gd name="T9" fmla="*/ 305 h 472"/>
                <a:gd name="T10" fmla="*/ 0 w 470"/>
                <a:gd name="T11" fmla="*/ 402 h 472"/>
                <a:gd name="T12" fmla="*/ 0 w 470"/>
                <a:gd name="T13" fmla="*/ 402 h 472"/>
                <a:gd name="T14" fmla="*/ 20 w 470"/>
                <a:gd name="T15" fmla="*/ 419 h 472"/>
                <a:gd name="T16" fmla="*/ 43 w 470"/>
                <a:gd name="T17" fmla="*/ 432 h 472"/>
                <a:gd name="T18" fmla="*/ 65 w 470"/>
                <a:gd name="T19" fmla="*/ 445 h 472"/>
                <a:gd name="T20" fmla="*/ 88 w 470"/>
                <a:gd name="T21" fmla="*/ 455 h 472"/>
                <a:gd name="T22" fmla="*/ 112 w 470"/>
                <a:gd name="T23" fmla="*/ 462 h 472"/>
                <a:gd name="T24" fmla="*/ 136 w 470"/>
                <a:gd name="T25" fmla="*/ 467 h 472"/>
                <a:gd name="T26" fmla="*/ 160 w 470"/>
                <a:gd name="T27" fmla="*/ 470 h 472"/>
                <a:gd name="T28" fmla="*/ 185 w 470"/>
                <a:gd name="T29" fmla="*/ 472 h 472"/>
                <a:gd name="T30" fmla="*/ 185 w 470"/>
                <a:gd name="T31" fmla="*/ 472 h 472"/>
                <a:gd name="T32" fmla="*/ 215 w 470"/>
                <a:gd name="T33" fmla="*/ 470 h 472"/>
                <a:gd name="T34" fmla="*/ 243 w 470"/>
                <a:gd name="T35" fmla="*/ 465 h 472"/>
                <a:gd name="T36" fmla="*/ 271 w 470"/>
                <a:gd name="T37" fmla="*/ 459 h 472"/>
                <a:gd name="T38" fmla="*/ 298 w 470"/>
                <a:gd name="T39" fmla="*/ 449 h 472"/>
                <a:gd name="T40" fmla="*/ 324 w 470"/>
                <a:gd name="T41" fmla="*/ 435 h 472"/>
                <a:gd name="T42" fmla="*/ 349 w 470"/>
                <a:gd name="T43" fmla="*/ 419 h 472"/>
                <a:gd name="T44" fmla="*/ 374 w 470"/>
                <a:gd name="T45" fmla="*/ 401 h 472"/>
                <a:gd name="T46" fmla="*/ 395 w 470"/>
                <a:gd name="T47" fmla="*/ 379 h 472"/>
                <a:gd name="T48" fmla="*/ 395 w 470"/>
                <a:gd name="T49" fmla="*/ 379 h 472"/>
                <a:gd name="T50" fmla="*/ 415 w 470"/>
                <a:gd name="T51" fmla="*/ 354 h 472"/>
                <a:gd name="T52" fmla="*/ 432 w 470"/>
                <a:gd name="T53" fmla="*/ 329 h 472"/>
                <a:gd name="T54" fmla="*/ 445 w 470"/>
                <a:gd name="T55" fmla="*/ 303 h 472"/>
                <a:gd name="T56" fmla="*/ 455 w 470"/>
                <a:gd name="T57" fmla="*/ 275 h 472"/>
                <a:gd name="T58" fmla="*/ 463 w 470"/>
                <a:gd name="T59" fmla="*/ 247 h 472"/>
                <a:gd name="T60" fmla="*/ 468 w 470"/>
                <a:gd name="T61" fmla="*/ 217 h 472"/>
                <a:gd name="T62" fmla="*/ 470 w 470"/>
                <a:gd name="T63" fmla="*/ 189 h 472"/>
                <a:gd name="T64" fmla="*/ 468 w 470"/>
                <a:gd name="T65" fmla="*/ 159 h 472"/>
                <a:gd name="T66" fmla="*/ 468 w 470"/>
                <a:gd name="T67" fmla="*/ 159 h 472"/>
                <a:gd name="T68" fmla="*/ 465 w 470"/>
                <a:gd name="T69" fmla="*/ 138 h 472"/>
                <a:gd name="T70" fmla="*/ 460 w 470"/>
                <a:gd name="T71" fmla="*/ 116 h 472"/>
                <a:gd name="T72" fmla="*/ 453 w 470"/>
                <a:gd name="T73" fmla="*/ 96 h 472"/>
                <a:gd name="T74" fmla="*/ 445 w 470"/>
                <a:gd name="T75" fmla="*/ 75 h 472"/>
                <a:gd name="T76" fmla="*/ 437 w 470"/>
                <a:gd name="T77" fmla="*/ 55 h 472"/>
                <a:gd name="T78" fmla="*/ 425 w 470"/>
                <a:gd name="T79" fmla="*/ 37 h 472"/>
                <a:gd name="T80" fmla="*/ 412 w 470"/>
                <a:gd name="T81" fmla="*/ 18 h 472"/>
                <a:gd name="T82" fmla="*/ 399 w 470"/>
                <a:gd name="T83" fmla="*/ 0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0" h="472">
                  <a:moveTo>
                    <a:pt x="399" y="0"/>
                  </a:moveTo>
                  <a:lnTo>
                    <a:pt x="399" y="0"/>
                  </a:lnTo>
                  <a:lnTo>
                    <a:pt x="301" y="104"/>
                  </a:lnTo>
                  <a:lnTo>
                    <a:pt x="203" y="205"/>
                  </a:lnTo>
                  <a:lnTo>
                    <a:pt x="103" y="305"/>
                  </a:lnTo>
                  <a:lnTo>
                    <a:pt x="0" y="402"/>
                  </a:lnTo>
                  <a:lnTo>
                    <a:pt x="0" y="402"/>
                  </a:lnTo>
                  <a:lnTo>
                    <a:pt x="20" y="419"/>
                  </a:lnTo>
                  <a:lnTo>
                    <a:pt x="43" y="432"/>
                  </a:lnTo>
                  <a:lnTo>
                    <a:pt x="65" y="445"/>
                  </a:lnTo>
                  <a:lnTo>
                    <a:pt x="88" y="455"/>
                  </a:lnTo>
                  <a:lnTo>
                    <a:pt x="112" y="462"/>
                  </a:lnTo>
                  <a:lnTo>
                    <a:pt x="136" y="467"/>
                  </a:lnTo>
                  <a:lnTo>
                    <a:pt x="160" y="470"/>
                  </a:lnTo>
                  <a:lnTo>
                    <a:pt x="185" y="472"/>
                  </a:lnTo>
                  <a:lnTo>
                    <a:pt x="185" y="472"/>
                  </a:lnTo>
                  <a:lnTo>
                    <a:pt x="215" y="470"/>
                  </a:lnTo>
                  <a:lnTo>
                    <a:pt x="243" y="465"/>
                  </a:lnTo>
                  <a:lnTo>
                    <a:pt x="271" y="459"/>
                  </a:lnTo>
                  <a:lnTo>
                    <a:pt x="298" y="449"/>
                  </a:lnTo>
                  <a:lnTo>
                    <a:pt x="324" y="435"/>
                  </a:lnTo>
                  <a:lnTo>
                    <a:pt x="349" y="419"/>
                  </a:lnTo>
                  <a:lnTo>
                    <a:pt x="374" y="401"/>
                  </a:lnTo>
                  <a:lnTo>
                    <a:pt x="395" y="379"/>
                  </a:lnTo>
                  <a:lnTo>
                    <a:pt x="395" y="379"/>
                  </a:lnTo>
                  <a:lnTo>
                    <a:pt x="415" y="354"/>
                  </a:lnTo>
                  <a:lnTo>
                    <a:pt x="432" y="329"/>
                  </a:lnTo>
                  <a:lnTo>
                    <a:pt x="445" y="303"/>
                  </a:lnTo>
                  <a:lnTo>
                    <a:pt x="455" y="275"/>
                  </a:lnTo>
                  <a:lnTo>
                    <a:pt x="463" y="247"/>
                  </a:lnTo>
                  <a:lnTo>
                    <a:pt x="468" y="217"/>
                  </a:lnTo>
                  <a:lnTo>
                    <a:pt x="470" y="189"/>
                  </a:lnTo>
                  <a:lnTo>
                    <a:pt x="468" y="159"/>
                  </a:lnTo>
                  <a:lnTo>
                    <a:pt x="468" y="159"/>
                  </a:lnTo>
                  <a:lnTo>
                    <a:pt x="465" y="138"/>
                  </a:lnTo>
                  <a:lnTo>
                    <a:pt x="460" y="116"/>
                  </a:lnTo>
                  <a:lnTo>
                    <a:pt x="453" y="96"/>
                  </a:lnTo>
                  <a:lnTo>
                    <a:pt x="445" y="75"/>
                  </a:lnTo>
                  <a:lnTo>
                    <a:pt x="437" y="55"/>
                  </a:lnTo>
                  <a:lnTo>
                    <a:pt x="425" y="37"/>
                  </a:lnTo>
                  <a:lnTo>
                    <a:pt x="412" y="18"/>
                  </a:lnTo>
                  <a:lnTo>
                    <a:pt x="3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45"/>
            <p:cNvSpPr>
              <a:spLocks/>
            </p:cNvSpPr>
            <p:nvPr/>
          </p:nvSpPr>
          <p:spPr bwMode="auto">
            <a:xfrm>
              <a:off x="5120731" y="1692924"/>
              <a:ext cx="816672" cy="587074"/>
            </a:xfrm>
            <a:custGeom>
              <a:avLst/>
              <a:gdLst>
                <a:gd name="T0" fmla="*/ 312 w 562"/>
                <a:gd name="T1" fmla="*/ 400 h 404"/>
                <a:gd name="T2" fmla="*/ 383 w 562"/>
                <a:gd name="T3" fmla="*/ 382 h 404"/>
                <a:gd name="T4" fmla="*/ 450 w 562"/>
                <a:gd name="T5" fmla="*/ 349 h 404"/>
                <a:gd name="T6" fmla="*/ 509 w 562"/>
                <a:gd name="T7" fmla="*/ 306 h 404"/>
                <a:gd name="T8" fmla="*/ 562 w 562"/>
                <a:gd name="T9" fmla="*/ 255 h 404"/>
                <a:gd name="T10" fmla="*/ 559 w 562"/>
                <a:gd name="T11" fmla="*/ 230 h 404"/>
                <a:gd name="T12" fmla="*/ 544 w 562"/>
                <a:gd name="T13" fmla="*/ 180 h 404"/>
                <a:gd name="T14" fmla="*/ 522 w 562"/>
                <a:gd name="T15" fmla="*/ 134 h 404"/>
                <a:gd name="T16" fmla="*/ 489 w 562"/>
                <a:gd name="T17" fmla="*/ 92 h 404"/>
                <a:gd name="T18" fmla="*/ 471 w 562"/>
                <a:gd name="T19" fmla="*/ 74 h 404"/>
                <a:gd name="T20" fmla="*/ 425 w 562"/>
                <a:gd name="T21" fmla="*/ 40 h 404"/>
                <a:gd name="T22" fmla="*/ 375 w 562"/>
                <a:gd name="T23" fmla="*/ 16 h 404"/>
                <a:gd name="T24" fmla="*/ 321 w 562"/>
                <a:gd name="T25" fmla="*/ 3 h 404"/>
                <a:gd name="T26" fmla="*/ 268 w 562"/>
                <a:gd name="T27" fmla="*/ 0 h 404"/>
                <a:gd name="T28" fmla="*/ 213 w 562"/>
                <a:gd name="T29" fmla="*/ 8 h 404"/>
                <a:gd name="T30" fmla="*/ 162 w 562"/>
                <a:gd name="T31" fmla="*/ 26 h 404"/>
                <a:gd name="T32" fmla="*/ 114 w 562"/>
                <a:gd name="T33" fmla="*/ 54 h 404"/>
                <a:gd name="T34" fmla="*/ 71 w 562"/>
                <a:gd name="T35" fmla="*/ 92 h 404"/>
                <a:gd name="T36" fmla="*/ 56 w 562"/>
                <a:gd name="T37" fmla="*/ 109 h 404"/>
                <a:gd name="T38" fmla="*/ 33 w 562"/>
                <a:gd name="T39" fmla="*/ 145 h 404"/>
                <a:gd name="T40" fmla="*/ 14 w 562"/>
                <a:gd name="T41" fmla="*/ 183 h 404"/>
                <a:gd name="T42" fmla="*/ 3 w 562"/>
                <a:gd name="T43" fmla="*/ 223 h 404"/>
                <a:gd name="T44" fmla="*/ 0 w 562"/>
                <a:gd name="T45" fmla="*/ 243 h 404"/>
                <a:gd name="T46" fmla="*/ 26 w 562"/>
                <a:gd name="T47" fmla="*/ 288 h 404"/>
                <a:gd name="T48" fmla="*/ 36 w 562"/>
                <a:gd name="T49" fmla="*/ 303 h 404"/>
                <a:gd name="T50" fmla="*/ 62 w 562"/>
                <a:gd name="T51" fmla="*/ 329 h 404"/>
                <a:gd name="T52" fmla="*/ 92 w 562"/>
                <a:gd name="T53" fmla="*/ 354 h 404"/>
                <a:gd name="T54" fmla="*/ 125 w 562"/>
                <a:gd name="T55" fmla="*/ 372 h 404"/>
                <a:gd name="T56" fmla="*/ 160 w 562"/>
                <a:gd name="T57" fmla="*/ 387 h 404"/>
                <a:gd name="T58" fmla="*/ 198 w 562"/>
                <a:gd name="T59" fmla="*/ 397 h 404"/>
                <a:gd name="T60" fmla="*/ 236 w 562"/>
                <a:gd name="T61" fmla="*/ 404 h 404"/>
                <a:gd name="T62" fmla="*/ 274 w 562"/>
                <a:gd name="T63" fmla="*/ 404 h 404"/>
                <a:gd name="T64" fmla="*/ 312 w 562"/>
                <a:gd name="T65" fmla="*/ 40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2" h="404">
                  <a:moveTo>
                    <a:pt x="312" y="400"/>
                  </a:moveTo>
                  <a:lnTo>
                    <a:pt x="312" y="400"/>
                  </a:lnTo>
                  <a:lnTo>
                    <a:pt x="349" y="394"/>
                  </a:lnTo>
                  <a:lnTo>
                    <a:pt x="383" y="382"/>
                  </a:lnTo>
                  <a:lnTo>
                    <a:pt x="417" y="367"/>
                  </a:lnTo>
                  <a:lnTo>
                    <a:pt x="450" y="349"/>
                  </a:lnTo>
                  <a:lnTo>
                    <a:pt x="479" y="329"/>
                  </a:lnTo>
                  <a:lnTo>
                    <a:pt x="509" y="306"/>
                  </a:lnTo>
                  <a:lnTo>
                    <a:pt x="537" y="281"/>
                  </a:lnTo>
                  <a:lnTo>
                    <a:pt x="562" y="255"/>
                  </a:lnTo>
                  <a:lnTo>
                    <a:pt x="562" y="255"/>
                  </a:lnTo>
                  <a:lnTo>
                    <a:pt x="559" y="230"/>
                  </a:lnTo>
                  <a:lnTo>
                    <a:pt x="552" y="205"/>
                  </a:lnTo>
                  <a:lnTo>
                    <a:pt x="544" y="180"/>
                  </a:lnTo>
                  <a:lnTo>
                    <a:pt x="534" y="157"/>
                  </a:lnTo>
                  <a:lnTo>
                    <a:pt x="522" y="134"/>
                  </a:lnTo>
                  <a:lnTo>
                    <a:pt x="508" y="112"/>
                  </a:lnTo>
                  <a:lnTo>
                    <a:pt x="489" y="92"/>
                  </a:lnTo>
                  <a:lnTo>
                    <a:pt x="471" y="74"/>
                  </a:lnTo>
                  <a:lnTo>
                    <a:pt x="471" y="74"/>
                  </a:lnTo>
                  <a:lnTo>
                    <a:pt x="448" y="54"/>
                  </a:lnTo>
                  <a:lnTo>
                    <a:pt x="425" y="40"/>
                  </a:lnTo>
                  <a:lnTo>
                    <a:pt x="400" y="26"/>
                  </a:lnTo>
                  <a:lnTo>
                    <a:pt x="375" y="16"/>
                  </a:lnTo>
                  <a:lnTo>
                    <a:pt x="349" y="8"/>
                  </a:lnTo>
                  <a:lnTo>
                    <a:pt x="321" y="3"/>
                  </a:lnTo>
                  <a:lnTo>
                    <a:pt x="294" y="0"/>
                  </a:lnTo>
                  <a:lnTo>
                    <a:pt x="268" y="0"/>
                  </a:lnTo>
                  <a:lnTo>
                    <a:pt x="240" y="3"/>
                  </a:lnTo>
                  <a:lnTo>
                    <a:pt x="213" y="8"/>
                  </a:lnTo>
                  <a:lnTo>
                    <a:pt x="187" y="16"/>
                  </a:lnTo>
                  <a:lnTo>
                    <a:pt x="162" y="26"/>
                  </a:lnTo>
                  <a:lnTo>
                    <a:pt x="137" y="40"/>
                  </a:lnTo>
                  <a:lnTo>
                    <a:pt x="114" y="54"/>
                  </a:lnTo>
                  <a:lnTo>
                    <a:pt x="91" y="73"/>
                  </a:lnTo>
                  <a:lnTo>
                    <a:pt x="71" y="92"/>
                  </a:lnTo>
                  <a:lnTo>
                    <a:pt x="71" y="92"/>
                  </a:lnTo>
                  <a:lnTo>
                    <a:pt x="56" y="109"/>
                  </a:lnTo>
                  <a:lnTo>
                    <a:pt x="44" y="127"/>
                  </a:lnTo>
                  <a:lnTo>
                    <a:pt x="33" y="145"/>
                  </a:lnTo>
                  <a:lnTo>
                    <a:pt x="23" y="164"/>
                  </a:lnTo>
                  <a:lnTo>
                    <a:pt x="14" y="183"/>
                  </a:lnTo>
                  <a:lnTo>
                    <a:pt x="8" y="202"/>
                  </a:lnTo>
                  <a:lnTo>
                    <a:pt x="3" y="223"/>
                  </a:lnTo>
                  <a:lnTo>
                    <a:pt x="0" y="243"/>
                  </a:lnTo>
                  <a:lnTo>
                    <a:pt x="0" y="243"/>
                  </a:lnTo>
                  <a:lnTo>
                    <a:pt x="16" y="273"/>
                  </a:lnTo>
                  <a:lnTo>
                    <a:pt x="26" y="288"/>
                  </a:lnTo>
                  <a:lnTo>
                    <a:pt x="36" y="303"/>
                  </a:lnTo>
                  <a:lnTo>
                    <a:pt x="36" y="303"/>
                  </a:lnTo>
                  <a:lnTo>
                    <a:pt x="49" y="316"/>
                  </a:lnTo>
                  <a:lnTo>
                    <a:pt x="62" y="329"/>
                  </a:lnTo>
                  <a:lnTo>
                    <a:pt x="77" y="342"/>
                  </a:lnTo>
                  <a:lnTo>
                    <a:pt x="92" y="354"/>
                  </a:lnTo>
                  <a:lnTo>
                    <a:pt x="109" y="364"/>
                  </a:lnTo>
                  <a:lnTo>
                    <a:pt x="125" y="372"/>
                  </a:lnTo>
                  <a:lnTo>
                    <a:pt x="142" y="380"/>
                  </a:lnTo>
                  <a:lnTo>
                    <a:pt x="160" y="387"/>
                  </a:lnTo>
                  <a:lnTo>
                    <a:pt x="178" y="392"/>
                  </a:lnTo>
                  <a:lnTo>
                    <a:pt x="198" y="397"/>
                  </a:lnTo>
                  <a:lnTo>
                    <a:pt x="216" y="400"/>
                  </a:lnTo>
                  <a:lnTo>
                    <a:pt x="236" y="404"/>
                  </a:lnTo>
                  <a:lnTo>
                    <a:pt x="254" y="404"/>
                  </a:lnTo>
                  <a:lnTo>
                    <a:pt x="274" y="404"/>
                  </a:lnTo>
                  <a:lnTo>
                    <a:pt x="292" y="404"/>
                  </a:lnTo>
                  <a:lnTo>
                    <a:pt x="312" y="400"/>
                  </a:lnTo>
                  <a:lnTo>
                    <a:pt x="312" y="40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7" name="Freeform 146"/>
            <p:cNvSpPr>
              <a:spLocks/>
            </p:cNvSpPr>
            <p:nvPr/>
          </p:nvSpPr>
          <p:spPr bwMode="auto">
            <a:xfrm>
              <a:off x="5114918" y="2046040"/>
              <a:ext cx="825391" cy="470822"/>
            </a:xfrm>
            <a:custGeom>
              <a:avLst/>
              <a:gdLst>
                <a:gd name="T0" fmla="*/ 566 w 568"/>
                <a:gd name="T1" fmla="*/ 12 h 324"/>
                <a:gd name="T2" fmla="*/ 513 w 568"/>
                <a:gd name="T3" fmla="*/ 63 h 324"/>
                <a:gd name="T4" fmla="*/ 454 w 568"/>
                <a:gd name="T5" fmla="*/ 106 h 324"/>
                <a:gd name="T6" fmla="*/ 387 w 568"/>
                <a:gd name="T7" fmla="*/ 139 h 324"/>
                <a:gd name="T8" fmla="*/ 316 w 568"/>
                <a:gd name="T9" fmla="*/ 157 h 324"/>
                <a:gd name="T10" fmla="*/ 296 w 568"/>
                <a:gd name="T11" fmla="*/ 161 h 324"/>
                <a:gd name="T12" fmla="*/ 258 w 568"/>
                <a:gd name="T13" fmla="*/ 161 h 324"/>
                <a:gd name="T14" fmla="*/ 220 w 568"/>
                <a:gd name="T15" fmla="*/ 157 h 324"/>
                <a:gd name="T16" fmla="*/ 182 w 568"/>
                <a:gd name="T17" fmla="*/ 149 h 324"/>
                <a:gd name="T18" fmla="*/ 146 w 568"/>
                <a:gd name="T19" fmla="*/ 137 h 324"/>
                <a:gd name="T20" fmla="*/ 113 w 568"/>
                <a:gd name="T21" fmla="*/ 121 h 324"/>
                <a:gd name="T22" fmla="*/ 81 w 568"/>
                <a:gd name="T23" fmla="*/ 99 h 324"/>
                <a:gd name="T24" fmla="*/ 53 w 568"/>
                <a:gd name="T25" fmla="*/ 73 h 324"/>
                <a:gd name="T26" fmla="*/ 40 w 568"/>
                <a:gd name="T27" fmla="*/ 60 h 324"/>
                <a:gd name="T28" fmla="*/ 20 w 568"/>
                <a:gd name="T29" fmla="*/ 30 h 324"/>
                <a:gd name="T30" fmla="*/ 4 w 568"/>
                <a:gd name="T31" fmla="*/ 0 h 324"/>
                <a:gd name="T32" fmla="*/ 0 w 568"/>
                <a:gd name="T33" fmla="*/ 33 h 324"/>
                <a:gd name="T34" fmla="*/ 2 w 568"/>
                <a:gd name="T35" fmla="*/ 68 h 324"/>
                <a:gd name="T36" fmla="*/ 7 w 568"/>
                <a:gd name="T37" fmla="*/ 101 h 324"/>
                <a:gd name="T38" fmla="*/ 17 w 568"/>
                <a:gd name="T39" fmla="*/ 134 h 324"/>
                <a:gd name="T40" fmla="*/ 30 w 568"/>
                <a:gd name="T41" fmla="*/ 165 h 324"/>
                <a:gd name="T42" fmla="*/ 47 w 568"/>
                <a:gd name="T43" fmla="*/ 195 h 324"/>
                <a:gd name="T44" fmla="*/ 68 w 568"/>
                <a:gd name="T45" fmla="*/ 223 h 324"/>
                <a:gd name="T46" fmla="*/ 93 w 568"/>
                <a:gd name="T47" fmla="*/ 250 h 324"/>
                <a:gd name="T48" fmla="*/ 116 w 568"/>
                <a:gd name="T49" fmla="*/ 268 h 324"/>
                <a:gd name="T50" fmla="*/ 164 w 568"/>
                <a:gd name="T51" fmla="*/ 298 h 324"/>
                <a:gd name="T52" fmla="*/ 217 w 568"/>
                <a:gd name="T53" fmla="*/ 316 h 324"/>
                <a:gd name="T54" fmla="*/ 270 w 568"/>
                <a:gd name="T55" fmla="*/ 324 h 324"/>
                <a:gd name="T56" fmla="*/ 325 w 568"/>
                <a:gd name="T57" fmla="*/ 321 h 324"/>
                <a:gd name="T58" fmla="*/ 378 w 568"/>
                <a:gd name="T59" fmla="*/ 308 h 324"/>
                <a:gd name="T60" fmla="*/ 427 w 568"/>
                <a:gd name="T61" fmla="*/ 285 h 324"/>
                <a:gd name="T62" fmla="*/ 473 w 568"/>
                <a:gd name="T63" fmla="*/ 252 h 324"/>
                <a:gd name="T64" fmla="*/ 493 w 568"/>
                <a:gd name="T65" fmla="*/ 232 h 324"/>
                <a:gd name="T66" fmla="*/ 530 w 568"/>
                <a:gd name="T67" fmla="*/ 182 h 324"/>
                <a:gd name="T68" fmla="*/ 555 w 568"/>
                <a:gd name="T69" fmla="*/ 127 h 324"/>
                <a:gd name="T70" fmla="*/ 566 w 568"/>
                <a:gd name="T71" fmla="*/ 70 h 324"/>
                <a:gd name="T72" fmla="*/ 566 w 568"/>
                <a:gd name="T73" fmla="*/ 12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8" h="324">
                  <a:moveTo>
                    <a:pt x="566" y="12"/>
                  </a:moveTo>
                  <a:lnTo>
                    <a:pt x="566" y="12"/>
                  </a:lnTo>
                  <a:lnTo>
                    <a:pt x="541" y="38"/>
                  </a:lnTo>
                  <a:lnTo>
                    <a:pt x="513" y="63"/>
                  </a:lnTo>
                  <a:lnTo>
                    <a:pt x="483" y="86"/>
                  </a:lnTo>
                  <a:lnTo>
                    <a:pt x="454" y="106"/>
                  </a:lnTo>
                  <a:lnTo>
                    <a:pt x="421" y="124"/>
                  </a:lnTo>
                  <a:lnTo>
                    <a:pt x="387" y="139"/>
                  </a:lnTo>
                  <a:lnTo>
                    <a:pt x="353" y="151"/>
                  </a:lnTo>
                  <a:lnTo>
                    <a:pt x="316" y="157"/>
                  </a:lnTo>
                  <a:lnTo>
                    <a:pt x="316" y="157"/>
                  </a:lnTo>
                  <a:lnTo>
                    <a:pt x="296" y="161"/>
                  </a:lnTo>
                  <a:lnTo>
                    <a:pt x="278" y="161"/>
                  </a:lnTo>
                  <a:lnTo>
                    <a:pt x="258" y="161"/>
                  </a:lnTo>
                  <a:lnTo>
                    <a:pt x="240" y="161"/>
                  </a:lnTo>
                  <a:lnTo>
                    <a:pt x="220" y="157"/>
                  </a:lnTo>
                  <a:lnTo>
                    <a:pt x="202" y="154"/>
                  </a:lnTo>
                  <a:lnTo>
                    <a:pt x="182" y="149"/>
                  </a:lnTo>
                  <a:lnTo>
                    <a:pt x="164" y="144"/>
                  </a:lnTo>
                  <a:lnTo>
                    <a:pt x="146" y="137"/>
                  </a:lnTo>
                  <a:lnTo>
                    <a:pt x="129" y="129"/>
                  </a:lnTo>
                  <a:lnTo>
                    <a:pt x="113" y="121"/>
                  </a:lnTo>
                  <a:lnTo>
                    <a:pt x="96" y="111"/>
                  </a:lnTo>
                  <a:lnTo>
                    <a:pt x="81" y="99"/>
                  </a:lnTo>
                  <a:lnTo>
                    <a:pt x="66" y="86"/>
                  </a:lnTo>
                  <a:lnTo>
                    <a:pt x="53" y="73"/>
                  </a:lnTo>
                  <a:lnTo>
                    <a:pt x="40" y="60"/>
                  </a:lnTo>
                  <a:lnTo>
                    <a:pt x="40" y="60"/>
                  </a:lnTo>
                  <a:lnTo>
                    <a:pt x="30" y="45"/>
                  </a:lnTo>
                  <a:lnTo>
                    <a:pt x="20" y="30"/>
                  </a:lnTo>
                  <a:lnTo>
                    <a:pt x="4" y="0"/>
                  </a:lnTo>
                  <a:lnTo>
                    <a:pt x="4" y="0"/>
                  </a:lnTo>
                  <a:lnTo>
                    <a:pt x="2" y="17"/>
                  </a:lnTo>
                  <a:lnTo>
                    <a:pt x="0" y="33"/>
                  </a:lnTo>
                  <a:lnTo>
                    <a:pt x="0" y="51"/>
                  </a:lnTo>
                  <a:lnTo>
                    <a:pt x="2" y="68"/>
                  </a:lnTo>
                  <a:lnTo>
                    <a:pt x="4" y="84"/>
                  </a:lnTo>
                  <a:lnTo>
                    <a:pt x="7" y="101"/>
                  </a:lnTo>
                  <a:lnTo>
                    <a:pt x="12" y="117"/>
                  </a:lnTo>
                  <a:lnTo>
                    <a:pt x="17" y="134"/>
                  </a:lnTo>
                  <a:lnTo>
                    <a:pt x="23" y="151"/>
                  </a:lnTo>
                  <a:lnTo>
                    <a:pt x="30" y="165"/>
                  </a:lnTo>
                  <a:lnTo>
                    <a:pt x="38" y="180"/>
                  </a:lnTo>
                  <a:lnTo>
                    <a:pt x="47" y="195"/>
                  </a:lnTo>
                  <a:lnTo>
                    <a:pt x="57" y="210"/>
                  </a:lnTo>
                  <a:lnTo>
                    <a:pt x="68" y="223"/>
                  </a:lnTo>
                  <a:lnTo>
                    <a:pt x="80" y="237"/>
                  </a:lnTo>
                  <a:lnTo>
                    <a:pt x="93" y="250"/>
                  </a:lnTo>
                  <a:lnTo>
                    <a:pt x="93" y="250"/>
                  </a:lnTo>
                  <a:lnTo>
                    <a:pt x="116" y="268"/>
                  </a:lnTo>
                  <a:lnTo>
                    <a:pt x="139" y="285"/>
                  </a:lnTo>
                  <a:lnTo>
                    <a:pt x="164" y="298"/>
                  </a:lnTo>
                  <a:lnTo>
                    <a:pt x="191" y="308"/>
                  </a:lnTo>
                  <a:lnTo>
                    <a:pt x="217" y="316"/>
                  </a:lnTo>
                  <a:lnTo>
                    <a:pt x="244" y="321"/>
                  </a:lnTo>
                  <a:lnTo>
                    <a:pt x="270" y="324"/>
                  </a:lnTo>
                  <a:lnTo>
                    <a:pt x="298" y="324"/>
                  </a:lnTo>
                  <a:lnTo>
                    <a:pt x="325" y="321"/>
                  </a:lnTo>
                  <a:lnTo>
                    <a:pt x="351" y="316"/>
                  </a:lnTo>
                  <a:lnTo>
                    <a:pt x="378" y="308"/>
                  </a:lnTo>
                  <a:lnTo>
                    <a:pt x="402" y="298"/>
                  </a:lnTo>
                  <a:lnTo>
                    <a:pt x="427" y="285"/>
                  </a:lnTo>
                  <a:lnTo>
                    <a:pt x="452" y="270"/>
                  </a:lnTo>
                  <a:lnTo>
                    <a:pt x="473" y="252"/>
                  </a:lnTo>
                  <a:lnTo>
                    <a:pt x="493" y="232"/>
                  </a:lnTo>
                  <a:lnTo>
                    <a:pt x="493" y="232"/>
                  </a:lnTo>
                  <a:lnTo>
                    <a:pt x="513" y="207"/>
                  </a:lnTo>
                  <a:lnTo>
                    <a:pt x="530" y="182"/>
                  </a:lnTo>
                  <a:lnTo>
                    <a:pt x="543" y="154"/>
                  </a:lnTo>
                  <a:lnTo>
                    <a:pt x="555" y="127"/>
                  </a:lnTo>
                  <a:lnTo>
                    <a:pt x="561" y="99"/>
                  </a:lnTo>
                  <a:lnTo>
                    <a:pt x="566" y="70"/>
                  </a:lnTo>
                  <a:lnTo>
                    <a:pt x="568" y="40"/>
                  </a:lnTo>
                  <a:lnTo>
                    <a:pt x="566" y="12"/>
                  </a:lnTo>
                  <a:lnTo>
                    <a:pt x="566" y="12"/>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8" name="Freeform 147"/>
            <p:cNvSpPr>
              <a:spLocks/>
            </p:cNvSpPr>
            <p:nvPr/>
          </p:nvSpPr>
          <p:spPr bwMode="auto">
            <a:xfrm>
              <a:off x="5231171" y="1928335"/>
              <a:ext cx="595793" cy="58126"/>
            </a:xfrm>
            <a:custGeom>
              <a:avLst/>
              <a:gdLst>
                <a:gd name="T0" fmla="*/ 389 w 410"/>
                <a:gd name="T1" fmla="*/ 0 h 40"/>
                <a:gd name="T2" fmla="*/ 20 w 410"/>
                <a:gd name="T3" fmla="*/ 0 h 40"/>
                <a:gd name="T4" fmla="*/ 20 w 410"/>
                <a:gd name="T5" fmla="*/ 0 h 40"/>
                <a:gd name="T6" fmla="*/ 8 w 410"/>
                <a:gd name="T7" fmla="*/ 18 h 40"/>
                <a:gd name="T8" fmla="*/ 0 w 410"/>
                <a:gd name="T9" fmla="*/ 40 h 40"/>
                <a:gd name="T10" fmla="*/ 410 w 410"/>
                <a:gd name="T11" fmla="*/ 40 h 40"/>
                <a:gd name="T12" fmla="*/ 410 w 410"/>
                <a:gd name="T13" fmla="*/ 40 h 40"/>
                <a:gd name="T14" fmla="*/ 400 w 410"/>
                <a:gd name="T15" fmla="*/ 20 h 40"/>
                <a:gd name="T16" fmla="*/ 389 w 410"/>
                <a:gd name="T17" fmla="*/ 0 h 40"/>
                <a:gd name="T18" fmla="*/ 389 w 410"/>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0" h="40">
                  <a:moveTo>
                    <a:pt x="389" y="0"/>
                  </a:moveTo>
                  <a:lnTo>
                    <a:pt x="20" y="0"/>
                  </a:lnTo>
                  <a:lnTo>
                    <a:pt x="20" y="0"/>
                  </a:lnTo>
                  <a:lnTo>
                    <a:pt x="8" y="18"/>
                  </a:lnTo>
                  <a:lnTo>
                    <a:pt x="0" y="40"/>
                  </a:lnTo>
                  <a:lnTo>
                    <a:pt x="410" y="40"/>
                  </a:lnTo>
                  <a:lnTo>
                    <a:pt x="410" y="40"/>
                  </a:lnTo>
                  <a:lnTo>
                    <a:pt x="400" y="20"/>
                  </a:lnTo>
                  <a:lnTo>
                    <a:pt x="389" y="0"/>
                  </a:lnTo>
                  <a:lnTo>
                    <a:pt x="38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8"/>
            <p:cNvSpPr>
              <a:spLocks/>
            </p:cNvSpPr>
            <p:nvPr/>
          </p:nvSpPr>
          <p:spPr bwMode="auto">
            <a:xfrm>
              <a:off x="5209373" y="1986461"/>
              <a:ext cx="636481" cy="85736"/>
            </a:xfrm>
            <a:custGeom>
              <a:avLst/>
              <a:gdLst>
                <a:gd name="T0" fmla="*/ 425 w 438"/>
                <a:gd name="T1" fmla="*/ 0 h 59"/>
                <a:gd name="T2" fmla="*/ 15 w 438"/>
                <a:gd name="T3" fmla="*/ 0 h 59"/>
                <a:gd name="T4" fmla="*/ 15 w 438"/>
                <a:gd name="T5" fmla="*/ 0 h 59"/>
                <a:gd name="T6" fmla="*/ 8 w 438"/>
                <a:gd name="T7" fmla="*/ 13 h 59"/>
                <a:gd name="T8" fmla="*/ 5 w 438"/>
                <a:gd name="T9" fmla="*/ 28 h 59"/>
                <a:gd name="T10" fmla="*/ 1 w 438"/>
                <a:gd name="T11" fmla="*/ 43 h 59"/>
                <a:gd name="T12" fmla="*/ 0 w 438"/>
                <a:gd name="T13" fmla="*/ 58 h 59"/>
                <a:gd name="T14" fmla="*/ 438 w 438"/>
                <a:gd name="T15" fmla="*/ 59 h 59"/>
                <a:gd name="T16" fmla="*/ 438 w 438"/>
                <a:gd name="T17" fmla="*/ 59 h 59"/>
                <a:gd name="T18" fmla="*/ 437 w 438"/>
                <a:gd name="T19" fmla="*/ 44 h 59"/>
                <a:gd name="T20" fmla="*/ 433 w 438"/>
                <a:gd name="T21" fmla="*/ 29 h 59"/>
                <a:gd name="T22" fmla="*/ 430 w 438"/>
                <a:gd name="T23" fmla="*/ 15 h 59"/>
                <a:gd name="T24" fmla="*/ 425 w 438"/>
                <a:gd name="T25" fmla="*/ 0 h 59"/>
                <a:gd name="T26" fmla="*/ 425 w 438"/>
                <a:gd name="T2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8" h="59">
                  <a:moveTo>
                    <a:pt x="425" y="0"/>
                  </a:moveTo>
                  <a:lnTo>
                    <a:pt x="15" y="0"/>
                  </a:lnTo>
                  <a:lnTo>
                    <a:pt x="15" y="0"/>
                  </a:lnTo>
                  <a:lnTo>
                    <a:pt x="8" y="13"/>
                  </a:lnTo>
                  <a:lnTo>
                    <a:pt x="5" y="28"/>
                  </a:lnTo>
                  <a:lnTo>
                    <a:pt x="1" y="43"/>
                  </a:lnTo>
                  <a:lnTo>
                    <a:pt x="0" y="58"/>
                  </a:lnTo>
                  <a:lnTo>
                    <a:pt x="438" y="59"/>
                  </a:lnTo>
                  <a:lnTo>
                    <a:pt x="438" y="59"/>
                  </a:lnTo>
                  <a:lnTo>
                    <a:pt x="437" y="44"/>
                  </a:lnTo>
                  <a:lnTo>
                    <a:pt x="433" y="29"/>
                  </a:lnTo>
                  <a:lnTo>
                    <a:pt x="430" y="15"/>
                  </a:lnTo>
                  <a:lnTo>
                    <a:pt x="425" y="0"/>
                  </a:lnTo>
                  <a:lnTo>
                    <a:pt x="425" y="0"/>
                  </a:lnTo>
                  <a:close/>
                </a:path>
              </a:pathLst>
            </a:custGeom>
            <a:solidFill>
              <a:srgbClr val="182B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49"/>
            <p:cNvSpPr>
              <a:spLocks/>
            </p:cNvSpPr>
            <p:nvPr/>
          </p:nvSpPr>
          <p:spPr bwMode="auto">
            <a:xfrm>
              <a:off x="5260234" y="1784472"/>
              <a:ext cx="536214" cy="143862"/>
            </a:xfrm>
            <a:custGeom>
              <a:avLst/>
              <a:gdLst>
                <a:gd name="T0" fmla="*/ 334 w 369"/>
                <a:gd name="T1" fmla="*/ 58 h 99"/>
                <a:gd name="T2" fmla="*/ 334 w 369"/>
                <a:gd name="T3" fmla="*/ 58 h 99"/>
                <a:gd name="T4" fmla="*/ 316 w 369"/>
                <a:gd name="T5" fmla="*/ 43 h 99"/>
                <a:gd name="T6" fmla="*/ 297 w 369"/>
                <a:gd name="T7" fmla="*/ 29 h 99"/>
                <a:gd name="T8" fmla="*/ 278 w 369"/>
                <a:gd name="T9" fmla="*/ 20 h 99"/>
                <a:gd name="T10" fmla="*/ 258 w 369"/>
                <a:gd name="T11" fmla="*/ 11 h 99"/>
                <a:gd name="T12" fmla="*/ 238 w 369"/>
                <a:gd name="T13" fmla="*/ 6 h 99"/>
                <a:gd name="T14" fmla="*/ 216 w 369"/>
                <a:gd name="T15" fmla="*/ 1 h 99"/>
                <a:gd name="T16" fmla="*/ 195 w 369"/>
                <a:gd name="T17" fmla="*/ 0 h 99"/>
                <a:gd name="T18" fmla="*/ 173 w 369"/>
                <a:gd name="T19" fmla="*/ 0 h 99"/>
                <a:gd name="T20" fmla="*/ 153 w 369"/>
                <a:gd name="T21" fmla="*/ 1 h 99"/>
                <a:gd name="T22" fmla="*/ 132 w 369"/>
                <a:gd name="T23" fmla="*/ 6 h 99"/>
                <a:gd name="T24" fmla="*/ 112 w 369"/>
                <a:gd name="T25" fmla="*/ 11 h 99"/>
                <a:gd name="T26" fmla="*/ 92 w 369"/>
                <a:gd name="T27" fmla="*/ 20 h 99"/>
                <a:gd name="T28" fmla="*/ 72 w 369"/>
                <a:gd name="T29" fmla="*/ 29 h 99"/>
                <a:gd name="T30" fmla="*/ 54 w 369"/>
                <a:gd name="T31" fmla="*/ 41 h 99"/>
                <a:gd name="T32" fmla="*/ 36 w 369"/>
                <a:gd name="T33" fmla="*/ 56 h 99"/>
                <a:gd name="T34" fmla="*/ 21 w 369"/>
                <a:gd name="T35" fmla="*/ 71 h 99"/>
                <a:gd name="T36" fmla="*/ 21 w 369"/>
                <a:gd name="T37" fmla="*/ 71 h 99"/>
                <a:gd name="T38" fmla="*/ 9 w 369"/>
                <a:gd name="T39" fmla="*/ 84 h 99"/>
                <a:gd name="T40" fmla="*/ 0 w 369"/>
                <a:gd name="T41" fmla="*/ 99 h 99"/>
                <a:gd name="T42" fmla="*/ 369 w 369"/>
                <a:gd name="T43" fmla="*/ 99 h 99"/>
                <a:gd name="T44" fmla="*/ 369 w 369"/>
                <a:gd name="T45" fmla="*/ 99 h 99"/>
                <a:gd name="T46" fmla="*/ 352 w 369"/>
                <a:gd name="T47" fmla="*/ 77 h 99"/>
                <a:gd name="T48" fmla="*/ 334 w 369"/>
                <a:gd name="T49" fmla="*/ 58 h 99"/>
                <a:gd name="T50" fmla="*/ 334 w 369"/>
                <a:gd name="T51" fmla="*/ 5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9" h="99">
                  <a:moveTo>
                    <a:pt x="334" y="58"/>
                  </a:moveTo>
                  <a:lnTo>
                    <a:pt x="334" y="58"/>
                  </a:lnTo>
                  <a:lnTo>
                    <a:pt x="316" y="43"/>
                  </a:lnTo>
                  <a:lnTo>
                    <a:pt x="297" y="29"/>
                  </a:lnTo>
                  <a:lnTo>
                    <a:pt x="278" y="20"/>
                  </a:lnTo>
                  <a:lnTo>
                    <a:pt x="258" y="11"/>
                  </a:lnTo>
                  <a:lnTo>
                    <a:pt x="238" y="6"/>
                  </a:lnTo>
                  <a:lnTo>
                    <a:pt x="216" y="1"/>
                  </a:lnTo>
                  <a:lnTo>
                    <a:pt x="195" y="0"/>
                  </a:lnTo>
                  <a:lnTo>
                    <a:pt x="173" y="0"/>
                  </a:lnTo>
                  <a:lnTo>
                    <a:pt x="153" y="1"/>
                  </a:lnTo>
                  <a:lnTo>
                    <a:pt x="132" y="6"/>
                  </a:lnTo>
                  <a:lnTo>
                    <a:pt x="112" y="11"/>
                  </a:lnTo>
                  <a:lnTo>
                    <a:pt x="92" y="20"/>
                  </a:lnTo>
                  <a:lnTo>
                    <a:pt x="72" y="29"/>
                  </a:lnTo>
                  <a:lnTo>
                    <a:pt x="54" y="41"/>
                  </a:lnTo>
                  <a:lnTo>
                    <a:pt x="36" y="56"/>
                  </a:lnTo>
                  <a:lnTo>
                    <a:pt x="21" y="71"/>
                  </a:lnTo>
                  <a:lnTo>
                    <a:pt x="21" y="71"/>
                  </a:lnTo>
                  <a:lnTo>
                    <a:pt x="9" y="84"/>
                  </a:lnTo>
                  <a:lnTo>
                    <a:pt x="0" y="99"/>
                  </a:lnTo>
                  <a:lnTo>
                    <a:pt x="369" y="99"/>
                  </a:lnTo>
                  <a:lnTo>
                    <a:pt x="369" y="99"/>
                  </a:lnTo>
                  <a:lnTo>
                    <a:pt x="352" y="77"/>
                  </a:lnTo>
                  <a:lnTo>
                    <a:pt x="334" y="58"/>
                  </a:lnTo>
                  <a:lnTo>
                    <a:pt x="334" y="58"/>
                  </a:lnTo>
                  <a:close/>
                </a:path>
              </a:pathLst>
            </a:custGeom>
            <a:solidFill>
              <a:srgbClr val="182B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50"/>
            <p:cNvSpPr>
              <a:spLocks/>
            </p:cNvSpPr>
            <p:nvPr/>
          </p:nvSpPr>
          <p:spPr bwMode="auto">
            <a:xfrm>
              <a:off x="5345970" y="2370093"/>
              <a:ext cx="360382" cy="55220"/>
            </a:xfrm>
            <a:custGeom>
              <a:avLst/>
              <a:gdLst>
                <a:gd name="T0" fmla="*/ 248 w 248"/>
                <a:gd name="T1" fmla="*/ 0 h 38"/>
                <a:gd name="T2" fmla="*/ 0 w 248"/>
                <a:gd name="T3" fmla="*/ 0 h 38"/>
                <a:gd name="T4" fmla="*/ 0 w 248"/>
                <a:gd name="T5" fmla="*/ 0 h 38"/>
                <a:gd name="T6" fmla="*/ 15 w 248"/>
                <a:gd name="T7" fmla="*/ 9 h 38"/>
                <a:gd name="T8" fmla="*/ 30 w 248"/>
                <a:gd name="T9" fmla="*/ 17 h 38"/>
                <a:gd name="T10" fmla="*/ 45 w 248"/>
                <a:gd name="T11" fmla="*/ 24 h 38"/>
                <a:gd name="T12" fmla="*/ 61 w 248"/>
                <a:gd name="T13" fmla="*/ 29 h 38"/>
                <a:gd name="T14" fmla="*/ 76 w 248"/>
                <a:gd name="T15" fmla="*/ 33 h 38"/>
                <a:gd name="T16" fmla="*/ 93 w 248"/>
                <a:gd name="T17" fmla="*/ 37 h 38"/>
                <a:gd name="T18" fmla="*/ 109 w 248"/>
                <a:gd name="T19" fmla="*/ 38 h 38"/>
                <a:gd name="T20" fmla="*/ 124 w 248"/>
                <a:gd name="T21" fmla="*/ 38 h 38"/>
                <a:gd name="T22" fmla="*/ 141 w 248"/>
                <a:gd name="T23" fmla="*/ 38 h 38"/>
                <a:gd name="T24" fmla="*/ 157 w 248"/>
                <a:gd name="T25" fmla="*/ 37 h 38"/>
                <a:gd name="T26" fmla="*/ 174 w 248"/>
                <a:gd name="T27" fmla="*/ 33 h 38"/>
                <a:gd name="T28" fmla="*/ 189 w 248"/>
                <a:gd name="T29" fmla="*/ 29 h 38"/>
                <a:gd name="T30" fmla="*/ 205 w 248"/>
                <a:gd name="T31" fmla="*/ 24 h 38"/>
                <a:gd name="T32" fmla="*/ 220 w 248"/>
                <a:gd name="T33" fmla="*/ 17 h 38"/>
                <a:gd name="T34" fmla="*/ 235 w 248"/>
                <a:gd name="T35" fmla="*/ 10 h 38"/>
                <a:gd name="T36" fmla="*/ 248 w 248"/>
                <a:gd name="T37" fmla="*/ 0 h 38"/>
                <a:gd name="T38" fmla="*/ 248 w 248"/>
                <a:gd name="T3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8" h="38">
                  <a:moveTo>
                    <a:pt x="248" y="0"/>
                  </a:moveTo>
                  <a:lnTo>
                    <a:pt x="0" y="0"/>
                  </a:lnTo>
                  <a:lnTo>
                    <a:pt x="0" y="0"/>
                  </a:lnTo>
                  <a:lnTo>
                    <a:pt x="15" y="9"/>
                  </a:lnTo>
                  <a:lnTo>
                    <a:pt x="30" y="17"/>
                  </a:lnTo>
                  <a:lnTo>
                    <a:pt x="45" y="24"/>
                  </a:lnTo>
                  <a:lnTo>
                    <a:pt x="61" y="29"/>
                  </a:lnTo>
                  <a:lnTo>
                    <a:pt x="76" y="33"/>
                  </a:lnTo>
                  <a:lnTo>
                    <a:pt x="93" y="37"/>
                  </a:lnTo>
                  <a:lnTo>
                    <a:pt x="109" y="38"/>
                  </a:lnTo>
                  <a:lnTo>
                    <a:pt x="124" y="38"/>
                  </a:lnTo>
                  <a:lnTo>
                    <a:pt x="141" y="38"/>
                  </a:lnTo>
                  <a:lnTo>
                    <a:pt x="157" y="37"/>
                  </a:lnTo>
                  <a:lnTo>
                    <a:pt x="174" y="33"/>
                  </a:lnTo>
                  <a:lnTo>
                    <a:pt x="189" y="29"/>
                  </a:lnTo>
                  <a:lnTo>
                    <a:pt x="205" y="24"/>
                  </a:lnTo>
                  <a:lnTo>
                    <a:pt x="220" y="17"/>
                  </a:lnTo>
                  <a:lnTo>
                    <a:pt x="235" y="10"/>
                  </a:lnTo>
                  <a:lnTo>
                    <a:pt x="248" y="0"/>
                  </a:lnTo>
                  <a:lnTo>
                    <a:pt x="2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51"/>
            <p:cNvSpPr>
              <a:spLocks/>
            </p:cNvSpPr>
            <p:nvPr/>
          </p:nvSpPr>
          <p:spPr bwMode="auto">
            <a:xfrm>
              <a:off x="5232624" y="2230591"/>
              <a:ext cx="589980" cy="139503"/>
            </a:xfrm>
            <a:custGeom>
              <a:avLst/>
              <a:gdLst>
                <a:gd name="T0" fmla="*/ 366 w 406"/>
                <a:gd name="T1" fmla="*/ 62 h 96"/>
                <a:gd name="T2" fmla="*/ 366 w 406"/>
                <a:gd name="T3" fmla="*/ 62 h 96"/>
                <a:gd name="T4" fmla="*/ 379 w 406"/>
                <a:gd name="T5" fmla="*/ 48 h 96"/>
                <a:gd name="T6" fmla="*/ 389 w 406"/>
                <a:gd name="T7" fmla="*/ 34 h 96"/>
                <a:gd name="T8" fmla="*/ 397 w 406"/>
                <a:gd name="T9" fmla="*/ 17 h 96"/>
                <a:gd name="T10" fmla="*/ 406 w 406"/>
                <a:gd name="T11" fmla="*/ 2 h 96"/>
                <a:gd name="T12" fmla="*/ 0 w 406"/>
                <a:gd name="T13" fmla="*/ 0 h 96"/>
                <a:gd name="T14" fmla="*/ 0 w 406"/>
                <a:gd name="T15" fmla="*/ 0 h 96"/>
                <a:gd name="T16" fmla="*/ 10 w 406"/>
                <a:gd name="T17" fmla="*/ 22 h 96"/>
                <a:gd name="T18" fmla="*/ 24 w 406"/>
                <a:gd name="T19" fmla="*/ 42 h 96"/>
                <a:gd name="T20" fmla="*/ 37 w 406"/>
                <a:gd name="T21" fmla="*/ 60 h 96"/>
                <a:gd name="T22" fmla="*/ 55 w 406"/>
                <a:gd name="T23" fmla="*/ 77 h 96"/>
                <a:gd name="T24" fmla="*/ 55 w 406"/>
                <a:gd name="T25" fmla="*/ 77 h 96"/>
                <a:gd name="T26" fmla="*/ 67 w 406"/>
                <a:gd name="T27" fmla="*/ 86 h 96"/>
                <a:gd name="T28" fmla="*/ 78 w 406"/>
                <a:gd name="T29" fmla="*/ 96 h 96"/>
                <a:gd name="T30" fmla="*/ 326 w 406"/>
                <a:gd name="T31" fmla="*/ 96 h 96"/>
                <a:gd name="T32" fmla="*/ 326 w 406"/>
                <a:gd name="T33" fmla="*/ 96 h 96"/>
                <a:gd name="T34" fmla="*/ 348 w 406"/>
                <a:gd name="T35" fmla="*/ 81 h 96"/>
                <a:gd name="T36" fmla="*/ 366 w 406"/>
                <a:gd name="T37" fmla="*/ 62 h 96"/>
                <a:gd name="T38" fmla="*/ 366 w 406"/>
                <a:gd name="T3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6" h="96">
                  <a:moveTo>
                    <a:pt x="366" y="62"/>
                  </a:moveTo>
                  <a:lnTo>
                    <a:pt x="366" y="62"/>
                  </a:lnTo>
                  <a:lnTo>
                    <a:pt x="379" y="48"/>
                  </a:lnTo>
                  <a:lnTo>
                    <a:pt x="389" y="34"/>
                  </a:lnTo>
                  <a:lnTo>
                    <a:pt x="397" y="17"/>
                  </a:lnTo>
                  <a:lnTo>
                    <a:pt x="406" y="2"/>
                  </a:lnTo>
                  <a:lnTo>
                    <a:pt x="0" y="0"/>
                  </a:lnTo>
                  <a:lnTo>
                    <a:pt x="0" y="0"/>
                  </a:lnTo>
                  <a:lnTo>
                    <a:pt x="10" y="22"/>
                  </a:lnTo>
                  <a:lnTo>
                    <a:pt x="24" y="42"/>
                  </a:lnTo>
                  <a:lnTo>
                    <a:pt x="37" y="60"/>
                  </a:lnTo>
                  <a:lnTo>
                    <a:pt x="55" y="77"/>
                  </a:lnTo>
                  <a:lnTo>
                    <a:pt x="55" y="77"/>
                  </a:lnTo>
                  <a:lnTo>
                    <a:pt x="67" y="86"/>
                  </a:lnTo>
                  <a:lnTo>
                    <a:pt x="78" y="96"/>
                  </a:lnTo>
                  <a:lnTo>
                    <a:pt x="326" y="96"/>
                  </a:lnTo>
                  <a:lnTo>
                    <a:pt x="326" y="96"/>
                  </a:lnTo>
                  <a:lnTo>
                    <a:pt x="348" y="81"/>
                  </a:lnTo>
                  <a:lnTo>
                    <a:pt x="366" y="62"/>
                  </a:lnTo>
                  <a:lnTo>
                    <a:pt x="366" y="62"/>
                  </a:lnTo>
                  <a:close/>
                </a:path>
              </a:pathLst>
            </a:custGeom>
            <a:solidFill>
              <a:srgbClr val="182B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52"/>
            <p:cNvSpPr>
              <a:spLocks/>
            </p:cNvSpPr>
            <p:nvPr/>
          </p:nvSpPr>
          <p:spPr bwMode="auto">
            <a:xfrm>
              <a:off x="5206467" y="2070744"/>
              <a:ext cx="642294" cy="162753"/>
            </a:xfrm>
            <a:custGeom>
              <a:avLst/>
              <a:gdLst>
                <a:gd name="T0" fmla="*/ 440 w 442"/>
                <a:gd name="T1" fmla="*/ 1 h 112"/>
                <a:gd name="T2" fmla="*/ 2 w 442"/>
                <a:gd name="T3" fmla="*/ 0 h 112"/>
                <a:gd name="T4" fmla="*/ 2 w 442"/>
                <a:gd name="T5" fmla="*/ 0 h 112"/>
                <a:gd name="T6" fmla="*/ 0 w 442"/>
                <a:gd name="T7" fmla="*/ 28 h 112"/>
                <a:gd name="T8" fmla="*/ 2 w 442"/>
                <a:gd name="T9" fmla="*/ 56 h 112"/>
                <a:gd name="T10" fmla="*/ 8 w 442"/>
                <a:gd name="T11" fmla="*/ 84 h 112"/>
                <a:gd name="T12" fmla="*/ 18 w 442"/>
                <a:gd name="T13" fmla="*/ 110 h 112"/>
                <a:gd name="T14" fmla="*/ 424 w 442"/>
                <a:gd name="T15" fmla="*/ 112 h 112"/>
                <a:gd name="T16" fmla="*/ 424 w 442"/>
                <a:gd name="T17" fmla="*/ 112 h 112"/>
                <a:gd name="T18" fmla="*/ 434 w 442"/>
                <a:gd name="T19" fmla="*/ 86 h 112"/>
                <a:gd name="T20" fmla="*/ 440 w 442"/>
                <a:gd name="T21" fmla="*/ 57 h 112"/>
                <a:gd name="T22" fmla="*/ 442 w 442"/>
                <a:gd name="T23" fmla="*/ 29 h 112"/>
                <a:gd name="T24" fmla="*/ 440 w 442"/>
                <a:gd name="T25" fmla="*/ 1 h 112"/>
                <a:gd name="T26" fmla="*/ 440 w 442"/>
                <a:gd name="T27" fmla="*/ 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2" h="112">
                  <a:moveTo>
                    <a:pt x="440" y="1"/>
                  </a:moveTo>
                  <a:lnTo>
                    <a:pt x="2" y="0"/>
                  </a:lnTo>
                  <a:lnTo>
                    <a:pt x="2" y="0"/>
                  </a:lnTo>
                  <a:lnTo>
                    <a:pt x="0" y="28"/>
                  </a:lnTo>
                  <a:lnTo>
                    <a:pt x="2" y="56"/>
                  </a:lnTo>
                  <a:lnTo>
                    <a:pt x="8" y="84"/>
                  </a:lnTo>
                  <a:lnTo>
                    <a:pt x="18" y="110"/>
                  </a:lnTo>
                  <a:lnTo>
                    <a:pt x="424" y="112"/>
                  </a:lnTo>
                  <a:lnTo>
                    <a:pt x="424" y="112"/>
                  </a:lnTo>
                  <a:lnTo>
                    <a:pt x="434" y="86"/>
                  </a:lnTo>
                  <a:lnTo>
                    <a:pt x="440" y="57"/>
                  </a:lnTo>
                  <a:lnTo>
                    <a:pt x="442" y="29"/>
                  </a:lnTo>
                  <a:lnTo>
                    <a:pt x="440" y="1"/>
                  </a:lnTo>
                  <a:lnTo>
                    <a:pt x="44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54" name="Group 153"/>
            <p:cNvGrpSpPr/>
            <p:nvPr/>
          </p:nvGrpSpPr>
          <p:grpSpPr>
            <a:xfrm>
              <a:off x="2127235" y="603059"/>
              <a:ext cx="7248330" cy="4282443"/>
              <a:chOff x="2127235" y="603059"/>
              <a:chExt cx="7248330" cy="4282443"/>
            </a:xfrm>
            <a:solidFill>
              <a:schemeClr val="accent3">
                <a:alpha val="26000"/>
              </a:schemeClr>
            </a:solidFill>
          </p:grpSpPr>
          <p:sp>
            <p:nvSpPr>
              <p:cNvPr id="167" name="Freeform 166"/>
              <p:cNvSpPr>
                <a:spLocks/>
              </p:cNvSpPr>
              <p:nvPr/>
            </p:nvSpPr>
            <p:spPr bwMode="auto">
              <a:xfrm>
                <a:off x="2127235" y="603059"/>
                <a:ext cx="334225" cy="334225"/>
              </a:xfrm>
              <a:custGeom>
                <a:avLst/>
                <a:gdLst>
                  <a:gd name="T0" fmla="*/ 230 w 230"/>
                  <a:gd name="T1" fmla="*/ 116 h 230"/>
                  <a:gd name="T2" fmla="*/ 226 w 230"/>
                  <a:gd name="T3" fmla="*/ 138 h 230"/>
                  <a:gd name="T4" fmla="*/ 220 w 230"/>
                  <a:gd name="T5" fmla="*/ 161 h 230"/>
                  <a:gd name="T6" fmla="*/ 210 w 230"/>
                  <a:gd name="T7" fmla="*/ 179 h 230"/>
                  <a:gd name="T8" fmla="*/ 195 w 230"/>
                  <a:gd name="T9" fmla="*/ 197 h 230"/>
                  <a:gd name="T10" fmla="*/ 178 w 230"/>
                  <a:gd name="T11" fmla="*/ 210 h 230"/>
                  <a:gd name="T12" fmla="*/ 159 w 230"/>
                  <a:gd name="T13" fmla="*/ 220 h 230"/>
                  <a:gd name="T14" fmla="*/ 137 w 230"/>
                  <a:gd name="T15" fmla="*/ 227 h 230"/>
                  <a:gd name="T16" fmla="*/ 114 w 230"/>
                  <a:gd name="T17" fmla="*/ 230 h 230"/>
                  <a:gd name="T18" fmla="*/ 102 w 230"/>
                  <a:gd name="T19" fmla="*/ 229 h 230"/>
                  <a:gd name="T20" fmla="*/ 81 w 230"/>
                  <a:gd name="T21" fmla="*/ 225 h 230"/>
                  <a:gd name="T22" fmla="*/ 59 w 230"/>
                  <a:gd name="T23" fmla="*/ 215 h 230"/>
                  <a:gd name="T24" fmla="*/ 41 w 230"/>
                  <a:gd name="T25" fmla="*/ 204 h 230"/>
                  <a:gd name="T26" fmla="*/ 26 w 230"/>
                  <a:gd name="T27" fmla="*/ 189 h 230"/>
                  <a:gd name="T28" fmla="*/ 13 w 230"/>
                  <a:gd name="T29" fmla="*/ 169 h 230"/>
                  <a:gd name="T30" fmla="*/ 5 w 230"/>
                  <a:gd name="T31" fmla="*/ 149 h 230"/>
                  <a:gd name="T32" fmla="*/ 0 w 230"/>
                  <a:gd name="T33" fmla="*/ 126 h 230"/>
                  <a:gd name="T34" fmla="*/ 0 w 230"/>
                  <a:gd name="T35" fmla="*/ 114 h 230"/>
                  <a:gd name="T36" fmla="*/ 1 w 230"/>
                  <a:gd name="T37" fmla="*/ 91 h 230"/>
                  <a:gd name="T38" fmla="*/ 8 w 230"/>
                  <a:gd name="T39" fmla="*/ 70 h 230"/>
                  <a:gd name="T40" fmla="*/ 20 w 230"/>
                  <a:gd name="T41" fmla="*/ 52 h 230"/>
                  <a:gd name="T42" fmla="*/ 33 w 230"/>
                  <a:gd name="T43" fmla="*/ 33 h 230"/>
                  <a:gd name="T44" fmla="*/ 51 w 230"/>
                  <a:gd name="T45" fmla="*/ 20 h 230"/>
                  <a:gd name="T46" fmla="*/ 69 w 230"/>
                  <a:gd name="T47" fmla="*/ 10 h 230"/>
                  <a:gd name="T48" fmla="*/ 91 w 230"/>
                  <a:gd name="T49" fmla="*/ 4 h 230"/>
                  <a:gd name="T50" fmla="*/ 114 w 230"/>
                  <a:gd name="T51" fmla="*/ 0 h 230"/>
                  <a:gd name="T52" fmla="*/ 126 w 230"/>
                  <a:gd name="T53" fmla="*/ 0 h 230"/>
                  <a:gd name="T54" fmla="*/ 149 w 230"/>
                  <a:gd name="T55" fmla="*/ 5 h 230"/>
                  <a:gd name="T56" fmla="*/ 169 w 230"/>
                  <a:gd name="T57" fmla="*/ 15 h 230"/>
                  <a:gd name="T58" fmla="*/ 187 w 230"/>
                  <a:gd name="T59" fmla="*/ 27 h 230"/>
                  <a:gd name="T60" fmla="*/ 203 w 230"/>
                  <a:gd name="T61" fmla="*/ 42 h 230"/>
                  <a:gd name="T62" fmla="*/ 215 w 230"/>
                  <a:gd name="T63" fmla="*/ 60 h 230"/>
                  <a:gd name="T64" fmla="*/ 225 w 230"/>
                  <a:gd name="T65" fmla="*/ 81 h 230"/>
                  <a:gd name="T66" fmla="*/ 228 w 230"/>
                  <a:gd name="T67" fmla="*/ 103 h 230"/>
                  <a:gd name="T68" fmla="*/ 230 w 230"/>
                  <a:gd name="T69" fmla="*/ 11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0" h="230">
                    <a:moveTo>
                      <a:pt x="230" y="116"/>
                    </a:moveTo>
                    <a:lnTo>
                      <a:pt x="230" y="116"/>
                    </a:lnTo>
                    <a:lnTo>
                      <a:pt x="228" y="128"/>
                    </a:lnTo>
                    <a:lnTo>
                      <a:pt x="226" y="138"/>
                    </a:lnTo>
                    <a:lnTo>
                      <a:pt x="225" y="149"/>
                    </a:lnTo>
                    <a:lnTo>
                      <a:pt x="220" y="161"/>
                    </a:lnTo>
                    <a:lnTo>
                      <a:pt x="215" y="171"/>
                    </a:lnTo>
                    <a:lnTo>
                      <a:pt x="210" y="179"/>
                    </a:lnTo>
                    <a:lnTo>
                      <a:pt x="203" y="189"/>
                    </a:lnTo>
                    <a:lnTo>
                      <a:pt x="195" y="197"/>
                    </a:lnTo>
                    <a:lnTo>
                      <a:pt x="187" y="204"/>
                    </a:lnTo>
                    <a:lnTo>
                      <a:pt x="178" y="210"/>
                    </a:lnTo>
                    <a:lnTo>
                      <a:pt x="169" y="215"/>
                    </a:lnTo>
                    <a:lnTo>
                      <a:pt x="159" y="220"/>
                    </a:lnTo>
                    <a:lnTo>
                      <a:pt x="149" y="225"/>
                    </a:lnTo>
                    <a:lnTo>
                      <a:pt x="137" y="227"/>
                    </a:lnTo>
                    <a:lnTo>
                      <a:pt x="126" y="229"/>
                    </a:lnTo>
                    <a:lnTo>
                      <a:pt x="114" y="230"/>
                    </a:lnTo>
                    <a:lnTo>
                      <a:pt x="114" y="230"/>
                    </a:lnTo>
                    <a:lnTo>
                      <a:pt x="102" y="229"/>
                    </a:lnTo>
                    <a:lnTo>
                      <a:pt x="91" y="227"/>
                    </a:lnTo>
                    <a:lnTo>
                      <a:pt x="81" y="225"/>
                    </a:lnTo>
                    <a:lnTo>
                      <a:pt x="69" y="220"/>
                    </a:lnTo>
                    <a:lnTo>
                      <a:pt x="59" y="215"/>
                    </a:lnTo>
                    <a:lnTo>
                      <a:pt x="49" y="210"/>
                    </a:lnTo>
                    <a:lnTo>
                      <a:pt x="41" y="204"/>
                    </a:lnTo>
                    <a:lnTo>
                      <a:pt x="33" y="196"/>
                    </a:lnTo>
                    <a:lnTo>
                      <a:pt x="26" y="189"/>
                    </a:lnTo>
                    <a:lnTo>
                      <a:pt x="20" y="179"/>
                    </a:lnTo>
                    <a:lnTo>
                      <a:pt x="13" y="169"/>
                    </a:lnTo>
                    <a:lnTo>
                      <a:pt x="8" y="159"/>
                    </a:lnTo>
                    <a:lnTo>
                      <a:pt x="5" y="149"/>
                    </a:lnTo>
                    <a:lnTo>
                      <a:pt x="1" y="138"/>
                    </a:lnTo>
                    <a:lnTo>
                      <a:pt x="0" y="126"/>
                    </a:lnTo>
                    <a:lnTo>
                      <a:pt x="0" y="114"/>
                    </a:lnTo>
                    <a:lnTo>
                      <a:pt x="0" y="114"/>
                    </a:lnTo>
                    <a:lnTo>
                      <a:pt x="0" y="103"/>
                    </a:lnTo>
                    <a:lnTo>
                      <a:pt x="1" y="91"/>
                    </a:lnTo>
                    <a:lnTo>
                      <a:pt x="5" y="81"/>
                    </a:lnTo>
                    <a:lnTo>
                      <a:pt x="8" y="70"/>
                    </a:lnTo>
                    <a:lnTo>
                      <a:pt x="13" y="60"/>
                    </a:lnTo>
                    <a:lnTo>
                      <a:pt x="20" y="52"/>
                    </a:lnTo>
                    <a:lnTo>
                      <a:pt x="26" y="42"/>
                    </a:lnTo>
                    <a:lnTo>
                      <a:pt x="33" y="33"/>
                    </a:lnTo>
                    <a:lnTo>
                      <a:pt x="41" y="27"/>
                    </a:lnTo>
                    <a:lnTo>
                      <a:pt x="51" y="20"/>
                    </a:lnTo>
                    <a:lnTo>
                      <a:pt x="59" y="14"/>
                    </a:lnTo>
                    <a:lnTo>
                      <a:pt x="69" y="10"/>
                    </a:lnTo>
                    <a:lnTo>
                      <a:pt x="81" y="5"/>
                    </a:lnTo>
                    <a:lnTo>
                      <a:pt x="91" y="4"/>
                    </a:lnTo>
                    <a:lnTo>
                      <a:pt x="102" y="0"/>
                    </a:lnTo>
                    <a:lnTo>
                      <a:pt x="114" y="0"/>
                    </a:lnTo>
                    <a:lnTo>
                      <a:pt x="114" y="0"/>
                    </a:lnTo>
                    <a:lnTo>
                      <a:pt x="126" y="0"/>
                    </a:lnTo>
                    <a:lnTo>
                      <a:pt x="137" y="4"/>
                    </a:lnTo>
                    <a:lnTo>
                      <a:pt x="149" y="5"/>
                    </a:lnTo>
                    <a:lnTo>
                      <a:pt x="159" y="10"/>
                    </a:lnTo>
                    <a:lnTo>
                      <a:pt x="169" y="15"/>
                    </a:lnTo>
                    <a:lnTo>
                      <a:pt x="178" y="20"/>
                    </a:lnTo>
                    <a:lnTo>
                      <a:pt x="187" y="27"/>
                    </a:lnTo>
                    <a:lnTo>
                      <a:pt x="195" y="33"/>
                    </a:lnTo>
                    <a:lnTo>
                      <a:pt x="203" y="42"/>
                    </a:lnTo>
                    <a:lnTo>
                      <a:pt x="210" y="52"/>
                    </a:lnTo>
                    <a:lnTo>
                      <a:pt x="215" y="60"/>
                    </a:lnTo>
                    <a:lnTo>
                      <a:pt x="220" y="71"/>
                    </a:lnTo>
                    <a:lnTo>
                      <a:pt x="225" y="81"/>
                    </a:lnTo>
                    <a:lnTo>
                      <a:pt x="226" y="93"/>
                    </a:lnTo>
                    <a:lnTo>
                      <a:pt x="228" y="103"/>
                    </a:lnTo>
                    <a:lnTo>
                      <a:pt x="230" y="116"/>
                    </a:lnTo>
                    <a:lnTo>
                      <a:pt x="230"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67"/>
              <p:cNvSpPr>
                <a:spLocks/>
              </p:cNvSpPr>
              <p:nvPr/>
            </p:nvSpPr>
            <p:spPr bwMode="auto">
              <a:xfrm>
                <a:off x="8913462" y="4423399"/>
                <a:ext cx="462103" cy="462103"/>
              </a:xfrm>
              <a:custGeom>
                <a:avLst/>
                <a:gdLst>
                  <a:gd name="T0" fmla="*/ 318 w 318"/>
                  <a:gd name="T1" fmla="*/ 159 h 318"/>
                  <a:gd name="T2" fmla="*/ 315 w 318"/>
                  <a:gd name="T3" fmla="*/ 191 h 318"/>
                  <a:gd name="T4" fmla="*/ 305 w 318"/>
                  <a:gd name="T5" fmla="*/ 220 h 318"/>
                  <a:gd name="T6" fmla="*/ 290 w 318"/>
                  <a:gd name="T7" fmla="*/ 249 h 318"/>
                  <a:gd name="T8" fmla="*/ 272 w 318"/>
                  <a:gd name="T9" fmla="*/ 272 h 318"/>
                  <a:gd name="T10" fmla="*/ 247 w 318"/>
                  <a:gd name="T11" fmla="*/ 292 h 318"/>
                  <a:gd name="T12" fmla="*/ 220 w 318"/>
                  <a:gd name="T13" fmla="*/ 305 h 318"/>
                  <a:gd name="T14" fmla="*/ 191 w 318"/>
                  <a:gd name="T15" fmla="*/ 315 h 318"/>
                  <a:gd name="T16" fmla="*/ 159 w 318"/>
                  <a:gd name="T17" fmla="*/ 318 h 318"/>
                  <a:gd name="T18" fmla="*/ 143 w 318"/>
                  <a:gd name="T19" fmla="*/ 316 h 318"/>
                  <a:gd name="T20" fmla="*/ 111 w 318"/>
                  <a:gd name="T21" fmla="*/ 311 h 318"/>
                  <a:gd name="T22" fmla="*/ 83 w 318"/>
                  <a:gd name="T23" fmla="*/ 298 h 318"/>
                  <a:gd name="T24" fmla="*/ 58 w 318"/>
                  <a:gd name="T25" fmla="*/ 282 h 318"/>
                  <a:gd name="T26" fmla="*/ 37 w 318"/>
                  <a:gd name="T27" fmla="*/ 260 h 318"/>
                  <a:gd name="T28" fmla="*/ 19 w 318"/>
                  <a:gd name="T29" fmla="*/ 235 h 318"/>
                  <a:gd name="T30" fmla="*/ 7 w 318"/>
                  <a:gd name="T31" fmla="*/ 206 h 318"/>
                  <a:gd name="T32" fmla="*/ 0 w 318"/>
                  <a:gd name="T33" fmla="*/ 176 h 318"/>
                  <a:gd name="T34" fmla="*/ 0 w 318"/>
                  <a:gd name="T35" fmla="*/ 159 h 318"/>
                  <a:gd name="T36" fmla="*/ 4 w 318"/>
                  <a:gd name="T37" fmla="*/ 126 h 318"/>
                  <a:gd name="T38" fmla="*/ 12 w 318"/>
                  <a:gd name="T39" fmla="*/ 96 h 318"/>
                  <a:gd name="T40" fmla="*/ 27 w 318"/>
                  <a:gd name="T41" fmla="*/ 70 h 318"/>
                  <a:gd name="T42" fmla="*/ 47 w 318"/>
                  <a:gd name="T43" fmla="*/ 47 h 318"/>
                  <a:gd name="T44" fmla="*/ 70 w 318"/>
                  <a:gd name="T45" fmla="*/ 27 h 318"/>
                  <a:gd name="T46" fmla="*/ 98 w 318"/>
                  <a:gd name="T47" fmla="*/ 12 h 318"/>
                  <a:gd name="T48" fmla="*/ 128 w 318"/>
                  <a:gd name="T49" fmla="*/ 4 h 318"/>
                  <a:gd name="T50" fmla="*/ 159 w 318"/>
                  <a:gd name="T51" fmla="*/ 0 h 318"/>
                  <a:gd name="T52" fmla="*/ 176 w 318"/>
                  <a:gd name="T53" fmla="*/ 0 h 318"/>
                  <a:gd name="T54" fmla="*/ 206 w 318"/>
                  <a:gd name="T55" fmla="*/ 7 h 318"/>
                  <a:gd name="T56" fmla="*/ 235 w 318"/>
                  <a:gd name="T57" fmla="*/ 19 h 318"/>
                  <a:gd name="T58" fmla="*/ 260 w 318"/>
                  <a:gd name="T59" fmla="*/ 37 h 318"/>
                  <a:gd name="T60" fmla="*/ 282 w 318"/>
                  <a:gd name="T61" fmla="*/ 58 h 318"/>
                  <a:gd name="T62" fmla="*/ 298 w 318"/>
                  <a:gd name="T63" fmla="*/ 83 h 318"/>
                  <a:gd name="T64" fmla="*/ 311 w 318"/>
                  <a:gd name="T65" fmla="*/ 111 h 318"/>
                  <a:gd name="T66" fmla="*/ 316 w 318"/>
                  <a:gd name="T67" fmla="*/ 143 h 318"/>
                  <a:gd name="T68" fmla="*/ 318 w 318"/>
                  <a:gd name="T69" fmla="*/ 15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8" h="318">
                    <a:moveTo>
                      <a:pt x="318" y="159"/>
                    </a:moveTo>
                    <a:lnTo>
                      <a:pt x="318" y="159"/>
                    </a:lnTo>
                    <a:lnTo>
                      <a:pt x="316" y="176"/>
                    </a:lnTo>
                    <a:lnTo>
                      <a:pt x="315" y="191"/>
                    </a:lnTo>
                    <a:lnTo>
                      <a:pt x="311" y="207"/>
                    </a:lnTo>
                    <a:lnTo>
                      <a:pt x="305" y="220"/>
                    </a:lnTo>
                    <a:lnTo>
                      <a:pt x="298" y="235"/>
                    </a:lnTo>
                    <a:lnTo>
                      <a:pt x="290" y="249"/>
                    </a:lnTo>
                    <a:lnTo>
                      <a:pt x="282" y="260"/>
                    </a:lnTo>
                    <a:lnTo>
                      <a:pt x="272" y="272"/>
                    </a:lnTo>
                    <a:lnTo>
                      <a:pt x="260" y="282"/>
                    </a:lnTo>
                    <a:lnTo>
                      <a:pt x="247" y="292"/>
                    </a:lnTo>
                    <a:lnTo>
                      <a:pt x="235" y="298"/>
                    </a:lnTo>
                    <a:lnTo>
                      <a:pt x="220" y="305"/>
                    </a:lnTo>
                    <a:lnTo>
                      <a:pt x="206" y="311"/>
                    </a:lnTo>
                    <a:lnTo>
                      <a:pt x="191" y="315"/>
                    </a:lnTo>
                    <a:lnTo>
                      <a:pt x="176" y="316"/>
                    </a:lnTo>
                    <a:lnTo>
                      <a:pt x="159" y="318"/>
                    </a:lnTo>
                    <a:lnTo>
                      <a:pt x="159" y="318"/>
                    </a:lnTo>
                    <a:lnTo>
                      <a:pt x="143" y="316"/>
                    </a:lnTo>
                    <a:lnTo>
                      <a:pt x="126" y="315"/>
                    </a:lnTo>
                    <a:lnTo>
                      <a:pt x="111" y="311"/>
                    </a:lnTo>
                    <a:lnTo>
                      <a:pt x="96" y="305"/>
                    </a:lnTo>
                    <a:lnTo>
                      <a:pt x="83" y="298"/>
                    </a:lnTo>
                    <a:lnTo>
                      <a:pt x="70" y="292"/>
                    </a:lnTo>
                    <a:lnTo>
                      <a:pt x="58" y="282"/>
                    </a:lnTo>
                    <a:lnTo>
                      <a:pt x="47" y="272"/>
                    </a:lnTo>
                    <a:lnTo>
                      <a:pt x="37" y="260"/>
                    </a:lnTo>
                    <a:lnTo>
                      <a:pt x="27" y="249"/>
                    </a:lnTo>
                    <a:lnTo>
                      <a:pt x="19" y="235"/>
                    </a:lnTo>
                    <a:lnTo>
                      <a:pt x="12" y="220"/>
                    </a:lnTo>
                    <a:lnTo>
                      <a:pt x="7" y="206"/>
                    </a:lnTo>
                    <a:lnTo>
                      <a:pt x="4" y="191"/>
                    </a:lnTo>
                    <a:lnTo>
                      <a:pt x="0" y="176"/>
                    </a:lnTo>
                    <a:lnTo>
                      <a:pt x="0" y="159"/>
                    </a:lnTo>
                    <a:lnTo>
                      <a:pt x="0" y="159"/>
                    </a:lnTo>
                    <a:lnTo>
                      <a:pt x="0" y="143"/>
                    </a:lnTo>
                    <a:lnTo>
                      <a:pt x="4" y="126"/>
                    </a:lnTo>
                    <a:lnTo>
                      <a:pt x="7" y="111"/>
                    </a:lnTo>
                    <a:lnTo>
                      <a:pt x="12" y="96"/>
                    </a:lnTo>
                    <a:lnTo>
                      <a:pt x="19" y="83"/>
                    </a:lnTo>
                    <a:lnTo>
                      <a:pt x="27" y="70"/>
                    </a:lnTo>
                    <a:lnTo>
                      <a:pt x="37" y="58"/>
                    </a:lnTo>
                    <a:lnTo>
                      <a:pt x="47" y="47"/>
                    </a:lnTo>
                    <a:lnTo>
                      <a:pt x="58" y="37"/>
                    </a:lnTo>
                    <a:lnTo>
                      <a:pt x="70" y="27"/>
                    </a:lnTo>
                    <a:lnTo>
                      <a:pt x="83" y="19"/>
                    </a:lnTo>
                    <a:lnTo>
                      <a:pt x="98" y="12"/>
                    </a:lnTo>
                    <a:lnTo>
                      <a:pt x="111" y="7"/>
                    </a:lnTo>
                    <a:lnTo>
                      <a:pt x="128" y="4"/>
                    </a:lnTo>
                    <a:lnTo>
                      <a:pt x="143" y="0"/>
                    </a:lnTo>
                    <a:lnTo>
                      <a:pt x="159" y="0"/>
                    </a:lnTo>
                    <a:lnTo>
                      <a:pt x="159" y="0"/>
                    </a:lnTo>
                    <a:lnTo>
                      <a:pt x="176" y="0"/>
                    </a:lnTo>
                    <a:lnTo>
                      <a:pt x="191" y="4"/>
                    </a:lnTo>
                    <a:lnTo>
                      <a:pt x="206" y="7"/>
                    </a:lnTo>
                    <a:lnTo>
                      <a:pt x="220" y="12"/>
                    </a:lnTo>
                    <a:lnTo>
                      <a:pt x="235" y="19"/>
                    </a:lnTo>
                    <a:lnTo>
                      <a:pt x="249" y="27"/>
                    </a:lnTo>
                    <a:lnTo>
                      <a:pt x="260" y="37"/>
                    </a:lnTo>
                    <a:lnTo>
                      <a:pt x="272" y="47"/>
                    </a:lnTo>
                    <a:lnTo>
                      <a:pt x="282" y="58"/>
                    </a:lnTo>
                    <a:lnTo>
                      <a:pt x="292" y="70"/>
                    </a:lnTo>
                    <a:lnTo>
                      <a:pt x="298" y="83"/>
                    </a:lnTo>
                    <a:lnTo>
                      <a:pt x="305" y="98"/>
                    </a:lnTo>
                    <a:lnTo>
                      <a:pt x="311" y="111"/>
                    </a:lnTo>
                    <a:lnTo>
                      <a:pt x="315" y="128"/>
                    </a:lnTo>
                    <a:lnTo>
                      <a:pt x="316" y="143"/>
                    </a:lnTo>
                    <a:lnTo>
                      <a:pt x="318" y="159"/>
                    </a:lnTo>
                    <a:lnTo>
                      <a:pt x="318"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68"/>
              <p:cNvSpPr>
                <a:spLocks/>
              </p:cNvSpPr>
              <p:nvPr/>
            </p:nvSpPr>
            <p:spPr bwMode="auto">
              <a:xfrm>
                <a:off x="8622831" y="3775293"/>
                <a:ext cx="274646" cy="273193"/>
              </a:xfrm>
              <a:custGeom>
                <a:avLst/>
                <a:gdLst>
                  <a:gd name="T0" fmla="*/ 189 w 189"/>
                  <a:gd name="T1" fmla="*/ 94 h 188"/>
                  <a:gd name="T2" fmla="*/ 189 w 189"/>
                  <a:gd name="T3" fmla="*/ 94 h 188"/>
                  <a:gd name="T4" fmla="*/ 187 w 189"/>
                  <a:gd name="T5" fmla="*/ 114 h 188"/>
                  <a:gd name="T6" fmla="*/ 182 w 189"/>
                  <a:gd name="T7" fmla="*/ 130 h 188"/>
                  <a:gd name="T8" fmla="*/ 172 w 189"/>
                  <a:gd name="T9" fmla="*/ 147 h 188"/>
                  <a:gd name="T10" fmla="*/ 161 w 189"/>
                  <a:gd name="T11" fmla="*/ 162 h 188"/>
                  <a:gd name="T12" fmla="*/ 147 w 189"/>
                  <a:gd name="T13" fmla="*/ 172 h 188"/>
                  <a:gd name="T14" fmla="*/ 131 w 189"/>
                  <a:gd name="T15" fmla="*/ 182 h 188"/>
                  <a:gd name="T16" fmla="*/ 114 w 189"/>
                  <a:gd name="T17" fmla="*/ 187 h 188"/>
                  <a:gd name="T18" fmla="*/ 94 w 189"/>
                  <a:gd name="T19" fmla="*/ 188 h 188"/>
                  <a:gd name="T20" fmla="*/ 94 w 189"/>
                  <a:gd name="T21" fmla="*/ 188 h 188"/>
                  <a:gd name="T22" fmla="*/ 76 w 189"/>
                  <a:gd name="T23" fmla="*/ 187 h 188"/>
                  <a:gd name="T24" fmla="*/ 58 w 189"/>
                  <a:gd name="T25" fmla="*/ 182 h 188"/>
                  <a:gd name="T26" fmla="*/ 42 w 189"/>
                  <a:gd name="T27" fmla="*/ 172 h 188"/>
                  <a:gd name="T28" fmla="*/ 28 w 189"/>
                  <a:gd name="T29" fmla="*/ 160 h 188"/>
                  <a:gd name="T30" fmla="*/ 17 w 189"/>
                  <a:gd name="T31" fmla="*/ 147 h 188"/>
                  <a:gd name="T32" fmla="*/ 8 w 189"/>
                  <a:gd name="T33" fmla="*/ 130 h 188"/>
                  <a:gd name="T34" fmla="*/ 2 w 189"/>
                  <a:gd name="T35" fmla="*/ 114 h 188"/>
                  <a:gd name="T36" fmla="*/ 0 w 189"/>
                  <a:gd name="T37" fmla="*/ 94 h 188"/>
                  <a:gd name="T38" fmla="*/ 0 w 189"/>
                  <a:gd name="T39" fmla="*/ 94 h 188"/>
                  <a:gd name="T40" fmla="*/ 2 w 189"/>
                  <a:gd name="T41" fmla="*/ 76 h 188"/>
                  <a:gd name="T42" fmla="*/ 8 w 189"/>
                  <a:gd name="T43" fmla="*/ 58 h 188"/>
                  <a:gd name="T44" fmla="*/ 17 w 189"/>
                  <a:gd name="T45" fmla="*/ 41 h 188"/>
                  <a:gd name="T46" fmla="*/ 28 w 189"/>
                  <a:gd name="T47" fmla="*/ 28 h 188"/>
                  <a:gd name="T48" fmla="*/ 42 w 189"/>
                  <a:gd name="T49" fmla="*/ 16 h 188"/>
                  <a:gd name="T50" fmla="*/ 58 w 189"/>
                  <a:gd name="T51" fmla="*/ 8 h 188"/>
                  <a:gd name="T52" fmla="*/ 76 w 189"/>
                  <a:gd name="T53" fmla="*/ 1 h 188"/>
                  <a:gd name="T54" fmla="*/ 94 w 189"/>
                  <a:gd name="T55" fmla="*/ 0 h 188"/>
                  <a:gd name="T56" fmla="*/ 94 w 189"/>
                  <a:gd name="T57" fmla="*/ 0 h 188"/>
                  <a:gd name="T58" fmla="*/ 114 w 189"/>
                  <a:gd name="T59" fmla="*/ 1 h 188"/>
                  <a:gd name="T60" fmla="*/ 131 w 189"/>
                  <a:gd name="T61" fmla="*/ 8 h 188"/>
                  <a:gd name="T62" fmla="*/ 147 w 189"/>
                  <a:gd name="T63" fmla="*/ 16 h 188"/>
                  <a:gd name="T64" fmla="*/ 162 w 189"/>
                  <a:gd name="T65" fmla="*/ 28 h 188"/>
                  <a:gd name="T66" fmla="*/ 172 w 189"/>
                  <a:gd name="T67" fmla="*/ 41 h 188"/>
                  <a:gd name="T68" fmla="*/ 182 w 189"/>
                  <a:gd name="T69" fmla="*/ 58 h 188"/>
                  <a:gd name="T70" fmla="*/ 187 w 189"/>
                  <a:gd name="T71" fmla="*/ 76 h 188"/>
                  <a:gd name="T72" fmla="*/ 189 w 189"/>
                  <a:gd name="T73" fmla="*/ 94 h 188"/>
                  <a:gd name="T74" fmla="*/ 189 w 189"/>
                  <a:gd name="T75" fmla="*/ 9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9" h="188">
                    <a:moveTo>
                      <a:pt x="189" y="94"/>
                    </a:moveTo>
                    <a:lnTo>
                      <a:pt x="189" y="94"/>
                    </a:lnTo>
                    <a:lnTo>
                      <a:pt x="187" y="114"/>
                    </a:lnTo>
                    <a:lnTo>
                      <a:pt x="182" y="130"/>
                    </a:lnTo>
                    <a:lnTo>
                      <a:pt x="172" y="147"/>
                    </a:lnTo>
                    <a:lnTo>
                      <a:pt x="161" y="162"/>
                    </a:lnTo>
                    <a:lnTo>
                      <a:pt x="147" y="172"/>
                    </a:lnTo>
                    <a:lnTo>
                      <a:pt x="131" y="182"/>
                    </a:lnTo>
                    <a:lnTo>
                      <a:pt x="114" y="187"/>
                    </a:lnTo>
                    <a:lnTo>
                      <a:pt x="94" y="188"/>
                    </a:lnTo>
                    <a:lnTo>
                      <a:pt x="94" y="188"/>
                    </a:lnTo>
                    <a:lnTo>
                      <a:pt x="76" y="187"/>
                    </a:lnTo>
                    <a:lnTo>
                      <a:pt x="58" y="182"/>
                    </a:lnTo>
                    <a:lnTo>
                      <a:pt x="42" y="172"/>
                    </a:lnTo>
                    <a:lnTo>
                      <a:pt x="28" y="160"/>
                    </a:lnTo>
                    <a:lnTo>
                      <a:pt x="17" y="147"/>
                    </a:lnTo>
                    <a:lnTo>
                      <a:pt x="8" y="130"/>
                    </a:lnTo>
                    <a:lnTo>
                      <a:pt x="2" y="114"/>
                    </a:lnTo>
                    <a:lnTo>
                      <a:pt x="0" y="94"/>
                    </a:lnTo>
                    <a:lnTo>
                      <a:pt x="0" y="94"/>
                    </a:lnTo>
                    <a:lnTo>
                      <a:pt x="2" y="76"/>
                    </a:lnTo>
                    <a:lnTo>
                      <a:pt x="8" y="58"/>
                    </a:lnTo>
                    <a:lnTo>
                      <a:pt x="17" y="41"/>
                    </a:lnTo>
                    <a:lnTo>
                      <a:pt x="28" y="28"/>
                    </a:lnTo>
                    <a:lnTo>
                      <a:pt x="42" y="16"/>
                    </a:lnTo>
                    <a:lnTo>
                      <a:pt x="58" y="8"/>
                    </a:lnTo>
                    <a:lnTo>
                      <a:pt x="76" y="1"/>
                    </a:lnTo>
                    <a:lnTo>
                      <a:pt x="94" y="0"/>
                    </a:lnTo>
                    <a:lnTo>
                      <a:pt x="94" y="0"/>
                    </a:lnTo>
                    <a:lnTo>
                      <a:pt x="114" y="1"/>
                    </a:lnTo>
                    <a:lnTo>
                      <a:pt x="131" y="8"/>
                    </a:lnTo>
                    <a:lnTo>
                      <a:pt x="147" y="16"/>
                    </a:lnTo>
                    <a:lnTo>
                      <a:pt x="162" y="28"/>
                    </a:lnTo>
                    <a:lnTo>
                      <a:pt x="172" y="41"/>
                    </a:lnTo>
                    <a:lnTo>
                      <a:pt x="182" y="58"/>
                    </a:lnTo>
                    <a:lnTo>
                      <a:pt x="187" y="76"/>
                    </a:lnTo>
                    <a:lnTo>
                      <a:pt x="189" y="94"/>
                    </a:lnTo>
                    <a:lnTo>
                      <a:pt x="189"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69"/>
              <p:cNvSpPr>
                <a:spLocks/>
              </p:cNvSpPr>
              <p:nvPr/>
            </p:nvSpPr>
            <p:spPr bwMode="auto">
              <a:xfrm>
                <a:off x="7229257" y="3782558"/>
                <a:ext cx="88642" cy="90096"/>
              </a:xfrm>
              <a:custGeom>
                <a:avLst/>
                <a:gdLst>
                  <a:gd name="T0" fmla="*/ 61 w 61"/>
                  <a:gd name="T1" fmla="*/ 31 h 62"/>
                  <a:gd name="T2" fmla="*/ 61 w 61"/>
                  <a:gd name="T3" fmla="*/ 31 h 62"/>
                  <a:gd name="T4" fmla="*/ 59 w 61"/>
                  <a:gd name="T5" fmla="*/ 38 h 62"/>
                  <a:gd name="T6" fmla="*/ 57 w 61"/>
                  <a:gd name="T7" fmla="*/ 43 h 62"/>
                  <a:gd name="T8" fmla="*/ 56 w 61"/>
                  <a:gd name="T9" fmla="*/ 48 h 62"/>
                  <a:gd name="T10" fmla="*/ 51 w 61"/>
                  <a:gd name="T11" fmla="*/ 53 h 62"/>
                  <a:gd name="T12" fmla="*/ 48 w 61"/>
                  <a:gd name="T13" fmla="*/ 56 h 62"/>
                  <a:gd name="T14" fmla="*/ 41 w 61"/>
                  <a:gd name="T15" fmla="*/ 59 h 62"/>
                  <a:gd name="T16" fmla="*/ 36 w 61"/>
                  <a:gd name="T17" fmla="*/ 61 h 62"/>
                  <a:gd name="T18" fmla="*/ 29 w 61"/>
                  <a:gd name="T19" fmla="*/ 62 h 62"/>
                  <a:gd name="T20" fmla="*/ 29 w 61"/>
                  <a:gd name="T21" fmla="*/ 62 h 62"/>
                  <a:gd name="T22" fmla="*/ 23 w 61"/>
                  <a:gd name="T23" fmla="*/ 61 h 62"/>
                  <a:gd name="T24" fmla="*/ 18 w 61"/>
                  <a:gd name="T25" fmla="*/ 59 h 62"/>
                  <a:gd name="T26" fmla="*/ 13 w 61"/>
                  <a:gd name="T27" fmla="*/ 56 h 62"/>
                  <a:gd name="T28" fmla="*/ 8 w 61"/>
                  <a:gd name="T29" fmla="*/ 53 h 62"/>
                  <a:gd name="T30" fmla="*/ 5 w 61"/>
                  <a:gd name="T31" fmla="*/ 48 h 62"/>
                  <a:gd name="T32" fmla="*/ 1 w 61"/>
                  <a:gd name="T33" fmla="*/ 43 h 62"/>
                  <a:gd name="T34" fmla="*/ 0 w 61"/>
                  <a:gd name="T35" fmla="*/ 38 h 62"/>
                  <a:gd name="T36" fmla="*/ 0 w 61"/>
                  <a:gd name="T37" fmla="*/ 31 h 62"/>
                  <a:gd name="T38" fmla="*/ 0 w 61"/>
                  <a:gd name="T39" fmla="*/ 31 h 62"/>
                  <a:gd name="T40" fmla="*/ 0 w 61"/>
                  <a:gd name="T41" fmla="*/ 24 h 62"/>
                  <a:gd name="T42" fmla="*/ 1 w 61"/>
                  <a:gd name="T43" fmla="*/ 19 h 62"/>
                  <a:gd name="T44" fmla="*/ 5 w 61"/>
                  <a:gd name="T45" fmla="*/ 14 h 62"/>
                  <a:gd name="T46" fmla="*/ 8 w 61"/>
                  <a:gd name="T47" fmla="*/ 10 h 62"/>
                  <a:gd name="T48" fmla="*/ 13 w 61"/>
                  <a:gd name="T49" fmla="*/ 6 h 62"/>
                  <a:gd name="T50" fmla="*/ 18 w 61"/>
                  <a:gd name="T51" fmla="*/ 3 h 62"/>
                  <a:gd name="T52" fmla="*/ 23 w 61"/>
                  <a:gd name="T53" fmla="*/ 1 h 62"/>
                  <a:gd name="T54" fmla="*/ 29 w 61"/>
                  <a:gd name="T55" fmla="*/ 0 h 62"/>
                  <a:gd name="T56" fmla="*/ 29 w 61"/>
                  <a:gd name="T57" fmla="*/ 0 h 62"/>
                  <a:gd name="T58" fmla="*/ 36 w 61"/>
                  <a:gd name="T59" fmla="*/ 1 h 62"/>
                  <a:gd name="T60" fmla="*/ 41 w 61"/>
                  <a:gd name="T61" fmla="*/ 3 h 62"/>
                  <a:gd name="T62" fmla="*/ 48 w 61"/>
                  <a:gd name="T63" fmla="*/ 6 h 62"/>
                  <a:gd name="T64" fmla="*/ 51 w 61"/>
                  <a:gd name="T65" fmla="*/ 10 h 62"/>
                  <a:gd name="T66" fmla="*/ 56 w 61"/>
                  <a:gd name="T67" fmla="*/ 14 h 62"/>
                  <a:gd name="T68" fmla="*/ 57 w 61"/>
                  <a:gd name="T69" fmla="*/ 19 h 62"/>
                  <a:gd name="T70" fmla="*/ 59 w 61"/>
                  <a:gd name="T71" fmla="*/ 24 h 62"/>
                  <a:gd name="T72" fmla="*/ 61 w 61"/>
                  <a:gd name="T73" fmla="*/ 31 h 62"/>
                  <a:gd name="T74" fmla="*/ 61 w 61"/>
                  <a:gd name="T75"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62">
                    <a:moveTo>
                      <a:pt x="61" y="31"/>
                    </a:moveTo>
                    <a:lnTo>
                      <a:pt x="61" y="31"/>
                    </a:lnTo>
                    <a:lnTo>
                      <a:pt x="59" y="38"/>
                    </a:lnTo>
                    <a:lnTo>
                      <a:pt x="57" y="43"/>
                    </a:lnTo>
                    <a:lnTo>
                      <a:pt x="56" y="48"/>
                    </a:lnTo>
                    <a:lnTo>
                      <a:pt x="51" y="53"/>
                    </a:lnTo>
                    <a:lnTo>
                      <a:pt x="48" y="56"/>
                    </a:lnTo>
                    <a:lnTo>
                      <a:pt x="41" y="59"/>
                    </a:lnTo>
                    <a:lnTo>
                      <a:pt x="36" y="61"/>
                    </a:lnTo>
                    <a:lnTo>
                      <a:pt x="29" y="62"/>
                    </a:lnTo>
                    <a:lnTo>
                      <a:pt x="29" y="62"/>
                    </a:lnTo>
                    <a:lnTo>
                      <a:pt x="23" y="61"/>
                    </a:lnTo>
                    <a:lnTo>
                      <a:pt x="18" y="59"/>
                    </a:lnTo>
                    <a:lnTo>
                      <a:pt x="13" y="56"/>
                    </a:lnTo>
                    <a:lnTo>
                      <a:pt x="8" y="53"/>
                    </a:lnTo>
                    <a:lnTo>
                      <a:pt x="5" y="48"/>
                    </a:lnTo>
                    <a:lnTo>
                      <a:pt x="1" y="43"/>
                    </a:lnTo>
                    <a:lnTo>
                      <a:pt x="0" y="38"/>
                    </a:lnTo>
                    <a:lnTo>
                      <a:pt x="0" y="31"/>
                    </a:lnTo>
                    <a:lnTo>
                      <a:pt x="0" y="31"/>
                    </a:lnTo>
                    <a:lnTo>
                      <a:pt x="0" y="24"/>
                    </a:lnTo>
                    <a:lnTo>
                      <a:pt x="1" y="19"/>
                    </a:lnTo>
                    <a:lnTo>
                      <a:pt x="5" y="14"/>
                    </a:lnTo>
                    <a:lnTo>
                      <a:pt x="8" y="10"/>
                    </a:lnTo>
                    <a:lnTo>
                      <a:pt x="13" y="6"/>
                    </a:lnTo>
                    <a:lnTo>
                      <a:pt x="18" y="3"/>
                    </a:lnTo>
                    <a:lnTo>
                      <a:pt x="23" y="1"/>
                    </a:lnTo>
                    <a:lnTo>
                      <a:pt x="29" y="0"/>
                    </a:lnTo>
                    <a:lnTo>
                      <a:pt x="29" y="0"/>
                    </a:lnTo>
                    <a:lnTo>
                      <a:pt x="36" y="1"/>
                    </a:lnTo>
                    <a:lnTo>
                      <a:pt x="41" y="3"/>
                    </a:lnTo>
                    <a:lnTo>
                      <a:pt x="48" y="6"/>
                    </a:lnTo>
                    <a:lnTo>
                      <a:pt x="51" y="10"/>
                    </a:lnTo>
                    <a:lnTo>
                      <a:pt x="56" y="14"/>
                    </a:lnTo>
                    <a:lnTo>
                      <a:pt x="57" y="19"/>
                    </a:lnTo>
                    <a:lnTo>
                      <a:pt x="59" y="24"/>
                    </a:lnTo>
                    <a:lnTo>
                      <a:pt x="61" y="31"/>
                    </a:lnTo>
                    <a:lnTo>
                      <a:pt x="6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70"/>
              <p:cNvSpPr>
                <a:spLocks/>
              </p:cNvSpPr>
              <p:nvPr/>
            </p:nvSpPr>
            <p:spPr bwMode="auto">
              <a:xfrm>
                <a:off x="3403103" y="1639157"/>
                <a:ext cx="145315" cy="142409"/>
              </a:xfrm>
              <a:custGeom>
                <a:avLst/>
                <a:gdLst>
                  <a:gd name="T0" fmla="*/ 100 w 100"/>
                  <a:gd name="T1" fmla="*/ 50 h 98"/>
                  <a:gd name="T2" fmla="*/ 100 w 100"/>
                  <a:gd name="T3" fmla="*/ 50 h 98"/>
                  <a:gd name="T4" fmla="*/ 98 w 100"/>
                  <a:gd name="T5" fmla="*/ 60 h 98"/>
                  <a:gd name="T6" fmla="*/ 95 w 100"/>
                  <a:gd name="T7" fmla="*/ 68 h 98"/>
                  <a:gd name="T8" fmla="*/ 90 w 100"/>
                  <a:gd name="T9" fmla="*/ 77 h 98"/>
                  <a:gd name="T10" fmla="*/ 85 w 100"/>
                  <a:gd name="T11" fmla="*/ 85 h 98"/>
                  <a:gd name="T12" fmla="*/ 76 w 100"/>
                  <a:gd name="T13" fmla="*/ 90 h 98"/>
                  <a:gd name="T14" fmla="*/ 68 w 100"/>
                  <a:gd name="T15" fmla="*/ 95 h 98"/>
                  <a:gd name="T16" fmla="*/ 60 w 100"/>
                  <a:gd name="T17" fmla="*/ 98 h 98"/>
                  <a:gd name="T18" fmla="*/ 50 w 100"/>
                  <a:gd name="T19" fmla="*/ 98 h 98"/>
                  <a:gd name="T20" fmla="*/ 50 w 100"/>
                  <a:gd name="T21" fmla="*/ 98 h 98"/>
                  <a:gd name="T22" fmla="*/ 40 w 100"/>
                  <a:gd name="T23" fmla="*/ 98 h 98"/>
                  <a:gd name="T24" fmla="*/ 30 w 100"/>
                  <a:gd name="T25" fmla="*/ 95 h 98"/>
                  <a:gd name="T26" fmla="*/ 22 w 100"/>
                  <a:gd name="T27" fmla="*/ 90 h 98"/>
                  <a:gd name="T28" fmla="*/ 15 w 100"/>
                  <a:gd name="T29" fmla="*/ 85 h 98"/>
                  <a:gd name="T30" fmla="*/ 9 w 100"/>
                  <a:gd name="T31" fmla="*/ 77 h 98"/>
                  <a:gd name="T32" fmla="*/ 4 w 100"/>
                  <a:gd name="T33" fmla="*/ 68 h 98"/>
                  <a:gd name="T34" fmla="*/ 2 w 100"/>
                  <a:gd name="T35" fmla="*/ 60 h 98"/>
                  <a:gd name="T36" fmla="*/ 0 w 100"/>
                  <a:gd name="T37" fmla="*/ 50 h 98"/>
                  <a:gd name="T38" fmla="*/ 0 w 100"/>
                  <a:gd name="T39" fmla="*/ 50 h 98"/>
                  <a:gd name="T40" fmla="*/ 2 w 100"/>
                  <a:gd name="T41" fmla="*/ 40 h 98"/>
                  <a:gd name="T42" fmla="*/ 4 w 100"/>
                  <a:gd name="T43" fmla="*/ 30 h 98"/>
                  <a:gd name="T44" fmla="*/ 9 w 100"/>
                  <a:gd name="T45" fmla="*/ 22 h 98"/>
                  <a:gd name="T46" fmla="*/ 15 w 100"/>
                  <a:gd name="T47" fmla="*/ 15 h 98"/>
                  <a:gd name="T48" fmla="*/ 22 w 100"/>
                  <a:gd name="T49" fmla="*/ 9 h 98"/>
                  <a:gd name="T50" fmla="*/ 30 w 100"/>
                  <a:gd name="T51" fmla="*/ 4 h 98"/>
                  <a:gd name="T52" fmla="*/ 40 w 100"/>
                  <a:gd name="T53" fmla="*/ 2 h 98"/>
                  <a:gd name="T54" fmla="*/ 50 w 100"/>
                  <a:gd name="T55" fmla="*/ 0 h 98"/>
                  <a:gd name="T56" fmla="*/ 50 w 100"/>
                  <a:gd name="T57" fmla="*/ 0 h 98"/>
                  <a:gd name="T58" fmla="*/ 60 w 100"/>
                  <a:gd name="T59" fmla="*/ 2 h 98"/>
                  <a:gd name="T60" fmla="*/ 68 w 100"/>
                  <a:gd name="T61" fmla="*/ 4 h 98"/>
                  <a:gd name="T62" fmla="*/ 76 w 100"/>
                  <a:gd name="T63" fmla="*/ 9 h 98"/>
                  <a:gd name="T64" fmla="*/ 85 w 100"/>
                  <a:gd name="T65" fmla="*/ 15 h 98"/>
                  <a:gd name="T66" fmla="*/ 91 w 100"/>
                  <a:gd name="T67" fmla="*/ 22 h 98"/>
                  <a:gd name="T68" fmla="*/ 95 w 100"/>
                  <a:gd name="T69" fmla="*/ 30 h 98"/>
                  <a:gd name="T70" fmla="*/ 98 w 100"/>
                  <a:gd name="T71" fmla="*/ 40 h 98"/>
                  <a:gd name="T72" fmla="*/ 100 w 100"/>
                  <a:gd name="T73" fmla="*/ 50 h 98"/>
                  <a:gd name="T74" fmla="*/ 100 w 100"/>
                  <a:gd name="T75" fmla="*/ 5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0" h="98">
                    <a:moveTo>
                      <a:pt x="100" y="50"/>
                    </a:moveTo>
                    <a:lnTo>
                      <a:pt x="100" y="50"/>
                    </a:lnTo>
                    <a:lnTo>
                      <a:pt x="98" y="60"/>
                    </a:lnTo>
                    <a:lnTo>
                      <a:pt x="95" y="68"/>
                    </a:lnTo>
                    <a:lnTo>
                      <a:pt x="90" y="77"/>
                    </a:lnTo>
                    <a:lnTo>
                      <a:pt x="85" y="85"/>
                    </a:lnTo>
                    <a:lnTo>
                      <a:pt x="76" y="90"/>
                    </a:lnTo>
                    <a:lnTo>
                      <a:pt x="68" y="95"/>
                    </a:lnTo>
                    <a:lnTo>
                      <a:pt x="60" y="98"/>
                    </a:lnTo>
                    <a:lnTo>
                      <a:pt x="50" y="98"/>
                    </a:lnTo>
                    <a:lnTo>
                      <a:pt x="50" y="98"/>
                    </a:lnTo>
                    <a:lnTo>
                      <a:pt x="40" y="98"/>
                    </a:lnTo>
                    <a:lnTo>
                      <a:pt x="30" y="95"/>
                    </a:lnTo>
                    <a:lnTo>
                      <a:pt x="22" y="90"/>
                    </a:lnTo>
                    <a:lnTo>
                      <a:pt x="15" y="85"/>
                    </a:lnTo>
                    <a:lnTo>
                      <a:pt x="9" y="77"/>
                    </a:lnTo>
                    <a:lnTo>
                      <a:pt x="4" y="68"/>
                    </a:lnTo>
                    <a:lnTo>
                      <a:pt x="2" y="60"/>
                    </a:lnTo>
                    <a:lnTo>
                      <a:pt x="0" y="50"/>
                    </a:lnTo>
                    <a:lnTo>
                      <a:pt x="0" y="50"/>
                    </a:lnTo>
                    <a:lnTo>
                      <a:pt x="2" y="40"/>
                    </a:lnTo>
                    <a:lnTo>
                      <a:pt x="4" y="30"/>
                    </a:lnTo>
                    <a:lnTo>
                      <a:pt x="9" y="22"/>
                    </a:lnTo>
                    <a:lnTo>
                      <a:pt x="15" y="15"/>
                    </a:lnTo>
                    <a:lnTo>
                      <a:pt x="22" y="9"/>
                    </a:lnTo>
                    <a:lnTo>
                      <a:pt x="30" y="4"/>
                    </a:lnTo>
                    <a:lnTo>
                      <a:pt x="40" y="2"/>
                    </a:lnTo>
                    <a:lnTo>
                      <a:pt x="50" y="0"/>
                    </a:lnTo>
                    <a:lnTo>
                      <a:pt x="50" y="0"/>
                    </a:lnTo>
                    <a:lnTo>
                      <a:pt x="60" y="2"/>
                    </a:lnTo>
                    <a:lnTo>
                      <a:pt x="68" y="4"/>
                    </a:lnTo>
                    <a:lnTo>
                      <a:pt x="76" y="9"/>
                    </a:lnTo>
                    <a:lnTo>
                      <a:pt x="85" y="15"/>
                    </a:lnTo>
                    <a:lnTo>
                      <a:pt x="91" y="22"/>
                    </a:lnTo>
                    <a:lnTo>
                      <a:pt x="95" y="30"/>
                    </a:lnTo>
                    <a:lnTo>
                      <a:pt x="98" y="40"/>
                    </a:lnTo>
                    <a:lnTo>
                      <a:pt x="100" y="50"/>
                    </a:lnTo>
                    <a:lnTo>
                      <a:pt x="10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71"/>
              <p:cNvSpPr>
                <a:spLocks/>
              </p:cNvSpPr>
              <p:nvPr/>
            </p:nvSpPr>
            <p:spPr bwMode="auto">
              <a:xfrm>
                <a:off x="2682339" y="651013"/>
                <a:ext cx="225239" cy="223786"/>
              </a:xfrm>
              <a:custGeom>
                <a:avLst/>
                <a:gdLst>
                  <a:gd name="T0" fmla="*/ 155 w 155"/>
                  <a:gd name="T1" fmla="*/ 78 h 154"/>
                  <a:gd name="T2" fmla="*/ 155 w 155"/>
                  <a:gd name="T3" fmla="*/ 78 h 154"/>
                  <a:gd name="T4" fmla="*/ 154 w 155"/>
                  <a:gd name="T5" fmla="*/ 93 h 154"/>
                  <a:gd name="T6" fmla="*/ 149 w 155"/>
                  <a:gd name="T7" fmla="*/ 108 h 154"/>
                  <a:gd name="T8" fmla="*/ 142 w 155"/>
                  <a:gd name="T9" fmla="*/ 121 h 154"/>
                  <a:gd name="T10" fmla="*/ 132 w 155"/>
                  <a:gd name="T11" fmla="*/ 133 h 154"/>
                  <a:gd name="T12" fmla="*/ 121 w 155"/>
                  <a:gd name="T13" fmla="*/ 141 h 154"/>
                  <a:gd name="T14" fmla="*/ 108 w 155"/>
                  <a:gd name="T15" fmla="*/ 149 h 154"/>
                  <a:gd name="T16" fmla="*/ 94 w 155"/>
                  <a:gd name="T17" fmla="*/ 154 h 154"/>
                  <a:gd name="T18" fmla="*/ 78 w 155"/>
                  <a:gd name="T19" fmla="*/ 154 h 154"/>
                  <a:gd name="T20" fmla="*/ 78 w 155"/>
                  <a:gd name="T21" fmla="*/ 154 h 154"/>
                  <a:gd name="T22" fmla="*/ 63 w 155"/>
                  <a:gd name="T23" fmla="*/ 154 h 154"/>
                  <a:gd name="T24" fmla="*/ 48 w 155"/>
                  <a:gd name="T25" fmla="*/ 149 h 154"/>
                  <a:gd name="T26" fmla="*/ 35 w 155"/>
                  <a:gd name="T27" fmla="*/ 141 h 154"/>
                  <a:gd name="T28" fmla="*/ 23 w 155"/>
                  <a:gd name="T29" fmla="*/ 133 h 154"/>
                  <a:gd name="T30" fmla="*/ 13 w 155"/>
                  <a:gd name="T31" fmla="*/ 121 h 154"/>
                  <a:gd name="T32" fmla="*/ 7 w 155"/>
                  <a:gd name="T33" fmla="*/ 108 h 154"/>
                  <a:gd name="T34" fmla="*/ 2 w 155"/>
                  <a:gd name="T35" fmla="*/ 93 h 154"/>
                  <a:gd name="T36" fmla="*/ 0 w 155"/>
                  <a:gd name="T37" fmla="*/ 78 h 154"/>
                  <a:gd name="T38" fmla="*/ 0 w 155"/>
                  <a:gd name="T39" fmla="*/ 78 h 154"/>
                  <a:gd name="T40" fmla="*/ 2 w 155"/>
                  <a:gd name="T41" fmla="*/ 62 h 154"/>
                  <a:gd name="T42" fmla="*/ 7 w 155"/>
                  <a:gd name="T43" fmla="*/ 47 h 154"/>
                  <a:gd name="T44" fmla="*/ 13 w 155"/>
                  <a:gd name="T45" fmla="*/ 33 h 154"/>
                  <a:gd name="T46" fmla="*/ 23 w 155"/>
                  <a:gd name="T47" fmla="*/ 22 h 154"/>
                  <a:gd name="T48" fmla="*/ 35 w 155"/>
                  <a:gd name="T49" fmla="*/ 14 h 154"/>
                  <a:gd name="T50" fmla="*/ 48 w 155"/>
                  <a:gd name="T51" fmla="*/ 5 h 154"/>
                  <a:gd name="T52" fmla="*/ 63 w 155"/>
                  <a:gd name="T53" fmla="*/ 2 h 154"/>
                  <a:gd name="T54" fmla="*/ 78 w 155"/>
                  <a:gd name="T55" fmla="*/ 0 h 154"/>
                  <a:gd name="T56" fmla="*/ 78 w 155"/>
                  <a:gd name="T57" fmla="*/ 0 h 154"/>
                  <a:gd name="T58" fmla="*/ 94 w 155"/>
                  <a:gd name="T59" fmla="*/ 2 h 154"/>
                  <a:gd name="T60" fmla="*/ 108 w 155"/>
                  <a:gd name="T61" fmla="*/ 5 h 154"/>
                  <a:gd name="T62" fmla="*/ 121 w 155"/>
                  <a:gd name="T63" fmla="*/ 14 h 154"/>
                  <a:gd name="T64" fmla="*/ 132 w 155"/>
                  <a:gd name="T65" fmla="*/ 22 h 154"/>
                  <a:gd name="T66" fmla="*/ 142 w 155"/>
                  <a:gd name="T67" fmla="*/ 33 h 154"/>
                  <a:gd name="T68" fmla="*/ 149 w 155"/>
                  <a:gd name="T69" fmla="*/ 47 h 154"/>
                  <a:gd name="T70" fmla="*/ 154 w 155"/>
                  <a:gd name="T71" fmla="*/ 62 h 154"/>
                  <a:gd name="T72" fmla="*/ 155 w 155"/>
                  <a:gd name="T73" fmla="*/ 78 h 154"/>
                  <a:gd name="T74" fmla="*/ 155 w 155"/>
                  <a:gd name="T75" fmla="*/ 7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5" h="154">
                    <a:moveTo>
                      <a:pt x="155" y="78"/>
                    </a:moveTo>
                    <a:lnTo>
                      <a:pt x="155" y="78"/>
                    </a:lnTo>
                    <a:lnTo>
                      <a:pt x="154" y="93"/>
                    </a:lnTo>
                    <a:lnTo>
                      <a:pt x="149" y="108"/>
                    </a:lnTo>
                    <a:lnTo>
                      <a:pt x="142" y="121"/>
                    </a:lnTo>
                    <a:lnTo>
                      <a:pt x="132" y="133"/>
                    </a:lnTo>
                    <a:lnTo>
                      <a:pt x="121" y="141"/>
                    </a:lnTo>
                    <a:lnTo>
                      <a:pt x="108" y="149"/>
                    </a:lnTo>
                    <a:lnTo>
                      <a:pt x="94" y="154"/>
                    </a:lnTo>
                    <a:lnTo>
                      <a:pt x="78" y="154"/>
                    </a:lnTo>
                    <a:lnTo>
                      <a:pt x="78" y="154"/>
                    </a:lnTo>
                    <a:lnTo>
                      <a:pt x="63" y="154"/>
                    </a:lnTo>
                    <a:lnTo>
                      <a:pt x="48" y="149"/>
                    </a:lnTo>
                    <a:lnTo>
                      <a:pt x="35" y="141"/>
                    </a:lnTo>
                    <a:lnTo>
                      <a:pt x="23" y="133"/>
                    </a:lnTo>
                    <a:lnTo>
                      <a:pt x="13" y="121"/>
                    </a:lnTo>
                    <a:lnTo>
                      <a:pt x="7" y="108"/>
                    </a:lnTo>
                    <a:lnTo>
                      <a:pt x="2" y="93"/>
                    </a:lnTo>
                    <a:lnTo>
                      <a:pt x="0" y="78"/>
                    </a:lnTo>
                    <a:lnTo>
                      <a:pt x="0" y="78"/>
                    </a:lnTo>
                    <a:lnTo>
                      <a:pt x="2" y="62"/>
                    </a:lnTo>
                    <a:lnTo>
                      <a:pt x="7" y="47"/>
                    </a:lnTo>
                    <a:lnTo>
                      <a:pt x="13" y="33"/>
                    </a:lnTo>
                    <a:lnTo>
                      <a:pt x="23" y="22"/>
                    </a:lnTo>
                    <a:lnTo>
                      <a:pt x="35" y="14"/>
                    </a:lnTo>
                    <a:lnTo>
                      <a:pt x="48" y="5"/>
                    </a:lnTo>
                    <a:lnTo>
                      <a:pt x="63" y="2"/>
                    </a:lnTo>
                    <a:lnTo>
                      <a:pt x="78" y="0"/>
                    </a:lnTo>
                    <a:lnTo>
                      <a:pt x="78" y="0"/>
                    </a:lnTo>
                    <a:lnTo>
                      <a:pt x="94" y="2"/>
                    </a:lnTo>
                    <a:lnTo>
                      <a:pt x="108" y="5"/>
                    </a:lnTo>
                    <a:lnTo>
                      <a:pt x="121" y="14"/>
                    </a:lnTo>
                    <a:lnTo>
                      <a:pt x="132" y="22"/>
                    </a:lnTo>
                    <a:lnTo>
                      <a:pt x="142" y="33"/>
                    </a:lnTo>
                    <a:lnTo>
                      <a:pt x="149" y="47"/>
                    </a:lnTo>
                    <a:lnTo>
                      <a:pt x="154" y="62"/>
                    </a:lnTo>
                    <a:lnTo>
                      <a:pt x="155" y="78"/>
                    </a:lnTo>
                    <a:lnTo>
                      <a:pt x="155"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72"/>
              <p:cNvSpPr>
                <a:spLocks/>
              </p:cNvSpPr>
              <p:nvPr/>
            </p:nvSpPr>
            <p:spPr bwMode="auto">
              <a:xfrm>
                <a:off x="6198971" y="3868295"/>
                <a:ext cx="334225" cy="334225"/>
              </a:xfrm>
              <a:custGeom>
                <a:avLst/>
                <a:gdLst>
                  <a:gd name="T0" fmla="*/ 230 w 230"/>
                  <a:gd name="T1" fmla="*/ 113 h 230"/>
                  <a:gd name="T2" fmla="*/ 229 w 230"/>
                  <a:gd name="T3" fmla="*/ 136 h 230"/>
                  <a:gd name="T4" fmla="*/ 222 w 230"/>
                  <a:gd name="T5" fmla="*/ 157 h 230"/>
                  <a:gd name="T6" fmla="*/ 212 w 230"/>
                  <a:gd name="T7" fmla="*/ 177 h 230"/>
                  <a:gd name="T8" fmla="*/ 199 w 230"/>
                  <a:gd name="T9" fmla="*/ 194 h 230"/>
                  <a:gd name="T10" fmla="*/ 182 w 230"/>
                  <a:gd name="T11" fmla="*/ 209 h 230"/>
                  <a:gd name="T12" fmla="*/ 163 w 230"/>
                  <a:gd name="T13" fmla="*/ 220 h 230"/>
                  <a:gd name="T14" fmla="*/ 141 w 230"/>
                  <a:gd name="T15" fmla="*/ 227 h 230"/>
                  <a:gd name="T16" fmla="*/ 118 w 230"/>
                  <a:gd name="T17" fmla="*/ 230 h 230"/>
                  <a:gd name="T18" fmla="*/ 106 w 230"/>
                  <a:gd name="T19" fmla="*/ 230 h 230"/>
                  <a:gd name="T20" fmla="*/ 85 w 230"/>
                  <a:gd name="T21" fmla="*/ 225 h 230"/>
                  <a:gd name="T22" fmla="*/ 63 w 230"/>
                  <a:gd name="T23" fmla="*/ 217 h 230"/>
                  <a:gd name="T24" fmla="*/ 45 w 230"/>
                  <a:gd name="T25" fmla="*/ 205 h 230"/>
                  <a:gd name="T26" fmla="*/ 29 w 230"/>
                  <a:gd name="T27" fmla="*/ 190 h 230"/>
                  <a:gd name="T28" fmla="*/ 15 w 230"/>
                  <a:gd name="T29" fmla="*/ 172 h 230"/>
                  <a:gd name="T30" fmla="*/ 7 w 230"/>
                  <a:gd name="T31" fmla="*/ 152 h 230"/>
                  <a:gd name="T32" fmla="*/ 2 w 230"/>
                  <a:gd name="T33" fmla="*/ 129 h 230"/>
                  <a:gd name="T34" fmla="*/ 0 w 230"/>
                  <a:gd name="T35" fmla="*/ 118 h 230"/>
                  <a:gd name="T36" fmla="*/ 2 w 230"/>
                  <a:gd name="T37" fmla="*/ 94 h 230"/>
                  <a:gd name="T38" fmla="*/ 9 w 230"/>
                  <a:gd name="T39" fmla="*/ 73 h 230"/>
                  <a:gd name="T40" fmla="*/ 19 w 230"/>
                  <a:gd name="T41" fmla="*/ 53 h 230"/>
                  <a:gd name="T42" fmla="*/ 32 w 230"/>
                  <a:gd name="T43" fmla="*/ 37 h 230"/>
                  <a:gd name="T44" fmla="*/ 48 w 230"/>
                  <a:gd name="T45" fmla="*/ 22 h 230"/>
                  <a:gd name="T46" fmla="*/ 68 w 230"/>
                  <a:gd name="T47" fmla="*/ 12 h 230"/>
                  <a:gd name="T48" fmla="*/ 90 w 230"/>
                  <a:gd name="T49" fmla="*/ 3 h 230"/>
                  <a:gd name="T50" fmla="*/ 113 w 230"/>
                  <a:gd name="T51" fmla="*/ 0 h 230"/>
                  <a:gd name="T52" fmla="*/ 125 w 230"/>
                  <a:gd name="T53" fmla="*/ 2 h 230"/>
                  <a:gd name="T54" fmla="*/ 146 w 230"/>
                  <a:gd name="T55" fmla="*/ 5 h 230"/>
                  <a:gd name="T56" fmla="*/ 168 w 230"/>
                  <a:gd name="T57" fmla="*/ 13 h 230"/>
                  <a:gd name="T58" fmla="*/ 186 w 230"/>
                  <a:gd name="T59" fmla="*/ 25 h 230"/>
                  <a:gd name="T60" fmla="*/ 202 w 230"/>
                  <a:gd name="T61" fmla="*/ 40 h 230"/>
                  <a:gd name="T62" fmla="*/ 214 w 230"/>
                  <a:gd name="T63" fmla="*/ 58 h 230"/>
                  <a:gd name="T64" fmla="*/ 224 w 230"/>
                  <a:gd name="T65" fmla="*/ 78 h 230"/>
                  <a:gd name="T66" fmla="*/ 229 w 230"/>
                  <a:gd name="T67" fmla="*/ 101 h 230"/>
                  <a:gd name="T68" fmla="*/ 230 w 230"/>
                  <a:gd name="T69"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0" h="230">
                    <a:moveTo>
                      <a:pt x="230" y="113"/>
                    </a:moveTo>
                    <a:lnTo>
                      <a:pt x="230" y="113"/>
                    </a:lnTo>
                    <a:lnTo>
                      <a:pt x="229" y="124"/>
                    </a:lnTo>
                    <a:lnTo>
                      <a:pt x="229" y="136"/>
                    </a:lnTo>
                    <a:lnTo>
                      <a:pt x="225" y="147"/>
                    </a:lnTo>
                    <a:lnTo>
                      <a:pt x="222" y="157"/>
                    </a:lnTo>
                    <a:lnTo>
                      <a:pt x="217" y="167"/>
                    </a:lnTo>
                    <a:lnTo>
                      <a:pt x="212" y="177"/>
                    </a:lnTo>
                    <a:lnTo>
                      <a:pt x="206" y="185"/>
                    </a:lnTo>
                    <a:lnTo>
                      <a:pt x="199" y="194"/>
                    </a:lnTo>
                    <a:lnTo>
                      <a:pt x="191" y="202"/>
                    </a:lnTo>
                    <a:lnTo>
                      <a:pt x="182" y="209"/>
                    </a:lnTo>
                    <a:lnTo>
                      <a:pt x="173" y="215"/>
                    </a:lnTo>
                    <a:lnTo>
                      <a:pt x="163" y="220"/>
                    </a:lnTo>
                    <a:lnTo>
                      <a:pt x="153" y="224"/>
                    </a:lnTo>
                    <a:lnTo>
                      <a:pt x="141" y="227"/>
                    </a:lnTo>
                    <a:lnTo>
                      <a:pt x="130" y="228"/>
                    </a:lnTo>
                    <a:lnTo>
                      <a:pt x="118" y="230"/>
                    </a:lnTo>
                    <a:lnTo>
                      <a:pt x="118" y="230"/>
                    </a:lnTo>
                    <a:lnTo>
                      <a:pt x="106" y="230"/>
                    </a:lnTo>
                    <a:lnTo>
                      <a:pt x="95" y="228"/>
                    </a:lnTo>
                    <a:lnTo>
                      <a:pt x="85" y="225"/>
                    </a:lnTo>
                    <a:lnTo>
                      <a:pt x="73" y="222"/>
                    </a:lnTo>
                    <a:lnTo>
                      <a:pt x="63" y="217"/>
                    </a:lnTo>
                    <a:lnTo>
                      <a:pt x="53" y="212"/>
                    </a:lnTo>
                    <a:lnTo>
                      <a:pt x="45" y="205"/>
                    </a:lnTo>
                    <a:lnTo>
                      <a:pt x="37" y="199"/>
                    </a:lnTo>
                    <a:lnTo>
                      <a:pt x="29" y="190"/>
                    </a:lnTo>
                    <a:lnTo>
                      <a:pt x="22" y="182"/>
                    </a:lnTo>
                    <a:lnTo>
                      <a:pt x="15" y="172"/>
                    </a:lnTo>
                    <a:lnTo>
                      <a:pt x="10" y="162"/>
                    </a:lnTo>
                    <a:lnTo>
                      <a:pt x="7" y="152"/>
                    </a:lnTo>
                    <a:lnTo>
                      <a:pt x="4" y="141"/>
                    </a:lnTo>
                    <a:lnTo>
                      <a:pt x="2" y="129"/>
                    </a:lnTo>
                    <a:lnTo>
                      <a:pt x="0" y="118"/>
                    </a:lnTo>
                    <a:lnTo>
                      <a:pt x="0" y="118"/>
                    </a:lnTo>
                    <a:lnTo>
                      <a:pt x="0" y="106"/>
                    </a:lnTo>
                    <a:lnTo>
                      <a:pt x="2" y="94"/>
                    </a:lnTo>
                    <a:lnTo>
                      <a:pt x="5" y="85"/>
                    </a:lnTo>
                    <a:lnTo>
                      <a:pt x="9" y="73"/>
                    </a:lnTo>
                    <a:lnTo>
                      <a:pt x="14" y="63"/>
                    </a:lnTo>
                    <a:lnTo>
                      <a:pt x="19" y="53"/>
                    </a:lnTo>
                    <a:lnTo>
                      <a:pt x="25" y="45"/>
                    </a:lnTo>
                    <a:lnTo>
                      <a:pt x="32" y="37"/>
                    </a:lnTo>
                    <a:lnTo>
                      <a:pt x="40" y="28"/>
                    </a:lnTo>
                    <a:lnTo>
                      <a:pt x="48" y="22"/>
                    </a:lnTo>
                    <a:lnTo>
                      <a:pt x="58" y="17"/>
                    </a:lnTo>
                    <a:lnTo>
                      <a:pt x="68" y="12"/>
                    </a:lnTo>
                    <a:lnTo>
                      <a:pt x="78" y="7"/>
                    </a:lnTo>
                    <a:lnTo>
                      <a:pt x="90" y="3"/>
                    </a:lnTo>
                    <a:lnTo>
                      <a:pt x="101" y="2"/>
                    </a:lnTo>
                    <a:lnTo>
                      <a:pt x="113" y="0"/>
                    </a:lnTo>
                    <a:lnTo>
                      <a:pt x="113" y="0"/>
                    </a:lnTo>
                    <a:lnTo>
                      <a:pt x="125" y="2"/>
                    </a:lnTo>
                    <a:lnTo>
                      <a:pt x="136" y="3"/>
                    </a:lnTo>
                    <a:lnTo>
                      <a:pt x="146" y="5"/>
                    </a:lnTo>
                    <a:lnTo>
                      <a:pt x="158" y="8"/>
                    </a:lnTo>
                    <a:lnTo>
                      <a:pt x="168" y="13"/>
                    </a:lnTo>
                    <a:lnTo>
                      <a:pt x="177" y="18"/>
                    </a:lnTo>
                    <a:lnTo>
                      <a:pt x="186" y="25"/>
                    </a:lnTo>
                    <a:lnTo>
                      <a:pt x="194" y="33"/>
                    </a:lnTo>
                    <a:lnTo>
                      <a:pt x="202" y="40"/>
                    </a:lnTo>
                    <a:lnTo>
                      <a:pt x="209" y="50"/>
                    </a:lnTo>
                    <a:lnTo>
                      <a:pt x="214" y="58"/>
                    </a:lnTo>
                    <a:lnTo>
                      <a:pt x="221" y="68"/>
                    </a:lnTo>
                    <a:lnTo>
                      <a:pt x="224" y="78"/>
                    </a:lnTo>
                    <a:lnTo>
                      <a:pt x="227" y="89"/>
                    </a:lnTo>
                    <a:lnTo>
                      <a:pt x="229" y="101"/>
                    </a:lnTo>
                    <a:lnTo>
                      <a:pt x="230" y="113"/>
                    </a:lnTo>
                    <a:lnTo>
                      <a:pt x="230"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5" name="Freeform 154"/>
            <p:cNvSpPr>
              <a:spLocks/>
            </p:cNvSpPr>
            <p:nvPr/>
          </p:nvSpPr>
          <p:spPr bwMode="auto">
            <a:xfrm>
              <a:off x="9349408" y="4849173"/>
              <a:ext cx="297896" cy="297896"/>
            </a:xfrm>
            <a:custGeom>
              <a:avLst/>
              <a:gdLst>
                <a:gd name="T0" fmla="*/ 0 w 205"/>
                <a:gd name="T1" fmla="*/ 104 h 205"/>
                <a:gd name="T2" fmla="*/ 0 w 205"/>
                <a:gd name="T3" fmla="*/ 104 h 205"/>
                <a:gd name="T4" fmla="*/ 0 w 205"/>
                <a:gd name="T5" fmla="*/ 95 h 205"/>
                <a:gd name="T6" fmla="*/ 1 w 205"/>
                <a:gd name="T7" fmla="*/ 85 h 205"/>
                <a:gd name="T8" fmla="*/ 3 w 205"/>
                <a:gd name="T9" fmla="*/ 75 h 205"/>
                <a:gd name="T10" fmla="*/ 6 w 205"/>
                <a:gd name="T11" fmla="*/ 65 h 205"/>
                <a:gd name="T12" fmla="*/ 15 w 205"/>
                <a:gd name="T13" fmla="*/ 47 h 205"/>
                <a:gd name="T14" fmla="*/ 28 w 205"/>
                <a:gd name="T15" fmla="*/ 32 h 205"/>
                <a:gd name="T16" fmla="*/ 43 w 205"/>
                <a:gd name="T17" fmla="*/ 18 h 205"/>
                <a:gd name="T18" fmla="*/ 59 w 205"/>
                <a:gd name="T19" fmla="*/ 8 h 205"/>
                <a:gd name="T20" fmla="*/ 69 w 205"/>
                <a:gd name="T21" fmla="*/ 5 h 205"/>
                <a:gd name="T22" fmla="*/ 79 w 205"/>
                <a:gd name="T23" fmla="*/ 2 h 205"/>
                <a:gd name="T24" fmla="*/ 89 w 205"/>
                <a:gd name="T25" fmla="*/ 0 h 205"/>
                <a:gd name="T26" fmla="*/ 99 w 205"/>
                <a:gd name="T27" fmla="*/ 0 h 205"/>
                <a:gd name="T28" fmla="*/ 99 w 205"/>
                <a:gd name="T29" fmla="*/ 0 h 205"/>
                <a:gd name="T30" fmla="*/ 111 w 205"/>
                <a:gd name="T31" fmla="*/ 0 h 205"/>
                <a:gd name="T32" fmla="*/ 121 w 205"/>
                <a:gd name="T33" fmla="*/ 2 h 205"/>
                <a:gd name="T34" fmla="*/ 131 w 205"/>
                <a:gd name="T35" fmla="*/ 4 h 205"/>
                <a:gd name="T36" fmla="*/ 140 w 205"/>
                <a:gd name="T37" fmla="*/ 7 h 205"/>
                <a:gd name="T38" fmla="*/ 157 w 205"/>
                <a:gd name="T39" fmla="*/ 15 h 205"/>
                <a:gd name="T40" fmla="*/ 174 w 205"/>
                <a:gd name="T41" fmla="*/ 28 h 205"/>
                <a:gd name="T42" fmla="*/ 185 w 205"/>
                <a:gd name="T43" fmla="*/ 43 h 205"/>
                <a:gd name="T44" fmla="*/ 195 w 205"/>
                <a:gd name="T45" fmla="*/ 60 h 205"/>
                <a:gd name="T46" fmla="*/ 200 w 205"/>
                <a:gd name="T47" fmla="*/ 70 h 205"/>
                <a:gd name="T48" fmla="*/ 202 w 205"/>
                <a:gd name="T49" fmla="*/ 80 h 205"/>
                <a:gd name="T50" fmla="*/ 203 w 205"/>
                <a:gd name="T51" fmla="*/ 90 h 205"/>
                <a:gd name="T52" fmla="*/ 205 w 205"/>
                <a:gd name="T53" fmla="*/ 99 h 205"/>
                <a:gd name="T54" fmla="*/ 205 w 205"/>
                <a:gd name="T55" fmla="*/ 99 h 205"/>
                <a:gd name="T56" fmla="*/ 205 w 205"/>
                <a:gd name="T57" fmla="*/ 111 h 205"/>
                <a:gd name="T58" fmla="*/ 203 w 205"/>
                <a:gd name="T59" fmla="*/ 121 h 205"/>
                <a:gd name="T60" fmla="*/ 202 w 205"/>
                <a:gd name="T61" fmla="*/ 131 h 205"/>
                <a:gd name="T62" fmla="*/ 198 w 205"/>
                <a:gd name="T63" fmla="*/ 139 h 205"/>
                <a:gd name="T64" fmla="*/ 188 w 205"/>
                <a:gd name="T65" fmla="*/ 157 h 205"/>
                <a:gd name="T66" fmla="*/ 177 w 205"/>
                <a:gd name="T67" fmla="*/ 174 h 205"/>
                <a:gd name="T68" fmla="*/ 162 w 205"/>
                <a:gd name="T69" fmla="*/ 186 h 205"/>
                <a:gd name="T70" fmla="*/ 144 w 205"/>
                <a:gd name="T71" fmla="*/ 195 h 205"/>
                <a:gd name="T72" fmla="*/ 135 w 205"/>
                <a:gd name="T73" fmla="*/ 200 h 205"/>
                <a:gd name="T74" fmla="*/ 126 w 205"/>
                <a:gd name="T75" fmla="*/ 202 h 205"/>
                <a:gd name="T76" fmla="*/ 116 w 205"/>
                <a:gd name="T77" fmla="*/ 204 h 205"/>
                <a:gd name="T78" fmla="*/ 104 w 205"/>
                <a:gd name="T79" fmla="*/ 205 h 205"/>
                <a:gd name="T80" fmla="*/ 104 w 205"/>
                <a:gd name="T81" fmla="*/ 205 h 205"/>
                <a:gd name="T82" fmla="*/ 94 w 205"/>
                <a:gd name="T83" fmla="*/ 205 h 205"/>
                <a:gd name="T84" fmla="*/ 84 w 205"/>
                <a:gd name="T85" fmla="*/ 204 h 205"/>
                <a:gd name="T86" fmla="*/ 74 w 205"/>
                <a:gd name="T87" fmla="*/ 200 h 205"/>
                <a:gd name="T88" fmla="*/ 64 w 205"/>
                <a:gd name="T89" fmla="*/ 199 h 205"/>
                <a:gd name="T90" fmla="*/ 46 w 205"/>
                <a:gd name="T91" fmla="*/ 189 h 205"/>
                <a:gd name="T92" fmla="*/ 31 w 205"/>
                <a:gd name="T93" fmla="*/ 177 h 205"/>
                <a:gd name="T94" fmla="*/ 18 w 205"/>
                <a:gd name="T95" fmla="*/ 162 h 205"/>
                <a:gd name="T96" fmla="*/ 8 w 205"/>
                <a:gd name="T97" fmla="*/ 144 h 205"/>
                <a:gd name="T98" fmla="*/ 5 w 205"/>
                <a:gd name="T99" fmla="*/ 136 h 205"/>
                <a:gd name="T100" fmla="*/ 1 w 205"/>
                <a:gd name="T101" fmla="*/ 126 h 205"/>
                <a:gd name="T102" fmla="*/ 0 w 205"/>
                <a:gd name="T103" fmla="*/ 116 h 205"/>
                <a:gd name="T104" fmla="*/ 0 w 205"/>
                <a:gd name="T105" fmla="*/ 104 h 205"/>
                <a:gd name="T106" fmla="*/ 0 w 205"/>
                <a:gd name="T107" fmla="*/ 10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5" h="205">
                  <a:moveTo>
                    <a:pt x="0" y="104"/>
                  </a:moveTo>
                  <a:lnTo>
                    <a:pt x="0" y="104"/>
                  </a:lnTo>
                  <a:lnTo>
                    <a:pt x="0" y="95"/>
                  </a:lnTo>
                  <a:lnTo>
                    <a:pt x="1" y="85"/>
                  </a:lnTo>
                  <a:lnTo>
                    <a:pt x="3" y="75"/>
                  </a:lnTo>
                  <a:lnTo>
                    <a:pt x="6" y="65"/>
                  </a:lnTo>
                  <a:lnTo>
                    <a:pt x="15" y="47"/>
                  </a:lnTo>
                  <a:lnTo>
                    <a:pt x="28" y="32"/>
                  </a:lnTo>
                  <a:lnTo>
                    <a:pt x="43" y="18"/>
                  </a:lnTo>
                  <a:lnTo>
                    <a:pt x="59" y="8"/>
                  </a:lnTo>
                  <a:lnTo>
                    <a:pt x="69" y="5"/>
                  </a:lnTo>
                  <a:lnTo>
                    <a:pt x="79" y="2"/>
                  </a:lnTo>
                  <a:lnTo>
                    <a:pt x="89" y="0"/>
                  </a:lnTo>
                  <a:lnTo>
                    <a:pt x="99" y="0"/>
                  </a:lnTo>
                  <a:lnTo>
                    <a:pt x="99" y="0"/>
                  </a:lnTo>
                  <a:lnTo>
                    <a:pt x="111" y="0"/>
                  </a:lnTo>
                  <a:lnTo>
                    <a:pt x="121" y="2"/>
                  </a:lnTo>
                  <a:lnTo>
                    <a:pt x="131" y="4"/>
                  </a:lnTo>
                  <a:lnTo>
                    <a:pt x="140" y="7"/>
                  </a:lnTo>
                  <a:lnTo>
                    <a:pt x="157" y="15"/>
                  </a:lnTo>
                  <a:lnTo>
                    <a:pt x="174" y="28"/>
                  </a:lnTo>
                  <a:lnTo>
                    <a:pt x="185" y="43"/>
                  </a:lnTo>
                  <a:lnTo>
                    <a:pt x="195" y="60"/>
                  </a:lnTo>
                  <a:lnTo>
                    <a:pt x="200" y="70"/>
                  </a:lnTo>
                  <a:lnTo>
                    <a:pt x="202" y="80"/>
                  </a:lnTo>
                  <a:lnTo>
                    <a:pt x="203" y="90"/>
                  </a:lnTo>
                  <a:lnTo>
                    <a:pt x="205" y="99"/>
                  </a:lnTo>
                  <a:lnTo>
                    <a:pt x="205" y="99"/>
                  </a:lnTo>
                  <a:lnTo>
                    <a:pt x="205" y="111"/>
                  </a:lnTo>
                  <a:lnTo>
                    <a:pt x="203" y="121"/>
                  </a:lnTo>
                  <a:lnTo>
                    <a:pt x="202" y="131"/>
                  </a:lnTo>
                  <a:lnTo>
                    <a:pt x="198" y="139"/>
                  </a:lnTo>
                  <a:lnTo>
                    <a:pt x="188" y="157"/>
                  </a:lnTo>
                  <a:lnTo>
                    <a:pt x="177" y="174"/>
                  </a:lnTo>
                  <a:lnTo>
                    <a:pt x="162" y="186"/>
                  </a:lnTo>
                  <a:lnTo>
                    <a:pt x="144" y="195"/>
                  </a:lnTo>
                  <a:lnTo>
                    <a:pt x="135" y="200"/>
                  </a:lnTo>
                  <a:lnTo>
                    <a:pt x="126" y="202"/>
                  </a:lnTo>
                  <a:lnTo>
                    <a:pt x="116" y="204"/>
                  </a:lnTo>
                  <a:lnTo>
                    <a:pt x="104" y="205"/>
                  </a:lnTo>
                  <a:lnTo>
                    <a:pt x="104" y="205"/>
                  </a:lnTo>
                  <a:lnTo>
                    <a:pt x="94" y="205"/>
                  </a:lnTo>
                  <a:lnTo>
                    <a:pt x="84" y="204"/>
                  </a:lnTo>
                  <a:lnTo>
                    <a:pt x="74" y="200"/>
                  </a:lnTo>
                  <a:lnTo>
                    <a:pt x="64" y="199"/>
                  </a:lnTo>
                  <a:lnTo>
                    <a:pt x="46" y="189"/>
                  </a:lnTo>
                  <a:lnTo>
                    <a:pt x="31" y="177"/>
                  </a:lnTo>
                  <a:lnTo>
                    <a:pt x="18" y="162"/>
                  </a:lnTo>
                  <a:lnTo>
                    <a:pt x="8" y="144"/>
                  </a:lnTo>
                  <a:lnTo>
                    <a:pt x="5" y="136"/>
                  </a:lnTo>
                  <a:lnTo>
                    <a:pt x="1" y="126"/>
                  </a:lnTo>
                  <a:lnTo>
                    <a:pt x="0" y="116"/>
                  </a:lnTo>
                  <a:lnTo>
                    <a:pt x="0" y="104"/>
                  </a:lnTo>
                  <a:lnTo>
                    <a:pt x="0" y="104"/>
                  </a:lnTo>
                  <a:close/>
                </a:path>
              </a:pathLst>
            </a:custGeom>
            <a:solidFill>
              <a:schemeClr val="accent4">
                <a:alpha val="62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56" name="Freeform 155"/>
            <p:cNvSpPr>
              <a:spLocks/>
            </p:cNvSpPr>
            <p:nvPr/>
          </p:nvSpPr>
          <p:spPr bwMode="auto">
            <a:xfrm>
              <a:off x="3730063" y="3459958"/>
              <a:ext cx="156941" cy="155487"/>
            </a:xfrm>
            <a:custGeom>
              <a:avLst/>
              <a:gdLst>
                <a:gd name="T0" fmla="*/ 108 w 108"/>
                <a:gd name="T1" fmla="*/ 53 h 107"/>
                <a:gd name="T2" fmla="*/ 108 w 108"/>
                <a:gd name="T3" fmla="*/ 53 h 107"/>
                <a:gd name="T4" fmla="*/ 106 w 108"/>
                <a:gd name="T5" fmla="*/ 63 h 107"/>
                <a:gd name="T6" fmla="*/ 105 w 108"/>
                <a:gd name="T7" fmla="*/ 73 h 107"/>
                <a:gd name="T8" fmla="*/ 100 w 108"/>
                <a:gd name="T9" fmla="*/ 83 h 107"/>
                <a:gd name="T10" fmla="*/ 93 w 108"/>
                <a:gd name="T11" fmla="*/ 91 h 107"/>
                <a:gd name="T12" fmla="*/ 85 w 108"/>
                <a:gd name="T13" fmla="*/ 97 h 107"/>
                <a:gd name="T14" fmla="*/ 76 w 108"/>
                <a:gd name="T15" fmla="*/ 102 h 107"/>
                <a:gd name="T16" fmla="*/ 66 w 108"/>
                <a:gd name="T17" fmla="*/ 106 h 107"/>
                <a:gd name="T18" fmla="*/ 55 w 108"/>
                <a:gd name="T19" fmla="*/ 107 h 107"/>
                <a:gd name="T20" fmla="*/ 55 w 108"/>
                <a:gd name="T21" fmla="*/ 107 h 107"/>
                <a:gd name="T22" fmla="*/ 45 w 108"/>
                <a:gd name="T23" fmla="*/ 107 h 107"/>
                <a:gd name="T24" fmla="*/ 33 w 108"/>
                <a:gd name="T25" fmla="*/ 104 h 107"/>
                <a:gd name="T26" fmla="*/ 25 w 108"/>
                <a:gd name="T27" fmla="*/ 99 h 107"/>
                <a:gd name="T28" fmla="*/ 17 w 108"/>
                <a:gd name="T29" fmla="*/ 93 h 107"/>
                <a:gd name="T30" fmla="*/ 10 w 108"/>
                <a:gd name="T31" fmla="*/ 84 h 107"/>
                <a:gd name="T32" fmla="*/ 5 w 108"/>
                <a:gd name="T33" fmla="*/ 76 h 107"/>
                <a:gd name="T34" fmla="*/ 2 w 108"/>
                <a:gd name="T35" fmla="*/ 66 h 107"/>
                <a:gd name="T36" fmla="*/ 0 w 108"/>
                <a:gd name="T37" fmla="*/ 54 h 107"/>
                <a:gd name="T38" fmla="*/ 0 w 108"/>
                <a:gd name="T39" fmla="*/ 54 h 107"/>
                <a:gd name="T40" fmla="*/ 0 w 108"/>
                <a:gd name="T41" fmla="*/ 45 h 107"/>
                <a:gd name="T42" fmla="*/ 4 w 108"/>
                <a:gd name="T43" fmla="*/ 35 h 107"/>
                <a:gd name="T44" fmla="*/ 9 w 108"/>
                <a:gd name="T45" fmla="*/ 25 h 107"/>
                <a:gd name="T46" fmla="*/ 15 w 108"/>
                <a:gd name="T47" fmla="*/ 16 h 107"/>
                <a:gd name="T48" fmla="*/ 23 w 108"/>
                <a:gd name="T49" fmla="*/ 10 h 107"/>
                <a:gd name="T50" fmla="*/ 32 w 108"/>
                <a:gd name="T51" fmla="*/ 5 h 107"/>
                <a:gd name="T52" fmla="*/ 42 w 108"/>
                <a:gd name="T53" fmla="*/ 2 h 107"/>
                <a:gd name="T54" fmla="*/ 53 w 108"/>
                <a:gd name="T55" fmla="*/ 0 h 107"/>
                <a:gd name="T56" fmla="*/ 53 w 108"/>
                <a:gd name="T57" fmla="*/ 0 h 107"/>
                <a:gd name="T58" fmla="*/ 63 w 108"/>
                <a:gd name="T59" fmla="*/ 2 h 107"/>
                <a:gd name="T60" fmla="*/ 73 w 108"/>
                <a:gd name="T61" fmla="*/ 3 h 107"/>
                <a:gd name="T62" fmla="*/ 83 w 108"/>
                <a:gd name="T63" fmla="*/ 8 h 107"/>
                <a:gd name="T64" fmla="*/ 91 w 108"/>
                <a:gd name="T65" fmla="*/ 15 h 107"/>
                <a:gd name="T66" fmla="*/ 98 w 108"/>
                <a:gd name="T67" fmla="*/ 23 h 107"/>
                <a:gd name="T68" fmla="*/ 103 w 108"/>
                <a:gd name="T69" fmla="*/ 31 h 107"/>
                <a:gd name="T70" fmla="*/ 106 w 108"/>
                <a:gd name="T71" fmla="*/ 41 h 107"/>
                <a:gd name="T72" fmla="*/ 108 w 108"/>
                <a:gd name="T73" fmla="*/ 53 h 107"/>
                <a:gd name="T74" fmla="*/ 108 w 108"/>
                <a:gd name="T75" fmla="*/ 5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7">
                  <a:moveTo>
                    <a:pt x="108" y="53"/>
                  </a:moveTo>
                  <a:lnTo>
                    <a:pt x="108" y="53"/>
                  </a:lnTo>
                  <a:lnTo>
                    <a:pt x="106" y="63"/>
                  </a:lnTo>
                  <a:lnTo>
                    <a:pt x="105" y="73"/>
                  </a:lnTo>
                  <a:lnTo>
                    <a:pt x="100" y="83"/>
                  </a:lnTo>
                  <a:lnTo>
                    <a:pt x="93" y="91"/>
                  </a:lnTo>
                  <a:lnTo>
                    <a:pt x="85" y="97"/>
                  </a:lnTo>
                  <a:lnTo>
                    <a:pt x="76" y="102"/>
                  </a:lnTo>
                  <a:lnTo>
                    <a:pt x="66" y="106"/>
                  </a:lnTo>
                  <a:lnTo>
                    <a:pt x="55" y="107"/>
                  </a:lnTo>
                  <a:lnTo>
                    <a:pt x="55" y="107"/>
                  </a:lnTo>
                  <a:lnTo>
                    <a:pt x="45" y="107"/>
                  </a:lnTo>
                  <a:lnTo>
                    <a:pt x="33" y="104"/>
                  </a:lnTo>
                  <a:lnTo>
                    <a:pt x="25" y="99"/>
                  </a:lnTo>
                  <a:lnTo>
                    <a:pt x="17" y="93"/>
                  </a:lnTo>
                  <a:lnTo>
                    <a:pt x="10" y="84"/>
                  </a:lnTo>
                  <a:lnTo>
                    <a:pt x="5" y="76"/>
                  </a:lnTo>
                  <a:lnTo>
                    <a:pt x="2" y="66"/>
                  </a:lnTo>
                  <a:lnTo>
                    <a:pt x="0" y="54"/>
                  </a:lnTo>
                  <a:lnTo>
                    <a:pt x="0" y="54"/>
                  </a:lnTo>
                  <a:lnTo>
                    <a:pt x="0" y="45"/>
                  </a:lnTo>
                  <a:lnTo>
                    <a:pt x="4" y="35"/>
                  </a:lnTo>
                  <a:lnTo>
                    <a:pt x="9" y="25"/>
                  </a:lnTo>
                  <a:lnTo>
                    <a:pt x="15" y="16"/>
                  </a:lnTo>
                  <a:lnTo>
                    <a:pt x="23" y="10"/>
                  </a:lnTo>
                  <a:lnTo>
                    <a:pt x="32" y="5"/>
                  </a:lnTo>
                  <a:lnTo>
                    <a:pt x="42" y="2"/>
                  </a:lnTo>
                  <a:lnTo>
                    <a:pt x="53" y="0"/>
                  </a:lnTo>
                  <a:lnTo>
                    <a:pt x="53" y="0"/>
                  </a:lnTo>
                  <a:lnTo>
                    <a:pt x="63" y="2"/>
                  </a:lnTo>
                  <a:lnTo>
                    <a:pt x="73" y="3"/>
                  </a:lnTo>
                  <a:lnTo>
                    <a:pt x="83" y="8"/>
                  </a:lnTo>
                  <a:lnTo>
                    <a:pt x="91" y="15"/>
                  </a:lnTo>
                  <a:lnTo>
                    <a:pt x="98" y="23"/>
                  </a:lnTo>
                  <a:lnTo>
                    <a:pt x="103" y="31"/>
                  </a:lnTo>
                  <a:lnTo>
                    <a:pt x="106" y="41"/>
                  </a:lnTo>
                  <a:lnTo>
                    <a:pt x="108" y="53"/>
                  </a:lnTo>
                  <a:lnTo>
                    <a:pt x="108" y="53"/>
                  </a:lnTo>
                  <a:close/>
                </a:path>
              </a:pathLst>
            </a:custGeom>
            <a:solidFill>
              <a:schemeClr val="accent4">
                <a:alpha val="62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57" name="Freeform 156"/>
            <p:cNvSpPr>
              <a:spLocks/>
            </p:cNvSpPr>
            <p:nvPr/>
          </p:nvSpPr>
          <p:spPr bwMode="auto">
            <a:xfrm>
              <a:off x="4894039" y="3911889"/>
              <a:ext cx="88642" cy="88642"/>
            </a:xfrm>
            <a:custGeom>
              <a:avLst/>
              <a:gdLst>
                <a:gd name="T0" fmla="*/ 61 w 61"/>
                <a:gd name="T1" fmla="*/ 30 h 61"/>
                <a:gd name="T2" fmla="*/ 61 w 61"/>
                <a:gd name="T3" fmla="*/ 30 h 61"/>
                <a:gd name="T4" fmla="*/ 60 w 61"/>
                <a:gd name="T5" fmla="*/ 36 h 61"/>
                <a:gd name="T6" fmla="*/ 58 w 61"/>
                <a:gd name="T7" fmla="*/ 41 h 61"/>
                <a:gd name="T8" fmla="*/ 56 w 61"/>
                <a:gd name="T9" fmla="*/ 46 h 61"/>
                <a:gd name="T10" fmla="*/ 51 w 61"/>
                <a:gd name="T11" fmla="*/ 51 h 61"/>
                <a:gd name="T12" fmla="*/ 48 w 61"/>
                <a:gd name="T13" fmla="*/ 55 h 61"/>
                <a:gd name="T14" fmla="*/ 43 w 61"/>
                <a:gd name="T15" fmla="*/ 58 h 61"/>
                <a:gd name="T16" fmla="*/ 36 w 61"/>
                <a:gd name="T17" fmla="*/ 59 h 61"/>
                <a:gd name="T18" fmla="*/ 32 w 61"/>
                <a:gd name="T19" fmla="*/ 61 h 61"/>
                <a:gd name="T20" fmla="*/ 32 w 61"/>
                <a:gd name="T21" fmla="*/ 61 h 61"/>
                <a:gd name="T22" fmla="*/ 25 w 61"/>
                <a:gd name="T23" fmla="*/ 59 h 61"/>
                <a:gd name="T24" fmla="*/ 18 w 61"/>
                <a:gd name="T25" fmla="*/ 58 h 61"/>
                <a:gd name="T26" fmla="*/ 13 w 61"/>
                <a:gd name="T27" fmla="*/ 56 h 61"/>
                <a:gd name="T28" fmla="*/ 10 w 61"/>
                <a:gd name="T29" fmla="*/ 53 h 61"/>
                <a:gd name="T30" fmla="*/ 5 w 61"/>
                <a:gd name="T31" fmla="*/ 48 h 61"/>
                <a:gd name="T32" fmla="*/ 2 w 61"/>
                <a:gd name="T33" fmla="*/ 43 h 61"/>
                <a:gd name="T34" fmla="*/ 0 w 61"/>
                <a:gd name="T35" fmla="*/ 36 h 61"/>
                <a:gd name="T36" fmla="*/ 0 w 61"/>
                <a:gd name="T37" fmla="*/ 31 h 61"/>
                <a:gd name="T38" fmla="*/ 0 w 61"/>
                <a:gd name="T39" fmla="*/ 31 h 61"/>
                <a:gd name="T40" fmla="*/ 0 w 61"/>
                <a:gd name="T41" fmla="*/ 25 h 61"/>
                <a:gd name="T42" fmla="*/ 2 w 61"/>
                <a:gd name="T43" fmla="*/ 20 h 61"/>
                <a:gd name="T44" fmla="*/ 5 w 61"/>
                <a:gd name="T45" fmla="*/ 13 h 61"/>
                <a:gd name="T46" fmla="*/ 8 w 61"/>
                <a:gd name="T47" fmla="*/ 10 h 61"/>
                <a:gd name="T48" fmla="*/ 13 w 61"/>
                <a:gd name="T49" fmla="*/ 5 h 61"/>
                <a:gd name="T50" fmla="*/ 18 w 61"/>
                <a:gd name="T51" fmla="*/ 3 h 61"/>
                <a:gd name="T52" fmla="*/ 23 w 61"/>
                <a:gd name="T53" fmla="*/ 0 h 61"/>
                <a:gd name="T54" fmla="*/ 30 w 61"/>
                <a:gd name="T55" fmla="*/ 0 h 61"/>
                <a:gd name="T56" fmla="*/ 30 w 61"/>
                <a:gd name="T57" fmla="*/ 0 h 61"/>
                <a:gd name="T58" fmla="*/ 35 w 61"/>
                <a:gd name="T59" fmla="*/ 0 h 61"/>
                <a:gd name="T60" fmla="*/ 41 w 61"/>
                <a:gd name="T61" fmla="*/ 2 h 61"/>
                <a:gd name="T62" fmla="*/ 46 w 61"/>
                <a:gd name="T63" fmla="*/ 5 h 61"/>
                <a:gd name="T64" fmla="*/ 51 w 61"/>
                <a:gd name="T65" fmla="*/ 8 h 61"/>
                <a:gd name="T66" fmla="*/ 55 w 61"/>
                <a:gd name="T67" fmla="*/ 13 h 61"/>
                <a:gd name="T68" fmla="*/ 58 w 61"/>
                <a:gd name="T69" fmla="*/ 18 h 61"/>
                <a:gd name="T70" fmla="*/ 60 w 61"/>
                <a:gd name="T71" fmla="*/ 23 h 61"/>
                <a:gd name="T72" fmla="*/ 61 w 61"/>
                <a:gd name="T73" fmla="*/ 30 h 61"/>
                <a:gd name="T74" fmla="*/ 61 w 61"/>
                <a:gd name="T75" fmla="*/ 3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61">
                  <a:moveTo>
                    <a:pt x="61" y="30"/>
                  </a:moveTo>
                  <a:lnTo>
                    <a:pt x="61" y="30"/>
                  </a:lnTo>
                  <a:lnTo>
                    <a:pt x="60" y="36"/>
                  </a:lnTo>
                  <a:lnTo>
                    <a:pt x="58" y="41"/>
                  </a:lnTo>
                  <a:lnTo>
                    <a:pt x="56" y="46"/>
                  </a:lnTo>
                  <a:lnTo>
                    <a:pt x="51" y="51"/>
                  </a:lnTo>
                  <a:lnTo>
                    <a:pt x="48" y="55"/>
                  </a:lnTo>
                  <a:lnTo>
                    <a:pt x="43" y="58"/>
                  </a:lnTo>
                  <a:lnTo>
                    <a:pt x="36" y="59"/>
                  </a:lnTo>
                  <a:lnTo>
                    <a:pt x="32" y="61"/>
                  </a:lnTo>
                  <a:lnTo>
                    <a:pt x="32" y="61"/>
                  </a:lnTo>
                  <a:lnTo>
                    <a:pt x="25" y="59"/>
                  </a:lnTo>
                  <a:lnTo>
                    <a:pt x="18" y="58"/>
                  </a:lnTo>
                  <a:lnTo>
                    <a:pt x="13" y="56"/>
                  </a:lnTo>
                  <a:lnTo>
                    <a:pt x="10" y="53"/>
                  </a:lnTo>
                  <a:lnTo>
                    <a:pt x="5" y="48"/>
                  </a:lnTo>
                  <a:lnTo>
                    <a:pt x="2" y="43"/>
                  </a:lnTo>
                  <a:lnTo>
                    <a:pt x="0" y="36"/>
                  </a:lnTo>
                  <a:lnTo>
                    <a:pt x="0" y="31"/>
                  </a:lnTo>
                  <a:lnTo>
                    <a:pt x="0" y="31"/>
                  </a:lnTo>
                  <a:lnTo>
                    <a:pt x="0" y="25"/>
                  </a:lnTo>
                  <a:lnTo>
                    <a:pt x="2" y="20"/>
                  </a:lnTo>
                  <a:lnTo>
                    <a:pt x="5" y="13"/>
                  </a:lnTo>
                  <a:lnTo>
                    <a:pt x="8" y="10"/>
                  </a:lnTo>
                  <a:lnTo>
                    <a:pt x="13" y="5"/>
                  </a:lnTo>
                  <a:lnTo>
                    <a:pt x="18" y="3"/>
                  </a:lnTo>
                  <a:lnTo>
                    <a:pt x="23" y="0"/>
                  </a:lnTo>
                  <a:lnTo>
                    <a:pt x="30" y="0"/>
                  </a:lnTo>
                  <a:lnTo>
                    <a:pt x="30" y="0"/>
                  </a:lnTo>
                  <a:lnTo>
                    <a:pt x="35" y="0"/>
                  </a:lnTo>
                  <a:lnTo>
                    <a:pt x="41" y="2"/>
                  </a:lnTo>
                  <a:lnTo>
                    <a:pt x="46" y="5"/>
                  </a:lnTo>
                  <a:lnTo>
                    <a:pt x="51" y="8"/>
                  </a:lnTo>
                  <a:lnTo>
                    <a:pt x="55" y="13"/>
                  </a:lnTo>
                  <a:lnTo>
                    <a:pt x="58" y="18"/>
                  </a:lnTo>
                  <a:lnTo>
                    <a:pt x="60" y="23"/>
                  </a:lnTo>
                  <a:lnTo>
                    <a:pt x="61" y="30"/>
                  </a:lnTo>
                  <a:lnTo>
                    <a:pt x="61" y="30"/>
                  </a:lnTo>
                  <a:close/>
                </a:path>
              </a:pathLst>
            </a:custGeom>
            <a:solidFill>
              <a:schemeClr val="accent4">
                <a:alpha val="62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58" name="Freeform 157"/>
            <p:cNvSpPr>
              <a:spLocks/>
            </p:cNvSpPr>
            <p:nvPr/>
          </p:nvSpPr>
          <p:spPr bwMode="auto">
            <a:xfrm>
              <a:off x="3706813" y="3096670"/>
              <a:ext cx="85736" cy="87189"/>
            </a:xfrm>
            <a:custGeom>
              <a:avLst/>
              <a:gdLst>
                <a:gd name="T0" fmla="*/ 59 w 59"/>
                <a:gd name="T1" fmla="*/ 30 h 60"/>
                <a:gd name="T2" fmla="*/ 59 w 59"/>
                <a:gd name="T3" fmla="*/ 30 h 60"/>
                <a:gd name="T4" fmla="*/ 59 w 59"/>
                <a:gd name="T5" fmla="*/ 35 h 60"/>
                <a:gd name="T6" fmla="*/ 58 w 59"/>
                <a:gd name="T7" fmla="*/ 41 h 60"/>
                <a:gd name="T8" fmla="*/ 56 w 59"/>
                <a:gd name="T9" fmla="*/ 46 h 60"/>
                <a:gd name="T10" fmla="*/ 51 w 59"/>
                <a:gd name="T11" fmla="*/ 51 h 60"/>
                <a:gd name="T12" fmla="*/ 48 w 59"/>
                <a:gd name="T13" fmla="*/ 55 h 60"/>
                <a:gd name="T14" fmla="*/ 43 w 59"/>
                <a:gd name="T15" fmla="*/ 58 h 60"/>
                <a:gd name="T16" fmla="*/ 36 w 59"/>
                <a:gd name="T17" fmla="*/ 60 h 60"/>
                <a:gd name="T18" fmla="*/ 31 w 59"/>
                <a:gd name="T19" fmla="*/ 60 h 60"/>
                <a:gd name="T20" fmla="*/ 31 w 59"/>
                <a:gd name="T21" fmla="*/ 60 h 60"/>
                <a:gd name="T22" fmla="*/ 25 w 59"/>
                <a:gd name="T23" fmla="*/ 60 h 60"/>
                <a:gd name="T24" fmla="*/ 18 w 59"/>
                <a:gd name="T25" fmla="*/ 58 h 60"/>
                <a:gd name="T26" fmla="*/ 13 w 59"/>
                <a:gd name="T27" fmla="*/ 55 h 60"/>
                <a:gd name="T28" fmla="*/ 8 w 59"/>
                <a:gd name="T29" fmla="*/ 51 h 60"/>
                <a:gd name="T30" fmla="*/ 5 w 59"/>
                <a:gd name="T31" fmla="*/ 48 h 60"/>
                <a:gd name="T32" fmla="*/ 1 w 59"/>
                <a:gd name="T33" fmla="*/ 43 h 60"/>
                <a:gd name="T34" fmla="*/ 0 w 59"/>
                <a:gd name="T35" fmla="*/ 36 h 60"/>
                <a:gd name="T36" fmla="*/ 0 w 59"/>
                <a:gd name="T37" fmla="*/ 30 h 60"/>
                <a:gd name="T38" fmla="*/ 0 w 59"/>
                <a:gd name="T39" fmla="*/ 30 h 60"/>
                <a:gd name="T40" fmla="*/ 0 w 59"/>
                <a:gd name="T41" fmla="*/ 25 h 60"/>
                <a:gd name="T42" fmla="*/ 1 w 59"/>
                <a:gd name="T43" fmla="*/ 18 h 60"/>
                <a:gd name="T44" fmla="*/ 5 w 59"/>
                <a:gd name="T45" fmla="*/ 13 h 60"/>
                <a:gd name="T46" fmla="*/ 8 w 59"/>
                <a:gd name="T47" fmla="*/ 8 h 60"/>
                <a:gd name="T48" fmla="*/ 11 w 59"/>
                <a:gd name="T49" fmla="*/ 5 h 60"/>
                <a:gd name="T50" fmla="*/ 18 w 59"/>
                <a:gd name="T51" fmla="*/ 2 h 60"/>
                <a:gd name="T52" fmla="*/ 23 w 59"/>
                <a:gd name="T53" fmla="*/ 0 h 60"/>
                <a:gd name="T54" fmla="*/ 30 w 59"/>
                <a:gd name="T55" fmla="*/ 0 h 60"/>
                <a:gd name="T56" fmla="*/ 30 w 59"/>
                <a:gd name="T57" fmla="*/ 0 h 60"/>
                <a:gd name="T58" fmla="*/ 35 w 59"/>
                <a:gd name="T59" fmla="*/ 0 h 60"/>
                <a:gd name="T60" fmla="*/ 41 w 59"/>
                <a:gd name="T61" fmla="*/ 2 h 60"/>
                <a:gd name="T62" fmla="*/ 46 w 59"/>
                <a:gd name="T63" fmla="*/ 3 h 60"/>
                <a:gd name="T64" fmla="*/ 51 w 59"/>
                <a:gd name="T65" fmla="*/ 8 h 60"/>
                <a:gd name="T66" fmla="*/ 54 w 59"/>
                <a:gd name="T67" fmla="*/ 12 h 60"/>
                <a:gd name="T68" fmla="*/ 58 w 59"/>
                <a:gd name="T69" fmla="*/ 17 h 60"/>
                <a:gd name="T70" fmla="*/ 59 w 59"/>
                <a:gd name="T71" fmla="*/ 23 h 60"/>
                <a:gd name="T72" fmla="*/ 59 w 59"/>
                <a:gd name="T73" fmla="*/ 30 h 60"/>
                <a:gd name="T74" fmla="*/ 59 w 59"/>
                <a:gd name="T75"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9" h="60">
                  <a:moveTo>
                    <a:pt x="59" y="30"/>
                  </a:moveTo>
                  <a:lnTo>
                    <a:pt x="59" y="30"/>
                  </a:lnTo>
                  <a:lnTo>
                    <a:pt x="59" y="35"/>
                  </a:lnTo>
                  <a:lnTo>
                    <a:pt x="58" y="41"/>
                  </a:lnTo>
                  <a:lnTo>
                    <a:pt x="56" y="46"/>
                  </a:lnTo>
                  <a:lnTo>
                    <a:pt x="51" y="51"/>
                  </a:lnTo>
                  <a:lnTo>
                    <a:pt x="48" y="55"/>
                  </a:lnTo>
                  <a:lnTo>
                    <a:pt x="43" y="58"/>
                  </a:lnTo>
                  <a:lnTo>
                    <a:pt x="36" y="60"/>
                  </a:lnTo>
                  <a:lnTo>
                    <a:pt x="31" y="60"/>
                  </a:lnTo>
                  <a:lnTo>
                    <a:pt x="31" y="60"/>
                  </a:lnTo>
                  <a:lnTo>
                    <a:pt x="25" y="60"/>
                  </a:lnTo>
                  <a:lnTo>
                    <a:pt x="18" y="58"/>
                  </a:lnTo>
                  <a:lnTo>
                    <a:pt x="13" y="55"/>
                  </a:lnTo>
                  <a:lnTo>
                    <a:pt x="8" y="51"/>
                  </a:lnTo>
                  <a:lnTo>
                    <a:pt x="5" y="48"/>
                  </a:lnTo>
                  <a:lnTo>
                    <a:pt x="1" y="43"/>
                  </a:lnTo>
                  <a:lnTo>
                    <a:pt x="0" y="36"/>
                  </a:lnTo>
                  <a:lnTo>
                    <a:pt x="0" y="30"/>
                  </a:lnTo>
                  <a:lnTo>
                    <a:pt x="0" y="30"/>
                  </a:lnTo>
                  <a:lnTo>
                    <a:pt x="0" y="25"/>
                  </a:lnTo>
                  <a:lnTo>
                    <a:pt x="1" y="18"/>
                  </a:lnTo>
                  <a:lnTo>
                    <a:pt x="5" y="13"/>
                  </a:lnTo>
                  <a:lnTo>
                    <a:pt x="8" y="8"/>
                  </a:lnTo>
                  <a:lnTo>
                    <a:pt x="11" y="5"/>
                  </a:lnTo>
                  <a:lnTo>
                    <a:pt x="18" y="2"/>
                  </a:lnTo>
                  <a:lnTo>
                    <a:pt x="23" y="0"/>
                  </a:lnTo>
                  <a:lnTo>
                    <a:pt x="30" y="0"/>
                  </a:lnTo>
                  <a:lnTo>
                    <a:pt x="30" y="0"/>
                  </a:lnTo>
                  <a:lnTo>
                    <a:pt x="35" y="0"/>
                  </a:lnTo>
                  <a:lnTo>
                    <a:pt x="41" y="2"/>
                  </a:lnTo>
                  <a:lnTo>
                    <a:pt x="46" y="3"/>
                  </a:lnTo>
                  <a:lnTo>
                    <a:pt x="51" y="8"/>
                  </a:lnTo>
                  <a:lnTo>
                    <a:pt x="54" y="12"/>
                  </a:lnTo>
                  <a:lnTo>
                    <a:pt x="58" y="17"/>
                  </a:lnTo>
                  <a:lnTo>
                    <a:pt x="59" y="23"/>
                  </a:lnTo>
                  <a:lnTo>
                    <a:pt x="59" y="30"/>
                  </a:lnTo>
                  <a:lnTo>
                    <a:pt x="59" y="30"/>
                  </a:lnTo>
                  <a:close/>
                </a:path>
              </a:pathLst>
            </a:custGeom>
            <a:solidFill>
              <a:schemeClr val="accent4">
                <a:alpha val="62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59" name="Freeform 158"/>
            <p:cNvSpPr>
              <a:spLocks/>
            </p:cNvSpPr>
            <p:nvPr/>
          </p:nvSpPr>
          <p:spPr bwMode="auto">
            <a:xfrm>
              <a:off x="2602416" y="1416825"/>
              <a:ext cx="242677" cy="242677"/>
            </a:xfrm>
            <a:custGeom>
              <a:avLst/>
              <a:gdLst>
                <a:gd name="T0" fmla="*/ 167 w 167"/>
                <a:gd name="T1" fmla="*/ 81 h 167"/>
                <a:gd name="T2" fmla="*/ 167 w 167"/>
                <a:gd name="T3" fmla="*/ 81 h 167"/>
                <a:gd name="T4" fmla="*/ 167 w 167"/>
                <a:gd name="T5" fmla="*/ 97 h 167"/>
                <a:gd name="T6" fmla="*/ 163 w 167"/>
                <a:gd name="T7" fmla="*/ 114 h 167"/>
                <a:gd name="T8" fmla="*/ 154 w 167"/>
                <a:gd name="T9" fmla="*/ 129 h 167"/>
                <a:gd name="T10" fmla="*/ 144 w 167"/>
                <a:gd name="T11" fmla="*/ 140 h 167"/>
                <a:gd name="T12" fmla="*/ 133 w 167"/>
                <a:gd name="T13" fmla="*/ 152 h 167"/>
                <a:gd name="T14" fmla="*/ 118 w 167"/>
                <a:gd name="T15" fmla="*/ 160 h 167"/>
                <a:gd name="T16" fmla="*/ 103 w 167"/>
                <a:gd name="T17" fmla="*/ 165 h 167"/>
                <a:gd name="T18" fmla="*/ 86 w 167"/>
                <a:gd name="T19" fmla="*/ 167 h 167"/>
                <a:gd name="T20" fmla="*/ 86 w 167"/>
                <a:gd name="T21" fmla="*/ 167 h 167"/>
                <a:gd name="T22" fmla="*/ 68 w 167"/>
                <a:gd name="T23" fmla="*/ 165 h 167"/>
                <a:gd name="T24" fmla="*/ 53 w 167"/>
                <a:gd name="T25" fmla="*/ 162 h 167"/>
                <a:gd name="T26" fmla="*/ 38 w 167"/>
                <a:gd name="T27" fmla="*/ 153 h 167"/>
                <a:gd name="T28" fmla="*/ 25 w 167"/>
                <a:gd name="T29" fmla="*/ 143 h 167"/>
                <a:gd name="T30" fmla="*/ 15 w 167"/>
                <a:gd name="T31" fmla="*/ 132 h 167"/>
                <a:gd name="T32" fmla="*/ 7 w 167"/>
                <a:gd name="T33" fmla="*/ 117 h 167"/>
                <a:gd name="T34" fmla="*/ 2 w 167"/>
                <a:gd name="T35" fmla="*/ 102 h 167"/>
                <a:gd name="T36" fmla="*/ 0 w 167"/>
                <a:gd name="T37" fmla="*/ 86 h 167"/>
                <a:gd name="T38" fmla="*/ 0 w 167"/>
                <a:gd name="T39" fmla="*/ 86 h 167"/>
                <a:gd name="T40" fmla="*/ 0 w 167"/>
                <a:gd name="T41" fmla="*/ 67 h 167"/>
                <a:gd name="T42" fmla="*/ 5 w 167"/>
                <a:gd name="T43" fmla="*/ 52 h 167"/>
                <a:gd name="T44" fmla="*/ 14 w 167"/>
                <a:gd name="T45" fmla="*/ 38 h 167"/>
                <a:gd name="T46" fmla="*/ 24 w 167"/>
                <a:gd name="T47" fmla="*/ 24 h 167"/>
                <a:gd name="T48" fmla="*/ 35 w 167"/>
                <a:gd name="T49" fmla="*/ 14 h 167"/>
                <a:gd name="T50" fmla="*/ 50 w 167"/>
                <a:gd name="T51" fmla="*/ 6 h 167"/>
                <a:gd name="T52" fmla="*/ 65 w 167"/>
                <a:gd name="T53" fmla="*/ 1 h 167"/>
                <a:gd name="T54" fmla="*/ 81 w 167"/>
                <a:gd name="T55" fmla="*/ 0 h 167"/>
                <a:gd name="T56" fmla="*/ 81 w 167"/>
                <a:gd name="T57" fmla="*/ 0 h 167"/>
                <a:gd name="T58" fmla="*/ 100 w 167"/>
                <a:gd name="T59" fmla="*/ 0 h 167"/>
                <a:gd name="T60" fmla="*/ 115 w 167"/>
                <a:gd name="T61" fmla="*/ 4 h 167"/>
                <a:gd name="T62" fmla="*/ 129 w 167"/>
                <a:gd name="T63" fmla="*/ 13 h 167"/>
                <a:gd name="T64" fmla="*/ 143 w 167"/>
                <a:gd name="T65" fmla="*/ 23 h 167"/>
                <a:gd name="T66" fmla="*/ 153 w 167"/>
                <a:gd name="T67" fmla="*/ 34 h 167"/>
                <a:gd name="T68" fmla="*/ 161 w 167"/>
                <a:gd name="T69" fmla="*/ 48 h 167"/>
                <a:gd name="T70" fmla="*/ 166 w 167"/>
                <a:gd name="T71" fmla="*/ 64 h 167"/>
                <a:gd name="T72" fmla="*/ 167 w 167"/>
                <a:gd name="T73" fmla="*/ 81 h 167"/>
                <a:gd name="T74" fmla="*/ 167 w 167"/>
                <a:gd name="T75" fmla="*/ 81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7" h="167">
                  <a:moveTo>
                    <a:pt x="167" y="81"/>
                  </a:moveTo>
                  <a:lnTo>
                    <a:pt x="167" y="81"/>
                  </a:lnTo>
                  <a:lnTo>
                    <a:pt x="167" y="97"/>
                  </a:lnTo>
                  <a:lnTo>
                    <a:pt x="163" y="114"/>
                  </a:lnTo>
                  <a:lnTo>
                    <a:pt x="154" y="129"/>
                  </a:lnTo>
                  <a:lnTo>
                    <a:pt x="144" y="140"/>
                  </a:lnTo>
                  <a:lnTo>
                    <a:pt x="133" y="152"/>
                  </a:lnTo>
                  <a:lnTo>
                    <a:pt x="118" y="160"/>
                  </a:lnTo>
                  <a:lnTo>
                    <a:pt x="103" y="165"/>
                  </a:lnTo>
                  <a:lnTo>
                    <a:pt x="86" y="167"/>
                  </a:lnTo>
                  <a:lnTo>
                    <a:pt x="86" y="167"/>
                  </a:lnTo>
                  <a:lnTo>
                    <a:pt x="68" y="165"/>
                  </a:lnTo>
                  <a:lnTo>
                    <a:pt x="53" y="162"/>
                  </a:lnTo>
                  <a:lnTo>
                    <a:pt x="38" y="153"/>
                  </a:lnTo>
                  <a:lnTo>
                    <a:pt x="25" y="143"/>
                  </a:lnTo>
                  <a:lnTo>
                    <a:pt x="15" y="132"/>
                  </a:lnTo>
                  <a:lnTo>
                    <a:pt x="7" y="117"/>
                  </a:lnTo>
                  <a:lnTo>
                    <a:pt x="2" y="102"/>
                  </a:lnTo>
                  <a:lnTo>
                    <a:pt x="0" y="86"/>
                  </a:lnTo>
                  <a:lnTo>
                    <a:pt x="0" y="86"/>
                  </a:lnTo>
                  <a:lnTo>
                    <a:pt x="0" y="67"/>
                  </a:lnTo>
                  <a:lnTo>
                    <a:pt x="5" y="52"/>
                  </a:lnTo>
                  <a:lnTo>
                    <a:pt x="14" y="38"/>
                  </a:lnTo>
                  <a:lnTo>
                    <a:pt x="24" y="24"/>
                  </a:lnTo>
                  <a:lnTo>
                    <a:pt x="35" y="14"/>
                  </a:lnTo>
                  <a:lnTo>
                    <a:pt x="50" y="6"/>
                  </a:lnTo>
                  <a:lnTo>
                    <a:pt x="65" y="1"/>
                  </a:lnTo>
                  <a:lnTo>
                    <a:pt x="81" y="0"/>
                  </a:lnTo>
                  <a:lnTo>
                    <a:pt x="81" y="0"/>
                  </a:lnTo>
                  <a:lnTo>
                    <a:pt x="100" y="0"/>
                  </a:lnTo>
                  <a:lnTo>
                    <a:pt x="115" y="4"/>
                  </a:lnTo>
                  <a:lnTo>
                    <a:pt x="129" y="13"/>
                  </a:lnTo>
                  <a:lnTo>
                    <a:pt x="143" y="23"/>
                  </a:lnTo>
                  <a:lnTo>
                    <a:pt x="153" y="34"/>
                  </a:lnTo>
                  <a:lnTo>
                    <a:pt x="161" y="48"/>
                  </a:lnTo>
                  <a:lnTo>
                    <a:pt x="166" y="64"/>
                  </a:lnTo>
                  <a:lnTo>
                    <a:pt x="167" y="81"/>
                  </a:lnTo>
                  <a:lnTo>
                    <a:pt x="167" y="81"/>
                  </a:lnTo>
                  <a:close/>
                </a:path>
              </a:pathLst>
            </a:custGeom>
            <a:solidFill>
              <a:schemeClr val="accent4">
                <a:alpha val="62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0" name="Freeform 159"/>
            <p:cNvSpPr>
              <a:spLocks/>
            </p:cNvSpPr>
            <p:nvPr/>
          </p:nvSpPr>
          <p:spPr bwMode="auto">
            <a:xfrm>
              <a:off x="2887234" y="2649099"/>
              <a:ext cx="100268" cy="101721"/>
            </a:xfrm>
            <a:custGeom>
              <a:avLst/>
              <a:gdLst>
                <a:gd name="T0" fmla="*/ 69 w 69"/>
                <a:gd name="T1" fmla="*/ 35 h 70"/>
                <a:gd name="T2" fmla="*/ 69 w 69"/>
                <a:gd name="T3" fmla="*/ 35 h 70"/>
                <a:gd name="T4" fmla="*/ 69 w 69"/>
                <a:gd name="T5" fmla="*/ 42 h 70"/>
                <a:gd name="T6" fmla="*/ 66 w 69"/>
                <a:gd name="T7" fmla="*/ 48 h 70"/>
                <a:gd name="T8" fmla="*/ 64 w 69"/>
                <a:gd name="T9" fmla="*/ 55 h 70"/>
                <a:gd name="T10" fmla="*/ 59 w 69"/>
                <a:gd name="T11" fmla="*/ 60 h 70"/>
                <a:gd name="T12" fmla="*/ 54 w 69"/>
                <a:gd name="T13" fmla="*/ 65 h 70"/>
                <a:gd name="T14" fmla="*/ 48 w 69"/>
                <a:gd name="T15" fmla="*/ 68 h 70"/>
                <a:gd name="T16" fmla="*/ 43 w 69"/>
                <a:gd name="T17" fmla="*/ 70 h 70"/>
                <a:gd name="T18" fmla="*/ 34 w 69"/>
                <a:gd name="T19" fmla="*/ 70 h 70"/>
                <a:gd name="T20" fmla="*/ 34 w 69"/>
                <a:gd name="T21" fmla="*/ 70 h 70"/>
                <a:gd name="T22" fmla="*/ 28 w 69"/>
                <a:gd name="T23" fmla="*/ 70 h 70"/>
                <a:gd name="T24" fmla="*/ 21 w 69"/>
                <a:gd name="T25" fmla="*/ 68 h 70"/>
                <a:gd name="T26" fmla="*/ 14 w 69"/>
                <a:gd name="T27" fmla="*/ 65 h 70"/>
                <a:gd name="T28" fmla="*/ 10 w 69"/>
                <a:gd name="T29" fmla="*/ 62 h 70"/>
                <a:gd name="T30" fmla="*/ 5 w 69"/>
                <a:gd name="T31" fmla="*/ 57 h 70"/>
                <a:gd name="T32" fmla="*/ 1 w 69"/>
                <a:gd name="T33" fmla="*/ 50 h 70"/>
                <a:gd name="T34" fmla="*/ 0 w 69"/>
                <a:gd name="T35" fmla="*/ 43 h 70"/>
                <a:gd name="T36" fmla="*/ 0 w 69"/>
                <a:gd name="T37" fmla="*/ 37 h 70"/>
                <a:gd name="T38" fmla="*/ 0 w 69"/>
                <a:gd name="T39" fmla="*/ 37 h 70"/>
                <a:gd name="T40" fmla="*/ 0 w 69"/>
                <a:gd name="T41" fmla="*/ 30 h 70"/>
                <a:gd name="T42" fmla="*/ 1 w 69"/>
                <a:gd name="T43" fmla="*/ 23 h 70"/>
                <a:gd name="T44" fmla="*/ 5 w 69"/>
                <a:gd name="T45" fmla="*/ 17 h 70"/>
                <a:gd name="T46" fmla="*/ 8 w 69"/>
                <a:gd name="T47" fmla="*/ 12 h 70"/>
                <a:gd name="T48" fmla="*/ 13 w 69"/>
                <a:gd name="T49" fmla="*/ 7 h 70"/>
                <a:gd name="T50" fmla="*/ 19 w 69"/>
                <a:gd name="T51" fmla="*/ 4 h 70"/>
                <a:gd name="T52" fmla="*/ 26 w 69"/>
                <a:gd name="T53" fmla="*/ 2 h 70"/>
                <a:gd name="T54" fmla="*/ 33 w 69"/>
                <a:gd name="T55" fmla="*/ 0 h 70"/>
                <a:gd name="T56" fmla="*/ 33 w 69"/>
                <a:gd name="T57" fmla="*/ 0 h 70"/>
                <a:gd name="T58" fmla="*/ 41 w 69"/>
                <a:gd name="T59" fmla="*/ 0 h 70"/>
                <a:gd name="T60" fmla="*/ 48 w 69"/>
                <a:gd name="T61" fmla="*/ 4 h 70"/>
                <a:gd name="T62" fmla="*/ 53 w 69"/>
                <a:gd name="T63" fmla="*/ 5 h 70"/>
                <a:gd name="T64" fmla="*/ 58 w 69"/>
                <a:gd name="T65" fmla="*/ 10 h 70"/>
                <a:gd name="T66" fmla="*/ 62 w 69"/>
                <a:gd name="T67" fmla="*/ 15 h 70"/>
                <a:gd name="T68" fmla="*/ 66 w 69"/>
                <a:gd name="T69" fmla="*/ 22 h 70"/>
                <a:gd name="T70" fmla="*/ 67 w 69"/>
                <a:gd name="T71" fmla="*/ 27 h 70"/>
                <a:gd name="T72" fmla="*/ 69 w 69"/>
                <a:gd name="T73" fmla="*/ 35 h 70"/>
                <a:gd name="T74" fmla="*/ 69 w 69"/>
                <a:gd name="T75" fmla="*/ 3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9" h="70">
                  <a:moveTo>
                    <a:pt x="69" y="35"/>
                  </a:moveTo>
                  <a:lnTo>
                    <a:pt x="69" y="35"/>
                  </a:lnTo>
                  <a:lnTo>
                    <a:pt x="69" y="42"/>
                  </a:lnTo>
                  <a:lnTo>
                    <a:pt x="66" y="48"/>
                  </a:lnTo>
                  <a:lnTo>
                    <a:pt x="64" y="55"/>
                  </a:lnTo>
                  <a:lnTo>
                    <a:pt x="59" y="60"/>
                  </a:lnTo>
                  <a:lnTo>
                    <a:pt x="54" y="65"/>
                  </a:lnTo>
                  <a:lnTo>
                    <a:pt x="48" y="68"/>
                  </a:lnTo>
                  <a:lnTo>
                    <a:pt x="43" y="70"/>
                  </a:lnTo>
                  <a:lnTo>
                    <a:pt x="34" y="70"/>
                  </a:lnTo>
                  <a:lnTo>
                    <a:pt x="34" y="70"/>
                  </a:lnTo>
                  <a:lnTo>
                    <a:pt x="28" y="70"/>
                  </a:lnTo>
                  <a:lnTo>
                    <a:pt x="21" y="68"/>
                  </a:lnTo>
                  <a:lnTo>
                    <a:pt x="14" y="65"/>
                  </a:lnTo>
                  <a:lnTo>
                    <a:pt x="10" y="62"/>
                  </a:lnTo>
                  <a:lnTo>
                    <a:pt x="5" y="57"/>
                  </a:lnTo>
                  <a:lnTo>
                    <a:pt x="1" y="50"/>
                  </a:lnTo>
                  <a:lnTo>
                    <a:pt x="0" y="43"/>
                  </a:lnTo>
                  <a:lnTo>
                    <a:pt x="0" y="37"/>
                  </a:lnTo>
                  <a:lnTo>
                    <a:pt x="0" y="37"/>
                  </a:lnTo>
                  <a:lnTo>
                    <a:pt x="0" y="30"/>
                  </a:lnTo>
                  <a:lnTo>
                    <a:pt x="1" y="23"/>
                  </a:lnTo>
                  <a:lnTo>
                    <a:pt x="5" y="17"/>
                  </a:lnTo>
                  <a:lnTo>
                    <a:pt x="8" y="12"/>
                  </a:lnTo>
                  <a:lnTo>
                    <a:pt x="13" y="7"/>
                  </a:lnTo>
                  <a:lnTo>
                    <a:pt x="19" y="4"/>
                  </a:lnTo>
                  <a:lnTo>
                    <a:pt x="26" y="2"/>
                  </a:lnTo>
                  <a:lnTo>
                    <a:pt x="33" y="0"/>
                  </a:lnTo>
                  <a:lnTo>
                    <a:pt x="33" y="0"/>
                  </a:lnTo>
                  <a:lnTo>
                    <a:pt x="41" y="0"/>
                  </a:lnTo>
                  <a:lnTo>
                    <a:pt x="48" y="4"/>
                  </a:lnTo>
                  <a:lnTo>
                    <a:pt x="53" y="5"/>
                  </a:lnTo>
                  <a:lnTo>
                    <a:pt x="58" y="10"/>
                  </a:lnTo>
                  <a:lnTo>
                    <a:pt x="62" y="15"/>
                  </a:lnTo>
                  <a:lnTo>
                    <a:pt x="66" y="22"/>
                  </a:lnTo>
                  <a:lnTo>
                    <a:pt x="67" y="27"/>
                  </a:lnTo>
                  <a:lnTo>
                    <a:pt x="69" y="35"/>
                  </a:lnTo>
                  <a:lnTo>
                    <a:pt x="69" y="35"/>
                  </a:lnTo>
                  <a:close/>
                </a:path>
              </a:pathLst>
            </a:custGeom>
            <a:solidFill>
              <a:schemeClr val="accent4">
                <a:alpha val="62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1" name="Freeform 160"/>
            <p:cNvSpPr>
              <a:spLocks/>
            </p:cNvSpPr>
            <p:nvPr/>
          </p:nvSpPr>
          <p:spPr bwMode="auto">
            <a:xfrm>
              <a:off x="6973502" y="4602137"/>
              <a:ext cx="245583" cy="245583"/>
            </a:xfrm>
            <a:custGeom>
              <a:avLst/>
              <a:gdLst>
                <a:gd name="T0" fmla="*/ 169 w 169"/>
                <a:gd name="T1" fmla="*/ 83 h 169"/>
                <a:gd name="T2" fmla="*/ 169 w 169"/>
                <a:gd name="T3" fmla="*/ 83 h 169"/>
                <a:gd name="T4" fmla="*/ 167 w 169"/>
                <a:gd name="T5" fmla="*/ 99 h 169"/>
                <a:gd name="T6" fmla="*/ 164 w 169"/>
                <a:gd name="T7" fmla="*/ 116 h 169"/>
                <a:gd name="T8" fmla="*/ 156 w 169"/>
                <a:gd name="T9" fmla="*/ 129 h 169"/>
                <a:gd name="T10" fmla="*/ 146 w 169"/>
                <a:gd name="T11" fmla="*/ 142 h 169"/>
                <a:gd name="T12" fmla="*/ 134 w 169"/>
                <a:gd name="T13" fmla="*/ 152 h 169"/>
                <a:gd name="T14" fmla="*/ 119 w 169"/>
                <a:gd name="T15" fmla="*/ 160 h 169"/>
                <a:gd name="T16" fmla="*/ 104 w 169"/>
                <a:gd name="T17" fmla="*/ 167 h 169"/>
                <a:gd name="T18" fmla="*/ 88 w 169"/>
                <a:gd name="T19" fmla="*/ 169 h 169"/>
                <a:gd name="T20" fmla="*/ 88 w 169"/>
                <a:gd name="T21" fmla="*/ 169 h 169"/>
                <a:gd name="T22" fmla="*/ 70 w 169"/>
                <a:gd name="T23" fmla="*/ 167 h 169"/>
                <a:gd name="T24" fmla="*/ 55 w 169"/>
                <a:gd name="T25" fmla="*/ 162 h 169"/>
                <a:gd name="T26" fmla="*/ 40 w 169"/>
                <a:gd name="T27" fmla="*/ 155 h 169"/>
                <a:gd name="T28" fmla="*/ 27 w 169"/>
                <a:gd name="T29" fmla="*/ 145 h 169"/>
                <a:gd name="T30" fmla="*/ 17 w 169"/>
                <a:gd name="T31" fmla="*/ 132 h 169"/>
                <a:gd name="T32" fmla="*/ 8 w 169"/>
                <a:gd name="T33" fmla="*/ 119 h 169"/>
                <a:gd name="T34" fmla="*/ 4 w 169"/>
                <a:gd name="T35" fmla="*/ 104 h 169"/>
                <a:gd name="T36" fmla="*/ 0 w 169"/>
                <a:gd name="T37" fmla="*/ 86 h 169"/>
                <a:gd name="T38" fmla="*/ 0 w 169"/>
                <a:gd name="T39" fmla="*/ 86 h 169"/>
                <a:gd name="T40" fmla="*/ 2 w 169"/>
                <a:gd name="T41" fmla="*/ 69 h 169"/>
                <a:gd name="T42" fmla="*/ 7 w 169"/>
                <a:gd name="T43" fmla="*/ 53 h 169"/>
                <a:gd name="T44" fmla="*/ 13 w 169"/>
                <a:gd name="T45" fmla="*/ 39 h 169"/>
                <a:gd name="T46" fmla="*/ 23 w 169"/>
                <a:gd name="T47" fmla="*/ 26 h 169"/>
                <a:gd name="T48" fmla="*/ 37 w 169"/>
                <a:gd name="T49" fmla="*/ 16 h 169"/>
                <a:gd name="T50" fmla="*/ 50 w 169"/>
                <a:gd name="T51" fmla="*/ 8 h 169"/>
                <a:gd name="T52" fmla="*/ 66 w 169"/>
                <a:gd name="T53" fmla="*/ 1 h 169"/>
                <a:gd name="T54" fmla="*/ 83 w 169"/>
                <a:gd name="T55" fmla="*/ 0 h 169"/>
                <a:gd name="T56" fmla="*/ 83 w 169"/>
                <a:gd name="T57" fmla="*/ 0 h 169"/>
                <a:gd name="T58" fmla="*/ 99 w 169"/>
                <a:gd name="T59" fmla="*/ 1 h 169"/>
                <a:gd name="T60" fmla="*/ 116 w 169"/>
                <a:gd name="T61" fmla="*/ 6 h 169"/>
                <a:gd name="T62" fmla="*/ 131 w 169"/>
                <a:gd name="T63" fmla="*/ 13 h 169"/>
                <a:gd name="T64" fmla="*/ 142 w 169"/>
                <a:gd name="T65" fmla="*/ 23 h 169"/>
                <a:gd name="T66" fmla="*/ 154 w 169"/>
                <a:gd name="T67" fmla="*/ 36 h 169"/>
                <a:gd name="T68" fmla="*/ 162 w 169"/>
                <a:gd name="T69" fmla="*/ 49 h 169"/>
                <a:gd name="T70" fmla="*/ 167 w 169"/>
                <a:gd name="T71" fmla="*/ 66 h 169"/>
                <a:gd name="T72" fmla="*/ 169 w 169"/>
                <a:gd name="T73" fmla="*/ 83 h 169"/>
                <a:gd name="T74" fmla="*/ 169 w 169"/>
                <a:gd name="T75"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9" h="169">
                  <a:moveTo>
                    <a:pt x="169" y="83"/>
                  </a:moveTo>
                  <a:lnTo>
                    <a:pt x="169" y="83"/>
                  </a:lnTo>
                  <a:lnTo>
                    <a:pt x="167" y="99"/>
                  </a:lnTo>
                  <a:lnTo>
                    <a:pt x="164" y="116"/>
                  </a:lnTo>
                  <a:lnTo>
                    <a:pt x="156" y="129"/>
                  </a:lnTo>
                  <a:lnTo>
                    <a:pt x="146" y="142"/>
                  </a:lnTo>
                  <a:lnTo>
                    <a:pt x="134" y="152"/>
                  </a:lnTo>
                  <a:lnTo>
                    <a:pt x="119" y="160"/>
                  </a:lnTo>
                  <a:lnTo>
                    <a:pt x="104" y="167"/>
                  </a:lnTo>
                  <a:lnTo>
                    <a:pt x="88" y="169"/>
                  </a:lnTo>
                  <a:lnTo>
                    <a:pt x="88" y="169"/>
                  </a:lnTo>
                  <a:lnTo>
                    <a:pt x="70" y="167"/>
                  </a:lnTo>
                  <a:lnTo>
                    <a:pt x="55" y="162"/>
                  </a:lnTo>
                  <a:lnTo>
                    <a:pt x="40" y="155"/>
                  </a:lnTo>
                  <a:lnTo>
                    <a:pt x="27" y="145"/>
                  </a:lnTo>
                  <a:lnTo>
                    <a:pt x="17" y="132"/>
                  </a:lnTo>
                  <a:lnTo>
                    <a:pt x="8" y="119"/>
                  </a:lnTo>
                  <a:lnTo>
                    <a:pt x="4" y="104"/>
                  </a:lnTo>
                  <a:lnTo>
                    <a:pt x="0" y="86"/>
                  </a:lnTo>
                  <a:lnTo>
                    <a:pt x="0" y="86"/>
                  </a:lnTo>
                  <a:lnTo>
                    <a:pt x="2" y="69"/>
                  </a:lnTo>
                  <a:lnTo>
                    <a:pt x="7" y="53"/>
                  </a:lnTo>
                  <a:lnTo>
                    <a:pt x="13" y="39"/>
                  </a:lnTo>
                  <a:lnTo>
                    <a:pt x="23" y="26"/>
                  </a:lnTo>
                  <a:lnTo>
                    <a:pt x="37" y="16"/>
                  </a:lnTo>
                  <a:lnTo>
                    <a:pt x="50" y="8"/>
                  </a:lnTo>
                  <a:lnTo>
                    <a:pt x="66" y="1"/>
                  </a:lnTo>
                  <a:lnTo>
                    <a:pt x="83" y="0"/>
                  </a:lnTo>
                  <a:lnTo>
                    <a:pt x="83" y="0"/>
                  </a:lnTo>
                  <a:lnTo>
                    <a:pt x="99" y="1"/>
                  </a:lnTo>
                  <a:lnTo>
                    <a:pt x="116" y="6"/>
                  </a:lnTo>
                  <a:lnTo>
                    <a:pt x="131" y="13"/>
                  </a:lnTo>
                  <a:lnTo>
                    <a:pt x="142" y="23"/>
                  </a:lnTo>
                  <a:lnTo>
                    <a:pt x="154" y="36"/>
                  </a:lnTo>
                  <a:lnTo>
                    <a:pt x="162" y="49"/>
                  </a:lnTo>
                  <a:lnTo>
                    <a:pt x="167" y="66"/>
                  </a:lnTo>
                  <a:lnTo>
                    <a:pt x="169" y="83"/>
                  </a:lnTo>
                  <a:lnTo>
                    <a:pt x="169" y="83"/>
                  </a:lnTo>
                  <a:close/>
                </a:path>
              </a:pathLst>
            </a:custGeom>
            <a:solidFill>
              <a:schemeClr val="accent4">
                <a:alpha val="62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2" name="Freeform 161"/>
            <p:cNvSpPr>
              <a:spLocks/>
            </p:cNvSpPr>
            <p:nvPr/>
          </p:nvSpPr>
          <p:spPr bwMode="auto">
            <a:xfrm>
              <a:off x="7873004" y="4294069"/>
              <a:ext cx="87189" cy="87189"/>
            </a:xfrm>
            <a:custGeom>
              <a:avLst/>
              <a:gdLst>
                <a:gd name="T0" fmla="*/ 60 w 60"/>
                <a:gd name="T1" fmla="*/ 30 h 60"/>
                <a:gd name="T2" fmla="*/ 60 w 60"/>
                <a:gd name="T3" fmla="*/ 30 h 60"/>
                <a:gd name="T4" fmla="*/ 60 w 60"/>
                <a:gd name="T5" fmla="*/ 35 h 60"/>
                <a:gd name="T6" fmla="*/ 58 w 60"/>
                <a:gd name="T7" fmla="*/ 41 h 60"/>
                <a:gd name="T8" fmla="*/ 56 w 60"/>
                <a:gd name="T9" fmla="*/ 46 h 60"/>
                <a:gd name="T10" fmla="*/ 51 w 60"/>
                <a:gd name="T11" fmla="*/ 51 h 60"/>
                <a:gd name="T12" fmla="*/ 48 w 60"/>
                <a:gd name="T13" fmla="*/ 55 h 60"/>
                <a:gd name="T14" fmla="*/ 43 w 60"/>
                <a:gd name="T15" fmla="*/ 58 h 60"/>
                <a:gd name="T16" fmla="*/ 36 w 60"/>
                <a:gd name="T17" fmla="*/ 60 h 60"/>
                <a:gd name="T18" fmla="*/ 30 w 60"/>
                <a:gd name="T19" fmla="*/ 60 h 60"/>
                <a:gd name="T20" fmla="*/ 30 w 60"/>
                <a:gd name="T21" fmla="*/ 60 h 60"/>
                <a:gd name="T22" fmla="*/ 25 w 60"/>
                <a:gd name="T23" fmla="*/ 60 h 60"/>
                <a:gd name="T24" fmla="*/ 18 w 60"/>
                <a:gd name="T25" fmla="*/ 58 h 60"/>
                <a:gd name="T26" fmla="*/ 13 w 60"/>
                <a:gd name="T27" fmla="*/ 55 h 60"/>
                <a:gd name="T28" fmla="*/ 8 w 60"/>
                <a:gd name="T29" fmla="*/ 51 h 60"/>
                <a:gd name="T30" fmla="*/ 5 w 60"/>
                <a:gd name="T31" fmla="*/ 48 h 60"/>
                <a:gd name="T32" fmla="*/ 2 w 60"/>
                <a:gd name="T33" fmla="*/ 43 h 60"/>
                <a:gd name="T34" fmla="*/ 0 w 60"/>
                <a:gd name="T35" fmla="*/ 36 h 60"/>
                <a:gd name="T36" fmla="*/ 0 w 60"/>
                <a:gd name="T37" fmla="*/ 30 h 60"/>
                <a:gd name="T38" fmla="*/ 0 w 60"/>
                <a:gd name="T39" fmla="*/ 30 h 60"/>
                <a:gd name="T40" fmla="*/ 0 w 60"/>
                <a:gd name="T41" fmla="*/ 25 h 60"/>
                <a:gd name="T42" fmla="*/ 2 w 60"/>
                <a:gd name="T43" fmla="*/ 18 h 60"/>
                <a:gd name="T44" fmla="*/ 5 w 60"/>
                <a:gd name="T45" fmla="*/ 13 h 60"/>
                <a:gd name="T46" fmla="*/ 8 w 60"/>
                <a:gd name="T47" fmla="*/ 8 h 60"/>
                <a:gd name="T48" fmla="*/ 12 w 60"/>
                <a:gd name="T49" fmla="*/ 5 h 60"/>
                <a:gd name="T50" fmla="*/ 17 w 60"/>
                <a:gd name="T51" fmla="*/ 2 h 60"/>
                <a:gd name="T52" fmla="*/ 23 w 60"/>
                <a:gd name="T53" fmla="*/ 0 h 60"/>
                <a:gd name="T54" fmla="*/ 30 w 60"/>
                <a:gd name="T55" fmla="*/ 0 h 60"/>
                <a:gd name="T56" fmla="*/ 30 w 60"/>
                <a:gd name="T57" fmla="*/ 0 h 60"/>
                <a:gd name="T58" fmla="*/ 35 w 60"/>
                <a:gd name="T59" fmla="*/ 0 h 60"/>
                <a:gd name="T60" fmla="*/ 41 w 60"/>
                <a:gd name="T61" fmla="*/ 2 h 60"/>
                <a:gd name="T62" fmla="*/ 46 w 60"/>
                <a:gd name="T63" fmla="*/ 5 h 60"/>
                <a:gd name="T64" fmla="*/ 51 w 60"/>
                <a:gd name="T65" fmla="*/ 8 h 60"/>
                <a:gd name="T66" fmla="*/ 55 w 60"/>
                <a:gd name="T67" fmla="*/ 12 h 60"/>
                <a:gd name="T68" fmla="*/ 58 w 60"/>
                <a:gd name="T69" fmla="*/ 17 h 60"/>
                <a:gd name="T70" fmla="*/ 60 w 60"/>
                <a:gd name="T71" fmla="*/ 23 h 60"/>
                <a:gd name="T72" fmla="*/ 60 w 60"/>
                <a:gd name="T73" fmla="*/ 30 h 60"/>
                <a:gd name="T74" fmla="*/ 60 w 60"/>
                <a:gd name="T75"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60">
                  <a:moveTo>
                    <a:pt x="60" y="30"/>
                  </a:moveTo>
                  <a:lnTo>
                    <a:pt x="60" y="30"/>
                  </a:lnTo>
                  <a:lnTo>
                    <a:pt x="60" y="35"/>
                  </a:lnTo>
                  <a:lnTo>
                    <a:pt x="58" y="41"/>
                  </a:lnTo>
                  <a:lnTo>
                    <a:pt x="56" y="46"/>
                  </a:lnTo>
                  <a:lnTo>
                    <a:pt x="51" y="51"/>
                  </a:lnTo>
                  <a:lnTo>
                    <a:pt x="48" y="55"/>
                  </a:lnTo>
                  <a:lnTo>
                    <a:pt x="43" y="58"/>
                  </a:lnTo>
                  <a:lnTo>
                    <a:pt x="36" y="60"/>
                  </a:lnTo>
                  <a:lnTo>
                    <a:pt x="30" y="60"/>
                  </a:lnTo>
                  <a:lnTo>
                    <a:pt x="30" y="60"/>
                  </a:lnTo>
                  <a:lnTo>
                    <a:pt x="25" y="60"/>
                  </a:lnTo>
                  <a:lnTo>
                    <a:pt x="18" y="58"/>
                  </a:lnTo>
                  <a:lnTo>
                    <a:pt x="13" y="55"/>
                  </a:lnTo>
                  <a:lnTo>
                    <a:pt x="8" y="51"/>
                  </a:lnTo>
                  <a:lnTo>
                    <a:pt x="5" y="48"/>
                  </a:lnTo>
                  <a:lnTo>
                    <a:pt x="2" y="43"/>
                  </a:lnTo>
                  <a:lnTo>
                    <a:pt x="0" y="36"/>
                  </a:lnTo>
                  <a:lnTo>
                    <a:pt x="0" y="30"/>
                  </a:lnTo>
                  <a:lnTo>
                    <a:pt x="0" y="30"/>
                  </a:lnTo>
                  <a:lnTo>
                    <a:pt x="0" y="25"/>
                  </a:lnTo>
                  <a:lnTo>
                    <a:pt x="2" y="18"/>
                  </a:lnTo>
                  <a:lnTo>
                    <a:pt x="5" y="13"/>
                  </a:lnTo>
                  <a:lnTo>
                    <a:pt x="8" y="8"/>
                  </a:lnTo>
                  <a:lnTo>
                    <a:pt x="12" y="5"/>
                  </a:lnTo>
                  <a:lnTo>
                    <a:pt x="17" y="2"/>
                  </a:lnTo>
                  <a:lnTo>
                    <a:pt x="23" y="0"/>
                  </a:lnTo>
                  <a:lnTo>
                    <a:pt x="30" y="0"/>
                  </a:lnTo>
                  <a:lnTo>
                    <a:pt x="30" y="0"/>
                  </a:lnTo>
                  <a:lnTo>
                    <a:pt x="35" y="0"/>
                  </a:lnTo>
                  <a:lnTo>
                    <a:pt x="41" y="2"/>
                  </a:lnTo>
                  <a:lnTo>
                    <a:pt x="46" y="5"/>
                  </a:lnTo>
                  <a:lnTo>
                    <a:pt x="51" y="8"/>
                  </a:lnTo>
                  <a:lnTo>
                    <a:pt x="55" y="12"/>
                  </a:lnTo>
                  <a:lnTo>
                    <a:pt x="58" y="17"/>
                  </a:lnTo>
                  <a:lnTo>
                    <a:pt x="60" y="23"/>
                  </a:lnTo>
                  <a:lnTo>
                    <a:pt x="60" y="30"/>
                  </a:lnTo>
                  <a:lnTo>
                    <a:pt x="60" y="30"/>
                  </a:lnTo>
                  <a:close/>
                </a:path>
              </a:pathLst>
            </a:custGeom>
            <a:solidFill>
              <a:srgbClr val="AC57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62"/>
            <p:cNvSpPr>
              <a:spLocks/>
            </p:cNvSpPr>
            <p:nvPr/>
          </p:nvSpPr>
          <p:spPr bwMode="auto">
            <a:xfrm>
              <a:off x="8372889" y="4657357"/>
              <a:ext cx="122065" cy="122065"/>
            </a:xfrm>
            <a:custGeom>
              <a:avLst/>
              <a:gdLst>
                <a:gd name="T0" fmla="*/ 84 w 84"/>
                <a:gd name="T1" fmla="*/ 41 h 84"/>
                <a:gd name="T2" fmla="*/ 84 w 84"/>
                <a:gd name="T3" fmla="*/ 41 h 84"/>
                <a:gd name="T4" fmla="*/ 84 w 84"/>
                <a:gd name="T5" fmla="*/ 49 h 84"/>
                <a:gd name="T6" fmla="*/ 83 w 84"/>
                <a:gd name="T7" fmla="*/ 58 h 84"/>
                <a:gd name="T8" fmla="*/ 78 w 84"/>
                <a:gd name="T9" fmla="*/ 64 h 84"/>
                <a:gd name="T10" fmla="*/ 73 w 84"/>
                <a:gd name="T11" fmla="*/ 71 h 84"/>
                <a:gd name="T12" fmla="*/ 68 w 84"/>
                <a:gd name="T13" fmla="*/ 76 h 84"/>
                <a:gd name="T14" fmla="*/ 60 w 84"/>
                <a:gd name="T15" fmla="*/ 81 h 84"/>
                <a:gd name="T16" fmla="*/ 53 w 84"/>
                <a:gd name="T17" fmla="*/ 83 h 84"/>
                <a:gd name="T18" fmla="*/ 45 w 84"/>
                <a:gd name="T19" fmla="*/ 84 h 84"/>
                <a:gd name="T20" fmla="*/ 45 w 84"/>
                <a:gd name="T21" fmla="*/ 84 h 84"/>
                <a:gd name="T22" fmla="*/ 35 w 84"/>
                <a:gd name="T23" fmla="*/ 84 h 84"/>
                <a:gd name="T24" fmla="*/ 28 w 84"/>
                <a:gd name="T25" fmla="*/ 81 h 84"/>
                <a:gd name="T26" fmla="*/ 20 w 84"/>
                <a:gd name="T27" fmla="*/ 78 h 84"/>
                <a:gd name="T28" fmla="*/ 13 w 84"/>
                <a:gd name="T29" fmla="*/ 73 h 84"/>
                <a:gd name="T30" fmla="*/ 8 w 84"/>
                <a:gd name="T31" fmla="*/ 66 h 84"/>
                <a:gd name="T32" fmla="*/ 5 w 84"/>
                <a:gd name="T33" fmla="*/ 59 h 84"/>
                <a:gd name="T34" fmla="*/ 2 w 84"/>
                <a:gd name="T35" fmla="*/ 51 h 84"/>
                <a:gd name="T36" fmla="*/ 0 w 84"/>
                <a:gd name="T37" fmla="*/ 43 h 84"/>
                <a:gd name="T38" fmla="*/ 0 w 84"/>
                <a:gd name="T39" fmla="*/ 43 h 84"/>
                <a:gd name="T40" fmla="*/ 2 w 84"/>
                <a:gd name="T41" fmla="*/ 35 h 84"/>
                <a:gd name="T42" fmla="*/ 3 w 84"/>
                <a:gd name="T43" fmla="*/ 26 h 84"/>
                <a:gd name="T44" fmla="*/ 7 w 84"/>
                <a:gd name="T45" fmla="*/ 20 h 84"/>
                <a:gd name="T46" fmla="*/ 12 w 84"/>
                <a:gd name="T47" fmla="*/ 13 h 84"/>
                <a:gd name="T48" fmla="*/ 18 w 84"/>
                <a:gd name="T49" fmla="*/ 8 h 84"/>
                <a:gd name="T50" fmla="*/ 25 w 84"/>
                <a:gd name="T51" fmla="*/ 3 h 84"/>
                <a:gd name="T52" fmla="*/ 33 w 84"/>
                <a:gd name="T53" fmla="*/ 1 h 84"/>
                <a:gd name="T54" fmla="*/ 41 w 84"/>
                <a:gd name="T55" fmla="*/ 0 h 84"/>
                <a:gd name="T56" fmla="*/ 41 w 84"/>
                <a:gd name="T57" fmla="*/ 0 h 84"/>
                <a:gd name="T58" fmla="*/ 50 w 84"/>
                <a:gd name="T59" fmla="*/ 1 h 84"/>
                <a:gd name="T60" fmla="*/ 58 w 84"/>
                <a:gd name="T61" fmla="*/ 3 h 84"/>
                <a:gd name="T62" fmla="*/ 66 w 84"/>
                <a:gd name="T63" fmla="*/ 6 h 84"/>
                <a:gd name="T64" fmla="*/ 71 w 84"/>
                <a:gd name="T65" fmla="*/ 11 h 84"/>
                <a:gd name="T66" fmla="*/ 78 w 84"/>
                <a:gd name="T67" fmla="*/ 18 h 84"/>
                <a:gd name="T68" fmla="*/ 81 w 84"/>
                <a:gd name="T69" fmla="*/ 25 h 84"/>
                <a:gd name="T70" fmla="*/ 84 w 84"/>
                <a:gd name="T71" fmla="*/ 33 h 84"/>
                <a:gd name="T72" fmla="*/ 84 w 84"/>
                <a:gd name="T73" fmla="*/ 41 h 84"/>
                <a:gd name="T74" fmla="*/ 84 w 84"/>
                <a:gd name="T75" fmla="*/ 4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4">
                  <a:moveTo>
                    <a:pt x="84" y="41"/>
                  </a:moveTo>
                  <a:lnTo>
                    <a:pt x="84" y="41"/>
                  </a:lnTo>
                  <a:lnTo>
                    <a:pt x="84" y="49"/>
                  </a:lnTo>
                  <a:lnTo>
                    <a:pt x="83" y="58"/>
                  </a:lnTo>
                  <a:lnTo>
                    <a:pt x="78" y="64"/>
                  </a:lnTo>
                  <a:lnTo>
                    <a:pt x="73" y="71"/>
                  </a:lnTo>
                  <a:lnTo>
                    <a:pt x="68" y="76"/>
                  </a:lnTo>
                  <a:lnTo>
                    <a:pt x="60" y="81"/>
                  </a:lnTo>
                  <a:lnTo>
                    <a:pt x="53" y="83"/>
                  </a:lnTo>
                  <a:lnTo>
                    <a:pt x="45" y="84"/>
                  </a:lnTo>
                  <a:lnTo>
                    <a:pt x="45" y="84"/>
                  </a:lnTo>
                  <a:lnTo>
                    <a:pt x="35" y="84"/>
                  </a:lnTo>
                  <a:lnTo>
                    <a:pt x="28" y="81"/>
                  </a:lnTo>
                  <a:lnTo>
                    <a:pt x="20" y="78"/>
                  </a:lnTo>
                  <a:lnTo>
                    <a:pt x="13" y="73"/>
                  </a:lnTo>
                  <a:lnTo>
                    <a:pt x="8" y="66"/>
                  </a:lnTo>
                  <a:lnTo>
                    <a:pt x="5" y="59"/>
                  </a:lnTo>
                  <a:lnTo>
                    <a:pt x="2" y="51"/>
                  </a:lnTo>
                  <a:lnTo>
                    <a:pt x="0" y="43"/>
                  </a:lnTo>
                  <a:lnTo>
                    <a:pt x="0" y="43"/>
                  </a:lnTo>
                  <a:lnTo>
                    <a:pt x="2" y="35"/>
                  </a:lnTo>
                  <a:lnTo>
                    <a:pt x="3" y="26"/>
                  </a:lnTo>
                  <a:lnTo>
                    <a:pt x="7" y="20"/>
                  </a:lnTo>
                  <a:lnTo>
                    <a:pt x="12" y="13"/>
                  </a:lnTo>
                  <a:lnTo>
                    <a:pt x="18" y="8"/>
                  </a:lnTo>
                  <a:lnTo>
                    <a:pt x="25" y="3"/>
                  </a:lnTo>
                  <a:lnTo>
                    <a:pt x="33" y="1"/>
                  </a:lnTo>
                  <a:lnTo>
                    <a:pt x="41" y="0"/>
                  </a:lnTo>
                  <a:lnTo>
                    <a:pt x="41" y="0"/>
                  </a:lnTo>
                  <a:lnTo>
                    <a:pt x="50" y="1"/>
                  </a:lnTo>
                  <a:lnTo>
                    <a:pt x="58" y="3"/>
                  </a:lnTo>
                  <a:lnTo>
                    <a:pt x="66" y="6"/>
                  </a:lnTo>
                  <a:lnTo>
                    <a:pt x="71" y="11"/>
                  </a:lnTo>
                  <a:lnTo>
                    <a:pt x="78" y="18"/>
                  </a:lnTo>
                  <a:lnTo>
                    <a:pt x="81" y="25"/>
                  </a:lnTo>
                  <a:lnTo>
                    <a:pt x="84" y="33"/>
                  </a:lnTo>
                  <a:lnTo>
                    <a:pt x="84" y="41"/>
                  </a:lnTo>
                  <a:lnTo>
                    <a:pt x="84" y="41"/>
                  </a:lnTo>
                  <a:close/>
                </a:path>
              </a:pathLst>
            </a:custGeom>
            <a:solidFill>
              <a:schemeClr val="accent4">
                <a:alpha val="62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4" name="Freeform 163"/>
            <p:cNvSpPr>
              <a:spLocks/>
            </p:cNvSpPr>
            <p:nvPr/>
          </p:nvSpPr>
          <p:spPr bwMode="auto">
            <a:xfrm>
              <a:off x="3148802" y="3709901"/>
              <a:ext cx="338585" cy="338585"/>
            </a:xfrm>
            <a:custGeom>
              <a:avLst/>
              <a:gdLst>
                <a:gd name="T0" fmla="*/ 233 w 233"/>
                <a:gd name="T1" fmla="*/ 114 h 233"/>
                <a:gd name="T2" fmla="*/ 232 w 233"/>
                <a:gd name="T3" fmla="*/ 91 h 233"/>
                <a:gd name="T4" fmla="*/ 223 w 233"/>
                <a:gd name="T5" fmla="*/ 69 h 233"/>
                <a:gd name="T6" fmla="*/ 212 w 233"/>
                <a:gd name="T7" fmla="*/ 50 h 233"/>
                <a:gd name="T8" fmla="*/ 198 w 233"/>
                <a:gd name="T9" fmla="*/ 33 h 233"/>
                <a:gd name="T10" fmla="*/ 180 w 233"/>
                <a:gd name="T11" fmla="*/ 18 h 233"/>
                <a:gd name="T12" fmla="*/ 160 w 233"/>
                <a:gd name="T13" fmla="*/ 8 h 233"/>
                <a:gd name="T14" fmla="*/ 137 w 233"/>
                <a:gd name="T15" fmla="*/ 2 h 233"/>
                <a:gd name="T16" fmla="*/ 114 w 233"/>
                <a:gd name="T17" fmla="*/ 0 h 233"/>
                <a:gd name="T18" fmla="*/ 103 w 233"/>
                <a:gd name="T19" fmla="*/ 2 h 233"/>
                <a:gd name="T20" fmla="*/ 79 w 233"/>
                <a:gd name="T21" fmla="*/ 7 h 233"/>
                <a:gd name="T22" fmla="*/ 59 w 233"/>
                <a:gd name="T23" fmla="*/ 16 h 233"/>
                <a:gd name="T24" fmla="*/ 41 w 233"/>
                <a:gd name="T25" fmla="*/ 30 h 233"/>
                <a:gd name="T26" fmla="*/ 25 w 233"/>
                <a:gd name="T27" fmla="*/ 45 h 233"/>
                <a:gd name="T28" fmla="*/ 13 w 233"/>
                <a:gd name="T29" fmla="*/ 64 h 233"/>
                <a:gd name="T30" fmla="*/ 5 w 233"/>
                <a:gd name="T31" fmla="*/ 86 h 233"/>
                <a:gd name="T32" fmla="*/ 0 w 233"/>
                <a:gd name="T33" fmla="*/ 107 h 233"/>
                <a:gd name="T34" fmla="*/ 0 w 233"/>
                <a:gd name="T35" fmla="*/ 121 h 233"/>
                <a:gd name="T36" fmla="*/ 3 w 233"/>
                <a:gd name="T37" fmla="*/ 144 h 233"/>
                <a:gd name="T38" fmla="*/ 10 w 233"/>
                <a:gd name="T39" fmla="*/ 165 h 233"/>
                <a:gd name="T40" fmla="*/ 21 w 233"/>
                <a:gd name="T41" fmla="*/ 185 h 233"/>
                <a:gd name="T42" fmla="*/ 36 w 233"/>
                <a:gd name="T43" fmla="*/ 202 h 233"/>
                <a:gd name="T44" fmla="*/ 55 w 233"/>
                <a:gd name="T45" fmla="*/ 215 h 233"/>
                <a:gd name="T46" fmla="*/ 74 w 233"/>
                <a:gd name="T47" fmla="*/ 227 h 233"/>
                <a:gd name="T48" fmla="*/ 96 w 233"/>
                <a:gd name="T49" fmla="*/ 232 h 233"/>
                <a:gd name="T50" fmla="*/ 121 w 233"/>
                <a:gd name="T51" fmla="*/ 233 h 233"/>
                <a:gd name="T52" fmla="*/ 132 w 233"/>
                <a:gd name="T53" fmla="*/ 233 h 233"/>
                <a:gd name="T54" fmla="*/ 154 w 233"/>
                <a:gd name="T55" fmla="*/ 228 h 233"/>
                <a:gd name="T56" fmla="*/ 175 w 233"/>
                <a:gd name="T57" fmla="*/ 218 h 233"/>
                <a:gd name="T58" fmla="*/ 194 w 233"/>
                <a:gd name="T59" fmla="*/ 205 h 233"/>
                <a:gd name="T60" fmla="*/ 208 w 233"/>
                <a:gd name="T61" fmla="*/ 189 h 233"/>
                <a:gd name="T62" fmla="*/ 222 w 233"/>
                <a:gd name="T63" fmla="*/ 170 h 233"/>
                <a:gd name="T64" fmla="*/ 230 w 233"/>
                <a:gd name="T65" fmla="*/ 149 h 233"/>
                <a:gd name="T66" fmla="*/ 233 w 233"/>
                <a:gd name="T67" fmla="*/ 126 h 233"/>
                <a:gd name="T68" fmla="*/ 233 w 233"/>
                <a:gd name="T69" fmla="*/ 11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3" h="233">
                  <a:moveTo>
                    <a:pt x="233" y="114"/>
                  </a:moveTo>
                  <a:lnTo>
                    <a:pt x="233" y="114"/>
                  </a:lnTo>
                  <a:lnTo>
                    <a:pt x="233" y="103"/>
                  </a:lnTo>
                  <a:lnTo>
                    <a:pt x="232" y="91"/>
                  </a:lnTo>
                  <a:lnTo>
                    <a:pt x="228" y="79"/>
                  </a:lnTo>
                  <a:lnTo>
                    <a:pt x="223" y="69"/>
                  </a:lnTo>
                  <a:lnTo>
                    <a:pt x="218" y="60"/>
                  </a:lnTo>
                  <a:lnTo>
                    <a:pt x="212" y="50"/>
                  </a:lnTo>
                  <a:lnTo>
                    <a:pt x="205" y="41"/>
                  </a:lnTo>
                  <a:lnTo>
                    <a:pt x="198" y="33"/>
                  </a:lnTo>
                  <a:lnTo>
                    <a:pt x="189" y="25"/>
                  </a:lnTo>
                  <a:lnTo>
                    <a:pt x="180" y="18"/>
                  </a:lnTo>
                  <a:lnTo>
                    <a:pt x="170" y="13"/>
                  </a:lnTo>
                  <a:lnTo>
                    <a:pt x="160" y="8"/>
                  </a:lnTo>
                  <a:lnTo>
                    <a:pt x="149" y="5"/>
                  </a:lnTo>
                  <a:lnTo>
                    <a:pt x="137" y="2"/>
                  </a:lnTo>
                  <a:lnTo>
                    <a:pt x="126" y="0"/>
                  </a:lnTo>
                  <a:lnTo>
                    <a:pt x="114" y="0"/>
                  </a:lnTo>
                  <a:lnTo>
                    <a:pt x="114" y="0"/>
                  </a:lnTo>
                  <a:lnTo>
                    <a:pt x="103" y="2"/>
                  </a:lnTo>
                  <a:lnTo>
                    <a:pt x="91" y="3"/>
                  </a:lnTo>
                  <a:lnTo>
                    <a:pt x="79" y="7"/>
                  </a:lnTo>
                  <a:lnTo>
                    <a:pt x="69" y="12"/>
                  </a:lnTo>
                  <a:lnTo>
                    <a:pt x="59" y="16"/>
                  </a:lnTo>
                  <a:lnTo>
                    <a:pt x="50" y="21"/>
                  </a:lnTo>
                  <a:lnTo>
                    <a:pt x="41" y="30"/>
                  </a:lnTo>
                  <a:lnTo>
                    <a:pt x="33" y="36"/>
                  </a:lnTo>
                  <a:lnTo>
                    <a:pt x="25" y="45"/>
                  </a:lnTo>
                  <a:lnTo>
                    <a:pt x="18" y="55"/>
                  </a:lnTo>
                  <a:lnTo>
                    <a:pt x="13" y="64"/>
                  </a:lnTo>
                  <a:lnTo>
                    <a:pt x="8" y="74"/>
                  </a:lnTo>
                  <a:lnTo>
                    <a:pt x="5" y="86"/>
                  </a:lnTo>
                  <a:lnTo>
                    <a:pt x="2" y="96"/>
                  </a:lnTo>
                  <a:lnTo>
                    <a:pt x="0" y="107"/>
                  </a:lnTo>
                  <a:lnTo>
                    <a:pt x="0" y="121"/>
                  </a:lnTo>
                  <a:lnTo>
                    <a:pt x="0" y="121"/>
                  </a:lnTo>
                  <a:lnTo>
                    <a:pt x="2" y="132"/>
                  </a:lnTo>
                  <a:lnTo>
                    <a:pt x="3" y="144"/>
                  </a:lnTo>
                  <a:lnTo>
                    <a:pt x="7" y="155"/>
                  </a:lnTo>
                  <a:lnTo>
                    <a:pt x="10" y="165"/>
                  </a:lnTo>
                  <a:lnTo>
                    <a:pt x="16" y="175"/>
                  </a:lnTo>
                  <a:lnTo>
                    <a:pt x="21" y="185"/>
                  </a:lnTo>
                  <a:lnTo>
                    <a:pt x="28" y="194"/>
                  </a:lnTo>
                  <a:lnTo>
                    <a:pt x="36" y="202"/>
                  </a:lnTo>
                  <a:lnTo>
                    <a:pt x="45" y="208"/>
                  </a:lnTo>
                  <a:lnTo>
                    <a:pt x="55" y="215"/>
                  </a:lnTo>
                  <a:lnTo>
                    <a:pt x="64" y="222"/>
                  </a:lnTo>
                  <a:lnTo>
                    <a:pt x="74" y="227"/>
                  </a:lnTo>
                  <a:lnTo>
                    <a:pt x="86" y="230"/>
                  </a:lnTo>
                  <a:lnTo>
                    <a:pt x="96" y="232"/>
                  </a:lnTo>
                  <a:lnTo>
                    <a:pt x="107" y="233"/>
                  </a:lnTo>
                  <a:lnTo>
                    <a:pt x="121" y="233"/>
                  </a:lnTo>
                  <a:lnTo>
                    <a:pt x="121" y="233"/>
                  </a:lnTo>
                  <a:lnTo>
                    <a:pt x="132" y="233"/>
                  </a:lnTo>
                  <a:lnTo>
                    <a:pt x="144" y="232"/>
                  </a:lnTo>
                  <a:lnTo>
                    <a:pt x="154" y="228"/>
                  </a:lnTo>
                  <a:lnTo>
                    <a:pt x="165" y="223"/>
                  </a:lnTo>
                  <a:lnTo>
                    <a:pt x="175" y="218"/>
                  </a:lnTo>
                  <a:lnTo>
                    <a:pt x="185" y="212"/>
                  </a:lnTo>
                  <a:lnTo>
                    <a:pt x="194" y="205"/>
                  </a:lnTo>
                  <a:lnTo>
                    <a:pt x="202" y="198"/>
                  </a:lnTo>
                  <a:lnTo>
                    <a:pt x="208" y="189"/>
                  </a:lnTo>
                  <a:lnTo>
                    <a:pt x="215" y="180"/>
                  </a:lnTo>
                  <a:lnTo>
                    <a:pt x="222" y="170"/>
                  </a:lnTo>
                  <a:lnTo>
                    <a:pt x="227" y="160"/>
                  </a:lnTo>
                  <a:lnTo>
                    <a:pt x="230" y="149"/>
                  </a:lnTo>
                  <a:lnTo>
                    <a:pt x="232" y="137"/>
                  </a:lnTo>
                  <a:lnTo>
                    <a:pt x="233" y="126"/>
                  </a:lnTo>
                  <a:lnTo>
                    <a:pt x="233" y="114"/>
                  </a:lnTo>
                  <a:lnTo>
                    <a:pt x="233" y="114"/>
                  </a:lnTo>
                  <a:close/>
                </a:path>
              </a:pathLst>
            </a:custGeom>
            <a:solidFill>
              <a:schemeClr val="accent4">
                <a:alpha val="62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5" name="Freeform 164"/>
            <p:cNvSpPr>
              <a:spLocks/>
            </p:cNvSpPr>
            <p:nvPr/>
          </p:nvSpPr>
          <p:spPr bwMode="auto">
            <a:xfrm>
              <a:off x="3924786" y="4448103"/>
              <a:ext cx="149675" cy="148222"/>
            </a:xfrm>
            <a:custGeom>
              <a:avLst/>
              <a:gdLst>
                <a:gd name="T0" fmla="*/ 103 w 103"/>
                <a:gd name="T1" fmla="*/ 50 h 102"/>
                <a:gd name="T2" fmla="*/ 103 w 103"/>
                <a:gd name="T3" fmla="*/ 50 h 102"/>
                <a:gd name="T4" fmla="*/ 103 w 103"/>
                <a:gd name="T5" fmla="*/ 59 h 102"/>
                <a:gd name="T6" fmla="*/ 100 w 103"/>
                <a:gd name="T7" fmla="*/ 69 h 102"/>
                <a:gd name="T8" fmla="*/ 96 w 103"/>
                <a:gd name="T9" fmla="*/ 79 h 102"/>
                <a:gd name="T10" fmla="*/ 90 w 103"/>
                <a:gd name="T11" fmla="*/ 86 h 102"/>
                <a:gd name="T12" fmla="*/ 81 w 103"/>
                <a:gd name="T13" fmla="*/ 93 h 102"/>
                <a:gd name="T14" fmla="*/ 73 w 103"/>
                <a:gd name="T15" fmla="*/ 98 h 102"/>
                <a:gd name="T16" fmla="*/ 63 w 103"/>
                <a:gd name="T17" fmla="*/ 101 h 102"/>
                <a:gd name="T18" fmla="*/ 53 w 103"/>
                <a:gd name="T19" fmla="*/ 102 h 102"/>
                <a:gd name="T20" fmla="*/ 53 w 103"/>
                <a:gd name="T21" fmla="*/ 102 h 102"/>
                <a:gd name="T22" fmla="*/ 43 w 103"/>
                <a:gd name="T23" fmla="*/ 102 h 102"/>
                <a:gd name="T24" fmla="*/ 33 w 103"/>
                <a:gd name="T25" fmla="*/ 99 h 102"/>
                <a:gd name="T26" fmla="*/ 25 w 103"/>
                <a:gd name="T27" fmla="*/ 94 h 102"/>
                <a:gd name="T28" fmla="*/ 17 w 103"/>
                <a:gd name="T29" fmla="*/ 88 h 102"/>
                <a:gd name="T30" fmla="*/ 10 w 103"/>
                <a:gd name="T31" fmla="*/ 81 h 102"/>
                <a:gd name="T32" fmla="*/ 5 w 103"/>
                <a:gd name="T33" fmla="*/ 73 h 102"/>
                <a:gd name="T34" fmla="*/ 2 w 103"/>
                <a:gd name="T35" fmla="*/ 63 h 102"/>
                <a:gd name="T36" fmla="*/ 0 w 103"/>
                <a:gd name="T37" fmla="*/ 53 h 102"/>
                <a:gd name="T38" fmla="*/ 0 w 103"/>
                <a:gd name="T39" fmla="*/ 53 h 102"/>
                <a:gd name="T40" fmla="*/ 2 w 103"/>
                <a:gd name="T41" fmla="*/ 41 h 102"/>
                <a:gd name="T42" fmla="*/ 4 w 103"/>
                <a:gd name="T43" fmla="*/ 33 h 102"/>
                <a:gd name="T44" fmla="*/ 9 w 103"/>
                <a:gd name="T45" fmla="*/ 23 h 102"/>
                <a:gd name="T46" fmla="*/ 15 w 103"/>
                <a:gd name="T47" fmla="*/ 16 h 102"/>
                <a:gd name="T48" fmla="*/ 22 w 103"/>
                <a:gd name="T49" fmla="*/ 10 h 102"/>
                <a:gd name="T50" fmla="*/ 32 w 103"/>
                <a:gd name="T51" fmla="*/ 5 h 102"/>
                <a:gd name="T52" fmla="*/ 40 w 103"/>
                <a:gd name="T53" fmla="*/ 2 h 102"/>
                <a:gd name="T54" fmla="*/ 52 w 103"/>
                <a:gd name="T55" fmla="*/ 0 h 102"/>
                <a:gd name="T56" fmla="*/ 52 w 103"/>
                <a:gd name="T57" fmla="*/ 0 h 102"/>
                <a:gd name="T58" fmla="*/ 62 w 103"/>
                <a:gd name="T59" fmla="*/ 0 h 102"/>
                <a:gd name="T60" fmla="*/ 71 w 103"/>
                <a:gd name="T61" fmla="*/ 3 h 102"/>
                <a:gd name="T62" fmla="*/ 80 w 103"/>
                <a:gd name="T63" fmla="*/ 8 h 102"/>
                <a:gd name="T64" fmla="*/ 88 w 103"/>
                <a:gd name="T65" fmla="*/ 13 h 102"/>
                <a:gd name="T66" fmla="*/ 95 w 103"/>
                <a:gd name="T67" fmla="*/ 21 h 102"/>
                <a:gd name="T68" fmla="*/ 100 w 103"/>
                <a:gd name="T69" fmla="*/ 30 h 102"/>
                <a:gd name="T70" fmla="*/ 103 w 103"/>
                <a:gd name="T71" fmla="*/ 40 h 102"/>
                <a:gd name="T72" fmla="*/ 103 w 103"/>
                <a:gd name="T73" fmla="*/ 50 h 102"/>
                <a:gd name="T74" fmla="*/ 103 w 103"/>
                <a:gd name="T75" fmla="*/ 5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 h="102">
                  <a:moveTo>
                    <a:pt x="103" y="50"/>
                  </a:moveTo>
                  <a:lnTo>
                    <a:pt x="103" y="50"/>
                  </a:lnTo>
                  <a:lnTo>
                    <a:pt x="103" y="59"/>
                  </a:lnTo>
                  <a:lnTo>
                    <a:pt x="100" y="69"/>
                  </a:lnTo>
                  <a:lnTo>
                    <a:pt x="96" y="79"/>
                  </a:lnTo>
                  <a:lnTo>
                    <a:pt x="90" y="86"/>
                  </a:lnTo>
                  <a:lnTo>
                    <a:pt x="81" y="93"/>
                  </a:lnTo>
                  <a:lnTo>
                    <a:pt x="73" y="98"/>
                  </a:lnTo>
                  <a:lnTo>
                    <a:pt x="63" y="101"/>
                  </a:lnTo>
                  <a:lnTo>
                    <a:pt x="53" y="102"/>
                  </a:lnTo>
                  <a:lnTo>
                    <a:pt x="53" y="102"/>
                  </a:lnTo>
                  <a:lnTo>
                    <a:pt x="43" y="102"/>
                  </a:lnTo>
                  <a:lnTo>
                    <a:pt x="33" y="99"/>
                  </a:lnTo>
                  <a:lnTo>
                    <a:pt x="25" y="94"/>
                  </a:lnTo>
                  <a:lnTo>
                    <a:pt x="17" y="88"/>
                  </a:lnTo>
                  <a:lnTo>
                    <a:pt x="10" y="81"/>
                  </a:lnTo>
                  <a:lnTo>
                    <a:pt x="5" y="73"/>
                  </a:lnTo>
                  <a:lnTo>
                    <a:pt x="2" y="63"/>
                  </a:lnTo>
                  <a:lnTo>
                    <a:pt x="0" y="53"/>
                  </a:lnTo>
                  <a:lnTo>
                    <a:pt x="0" y="53"/>
                  </a:lnTo>
                  <a:lnTo>
                    <a:pt x="2" y="41"/>
                  </a:lnTo>
                  <a:lnTo>
                    <a:pt x="4" y="33"/>
                  </a:lnTo>
                  <a:lnTo>
                    <a:pt x="9" y="23"/>
                  </a:lnTo>
                  <a:lnTo>
                    <a:pt x="15" y="16"/>
                  </a:lnTo>
                  <a:lnTo>
                    <a:pt x="22" y="10"/>
                  </a:lnTo>
                  <a:lnTo>
                    <a:pt x="32" y="5"/>
                  </a:lnTo>
                  <a:lnTo>
                    <a:pt x="40" y="2"/>
                  </a:lnTo>
                  <a:lnTo>
                    <a:pt x="52" y="0"/>
                  </a:lnTo>
                  <a:lnTo>
                    <a:pt x="52" y="0"/>
                  </a:lnTo>
                  <a:lnTo>
                    <a:pt x="62" y="0"/>
                  </a:lnTo>
                  <a:lnTo>
                    <a:pt x="71" y="3"/>
                  </a:lnTo>
                  <a:lnTo>
                    <a:pt x="80" y="8"/>
                  </a:lnTo>
                  <a:lnTo>
                    <a:pt x="88" y="13"/>
                  </a:lnTo>
                  <a:lnTo>
                    <a:pt x="95" y="21"/>
                  </a:lnTo>
                  <a:lnTo>
                    <a:pt x="100" y="30"/>
                  </a:lnTo>
                  <a:lnTo>
                    <a:pt x="103" y="40"/>
                  </a:lnTo>
                  <a:lnTo>
                    <a:pt x="103" y="50"/>
                  </a:lnTo>
                  <a:lnTo>
                    <a:pt x="103" y="50"/>
                  </a:lnTo>
                  <a:close/>
                </a:path>
              </a:pathLst>
            </a:custGeom>
            <a:solidFill>
              <a:schemeClr val="accent4">
                <a:alpha val="62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6" name="Freeform 165"/>
            <p:cNvSpPr>
              <a:spLocks/>
            </p:cNvSpPr>
            <p:nvPr/>
          </p:nvSpPr>
          <p:spPr bwMode="auto">
            <a:xfrm>
              <a:off x="4389795" y="4378351"/>
              <a:ext cx="114799" cy="114799"/>
            </a:xfrm>
            <a:custGeom>
              <a:avLst/>
              <a:gdLst>
                <a:gd name="T0" fmla="*/ 79 w 79"/>
                <a:gd name="T1" fmla="*/ 40 h 79"/>
                <a:gd name="T2" fmla="*/ 79 w 79"/>
                <a:gd name="T3" fmla="*/ 40 h 79"/>
                <a:gd name="T4" fmla="*/ 77 w 79"/>
                <a:gd name="T5" fmla="*/ 31 h 79"/>
                <a:gd name="T6" fmla="*/ 76 w 79"/>
                <a:gd name="T7" fmla="*/ 23 h 79"/>
                <a:gd name="T8" fmla="*/ 72 w 79"/>
                <a:gd name="T9" fmla="*/ 16 h 79"/>
                <a:gd name="T10" fmla="*/ 67 w 79"/>
                <a:gd name="T11" fmla="*/ 11 h 79"/>
                <a:gd name="T12" fmla="*/ 61 w 79"/>
                <a:gd name="T13" fmla="*/ 7 h 79"/>
                <a:gd name="T14" fmla="*/ 54 w 79"/>
                <a:gd name="T15" fmla="*/ 3 h 79"/>
                <a:gd name="T16" fmla="*/ 46 w 79"/>
                <a:gd name="T17" fmla="*/ 2 h 79"/>
                <a:gd name="T18" fmla="*/ 38 w 79"/>
                <a:gd name="T19" fmla="*/ 0 h 79"/>
                <a:gd name="T20" fmla="*/ 38 w 79"/>
                <a:gd name="T21" fmla="*/ 0 h 79"/>
                <a:gd name="T22" fmla="*/ 31 w 79"/>
                <a:gd name="T23" fmla="*/ 2 h 79"/>
                <a:gd name="T24" fmla="*/ 23 w 79"/>
                <a:gd name="T25" fmla="*/ 3 h 79"/>
                <a:gd name="T26" fmla="*/ 16 w 79"/>
                <a:gd name="T27" fmla="*/ 8 h 79"/>
                <a:gd name="T28" fmla="*/ 11 w 79"/>
                <a:gd name="T29" fmla="*/ 13 h 79"/>
                <a:gd name="T30" fmla="*/ 6 w 79"/>
                <a:gd name="T31" fmla="*/ 18 h 79"/>
                <a:gd name="T32" fmla="*/ 3 w 79"/>
                <a:gd name="T33" fmla="*/ 26 h 79"/>
                <a:gd name="T34" fmla="*/ 0 w 79"/>
                <a:gd name="T35" fmla="*/ 33 h 79"/>
                <a:gd name="T36" fmla="*/ 0 w 79"/>
                <a:gd name="T37" fmla="*/ 41 h 79"/>
                <a:gd name="T38" fmla="*/ 0 w 79"/>
                <a:gd name="T39" fmla="*/ 41 h 79"/>
                <a:gd name="T40" fmla="*/ 1 w 79"/>
                <a:gd name="T41" fmla="*/ 50 h 79"/>
                <a:gd name="T42" fmla="*/ 3 w 79"/>
                <a:gd name="T43" fmla="*/ 56 h 79"/>
                <a:gd name="T44" fmla="*/ 6 w 79"/>
                <a:gd name="T45" fmla="*/ 63 h 79"/>
                <a:gd name="T46" fmla="*/ 11 w 79"/>
                <a:gd name="T47" fmla="*/ 69 h 79"/>
                <a:gd name="T48" fmla="*/ 18 w 79"/>
                <a:gd name="T49" fmla="*/ 74 h 79"/>
                <a:gd name="T50" fmla="*/ 24 w 79"/>
                <a:gd name="T51" fmla="*/ 78 h 79"/>
                <a:gd name="T52" fmla="*/ 33 w 79"/>
                <a:gd name="T53" fmla="*/ 79 h 79"/>
                <a:gd name="T54" fmla="*/ 41 w 79"/>
                <a:gd name="T55" fmla="*/ 79 h 79"/>
                <a:gd name="T56" fmla="*/ 41 w 79"/>
                <a:gd name="T57" fmla="*/ 79 h 79"/>
                <a:gd name="T58" fmla="*/ 48 w 79"/>
                <a:gd name="T59" fmla="*/ 79 h 79"/>
                <a:gd name="T60" fmla="*/ 56 w 79"/>
                <a:gd name="T61" fmla="*/ 76 h 79"/>
                <a:gd name="T62" fmla="*/ 63 w 79"/>
                <a:gd name="T63" fmla="*/ 73 h 79"/>
                <a:gd name="T64" fmla="*/ 67 w 79"/>
                <a:gd name="T65" fmla="*/ 68 h 79"/>
                <a:gd name="T66" fmla="*/ 72 w 79"/>
                <a:gd name="T67" fmla="*/ 61 h 79"/>
                <a:gd name="T68" fmla="*/ 76 w 79"/>
                <a:gd name="T69" fmla="*/ 55 h 79"/>
                <a:gd name="T70" fmla="*/ 79 w 79"/>
                <a:gd name="T71" fmla="*/ 48 h 79"/>
                <a:gd name="T72" fmla="*/ 79 w 79"/>
                <a:gd name="T73" fmla="*/ 40 h 79"/>
                <a:gd name="T74" fmla="*/ 79 w 79"/>
                <a:gd name="T75" fmla="*/ 4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9" h="79">
                  <a:moveTo>
                    <a:pt x="79" y="40"/>
                  </a:moveTo>
                  <a:lnTo>
                    <a:pt x="79" y="40"/>
                  </a:lnTo>
                  <a:lnTo>
                    <a:pt x="77" y="31"/>
                  </a:lnTo>
                  <a:lnTo>
                    <a:pt x="76" y="23"/>
                  </a:lnTo>
                  <a:lnTo>
                    <a:pt x="72" y="16"/>
                  </a:lnTo>
                  <a:lnTo>
                    <a:pt x="67" y="11"/>
                  </a:lnTo>
                  <a:lnTo>
                    <a:pt x="61" y="7"/>
                  </a:lnTo>
                  <a:lnTo>
                    <a:pt x="54" y="3"/>
                  </a:lnTo>
                  <a:lnTo>
                    <a:pt x="46" y="2"/>
                  </a:lnTo>
                  <a:lnTo>
                    <a:pt x="38" y="0"/>
                  </a:lnTo>
                  <a:lnTo>
                    <a:pt x="38" y="0"/>
                  </a:lnTo>
                  <a:lnTo>
                    <a:pt x="31" y="2"/>
                  </a:lnTo>
                  <a:lnTo>
                    <a:pt x="23" y="3"/>
                  </a:lnTo>
                  <a:lnTo>
                    <a:pt x="16" y="8"/>
                  </a:lnTo>
                  <a:lnTo>
                    <a:pt x="11" y="13"/>
                  </a:lnTo>
                  <a:lnTo>
                    <a:pt x="6" y="18"/>
                  </a:lnTo>
                  <a:lnTo>
                    <a:pt x="3" y="26"/>
                  </a:lnTo>
                  <a:lnTo>
                    <a:pt x="0" y="33"/>
                  </a:lnTo>
                  <a:lnTo>
                    <a:pt x="0" y="41"/>
                  </a:lnTo>
                  <a:lnTo>
                    <a:pt x="0" y="41"/>
                  </a:lnTo>
                  <a:lnTo>
                    <a:pt x="1" y="50"/>
                  </a:lnTo>
                  <a:lnTo>
                    <a:pt x="3" y="56"/>
                  </a:lnTo>
                  <a:lnTo>
                    <a:pt x="6" y="63"/>
                  </a:lnTo>
                  <a:lnTo>
                    <a:pt x="11" y="69"/>
                  </a:lnTo>
                  <a:lnTo>
                    <a:pt x="18" y="74"/>
                  </a:lnTo>
                  <a:lnTo>
                    <a:pt x="24" y="78"/>
                  </a:lnTo>
                  <a:lnTo>
                    <a:pt x="33" y="79"/>
                  </a:lnTo>
                  <a:lnTo>
                    <a:pt x="41" y="79"/>
                  </a:lnTo>
                  <a:lnTo>
                    <a:pt x="41" y="79"/>
                  </a:lnTo>
                  <a:lnTo>
                    <a:pt x="48" y="79"/>
                  </a:lnTo>
                  <a:lnTo>
                    <a:pt x="56" y="76"/>
                  </a:lnTo>
                  <a:lnTo>
                    <a:pt x="63" y="73"/>
                  </a:lnTo>
                  <a:lnTo>
                    <a:pt x="67" y="68"/>
                  </a:lnTo>
                  <a:lnTo>
                    <a:pt x="72" y="61"/>
                  </a:lnTo>
                  <a:lnTo>
                    <a:pt x="76" y="55"/>
                  </a:lnTo>
                  <a:lnTo>
                    <a:pt x="79" y="48"/>
                  </a:lnTo>
                  <a:lnTo>
                    <a:pt x="79" y="40"/>
                  </a:lnTo>
                  <a:lnTo>
                    <a:pt x="79" y="40"/>
                  </a:lnTo>
                  <a:close/>
                </a:path>
              </a:pathLst>
            </a:custGeom>
            <a:solidFill>
              <a:schemeClr val="accent4">
                <a:alpha val="62000"/>
              </a:schemeClr>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55994536"/>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DE9D2873-3FAC-4EB8-92BC-7CB74EFADFE4}"/>
              </a:ext>
            </a:extLst>
          </p:cNvPr>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l="17876" r="17876"/>
          <a:stretch>
            <a:fillRect/>
          </a:stretch>
        </p:blipFill>
        <p:spPr/>
      </p:pic>
      <p:sp>
        <p:nvSpPr>
          <p:cNvPr id="8" name="Rectangle 7"/>
          <p:cNvSpPr/>
          <p:nvPr/>
        </p:nvSpPr>
        <p:spPr>
          <a:xfrm>
            <a:off x="1" y="1"/>
            <a:ext cx="6502400" cy="5899216"/>
          </a:xfrm>
          <a:prstGeom prst="rect">
            <a:avLst/>
          </a:prstGeom>
          <a:solidFill>
            <a:srgbClr val="2422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Rectangle 4"/>
          <p:cNvSpPr/>
          <p:nvPr>
            <p:custDataLst>
              <p:tags r:id="rId1"/>
            </p:custDataLst>
          </p:nvPr>
        </p:nvSpPr>
        <p:spPr>
          <a:xfrm>
            <a:off x="406318" y="542514"/>
            <a:ext cx="9271000"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spc="-150" dirty="0">
                <a:solidFill>
                  <a:schemeClr val="bg1"/>
                </a:solidFill>
                <a:latin typeface="Montserrat" panose="00000500000000000000" pitchFamily="2" charset="0"/>
                <a:ea typeface="Source Sans Pro" panose="020B0503030403020204" pitchFamily="34" charset="0"/>
                <a:cs typeface="Open Sans Light" panose="020B0306030504020204" pitchFamily="34" charset="0"/>
              </a:rPr>
              <a:t>Only </a:t>
            </a:r>
            <a:r>
              <a:rPr lang="en-US" sz="3200" b="1" spc="-150" dirty="0">
                <a:solidFill>
                  <a:schemeClr val="bg1"/>
                </a:solidFill>
                <a:latin typeface="Montserrat" panose="00000500000000000000" pitchFamily="2" charset="0"/>
                <a:ea typeface="Source Sans Pro" panose="020B0503030403020204" pitchFamily="34" charset="0"/>
                <a:cs typeface="Open Sans Light" panose="020B0306030504020204" pitchFamily="34" charset="0"/>
              </a:rPr>
              <a:t>Minimalist</a:t>
            </a:r>
          </a:p>
        </p:txBody>
      </p:sp>
      <p:sp>
        <p:nvSpPr>
          <p:cNvPr id="6" name="Rectangle 5"/>
          <p:cNvSpPr/>
          <p:nvPr>
            <p:custDataLst>
              <p:tags r:id="rId2"/>
            </p:custDataLst>
          </p:nvPr>
        </p:nvSpPr>
        <p:spPr>
          <a:xfrm>
            <a:off x="465988" y="1056137"/>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bg1"/>
                </a:solidFill>
                <a:ea typeface="Open Sans" panose="020B0606030504020204" pitchFamily="34" charset="0"/>
                <a:cs typeface="Open Sans" panose="020B0606030504020204" pitchFamily="34" charset="0"/>
              </a:rPr>
              <a:t>Put Your Great Subtitle Here</a:t>
            </a:r>
          </a:p>
        </p:txBody>
      </p:sp>
      <p:grpSp>
        <p:nvGrpSpPr>
          <p:cNvPr id="39" name="Group 38"/>
          <p:cNvGrpSpPr/>
          <p:nvPr/>
        </p:nvGrpSpPr>
        <p:grpSpPr>
          <a:xfrm>
            <a:off x="1033988" y="3427191"/>
            <a:ext cx="362920" cy="503859"/>
            <a:chOff x="1336365" y="4507890"/>
            <a:chExt cx="299934" cy="416413"/>
          </a:xfrm>
          <a:solidFill>
            <a:schemeClr val="bg1"/>
          </a:solidFill>
        </p:grpSpPr>
        <p:sp>
          <p:nvSpPr>
            <p:cNvPr id="40" name="Freeform 247"/>
            <p:cNvSpPr>
              <a:spLocks noEditPoints="1"/>
            </p:cNvSpPr>
            <p:nvPr/>
          </p:nvSpPr>
          <p:spPr bwMode="auto">
            <a:xfrm>
              <a:off x="1336365" y="4812192"/>
              <a:ext cx="112111" cy="112111"/>
            </a:xfrm>
            <a:custGeom>
              <a:avLst/>
              <a:gdLst>
                <a:gd name="T0" fmla="*/ 106 w 230"/>
                <a:gd name="T1" fmla="*/ 39 h 232"/>
                <a:gd name="T2" fmla="*/ 92 w 230"/>
                <a:gd name="T3" fmla="*/ 44 h 232"/>
                <a:gd name="T4" fmla="*/ 72 w 230"/>
                <a:gd name="T5" fmla="*/ 52 h 232"/>
                <a:gd name="T6" fmla="*/ 51 w 230"/>
                <a:gd name="T7" fmla="*/ 74 h 232"/>
                <a:gd name="T8" fmla="*/ 41 w 230"/>
                <a:gd name="T9" fmla="*/ 94 h 232"/>
                <a:gd name="T10" fmla="*/ 38 w 230"/>
                <a:gd name="T11" fmla="*/ 108 h 232"/>
                <a:gd name="T12" fmla="*/ 38 w 230"/>
                <a:gd name="T13" fmla="*/ 124 h 232"/>
                <a:gd name="T14" fmla="*/ 41 w 230"/>
                <a:gd name="T15" fmla="*/ 140 h 232"/>
                <a:gd name="T16" fmla="*/ 51 w 230"/>
                <a:gd name="T17" fmla="*/ 160 h 232"/>
                <a:gd name="T18" fmla="*/ 72 w 230"/>
                <a:gd name="T19" fmla="*/ 180 h 232"/>
                <a:gd name="T20" fmla="*/ 92 w 230"/>
                <a:gd name="T21" fmla="*/ 191 h 232"/>
                <a:gd name="T22" fmla="*/ 106 w 230"/>
                <a:gd name="T23" fmla="*/ 193 h 232"/>
                <a:gd name="T24" fmla="*/ 123 w 230"/>
                <a:gd name="T25" fmla="*/ 193 h 232"/>
                <a:gd name="T26" fmla="*/ 138 w 230"/>
                <a:gd name="T27" fmla="*/ 191 h 232"/>
                <a:gd name="T28" fmla="*/ 158 w 230"/>
                <a:gd name="T29" fmla="*/ 179 h 232"/>
                <a:gd name="T30" fmla="*/ 180 w 230"/>
                <a:gd name="T31" fmla="*/ 157 h 232"/>
                <a:gd name="T32" fmla="*/ 191 w 230"/>
                <a:gd name="T33" fmla="*/ 130 h 232"/>
                <a:gd name="T34" fmla="*/ 193 w 230"/>
                <a:gd name="T35" fmla="*/ 39 h 232"/>
                <a:gd name="T36" fmla="*/ 115 w 230"/>
                <a:gd name="T37" fmla="*/ 232 h 232"/>
                <a:gd name="T38" fmla="*/ 92 w 230"/>
                <a:gd name="T39" fmla="*/ 231 h 232"/>
                <a:gd name="T40" fmla="*/ 70 w 230"/>
                <a:gd name="T41" fmla="*/ 224 h 232"/>
                <a:gd name="T42" fmla="*/ 50 w 230"/>
                <a:gd name="T43" fmla="*/ 214 h 232"/>
                <a:gd name="T44" fmla="*/ 33 w 230"/>
                <a:gd name="T45" fmla="*/ 199 h 232"/>
                <a:gd name="T46" fmla="*/ 18 w 230"/>
                <a:gd name="T47" fmla="*/ 182 h 232"/>
                <a:gd name="T48" fmla="*/ 8 w 230"/>
                <a:gd name="T49" fmla="*/ 162 h 232"/>
                <a:gd name="T50" fmla="*/ 1 w 230"/>
                <a:gd name="T51" fmla="*/ 140 h 232"/>
                <a:gd name="T52" fmla="*/ 0 w 230"/>
                <a:gd name="T53" fmla="*/ 117 h 232"/>
                <a:gd name="T54" fmla="*/ 1 w 230"/>
                <a:gd name="T55" fmla="*/ 94 h 232"/>
                <a:gd name="T56" fmla="*/ 8 w 230"/>
                <a:gd name="T57" fmla="*/ 72 h 232"/>
                <a:gd name="T58" fmla="*/ 18 w 230"/>
                <a:gd name="T59" fmla="*/ 52 h 232"/>
                <a:gd name="T60" fmla="*/ 33 w 230"/>
                <a:gd name="T61" fmla="*/ 35 h 232"/>
                <a:gd name="T62" fmla="*/ 50 w 230"/>
                <a:gd name="T63" fmla="*/ 21 h 232"/>
                <a:gd name="T64" fmla="*/ 70 w 230"/>
                <a:gd name="T65" fmla="*/ 11 h 232"/>
                <a:gd name="T66" fmla="*/ 92 w 230"/>
                <a:gd name="T67" fmla="*/ 3 h 232"/>
                <a:gd name="T68" fmla="*/ 115 w 230"/>
                <a:gd name="T69" fmla="*/ 0 h 232"/>
                <a:gd name="T70" fmla="*/ 230 w 230"/>
                <a:gd name="T71" fmla="*/ 117 h 232"/>
                <a:gd name="T72" fmla="*/ 229 w 230"/>
                <a:gd name="T73" fmla="*/ 140 h 232"/>
                <a:gd name="T74" fmla="*/ 221 w 230"/>
                <a:gd name="T75" fmla="*/ 160 h 232"/>
                <a:gd name="T76" fmla="*/ 210 w 230"/>
                <a:gd name="T77" fmla="*/ 180 h 232"/>
                <a:gd name="T78" fmla="*/ 195 w 230"/>
                <a:gd name="T79" fmla="*/ 198 h 232"/>
                <a:gd name="T80" fmla="*/ 178 w 230"/>
                <a:gd name="T81" fmla="*/ 212 h 232"/>
                <a:gd name="T82" fmla="*/ 159 w 230"/>
                <a:gd name="T83" fmla="*/ 224 h 232"/>
                <a:gd name="T84" fmla="*/ 138 w 230"/>
                <a:gd name="T85" fmla="*/ 231 h 232"/>
                <a:gd name="T86" fmla="*/ 115 w 230"/>
                <a:gd name="T87"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 h="232">
                  <a:moveTo>
                    <a:pt x="115" y="39"/>
                  </a:moveTo>
                  <a:lnTo>
                    <a:pt x="106" y="39"/>
                  </a:lnTo>
                  <a:lnTo>
                    <a:pt x="99" y="41"/>
                  </a:lnTo>
                  <a:lnTo>
                    <a:pt x="92" y="44"/>
                  </a:lnTo>
                  <a:lnTo>
                    <a:pt x="85" y="45"/>
                  </a:lnTo>
                  <a:lnTo>
                    <a:pt x="72" y="52"/>
                  </a:lnTo>
                  <a:lnTo>
                    <a:pt x="60" y="62"/>
                  </a:lnTo>
                  <a:lnTo>
                    <a:pt x="51" y="74"/>
                  </a:lnTo>
                  <a:lnTo>
                    <a:pt x="44" y="87"/>
                  </a:lnTo>
                  <a:lnTo>
                    <a:pt x="41" y="94"/>
                  </a:lnTo>
                  <a:lnTo>
                    <a:pt x="38" y="101"/>
                  </a:lnTo>
                  <a:lnTo>
                    <a:pt x="38" y="108"/>
                  </a:lnTo>
                  <a:lnTo>
                    <a:pt x="37" y="117"/>
                  </a:lnTo>
                  <a:lnTo>
                    <a:pt x="38" y="124"/>
                  </a:lnTo>
                  <a:lnTo>
                    <a:pt x="38" y="133"/>
                  </a:lnTo>
                  <a:lnTo>
                    <a:pt x="41" y="140"/>
                  </a:lnTo>
                  <a:lnTo>
                    <a:pt x="44" y="147"/>
                  </a:lnTo>
                  <a:lnTo>
                    <a:pt x="51" y="160"/>
                  </a:lnTo>
                  <a:lnTo>
                    <a:pt x="60" y="172"/>
                  </a:lnTo>
                  <a:lnTo>
                    <a:pt x="72" y="180"/>
                  </a:lnTo>
                  <a:lnTo>
                    <a:pt x="85" y="188"/>
                  </a:lnTo>
                  <a:lnTo>
                    <a:pt x="92" y="191"/>
                  </a:lnTo>
                  <a:lnTo>
                    <a:pt x="99" y="192"/>
                  </a:lnTo>
                  <a:lnTo>
                    <a:pt x="106" y="193"/>
                  </a:lnTo>
                  <a:lnTo>
                    <a:pt x="115" y="193"/>
                  </a:lnTo>
                  <a:lnTo>
                    <a:pt x="123" y="193"/>
                  </a:lnTo>
                  <a:lnTo>
                    <a:pt x="131" y="192"/>
                  </a:lnTo>
                  <a:lnTo>
                    <a:pt x="138" y="191"/>
                  </a:lnTo>
                  <a:lnTo>
                    <a:pt x="145" y="188"/>
                  </a:lnTo>
                  <a:lnTo>
                    <a:pt x="158" y="179"/>
                  </a:lnTo>
                  <a:lnTo>
                    <a:pt x="170" y="169"/>
                  </a:lnTo>
                  <a:lnTo>
                    <a:pt x="180" y="157"/>
                  </a:lnTo>
                  <a:lnTo>
                    <a:pt x="187" y="144"/>
                  </a:lnTo>
                  <a:lnTo>
                    <a:pt x="191" y="130"/>
                  </a:lnTo>
                  <a:lnTo>
                    <a:pt x="193" y="117"/>
                  </a:lnTo>
                  <a:lnTo>
                    <a:pt x="193" y="39"/>
                  </a:lnTo>
                  <a:lnTo>
                    <a:pt x="115" y="39"/>
                  </a:lnTo>
                  <a:close/>
                  <a:moveTo>
                    <a:pt x="115" y="232"/>
                  </a:moveTo>
                  <a:lnTo>
                    <a:pt x="103" y="232"/>
                  </a:lnTo>
                  <a:lnTo>
                    <a:pt x="92" y="231"/>
                  </a:lnTo>
                  <a:lnTo>
                    <a:pt x="80" y="228"/>
                  </a:lnTo>
                  <a:lnTo>
                    <a:pt x="70" y="224"/>
                  </a:lnTo>
                  <a:lnTo>
                    <a:pt x="60" y="219"/>
                  </a:lnTo>
                  <a:lnTo>
                    <a:pt x="50" y="214"/>
                  </a:lnTo>
                  <a:lnTo>
                    <a:pt x="41" y="206"/>
                  </a:lnTo>
                  <a:lnTo>
                    <a:pt x="33" y="199"/>
                  </a:lnTo>
                  <a:lnTo>
                    <a:pt x="26" y="191"/>
                  </a:lnTo>
                  <a:lnTo>
                    <a:pt x="18" y="182"/>
                  </a:lnTo>
                  <a:lnTo>
                    <a:pt x="13" y="172"/>
                  </a:lnTo>
                  <a:lnTo>
                    <a:pt x="8" y="162"/>
                  </a:lnTo>
                  <a:lnTo>
                    <a:pt x="4" y="152"/>
                  </a:lnTo>
                  <a:lnTo>
                    <a:pt x="1" y="140"/>
                  </a:lnTo>
                  <a:lnTo>
                    <a:pt x="0" y="129"/>
                  </a:lnTo>
                  <a:lnTo>
                    <a:pt x="0" y="117"/>
                  </a:lnTo>
                  <a:lnTo>
                    <a:pt x="0" y="106"/>
                  </a:lnTo>
                  <a:lnTo>
                    <a:pt x="1" y="94"/>
                  </a:lnTo>
                  <a:lnTo>
                    <a:pt x="4" y="83"/>
                  </a:lnTo>
                  <a:lnTo>
                    <a:pt x="8" y="72"/>
                  </a:lnTo>
                  <a:lnTo>
                    <a:pt x="13" y="62"/>
                  </a:lnTo>
                  <a:lnTo>
                    <a:pt x="18" y="52"/>
                  </a:lnTo>
                  <a:lnTo>
                    <a:pt x="26" y="44"/>
                  </a:lnTo>
                  <a:lnTo>
                    <a:pt x="33" y="35"/>
                  </a:lnTo>
                  <a:lnTo>
                    <a:pt x="41" y="28"/>
                  </a:lnTo>
                  <a:lnTo>
                    <a:pt x="50" y="21"/>
                  </a:lnTo>
                  <a:lnTo>
                    <a:pt x="60" y="15"/>
                  </a:lnTo>
                  <a:lnTo>
                    <a:pt x="70" y="11"/>
                  </a:lnTo>
                  <a:lnTo>
                    <a:pt x="80" y="6"/>
                  </a:lnTo>
                  <a:lnTo>
                    <a:pt x="92" y="3"/>
                  </a:lnTo>
                  <a:lnTo>
                    <a:pt x="103" y="2"/>
                  </a:lnTo>
                  <a:lnTo>
                    <a:pt x="115" y="0"/>
                  </a:lnTo>
                  <a:lnTo>
                    <a:pt x="230" y="0"/>
                  </a:lnTo>
                  <a:lnTo>
                    <a:pt x="230" y="117"/>
                  </a:lnTo>
                  <a:lnTo>
                    <a:pt x="230" y="129"/>
                  </a:lnTo>
                  <a:lnTo>
                    <a:pt x="229" y="140"/>
                  </a:lnTo>
                  <a:lnTo>
                    <a:pt x="226" y="150"/>
                  </a:lnTo>
                  <a:lnTo>
                    <a:pt x="221" y="160"/>
                  </a:lnTo>
                  <a:lnTo>
                    <a:pt x="216" y="170"/>
                  </a:lnTo>
                  <a:lnTo>
                    <a:pt x="210" y="180"/>
                  </a:lnTo>
                  <a:lnTo>
                    <a:pt x="204" y="189"/>
                  </a:lnTo>
                  <a:lnTo>
                    <a:pt x="195" y="198"/>
                  </a:lnTo>
                  <a:lnTo>
                    <a:pt x="187" y="205"/>
                  </a:lnTo>
                  <a:lnTo>
                    <a:pt x="178" y="212"/>
                  </a:lnTo>
                  <a:lnTo>
                    <a:pt x="170" y="218"/>
                  </a:lnTo>
                  <a:lnTo>
                    <a:pt x="159" y="224"/>
                  </a:lnTo>
                  <a:lnTo>
                    <a:pt x="148" y="228"/>
                  </a:lnTo>
                  <a:lnTo>
                    <a:pt x="138" y="231"/>
                  </a:lnTo>
                  <a:lnTo>
                    <a:pt x="126" y="232"/>
                  </a:lnTo>
                  <a:lnTo>
                    <a:pt x="115"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48"/>
            <p:cNvSpPr>
              <a:spLocks noEditPoints="1"/>
            </p:cNvSpPr>
            <p:nvPr/>
          </p:nvSpPr>
          <p:spPr bwMode="auto">
            <a:xfrm>
              <a:off x="1524188" y="4756864"/>
              <a:ext cx="112111" cy="112111"/>
            </a:xfrm>
            <a:custGeom>
              <a:avLst/>
              <a:gdLst>
                <a:gd name="T0" fmla="*/ 108 w 231"/>
                <a:gd name="T1" fmla="*/ 39 h 232"/>
                <a:gd name="T2" fmla="*/ 92 w 231"/>
                <a:gd name="T3" fmla="*/ 42 h 232"/>
                <a:gd name="T4" fmla="*/ 72 w 231"/>
                <a:gd name="T5" fmla="*/ 52 h 232"/>
                <a:gd name="T6" fmla="*/ 51 w 231"/>
                <a:gd name="T7" fmla="*/ 72 h 232"/>
                <a:gd name="T8" fmla="*/ 41 w 231"/>
                <a:gd name="T9" fmla="*/ 92 h 232"/>
                <a:gd name="T10" fmla="*/ 38 w 231"/>
                <a:gd name="T11" fmla="*/ 108 h 232"/>
                <a:gd name="T12" fmla="*/ 38 w 231"/>
                <a:gd name="T13" fmla="*/ 124 h 232"/>
                <a:gd name="T14" fmla="*/ 41 w 231"/>
                <a:gd name="T15" fmla="*/ 138 h 232"/>
                <a:gd name="T16" fmla="*/ 51 w 231"/>
                <a:gd name="T17" fmla="*/ 159 h 232"/>
                <a:gd name="T18" fmla="*/ 72 w 231"/>
                <a:gd name="T19" fmla="*/ 180 h 232"/>
                <a:gd name="T20" fmla="*/ 92 w 231"/>
                <a:gd name="T21" fmla="*/ 190 h 232"/>
                <a:gd name="T22" fmla="*/ 108 w 231"/>
                <a:gd name="T23" fmla="*/ 193 h 232"/>
                <a:gd name="T24" fmla="*/ 123 w 231"/>
                <a:gd name="T25" fmla="*/ 193 h 232"/>
                <a:gd name="T26" fmla="*/ 139 w 231"/>
                <a:gd name="T27" fmla="*/ 189 h 232"/>
                <a:gd name="T28" fmla="*/ 159 w 231"/>
                <a:gd name="T29" fmla="*/ 179 h 232"/>
                <a:gd name="T30" fmla="*/ 180 w 231"/>
                <a:gd name="T31" fmla="*/ 156 h 232"/>
                <a:gd name="T32" fmla="*/ 191 w 231"/>
                <a:gd name="T33" fmla="*/ 130 h 232"/>
                <a:gd name="T34" fmla="*/ 192 w 231"/>
                <a:gd name="T35" fmla="*/ 39 h 232"/>
                <a:gd name="T36" fmla="*/ 115 w 231"/>
                <a:gd name="T37" fmla="*/ 232 h 232"/>
                <a:gd name="T38" fmla="*/ 92 w 231"/>
                <a:gd name="T39" fmla="*/ 229 h 232"/>
                <a:gd name="T40" fmla="*/ 70 w 231"/>
                <a:gd name="T41" fmla="*/ 222 h 232"/>
                <a:gd name="T42" fmla="*/ 50 w 231"/>
                <a:gd name="T43" fmla="*/ 212 h 232"/>
                <a:gd name="T44" fmla="*/ 33 w 231"/>
                <a:gd name="T45" fmla="*/ 198 h 232"/>
                <a:gd name="T46" fmla="*/ 18 w 231"/>
                <a:gd name="T47" fmla="*/ 180 h 232"/>
                <a:gd name="T48" fmla="*/ 8 w 231"/>
                <a:gd name="T49" fmla="*/ 162 h 232"/>
                <a:gd name="T50" fmla="*/ 1 w 231"/>
                <a:gd name="T51" fmla="*/ 140 h 232"/>
                <a:gd name="T52" fmla="*/ 0 w 231"/>
                <a:gd name="T53" fmla="*/ 115 h 232"/>
                <a:gd name="T54" fmla="*/ 1 w 231"/>
                <a:gd name="T55" fmla="*/ 92 h 232"/>
                <a:gd name="T56" fmla="*/ 8 w 231"/>
                <a:gd name="T57" fmla="*/ 71 h 232"/>
                <a:gd name="T58" fmla="*/ 18 w 231"/>
                <a:gd name="T59" fmla="*/ 51 h 232"/>
                <a:gd name="T60" fmla="*/ 33 w 231"/>
                <a:gd name="T61" fmla="*/ 35 h 232"/>
                <a:gd name="T62" fmla="*/ 50 w 231"/>
                <a:gd name="T63" fmla="*/ 20 h 232"/>
                <a:gd name="T64" fmla="*/ 70 w 231"/>
                <a:gd name="T65" fmla="*/ 9 h 232"/>
                <a:gd name="T66" fmla="*/ 92 w 231"/>
                <a:gd name="T67" fmla="*/ 3 h 232"/>
                <a:gd name="T68" fmla="*/ 115 w 231"/>
                <a:gd name="T69" fmla="*/ 0 h 232"/>
                <a:gd name="T70" fmla="*/ 231 w 231"/>
                <a:gd name="T71" fmla="*/ 115 h 232"/>
                <a:gd name="T72" fmla="*/ 228 w 231"/>
                <a:gd name="T73" fmla="*/ 138 h 232"/>
                <a:gd name="T74" fmla="*/ 221 w 231"/>
                <a:gd name="T75" fmla="*/ 160 h 232"/>
                <a:gd name="T76" fmla="*/ 210 w 231"/>
                <a:gd name="T77" fmla="*/ 180 h 232"/>
                <a:gd name="T78" fmla="*/ 195 w 231"/>
                <a:gd name="T79" fmla="*/ 198 h 232"/>
                <a:gd name="T80" fmla="*/ 178 w 231"/>
                <a:gd name="T81" fmla="*/ 212 h 232"/>
                <a:gd name="T82" fmla="*/ 159 w 231"/>
                <a:gd name="T83" fmla="*/ 222 h 232"/>
                <a:gd name="T84" fmla="*/ 138 w 231"/>
                <a:gd name="T85" fmla="*/ 229 h 232"/>
                <a:gd name="T86" fmla="*/ 115 w 231"/>
                <a:gd name="T87"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1" h="232">
                  <a:moveTo>
                    <a:pt x="115" y="39"/>
                  </a:moveTo>
                  <a:lnTo>
                    <a:pt x="108" y="39"/>
                  </a:lnTo>
                  <a:lnTo>
                    <a:pt x="99" y="41"/>
                  </a:lnTo>
                  <a:lnTo>
                    <a:pt x="92" y="42"/>
                  </a:lnTo>
                  <a:lnTo>
                    <a:pt x="84" y="45"/>
                  </a:lnTo>
                  <a:lnTo>
                    <a:pt x="72" y="52"/>
                  </a:lnTo>
                  <a:lnTo>
                    <a:pt x="60" y="61"/>
                  </a:lnTo>
                  <a:lnTo>
                    <a:pt x="51" y="72"/>
                  </a:lnTo>
                  <a:lnTo>
                    <a:pt x="44" y="87"/>
                  </a:lnTo>
                  <a:lnTo>
                    <a:pt x="41" y="92"/>
                  </a:lnTo>
                  <a:lnTo>
                    <a:pt x="40" y="101"/>
                  </a:lnTo>
                  <a:lnTo>
                    <a:pt x="38" y="108"/>
                  </a:lnTo>
                  <a:lnTo>
                    <a:pt x="38" y="115"/>
                  </a:lnTo>
                  <a:lnTo>
                    <a:pt x="38" y="124"/>
                  </a:lnTo>
                  <a:lnTo>
                    <a:pt x="40" y="131"/>
                  </a:lnTo>
                  <a:lnTo>
                    <a:pt x="41" y="138"/>
                  </a:lnTo>
                  <a:lnTo>
                    <a:pt x="44" y="146"/>
                  </a:lnTo>
                  <a:lnTo>
                    <a:pt x="51" y="159"/>
                  </a:lnTo>
                  <a:lnTo>
                    <a:pt x="60" y="170"/>
                  </a:lnTo>
                  <a:lnTo>
                    <a:pt x="72" y="180"/>
                  </a:lnTo>
                  <a:lnTo>
                    <a:pt x="84" y="187"/>
                  </a:lnTo>
                  <a:lnTo>
                    <a:pt x="92" y="190"/>
                  </a:lnTo>
                  <a:lnTo>
                    <a:pt x="99" y="192"/>
                  </a:lnTo>
                  <a:lnTo>
                    <a:pt x="108" y="193"/>
                  </a:lnTo>
                  <a:lnTo>
                    <a:pt x="115" y="193"/>
                  </a:lnTo>
                  <a:lnTo>
                    <a:pt x="123" y="193"/>
                  </a:lnTo>
                  <a:lnTo>
                    <a:pt x="131" y="192"/>
                  </a:lnTo>
                  <a:lnTo>
                    <a:pt x="139" y="189"/>
                  </a:lnTo>
                  <a:lnTo>
                    <a:pt x="145" y="186"/>
                  </a:lnTo>
                  <a:lnTo>
                    <a:pt x="159" y="179"/>
                  </a:lnTo>
                  <a:lnTo>
                    <a:pt x="169" y="169"/>
                  </a:lnTo>
                  <a:lnTo>
                    <a:pt x="180" y="156"/>
                  </a:lnTo>
                  <a:lnTo>
                    <a:pt x="187" y="143"/>
                  </a:lnTo>
                  <a:lnTo>
                    <a:pt x="191" y="130"/>
                  </a:lnTo>
                  <a:lnTo>
                    <a:pt x="192" y="115"/>
                  </a:lnTo>
                  <a:lnTo>
                    <a:pt x="192" y="39"/>
                  </a:lnTo>
                  <a:lnTo>
                    <a:pt x="115" y="39"/>
                  </a:lnTo>
                  <a:close/>
                  <a:moveTo>
                    <a:pt x="115" y="232"/>
                  </a:moveTo>
                  <a:lnTo>
                    <a:pt x="103" y="231"/>
                  </a:lnTo>
                  <a:lnTo>
                    <a:pt x="92" y="229"/>
                  </a:lnTo>
                  <a:lnTo>
                    <a:pt x="80" y="226"/>
                  </a:lnTo>
                  <a:lnTo>
                    <a:pt x="70" y="222"/>
                  </a:lnTo>
                  <a:lnTo>
                    <a:pt x="60" y="218"/>
                  </a:lnTo>
                  <a:lnTo>
                    <a:pt x="50" y="212"/>
                  </a:lnTo>
                  <a:lnTo>
                    <a:pt x="41" y="205"/>
                  </a:lnTo>
                  <a:lnTo>
                    <a:pt x="33" y="198"/>
                  </a:lnTo>
                  <a:lnTo>
                    <a:pt x="25" y="190"/>
                  </a:lnTo>
                  <a:lnTo>
                    <a:pt x="18" y="180"/>
                  </a:lnTo>
                  <a:lnTo>
                    <a:pt x="12" y="172"/>
                  </a:lnTo>
                  <a:lnTo>
                    <a:pt x="8" y="162"/>
                  </a:lnTo>
                  <a:lnTo>
                    <a:pt x="4" y="150"/>
                  </a:lnTo>
                  <a:lnTo>
                    <a:pt x="1" y="140"/>
                  </a:lnTo>
                  <a:lnTo>
                    <a:pt x="0" y="128"/>
                  </a:lnTo>
                  <a:lnTo>
                    <a:pt x="0" y="115"/>
                  </a:lnTo>
                  <a:lnTo>
                    <a:pt x="0" y="104"/>
                  </a:lnTo>
                  <a:lnTo>
                    <a:pt x="1" y="92"/>
                  </a:lnTo>
                  <a:lnTo>
                    <a:pt x="4" y="81"/>
                  </a:lnTo>
                  <a:lnTo>
                    <a:pt x="8" y="71"/>
                  </a:lnTo>
                  <a:lnTo>
                    <a:pt x="12" y="61"/>
                  </a:lnTo>
                  <a:lnTo>
                    <a:pt x="18" y="51"/>
                  </a:lnTo>
                  <a:lnTo>
                    <a:pt x="25" y="42"/>
                  </a:lnTo>
                  <a:lnTo>
                    <a:pt x="33" y="35"/>
                  </a:lnTo>
                  <a:lnTo>
                    <a:pt x="41" y="26"/>
                  </a:lnTo>
                  <a:lnTo>
                    <a:pt x="50" y="20"/>
                  </a:lnTo>
                  <a:lnTo>
                    <a:pt x="60" y="15"/>
                  </a:lnTo>
                  <a:lnTo>
                    <a:pt x="70" y="9"/>
                  </a:lnTo>
                  <a:lnTo>
                    <a:pt x="80" y="6"/>
                  </a:lnTo>
                  <a:lnTo>
                    <a:pt x="92" y="3"/>
                  </a:lnTo>
                  <a:lnTo>
                    <a:pt x="103" y="0"/>
                  </a:lnTo>
                  <a:lnTo>
                    <a:pt x="115" y="0"/>
                  </a:lnTo>
                  <a:lnTo>
                    <a:pt x="231" y="0"/>
                  </a:lnTo>
                  <a:lnTo>
                    <a:pt x="231" y="115"/>
                  </a:lnTo>
                  <a:lnTo>
                    <a:pt x="230" y="127"/>
                  </a:lnTo>
                  <a:lnTo>
                    <a:pt x="228" y="138"/>
                  </a:lnTo>
                  <a:lnTo>
                    <a:pt x="226" y="150"/>
                  </a:lnTo>
                  <a:lnTo>
                    <a:pt x="221" y="160"/>
                  </a:lnTo>
                  <a:lnTo>
                    <a:pt x="217" y="170"/>
                  </a:lnTo>
                  <a:lnTo>
                    <a:pt x="210" y="180"/>
                  </a:lnTo>
                  <a:lnTo>
                    <a:pt x="204" y="189"/>
                  </a:lnTo>
                  <a:lnTo>
                    <a:pt x="195" y="198"/>
                  </a:lnTo>
                  <a:lnTo>
                    <a:pt x="188" y="205"/>
                  </a:lnTo>
                  <a:lnTo>
                    <a:pt x="178" y="212"/>
                  </a:lnTo>
                  <a:lnTo>
                    <a:pt x="169" y="218"/>
                  </a:lnTo>
                  <a:lnTo>
                    <a:pt x="159" y="222"/>
                  </a:lnTo>
                  <a:lnTo>
                    <a:pt x="149" y="226"/>
                  </a:lnTo>
                  <a:lnTo>
                    <a:pt x="138" y="229"/>
                  </a:lnTo>
                  <a:lnTo>
                    <a:pt x="126" y="231"/>
                  </a:lnTo>
                  <a:lnTo>
                    <a:pt x="115"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49"/>
            <p:cNvSpPr>
              <a:spLocks/>
            </p:cNvSpPr>
            <p:nvPr/>
          </p:nvSpPr>
          <p:spPr bwMode="auto">
            <a:xfrm>
              <a:off x="1431004" y="4507890"/>
              <a:ext cx="205295" cy="314494"/>
            </a:xfrm>
            <a:custGeom>
              <a:avLst/>
              <a:gdLst>
                <a:gd name="T0" fmla="*/ 37 w 424"/>
                <a:gd name="T1" fmla="*/ 647 h 647"/>
                <a:gd name="T2" fmla="*/ 0 w 424"/>
                <a:gd name="T3" fmla="*/ 647 h 647"/>
                <a:gd name="T4" fmla="*/ 0 w 424"/>
                <a:gd name="T5" fmla="*/ 170 h 647"/>
                <a:gd name="T6" fmla="*/ 424 w 424"/>
                <a:gd name="T7" fmla="*/ 0 h 647"/>
                <a:gd name="T8" fmla="*/ 424 w 424"/>
                <a:gd name="T9" fmla="*/ 530 h 647"/>
                <a:gd name="T10" fmla="*/ 385 w 424"/>
                <a:gd name="T11" fmla="*/ 530 h 647"/>
                <a:gd name="T12" fmla="*/ 385 w 424"/>
                <a:gd name="T13" fmla="*/ 56 h 647"/>
                <a:gd name="T14" fmla="*/ 37 w 424"/>
                <a:gd name="T15" fmla="*/ 196 h 647"/>
                <a:gd name="T16" fmla="*/ 37 w 424"/>
                <a:gd name="T17" fmla="*/ 647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4" h="647">
                  <a:moveTo>
                    <a:pt x="37" y="647"/>
                  </a:moveTo>
                  <a:lnTo>
                    <a:pt x="0" y="647"/>
                  </a:lnTo>
                  <a:lnTo>
                    <a:pt x="0" y="170"/>
                  </a:lnTo>
                  <a:lnTo>
                    <a:pt x="424" y="0"/>
                  </a:lnTo>
                  <a:lnTo>
                    <a:pt x="424" y="530"/>
                  </a:lnTo>
                  <a:lnTo>
                    <a:pt x="385" y="530"/>
                  </a:lnTo>
                  <a:lnTo>
                    <a:pt x="385" y="56"/>
                  </a:lnTo>
                  <a:lnTo>
                    <a:pt x="37" y="196"/>
                  </a:lnTo>
                  <a:lnTo>
                    <a:pt x="37" y="6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50"/>
            <p:cNvSpPr>
              <a:spLocks/>
            </p:cNvSpPr>
            <p:nvPr/>
          </p:nvSpPr>
          <p:spPr bwMode="auto">
            <a:xfrm>
              <a:off x="1435372" y="4579233"/>
              <a:ext cx="195103" cy="91727"/>
            </a:xfrm>
            <a:custGeom>
              <a:avLst/>
              <a:gdLst>
                <a:gd name="T0" fmla="*/ 386 w 400"/>
                <a:gd name="T1" fmla="*/ 0 h 190"/>
                <a:gd name="T2" fmla="*/ 400 w 400"/>
                <a:gd name="T3" fmla="*/ 36 h 190"/>
                <a:gd name="T4" fmla="*/ 14 w 400"/>
                <a:gd name="T5" fmla="*/ 190 h 190"/>
                <a:gd name="T6" fmla="*/ 0 w 400"/>
                <a:gd name="T7" fmla="*/ 154 h 190"/>
                <a:gd name="T8" fmla="*/ 386 w 400"/>
                <a:gd name="T9" fmla="*/ 0 h 190"/>
              </a:gdLst>
              <a:ahLst/>
              <a:cxnLst>
                <a:cxn ang="0">
                  <a:pos x="T0" y="T1"/>
                </a:cxn>
                <a:cxn ang="0">
                  <a:pos x="T2" y="T3"/>
                </a:cxn>
                <a:cxn ang="0">
                  <a:pos x="T4" y="T5"/>
                </a:cxn>
                <a:cxn ang="0">
                  <a:pos x="T6" y="T7"/>
                </a:cxn>
                <a:cxn ang="0">
                  <a:pos x="T8" y="T9"/>
                </a:cxn>
              </a:cxnLst>
              <a:rect l="0" t="0" r="r" b="b"/>
              <a:pathLst>
                <a:path w="400" h="190">
                  <a:moveTo>
                    <a:pt x="386" y="0"/>
                  </a:moveTo>
                  <a:lnTo>
                    <a:pt x="400" y="36"/>
                  </a:lnTo>
                  <a:lnTo>
                    <a:pt x="14" y="190"/>
                  </a:lnTo>
                  <a:lnTo>
                    <a:pt x="0" y="154"/>
                  </a:lnTo>
                  <a:lnTo>
                    <a:pt x="3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4" name="Group 43"/>
          <p:cNvGrpSpPr/>
          <p:nvPr/>
        </p:nvGrpSpPr>
        <p:grpSpPr>
          <a:xfrm>
            <a:off x="966161" y="1970433"/>
            <a:ext cx="498575" cy="500336"/>
            <a:chOff x="2032329" y="3781350"/>
            <a:chExt cx="412045" cy="413501"/>
          </a:xfrm>
          <a:solidFill>
            <a:schemeClr val="bg1"/>
          </a:solidFill>
        </p:grpSpPr>
        <p:sp>
          <p:nvSpPr>
            <p:cNvPr id="45" name="Freeform 414"/>
            <p:cNvSpPr>
              <a:spLocks noEditPoints="1"/>
            </p:cNvSpPr>
            <p:nvPr/>
          </p:nvSpPr>
          <p:spPr bwMode="auto">
            <a:xfrm>
              <a:off x="2032329" y="3781350"/>
              <a:ext cx="412045" cy="413501"/>
            </a:xfrm>
            <a:custGeom>
              <a:avLst/>
              <a:gdLst>
                <a:gd name="T0" fmla="*/ 201 w 850"/>
                <a:gd name="T1" fmla="*/ 808 h 850"/>
                <a:gd name="T2" fmla="*/ 260 w 850"/>
                <a:gd name="T3" fmla="*/ 781 h 850"/>
                <a:gd name="T4" fmla="*/ 294 w 850"/>
                <a:gd name="T5" fmla="*/ 739 h 850"/>
                <a:gd name="T6" fmla="*/ 309 w 850"/>
                <a:gd name="T7" fmla="*/ 693 h 850"/>
                <a:gd name="T8" fmla="*/ 306 w 850"/>
                <a:gd name="T9" fmla="*/ 643 h 850"/>
                <a:gd name="T10" fmla="*/ 298 w 850"/>
                <a:gd name="T11" fmla="*/ 607 h 850"/>
                <a:gd name="T12" fmla="*/ 618 w 850"/>
                <a:gd name="T13" fmla="*/ 297 h 850"/>
                <a:gd name="T14" fmla="*/ 676 w 850"/>
                <a:gd name="T15" fmla="*/ 310 h 850"/>
                <a:gd name="T16" fmla="*/ 739 w 850"/>
                <a:gd name="T17" fmla="*/ 294 h 850"/>
                <a:gd name="T18" fmla="*/ 792 w 850"/>
                <a:gd name="T19" fmla="*/ 244 h 850"/>
                <a:gd name="T20" fmla="*/ 811 w 850"/>
                <a:gd name="T21" fmla="*/ 167 h 850"/>
                <a:gd name="T22" fmla="*/ 748 w 850"/>
                <a:gd name="T23" fmla="*/ 206 h 850"/>
                <a:gd name="T24" fmla="*/ 651 w 850"/>
                <a:gd name="T25" fmla="*/ 203 h 850"/>
                <a:gd name="T26" fmla="*/ 643 w 850"/>
                <a:gd name="T27" fmla="*/ 188 h 850"/>
                <a:gd name="T28" fmla="*/ 648 w 850"/>
                <a:gd name="T29" fmla="*/ 93 h 850"/>
                <a:gd name="T30" fmla="*/ 650 w 850"/>
                <a:gd name="T31" fmla="*/ 42 h 850"/>
                <a:gd name="T32" fmla="*/ 591 w 850"/>
                <a:gd name="T33" fmla="*/ 70 h 850"/>
                <a:gd name="T34" fmla="*/ 556 w 850"/>
                <a:gd name="T35" fmla="*/ 111 h 850"/>
                <a:gd name="T36" fmla="*/ 542 w 850"/>
                <a:gd name="T37" fmla="*/ 159 h 850"/>
                <a:gd name="T38" fmla="*/ 545 w 850"/>
                <a:gd name="T39" fmla="*/ 208 h 850"/>
                <a:gd name="T40" fmla="*/ 550 w 850"/>
                <a:gd name="T41" fmla="*/ 244 h 850"/>
                <a:gd name="T42" fmla="*/ 232 w 850"/>
                <a:gd name="T43" fmla="*/ 553 h 850"/>
                <a:gd name="T44" fmla="*/ 173 w 850"/>
                <a:gd name="T45" fmla="*/ 542 h 850"/>
                <a:gd name="T46" fmla="*/ 110 w 850"/>
                <a:gd name="T47" fmla="*/ 558 h 850"/>
                <a:gd name="T48" fmla="*/ 58 w 850"/>
                <a:gd name="T49" fmla="*/ 607 h 850"/>
                <a:gd name="T50" fmla="*/ 39 w 850"/>
                <a:gd name="T51" fmla="*/ 685 h 850"/>
                <a:gd name="T52" fmla="*/ 103 w 850"/>
                <a:gd name="T53" fmla="*/ 644 h 850"/>
                <a:gd name="T54" fmla="*/ 199 w 850"/>
                <a:gd name="T55" fmla="*/ 647 h 850"/>
                <a:gd name="T56" fmla="*/ 206 w 850"/>
                <a:gd name="T57" fmla="*/ 663 h 850"/>
                <a:gd name="T58" fmla="*/ 202 w 850"/>
                <a:gd name="T59" fmla="*/ 758 h 850"/>
                <a:gd name="T60" fmla="*/ 123 w 850"/>
                <a:gd name="T61" fmla="*/ 843 h 850"/>
                <a:gd name="T62" fmla="*/ 95 w 850"/>
                <a:gd name="T63" fmla="*/ 823 h 850"/>
                <a:gd name="T64" fmla="*/ 169 w 850"/>
                <a:gd name="T65" fmla="*/ 736 h 850"/>
                <a:gd name="T66" fmla="*/ 38 w 850"/>
                <a:gd name="T67" fmla="*/ 755 h 850"/>
                <a:gd name="T68" fmla="*/ 16 w 850"/>
                <a:gd name="T69" fmla="*/ 748 h 850"/>
                <a:gd name="T70" fmla="*/ 0 w 850"/>
                <a:gd name="T71" fmla="*/ 695 h 850"/>
                <a:gd name="T72" fmla="*/ 6 w 850"/>
                <a:gd name="T73" fmla="*/ 631 h 850"/>
                <a:gd name="T74" fmla="*/ 34 w 850"/>
                <a:gd name="T75" fmla="*/ 574 h 850"/>
                <a:gd name="T76" fmla="*/ 93 w 850"/>
                <a:gd name="T77" fmla="*/ 523 h 850"/>
                <a:gd name="T78" fmla="*/ 173 w 850"/>
                <a:gd name="T79" fmla="*/ 503 h 850"/>
                <a:gd name="T80" fmla="*/ 512 w 850"/>
                <a:gd name="T81" fmla="*/ 229 h 850"/>
                <a:gd name="T82" fmla="*/ 502 w 850"/>
                <a:gd name="T83" fmla="*/ 170 h 850"/>
                <a:gd name="T84" fmla="*/ 513 w 850"/>
                <a:gd name="T85" fmla="*/ 113 h 850"/>
                <a:gd name="T86" fmla="*/ 545 w 850"/>
                <a:gd name="T87" fmla="*/ 61 h 850"/>
                <a:gd name="T88" fmla="*/ 610 w 850"/>
                <a:gd name="T89" fmla="*/ 13 h 850"/>
                <a:gd name="T90" fmla="*/ 693 w 850"/>
                <a:gd name="T91" fmla="*/ 2 h 850"/>
                <a:gd name="T92" fmla="*/ 751 w 850"/>
                <a:gd name="T93" fmla="*/ 21 h 850"/>
                <a:gd name="T94" fmla="*/ 754 w 850"/>
                <a:gd name="T95" fmla="*/ 42 h 850"/>
                <a:gd name="T96" fmla="*/ 804 w 850"/>
                <a:gd name="T97" fmla="*/ 100 h 850"/>
                <a:gd name="T98" fmla="*/ 827 w 850"/>
                <a:gd name="T99" fmla="*/ 97 h 850"/>
                <a:gd name="T100" fmla="*/ 844 w 850"/>
                <a:gd name="T101" fmla="*/ 131 h 850"/>
                <a:gd name="T102" fmla="*/ 849 w 850"/>
                <a:gd name="T103" fmla="*/ 195 h 850"/>
                <a:gd name="T104" fmla="*/ 830 w 850"/>
                <a:gd name="T105" fmla="*/ 255 h 850"/>
                <a:gd name="T106" fmla="*/ 787 w 850"/>
                <a:gd name="T107" fmla="*/ 309 h 850"/>
                <a:gd name="T108" fmla="*/ 710 w 850"/>
                <a:gd name="T109" fmla="*/ 345 h 850"/>
                <a:gd name="T110" fmla="*/ 634 w 850"/>
                <a:gd name="T111" fmla="*/ 343 h 850"/>
                <a:gd name="T112" fmla="*/ 346 w 850"/>
                <a:gd name="T113" fmla="*/ 657 h 850"/>
                <a:gd name="T114" fmla="*/ 343 w 850"/>
                <a:gd name="T115" fmla="*/ 716 h 850"/>
                <a:gd name="T116" fmla="*/ 320 w 850"/>
                <a:gd name="T117" fmla="*/ 771 h 850"/>
                <a:gd name="T118" fmla="*/ 270 w 850"/>
                <a:gd name="T119" fmla="*/ 821 h 850"/>
                <a:gd name="T120" fmla="*/ 192 w 850"/>
                <a:gd name="T121" fmla="*/ 850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50" h="850">
                  <a:moveTo>
                    <a:pt x="150" y="810"/>
                  </a:moveTo>
                  <a:lnTo>
                    <a:pt x="162" y="811"/>
                  </a:lnTo>
                  <a:lnTo>
                    <a:pt x="175" y="811"/>
                  </a:lnTo>
                  <a:lnTo>
                    <a:pt x="188" y="811"/>
                  </a:lnTo>
                  <a:lnTo>
                    <a:pt x="201" y="808"/>
                  </a:lnTo>
                  <a:lnTo>
                    <a:pt x="214" y="806"/>
                  </a:lnTo>
                  <a:lnTo>
                    <a:pt x="226" y="801"/>
                  </a:lnTo>
                  <a:lnTo>
                    <a:pt x="238" y="795"/>
                  </a:lnTo>
                  <a:lnTo>
                    <a:pt x="250" y="790"/>
                  </a:lnTo>
                  <a:lnTo>
                    <a:pt x="260" y="781"/>
                  </a:lnTo>
                  <a:lnTo>
                    <a:pt x="270" y="772"/>
                  </a:lnTo>
                  <a:lnTo>
                    <a:pt x="277" y="765"/>
                  </a:lnTo>
                  <a:lnTo>
                    <a:pt x="283" y="757"/>
                  </a:lnTo>
                  <a:lnTo>
                    <a:pt x="288" y="748"/>
                  </a:lnTo>
                  <a:lnTo>
                    <a:pt x="294" y="739"/>
                  </a:lnTo>
                  <a:lnTo>
                    <a:pt x="298" y="731"/>
                  </a:lnTo>
                  <a:lnTo>
                    <a:pt x="301" y="722"/>
                  </a:lnTo>
                  <a:lnTo>
                    <a:pt x="304" y="712"/>
                  </a:lnTo>
                  <a:lnTo>
                    <a:pt x="307" y="702"/>
                  </a:lnTo>
                  <a:lnTo>
                    <a:pt x="309" y="693"/>
                  </a:lnTo>
                  <a:lnTo>
                    <a:pt x="309" y="683"/>
                  </a:lnTo>
                  <a:lnTo>
                    <a:pt x="309" y="673"/>
                  </a:lnTo>
                  <a:lnTo>
                    <a:pt x="309" y="663"/>
                  </a:lnTo>
                  <a:lnTo>
                    <a:pt x="307" y="653"/>
                  </a:lnTo>
                  <a:lnTo>
                    <a:pt x="306" y="643"/>
                  </a:lnTo>
                  <a:lnTo>
                    <a:pt x="301" y="634"/>
                  </a:lnTo>
                  <a:lnTo>
                    <a:pt x="298" y="624"/>
                  </a:lnTo>
                  <a:lnTo>
                    <a:pt x="297" y="618"/>
                  </a:lnTo>
                  <a:lnTo>
                    <a:pt x="297" y="613"/>
                  </a:lnTo>
                  <a:lnTo>
                    <a:pt x="298" y="607"/>
                  </a:lnTo>
                  <a:lnTo>
                    <a:pt x="303" y="602"/>
                  </a:lnTo>
                  <a:lnTo>
                    <a:pt x="602" y="303"/>
                  </a:lnTo>
                  <a:lnTo>
                    <a:pt x="607" y="300"/>
                  </a:lnTo>
                  <a:lnTo>
                    <a:pt x="612" y="297"/>
                  </a:lnTo>
                  <a:lnTo>
                    <a:pt x="618" y="297"/>
                  </a:lnTo>
                  <a:lnTo>
                    <a:pt x="624" y="299"/>
                  </a:lnTo>
                  <a:lnTo>
                    <a:pt x="635" y="303"/>
                  </a:lnTo>
                  <a:lnTo>
                    <a:pt x="650" y="307"/>
                  </a:lnTo>
                  <a:lnTo>
                    <a:pt x="663" y="309"/>
                  </a:lnTo>
                  <a:lnTo>
                    <a:pt x="676" y="310"/>
                  </a:lnTo>
                  <a:lnTo>
                    <a:pt x="690" y="309"/>
                  </a:lnTo>
                  <a:lnTo>
                    <a:pt x="703" y="307"/>
                  </a:lnTo>
                  <a:lnTo>
                    <a:pt x="716" y="304"/>
                  </a:lnTo>
                  <a:lnTo>
                    <a:pt x="728" y="300"/>
                  </a:lnTo>
                  <a:lnTo>
                    <a:pt x="739" y="294"/>
                  </a:lnTo>
                  <a:lnTo>
                    <a:pt x="751" y="287"/>
                  </a:lnTo>
                  <a:lnTo>
                    <a:pt x="762" y="278"/>
                  </a:lnTo>
                  <a:lnTo>
                    <a:pt x="772" y="270"/>
                  </a:lnTo>
                  <a:lnTo>
                    <a:pt x="782" y="258"/>
                  </a:lnTo>
                  <a:lnTo>
                    <a:pt x="792" y="244"/>
                  </a:lnTo>
                  <a:lnTo>
                    <a:pt x="800" y="229"/>
                  </a:lnTo>
                  <a:lnTo>
                    <a:pt x="805" y="215"/>
                  </a:lnTo>
                  <a:lnTo>
                    <a:pt x="810" y="199"/>
                  </a:lnTo>
                  <a:lnTo>
                    <a:pt x="811" y="183"/>
                  </a:lnTo>
                  <a:lnTo>
                    <a:pt x="811" y="167"/>
                  </a:lnTo>
                  <a:lnTo>
                    <a:pt x="810" y="150"/>
                  </a:lnTo>
                  <a:lnTo>
                    <a:pt x="758" y="202"/>
                  </a:lnTo>
                  <a:lnTo>
                    <a:pt x="755" y="203"/>
                  </a:lnTo>
                  <a:lnTo>
                    <a:pt x="752" y="206"/>
                  </a:lnTo>
                  <a:lnTo>
                    <a:pt x="748" y="206"/>
                  </a:lnTo>
                  <a:lnTo>
                    <a:pt x="745" y="208"/>
                  </a:lnTo>
                  <a:lnTo>
                    <a:pt x="663" y="208"/>
                  </a:lnTo>
                  <a:lnTo>
                    <a:pt x="658" y="206"/>
                  </a:lnTo>
                  <a:lnTo>
                    <a:pt x="656" y="206"/>
                  </a:lnTo>
                  <a:lnTo>
                    <a:pt x="651" y="203"/>
                  </a:lnTo>
                  <a:lnTo>
                    <a:pt x="648" y="202"/>
                  </a:lnTo>
                  <a:lnTo>
                    <a:pt x="647" y="199"/>
                  </a:lnTo>
                  <a:lnTo>
                    <a:pt x="644" y="196"/>
                  </a:lnTo>
                  <a:lnTo>
                    <a:pt x="644" y="192"/>
                  </a:lnTo>
                  <a:lnTo>
                    <a:pt x="643" y="188"/>
                  </a:lnTo>
                  <a:lnTo>
                    <a:pt x="643" y="106"/>
                  </a:lnTo>
                  <a:lnTo>
                    <a:pt x="644" y="103"/>
                  </a:lnTo>
                  <a:lnTo>
                    <a:pt x="644" y="98"/>
                  </a:lnTo>
                  <a:lnTo>
                    <a:pt x="647" y="95"/>
                  </a:lnTo>
                  <a:lnTo>
                    <a:pt x="648" y="93"/>
                  </a:lnTo>
                  <a:lnTo>
                    <a:pt x="700" y="41"/>
                  </a:lnTo>
                  <a:lnTo>
                    <a:pt x="689" y="39"/>
                  </a:lnTo>
                  <a:lnTo>
                    <a:pt x="676" y="39"/>
                  </a:lnTo>
                  <a:lnTo>
                    <a:pt x="663" y="39"/>
                  </a:lnTo>
                  <a:lnTo>
                    <a:pt x="650" y="42"/>
                  </a:lnTo>
                  <a:lnTo>
                    <a:pt x="637" y="45"/>
                  </a:lnTo>
                  <a:lnTo>
                    <a:pt x="624" y="49"/>
                  </a:lnTo>
                  <a:lnTo>
                    <a:pt x="612" y="55"/>
                  </a:lnTo>
                  <a:lnTo>
                    <a:pt x="601" y="62"/>
                  </a:lnTo>
                  <a:lnTo>
                    <a:pt x="591" y="70"/>
                  </a:lnTo>
                  <a:lnTo>
                    <a:pt x="581" y="78"/>
                  </a:lnTo>
                  <a:lnTo>
                    <a:pt x="574" y="87"/>
                  </a:lnTo>
                  <a:lnTo>
                    <a:pt x="568" y="94"/>
                  </a:lnTo>
                  <a:lnTo>
                    <a:pt x="562" y="103"/>
                  </a:lnTo>
                  <a:lnTo>
                    <a:pt x="556" y="111"/>
                  </a:lnTo>
                  <a:lnTo>
                    <a:pt x="552" y="120"/>
                  </a:lnTo>
                  <a:lnTo>
                    <a:pt x="549" y="130"/>
                  </a:lnTo>
                  <a:lnTo>
                    <a:pt x="546" y="139"/>
                  </a:lnTo>
                  <a:lnTo>
                    <a:pt x="543" y="149"/>
                  </a:lnTo>
                  <a:lnTo>
                    <a:pt x="542" y="159"/>
                  </a:lnTo>
                  <a:lnTo>
                    <a:pt x="540" y="167"/>
                  </a:lnTo>
                  <a:lnTo>
                    <a:pt x="540" y="178"/>
                  </a:lnTo>
                  <a:lnTo>
                    <a:pt x="542" y="188"/>
                  </a:lnTo>
                  <a:lnTo>
                    <a:pt x="543" y="198"/>
                  </a:lnTo>
                  <a:lnTo>
                    <a:pt x="545" y="208"/>
                  </a:lnTo>
                  <a:lnTo>
                    <a:pt x="548" y="218"/>
                  </a:lnTo>
                  <a:lnTo>
                    <a:pt x="552" y="227"/>
                  </a:lnTo>
                  <a:lnTo>
                    <a:pt x="553" y="232"/>
                  </a:lnTo>
                  <a:lnTo>
                    <a:pt x="553" y="238"/>
                  </a:lnTo>
                  <a:lnTo>
                    <a:pt x="550" y="244"/>
                  </a:lnTo>
                  <a:lnTo>
                    <a:pt x="548" y="248"/>
                  </a:lnTo>
                  <a:lnTo>
                    <a:pt x="248" y="548"/>
                  </a:lnTo>
                  <a:lnTo>
                    <a:pt x="244" y="552"/>
                  </a:lnTo>
                  <a:lnTo>
                    <a:pt x="238" y="553"/>
                  </a:lnTo>
                  <a:lnTo>
                    <a:pt x="232" y="553"/>
                  </a:lnTo>
                  <a:lnTo>
                    <a:pt x="226" y="552"/>
                  </a:lnTo>
                  <a:lnTo>
                    <a:pt x="214" y="548"/>
                  </a:lnTo>
                  <a:lnTo>
                    <a:pt x="201" y="545"/>
                  </a:lnTo>
                  <a:lnTo>
                    <a:pt x="188" y="542"/>
                  </a:lnTo>
                  <a:lnTo>
                    <a:pt x="173" y="542"/>
                  </a:lnTo>
                  <a:lnTo>
                    <a:pt x="160" y="542"/>
                  </a:lnTo>
                  <a:lnTo>
                    <a:pt x="147" y="543"/>
                  </a:lnTo>
                  <a:lnTo>
                    <a:pt x="134" y="548"/>
                  </a:lnTo>
                  <a:lnTo>
                    <a:pt x="123" y="552"/>
                  </a:lnTo>
                  <a:lnTo>
                    <a:pt x="110" y="558"/>
                  </a:lnTo>
                  <a:lnTo>
                    <a:pt x="98" y="564"/>
                  </a:lnTo>
                  <a:lnTo>
                    <a:pt x="88" y="572"/>
                  </a:lnTo>
                  <a:lnTo>
                    <a:pt x="78" y="581"/>
                  </a:lnTo>
                  <a:lnTo>
                    <a:pt x="67" y="594"/>
                  </a:lnTo>
                  <a:lnTo>
                    <a:pt x="58" y="607"/>
                  </a:lnTo>
                  <a:lnTo>
                    <a:pt x="51" y="621"/>
                  </a:lnTo>
                  <a:lnTo>
                    <a:pt x="45" y="637"/>
                  </a:lnTo>
                  <a:lnTo>
                    <a:pt x="41" y="651"/>
                  </a:lnTo>
                  <a:lnTo>
                    <a:pt x="39" y="669"/>
                  </a:lnTo>
                  <a:lnTo>
                    <a:pt x="39" y="685"/>
                  </a:lnTo>
                  <a:lnTo>
                    <a:pt x="41" y="700"/>
                  </a:lnTo>
                  <a:lnTo>
                    <a:pt x="93" y="650"/>
                  </a:lnTo>
                  <a:lnTo>
                    <a:pt x="95" y="647"/>
                  </a:lnTo>
                  <a:lnTo>
                    <a:pt x="98" y="646"/>
                  </a:lnTo>
                  <a:lnTo>
                    <a:pt x="103" y="644"/>
                  </a:lnTo>
                  <a:lnTo>
                    <a:pt x="106" y="644"/>
                  </a:lnTo>
                  <a:lnTo>
                    <a:pt x="188" y="644"/>
                  </a:lnTo>
                  <a:lnTo>
                    <a:pt x="192" y="644"/>
                  </a:lnTo>
                  <a:lnTo>
                    <a:pt x="195" y="646"/>
                  </a:lnTo>
                  <a:lnTo>
                    <a:pt x="199" y="647"/>
                  </a:lnTo>
                  <a:lnTo>
                    <a:pt x="202" y="650"/>
                  </a:lnTo>
                  <a:lnTo>
                    <a:pt x="203" y="653"/>
                  </a:lnTo>
                  <a:lnTo>
                    <a:pt x="205" y="656"/>
                  </a:lnTo>
                  <a:lnTo>
                    <a:pt x="206" y="659"/>
                  </a:lnTo>
                  <a:lnTo>
                    <a:pt x="206" y="663"/>
                  </a:lnTo>
                  <a:lnTo>
                    <a:pt x="206" y="745"/>
                  </a:lnTo>
                  <a:lnTo>
                    <a:pt x="206" y="749"/>
                  </a:lnTo>
                  <a:lnTo>
                    <a:pt x="205" y="752"/>
                  </a:lnTo>
                  <a:lnTo>
                    <a:pt x="203" y="755"/>
                  </a:lnTo>
                  <a:lnTo>
                    <a:pt x="202" y="758"/>
                  </a:lnTo>
                  <a:lnTo>
                    <a:pt x="150" y="810"/>
                  </a:lnTo>
                  <a:close/>
                  <a:moveTo>
                    <a:pt x="175" y="850"/>
                  </a:moveTo>
                  <a:lnTo>
                    <a:pt x="156" y="850"/>
                  </a:lnTo>
                  <a:lnTo>
                    <a:pt x="140" y="847"/>
                  </a:lnTo>
                  <a:lnTo>
                    <a:pt x="123" y="843"/>
                  </a:lnTo>
                  <a:lnTo>
                    <a:pt x="106" y="837"/>
                  </a:lnTo>
                  <a:lnTo>
                    <a:pt x="103" y="834"/>
                  </a:lnTo>
                  <a:lnTo>
                    <a:pt x="98" y="831"/>
                  </a:lnTo>
                  <a:lnTo>
                    <a:pt x="97" y="827"/>
                  </a:lnTo>
                  <a:lnTo>
                    <a:pt x="95" y="823"/>
                  </a:lnTo>
                  <a:lnTo>
                    <a:pt x="94" y="817"/>
                  </a:lnTo>
                  <a:lnTo>
                    <a:pt x="95" y="813"/>
                  </a:lnTo>
                  <a:lnTo>
                    <a:pt x="97" y="808"/>
                  </a:lnTo>
                  <a:lnTo>
                    <a:pt x="100" y="806"/>
                  </a:lnTo>
                  <a:lnTo>
                    <a:pt x="169" y="736"/>
                  </a:lnTo>
                  <a:lnTo>
                    <a:pt x="169" y="682"/>
                  </a:lnTo>
                  <a:lnTo>
                    <a:pt x="114" y="682"/>
                  </a:lnTo>
                  <a:lnTo>
                    <a:pt x="45" y="751"/>
                  </a:lnTo>
                  <a:lnTo>
                    <a:pt x="42" y="754"/>
                  </a:lnTo>
                  <a:lnTo>
                    <a:pt x="38" y="755"/>
                  </a:lnTo>
                  <a:lnTo>
                    <a:pt x="34" y="757"/>
                  </a:lnTo>
                  <a:lnTo>
                    <a:pt x="28" y="755"/>
                  </a:lnTo>
                  <a:lnTo>
                    <a:pt x="23" y="754"/>
                  </a:lnTo>
                  <a:lnTo>
                    <a:pt x="19" y="752"/>
                  </a:lnTo>
                  <a:lnTo>
                    <a:pt x="16" y="748"/>
                  </a:lnTo>
                  <a:lnTo>
                    <a:pt x="13" y="745"/>
                  </a:lnTo>
                  <a:lnTo>
                    <a:pt x="9" y="732"/>
                  </a:lnTo>
                  <a:lnTo>
                    <a:pt x="6" y="719"/>
                  </a:lnTo>
                  <a:lnTo>
                    <a:pt x="3" y="706"/>
                  </a:lnTo>
                  <a:lnTo>
                    <a:pt x="0" y="695"/>
                  </a:lnTo>
                  <a:lnTo>
                    <a:pt x="0" y="682"/>
                  </a:lnTo>
                  <a:lnTo>
                    <a:pt x="0" y="669"/>
                  </a:lnTo>
                  <a:lnTo>
                    <a:pt x="2" y="656"/>
                  </a:lnTo>
                  <a:lnTo>
                    <a:pt x="3" y="643"/>
                  </a:lnTo>
                  <a:lnTo>
                    <a:pt x="6" y="631"/>
                  </a:lnTo>
                  <a:lnTo>
                    <a:pt x="10" y="618"/>
                  </a:lnTo>
                  <a:lnTo>
                    <a:pt x="15" y="607"/>
                  </a:lnTo>
                  <a:lnTo>
                    <a:pt x="21" y="595"/>
                  </a:lnTo>
                  <a:lnTo>
                    <a:pt x="26" y="584"/>
                  </a:lnTo>
                  <a:lnTo>
                    <a:pt x="34" y="574"/>
                  </a:lnTo>
                  <a:lnTo>
                    <a:pt x="42" y="564"/>
                  </a:lnTo>
                  <a:lnTo>
                    <a:pt x="51" y="553"/>
                  </a:lnTo>
                  <a:lnTo>
                    <a:pt x="64" y="542"/>
                  </a:lnTo>
                  <a:lnTo>
                    <a:pt x="78" y="532"/>
                  </a:lnTo>
                  <a:lnTo>
                    <a:pt x="93" y="523"/>
                  </a:lnTo>
                  <a:lnTo>
                    <a:pt x="107" y="516"/>
                  </a:lnTo>
                  <a:lnTo>
                    <a:pt x="123" y="510"/>
                  </a:lnTo>
                  <a:lnTo>
                    <a:pt x="140" y="506"/>
                  </a:lnTo>
                  <a:lnTo>
                    <a:pt x="156" y="503"/>
                  </a:lnTo>
                  <a:lnTo>
                    <a:pt x="173" y="503"/>
                  </a:lnTo>
                  <a:lnTo>
                    <a:pt x="188" y="503"/>
                  </a:lnTo>
                  <a:lnTo>
                    <a:pt x="202" y="504"/>
                  </a:lnTo>
                  <a:lnTo>
                    <a:pt x="216" y="507"/>
                  </a:lnTo>
                  <a:lnTo>
                    <a:pt x="229" y="512"/>
                  </a:lnTo>
                  <a:lnTo>
                    <a:pt x="512" y="229"/>
                  </a:lnTo>
                  <a:lnTo>
                    <a:pt x="507" y="218"/>
                  </a:lnTo>
                  <a:lnTo>
                    <a:pt x="506" y="206"/>
                  </a:lnTo>
                  <a:lnTo>
                    <a:pt x="503" y="195"/>
                  </a:lnTo>
                  <a:lnTo>
                    <a:pt x="503" y="182"/>
                  </a:lnTo>
                  <a:lnTo>
                    <a:pt x="502" y="170"/>
                  </a:lnTo>
                  <a:lnTo>
                    <a:pt x="503" y="159"/>
                  </a:lnTo>
                  <a:lnTo>
                    <a:pt x="504" y="147"/>
                  </a:lnTo>
                  <a:lnTo>
                    <a:pt x="507" y="134"/>
                  </a:lnTo>
                  <a:lnTo>
                    <a:pt x="510" y="123"/>
                  </a:lnTo>
                  <a:lnTo>
                    <a:pt x="513" y="113"/>
                  </a:lnTo>
                  <a:lnTo>
                    <a:pt x="519" y="101"/>
                  </a:lnTo>
                  <a:lnTo>
                    <a:pt x="523" y="91"/>
                  </a:lnTo>
                  <a:lnTo>
                    <a:pt x="530" y="80"/>
                  </a:lnTo>
                  <a:lnTo>
                    <a:pt x="538" y="70"/>
                  </a:lnTo>
                  <a:lnTo>
                    <a:pt x="545" y="61"/>
                  </a:lnTo>
                  <a:lnTo>
                    <a:pt x="553" y="51"/>
                  </a:lnTo>
                  <a:lnTo>
                    <a:pt x="566" y="39"/>
                  </a:lnTo>
                  <a:lnTo>
                    <a:pt x="579" y="29"/>
                  </a:lnTo>
                  <a:lnTo>
                    <a:pt x="594" y="21"/>
                  </a:lnTo>
                  <a:lnTo>
                    <a:pt x="610" y="13"/>
                  </a:lnTo>
                  <a:lnTo>
                    <a:pt x="625" y="8"/>
                  </a:lnTo>
                  <a:lnTo>
                    <a:pt x="641" y="3"/>
                  </a:lnTo>
                  <a:lnTo>
                    <a:pt x="658" y="2"/>
                  </a:lnTo>
                  <a:lnTo>
                    <a:pt x="676" y="0"/>
                  </a:lnTo>
                  <a:lnTo>
                    <a:pt x="693" y="2"/>
                  </a:lnTo>
                  <a:lnTo>
                    <a:pt x="710" y="5"/>
                  </a:lnTo>
                  <a:lnTo>
                    <a:pt x="728" y="9"/>
                  </a:lnTo>
                  <a:lnTo>
                    <a:pt x="743" y="15"/>
                  </a:lnTo>
                  <a:lnTo>
                    <a:pt x="748" y="16"/>
                  </a:lnTo>
                  <a:lnTo>
                    <a:pt x="751" y="21"/>
                  </a:lnTo>
                  <a:lnTo>
                    <a:pt x="754" y="23"/>
                  </a:lnTo>
                  <a:lnTo>
                    <a:pt x="755" y="29"/>
                  </a:lnTo>
                  <a:lnTo>
                    <a:pt x="755" y="34"/>
                  </a:lnTo>
                  <a:lnTo>
                    <a:pt x="755" y="38"/>
                  </a:lnTo>
                  <a:lnTo>
                    <a:pt x="754" y="42"/>
                  </a:lnTo>
                  <a:lnTo>
                    <a:pt x="751" y="46"/>
                  </a:lnTo>
                  <a:lnTo>
                    <a:pt x="682" y="114"/>
                  </a:lnTo>
                  <a:lnTo>
                    <a:pt x="682" y="169"/>
                  </a:lnTo>
                  <a:lnTo>
                    <a:pt x="736" y="169"/>
                  </a:lnTo>
                  <a:lnTo>
                    <a:pt x="804" y="100"/>
                  </a:lnTo>
                  <a:lnTo>
                    <a:pt x="808" y="97"/>
                  </a:lnTo>
                  <a:lnTo>
                    <a:pt x="813" y="95"/>
                  </a:lnTo>
                  <a:lnTo>
                    <a:pt x="817" y="95"/>
                  </a:lnTo>
                  <a:lnTo>
                    <a:pt x="821" y="95"/>
                  </a:lnTo>
                  <a:lnTo>
                    <a:pt x="827" y="97"/>
                  </a:lnTo>
                  <a:lnTo>
                    <a:pt x="830" y="100"/>
                  </a:lnTo>
                  <a:lnTo>
                    <a:pt x="834" y="103"/>
                  </a:lnTo>
                  <a:lnTo>
                    <a:pt x="836" y="107"/>
                  </a:lnTo>
                  <a:lnTo>
                    <a:pt x="841" y="118"/>
                  </a:lnTo>
                  <a:lnTo>
                    <a:pt x="844" y="131"/>
                  </a:lnTo>
                  <a:lnTo>
                    <a:pt x="847" y="144"/>
                  </a:lnTo>
                  <a:lnTo>
                    <a:pt x="849" y="157"/>
                  </a:lnTo>
                  <a:lnTo>
                    <a:pt x="850" y="170"/>
                  </a:lnTo>
                  <a:lnTo>
                    <a:pt x="850" y="182"/>
                  </a:lnTo>
                  <a:lnTo>
                    <a:pt x="849" y="195"/>
                  </a:lnTo>
                  <a:lnTo>
                    <a:pt x="847" y="208"/>
                  </a:lnTo>
                  <a:lnTo>
                    <a:pt x="844" y="221"/>
                  </a:lnTo>
                  <a:lnTo>
                    <a:pt x="840" y="232"/>
                  </a:lnTo>
                  <a:lnTo>
                    <a:pt x="836" y="244"/>
                  </a:lnTo>
                  <a:lnTo>
                    <a:pt x="830" y="255"/>
                  </a:lnTo>
                  <a:lnTo>
                    <a:pt x="824" y="267"/>
                  </a:lnTo>
                  <a:lnTo>
                    <a:pt x="815" y="277"/>
                  </a:lnTo>
                  <a:lnTo>
                    <a:pt x="808" y="287"/>
                  </a:lnTo>
                  <a:lnTo>
                    <a:pt x="800" y="297"/>
                  </a:lnTo>
                  <a:lnTo>
                    <a:pt x="787" y="309"/>
                  </a:lnTo>
                  <a:lnTo>
                    <a:pt x="772" y="319"/>
                  </a:lnTo>
                  <a:lnTo>
                    <a:pt x="758" y="327"/>
                  </a:lnTo>
                  <a:lnTo>
                    <a:pt x="742" y="335"/>
                  </a:lnTo>
                  <a:lnTo>
                    <a:pt x="726" y="340"/>
                  </a:lnTo>
                  <a:lnTo>
                    <a:pt x="710" y="345"/>
                  </a:lnTo>
                  <a:lnTo>
                    <a:pt x="693" y="347"/>
                  </a:lnTo>
                  <a:lnTo>
                    <a:pt x="676" y="347"/>
                  </a:lnTo>
                  <a:lnTo>
                    <a:pt x="661" y="347"/>
                  </a:lnTo>
                  <a:lnTo>
                    <a:pt x="648" y="346"/>
                  </a:lnTo>
                  <a:lnTo>
                    <a:pt x="634" y="343"/>
                  </a:lnTo>
                  <a:lnTo>
                    <a:pt x="621" y="339"/>
                  </a:lnTo>
                  <a:lnTo>
                    <a:pt x="339" y="621"/>
                  </a:lnTo>
                  <a:lnTo>
                    <a:pt x="342" y="633"/>
                  </a:lnTo>
                  <a:lnTo>
                    <a:pt x="345" y="644"/>
                  </a:lnTo>
                  <a:lnTo>
                    <a:pt x="346" y="657"/>
                  </a:lnTo>
                  <a:lnTo>
                    <a:pt x="347" y="669"/>
                  </a:lnTo>
                  <a:lnTo>
                    <a:pt x="347" y="680"/>
                  </a:lnTo>
                  <a:lnTo>
                    <a:pt x="347" y="693"/>
                  </a:lnTo>
                  <a:lnTo>
                    <a:pt x="346" y="705"/>
                  </a:lnTo>
                  <a:lnTo>
                    <a:pt x="343" y="716"/>
                  </a:lnTo>
                  <a:lnTo>
                    <a:pt x="340" y="728"/>
                  </a:lnTo>
                  <a:lnTo>
                    <a:pt x="336" y="739"/>
                  </a:lnTo>
                  <a:lnTo>
                    <a:pt x="332" y="749"/>
                  </a:lnTo>
                  <a:lnTo>
                    <a:pt x="326" y="761"/>
                  </a:lnTo>
                  <a:lnTo>
                    <a:pt x="320" y="771"/>
                  </a:lnTo>
                  <a:lnTo>
                    <a:pt x="313" y="781"/>
                  </a:lnTo>
                  <a:lnTo>
                    <a:pt x="306" y="791"/>
                  </a:lnTo>
                  <a:lnTo>
                    <a:pt x="297" y="800"/>
                  </a:lnTo>
                  <a:lnTo>
                    <a:pt x="284" y="811"/>
                  </a:lnTo>
                  <a:lnTo>
                    <a:pt x="270" y="821"/>
                  </a:lnTo>
                  <a:lnTo>
                    <a:pt x="255" y="830"/>
                  </a:lnTo>
                  <a:lnTo>
                    <a:pt x="241" y="837"/>
                  </a:lnTo>
                  <a:lnTo>
                    <a:pt x="225" y="843"/>
                  </a:lnTo>
                  <a:lnTo>
                    <a:pt x="208" y="847"/>
                  </a:lnTo>
                  <a:lnTo>
                    <a:pt x="192" y="850"/>
                  </a:lnTo>
                  <a:lnTo>
                    <a:pt x="175" y="8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15"/>
            <p:cNvSpPr>
              <a:spLocks noEditPoints="1"/>
            </p:cNvSpPr>
            <p:nvPr/>
          </p:nvSpPr>
          <p:spPr bwMode="auto">
            <a:xfrm>
              <a:off x="2291495" y="4041972"/>
              <a:ext cx="152879" cy="152879"/>
            </a:xfrm>
            <a:custGeom>
              <a:avLst/>
              <a:gdLst>
                <a:gd name="T0" fmla="*/ 210 w 315"/>
                <a:gd name="T1" fmla="*/ 265 h 315"/>
                <a:gd name="T2" fmla="*/ 223 w 315"/>
                <a:gd name="T3" fmla="*/ 273 h 315"/>
                <a:gd name="T4" fmla="*/ 237 w 315"/>
                <a:gd name="T5" fmla="*/ 276 h 315"/>
                <a:gd name="T6" fmla="*/ 252 w 315"/>
                <a:gd name="T7" fmla="*/ 273 h 315"/>
                <a:gd name="T8" fmla="*/ 265 w 315"/>
                <a:gd name="T9" fmla="*/ 265 h 315"/>
                <a:gd name="T10" fmla="*/ 273 w 315"/>
                <a:gd name="T11" fmla="*/ 253 h 315"/>
                <a:gd name="T12" fmla="*/ 276 w 315"/>
                <a:gd name="T13" fmla="*/ 237 h 315"/>
                <a:gd name="T14" fmla="*/ 273 w 315"/>
                <a:gd name="T15" fmla="*/ 223 h 315"/>
                <a:gd name="T16" fmla="*/ 265 w 315"/>
                <a:gd name="T17" fmla="*/ 211 h 315"/>
                <a:gd name="T18" fmla="*/ 47 w 315"/>
                <a:gd name="T19" fmla="*/ 102 h 315"/>
                <a:gd name="T20" fmla="*/ 230 w 315"/>
                <a:gd name="T21" fmla="*/ 315 h 315"/>
                <a:gd name="T22" fmla="*/ 216 w 315"/>
                <a:gd name="T23" fmla="*/ 312 h 315"/>
                <a:gd name="T24" fmla="*/ 201 w 315"/>
                <a:gd name="T25" fmla="*/ 307 h 315"/>
                <a:gd name="T26" fmla="*/ 188 w 315"/>
                <a:gd name="T27" fmla="*/ 298 h 315"/>
                <a:gd name="T28" fmla="*/ 5 w 315"/>
                <a:gd name="T29" fmla="*/ 115 h 315"/>
                <a:gd name="T30" fmla="*/ 1 w 315"/>
                <a:gd name="T31" fmla="*/ 109 h 315"/>
                <a:gd name="T32" fmla="*/ 0 w 315"/>
                <a:gd name="T33" fmla="*/ 102 h 315"/>
                <a:gd name="T34" fmla="*/ 1 w 315"/>
                <a:gd name="T35" fmla="*/ 95 h 315"/>
                <a:gd name="T36" fmla="*/ 5 w 315"/>
                <a:gd name="T37" fmla="*/ 88 h 315"/>
                <a:gd name="T38" fmla="*/ 90 w 315"/>
                <a:gd name="T39" fmla="*/ 4 h 315"/>
                <a:gd name="T40" fmla="*/ 98 w 315"/>
                <a:gd name="T41" fmla="*/ 1 h 315"/>
                <a:gd name="T42" fmla="*/ 105 w 315"/>
                <a:gd name="T43" fmla="*/ 1 h 315"/>
                <a:gd name="T44" fmla="*/ 112 w 315"/>
                <a:gd name="T45" fmla="*/ 4 h 315"/>
                <a:gd name="T46" fmla="*/ 292 w 315"/>
                <a:gd name="T47" fmla="*/ 184 h 315"/>
                <a:gd name="T48" fmla="*/ 302 w 315"/>
                <a:gd name="T49" fmla="*/ 196 h 315"/>
                <a:gd name="T50" fmla="*/ 309 w 315"/>
                <a:gd name="T51" fmla="*/ 209 h 315"/>
                <a:gd name="T52" fmla="*/ 314 w 315"/>
                <a:gd name="T53" fmla="*/ 223 h 315"/>
                <a:gd name="T54" fmla="*/ 315 w 315"/>
                <a:gd name="T55" fmla="*/ 237 h 315"/>
                <a:gd name="T56" fmla="*/ 314 w 315"/>
                <a:gd name="T57" fmla="*/ 253 h 315"/>
                <a:gd name="T58" fmla="*/ 309 w 315"/>
                <a:gd name="T59" fmla="*/ 268 h 315"/>
                <a:gd name="T60" fmla="*/ 302 w 315"/>
                <a:gd name="T61" fmla="*/ 281 h 315"/>
                <a:gd name="T62" fmla="*/ 292 w 315"/>
                <a:gd name="T63" fmla="*/ 292 h 315"/>
                <a:gd name="T64" fmla="*/ 280 w 315"/>
                <a:gd name="T65" fmla="*/ 302 h 315"/>
                <a:gd name="T66" fmla="*/ 267 w 315"/>
                <a:gd name="T67" fmla="*/ 309 h 315"/>
                <a:gd name="T68" fmla="*/ 253 w 315"/>
                <a:gd name="T69" fmla="*/ 314 h 315"/>
                <a:gd name="T70" fmla="*/ 237 w 315"/>
                <a:gd name="T71" fmla="*/ 315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5" h="315">
                  <a:moveTo>
                    <a:pt x="47" y="102"/>
                  </a:moveTo>
                  <a:lnTo>
                    <a:pt x="210" y="265"/>
                  </a:lnTo>
                  <a:lnTo>
                    <a:pt x="216" y="271"/>
                  </a:lnTo>
                  <a:lnTo>
                    <a:pt x="223" y="273"/>
                  </a:lnTo>
                  <a:lnTo>
                    <a:pt x="230" y="276"/>
                  </a:lnTo>
                  <a:lnTo>
                    <a:pt x="237" y="276"/>
                  </a:lnTo>
                  <a:lnTo>
                    <a:pt x="244" y="276"/>
                  </a:lnTo>
                  <a:lnTo>
                    <a:pt x="252" y="273"/>
                  </a:lnTo>
                  <a:lnTo>
                    <a:pt x="259" y="271"/>
                  </a:lnTo>
                  <a:lnTo>
                    <a:pt x="265" y="265"/>
                  </a:lnTo>
                  <a:lnTo>
                    <a:pt x="270" y="259"/>
                  </a:lnTo>
                  <a:lnTo>
                    <a:pt x="273" y="253"/>
                  </a:lnTo>
                  <a:lnTo>
                    <a:pt x="276" y="246"/>
                  </a:lnTo>
                  <a:lnTo>
                    <a:pt x="276" y="237"/>
                  </a:lnTo>
                  <a:lnTo>
                    <a:pt x="276" y="230"/>
                  </a:lnTo>
                  <a:lnTo>
                    <a:pt x="273" y="223"/>
                  </a:lnTo>
                  <a:lnTo>
                    <a:pt x="270" y="217"/>
                  </a:lnTo>
                  <a:lnTo>
                    <a:pt x="265" y="211"/>
                  </a:lnTo>
                  <a:lnTo>
                    <a:pt x="100" y="47"/>
                  </a:lnTo>
                  <a:lnTo>
                    <a:pt x="47" y="102"/>
                  </a:lnTo>
                  <a:close/>
                  <a:moveTo>
                    <a:pt x="237" y="315"/>
                  </a:moveTo>
                  <a:lnTo>
                    <a:pt x="230" y="315"/>
                  </a:lnTo>
                  <a:lnTo>
                    <a:pt x="223" y="314"/>
                  </a:lnTo>
                  <a:lnTo>
                    <a:pt x="216" y="312"/>
                  </a:lnTo>
                  <a:lnTo>
                    <a:pt x="208" y="309"/>
                  </a:lnTo>
                  <a:lnTo>
                    <a:pt x="201" y="307"/>
                  </a:lnTo>
                  <a:lnTo>
                    <a:pt x="195" y="302"/>
                  </a:lnTo>
                  <a:lnTo>
                    <a:pt x="188" y="298"/>
                  </a:lnTo>
                  <a:lnTo>
                    <a:pt x="183" y="292"/>
                  </a:lnTo>
                  <a:lnTo>
                    <a:pt x="5" y="115"/>
                  </a:lnTo>
                  <a:lnTo>
                    <a:pt x="3" y="112"/>
                  </a:lnTo>
                  <a:lnTo>
                    <a:pt x="1" y="109"/>
                  </a:lnTo>
                  <a:lnTo>
                    <a:pt x="0" y="105"/>
                  </a:lnTo>
                  <a:lnTo>
                    <a:pt x="0" y="102"/>
                  </a:lnTo>
                  <a:lnTo>
                    <a:pt x="0" y="98"/>
                  </a:lnTo>
                  <a:lnTo>
                    <a:pt x="1" y="95"/>
                  </a:lnTo>
                  <a:lnTo>
                    <a:pt x="3" y="90"/>
                  </a:lnTo>
                  <a:lnTo>
                    <a:pt x="5" y="88"/>
                  </a:lnTo>
                  <a:lnTo>
                    <a:pt x="87" y="6"/>
                  </a:lnTo>
                  <a:lnTo>
                    <a:pt x="90" y="4"/>
                  </a:lnTo>
                  <a:lnTo>
                    <a:pt x="93" y="1"/>
                  </a:lnTo>
                  <a:lnTo>
                    <a:pt x="98" y="1"/>
                  </a:lnTo>
                  <a:lnTo>
                    <a:pt x="100" y="0"/>
                  </a:lnTo>
                  <a:lnTo>
                    <a:pt x="105" y="1"/>
                  </a:lnTo>
                  <a:lnTo>
                    <a:pt x="109" y="1"/>
                  </a:lnTo>
                  <a:lnTo>
                    <a:pt x="112" y="4"/>
                  </a:lnTo>
                  <a:lnTo>
                    <a:pt x="115" y="6"/>
                  </a:lnTo>
                  <a:lnTo>
                    <a:pt x="292" y="184"/>
                  </a:lnTo>
                  <a:lnTo>
                    <a:pt x="298" y="188"/>
                  </a:lnTo>
                  <a:lnTo>
                    <a:pt x="302" y="196"/>
                  </a:lnTo>
                  <a:lnTo>
                    <a:pt x="306" y="201"/>
                  </a:lnTo>
                  <a:lnTo>
                    <a:pt x="309" y="209"/>
                  </a:lnTo>
                  <a:lnTo>
                    <a:pt x="312" y="216"/>
                  </a:lnTo>
                  <a:lnTo>
                    <a:pt x="314" y="223"/>
                  </a:lnTo>
                  <a:lnTo>
                    <a:pt x="315" y="230"/>
                  </a:lnTo>
                  <a:lnTo>
                    <a:pt x="315" y="237"/>
                  </a:lnTo>
                  <a:lnTo>
                    <a:pt x="315" y="246"/>
                  </a:lnTo>
                  <a:lnTo>
                    <a:pt x="314" y="253"/>
                  </a:lnTo>
                  <a:lnTo>
                    <a:pt x="312" y="260"/>
                  </a:lnTo>
                  <a:lnTo>
                    <a:pt x="309" y="268"/>
                  </a:lnTo>
                  <a:lnTo>
                    <a:pt x="306" y="275"/>
                  </a:lnTo>
                  <a:lnTo>
                    <a:pt x="302" y="281"/>
                  </a:lnTo>
                  <a:lnTo>
                    <a:pt x="298" y="286"/>
                  </a:lnTo>
                  <a:lnTo>
                    <a:pt x="292" y="292"/>
                  </a:lnTo>
                  <a:lnTo>
                    <a:pt x="286" y="298"/>
                  </a:lnTo>
                  <a:lnTo>
                    <a:pt x="280" y="302"/>
                  </a:lnTo>
                  <a:lnTo>
                    <a:pt x="275" y="307"/>
                  </a:lnTo>
                  <a:lnTo>
                    <a:pt x="267" y="309"/>
                  </a:lnTo>
                  <a:lnTo>
                    <a:pt x="260" y="312"/>
                  </a:lnTo>
                  <a:lnTo>
                    <a:pt x="253" y="314"/>
                  </a:lnTo>
                  <a:lnTo>
                    <a:pt x="246" y="315"/>
                  </a:lnTo>
                  <a:lnTo>
                    <a:pt x="237" y="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16"/>
            <p:cNvSpPr>
              <a:spLocks/>
            </p:cNvSpPr>
            <p:nvPr/>
          </p:nvSpPr>
          <p:spPr bwMode="auto">
            <a:xfrm>
              <a:off x="2100760" y="3851237"/>
              <a:ext cx="120847" cy="120847"/>
            </a:xfrm>
            <a:custGeom>
              <a:avLst/>
              <a:gdLst>
                <a:gd name="T0" fmla="*/ 27 w 248"/>
                <a:gd name="T1" fmla="*/ 0 h 248"/>
                <a:gd name="T2" fmla="*/ 248 w 248"/>
                <a:gd name="T3" fmla="*/ 220 h 248"/>
                <a:gd name="T4" fmla="*/ 220 w 248"/>
                <a:gd name="T5" fmla="*/ 248 h 248"/>
                <a:gd name="T6" fmla="*/ 0 w 248"/>
                <a:gd name="T7" fmla="*/ 27 h 248"/>
                <a:gd name="T8" fmla="*/ 27 w 248"/>
                <a:gd name="T9" fmla="*/ 0 h 248"/>
              </a:gdLst>
              <a:ahLst/>
              <a:cxnLst>
                <a:cxn ang="0">
                  <a:pos x="T0" y="T1"/>
                </a:cxn>
                <a:cxn ang="0">
                  <a:pos x="T2" y="T3"/>
                </a:cxn>
                <a:cxn ang="0">
                  <a:pos x="T4" y="T5"/>
                </a:cxn>
                <a:cxn ang="0">
                  <a:pos x="T6" y="T7"/>
                </a:cxn>
                <a:cxn ang="0">
                  <a:pos x="T8" y="T9"/>
                </a:cxn>
              </a:cxnLst>
              <a:rect l="0" t="0" r="r" b="b"/>
              <a:pathLst>
                <a:path w="248" h="248">
                  <a:moveTo>
                    <a:pt x="27" y="0"/>
                  </a:moveTo>
                  <a:lnTo>
                    <a:pt x="248" y="220"/>
                  </a:lnTo>
                  <a:lnTo>
                    <a:pt x="220" y="248"/>
                  </a:lnTo>
                  <a:lnTo>
                    <a:pt x="0" y="27"/>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7"/>
            <p:cNvSpPr>
              <a:spLocks/>
            </p:cNvSpPr>
            <p:nvPr/>
          </p:nvSpPr>
          <p:spPr bwMode="auto">
            <a:xfrm>
              <a:off x="2271111" y="4021588"/>
              <a:ext cx="99007" cy="97551"/>
            </a:xfrm>
            <a:custGeom>
              <a:avLst/>
              <a:gdLst>
                <a:gd name="T0" fmla="*/ 19 w 202"/>
                <a:gd name="T1" fmla="*/ 202 h 202"/>
                <a:gd name="T2" fmla="*/ 16 w 202"/>
                <a:gd name="T3" fmla="*/ 202 h 202"/>
                <a:gd name="T4" fmla="*/ 12 w 202"/>
                <a:gd name="T5" fmla="*/ 202 h 202"/>
                <a:gd name="T6" fmla="*/ 9 w 202"/>
                <a:gd name="T7" fmla="*/ 199 h 202"/>
                <a:gd name="T8" fmla="*/ 6 w 202"/>
                <a:gd name="T9" fmla="*/ 198 h 202"/>
                <a:gd name="T10" fmla="*/ 3 w 202"/>
                <a:gd name="T11" fmla="*/ 193 h 202"/>
                <a:gd name="T12" fmla="*/ 2 w 202"/>
                <a:gd name="T13" fmla="*/ 191 h 202"/>
                <a:gd name="T14" fmla="*/ 0 w 202"/>
                <a:gd name="T15" fmla="*/ 188 h 202"/>
                <a:gd name="T16" fmla="*/ 0 w 202"/>
                <a:gd name="T17" fmla="*/ 183 h 202"/>
                <a:gd name="T18" fmla="*/ 0 w 202"/>
                <a:gd name="T19" fmla="*/ 180 h 202"/>
                <a:gd name="T20" fmla="*/ 2 w 202"/>
                <a:gd name="T21" fmla="*/ 176 h 202"/>
                <a:gd name="T22" fmla="*/ 3 w 202"/>
                <a:gd name="T23" fmla="*/ 173 h 202"/>
                <a:gd name="T24" fmla="*/ 6 w 202"/>
                <a:gd name="T25" fmla="*/ 170 h 202"/>
                <a:gd name="T26" fmla="*/ 169 w 202"/>
                <a:gd name="T27" fmla="*/ 6 h 202"/>
                <a:gd name="T28" fmla="*/ 173 w 202"/>
                <a:gd name="T29" fmla="*/ 3 h 202"/>
                <a:gd name="T30" fmla="*/ 176 w 202"/>
                <a:gd name="T31" fmla="*/ 2 h 202"/>
                <a:gd name="T32" fmla="*/ 179 w 202"/>
                <a:gd name="T33" fmla="*/ 0 h 202"/>
                <a:gd name="T34" fmla="*/ 183 w 202"/>
                <a:gd name="T35" fmla="*/ 0 h 202"/>
                <a:gd name="T36" fmla="*/ 186 w 202"/>
                <a:gd name="T37" fmla="*/ 0 h 202"/>
                <a:gd name="T38" fmla="*/ 190 w 202"/>
                <a:gd name="T39" fmla="*/ 2 h 202"/>
                <a:gd name="T40" fmla="*/ 193 w 202"/>
                <a:gd name="T41" fmla="*/ 3 h 202"/>
                <a:gd name="T42" fmla="*/ 196 w 202"/>
                <a:gd name="T43" fmla="*/ 6 h 202"/>
                <a:gd name="T44" fmla="*/ 199 w 202"/>
                <a:gd name="T45" fmla="*/ 9 h 202"/>
                <a:gd name="T46" fmla="*/ 200 w 202"/>
                <a:gd name="T47" fmla="*/ 12 h 202"/>
                <a:gd name="T48" fmla="*/ 202 w 202"/>
                <a:gd name="T49" fmla="*/ 16 h 202"/>
                <a:gd name="T50" fmla="*/ 202 w 202"/>
                <a:gd name="T51" fmla="*/ 19 h 202"/>
                <a:gd name="T52" fmla="*/ 202 w 202"/>
                <a:gd name="T53" fmla="*/ 23 h 202"/>
                <a:gd name="T54" fmla="*/ 200 w 202"/>
                <a:gd name="T55" fmla="*/ 26 h 202"/>
                <a:gd name="T56" fmla="*/ 199 w 202"/>
                <a:gd name="T57" fmla="*/ 31 h 202"/>
                <a:gd name="T58" fmla="*/ 196 w 202"/>
                <a:gd name="T59" fmla="*/ 34 h 202"/>
                <a:gd name="T60" fmla="*/ 33 w 202"/>
                <a:gd name="T61" fmla="*/ 198 h 202"/>
                <a:gd name="T62" fmla="*/ 31 w 202"/>
                <a:gd name="T63" fmla="*/ 199 h 202"/>
                <a:gd name="T64" fmla="*/ 26 w 202"/>
                <a:gd name="T65" fmla="*/ 202 h 202"/>
                <a:gd name="T66" fmla="*/ 23 w 202"/>
                <a:gd name="T67" fmla="*/ 202 h 202"/>
                <a:gd name="T68" fmla="*/ 19 w 202"/>
                <a:gd name="T69"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2" h="202">
                  <a:moveTo>
                    <a:pt x="19" y="202"/>
                  </a:moveTo>
                  <a:lnTo>
                    <a:pt x="16" y="202"/>
                  </a:lnTo>
                  <a:lnTo>
                    <a:pt x="12" y="202"/>
                  </a:lnTo>
                  <a:lnTo>
                    <a:pt x="9" y="199"/>
                  </a:lnTo>
                  <a:lnTo>
                    <a:pt x="6" y="198"/>
                  </a:lnTo>
                  <a:lnTo>
                    <a:pt x="3" y="193"/>
                  </a:lnTo>
                  <a:lnTo>
                    <a:pt x="2" y="191"/>
                  </a:lnTo>
                  <a:lnTo>
                    <a:pt x="0" y="188"/>
                  </a:lnTo>
                  <a:lnTo>
                    <a:pt x="0" y="183"/>
                  </a:lnTo>
                  <a:lnTo>
                    <a:pt x="0" y="180"/>
                  </a:lnTo>
                  <a:lnTo>
                    <a:pt x="2" y="176"/>
                  </a:lnTo>
                  <a:lnTo>
                    <a:pt x="3" y="173"/>
                  </a:lnTo>
                  <a:lnTo>
                    <a:pt x="6" y="170"/>
                  </a:lnTo>
                  <a:lnTo>
                    <a:pt x="169" y="6"/>
                  </a:lnTo>
                  <a:lnTo>
                    <a:pt x="173" y="3"/>
                  </a:lnTo>
                  <a:lnTo>
                    <a:pt x="176" y="2"/>
                  </a:lnTo>
                  <a:lnTo>
                    <a:pt x="179" y="0"/>
                  </a:lnTo>
                  <a:lnTo>
                    <a:pt x="183" y="0"/>
                  </a:lnTo>
                  <a:lnTo>
                    <a:pt x="186" y="0"/>
                  </a:lnTo>
                  <a:lnTo>
                    <a:pt x="190" y="2"/>
                  </a:lnTo>
                  <a:lnTo>
                    <a:pt x="193" y="3"/>
                  </a:lnTo>
                  <a:lnTo>
                    <a:pt x="196" y="6"/>
                  </a:lnTo>
                  <a:lnTo>
                    <a:pt x="199" y="9"/>
                  </a:lnTo>
                  <a:lnTo>
                    <a:pt x="200" y="12"/>
                  </a:lnTo>
                  <a:lnTo>
                    <a:pt x="202" y="16"/>
                  </a:lnTo>
                  <a:lnTo>
                    <a:pt x="202" y="19"/>
                  </a:lnTo>
                  <a:lnTo>
                    <a:pt x="202" y="23"/>
                  </a:lnTo>
                  <a:lnTo>
                    <a:pt x="200" y="26"/>
                  </a:lnTo>
                  <a:lnTo>
                    <a:pt x="199" y="31"/>
                  </a:lnTo>
                  <a:lnTo>
                    <a:pt x="196" y="34"/>
                  </a:lnTo>
                  <a:lnTo>
                    <a:pt x="33" y="198"/>
                  </a:lnTo>
                  <a:lnTo>
                    <a:pt x="31" y="199"/>
                  </a:lnTo>
                  <a:lnTo>
                    <a:pt x="26" y="202"/>
                  </a:lnTo>
                  <a:lnTo>
                    <a:pt x="23" y="202"/>
                  </a:lnTo>
                  <a:lnTo>
                    <a:pt x="19"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18"/>
            <p:cNvSpPr>
              <a:spLocks noEditPoints="1"/>
            </p:cNvSpPr>
            <p:nvPr/>
          </p:nvSpPr>
          <p:spPr bwMode="auto">
            <a:xfrm>
              <a:off x="2032329" y="3781350"/>
              <a:ext cx="97551" cy="99007"/>
            </a:xfrm>
            <a:custGeom>
              <a:avLst/>
              <a:gdLst>
                <a:gd name="T0" fmla="*/ 46 w 203"/>
                <a:gd name="T1" fmla="*/ 74 h 203"/>
                <a:gd name="T2" fmla="*/ 129 w 203"/>
                <a:gd name="T3" fmla="*/ 156 h 203"/>
                <a:gd name="T4" fmla="*/ 156 w 203"/>
                <a:gd name="T5" fmla="*/ 129 h 203"/>
                <a:gd name="T6" fmla="*/ 74 w 203"/>
                <a:gd name="T7" fmla="*/ 46 h 203"/>
                <a:gd name="T8" fmla="*/ 46 w 203"/>
                <a:gd name="T9" fmla="*/ 74 h 203"/>
                <a:gd name="T10" fmla="*/ 129 w 203"/>
                <a:gd name="T11" fmla="*/ 203 h 203"/>
                <a:gd name="T12" fmla="*/ 126 w 203"/>
                <a:gd name="T13" fmla="*/ 202 h 203"/>
                <a:gd name="T14" fmla="*/ 121 w 203"/>
                <a:gd name="T15" fmla="*/ 202 h 203"/>
                <a:gd name="T16" fmla="*/ 118 w 203"/>
                <a:gd name="T17" fmla="*/ 199 h 203"/>
                <a:gd name="T18" fmla="*/ 116 w 203"/>
                <a:gd name="T19" fmla="*/ 198 h 203"/>
                <a:gd name="T20" fmla="*/ 6 w 203"/>
                <a:gd name="T21" fmla="*/ 88 h 203"/>
                <a:gd name="T22" fmla="*/ 3 w 203"/>
                <a:gd name="T23" fmla="*/ 85 h 203"/>
                <a:gd name="T24" fmla="*/ 2 w 203"/>
                <a:gd name="T25" fmla="*/ 82 h 203"/>
                <a:gd name="T26" fmla="*/ 0 w 203"/>
                <a:gd name="T27" fmla="*/ 78 h 203"/>
                <a:gd name="T28" fmla="*/ 0 w 203"/>
                <a:gd name="T29" fmla="*/ 74 h 203"/>
                <a:gd name="T30" fmla="*/ 0 w 203"/>
                <a:gd name="T31" fmla="*/ 71 h 203"/>
                <a:gd name="T32" fmla="*/ 2 w 203"/>
                <a:gd name="T33" fmla="*/ 67 h 203"/>
                <a:gd name="T34" fmla="*/ 3 w 203"/>
                <a:gd name="T35" fmla="*/ 64 h 203"/>
                <a:gd name="T36" fmla="*/ 6 w 203"/>
                <a:gd name="T37" fmla="*/ 61 h 203"/>
                <a:gd name="T38" fmla="*/ 61 w 203"/>
                <a:gd name="T39" fmla="*/ 6 h 203"/>
                <a:gd name="T40" fmla="*/ 64 w 203"/>
                <a:gd name="T41" fmla="*/ 3 h 203"/>
                <a:gd name="T42" fmla="*/ 67 w 203"/>
                <a:gd name="T43" fmla="*/ 2 h 203"/>
                <a:gd name="T44" fmla="*/ 71 w 203"/>
                <a:gd name="T45" fmla="*/ 0 h 203"/>
                <a:gd name="T46" fmla="*/ 74 w 203"/>
                <a:gd name="T47" fmla="*/ 0 h 203"/>
                <a:gd name="T48" fmla="*/ 78 w 203"/>
                <a:gd name="T49" fmla="*/ 0 h 203"/>
                <a:gd name="T50" fmla="*/ 81 w 203"/>
                <a:gd name="T51" fmla="*/ 2 h 203"/>
                <a:gd name="T52" fmla="*/ 85 w 203"/>
                <a:gd name="T53" fmla="*/ 3 h 203"/>
                <a:gd name="T54" fmla="*/ 88 w 203"/>
                <a:gd name="T55" fmla="*/ 6 h 203"/>
                <a:gd name="T56" fmla="*/ 198 w 203"/>
                <a:gd name="T57" fmla="*/ 116 h 203"/>
                <a:gd name="T58" fmla="*/ 199 w 203"/>
                <a:gd name="T59" fmla="*/ 118 h 203"/>
                <a:gd name="T60" fmla="*/ 201 w 203"/>
                <a:gd name="T61" fmla="*/ 121 h 203"/>
                <a:gd name="T62" fmla="*/ 202 w 203"/>
                <a:gd name="T63" fmla="*/ 126 h 203"/>
                <a:gd name="T64" fmla="*/ 203 w 203"/>
                <a:gd name="T65" fmla="*/ 129 h 203"/>
                <a:gd name="T66" fmla="*/ 202 w 203"/>
                <a:gd name="T67" fmla="*/ 133 h 203"/>
                <a:gd name="T68" fmla="*/ 201 w 203"/>
                <a:gd name="T69" fmla="*/ 136 h 203"/>
                <a:gd name="T70" fmla="*/ 199 w 203"/>
                <a:gd name="T71" fmla="*/ 140 h 203"/>
                <a:gd name="T72" fmla="*/ 198 w 203"/>
                <a:gd name="T73" fmla="*/ 143 h 203"/>
                <a:gd name="T74" fmla="*/ 143 w 203"/>
                <a:gd name="T75" fmla="*/ 198 h 203"/>
                <a:gd name="T76" fmla="*/ 140 w 203"/>
                <a:gd name="T77" fmla="*/ 199 h 203"/>
                <a:gd name="T78" fmla="*/ 136 w 203"/>
                <a:gd name="T79" fmla="*/ 202 h 203"/>
                <a:gd name="T80" fmla="*/ 133 w 203"/>
                <a:gd name="T81" fmla="*/ 202 h 203"/>
                <a:gd name="T82" fmla="*/ 129 w 203"/>
                <a:gd name="T83"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3" h="203">
                  <a:moveTo>
                    <a:pt x="46" y="74"/>
                  </a:moveTo>
                  <a:lnTo>
                    <a:pt x="129" y="156"/>
                  </a:lnTo>
                  <a:lnTo>
                    <a:pt x="156" y="129"/>
                  </a:lnTo>
                  <a:lnTo>
                    <a:pt x="74" y="46"/>
                  </a:lnTo>
                  <a:lnTo>
                    <a:pt x="46" y="74"/>
                  </a:lnTo>
                  <a:close/>
                  <a:moveTo>
                    <a:pt x="129" y="203"/>
                  </a:moveTo>
                  <a:lnTo>
                    <a:pt x="126" y="202"/>
                  </a:lnTo>
                  <a:lnTo>
                    <a:pt x="121" y="202"/>
                  </a:lnTo>
                  <a:lnTo>
                    <a:pt x="118" y="199"/>
                  </a:lnTo>
                  <a:lnTo>
                    <a:pt x="116" y="198"/>
                  </a:lnTo>
                  <a:lnTo>
                    <a:pt x="6" y="88"/>
                  </a:lnTo>
                  <a:lnTo>
                    <a:pt x="3" y="85"/>
                  </a:lnTo>
                  <a:lnTo>
                    <a:pt x="2" y="82"/>
                  </a:lnTo>
                  <a:lnTo>
                    <a:pt x="0" y="78"/>
                  </a:lnTo>
                  <a:lnTo>
                    <a:pt x="0" y="74"/>
                  </a:lnTo>
                  <a:lnTo>
                    <a:pt x="0" y="71"/>
                  </a:lnTo>
                  <a:lnTo>
                    <a:pt x="2" y="67"/>
                  </a:lnTo>
                  <a:lnTo>
                    <a:pt x="3" y="64"/>
                  </a:lnTo>
                  <a:lnTo>
                    <a:pt x="6" y="61"/>
                  </a:lnTo>
                  <a:lnTo>
                    <a:pt x="61" y="6"/>
                  </a:lnTo>
                  <a:lnTo>
                    <a:pt x="64" y="3"/>
                  </a:lnTo>
                  <a:lnTo>
                    <a:pt x="67" y="2"/>
                  </a:lnTo>
                  <a:lnTo>
                    <a:pt x="71" y="0"/>
                  </a:lnTo>
                  <a:lnTo>
                    <a:pt x="74" y="0"/>
                  </a:lnTo>
                  <a:lnTo>
                    <a:pt x="78" y="0"/>
                  </a:lnTo>
                  <a:lnTo>
                    <a:pt x="81" y="2"/>
                  </a:lnTo>
                  <a:lnTo>
                    <a:pt x="85" y="3"/>
                  </a:lnTo>
                  <a:lnTo>
                    <a:pt x="88" y="6"/>
                  </a:lnTo>
                  <a:lnTo>
                    <a:pt x="198" y="116"/>
                  </a:lnTo>
                  <a:lnTo>
                    <a:pt x="199" y="118"/>
                  </a:lnTo>
                  <a:lnTo>
                    <a:pt x="201" y="121"/>
                  </a:lnTo>
                  <a:lnTo>
                    <a:pt x="202" y="126"/>
                  </a:lnTo>
                  <a:lnTo>
                    <a:pt x="203" y="129"/>
                  </a:lnTo>
                  <a:lnTo>
                    <a:pt x="202" y="133"/>
                  </a:lnTo>
                  <a:lnTo>
                    <a:pt x="201" y="136"/>
                  </a:lnTo>
                  <a:lnTo>
                    <a:pt x="199" y="140"/>
                  </a:lnTo>
                  <a:lnTo>
                    <a:pt x="198" y="143"/>
                  </a:lnTo>
                  <a:lnTo>
                    <a:pt x="143" y="198"/>
                  </a:lnTo>
                  <a:lnTo>
                    <a:pt x="140" y="199"/>
                  </a:lnTo>
                  <a:lnTo>
                    <a:pt x="136" y="202"/>
                  </a:lnTo>
                  <a:lnTo>
                    <a:pt x="133" y="202"/>
                  </a:lnTo>
                  <a:lnTo>
                    <a:pt x="129"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9"/>
            <p:cNvSpPr>
              <a:spLocks/>
            </p:cNvSpPr>
            <p:nvPr/>
          </p:nvSpPr>
          <p:spPr bwMode="auto">
            <a:xfrm>
              <a:off x="2247815" y="3998293"/>
              <a:ext cx="81535" cy="81536"/>
            </a:xfrm>
            <a:custGeom>
              <a:avLst/>
              <a:gdLst>
                <a:gd name="T0" fmla="*/ 28 w 169"/>
                <a:gd name="T1" fmla="*/ 0 h 169"/>
                <a:gd name="T2" fmla="*/ 169 w 169"/>
                <a:gd name="T3" fmla="*/ 142 h 169"/>
                <a:gd name="T4" fmla="*/ 141 w 169"/>
                <a:gd name="T5" fmla="*/ 169 h 169"/>
                <a:gd name="T6" fmla="*/ 0 w 169"/>
                <a:gd name="T7" fmla="*/ 28 h 169"/>
                <a:gd name="T8" fmla="*/ 28 w 169"/>
                <a:gd name="T9" fmla="*/ 0 h 169"/>
              </a:gdLst>
              <a:ahLst/>
              <a:cxnLst>
                <a:cxn ang="0">
                  <a:pos x="T0" y="T1"/>
                </a:cxn>
                <a:cxn ang="0">
                  <a:pos x="T2" y="T3"/>
                </a:cxn>
                <a:cxn ang="0">
                  <a:pos x="T4" y="T5"/>
                </a:cxn>
                <a:cxn ang="0">
                  <a:pos x="T6" y="T7"/>
                </a:cxn>
                <a:cxn ang="0">
                  <a:pos x="T8" y="T9"/>
                </a:cxn>
              </a:cxnLst>
              <a:rect l="0" t="0" r="r" b="b"/>
              <a:pathLst>
                <a:path w="169" h="169">
                  <a:moveTo>
                    <a:pt x="28" y="0"/>
                  </a:moveTo>
                  <a:lnTo>
                    <a:pt x="169" y="142"/>
                  </a:lnTo>
                  <a:lnTo>
                    <a:pt x="141" y="169"/>
                  </a:lnTo>
                  <a:lnTo>
                    <a:pt x="0" y="28"/>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8" name="Rectangle 57"/>
          <p:cNvSpPr/>
          <p:nvPr/>
        </p:nvSpPr>
        <p:spPr>
          <a:xfrm>
            <a:off x="1970125" y="2157678"/>
            <a:ext cx="3719476" cy="810445"/>
          </a:xfrm>
          <a:prstGeom prst="rect">
            <a:avLst/>
          </a:prstGeom>
        </p:spPr>
        <p:txBody>
          <a:bodyPr wrap="square">
            <a:noAutofit/>
          </a:bodyPr>
          <a:lstStyle/>
          <a:p>
            <a:pPr algn="just">
              <a:lnSpc>
                <a:spcPct val="150000"/>
              </a:lnSpc>
              <a:spcBef>
                <a:spcPts val="600"/>
              </a:spcBef>
              <a:buClr>
                <a:srgbClr val="E24848"/>
              </a:buClr>
              <a:defRPr/>
            </a:pPr>
            <a:r>
              <a:rPr lang="en-US" sz="1100" noProof="1">
                <a:solidFill>
                  <a:schemeClr val="bg1"/>
                </a:solidFill>
                <a:ea typeface="Open Sans Light" panose="020B0306030504020204" pitchFamily="34" charset="0"/>
                <a:cs typeface="Open Sans Light" panose="020B0306030504020204" pitchFamily="34" charset="0"/>
              </a:rPr>
              <a:t>Lorem ipsum dolor sit amet, consectetur adipiscing elit. Nulla imperdiet volutpat dui at fermentumLorem ipsum dolor sit amet,</a:t>
            </a:r>
          </a:p>
          <a:p>
            <a:pPr algn="just">
              <a:lnSpc>
                <a:spcPct val="150000"/>
              </a:lnSpc>
              <a:spcBef>
                <a:spcPts val="600"/>
              </a:spcBef>
              <a:buClr>
                <a:srgbClr val="E24848"/>
              </a:buClr>
              <a:defRPr/>
            </a:pPr>
            <a:r>
              <a:rPr lang="en-US" sz="1100" noProof="1">
                <a:solidFill>
                  <a:schemeClr val="bg1"/>
                </a:solidFill>
                <a:ea typeface="Open Sans Light" panose="020B0306030504020204" pitchFamily="34" charset="0"/>
                <a:cs typeface="Open Sans Light" panose="020B0306030504020204" pitchFamily="34" charset="0"/>
              </a:rPr>
              <a:t> </a:t>
            </a:r>
          </a:p>
        </p:txBody>
      </p:sp>
      <p:sp>
        <p:nvSpPr>
          <p:cNvPr id="59" name="Rectangle 58"/>
          <p:cNvSpPr/>
          <p:nvPr/>
        </p:nvSpPr>
        <p:spPr>
          <a:xfrm>
            <a:off x="1970125" y="1799463"/>
            <a:ext cx="1696361" cy="363099"/>
          </a:xfrm>
          <a:prstGeom prst="rect">
            <a:avLst/>
          </a:prstGeom>
        </p:spPr>
        <p:txBody>
          <a:bodyPr vert="horz" lIns="91440" tIns="45720" rIns="91440" bIns="45720" rtlCol="0" anchor="ctr">
            <a:noAutofit/>
          </a:bodyPr>
          <a:lstStyle/>
          <a:p>
            <a:pPr defTabSz="914082">
              <a:spcBef>
                <a:spcPct val="0"/>
              </a:spcBef>
            </a:pPr>
            <a:r>
              <a:rPr lang="en-US" sz="1400" b="1" noProof="1">
                <a:solidFill>
                  <a:schemeClr val="bg1"/>
                </a:solidFill>
                <a:ea typeface="Roboto" panose="02000000000000000000" pitchFamily="2" charset="0"/>
                <a:cs typeface="Lato Light" panose="020F0402020204030203" pitchFamily="34" charset="0"/>
              </a:rPr>
              <a:t>Lorem </a:t>
            </a:r>
            <a:r>
              <a:rPr lang="en-US" sz="1400" noProof="1">
                <a:solidFill>
                  <a:schemeClr val="bg1"/>
                </a:solidFill>
                <a:ea typeface="Roboto" panose="02000000000000000000" pitchFamily="2" charset="0"/>
                <a:cs typeface="Lato Light" panose="020F0402020204030203" pitchFamily="34" charset="0"/>
              </a:rPr>
              <a:t>Ipsum</a:t>
            </a:r>
          </a:p>
        </p:txBody>
      </p:sp>
      <p:sp>
        <p:nvSpPr>
          <p:cNvPr id="60" name="Rectangle 59"/>
          <p:cNvSpPr/>
          <p:nvPr/>
        </p:nvSpPr>
        <p:spPr>
          <a:xfrm>
            <a:off x="1970125" y="3607937"/>
            <a:ext cx="3719476" cy="604810"/>
          </a:xfrm>
          <a:prstGeom prst="rect">
            <a:avLst/>
          </a:prstGeom>
        </p:spPr>
        <p:txBody>
          <a:bodyPr wrap="square">
            <a:noAutofit/>
          </a:bodyPr>
          <a:lstStyle/>
          <a:p>
            <a:pPr algn="just">
              <a:lnSpc>
                <a:spcPct val="150000"/>
              </a:lnSpc>
              <a:spcBef>
                <a:spcPts val="600"/>
              </a:spcBef>
              <a:buClr>
                <a:srgbClr val="E24848"/>
              </a:buClr>
              <a:defRPr/>
            </a:pPr>
            <a:r>
              <a:rPr lang="en-US" sz="1100" noProof="1">
                <a:solidFill>
                  <a:schemeClr val="bg1"/>
                </a:solidFill>
                <a:ea typeface="Open Sans Light" panose="020B0306030504020204" pitchFamily="34" charset="0"/>
                <a:cs typeface="Open Sans Light" panose="020B0306030504020204" pitchFamily="34" charset="0"/>
              </a:rPr>
              <a:t>Lorem ipsum dolor sit amet, consectetur adipiscing elit. Nulla imperdiet volutpat dui at fermentumLorem ipsum dolor sit amet,</a:t>
            </a:r>
          </a:p>
          <a:p>
            <a:pPr algn="just">
              <a:lnSpc>
                <a:spcPct val="150000"/>
              </a:lnSpc>
              <a:spcBef>
                <a:spcPts val="600"/>
              </a:spcBef>
              <a:buClr>
                <a:srgbClr val="E24848"/>
              </a:buClr>
              <a:defRPr/>
            </a:pPr>
            <a:r>
              <a:rPr lang="en-US" sz="1100" noProof="1">
                <a:solidFill>
                  <a:schemeClr val="bg1"/>
                </a:solidFill>
                <a:ea typeface="Open Sans Light" panose="020B0306030504020204" pitchFamily="34" charset="0"/>
                <a:cs typeface="Open Sans Light" panose="020B0306030504020204" pitchFamily="34" charset="0"/>
              </a:rPr>
              <a:t> </a:t>
            </a:r>
          </a:p>
        </p:txBody>
      </p:sp>
      <p:sp>
        <p:nvSpPr>
          <p:cNvPr id="61" name="Rectangle 60"/>
          <p:cNvSpPr/>
          <p:nvPr/>
        </p:nvSpPr>
        <p:spPr>
          <a:xfrm>
            <a:off x="1970125" y="3249721"/>
            <a:ext cx="1696361" cy="363099"/>
          </a:xfrm>
          <a:prstGeom prst="rect">
            <a:avLst/>
          </a:prstGeom>
        </p:spPr>
        <p:txBody>
          <a:bodyPr vert="horz" lIns="91440" tIns="45720" rIns="91440" bIns="45720" rtlCol="0" anchor="ctr">
            <a:noAutofit/>
          </a:bodyPr>
          <a:lstStyle/>
          <a:p>
            <a:pPr defTabSz="914082">
              <a:spcBef>
                <a:spcPct val="0"/>
              </a:spcBef>
            </a:pPr>
            <a:r>
              <a:rPr lang="en-US" sz="1400" b="1" noProof="1">
                <a:solidFill>
                  <a:schemeClr val="bg1"/>
                </a:solidFill>
                <a:ea typeface="Roboto" panose="02000000000000000000" pitchFamily="2" charset="0"/>
                <a:cs typeface="Lato Light" panose="020F0402020204030203" pitchFamily="34" charset="0"/>
              </a:rPr>
              <a:t>Lorem </a:t>
            </a:r>
            <a:r>
              <a:rPr lang="en-US" sz="1400" noProof="1">
                <a:solidFill>
                  <a:schemeClr val="bg1"/>
                </a:solidFill>
                <a:ea typeface="Roboto" panose="02000000000000000000" pitchFamily="2" charset="0"/>
                <a:cs typeface="Lato Light" panose="020F0402020204030203" pitchFamily="34" charset="0"/>
              </a:rPr>
              <a:t>Ipsum</a:t>
            </a:r>
          </a:p>
        </p:txBody>
      </p:sp>
      <p:grpSp>
        <p:nvGrpSpPr>
          <p:cNvPr id="69" name="Group 68"/>
          <p:cNvGrpSpPr/>
          <p:nvPr/>
        </p:nvGrpSpPr>
        <p:grpSpPr>
          <a:xfrm flipV="1">
            <a:off x="0" y="5044863"/>
            <a:ext cx="4162790" cy="854354"/>
            <a:chOff x="0" y="-9526"/>
            <a:chExt cx="4162790" cy="854354"/>
          </a:xfrm>
        </p:grpSpPr>
        <p:sp>
          <p:nvSpPr>
            <p:cNvPr id="70" name="Freeform 69"/>
            <p:cNvSpPr/>
            <p:nvPr/>
          </p:nvSpPr>
          <p:spPr>
            <a:xfrm>
              <a:off x="1" y="-9526"/>
              <a:ext cx="4086315" cy="854354"/>
            </a:xfrm>
            <a:custGeom>
              <a:avLst/>
              <a:gdLst>
                <a:gd name="connsiteX0" fmla="*/ 0 w 4086315"/>
                <a:gd name="connsiteY0" fmla="*/ 0 h 854354"/>
                <a:gd name="connsiteX1" fmla="*/ 4086315 w 4086315"/>
                <a:gd name="connsiteY1" fmla="*/ 0 h 854354"/>
                <a:gd name="connsiteX2" fmla="*/ 3700053 w 4086315"/>
                <a:gd name="connsiteY2" fmla="*/ 236387 h 854354"/>
                <a:gd name="connsiteX3" fmla="*/ 3071976 w 4086315"/>
                <a:gd name="connsiteY3" fmla="*/ 837056 h 854354"/>
                <a:gd name="connsiteX4" fmla="*/ 2354350 w 4086315"/>
                <a:gd name="connsiteY4" fmla="*/ 594269 h 854354"/>
                <a:gd name="connsiteX5" fmla="*/ 2326519 w 4086315"/>
                <a:gd name="connsiteY5" fmla="*/ 596417 h 854354"/>
                <a:gd name="connsiteX6" fmla="*/ 2298688 w 4086315"/>
                <a:gd name="connsiteY6" fmla="*/ 594269 h 854354"/>
                <a:gd name="connsiteX7" fmla="*/ 1581063 w 4086315"/>
                <a:gd name="connsiteY7" fmla="*/ 837056 h 854354"/>
                <a:gd name="connsiteX8" fmla="*/ 813774 w 4086315"/>
                <a:gd name="connsiteY8" fmla="*/ 218287 h 854354"/>
                <a:gd name="connsiteX9" fmla="*/ 88899 w 4086315"/>
                <a:gd name="connsiteY9" fmla="*/ 729962 h 854354"/>
                <a:gd name="connsiteX10" fmla="*/ 36789 w 4086315"/>
                <a:gd name="connsiteY10" fmla="*/ 746586 h 854354"/>
                <a:gd name="connsiteX11" fmla="*/ 0 w 4086315"/>
                <a:gd name="connsiteY11" fmla="*/ 751118 h 8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86315" h="854354">
                  <a:moveTo>
                    <a:pt x="0" y="0"/>
                  </a:moveTo>
                  <a:lnTo>
                    <a:pt x="4086315" y="0"/>
                  </a:lnTo>
                  <a:lnTo>
                    <a:pt x="3700053" y="236387"/>
                  </a:lnTo>
                  <a:cubicBezTo>
                    <a:pt x="3634603" y="298480"/>
                    <a:pt x="3296259" y="777409"/>
                    <a:pt x="3071976" y="837056"/>
                  </a:cubicBezTo>
                  <a:cubicBezTo>
                    <a:pt x="2847692" y="896703"/>
                    <a:pt x="2547499" y="605700"/>
                    <a:pt x="2354350" y="594269"/>
                  </a:cubicBezTo>
                  <a:lnTo>
                    <a:pt x="2326519" y="596417"/>
                  </a:lnTo>
                  <a:lnTo>
                    <a:pt x="2298688" y="594269"/>
                  </a:lnTo>
                  <a:cubicBezTo>
                    <a:pt x="2105539" y="605700"/>
                    <a:pt x="1805467" y="931998"/>
                    <a:pt x="1581063" y="837056"/>
                  </a:cubicBezTo>
                  <a:cubicBezTo>
                    <a:pt x="1304873" y="720205"/>
                    <a:pt x="1062468" y="236136"/>
                    <a:pt x="813774" y="218287"/>
                  </a:cubicBezTo>
                  <a:cubicBezTo>
                    <a:pt x="565080" y="200438"/>
                    <a:pt x="352509" y="613111"/>
                    <a:pt x="88899" y="729962"/>
                  </a:cubicBezTo>
                  <a:cubicBezTo>
                    <a:pt x="72423" y="737266"/>
                    <a:pt x="55004" y="742727"/>
                    <a:pt x="36789" y="746586"/>
                  </a:cubicBezTo>
                  <a:lnTo>
                    <a:pt x="0" y="751118"/>
                  </a:lnTo>
                  <a:close/>
                </a:path>
              </a:pathLst>
            </a:custGeom>
            <a:solidFill>
              <a:schemeClr val="tx2">
                <a:lumMod val="50000"/>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1" name="Freeform 70"/>
            <p:cNvSpPr/>
            <p:nvPr/>
          </p:nvSpPr>
          <p:spPr>
            <a:xfrm flipH="1">
              <a:off x="0" y="-9525"/>
              <a:ext cx="4162790" cy="688727"/>
            </a:xfrm>
            <a:custGeom>
              <a:avLst/>
              <a:gdLst>
                <a:gd name="connsiteX0" fmla="*/ 4162790 w 4162790"/>
                <a:gd name="connsiteY0" fmla="*/ 0 h 688727"/>
                <a:gd name="connsiteX1" fmla="*/ 0 w 4162790"/>
                <a:gd name="connsiteY1" fmla="*/ 0 h 688727"/>
                <a:gd name="connsiteX2" fmla="*/ 93505 w 4162790"/>
                <a:gd name="connsiteY2" fmla="*/ 40291 h 688727"/>
                <a:gd name="connsiteX3" fmla="*/ 764963 w 4162790"/>
                <a:gd name="connsiteY3" fmla="*/ 578498 h 688727"/>
                <a:gd name="connsiteX4" fmla="*/ 1524989 w 4162790"/>
                <a:gd name="connsiteY4" fmla="*/ 125080 h 688727"/>
                <a:gd name="connsiteX5" fmla="*/ 2329486 w 4162790"/>
                <a:gd name="connsiteY5" fmla="*/ 673399 h 688727"/>
                <a:gd name="connsiteX6" fmla="*/ 3081911 w 4162790"/>
                <a:gd name="connsiteY6" fmla="*/ 458255 h 688727"/>
                <a:gd name="connsiteX7" fmla="*/ 3111091 w 4162790"/>
                <a:gd name="connsiteY7" fmla="*/ 460157 h 688727"/>
                <a:gd name="connsiteX8" fmla="*/ 3140272 w 4162790"/>
                <a:gd name="connsiteY8" fmla="*/ 458255 h 688727"/>
                <a:gd name="connsiteX9" fmla="*/ 3892696 w 4162790"/>
                <a:gd name="connsiteY9" fmla="*/ 673399 h 688727"/>
                <a:gd name="connsiteX10" fmla="*/ 4103899 w 4162790"/>
                <a:gd name="connsiteY10" fmla="*/ 546264 h 688727"/>
                <a:gd name="connsiteX11" fmla="*/ 4162790 w 4162790"/>
                <a:gd name="connsiteY11" fmla="*/ 495560 h 68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62790" h="688727">
                  <a:moveTo>
                    <a:pt x="4162790" y="0"/>
                  </a:moveTo>
                  <a:lnTo>
                    <a:pt x="0" y="0"/>
                  </a:lnTo>
                  <a:lnTo>
                    <a:pt x="93505" y="40291"/>
                  </a:lnTo>
                  <a:cubicBezTo>
                    <a:pt x="414722" y="224142"/>
                    <a:pt x="407200" y="549345"/>
                    <a:pt x="764963" y="578498"/>
                  </a:cubicBezTo>
                  <a:cubicBezTo>
                    <a:pt x="1173835" y="611816"/>
                    <a:pt x="1264236" y="109263"/>
                    <a:pt x="1524989" y="125080"/>
                  </a:cubicBezTo>
                  <a:cubicBezTo>
                    <a:pt x="1785743" y="140897"/>
                    <a:pt x="2039902" y="569851"/>
                    <a:pt x="2329486" y="673399"/>
                  </a:cubicBezTo>
                  <a:cubicBezTo>
                    <a:pt x="2564772" y="757531"/>
                    <a:pt x="2879395" y="468384"/>
                    <a:pt x="3081911" y="458255"/>
                  </a:cubicBezTo>
                  <a:lnTo>
                    <a:pt x="3111091" y="460157"/>
                  </a:lnTo>
                  <a:lnTo>
                    <a:pt x="3140272" y="458255"/>
                  </a:lnTo>
                  <a:cubicBezTo>
                    <a:pt x="3342787" y="468384"/>
                    <a:pt x="3657409" y="757531"/>
                    <a:pt x="3892696" y="673399"/>
                  </a:cubicBezTo>
                  <a:cubicBezTo>
                    <a:pt x="3965092" y="647512"/>
                    <a:pt x="4035274" y="601287"/>
                    <a:pt x="4103899" y="546264"/>
                  </a:cubicBezTo>
                  <a:lnTo>
                    <a:pt x="4162790" y="495560"/>
                  </a:lnTo>
                  <a:close/>
                </a:path>
              </a:pathLst>
            </a:custGeom>
            <a:gradFill>
              <a:gsLst>
                <a:gs pos="100000">
                  <a:schemeClr val="accent1">
                    <a:alpha val="25000"/>
                  </a:schemeClr>
                </a:gs>
                <a:gs pos="0">
                  <a:schemeClr val="accent2">
                    <a:alpha val="25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2" name="Freeform 71"/>
            <p:cNvSpPr/>
            <p:nvPr userDrawn="1"/>
          </p:nvSpPr>
          <p:spPr>
            <a:xfrm flipH="1">
              <a:off x="0" y="-9525"/>
              <a:ext cx="4148598" cy="562293"/>
            </a:xfrm>
            <a:custGeom>
              <a:avLst/>
              <a:gdLst>
                <a:gd name="connsiteX0" fmla="*/ 4148598 w 4148598"/>
                <a:gd name="connsiteY0" fmla="*/ 0 h 562293"/>
                <a:gd name="connsiteX1" fmla="*/ 0 w 4148598"/>
                <a:gd name="connsiteY1" fmla="*/ 0 h 562293"/>
                <a:gd name="connsiteX2" fmla="*/ 79313 w 4148598"/>
                <a:gd name="connsiteY2" fmla="*/ 28152 h 562293"/>
                <a:gd name="connsiteX3" fmla="*/ 750771 w 4148598"/>
                <a:gd name="connsiteY3" fmla="*/ 471494 h 562293"/>
                <a:gd name="connsiteX4" fmla="*/ 1510797 w 4148598"/>
                <a:gd name="connsiteY4" fmla="*/ 97996 h 562293"/>
                <a:gd name="connsiteX5" fmla="*/ 2315294 w 4148598"/>
                <a:gd name="connsiteY5" fmla="*/ 549667 h 562293"/>
                <a:gd name="connsiteX6" fmla="*/ 3067719 w 4148598"/>
                <a:gd name="connsiteY6" fmla="*/ 372445 h 562293"/>
                <a:gd name="connsiteX7" fmla="*/ 3096899 w 4148598"/>
                <a:gd name="connsiteY7" fmla="*/ 374012 h 562293"/>
                <a:gd name="connsiteX8" fmla="*/ 3126080 w 4148598"/>
                <a:gd name="connsiteY8" fmla="*/ 372445 h 562293"/>
                <a:gd name="connsiteX9" fmla="*/ 3878504 w 4148598"/>
                <a:gd name="connsiteY9" fmla="*/ 549667 h 562293"/>
                <a:gd name="connsiteX10" fmla="*/ 4089707 w 4148598"/>
                <a:gd name="connsiteY10" fmla="*/ 444942 h 562293"/>
                <a:gd name="connsiteX11" fmla="*/ 4148598 w 4148598"/>
                <a:gd name="connsiteY11" fmla="*/ 403175 h 56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48598" h="562293">
                  <a:moveTo>
                    <a:pt x="4148598" y="0"/>
                  </a:moveTo>
                  <a:lnTo>
                    <a:pt x="0" y="0"/>
                  </a:lnTo>
                  <a:lnTo>
                    <a:pt x="79313" y="28152"/>
                  </a:lnTo>
                  <a:cubicBezTo>
                    <a:pt x="400530" y="179597"/>
                    <a:pt x="393008" y="447480"/>
                    <a:pt x="750771" y="471494"/>
                  </a:cubicBezTo>
                  <a:cubicBezTo>
                    <a:pt x="1159643" y="498939"/>
                    <a:pt x="1250044" y="84967"/>
                    <a:pt x="1510797" y="97996"/>
                  </a:cubicBezTo>
                  <a:cubicBezTo>
                    <a:pt x="1771551" y="111025"/>
                    <a:pt x="2025710" y="464371"/>
                    <a:pt x="2315294" y="549667"/>
                  </a:cubicBezTo>
                  <a:cubicBezTo>
                    <a:pt x="2550580" y="618970"/>
                    <a:pt x="2865203" y="380789"/>
                    <a:pt x="3067719" y="372445"/>
                  </a:cubicBezTo>
                  <a:lnTo>
                    <a:pt x="3096899" y="374012"/>
                  </a:lnTo>
                  <a:lnTo>
                    <a:pt x="3126080" y="372445"/>
                  </a:lnTo>
                  <a:cubicBezTo>
                    <a:pt x="3328595" y="380789"/>
                    <a:pt x="3643217" y="618970"/>
                    <a:pt x="3878504" y="549667"/>
                  </a:cubicBezTo>
                  <a:cubicBezTo>
                    <a:pt x="3950900" y="528344"/>
                    <a:pt x="4021082" y="490267"/>
                    <a:pt x="4089707" y="444942"/>
                  </a:cubicBezTo>
                  <a:lnTo>
                    <a:pt x="4148598" y="403175"/>
                  </a:lnTo>
                  <a:close/>
                </a:path>
              </a:pathLst>
            </a:custGeom>
            <a:gradFill flip="none" rotWithShape="1">
              <a:gsLst>
                <a:gs pos="100000">
                  <a:schemeClr val="accent1"/>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3" name="Freeform 72"/>
            <p:cNvSpPr/>
            <p:nvPr/>
          </p:nvSpPr>
          <p:spPr>
            <a:xfrm flipV="1">
              <a:off x="0" y="-9526"/>
              <a:ext cx="4045638" cy="463307"/>
            </a:xfrm>
            <a:custGeom>
              <a:avLst/>
              <a:gdLst>
                <a:gd name="connsiteX0" fmla="*/ 0 w 4045638"/>
                <a:gd name="connsiteY0" fmla="*/ 463307 h 463307"/>
                <a:gd name="connsiteX1" fmla="*/ 4045638 w 4045638"/>
                <a:gd name="connsiteY1" fmla="*/ 463307 h 463307"/>
                <a:gd name="connsiteX2" fmla="*/ 3929456 w 4045638"/>
                <a:gd name="connsiteY2" fmla="*/ 432895 h 463307"/>
                <a:gd name="connsiteX3" fmla="*/ 3530987 w 4045638"/>
                <a:gd name="connsiteY3" fmla="*/ 234506 h 463307"/>
                <a:gd name="connsiteX4" fmla="*/ 2523093 w 4045638"/>
                <a:gd name="connsiteY4" fmla="*/ 280673 h 463307"/>
                <a:gd name="connsiteX5" fmla="*/ 1724297 w 4045638"/>
                <a:gd name="connsiteY5" fmla="*/ 308 h 463307"/>
                <a:gd name="connsiteX6" fmla="*/ 878763 w 4045638"/>
                <a:gd name="connsiteY6" fmla="*/ 339353 h 463307"/>
                <a:gd name="connsiteX7" fmla="*/ 41022 w 4045638"/>
                <a:gd name="connsiteY7" fmla="*/ 208123 h 463307"/>
                <a:gd name="connsiteX8" fmla="*/ 0 w 4045638"/>
                <a:gd name="connsiteY8" fmla="*/ 216898 h 463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45638" h="463307">
                  <a:moveTo>
                    <a:pt x="0" y="463307"/>
                  </a:moveTo>
                  <a:lnTo>
                    <a:pt x="4045638" y="463307"/>
                  </a:lnTo>
                  <a:lnTo>
                    <a:pt x="3929456" y="432895"/>
                  </a:lnTo>
                  <a:cubicBezTo>
                    <a:pt x="3728123" y="370337"/>
                    <a:pt x="3698064" y="298850"/>
                    <a:pt x="3530987" y="234506"/>
                  </a:cubicBezTo>
                  <a:cubicBezTo>
                    <a:pt x="3370086" y="150375"/>
                    <a:pt x="2813585" y="344700"/>
                    <a:pt x="2523093" y="280673"/>
                  </a:cubicBezTo>
                  <a:cubicBezTo>
                    <a:pt x="2232600" y="216646"/>
                    <a:pt x="1998352" y="-9472"/>
                    <a:pt x="1724297" y="308"/>
                  </a:cubicBezTo>
                  <a:cubicBezTo>
                    <a:pt x="1450242" y="10088"/>
                    <a:pt x="1183118" y="275326"/>
                    <a:pt x="878763" y="339353"/>
                  </a:cubicBezTo>
                  <a:cubicBezTo>
                    <a:pt x="612453" y="395377"/>
                    <a:pt x="249437" y="183713"/>
                    <a:pt x="41022" y="208123"/>
                  </a:cubicBezTo>
                  <a:lnTo>
                    <a:pt x="0" y="216898"/>
                  </a:lnTo>
                  <a:close/>
                </a:path>
              </a:pathLst>
            </a:custGeom>
            <a:solidFill>
              <a:schemeClr val="accent3">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extLst>
      <p:ext uri="{BB962C8B-B14F-4D97-AF65-F5344CB8AC3E}">
        <p14:creationId xmlns:p14="http://schemas.microsoft.com/office/powerpoint/2010/main" val="2203257124"/>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custDataLst>
              <p:tags r:id="rId1"/>
            </p:custDataLst>
          </p:nvPr>
        </p:nvSpPr>
        <p:spPr>
          <a:xfrm>
            <a:off x="406318" y="890857"/>
            <a:ext cx="9271000"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spc="-150" dirty="0">
                <a:solidFill>
                  <a:schemeClr val="tx1">
                    <a:lumMod val="85000"/>
                    <a:lumOff val="15000"/>
                  </a:schemeClr>
                </a:solidFill>
                <a:ea typeface="Source Sans Pro" panose="020B0503030403020204" pitchFamily="34" charset="0"/>
                <a:cs typeface="Open Sans Light" panose="020B0306030504020204" pitchFamily="34" charset="0"/>
              </a:rPr>
              <a:t>Our </a:t>
            </a:r>
            <a:r>
              <a:rPr lang="en-US" sz="3200" b="1" spc="-150" dirty="0">
                <a:solidFill>
                  <a:schemeClr val="tx1">
                    <a:lumMod val="85000"/>
                    <a:lumOff val="15000"/>
                  </a:schemeClr>
                </a:solidFill>
                <a:ea typeface="Source Sans Pro" panose="020B0503030403020204" pitchFamily="34" charset="0"/>
                <a:cs typeface="Open Sans Light" panose="020B0306030504020204" pitchFamily="34" charset="0"/>
              </a:rPr>
              <a:t>Objectives</a:t>
            </a:r>
          </a:p>
        </p:txBody>
      </p:sp>
      <p:sp>
        <p:nvSpPr>
          <p:cNvPr id="6" name="Rectangle 5"/>
          <p:cNvSpPr/>
          <p:nvPr>
            <p:custDataLst>
              <p:tags r:id="rId2"/>
            </p:custDataLst>
          </p:nvPr>
        </p:nvSpPr>
        <p:spPr>
          <a:xfrm>
            <a:off x="465988" y="1404480"/>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lumMod val="85000"/>
                    <a:lumOff val="15000"/>
                  </a:schemeClr>
                </a:solidFill>
                <a:ea typeface="Open Sans" panose="020B0606030504020204" pitchFamily="34" charset="0"/>
                <a:cs typeface="Open Sans" panose="020B0606030504020204" pitchFamily="34" charset="0"/>
              </a:rPr>
              <a:t>Put Your Great Subtitle Here</a:t>
            </a:r>
          </a:p>
        </p:txBody>
      </p:sp>
      <p:grpSp>
        <p:nvGrpSpPr>
          <p:cNvPr id="3" name="Group 2"/>
          <p:cNvGrpSpPr/>
          <p:nvPr/>
        </p:nvGrpSpPr>
        <p:grpSpPr>
          <a:xfrm>
            <a:off x="8039792" y="1174081"/>
            <a:ext cx="6699719" cy="5766619"/>
            <a:chOff x="8565490" y="3747829"/>
            <a:chExt cx="7292975" cy="6277249"/>
          </a:xfrm>
        </p:grpSpPr>
        <p:grpSp>
          <p:nvGrpSpPr>
            <p:cNvPr id="16" name="Group 15"/>
            <p:cNvGrpSpPr>
              <a:grpSpLocks/>
            </p:cNvGrpSpPr>
            <p:nvPr/>
          </p:nvGrpSpPr>
          <p:grpSpPr bwMode="auto">
            <a:xfrm>
              <a:off x="8565490" y="4002102"/>
              <a:ext cx="7292975" cy="6022976"/>
              <a:chOff x="4517221" y="2682505"/>
              <a:chExt cx="7028976" cy="5802508"/>
            </a:xfrm>
          </p:grpSpPr>
          <p:sp>
            <p:nvSpPr>
              <p:cNvPr id="17" name="Freeform 18"/>
              <p:cNvSpPr>
                <a:spLocks/>
              </p:cNvSpPr>
              <p:nvPr/>
            </p:nvSpPr>
            <p:spPr bwMode="auto">
              <a:xfrm>
                <a:off x="4607493" y="2795680"/>
                <a:ext cx="6938704" cy="5689333"/>
              </a:xfrm>
              <a:custGeom>
                <a:avLst/>
                <a:gdLst>
                  <a:gd name="T0" fmla="*/ 1735 w 1847"/>
                  <a:gd name="T1" fmla="*/ 757 h 1514"/>
                  <a:gd name="T2" fmla="*/ 721 w 1847"/>
                  <a:gd name="T3" fmla="*/ 1514 h 1514"/>
                  <a:gd name="T4" fmla="*/ 112 w 1847"/>
                  <a:gd name="T5" fmla="*/ 757 h 1514"/>
                  <a:gd name="T6" fmla="*/ 1126 w 1847"/>
                  <a:gd name="T7" fmla="*/ 0 h 1514"/>
                  <a:gd name="T8" fmla="*/ 1735 w 1847"/>
                  <a:gd name="T9" fmla="*/ 757 h 1514"/>
                </a:gdLst>
                <a:ahLst/>
                <a:cxnLst>
                  <a:cxn ang="0">
                    <a:pos x="T0" y="T1"/>
                  </a:cxn>
                  <a:cxn ang="0">
                    <a:pos x="T2" y="T3"/>
                  </a:cxn>
                  <a:cxn ang="0">
                    <a:pos x="T4" y="T5"/>
                  </a:cxn>
                  <a:cxn ang="0">
                    <a:pos x="T6" y="T7"/>
                  </a:cxn>
                  <a:cxn ang="0">
                    <a:pos x="T8" y="T9"/>
                  </a:cxn>
                </a:cxnLst>
                <a:rect l="0" t="0" r="r" b="b"/>
                <a:pathLst>
                  <a:path w="1847" h="1514">
                    <a:moveTo>
                      <a:pt x="1735" y="757"/>
                    </a:moveTo>
                    <a:cubicBezTo>
                      <a:pt x="1623" y="1175"/>
                      <a:pt x="1169" y="1514"/>
                      <a:pt x="721" y="1514"/>
                    </a:cubicBezTo>
                    <a:cubicBezTo>
                      <a:pt x="273" y="1514"/>
                      <a:pt x="0" y="1175"/>
                      <a:pt x="112" y="757"/>
                    </a:cubicBezTo>
                    <a:cubicBezTo>
                      <a:pt x="224" y="339"/>
                      <a:pt x="678" y="0"/>
                      <a:pt x="1126" y="0"/>
                    </a:cubicBezTo>
                    <a:cubicBezTo>
                      <a:pt x="1574" y="0"/>
                      <a:pt x="1847" y="339"/>
                      <a:pt x="1735" y="757"/>
                    </a:cubicBezTo>
                    <a:close/>
                  </a:path>
                </a:pathLst>
              </a:custGeom>
              <a:solidFill>
                <a:schemeClr val="accent6">
                  <a:lumMod val="50000"/>
                </a:schemeClr>
              </a:solidFill>
              <a:ln>
                <a:noFill/>
              </a:ln>
            </p:spPr>
            <p:txBody>
              <a:bodyPr/>
              <a:lstStyle/>
              <a:p>
                <a:pPr defTabSz="1828434" fontAlgn="auto">
                  <a:spcBef>
                    <a:spcPts val="0"/>
                  </a:spcBef>
                  <a:spcAft>
                    <a:spcPts val="0"/>
                  </a:spcAft>
                  <a:defRPr/>
                </a:pPr>
                <a:endParaRPr lang="id-ID" dirty="0">
                  <a:ea typeface="+mn-ea"/>
                  <a:cs typeface="+mn-cs"/>
                </a:endParaRPr>
              </a:p>
            </p:txBody>
          </p:sp>
          <p:sp>
            <p:nvSpPr>
              <p:cNvPr id="18" name="Freeform 19"/>
              <p:cNvSpPr>
                <a:spLocks/>
              </p:cNvSpPr>
              <p:nvPr/>
            </p:nvSpPr>
            <p:spPr bwMode="auto">
              <a:xfrm>
                <a:off x="4517221" y="2682505"/>
                <a:ext cx="6938705" cy="5689333"/>
              </a:xfrm>
              <a:custGeom>
                <a:avLst/>
                <a:gdLst>
                  <a:gd name="T0" fmla="*/ 1735 w 1847"/>
                  <a:gd name="T1" fmla="*/ 757 h 1514"/>
                  <a:gd name="T2" fmla="*/ 721 w 1847"/>
                  <a:gd name="T3" fmla="*/ 1514 h 1514"/>
                  <a:gd name="T4" fmla="*/ 112 w 1847"/>
                  <a:gd name="T5" fmla="*/ 757 h 1514"/>
                  <a:gd name="T6" fmla="*/ 1126 w 1847"/>
                  <a:gd name="T7" fmla="*/ 0 h 1514"/>
                  <a:gd name="T8" fmla="*/ 1735 w 1847"/>
                  <a:gd name="T9" fmla="*/ 757 h 1514"/>
                </a:gdLst>
                <a:ahLst/>
                <a:cxnLst>
                  <a:cxn ang="0">
                    <a:pos x="T0" y="T1"/>
                  </a:cxn>
                  <a:cxn ang="0">
                    <a:pos x="T2" y="T3"/>
                  </a:cxn>
                  <a:cxn ang="0">
                    <a:pos x="T4" y="T5"/>
                  </a:cxn>
                  <a:cxn ang="0">
                    <a:pos x="T6" y="T7"/>
                  </a:cxn>
                  <a:cxn ang="0">
                    <a:pos x="T8" y="T9"/>
                  </a:cxn>
                </a:cxnLst>
                <a:rect l="0" t="0" r="r" b="b"/>
                <a:pathLst>
                  <a:path w="1847" h="1514">
                    <a:moveTo>
                      <a:pt x="1735" y="757"/>
                    </a:moveTo>
                    <a:cubicBezTo>
                      <a:pt x="1623" y="1175"/>
                      <a:pt x="1169" y="1514"/>
                      <a:pt x="721" y="1514"/>
                    </a:cubicBezTo>
                    <a:cubicBezTo>
                      <a:pt x="273" y="1514"/>
                      <a:pt x="0" y="1175"/>
                      <a:pt x="112" y="757"/>
                    </a:cubicBezTo>
                    <a:cubicBezTo>
                      <a:pt x="224" y="339"/>
                      <a:pt x="678" y="0"/>
                      <a:pt x="1126" y="0"/>
                    </a:cubicBezTo>
                    <a:cubicBezTo>
                      <a:pt x="1574" y="0"/>
                      <a:pt x="1847" y="339"/>
                      <a:pt x="1735" y="757"/>
                    </a:cubicBezTo>
                    <a:close/>
                  </a:path>
                </a:pathLst>
              </a:custGeom>
              <a:gradFill>
                <a:gsLst>
                  <a:gs pos="0">
                    <a:schemeClr val="accent1"/>
                  </a:gs>
                  <a:gs pos="100000">
                    <a:schemeClr val="accent2"/>
                  </a:gs>
                </a:gsLst>
                <a:lin ang="5400000" scaled="1"/>
              </a:gradFill>
              <a:ln>
                <a:noFill/>
              </a:ln>
            </p:spPr>
            <p:txBody>
              <a:bodyPr/>
              <a:lstStyle/>
              <a:p>
                <a:pPr defTabSz="1828434" fontAlgn="auto">
                  <a:spcBef>
                    <a:spcPts val="0"/>
                  </a:spcBef>
                  <a:spcAft>
                    <a:spcPts val="0"/>
                  </a:spcAft>
                  <a:defRPr/>
                </a:pPr>
                <a:endParaRPr lang="id-ID" dirty="0">
                  <a:ea typeface="+mn-ea"/>
                  <a:cs typeface="+mn-cs"/>
                </a:endParaRPr>
              </a:p>
            </p:txBody>
          </p:sp>
          <p:sp>
            <p:nvSpPr>
              <p:cNvPr id="19" name="Freeform 20"/>
              <p:cNvSpPr>
                <a:spLocks/>
              </p:cNvSpPr>
              <p:nvPr/>
            </p:nvSpPr>
            <p:spPr bwMode="auto">
              <a:xfrm>
                <a:off x="5175136" y="3222379"/>
                <a:ext cx="5624405" cy="4611113"/>
              </a:xfrm>
              <a:custGeom>
                <a:avLst/>
                <a:gdLst>
                  <a:gd name="T0" fmla="*/ 1406 w 1497"/>
                  <a:gd name="T1" fmla="*/ 613 h 1227"/>
                  <a:gd name="T2" fmla="*/ 584 w 1497"/>
                  <a:gd name="T3" fmla="*/ 1227 h 1227"/>
                  <a:gd name="T4" fmla="*/ 91 w 1497"/>
                  <a:gd name="T5" fmla="*/ 613 h 1227"/>
                  <a:gd name="T6" fmla="*/ 913 w 1497"/>
                  <a:gd name="T7" fmla="*/ 0 h 1227"/>
                  <a:gd name="T8" fmla="*/ 1406 w 1497"/>
                  <a:gd name="T9" fmla="*/ 613 h 1227"/>
                </a:gdLst>
                <a:ahLst/>
                <a:cxnLst>
                  <a:cxn ang="0">
                    <a:pos x="T0" y="T1"/>
                  </a:cxn>
                  <a:cxn ang="0">
                    <a:pos x="T2" y="T3"/>
                  </a:cxn>
                  <a:cxn ang="0">
                    <a:pos x="T4" y="T5"/>
                  </a:cxn>
                  <a:cxn ang="0">
                    <a:pos x="T6" y="T7"/>
                  </a:cxn>
                  <a:cxn ang="0">
                    <a:pos x="T8" y="T9"/>
                  </a:cxn>
                </a:cxnLst>
                <a:rect l="0" t="0" r="r" b="b"/>
                <a:pathLst>
                  <a:path w="1497" h="1227">
                    <a:moveTo>
                      <a:pt x="1406" y="613"/>
                    </a:moveTo>
                    <a:cubicBezTo>
                      <a:pt x="1315" y="952"/>
                      <a:pt x="947" y="1227"/>
                      <a:pt x="584" y="1227"/>
                    </a:cubicBezTo>
                    <a:cubicBezTo>
                      <a:pt x="221" y="1227"/>
                      <a:pt x="0" y="952"/>
                      <a:pt x="91" y="613"/>
                    </a:cubicBezTo>
                    <a:cubicBezTo>
                      <a:pt x="182" y="274"/>
                      <a:pt x="550" y="0"/>
                      <a:pt x="913" y="0"/>
                    </a:cubicBezTo>
                    <a:cubicBezTo>
                      <a:pt x="1276" y="0"/>
                      <a:pt x="1497" y="274"/>
                      <a:pt x="1406" y="613"/>
                    </a:cubicBezTo>
                    <a:close/>
                  </a:path>
                </a:pathLst>
              </a:custGeom>
              <a:solidFill>
                <a:schemeClr val="bg1">
                  <a:lumMod val="95000"/>
                </a:schemeClr>
              </a:solidFill>
              <a:ln>
                <a:noFill/>
              </a:ln>
            </p:spPr>
            <p:txBody>
              <a:bodyPr/>
              <a:lstStyle/>
              <a:p>
                <a:pPr defTabSz="1828434" fontAlgn="auto">
                  <a:spcBef>
                    <a:spcPts val="0"/>
                  </a:spcBef>
                  <a:spcAft>
                    <a:spcPts val="0"/>
                  </a:spcAft>
                  <a:defRPr/>
                </a:pPr>
                <a:endParaRPr lang="id-ID" dirty="0">
                  <a:ea typeface="+mn-ea"/>
                  <a:cs typeface="+mn-cs"/>
                </a:endParaRPr>
              </a:p>
            </p:txBody>
          </p:sp>
          <p:sp>
            <p:nvSpPr>
              <p:cNvPr id="20" name="Freeform 21"/>
              <p:cNvSpPr>
                <a:spLocks/>
              </p:cNvSpPr>
              <p:nvPr/>
            </p:nvSpPr>
            <p:spPr bwMode="auto">
              <a:xfrm>
                <a:off x="5542344" y="3523670"/>
                <a:ext cx="4888459" cy="4005473"/>
              </a:xfrm>
              <a:custGeom>
                <a:avLst/>
                <a:gdLst>
                  <a:gd name="T0" fmla="*/ 1222 w 1301"/>
                  <a:gd name="T1" fmla="*/ 533 h 1066"/>
                  <a:gd name="T2" fmla="*/ 508 w 1301"/>
                  <a:gd name="T3" fmla="*/ 1066 h 1066"/>
                  <a:gd name="T4" fmla="*/ 79 w 1301"/>
                  <a:gd name="T5" fmla="*/ 533 h 1066"/>
                  <a:gd name="T6" fmla="*/ 793 w 1301"/>
                  <a:gd name="T7" fmla="*/ 0 h 1066"/>
                  <a:gd name="T8" fmla="*/ 1222 w 1301"/>
                  <a:gd name="T9" fmla="*/ 533 h 1066"/>
                </a:gdLst>
                <a:ahLst/>
                <a:cxnLst>
                  <a:cxn ang="0">
                    <a:pos x="T0" y="T1"/>
                  </a:cxn>
                  <a:cxn ang="0">
                    <a:pos x="T2" y="T3"/>
                  </a:cxn>
                  <a:cxn ang="0">
                    <a:pos x="T4" y="T5"/>
                  </a:cxn>
                  <a:cxn ang="0">
                    <a:pos x="T6" y="T7"/>
                  </a:cxn>
                  <a:cxn ang="0">
                    <a:pos x="T8" y="T9"/>
                  </a:cxn>
                </a:cxnLst>
                <a:rect l="0" t="0" r="r" b="b"/>
                <a:pathLst>
                  <a:path w="1301" h="1066">
                    <a:moveTo>
                      <a:pt x="1222" y="533"/>
                    </a:moveTo>
                    <a:cubicBezTo>
                      <a:pt x="1143" y="828"/>
                      <a:pt x="823" y="1066"/>
                      <a:pt x="508" y="1066"/>
                    </a:cubicBezTo>
                    <a:cubicBezTo>
                      <a:pt x="192" y="1066"/>
                      <a:pt x="0" y="828"/>
                      <a:pt x="79" y="533"/>
                    </a:cubicBezTo>
                    <a:cubicBezTo>
                      <a:pt x="158" y="239"/>
                      <a:pt x="478" y="0"/>
                      <a:pt x="793" y="0"/>
                    </a:cubicBezTo>
                    <a:cubicBezTo>
                      <a:pt x="1109" y="0"/>
                      <a:pt x="1301" y="239"/>
                      <a:pt x="1222" y="533"/>
                    </a:cubicBezTo>
                    <a:close/>
                  </a:path>
                </a:pathLst>
              </a:custGeom>
              <a:gradFill>
                <a:gsLst>
                  <a:gs pos="0">
                    <a:schemeClr val="accent1"/>
                  </a:gs>
                  <a:gs pos="100000">
                    <a:schemeClr val="accent2"/>
                  </a:gs>
                </a:gsLst>
                <a:lin ang="5400000" scaled="1"/>
              </a:gradFill>
              <a:ln>
                <a:noFill/>
              </a:ln>
            </p:spPr>
            <p:txBody>
              <a:bodyPr/>
              <a:lstStyle/>
              <a:p>
                <a:pPr defTabSz="1828434" fontAlgn="auto">
                  <a:spcBef>
                    <a:spcPts val="0"/>
                  </a:spcBef>
                  <a:spcAft>
                    <a:spcPts val="0"/>
                  </a:spcAft>
                  <a:defRPr/>
                </a:pPr>
                <a:endParaRPr lang="id-ID" dirty="0">
                  <a:ea typeface="+mn-ea"/>
                  <a:cs typeface="+mn-cs"/>
                </a:endParaRPr>
              </a:p>
            </p:txBody>
          </p:sp>
          <p:sp>
            <p:nvSpPr>
              <p:cNvPr id="21" name="Freeform 22"/>
              <p:cNvSpPr>
                <a:spLocks/>
              </p:cNvSpPr>
              <p:nvPr/>
            </p:nvSpPr>
            <p:spPr bwMode="auto">
              <a:xfrm>
                <a:off x="6048785" y="3933546"/>
                <a:ext cx="3874046" cy="3185720"/>
              </a:xfrm>
              <a:custGeom>
                <a:avLst/>
                <a:gdLst>
                  <a:gd name="T0" fmla="*/ 968 w 1031"/>
                  <a:gd name="T1" fmla="*/ 424 h 848"/>
                  <a:gd name="T2" fmla="*/ 402 w 1031"/>
                  <a:gd name="T3" fmla="*/ 848 h 848"/>
                  <a:gd name="T4" fmla="*/ 63 w 1031"/>
                  <a:gd name="T5" fmla="*/ 424 h 848"/>
                  <a:gd name="T6" fmla="*/ 629 w 1031"/>
                  <a:gd name="T7" fmla="*/ 0 h 848"/>
                  <a:gd name="T8" fmla="*/ 968 w 1031"/>
                  <a:gd name="T9" fmla="*/ 424 h 848"/>
                </a:gdLst>
                <a:ahLst/>
                <a:cxnLst>
                  <a:cxn ang="0">
                    <a:pos x="T0" y="T1"/>
                  </a:cxn>
                  <a:cxn ang="0">
                    <a:pos x="T2" y="T3"/>
                  </a:cxn>
                  <a:cxn ang="0">
                    <a:pos x="T4" y="T5"/>
                  </a:cxn>
                  <a:cxn ang="0">
                    <a:pos x="T6" y="T7"/>
                  </a:cxn>
                  <a:cxn ang="0">
                    <a:pos x="T8" y="T9"/>
                  </a:cxn>
                </a:cxnLst>
                <a:rect l="0" t="0" r="r" b="b"/>
                <a:pathLst>
                  <a:path w="1031" h="848">
                    <a:moveTo>
                      <a:pt x="968" y="424"/>
                    </a:moveTo>
                    <a:cubicBezTo>
                      <a:pt x="905" y="658"/>
                      <a:pt x="652" y="848"/>
                      <a:pt x="402" y="848"/>
                    </a:cubicBezTo>
                    <a:cubicBezTo>
                      <a:pt x="152" y="848"/>
                      <a:pt x="0" y="658"/>
                      <a:pt x="63" y="424"/>
                    </a:cubicBezTo>
                    <a:cubicBezTo>
                      <a:pt x="126" y="190"/>
                      <a:pt x="379" y="0"/>
                      <a:pt x="629" y="0"/>
                    </a:cubicBezTo>
                    <a:cubicBezTo>
                      <a:pt x="879" y="0"/>
                      <a:pt x="1031" y="190"/>
                      <a:pt x="968" y="424"/>
                    </a:cubicBezTo>
                    <a:close/>
                  </a:path>
                </a:pathLst>
              </a:custGeom>
              <a:solidFill>
                <a:schemeClr val="bg1">
                  <a:lumMod val="95000"/>
                </a:schemeClr>
              </a:solidFill>
              <a:ln>
                <a:noFill/>
              </a:ln>
            </p:spPr>
            <p:txBody>
              <a:bodyPr/>
              <a:lstStyle/>
              <a:p>
                <a:pPr defTabSz="1828434" fontAlgn="auto">
                  <a:spcBef>
                    <a:spcPts val="0"/>
                  </a:spcBef>
                  <a:spcAft>
                    <a:spcPts val="0"/>
                  </a:spcAft>
                  <a:defRPr/>
                </a:pPr>
                <a:endParaRPr lang="id-ID" dirty="0">
                  <a:ea typeface="+mn-ea"/>
                  <a:cs typeface="+mn-cs"/>
                </a:endParaRPr>
              </a:p>
            </p:txBody>
          </p:sp>
          <p:sp>
            <p:nvSpPr>
              <p:cNvPr id="22" name="Freeform 23"/>
              <p:cNvSpPr>
                <a:spLocks/>
              </p:cNvSpPr>
              <p:nvPr/>
            </p:nvSpPr>
            <p:spPr bwMode="auto">
              <a:xfrm>
                <a:off x="6466671" y="4268417"/>
                <a:ext cx="3040063" cy="2517775"/>
              </a:xfrm>
              <a:custGeom>
                <a:avLst/>
                <a:gdLst>
                  <a:gd name="T0" fmla="*/ 2147483647 w 809"/>
                  <a:gd name="T1" fmla="*/ 2147483647 h 670"/>
                  <a:gd name="T2" fmla="*/ 2147483647 w 809"/>
                  <a:gd name="T3" fmla="*/ 2147483647 h 670"/>
                  <a:gd name="T4" fmla="*/ 706053692 w 809"/>
                  <a:gd name="T5" fmla="*/ 2147483647 h 670"/>
                  <a:gd name="T6" fmla="*/ 2147483647 w 809"/>
                  <a:gd name="T7" fmla="*/ 0 h 670"/>
                  <a:gd name="T8" fmla="*/ 2147483647 w 809"/>
                  <a:gd name="T9" fmla="*/ 2147483647 h 67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09" h="670">
                    <a:moveTo>
                      <a:pt x="759" y="335"/>
                    </a:moveTo>
                    <a:cubicBezTo>
                      <a:pt x="710" y="520"/>
                      <a:pt x="511" y="670"/>
                      <a:pt x="315" y="670"/>
                    </a:cubicBezTo>
                    <a:cubicBezTo>
                      <a:pt x="119" y="670"/>
                      <a:pt x="0" y="520"/>
                      <a:pt x="50" y="335"/>
                    </a:cubicBezTo>
                    <a:cubicBezTo>
                      <a:pt x="99" y="150"/>
                      <a:pt x="298" y="0"/>
                      <a:pt x="494" y="0"/>
                    </a:cubicBezTo>
                    <a:cubicBezTo>
                      <a:pt x="690" y="0"/>
                      <a:pt x="809" y="150"/>
                      <a:pt x="759" y="335"/>
                    </a:cubicBezTo>
                    <a:close/>
                  </a:path>
                </a:pathLst>
              </a:custGeom>
              <a:gradFill>
                <a:gsLst>
                  <a:gs pos="0">
                    <a:schemeClr val="accent1"/>
                  </a:gs>
                  <a:gs pos="100000">
                    <a:schemeClr val="accent2"/>
                  </a:gs>
                </a:gsLst>
                <a:lin ang="54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dirty="0"/>
              </a:p>
            </p:txBody>
          </p:sp>
          <p:sp>
            <p:nvSpPr>
              <p:cNvPr id="23" name="Freeform 24"/>
              <p:cNvSpPr>
                <a:spLocks/>
              </p:cNvSpPr>
              <p:nvPr/>
            </p:nvSpPr>
            <p:spPr bwMode="auto">
              <a:xfrm>
                <a:off x="6876533" y="4595772"/>
                <a:ext cx="2220080" cy="1862798"/>
              </a:xfrm>
              <a:custGeom>
                <a:avLst/>
                <a:gdLst>
                  <a:gd name="T0" fmla="*/ 555 w 591"/>
                  <a:gd name="T1" fmla="*/ 248 h 496"/>
                  <a:gd name="T2" fmla="*/ 229 w 591"/>
                  <a:gd name="T3" fmla="*/ 496 h 496"/>
                  <a:gd name="T4" fmla="*/ 36 w 591"/>
                  <a:gd name="T5" fmla="*/ 248 h 496"/>
                  <a:gd name="T6" fmla="*/ 362 w 591"/>
                  <a:gd name="T7" fmla="*/ 0 h 496"/>
                  <a:gd name="T8" fmla="*/ 555 w 591"/>
                  <a:gd name="T9" fmla="*/ 248 h 496"/>
                </a:gdLst>
                <a:ahLst/>
                <a:cxnLst>
                  <a:cxn ang="0">
                    <a:pos x="T0" y="T1"/>
                  </a:cxn>
                  <a:cxn ang="0">
                    <a:pos x="T2" y="T3"/>
                  </a:cxn>
                  <a:cxn ang="0">
                    <a:pos x="T4" y="T5"/>
                  </a:cxn>
                  <a:cxn ang="0">
                    <a:pos x="T6" y="T7"/>
                  </a:cxn>
                  <a:cxn ang="0">
                    <a:pos x="T8" y="T9"/>
                  </a:cxn>
                </a:cxnLst>
                <a:rect l="0" t="0" r="r" b="b"/>
                <a:pathLst>
                  <a:path w="591" h="496">
                    <a:moveTo>
                      <a:pt x="555" y="248"/>
                    </a:moveTo>
                    <a:cubicBezTo>
                      <a:pt x="518" y="385"/>
                      <a:pt x="372" y="496"/>
                      <a:pt x="229" y="496"/>
                    </a:cubicBezTo>
                    <a:cubicBezTo>
                      <a:pt x="86" y="496"/>
                      <a:pt x="0" y="385"/>
                      <a:pt x="36" y="248"/>
                    </a:cubicBezTo>
                    <a:cubicBezTo>
                      <a:pt x="73" y="111"/>
                      <a:pt x="219" y="0"/>
                      <a:pt x="362" y="0"/>
                    </a:cubicBezTo>
                    <a:cubicBezTo>
                      <a:pt x="505" y="0"/>
                      <a:pt x="591" y="111"/>
                      <a:pt x="555" y="248"/>
                    </a:cubicBezTo>
                    <a:close/>
                  </a:path>
                </a:pathLst>
              </a:custGeom>
              <a:solidFill>
                <a:schemeClr val="bg1">
                  <a:lumMod val="95000"/>
                </a:schemeClr>
              </a:solidFill>
              <a:ln>
                <a:noFill/>
              </a:ln>
            </p:spPr>
            <p:txBody>
              <a:bodyPr/>
              <a:lstStyle/>
              <a:p>
                <a:pPr defTabSz="1828434" fontAlgn="auto">
                  <a:spcBef>
                    <a:spcPts val="0"/>
                  </a:spcBef>
                  <a:spcAft>
                    <a:spcPts val="0"/>
                  </a:spcAft>
                  <a:defRPr/>
                </a:pPr>
                <a:endParaRPr lang="id-ID" dirty="0">
                  <a:ea typeface="+mn-ea"/>
                  <a:cs typeface="+mn-cs"/>
                </a:endParaRPr>
              </a:p>
            </p:txBody>
          </p:sp>
          <p:sp>
            <p:nvSpPr>
              <p:cNvPr id="24" name="Freeform 25"/>
              <p:cNvSpPr>
                <a:spLocks/>
              </p:cNvSpPr>
              <p:nvPr/>
            </p:nvSpPr>
            <p:spPr bwMode="auto">
              <a:xfrm>
                <a:off x="7454096" y="5090742"/>
                <a:ext cx="1068388" cy="876300"/>
              </a:xfrm>
              <a:custGeom>
                <a:avLst/>
                <a:gdLst>
                  <a:gd name="T0" fmla="*/ 2147483647 w 284"/>
                  <a:gd name="T1" fmla="*/ 1640787129 h 233"/>
                  <a:gd name="T2" fmla="*/ 1556731602 w 284"/>
                  <a:gd name="T3" fmla="*/ 2147483647 h 233"/>
                  <a:gd name="T4" fmla="*/ 240586682 w 284"/>
                  <a:gd name="T5" fmla="*/ 1640787129 h 233"/>
                  <a:gd name="T6" fmla="*/ 2147483647 w 284"/>
                  <a:gd name="T7" fmla="*/ 0 h 233"/>
                  <a:gd name="T8" fmla="*/ 2147483647 w 284"/>
                  <a:gd name="T9" fmla="*/ 1640787129 h 23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4" h="233">
                    <a:moveTo>
                      <a:pt x="266" y="116"/>
                    </a:moveTo>
                    <a:cubicBezTo>
                      <a:pt x="249" y="180"/>
                      <a:pt x="179" y="233"/>
                      <a:pt x="110" y="233"/>
                    </a:cubicBezTo>
                    <a:cubicBezTo>
                      <a:pt x="41" y="233"/>
                      <a:pt x="0" y="180"/>
                      <a:pt x="17" y="116"/>
                    </a:cubicBezTo>
                    <a:cubicBezTo>
                      <a:pt x="34" y="52"/>
                      <a:pt x="104" y="0"/>
                      <a:pt x="173" y="0"/>
                    </a:cubicBezTo>
                    <a:cubicBezTo>
                      <a:pt x="242" y="0"/>
                      <a:pt x="284" y="52"/>
                      <a:pt x="266" y="116"/>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dirty="0"/>
              </a:p>
            </p:txBody>
          </p:sp>
        </p:grpSp>
        <p:grpSp>
          <p:nvGrpSpPr>
            <p:cNvPr id="25" name="Group 24"/>
            <p:cNvGrpSpPr/>
            <p:nvPr/>
          </p:nvGrpSpPr>
          <p:grpSpPr>
            <a:xfrm>
              <a:off x="9011024" y="3747829"/>
              <a:ext cx="3168831" cy="3227917"/>
              <a:chOff x="6076950" y="2566001"/>
              <a:chExt cx="3076576" cy="3133124"/>
            </a:xfrm>
            <a:effectLst>
              <a:outerShdw blurRad="177800" dir="18900000" sy="23000" kx="-1200000" algn="bl" rotWithShape="0">
                <a:prstClr val="black">
                  <a:alpha val="29000"/>
                </a:prstClr>
              </a:outerShdw>
            </a:effectLst>
          </p:grpSpPr>
          <p:sp>
            <p:nvSpPr>
              <p:cNvPr id="26" name="Freeform 21"/>
              <p:cNvSpPr>
                <a:spLocks/>
              </p:cNvSpPr>
              <p:nvPr/>
            </p:nvSpPr>
            <p:spPr bwMode="auto">
              <a:xfrm>
                <a:off x="8840788" y="5375275"/>
                <a:ext cx="312738" cy="323850"/>
              </a:xfrm>
              <a:custGeom>
                <a:avLst/>
                <a:gdLst>
                  <a:gd name="T0" fmla="*/ 68 w 83"/>
                  <a:gd name="T1" fmla="*/ 68 h 86"/>
                  <a:gd name="T2" fmla="*/ 34 w 83"/>
                  <a:gd name="T3" fmla="*/ 30 h 86"/>
                  <a:gd name="T4" fmla="*/ 16 w 83"/>
                  <a:gd name="T5" fmla="*/ 10 h 86"/>
                  <a:gd name="T6" fmla="*/ 6 w 83"/>
                  <a:gd name="T7" fmla="*/ 0 h 86"/>
                  <a:gd name="T8" fmla="*/ 3 w 83"/>
                  <a:gd name="T9" fmla="*/ 5 h 86"/>
                  <a:gd name="T10" fmla="*/ 0 w 83"/>
                  <a:gd name="T11" fmla="*/ 11 h 86"/>
                  <a:gd name="T12" fmla="*/ 9 w 83"/>
                  <a:gd name="T13" fmla="*/ 21 h 86"/>
                  <a:gd name="T14" fmla="*/ 29 w 83"/>
                  <a:gd name="T15" fmla="*/ 39 h 86"/>
                  <a:gd name="T16" fmla="*/ 66 w 83"/>
                  <a:gd name="T17" fmla="*/ 72 h 86"/>
                  <a:gd name="T18" fmla="*/ 83 w 83"/>
                  <a:gd name="T19" fmla="*/ 86 h 86"/>
                  <a:gd name="T20" fmla="*/ 83 w 83"/>
                  <a:gd name="T21" fmla="*/ 85 h 86"/>
                  <a:gd name="T22" fmla="*/ 68 w 83"/>
                  <a:gd name="T23" fmla="*/ 6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86">
                    <a:moveTo>
                      <a:pt x="68" y="68"/>
                    </a:moveTo>
                    <a:cubicBezTo>
                      <a:pt x="59" y="57"/>
                      <a:pt x="46" y="44"/>
                      <a:pt x="34" y="30"/>
                    </a:cubicBezTo>
                    <a:cubicBezTo>
                      <a:pt x="28" y="23"/>
                      <a:pt x="22" y="16"/>
                      <a:pt x="16" y="10"/>
                    </a:cubicBezTo>
                    <a:cubicBezTo>
                      <a:pt x="13" y="6"/>
                      <a:pt x="9" y="3"/>
                      <a:pt x="6" y="0"/>
                    </a:cubicBezTo>
                    <a:cubicBezTo>
                      <a:pt x="5" y="2"/>
                      <a:pt x="4" y="4"/>
                      <a:pt x="3" y="5"/>
                    </a:cubicBezTo>
                    <a:cubicBezTo>
                      <a:pt x="2" y="7"/>
                      <a:pt x="1" y="9"/>
                      <a:pt x="0" y="11"/>
                    </a:cubicBezTo>
                    <a:cubicBezTo>
                      <a:pt x="3" y="14"/>
                      <a:pt x="6" y="18"/>
                      <a:pt x="9" y="21"/>
                    </a:cubicBezTo>
                    <a:cubicBezTo>
                      <a:pt x="15" y="27"/>
                      <a:pt x="22" y="33"/>
                      <a:pt x="29" y="39"/>
                    </a:cubicBezTo>
                    <a:cubicBezTo>
                      <a:pt x="42" y="51"/>
                      <a:pt x="56" y="63"/>
                      <a:pt x="66" y="72"/>
                    </a:cubicBezTo>
                    <a:cubicBezTo>
                      <a:pt x="76" y="81"/>
                      <a:pt x="83" y="86"/>
                      <a:pt x="83" y="86"/>
                    </a:cubicBezTo>
                    <a:cubicBezTo>
                      <a:pt x="83" y="85"/>
                      <a:pt x="83" y="85"/>
                      <a:pt x="83" y="85"/>
                    </a:cubicBezTo>
                    <a:cubicBezTo>
                      <a:pt x="83" y="85"/>
                      <a:pt x="77" y="78"/>
                      <a:pt x="68" y="68"/>
                    </a:cubicBezTo>
                    <a:close/>
                  </a:path>
                </a:pathLst>
              </a:custGeom>
              <a:solidFill>
                <a:srgbClr val="B1B1B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1828434" fontAlgn="auto">
                  <a:spcBef>
                    <a:spcPts val="0"/>
                  </a:spcBef>
                  <a:spcAft>
                    <a:spcPts val="0"/>
                  </a:spcAft>
                  <a:defRPr/>
                </a:pPr>
                <a:endParaRPr lang="id-ID" dirty="0">
                  <a:ea typeface="+mn-ea"/>
                  <a:cs typeface="+mn-cs"/>
                </a:endParaRPr>
              </a:p>
            </p:txBody>
          </p:sp>
          <p:sp>
            <p:nvSpPr>
              <p:cNvPr id="27" name="Freeform 22"/>
              <p:cNvSpPr>
                <a:spLocks/>
              </p:cNvSpPr>
              <p:nvPr/>
            </p:nvSpPr>
            <p:spPr bwMode="auto">
              <a:xfrm>
                <a:off x="8129589" y="4606925"/>
                <a:ext cx="782638" cy="903287"/>
              </a:xfrm>
              <a:custGeom>
                <a:avLst/>
                <a:gdLst>
                  <a:gd name="T0" fmla="*/ 204 w 208"/>
                  <a:gd name="T1" fmla="*/ 156 h 240"/>
                  <a:gd name="T2" fmla="*/ 48 w 208"/>
                  <a:gd name="T3" fmla="*/ 0 h 240"/>
                  <a:gd name="T4" fmla="*/ 48 w 208"/>
                  <a:gd name="T5" fmla="*/ 0 h 240"/>
                  <a:gd name="T6" fmla="*/ 35 w 208"/>
                  <a:gd name="T7" fmla="*/ 53 h 240"/>
                  <a:gd name="T8" fmla="*/ 0 w 208"/>
                  <a:gd name="T9" fmla="*/ 84 h 240"/>
                  <a:gd name="T10" fmla="*/ 156 w 208"/>
                  <a:gd name="T11" fmla="*/ 240 h 240"/>
                  <a:gd name="T12" fmla="*/ 189 w 208"/>
                  <a:gd name="T13" fmla="*/ 215 h 240"/>
                  <a:gd name="T14" fmla="*/ 192 w 208"/>
                  <a:gd name="T15" fmla="*/ 209 h 240"/>
                  <a:gd name="T16" fmla="*/ 195 w 208"/>
                  <a:gd name="T17" fmla="*/ 204 h 240"/>
                  <a:gd name="T18" fmla="*/ 204 w 208"/>
                  <a:gd name="T19" fmla="*/ 15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40">
                    <a:moveTo>
                      <a:pt x="204" y="156"/>
                    </a:moveTo>
                    <a:cubicBezTo>
                      <a:pt x="48" y="0"/>
                      <a:pt x="48" y="0"/>
                      <a:pt x="48" y="0"/>
                    </a:cubicBezTo>
                    <a:cubicBezTo>
                      <a:pt x="48" y="0"/>
                      <a:pt x="48" y="0"/>
                      <a:pt x="48" y="0"/>
                    </a:cubicBezTo>
                    <a:cubicBezTo>
                      <a:pt x="54" y="6"/>
                      <a:pt x="48" y="30"/>
                      <a:pt x="35" y="53"/>
                    </a:cubicBezTo>
                    <a:cubicBezTo>
                      <a:pt x="22" y="75"/>
                      <a:pt x="7" y="89"/>
                      <a:pt x="0" y="84"/>
                    </a:cubicBezTo>
                    <a:cubicBezTo>
                      <a:pt x="156" y="240"/>
                      <a:pt x="156" y="240"/>
                      <a:pt x="156" y="240"/>
                    </a:cubicBezTo>
                    <a:cubicBezTo>
                      <a:pt x="156" y="240"/>
                      <a:pt x="173" y="237"/>
                      <a:pt x="189" y="215"/>
                    </a:cubicBezTo>
                    <a:cubicBezTo>
                      <a:pt x="190" y="213"/>
                      <a:pt x="191" y="211"/>
                      <a:pt x="192" y="209"/>
                    </a:cubicBezTo>
                    <a:cubicBezTo>
                      <a:pt x="193" y="208"/>
                      <a:pt x="194" y="206"/>
                      <a:pt x="195" y="204"/>
                    </a:cubicBezTo>
                    <a:cubicBezTo>
                      <a:pt x="208" y="179"/>
                      <a:pt x="204" y="156"/>
                      <a:pt x="204" y="156"/>
                    </a:cubicBez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1828434" fontAlgn="auto">
                  <a:spcBef>
                    <a:spcPts val="0"/>
                  </a:spcBef>
                  <a:spcAft>
                    <a:spcPts val="0"/>
                  </a:spcAft>
                  <a:defRPr/>
                </a:pPr>
                <a:endParaRPr lang="id-ID" dirty="0">
                  <a:ea typeface="+mn-ea"/>
                  <a:cs typeface="+mn-cs"/>
                </a:endParaRPr>
              </a:p>
            </p:txBody>
          </p:sp>
          <p:sp>
            <p:nvSpPr>
              <p:cNvPr id="28" name="Freeform 23"/>
              <p:cNvSpPr>
                <a:spLocks/>
              </p:cNvSpPr>
              <p:nvPr/>
            </p:nvSpPr>
            <p:spPr bwMode="auto">
              <a:xfrm>
                <a:off x="8113713" y="4592638"/>
                <a:ext cx="219075" cy="349250"/>
              </a:xfrm>
              <a:custGeom>
                <a:avLst/>
                <a:gdLst>
                  <a:gd name="T0" fmla="*/ 52 w 58"/>
                  <a:gd name="T1" fmla="*/ 4 h 93"/>
                  <a:gd name="T2" fmla="*/ 32 w 58"/>
                  <a:gd name="T3" fmla="*/ 13 h 93"/>
                  <a:gd name="T4" fmla="*/ 39 w 58"/>
                  <a:gd name="T5" fmla="*/ 21 h 93"/>
                  <a:gd name="T6" fmla="*/ 39 w 58"/>
                  <a:gd name="T7" fmla="*/ 26 h 93"/>
                  <a:gd name="T8" fmla="*/ 32 w 58"/>
                  <a:gd name="T9" fmla="*/ 51 h 93"/>
                  <a:gd name="T10" fmla="*/ 16 w 58"/>
                  <a:gd name="T11" fmla="*/ 66 h 93"/>
                  <a:gd name="T12" fmla="*/ 13 w 58"/>
                  <a:gd name="T13" fmla="*/ 67 h 93"/>
                  <a:gd name="T14" fmla="*/ 5 w 58"/>
                  <a:gd name="T15" fmla="*/ 59 h 93"/>
                  <a:gd name="T16" fmla="*/ 4 w 58"/>
                  <a:gd name="T17" fmla="*/ 87 h 93"/>
                  <a:gd name="T18" fmla="*/ 4 w 58"/>
                  <a:gd name="T19" fmla="*/ 88 h 93"/>
                  <a:gd name="T20" fmla="*/ 39 w 58"/>
                  <a:gd name="T21" fmla="*/ 57 h 93"/>
                  <a:gd name="T22" fmla="*/ 52 w 58"/>
                  <a:gd name="T23" fmla="*/ 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93">
                    <a:moveTo>
                      <a:pt x="52" y="4"/>
                    </a:moveTo>
                    <a:cubicBezTo>
                      <a:pt x="48" y="0"/>
                      <a:pt x="40" y="4"/>
                      <a:pt x="32" y="13"/>
                    </a:cubicBezTo>
                    <a:cubicBezTo>
                      <a:pt x="37" y="18"/>
                      <a:pt x="39" y="21"/>
                      <a:pt x="39" y="21"/>
                    </a:cubicBezTo>
                    <a:cubicBezTo>
                      <a:pt x="39" y="21"/>
                      <a:pt x="40" y="23"/>
                      <a:pt x="39" y="26"/>
                    </a:cubicBezTo>
                    <a:cubicBezTo>
                      <a:pt x="39" y="31"/>
                      <a:pt x="38" y="40"/>
                      <a:pt x="32" y="51"/>
                    </a:cubicBezTo>
                    <a:cubicBezTo>
                      <a:pt x="25" y="61"/>
                      <a:pt x="20" y="65"/>
                      <a:pt x="16" y="66"/>
                    </a:cubicBezTo>
                    <a:cubicBezTo>
                      <a:pt x="14" y="67"/>
                      <a:pt x="13" y="67"/>
                      <a:pt x="13" y="67"/>
                    </a:cubicBezTo>
                    <a:cubicBezTo>
                      <a:pt x="13" y="67"/>
                      <a:pt x="10" y="64"/>
                      <a:pt x="5" y="59"/>
                    </a:cubicBezTo>
                    <a:cubicBezTo>
                      <a:pt x="1" y="72"/>
                      <a:pt x="0" y="83"/>
                      <a:pt x="4" y="87"/>
                    </a:cubicBezTo>
                    <a:cubicBezTo>
                      <a:pt x="4" y="88"/>
                      <a:pt x="4" y="88"/>
                      <a:pt x="4" y="88"/>
                    </a:cubicBezTo>
                    <a:cubicBezTo>
                      <a:pt x="11" y="93"/>
                      <a:pt x="26" y="79"/>
                      <a:pt x="39" y="57"/>
                    </a:cubicBezTo>
                    <a:cubicBezTo>
                      <a:pt x="52" y="34"/>
                      <a:pt x="58" y="10"/>
                      <a:pt x="52" y="4"/>
                    </a:cubicBezTo>
                    <a:close/>
                  </a:path>
                </a:pathLst>
              </a:custGeom>
              <a:solidFill>
                <a:srgbClr val="B1B1B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1828434" fontAlgn="auto">
                  <a:spcBef>
                    <a:spcPts val="0"/>
                  </a:spcBef>
                  <a:spcAft>
                    <a:spcPts val="0"/>
                  </a:spcAft>
                  <a:defRPr/>
                </a:pPr>
                <a:endParaRPr lang="id-ID" dirty="0">
                  <a:ea typeface="+mn-ea"/>
                  <a:cs typeface="+mn-cs"/>
                </a:endParaRPr>
              </a:p>
            </p:txBody>
          </p:sp>
          <p:sp>
            <p:nvSpPr>
              <p:cNvPr id="29" name="Freeform 24"/>
              <p:cNvSpPr>
                <a:spLocks/>
              </p:cNvSpPr>
              <p:nvPr/>
            </p:nvSpPr>
            <p:spPr bwMode="auto">
              <a:xfrm>
                <a:off x="6076950" y="3233738"/>
                <a:ext cx="754063" cy="647700"/>
              </a:xfrm>
              <a:custGeom>
                <a:avLst/>
                <a:gdLst>
                  <a:gd name="T0" fmla="*/ 82 w 200"/>
                  <a:gd name="T1" fmla="*/ 64 h 172"/>
                  <a:gd name="T2" fmla="*/ 200 w 200"/>
                  <a:gd name="T3" fmla="*/ 38 h 172"/>
                  <a:gd name="T4" fmla="*/ 200 w 200"/>
                  <a:gd name="T5" fmla="*/ 36 h 172"/>
                  <a:gd name="T6" fmla="*/ 73 w 200"/>
                  <a:gd name="T7" fmla="*/ 14 h 172"/>
                  <a:gd name="T8" fmla="*/ 8 w 200"/>
                  <a:gd name="T9" fmla="*/ 126 h 172"/>
                  <a:gd name="T10" fmla="*/ 63 w 200"/>
                  <a:gd name="T11" fmla="*/ 172 h 172"/>
                  <a:gd name="T12" fmla="*/ 82 w 200"/>
                  <a:gd name="T13" fmla="*/ 64 h 172"/>
                </a:gdLst>
                <a:ahLst/>
                <a:cxnLst>
                  <a:cxn ang="0">
                    <a:pos x="T0" y="T1"/>
                  </a:cxn>
                  <a:cxn ang="0">
                    <a:pos x="T2" y="T3"/>
                  </a:cxn>
                  <a:cxn ang="0">
                    <a:pos x="T4" y="T5"/>
                  </a:cxn>
                  <a:cxn ang="0">
                    <a:pos x="T6" y="T7"/>
                  </a:cxn>
                  <a:cxn ang="0">
                    <a:pos x="T8" y="T9"/>
                  </a:cxn>
                  <a:cxn ang="0">
                    <a:pos x="T10" y="T11"/>
                  </a:cxn>
                  <a:cxn ang="0">
                    <a:pos x="T12" y="T13"/>
                  </a:cxn>
                </a:cxnLst>
                <a:rect l="0" t="0" r="r" b="b"/>
                <a:pathLst>
                  <a:path w="200" h="172">
                    <a:moveTo>
                      <a:pt x="82" y="64"/>
                    </a:moveTo>
                    <a:cubicBezTo>
                      <a:pt x="105" y="25"/>
                      <a:pt x="156" y="22"/>
                      <a:pt x="200" y="38"/>
                    </a:cubicBezTo>
                    <a:cubicBezTo>
                      <a:pt x="200" y="37"/>
                      <a:pt x="199" y="36"/>
                      <a:pt x="200" y="36"/>
                    </a:cubicBezTo>
                    <a:cubicBezTo>
                      <a:pt x="159" y="13"/>
                      <a:pt x="108" y="0"/>
                      <a:pt x="73" y="14"/>
                    </a:cubicBezTo>
                    <a:cubicBezTo>
                      <a:pt x="5" y="41"/>
                      <a:pt x="0" y="80"/>
                      <a:pt x="8" y="126"/>
                    </a:cubicBezTo>
                    <a:cubicBezTo>
                      <a:pt x="13" y="151"/>
                      <a:pt x="34" y="167"/>
                      <a:pt x="63" y="172"/>
                    </a:cubicBezTo>
                    <a:cubicBezTo>
                      <a:pt x="57" y="136"/>
                      <a:pt x="63" y="96"/>
                      <a:pt x="82" y="64"/>
                    </a:cubicBezTo>
                    <a:close/>
                  </a:path>
                </a:pathLst>
              </a:custGeom>
              <a:solidFill>
                <a:schemeClr val="bg1">
                  <a:lumMod val="65000"/>
                </a:schemeClr>
              </a:solidFill>
              <a:ln>
                <a:noFill/>
              </a:ln>
            </p:spPr>
            <p:txBody>
              <a:bodyPr/>
              <a:lstStyle/>
              <a:p>
                <a:pPr defTabSz="1828434" fontAlgn="auto">
                  <a:spcBef>
                    <a:spcPts val="0"/>
                  </a:spcBef>
                  <a:spcAft>
                    <a:spcPts val="0"/>
                  </a:spcAft>
                  <a:defRPr/>
                </a:pPr>
                <a:endParaRPr lang="id-ID" dirty="0">
                  <a:ea typeface="+mn-ea"/>
                  <a:cs typeface="+mn-cs"/>
                </a:endParaRPr>
              </a:p>
            </p:txBody>
          </p:sp>
          <p:sp>
            <p:nvSpPr>
              <p:cNvPr id="30" name="Freeform 25"/>
              <p:cNvSpPr>
                <a:spLocks/>
              </p:cNvSpPr>
              <p:nvPr/>
            </p:nvSpPr>
            <p:spPr bwMode="auto">
              <a:xfrm>
                <a:off x="6634163" y="2638425"/>
                <a:ext cx="279400" cy="730250"/>
              </a:xfrm>
              <a:custGeom>
                <a:avLst/>
                <a:gdLst>
                  <a:gd name="T0" fmla="*/ 40 w 74"/>
                  <a:gd name="T1" fmla="*/ 38 h 194"/>
                  <a:gd name="T2" fmla="*/ 74 w 74"/>
                  <a:gd name="T3" fmla="*/ 0 h 194"/>
                  <a:gd name="T4" fmla="*/ 1 w 74"/>
                  <a:gd name="T5" fmla="*/ 100 h 194"/>
                  <a:gd name="T6" fmla="*/ 52 w 74"/>
                  <a:gd name="T7" fmla="*/ 194 h 194"/>
                  <a:gd name="T8" fmla="*/ 52 w 74"/>
                  <a:gd name="T9" fmla="*/ 194 h 194"/>
                  <a:gd name="T10" fmla="*/ 40 w 74"/>
                  <a:gd name="T11" fmla="*/ 38 h 194"/>
                </a:gdLst>
                <a:ahLst/>
                <a:cxnLst>
                  <a:cxn ang="0">
                    <a:pos x="T0" y="T1"/>
                  </a:cxn>
                  <a:cxn ang="0">
                    <a:pos x="T2" y="T3"/>
                  </a:cxn>
                  <a:cxn ang="0">
                    <a:pos x="T4" y="T5"/>
                  </a:cxn>
                  <a:cxn ang="0">
                    <a:pos x="T6" y="T7"/>
                  </a:cxn>
                  <a:cxn ang="0">
                    <a:pos x="T8" y="T9"/>
                  </a:cxn>
                  <a:cxn ang="0">
                    <a:pos x="T10" y="T11"/>
                  </a:cxn>
                </a:cxnLst>
                <a:rect l="0" t="0" r="r" b="b"/>
                <a:pathLst>
                  <a:path w="74" h="194">
                    <a:moveTo>
                      <a:pt x="40" y="38"/>
                    </a:moveTo>
                    <a:cubicBezTo>
                      <a:pt x="50" y="21"/>
                      <a:pt x="62" y="9"/>
                      <a:pt x="74" y="0"/>
                    </a:cubicBezTo>
                    <a:cubicBezTo>
                      <a:pt x="32" y="10"/>
                      <a:pt x="0" y="31"/>
                      <a:pt x="1" y="100"/>
                    </a:cubicBezTo>
                    <a:cubicBezTo>
                      <a:pt x="1" y="132"/>
                      <a:pt x="23" y="166"/>
                      <a:pt x="52" y="194"/>
                    </a:cubicBezTo>
                    <a:cubicBezTo>
                      <a:pt x="52" y="194"/>
                      <a:pt x="52" y="194"/>
                      <a:pt x="52" y="194"/>
                    </a:cubicBezTo>
                    <a:cubicBezTo>
                      <a:pt x="29" y="143"/>
                      <a:pt x="18" y="77"/>
                      <a:pt x="40" y="38"/>
                    </a:cubicBezTo>
                    <a:close/>
                  </a:path>
                </a:pathLst>
              </a:custGeom>
              <a:solidFill>
                <a:schemeClr val="bg1">
                  <a:lumMod val="65000"/>
                </a:schemeClr>
              </a:solidFill>
              <a:ln>
                <a:noFill/>
              </a:ln>
            </p:spPr>
            <p:txBody>
              <a:bodyPr/>
              <a:lstStyle/>
              <a:p>
                <a:pPr defTabSz="1828434" fontAlgn="auto">
                  <a:spcBef>
                    <a:spcPts val="0"/>
                  </a:spcBef>
                  <a:spcAft>
                    <a:spcPts val="0"/>
                  </a:spcAft>
                  <a:defRPr/>
                </a:pPr>
                <a:endParaRPr lang="id-ID" dirty="0">
                  <a:ea typeface="+mn-ea"/>
                  <a:cs typeface="+mn-cs"/>
                </a:endParaRPr>
              </a:p>
            </p:txBody>
          </p:sp>
          <p:sp>
            <p:nvSpPr>
              <p:cNvPr id="31" name="Freeform 26"/>
              <p:cNvSpPr>
                <a:spLocks/>
              </p:cNvSpPr>
              <p:nvPr/>
            </p:nvSpPr>
            <p:spPr bwMode="auto">
              <a:xfrm>
                <a:off x="6291263" y="3296039"/>
                <a:ext cx="803275" cy="974725"/>
              </a:xfrm>
              <a:custGeom>
                <a:avLst/>
                <a:gdLst>
                  <a:gd name="T0" fmla="*/ 199 w 213"/>
                  <a:gd name="T1" fmla="*/ 83 h 259"/>
                  <a:gd name="T2" fmla="*/ 143 w 213"/>
                  <a:gd name="T3" fmla="*/ 16 h 259"/>
                  <a:gd name="T4" fmla="*/ 25 w 213"/>
                  <a:gd name="T5" fmla="*/ 42 h 259"/>
                  <a:gd name="T6" fmla="*/ 6 w 213"/>
                  <a:gd name="T7" fmla="*/ 150 h 259"/>
                  <a:gd name="T8" fmla="*/ 39 w 213"/>
                  <a:gd name="T9" fmla="*/ 218 h 259"/>
                  <a:gd name="T10" fmla="*/ 172 w 213"/>
                  <a:gd name="T11" fmla="*/ 190 h 259"/>
                  <a:gd name="T12" fmla="*/ 211 w 213"/>
                  <a:gd name="T13" fmla="*/ 104 h 259"/>
                  <a:gd name="T14" fmla="*/ 213 w 213"/>
                  <a:gd name="T15" fmla="*/ 99 h 259"/>
                  <a:gd name="T16" fmla="*/ 212 w 213"/>
                  <a:gd name="T17" fmla="*/ 98 h 259"/>
                  <a:gd name="T18" fmla="*/ 199 w 213"/>
                  <a:gd name="T19" fmla="*/ 8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59">
                    <a:moveTo>
                      <a:pt x="199" y="83"/>
                    </a:moveTo>
                    <a:cubicBezTo>
                      <a:pt x="173" y="54"/>
                      <a:pt x="145" y="23"/>
                      <a:pt x="143" y="16"/>
                    </a:cubicBezTo>
                    <a:cubicBezTo>
                      <a:pt x="99" y="0"/>
                      <a:pt x="48" y="3"/>
                      <a:pt x="25" y="42"/>
                    </a:cubicBezTo>
                    <a:cubicBezTo>
                      <a:pt x="6" y="74"/>
                      <a:pt x="0" y="114"/>
                      <a:pt x="6" y="150"/>
                    </a:cubicBezTo>
                    <a:cubicBezTo>
                      <a:pt x="11" y="176"/>
                      <a:pt x="22" y="201"/>
                      <a:pt x="39" y="218"/>
                    </a:cubicBezTo>
                    <a:cubicBezTo>
                      <a:pt x="80" y="259"/>
                      <a:pt x="140" y="246"/>
                      <a:pt x="172" y="190"/>
                    </a:cubicBezTo>
                    <a:cubicBezTo>
                      <a:pt x="191" y="158"/>
                      <a:pt x="207" y="130"/>
                      <a:pt x="211" y="104"/>
                    </a:cubicBezTo>
                    <a:cubicBezTo>
                      <a:pt x="212" y="102"/>
                      <a:pt x="213" y="101"/>
                      <a:pt x="213" y="99"/>
                    </a:cubicBezTo>
                    <a:cubicBezTo>
                      <a:pt x="213" y="99"/>
                      <a:pt x="213" y="98"/>
                      <a:pt x="212" y="98"/>
                    </a:cubicBezTo>
                    <a:cubicBezTo>
                      <a:pt x="207" y="92"/>
                      <a:pt x="203" y="87"/>
                      <a:pt x="199" y="83"/>
                    </a:cubicBezTo>
                    <a:close/>
                  </a:path>
                </a:pathLst>
              </a:custGeom>
              <a:solidFill>
                <a:schemeClr val="accent5">
                  <a:lumMod val="50000"/>
                </a:schemeClr>
              </a:solidFill>
              <a:ln>
                <a:noFill/>
              </a:ln>
            </p:spPr>
            <p:txBody>
              <a:bodyPr/>
              <a:lstStyle/>
              <a:p>
                <a:pPr defTabSz="1828434" fontAlgn="auto">
                  <a:spcBef>
                    <a:spcPts val="0"/>
                  </a:spcBef>
                  <a:spcAft>
                    <a:spcPts val="0"/>
                  </a:spcAft>
                  <a:defRPr/>
                </a:pPr>
                <a:endParaRPr lang="id-ID" dirty="0">
                  <a:ea typeface="+mn-ea"/>
                  <a:cs typeface="+mn-cs"/>
                </a:endParaRPr>
              </a:p>
            </p:txBody>
          </p:sp>
          <p:sp>
            <p:nvSpPr>
              <p:cNvPr id="32" name="Freeform 27"/>
              <p:cNvSpPr>
                <a:spLocks/>
              </p:cNvSpPr>
              <p:nvPr/>
            </p:nvSpPr>
            <p:spPr bwMode="auto">
              <a:xfrm>
                <a:off x="6692301" y="2566001"/>
                <a:ext cx="763588" cy="1065212"/>
              </a:xfrm>
              <a:custGeom>
                <a:avLst/>
                <a:gdLst>
                  <a:gd name="T0" fmla="*/ 22 w 203"/>
                  <a:gd name="T1" fmla="*/ 60 h 283"/>
                  <a:gd name="T2" fmla="*/ 34 w 203"/>
                  <a:gd name="T3" fmla="*/ 216 h 283"/>
                  <a:gd name="T4" fmla="*/ 72 w 203"/>
                  <a:gd name="T5" fmla="*/ 246 h 283"/>
                  <a:gd name="T6" fmla="*/ 95 w 203"/>
                  <a:gd name="T7" fmla="*/ 267 h 283"/>
                  <a:gd name="T8" fmla="*/ 99 w 203"/>
                  <a:gd name="T9" fmla="*/ 270 h 283"/>
                  <a:gd name="T10" fmla="*/ 113 w 203"/>
                  <a:gd name="T11" fmla="*/ 283 h 283"/>
                  <a:gd name="T12" fmla="*/ 170 w 203"/>
                  <a:gd name="T13" fmla="*/ 207 h 283"/>
                  <a:gd name="T14" fmla="*/ 155 w 203"/>
                  <a:gd name="T15" fmla="*/ 31 h 283"/>
                  <a:gd name="T16" fmla="*/ 56 w 203"/>
                  <a:gd name="T17" fmla="*/ 22 h 283"/>
                  <a:gd name="T18" fmla="*/ 22 w 203"/>
                  <a:gd name="T19" fmla="*/ 6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83">
                    <a:moveTo>
                      <a:pt x="22" y="60"/>
                    </a:moveTo>
                    <a:cubicBezTo>
                      <a:pt x="0" y="99"/>
                      <a:pt x="11" y="165"/>
                      <a:pt x="34" y="216"/>
                    </a:cubicBezTo>
                    <a:cubicBezTo>
                      <a:pt x="37" y="216"/>
                      <a:pt x="55" y="231"/>
                      <a:pt x="72" y="246"/>
                    </a:cubicBezTo>
                    <a:cubicBezTo>
                      <a:pt x="79" y="252"/>
                      <a:pt x="87" y="259"/>
                      <a:pt x="95" y="267"/>
                    </a:cubicBezTo>
                    <a:cubicBezTo>
                      <a:pt x="97" y="268"/>
                      <a:pt x="98" y="269"/>
                      <a:pt x="99" y="270"/>
                    </a:cubicBezTo>
                    <a:cubicBezTo>
                      <a:pt x="103" y="274"/>
                      <a:pt x="108" y="278"/>
                      <a:pt x="113" y="283"/>
                    </a:cubicBezTo>
                    <a:cubicBezTo>
                      <a:pt x="133" y="272"/>
                      <a:pt x="150" y="241"/>
                      <a:pt x="170" y="207"/>
                    </a:cubicBezTo>
                    <a:cubicBezTo>
                      <a:pt x="203" y="151"/>
                      <a:pt x="196" y="72"/>
                      <a:pt x="155" y="31"/>
                    </a:cubicBezTo>
                    <a:cubicBezTo>
                      <a:pt x="126" y="2"/>
                      <a:pt x="88" y="0"/>
                      <a:pt x="56" y="22"/>
                    </a:cubicBezTo>
                    <a:cubicBezTo>
                      <a:pt x="44" y="31"/>
                      <a:pt x="32" y="43"/>
                      <a:pt x="22" y="60"/>
                    </a:cubicBezTo>
                    <a:close/>
                  </a:path>
                </a:pathLst>
              </a:custGeom>
              <a:solidFill>
                <a:schemeClr val="accent5">
                  <a:lumMod val="50000"/>
                </a:schemeClr>
              </a:solidFill>
              <a:ln>
                <a:noFill/>
              </a:ln>
            </p:spPr>
            <p:txBody>
              <a:bodyPr/>
              <a:lstStyle/>
              <a:p>
                <a:pPr defTabSz="1828434" fontAlgn="auto">
                  <a:spcBef>
                    <a:spcPts val="0"/>
                  </a:spcBef>
                  <a:spcAft>
                    <a:spcPts val="0"/>
                  </a:spcAft>
                  <a:defRPr/>
                </a:pPr>
                <a:endParaRPr lang="id-ID" dirty="0">
                  <a:ea typeface="+mn-ea"/>
                  <a:cs typeface="+mn-cs"/>
                </a:endParaRPr>
              </a:p>
            </p:txBody>
          </p:sp>
          <p:sp>
            <p:nvSpPr>
              <p:cNvPr id="33" name="Freeform 28"/>
              <p:cNvSpPr>
                <a:spLocks/>
              </p:cNvSpPr>
              <p:nvPr/>
            </p:nvSpPr>
            <p:spPr bwMode="auto">
              <a:xfrm>
                <a:off x="6826250" y="3368675"/>
                <a:ext cx="1438275" cy="1476375"/>
              </a:xfrm>
              <a:custGeom>
                <a:avLst/>
                <a:gdLst>
                  <a:gd name="T0" fmla="*/ 381 w 382"/>
                  <a:gd name="T1" fmla="*/ 346 h 392"/>
                  <a:gd name="T2" fmla="*/ 374 w 382"/>
                  <a:gd name="T3" fmla="*/ 338 h 392"/>
                  <a:gd name="T4" fmla="*/ 80 w 382"/>
                  <a:gd name="T5" fmla="*/ 67 h 392"/>
                  <a:gd name="T6" fmla="*/ 66 w 382"/>
                  <a:gd name="T7" fmla="*/ 54 h 392"/>
                  <a:gd name="T8" fmla="*/ 62 w 382"/>
                  <a:gd name="T9" fmla="*/ 51 h 392"/>
                  <a:gd name="T10" fmla="*/ 39 w 382"/>
                  <a:gd name="T11" fmla="*/ 30 h 392"/>
                  <a:gd name="T12" fmla="*/ 1 w 382"/>
                  <a:gd name="T13" fmla="*/ 0 h 392"/>
                  <a:gd name="T14" fmla="*/ 1 w 382"/>
                  <a:gd name="T15" fmla="*/ 0 h 392"/>
                  <a:gd name="T16" fmla="*/ 1 w 382"/>
                  <a:gd name="T17" fmla="*/ 0 h 392"/>
                  <a:gd name="T18" fmla="*/ 1 w 382"/>
                  <a:gd name="T19" fmla="*/ 0 h 392"/>
                  <a:gd name="T20" fmla="*/ 1 w 382"/>
                  <a:gd name="T21" fmla="*/ 2 h 392"/>
                  <a:gd name="T22" fmla="*/ 57 w 382"/>
                  <a:gd name="T23" fmla="*/ 69 h 392"/>
                  <a:gd name="T24" fmla="*/ 70 w 382"/>
                  <a:gd name="T25" fmla="*/ 84 h 392"/>
                  <a:gd name="T26" fmla="*/ 71 w 382"/>
                  <a:gd name="T27" fmla="*/ 85 h 392"/>
                  <a:gd name="T28" fmla="*/ 347 w 382"/>
                  <a:gd name="T29" fmla="*/ 384 h 392"/>
                  <a:gd name="T30" fmla="*/ 355 w 382"/>
                  <a:gd name="T31" fmla="*/ 392 h 392"/>
                  <a:gd name="T32" fmla="*/ 358 w 382"/>
                  <a:gd name="T33" fmla="*/ 391 h 392"/>
                  <a:gd name="T34" fmla="*/ 374 w 382"/>
                  <a:gd name="T35" fmla="*/ 376 h 392"/>
                  <a:gd name="T36" fmla="*/ 381 w 382"/>
                  <a:gd name="T37" fmla="*/ 351 h 392"/>
                  <a:gd name="T38" fmla="*/ 381 w 382"/>
                  <a:gd name="T39" fmla="*/ 34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2" h="392">
                    <a:moveTo>
                      <a:pt x="381" y="346"/>
                    </a:moveTo>
                    <a:cubicBezTo>
                      <a:pt x="381" y="346"/>
                      <a:pt x="379" y="343"/>
                      <a:pt x="374" y="338"/>
                    </a:cubicBezTo>
                    <a:cubicBezTo>
                      <a:pt x="337" y="304"/>
                      <a:pt x="177" y="154"/>
                      <a:pt x="80" y="67"/>
                    </a:cubicBezTo>
                    <a:cubicBezTo>
                      <a:pt x="75" y="62"/>
                      <a:pt x="70" y="58"/>
                      <a:pt x="66" y="54"/>
                    </a:cubicBezTo>
                    <a:cubicBezTo>
                      <a:pt x="65" y="53"/>
                      <a:pt x="64" y="52"/>
                      <a:pt x="62" y="51"/>
                    </a:cubicBezTo>
                    <a:cubicBezTo>
                      <a:pt x="54" y="43"/>
                      <a:pt x="46" y="36"/>
                      <a:pt x="39" y="30"/>
                    </a:cubicBezTo>
                    <a:cubicBezTo>
                      <a:pt x="22" y="15"/>
                      <a:pt x="4" y="0"/>
                      <a:pt x="1" y="0"/>
                    </a:cubicBezTo>
                    <a:cubicBezTo>
                      <a:pt x="1" y="0"/>
                      <a:pt x="1" y="0"/>
                      <a:pt x="1" y="0"/>
                    </a:cubicBezTo>
                    <a:cubicBezTo>
                      <a:pt x="1" y="0"/>
                      <a:pt x="1" y="0"/>
                      <a:pt x="1" y="0"/>
                    </a:cubicBezTo>
                    <a:cubicBezTo>
                      <a:pt x="1" y="0"/>
                      <a:pt x="1" y="0"/>
                      <a:pt x="1" y="0"/>
                    </a:cubicBezTo>
                    <a:cubicBezTo>
                      <a:pt x="0" y="0"/>
                      <a:pt x="1" y="1"/>
                      <a:pt x="1" y="2"/>
                    </a:cubicBezTo>
                    <a:cubicBezTo>
                      <a:pt x="3" y="9"/>
                      <a:pt x="31" y="40"/>
                      <a:pt x="57" y="69"/>
                    </a:cubicBezTo>
                    <a:cubicBezTo>
                      <a:pt x="61" y="73"/>
                      <a:pt x="65" y="78"/>
                      <a:pt x="70" y="84"/>
                    </a:cubicBezTo>
                    <a:cubicBezTo>
                      <a:pt x="71" y="84"/>
                      <a:pt x="71" y="85"/>
                      <a:pt x="71" y="85"/>
                    </a:cubicBezTo>
                    <a:cubicBezTo>
                      <a:pt x="162" y="186"/>
                      <a:pt x="312" y="347"/>
                      <a:pt x="347" y="384"/>
                    </a:cubicBezTo>
                    <a:cubicBezTo>
                      <a:pt x="352" y="389"/>
                      <a:pt x="355" y="392"/>
                      <a:pt x="355" y="392"/>
                    </a:cubicBezTo>
                    <a:cubicBezTo>
                      <a:pt x="355" y="392"/>
                      <a:pt x="356" y="392"/>
                      <a:pt x="358" y="391"/>
                    </a:cubicBezTo>
                    <a:cubicBezTo>
                      <a:pt x="362" y="390"/>
                      <a:pt x="367" y="386"/>
                      <a:pt x="374" y="376"/>
                    </a:cubicBezTo>
                    <a:cubicBezTo>
                      <a:pt x="380" y="365"/>
                      <a:pt x="381" y="356"/>
                      <a:pt x="381" y="351"/>
                    </a:cubicBezTo>
                    <a:cubicBezTo>
                      <a:pt x="382" y="348"/>
                      <a:pt x="381" y="346"/>
                      <a:pt x="381" y="346"/>
                    </a:cubicBezTo>
                    <a:close/>
                  </a:path>
                </a:pathLst>
              </a:custGeom>
              <a:solidFill>
                <a:schemeClr val="accent5"/>
              </a:solidFill>
              <a:ln>
                <a:noFill/>
              </a:ln>
            </p:spPr>
            <p:txBody>
              <a:bodyPr/>
              <a:lstStyle/>
              <a:p>
                <a:pPr defTabSz="1828434" fontAlgn="auto">
                  <a:spcBef>
                    <a:spcPts val="0"/>
                  </a:spcBef>
                  <a:spcAft>
                    <a:spcPts val="0"/>
                  </a:spcAft>
                  <a:defRPr/>
                </a:pPr>
                <a:endParaRPr lang="id-ID" dirty="0">
                  <a:ea typeface="+mn-ea"/>
                  <a:cs typeface="+mn-cs"/>
                </a:endParaRPr>
              </a:p>
            </p:txBody>
          </p:sp>
        </p:grpSp>
      </p:grpSp>
      <p:sp>
        <p:nvSpPr>
          <p:cNvPr id="38" name="Rectangle 37"/>
          <p:cNvSpPr/>
          <p:nvPr/>
        </p:nvSpPr>
        <p:spPr>
          <a:xfrm>
            <a:off x="3598833" y="2083156"/>
            <a:ext cx="2337677" cy="460773"/>
          </a:xfrm>
          <a:prstGeom prst="rect">
            <a:avLst/>
          </a:prstGeom>
        </p:spPr>
        <p:txBody>
          <a:bodyPr vert="horz" wrap="square" lIns="91416" tIns="45708" rIns="91416" bIns="45708" rtlCol="0" anchor="ctr">
            <a:noAutofit/>
          </a:bodyPr>
          <a:lstStyle/>
          <a:p>
            <a:pPr algn="r">
              <a:lnSpc>
                <a:spcPct val="90000"/>
              </a:lnSpc>
              <a:spcBef>
                <a:spcPct val="0"/>
              </a:spcBef>
            </a:pPr>
            <a:r>
              <a:rPr lang="en-US" sz="1600" b="1" noProof="1">
                <a:solidFill>
                  <a:schemeClr val="tx1">
                    <a:lumMod val="85000"/>
                    <a:lumOff val="15000"/>
                  </a:schemeClr>
                </a:solidFill>
                <a:ea typeface="Roboto" panose="02000000000000000000" pitchFamily="2" charset="0"/>
                <a:cs typeface="Times New Roman" panose="02020603050405020304" pitchFamily="18" charset="0"/>
              </a:rPr>
              <a:t>Advertising</a:t>
            </a:r>
          </a:p>
        </p:txBody>
      </p:sp>
      <p:sp>
        <p:nvSpPr>
          <p:cNvPr id="39" name="Rectangle 38"/>
          <p:cNvSpPr/>
          <p:nvPr/>
        </p:nvSpPr>
        <p:spPr>
          <a:xfrm>
            <a:off x="2029399" y="2584355"/>
            <a:ext cx="3942224" cy="1171731"/>
          </a:xfrm>
          <a:prstGeom prst="rect">
            <a:avLst/>
          </a:prstGeom>
        </p:spPr>
        <p:txBody>
          <a:bodyPr wrap="square">
            <a:spAutoFit/>
          </a:bodyPr>
          <a:lstStyle/>
          <a:p>
            <a:pPr algn="r">
              <a:lnSpc>
                <a:spcPct val="150000"/>
              </a:lnSpc>
              <a:buClr>
                <a:srgbClr val="E24848"/>
              </a:buClr>
            </a:pPr>
            <a:r>
              <a:rPr lang="en-US" sz="1200" noProof="1">
                <a:solidFill>
                  <a:schemeClr val="tx1">
                    <a:lumMod val="75000"/>
                    <a:lumOff val="25000"/>
                  </a:schemeClr>
                </a:solidFill>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Lor</a:t>
            </a:r>
          </a:p>
        </p:txBody>
      </p:sp>
      <p:sp>
        <p:nvSpPr>
          <p:cNvPr id="41" name="Rectangle 40"/>
          <p:cNvSpPr/>
          <p:nvPr/>
        </p:nvSpPr>
        <p:spPr>
          <a:xfrm>
            <a:off x="3598833" y="3909800"/>
            <a:ext cx="2337677" cy="460773"/>
          </a:xfrm>
          <a:prstGeom prst="rect">
            <a:avLst/>
          </a:prstGeom>
        </p:spPr>
        <p:txBody>
          <a:bodyPr vert="horz" wrap="square" lIns="91416" tIns="45708" rIns="91416" bIns="45708" rtlCol="0" anchor="ctr">
            <a:noAutofit/>
          </a:bodyPr>
          <a:lstStyle/>
          <a:p>
            <a:pPr algn="r">
              <a:lnSpc>
                <a:spcPct val="90000"/>
              </a:lnSpc>
              <a:spcBef>
                <a:spcPct val="0"/>
              </a:spcBef>
            </a:pPr>
            <a:r>
              <a:rPr lang="en-US" sz="1600" b="1" noProof="1">
                <a:solidFill>
                  <a:schemeClr val="tx1">
                    <a:lumMod val="85000"/>
                    <a:lumOff val="15000"/>
                  </a:schemeClr>
                </a:solidFill>
                <a:ea typeface="Roboto" panose="02000000000000000000" pitchFamily="2" charset="0"/>
                <a:cs typeface="Times New Roman" panose="02020603050405020304" pitchFamily="18" charset="0"/>
              </a:rPr>
              <a:t>Advertising</a:t>
            </a:r>
          </a:p>
        </p:txBody>
      </p:sp>
      <p:sp>
        <p:nvSpPr>
          <p:cNvPr id="42" name="Rectangle 41"/>
          <p:cNvSpPr/>
          <p:nvPr/>
        </p:nvSpPr>
        <p:spPr>
          <a:xfrm>
            <a:off x="2029399" y="4410999"/>
            <a:ext cx="3942224" cy="1171731"/>
          </a:xfrm>
          <a:prstGeom prst="rect">
            <a:avLst/>
          </a:prstGeom>
        </p:spPr>
        <p:txBody>
          <a:bodyPr wrap="square">
            <a:spAutoFit/>
          </a:bodyPr>
          <a:lstStyle/>
          <a:p>
            <a:pPr algn="r">
              <a:lnSpc>
                <a:spcPct val="150000"/>
              </a:lnSpc>
              <a:buClr>
                <a:srgbClr val="E24848"/>
              </a:buClr>
            </a:pPr>
            <a:r>
              <a:rPr lang="en-US" sz="1200" noProof="1">
                <a:solidFill>
                  <a:schemeClr val="tx1">
                    <a:lumMod val="75000"/>
                    <a:lumOff val="25000"/>
                  </a:schemeClr>
                </a:solidFill>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Lor</a:t>
            </a:r>
          </a:p>
        </p:txBody>
      </p:sp>
      <p:sp>
        <p:nvSpPr>
          <p:cNvPr id="43" name="Shape"/>
          <p:cNvSpPr/>
          <p:nvPr/>
        </p:nvSpPr>
        <p:spPr>
          <a:xfrm>
            <a:off x="6331413" y="2234249"/>
            <a:ext cx="743404" cy="540658"/>
          </a:xfrm>
          <a:custGeom>
            <a:avLst/>
            <a:gdLst/>
            <a:ahLst/>
            <a:cxnLst>
              <a:cxn ang="0">
                <a:pos x="wd2" y="hd2"/>
              </a:cxn>
              <a:cxn ang="5400000">
                <a:pos x="wd2" y="hd2"/>
              </a:cxn>
              <a:cxn ang="10800000">
                <a:pos x="wd2" y="hd2"/>
              </a:cxn>
              <a:cxn ang="16200000">
                <a:pos x="wd2" y="hd2"/>
              </a:cxn>
            </a:cxnLst>
            <a:rect l="0" t="0" r="r" b="b"/>
            <a:pathLst>
              <a:path w="21600" h="21600" extrusionOk="0">
                <a:moveTo>
                  <a:pt x="10393" y="13692"/>
                </a:moveTo>
                <a:lnTo>
                  <a:pt x="10114" y="15237"/>
                </a:lnTo>
                <a:cubicBezTo>
                  <a:pt x="10458" y="15355"/>
                  <a:pt x="11518" y="15826"/>
                  <a:pt x="11675" y="14955"/>
                </a:cubicBezTo>
                <a:cubicBezTo>
                  <a:pt x="11839" y="14046"/>
                  <a:pt x="10737" y="13811"/>
                  <a:pt x="10393" y="13692"/>
                </a:cubicBezTo>
                <a:moveTo>
                  <a:pt x="12834" y="12706"/>
                </a:moveTo>
                <a:cubicBezTo>
                  <a:pt x="12767" y="13329"/>
                  <a:pt x="12517" y="13631"/>
                  <a:pt x="12186" y="13737"/>
                </a:cubicBezTo>
                <a:cubicBezTo>
                  <a:pt x="12641" y="14064"/>
                  <a:pt x="12873" y="14567"/>
                  <a:pt x="12652" y="15439"/>
                </a:cubicBezTo>
                <a:cubicBezTo>
                  <a:pt x="12378" y="16521"/>
                  <a:pt x="11728" y="16613"/>
                  <a:pt x="10863" y="16386"/>
                </a:cubicBezTo>
                <a:lnTo>
                  <a:pt x="10653" y="17550"/>
                </a:lnTo>
                <a:lnTo>
                  <a:pt x="10147" y="17375"/>
                </a:lnTo>
                <a:lnTo>
                  <a:pt x="10354" y="16227"/>
                </a:lnTo>
                <a:cubicBezTo>
                  <a:pt x="10222" y="16182"/>
                  <a:pt x="10088" y="16133"/>
                  <a:pt x="9950" y="16081"/>
                </a:cubicBezTo>
                <a:lnTo>
                  <a:pt x="9741" y="17235"/>
                </a:lnTo>
                <a:lnTo>
                  <a:pt x="9235" y="17061"/>
                </a:lnTo>
                <a:lnTo>
                  <a:pt x="9445" y="15894"/>
                </a:lnTo>
                <a:cubicBezTo>
                  <a:pt x="9326" y="15852"/>
                  <a:pt x="9206" y="15808"/>
                  <a:pt x="9083" y="15765"/>
                </a:cubicBezTo>
                <a:lnTo>
                  <a:pt x="8424" y="15538"/>
                </a:lnTo>
                <a:lnTo>
                  <a:pt x="8675" y="14735"/>
                </a:lnTo>
                <a:cubicBezTo>
                  <a:pt x="8675" y="14735"/>
                  <a:pt x="9049" y="14872"/>
                  <a:pt x="9044" y="14862"/>
                </a:cubicBezTo>
                <a:cubicBezTo>
                  <a:pt x="9187" y="14911"/>
                  <a:pt x="9251" y="14781"/>
                  <a:pt x="9276" y="14695"/>
                </a:cubicBezTo>
                <a:lnTo>
                  <a:pt x="9608" y="12855"/>
                </a:lnTo>
                <a:cubicBezTo>
                  <a:pt x="9626" y="12862"/>
                  <a:pt x="9645" y="12868"/>
                  <a:pt x="9661" y="12874"/>
                </a:cubicBezTo>
                <a:cubicBezTo>
                  <a:pt x="9641" y="12862"/>
                  <a:pt x="9623" y="12855"/>
                  <a:pt x="9609" y="12850"/>
                </a:cubicBezTo>
                <a:lnTo>
                  <a:pt x="9845" y="11537"/>
                </a:lnTo>
                <a:cubicBezTo>
                  <a:pt x="9852" y="11388"/>
                  <a:pt x="9814" y="11200"/>
                  <a:pt x="9609" y="11129"/>
                </a:cubicBezTo>
                <a:cubicBezTo>
                  <a:pt x="9617" y="11121"/>
                  <a:pt x="9241" y="11002"/>
                  <a:pt x="9241" y="11002"/>
                </a:cubicBezTo>
                <a:lnTo>
                  <a:pt x="9376" y="10253"/>
                </a:lnTo>
                <a:lnTo>
                  <a:pt x="10075" y="10494"/>
                </a:lnTo>
                <a:lnTo>
                  <a:pt x="10074" y="10498"/>
                </a:lnTo>
                <a:cubicBezTo>
                  <a:pt x="10180" y="10534"/>
                  <a:pt x="10288" y="10569"/>
                  <a:pt x="10398" y="10603"/>
                </a:cubicBezTo>
                <a:lnTo>
                  <a:pt x="10606" y="9451"/>
                </a:lnTo>
                <a:lnTo>
                  <a:pt x="11113" y="9626"/>
                </a:lnTo>
                <a:lnTo>
                  <a:pt x="10909" y="10755"/>
                </a:lnTo>
                <a:cubicBezTo>
                  <a:pt x="11045" y="10798"/>
                  <a:pt x="11182" y="10842"/>
                  <a:pt x="11316" y="10887"/>
                </a:cubicBezTo>
                <a:lnTo>
                  <a:pt x="11518" y="9765"/>
                </a:lnTo>
                <a:lnTo>
                  <a:pt x="12025" y="9940"/>
                </a:lnTo>
                <a:lnTo>
                  <a:pt x="11817" y="11093"/>
                </a:lnTo>
                <a:cubicBezTo>
                  <a:pt x="12457" y="11398"/>
                  <a:pt x="12926" y="11855"/>
                  <a:pt x="12834" y="12706"/>
                </a:cubicBezTo>
                <a:moveTo>
                  <a:pt x="10800" y="8100"/>
                </a:moveTo>
                <a:cubicBezTo>
                  <a:pt x="8631" y="8100"/>
                  <a:pt x="6873" y="10518"/>
                  <a:pt x="6873" y="13500"/>
                </a:cubicBezTo>
                <a:cubicBezTo>
                  <a:pt x="6873" y="16482"/>
                  <a:pt x="8631" y="18900"/>
                  <a:pt x="10800" y="18900"/>
                </a:cubicBezTo>
                <a:cubicBezTo>
                  <a:pt x="12969" y="18900"/>
                  <a:pt x="14727" y="16482"/>
                  <a:pt x="14727" y="13500"/>
                </a:cubicBezTo>
                <a:cubicBezTo>
                  <a:pt x="14727" y="10518"/>
                  <a:pt x="12969" y="8100"/>
                  <a:pt x="10800" y="8100"/>
                </a:cubicBezTo>
                <a:moveTo>
                  <a:pt x="5400" y="8100"/>
                </a:moveTo>
                <a:lnTo>
                  <a:pt x="4418" y="8100"/>
                </a:lnTo>
                <a:cubicBezTo>
                  <a:pt x="4147" y="8100"/>
                  <a:pt x="3927" y="8402"/>
                  <a:pt x="3927" y="8775"/>
                </a:cubicBezTo>
                <a:cubicBezTo>
                  <a:pt x="3927" y="9148"/>
                  <a:pt x="4147" y="9450"/>
                  <a:pt x="4418" y="9450"/>
                </a:cubicBezTo>
                <a:lnTo>
                  <a:pt x="5400" y="9450"/>
                </a:lnTo>
                <a:cubicBezTo>
                  <a:pt x="5671" y="9450"/>
                  <a:pt x="5891" y="9148"/>
                  <a:pt x="5891" y="8775"/>
                </a:cubicBezTo>
                <a:cubicBezTo>
                  <a:pt x="5891" y="8402"/>
                  <a:pt x="5671" y="8100"/>
                  <a:pt x="5400" y="8100"/>
                </a:cubicBezTo>
                <a:moveTo>
                  <a:pt x="17182" y="17550"/>
                </a:moveTo>
                <a:lnTo>
                  <a:pt x="16200" y="17550"/>
                </a:lnTo>
                <a:cubicBezTo>
                  <a:pt x="15929" y="17550"/>
                  <a:pt x="15709" y="17853"/>
                  <a:pt x="15709" y="18225"/>
                </a:cubicBezTo>
                <a:cubicBezTo>
                  <a:pt x="15709" y="18598"/>
                  <a:pt x="15929" y="18900"/>
                  <a:pt x="16200" y="18900"/>
                </a:cubicBezTo>
                <a:lnTo>
                  <a:pt x="17182" y="18900"/>
                </a:lnTo>
                <a:cubicBezTo>
                  <a:pt x="17453" y="18900"/>
                  <a:pt x="17673" y="18598"/>
                  <a:pt x="17673" y="18225"/>
                </a:cubicBezTo>
                <a:cubicBezTo>
                  <a:pt x="17673" y="17853"/>
                  <a:pt x="17453" y="17550"/>
                  <a:pt x="17182" y="17550"/>
                </a:cubicBezTo>
                <a:moveTo>
                  <a:pt x="20127" y="8100"/>
                </a:moveTo>
                <a:cubicBezTo>
                  <a:pt x="19856" y="8100"/>
                  <a:pt x="19636" y="7798"/>
                  <a:pt x="19636" y="7425"/>
                </a:cubicBezTo>
                <a:cubicBezTo>
                  <a:pt x="19636" y="7052"/>
                  <a:pt x="19856" y="6750"/>
                  <a:pt x="20127" y="6750"/>
                </a:cubicBezTo>
                <a:cubicBezTo>
                  <a:pt x="20399" y="6750"/>
                  <a:pt x="20618" y="7052"/>
                  <a:pt x="20618" y="7425"/>
                </a:cubicBezTo>
                <a:cubicBezTo>
                  <a:pt x="20618" y="7798"/>
                  <a:pt x="20399" y="8100"/>
                  <a:pt x="20127" y="8100"/>
                </a:cubicBezTo>
                <a:moveTo>
                  <a:pt x="20618" y="17674"/>
                </a:moveTo>
                <a:cubicBezTo>
                  <a:pt x="20464" y="17599"/>
                  <a:pt x="20300" y="17550"/>
                  <a:pt x="20127" y="17550"/>
                </a:cubicBezTo>
                <a:cubicBezTo>
                  <a:pt x="19314" y="17550"/>
                  <a:pt x="18655" y="18457"/>
                  <a:pt x="18655" y="19575"/>
                </a:cubicBezTo>
                <a:cubicBezTo>
                  <a:pt x="18655" y="19813"/>
                  <a:pt x="18690" y="20038"/>
                  <a:pt x="18745" y="20250"/>
                </a:cubicBezTo>
                <a:lnTo>
                  <a:pt x="2855" y="20250"/>
                </a:lnTo>
                <a:cubicBezTo>
                  <a:pt x="2910" y="20038"/>
                  <a:pt x="2945" y="19813"/>
                  <a:pt x="2945" y="19575"/>
                </a:cubicBezTo>
                <a:cubicBezTo>
                  <a:pt x="2945" y="18457"/>
                  <a:pt x="2286" y="17550"/>
                  <a:pt x="1473" y="17550"/>
                </a:cubicBezTo>
                <a:cubicBezTo>
                  <a:pt x="1300" y="17550"/>
                  <a:pt x="1136" y="17599"/>
                  <a:pt x="982" y="17674"/>
                </a:cubicBezTo>
                <a:lnTo>
                  <a:pt x="982" y="9326"/>
                </a:lnTo>
                <a:cubicBezTo>
                  <a:pt x="1136" y="9402"/>
                  <a:pt x="1300" y="9450"/>
                  <a:pt x="1473" y="9450"/>
                </a:cubicBezTo>
                <a:cubicBezTo>
                  <a:pt x="2286" y="9450"/>
                  <a:pt x="2945" y="8544"/>
                  <a:pt x="2945" y="7425"/>
                </a:cubicBezTo>
                <a:cubicBezTo>
                  <a:pt x="2945" y="7187"/>
                  <a:pt x="2910" y="6962"/>
                  <a:pt x="2855" y="6750"/>
                </a:cubicBezTo>
                <a:lnTo>
                  <a:pt x="18745" y="6750"/>
                </a:lnTo>
                <a:cubicBezTo>
                  <a:pt x="18690" y="6962"/>
                  <a:pt x="18655" y="7187"/>
                  <a:pt x="18655" y="7425"/>
                </a:cubicBezTo>
                <a:cubicBezTo>
                  <a:pt x="18655" y="8544"/>
                  <a:pt x="19314" y="9450"/>
                  <a:pt x="20127" y="9450"/>
                </a:cubicBezTo>
                <a:cubicBezTo>
                  <a:pt x="20300" y="9450"/>
                  <a:pt x="20464" y="9402"/>
                  <a:pt x="20618" y="9326"/>
                </a:cubicBezTo>
                <a:cubicBezTo>
                  <a:pt x="20618" y="9326"/>
                  <a:pt x="20618" y="17674"/>
                  <a:pt x="20618" y="17674"/>
                </a:cubicBezTo>
                <a:close/>
                <a:moveTo>
                  <a:pt x="20127" y="20250"/>
                </a:moveTo>
                <a:cubicBezTo>
                  <a:pt x="19856" y="20250"/>
                  <a:pt x="19636" y="19948"/>
                  <a:pt x="19636" y="19575"/>
                </a:cubicBezTo>
                <a:cubicBezTo>
                  <a:pt x="19636" y="19203"/>
                  <a:pt x="19856" y="18900"/>
                  <a:pt x="20127" y="18900"/>
                </a:cubicBezTo>
                <a:cubicBezTo>
                  <a:pt x="20399" y="18900"/>
                  <a:pt x="20618" y="19203"/>
                  <a:pt x="20618" y="19575"/>
                </a:cubicBezTo>
                <a:cubicBezTo>
                  <a:pt x="20618" y="19948"/>
                  <a:pt x="20399" y="20250"/>
                  <a:pt x="20127" y="20250"/>
                </a:cubicBezTo>
                <a:moveTo>
                  <a:pt x="1473" y="20250"/>
                </a:moveTo>
                <a:cubicBezTo>
                  <a:pt x="1201" y="20250"/>
                  <a:pt x="982" y="19948"/>
                  <a:pt x="982" y="19575"/>
                </a:cubicBezTo>
                <a:cubicBezTo>
                  <a:pt x="982" y="19203"/>
                  <a:pt x="1201" y="18900"/>
                  <a:pt x="1473" y="18900"/>
                </a:cubicBezTo>
                <a:cubicBezTo>
                  <a:pt x="1744" y="18900"/>
                  <a:pt x="1964" y="19203"/>
                  <a:pt x="1964" y="19575"/>
                </a:cubicBezTo>
                <a:cubicBezTo>
                  <a:pt x="1964" y="19948"/>
                  <a:pt x="1744" y="20250"/>
                  <a:pt x="1473" y="20250"/>
                </a:cubicBezTo>
                <a:moveTo>
                  <a:pt x="1473" y="6750"/>
                </a:moveTo>
                <a:cubicBezTo>
                  <a:pt x="1744" y="6750"/>
                  <a:pt x="1964" y="7052"/>
                  <a:pt x="1964" y="7425"/>
                </a:cubicBezTo>
                <a:cubicBezTo>
                  <a:pt x="1964" y="7798"/>
                  <a:pt x="1744" y="8100"/>
                  <a:pt x="1473" y="8100"/>
                </a:cubicBezTo>
                <a:cubicBezTo>
                  <a:pt x="1201" y="8100"/>
                  <a:pt x="982" y="7798"/>
                  <a:pt x="982" y="7425"/>
                </a:cubicBezTo>
                <a:cubicBezTo>
                  <a:pt x="982" y="7052"/>
                  <a:pt x="1201" y="6750"/>
                  <a:pt x="1473" y="6750"/>
                </a:cubicBezTo>
                <a:moveTo>
                  <a:pt x="20618" y="5400"/>
                </a:moveTo>
                <a:lnTo>
                  <a:pt x="982" y="5400"/>
                </a:lnTo>
                <a:cubicBezTo>
                  <a:pt x="440" y="5400"/>
                  <a:pt x="0" y="6004"/>
                  <a:pt x="0" y="6750"/>
                </a:cubicBezTo>
                <a:lnTo>
                  <a:pt x="0" y="20250"/>
                </a:lnTo>
                <a:cubicBezTo>
                  <a:pt x="0" y="20996"/>
                  <a:pt x="440" y="21600"/>
                  <a:pt x="982" y="21600"/>
                </a:cubicBezTo>
                <a:lnTo>
                  <a:pt x="20618" y="21600"/>
                </a:lnTo>
                <a:cubicBezTo>
                  <a:pt x="21160" y="21600"/>
                  <a:pt x="21600" y="20996"/>
                  <a:pt x="21600" y="20250"/>
                </a:cubicBezTo>
                <a:lnTo>
                  <a:pt x="21600" y="6750"/>
                </a:lnTo>
                <a:cubicBezTo>
                  <a:pt x="21600" y="6004"/>
                  <a:pt x="21160" y="5400"/>
                  <a:pt x="20618" y="5400"/>
                </a:cubicBezTo>
                <a:moveTo>
                  <a:pt x="10773" y="11584"/>
                </a:moveTo>
                <a:lnTo>
                  <a:pt x="10520" y="12985"/>
                </a:lnTo>
                <a:cubicBezTo>
                  <a:pt x="10807" y="13084"/>
                  <a:pt x="11689" y="13487"/>
                  <a:pt x="11832" y="12694"/>
                </a:cubicBezTo>
                <a:cubicBezTo>
                  <a:pt x="11981" y="11867"/>
                  <a:pt x="11059" y="11683"/>
                  <a:pt x="10773" y="11584"/>
                </a:cubicBezTo>
                <a:moveTo>
                  <a:pt x="2455" y="4050"/>
                </a:moveTo>
                <a:lnTo>
                  <a:pt x="19145" y="4050"/>
                </a:lnTo>
                <a:cubicBezTo>
                  <a:pt x="19417" y="4050"/>
                  <a:pt x="19636" y="3748"/>
                  <a:pt x="19636" y="3375"/>
                </a:cubicBezTo>
                <a:cubicBezTo>
                  <a:pt x="19636" y="3002"/>
                  <a:pt x="19417" y="2700"/>
                  <a:pt x="19145" y="2700"/>
                </a:cubicBezTo>
                <a:lnTo>
                  <a:pt x="2455" y="2700"/>
                </a:lnTo>
                <a:cubicBezTo>
                  <a:pt x="2183" y="2700"/>
                  <a:pt x="1964" y="3002"/>
                  <a:pt x="1964" y="3375"/>
                </a:cubicBezTo>
                <a:cubicBezTo>
                  <a:pt x="1964" y="3748"/>
                  <a:pt x="2183" y="4050"/>
                  <a:pt x="2455" y="4050"/>
                </a:cubicBezTo>
                <a:moveTo>
                  <a:pt x="4418" y="1350"/>
                </a:moveTo>
                <a:lnTo>
                  <a:pt x="17182" y="1350"/>
                </a:lnTo>
                <a:cubicBezTo>
                  <a:pt x="17453" y="1350"/>
                  <a:pt x="17673" y="1048"/>
                  <a:pt x="17673" y="675"/>
                </a:cubicBezTo>
                <a:cubicBezTo>
                  <a:pt x="17673" y="302"/>
                  <a:pt x="17453" y="0"/>
                  <a:pt x="17182" y="0"/>
                </a:cubicBezTo>
                <a:lnTo>
                  <a:pt x="4418" y="0"/>
                </a:lnTo>
                <a:cubicBezTo>
                  <a:pt x="4147" y="0"/>
                  <a:pt x="3927" y="302"/>
                  <a:pt x="3927" y="675"/>
                </a:cubicBezTo>
                <a:cubicBezTo>
                  <a:pt x="3927" y="1048"/>
                  <a:pt x="4147" y="1350"/>
                  <a:pt x="4418" y="1350"/>
                </a:cubicBezTo>
              </a:path>
            </a:pathLst>
          </a:custGeom>
          <a:solidFill>
            <a:srgbClr val="53585F"/>
          </a:solidFill>
          <a:ln w="12700">
            <a:miter lim="400000"/>
          </a:ln>
        </p:spPr>
        <p:txBody>
          <a:bodyPr lIns="38100" tIns="38100" rIns="38100" bIns="38100" anchor="ctr"/>
          <a:lstStyle/>
          <a:p>
            <a:pPr defTabSz="457200">
              <a:defRPr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44" name="Shape"/>
          <p:cNvSpPr/>
          <p:nvPr/>
        </p:nvSpPr>
        <p:spPr>
          <a:xfrm>
            <a:off x="6286517" y="3960623"/>
            <a:ext cx="743404" cy="743404"/>
          </a:xfrm>
          <a:custGeom>
            <a:avLst/>
            <a:gdLst/>
            <a:ahLst/>
            <a:cxnLst>
              <a:cxn ang="0">
                <a:pos x="wd2" y="hd2"/>
              </a:cxn>
              <a:cxn ang="5400000">
                <a:pos x="wd2" y="hd2"/>
              </a:cxn>
              <a:cxn ang="10800000">
                <a:pos x="wd2" y="hd2"/>
              </a:cxn>
              <a:cxn ang="16200000">
                <a:pos x="wd2" y="hd2"/>
              </a:cxn>
            </a:cxnLst>
            <a:rect l="0" t="0" r="r" b="b"/>
            <a:pathLst>
              <a:path w="21600" h="21600" extrusionOk="0">
                <a:moveTo>
                  <a:pt x="17075" y="14727"/>
                </a:moveTo>
                <a:lnTo>
                  <a:pt x="17294" y="12764"/>
                </a:lnTo>
                <a:lnTo>
                  <a:pt x="19843" y="12764"/>
                </a:lnTo>
                <a:lnTo>
                  <a:pt x="19406" y="14727"/>
                </a:lnTo>
                <a:cubicBezTo>
                  <a:pt x="19406" y="14727"/>
                  <a:pt x="17075" y="14727"/>
                  <a:pt x="17075" y="14727"/>
                </a:cubicBezTo>
                <a:close/>
                <a:moveTo>
                  <a:pt x="18752" y="17673"/>
                </a:moveTo>
                <a:lnTo>
                  <a:pt x="16748" y="17673"/>
                </a:lnTo>
                <a:lnTo>
                  <a:pt x="16967" y="15709"/>
                </a:lnTo>
                <a:lnTo>
                  <a:pt x="19188" y="15709"/>
                </a:lnTo>
                <a:cubicBezTo>
                  <a:pt x="19188" y="15709"/>
                  <a:pt x="18752" y="17673"/>
                  <a:pt x="18752" y="17673"/>
                </a:cubicBezTo>
                <a:close/>
                <a:moveTo>
                  <a:pt x="17673" y="20618"/>
                </a:moveTo>
                <a:cubicBezTo>
                  <a:pt x="17131" y="20618"/>
                  <a:pt x="16691" y="20179"/>
                  <a:pt x="16691" y="19636"/>
                </a:cubicBezTo>
                <a:cubicBezTo>
                  <a:pt x="16691" y="19095"/>
                  <a:pt x="17131" y="18655"/>
                  <a:pt x="17673" y="18655"/>
                </a:cubicBezTo>
                <a:cubicBezTo>
                  <a:pt x="18215" y="18655"/>
                  <a:pt x="18655" y="19095"/>
                  <a:pt x="18655" y="19636"/>
                </a:cubicBezTo>
                <a:cubicBezTo>
                  <a:pt x="18655" y="20179"/>
                  <a:pt x="18215" y="20618"/>
                  <a:pt x="17673" y="20618"/>
                </a:cubicBezTo>
                <a:moveTo>
                  <a:pt x="16415" y="11782"/>
                </a:moveTo>
                <a:lnTo>
                  <a:pt x="13745" y="11782"/>
                </a:lnTo>
                <a:lnTo>
                  <a:pt x="13745" y="9818"/>
                </a:lnTo>
                <a:lnTo>
                  <a:pt x="16633" y="9818"/>
                </a:lnTo>
                <a:cubicBezTo>
                  <a:pt x="16633" y="9818"/>
                  <a:pt x="16415" y="11782"/>
                  <a:pt x="16415" y="11782"/>
                </a:cubicBezTo>
                <a:close/>
                <a:moveTo>
                  <a:pt x="16088" y="14727"/>
                </a:moveTo>
                <a:lnTo>
                  <a:pt x="13745" y="14727"/>
                </a:lnTo>
                <a:lnTo>
                  <a:pt x="13745" y="12764"/>
                </a:lnTo>
                <a:lnTo>
                  <a:pt x="16306" y="12764"/>
                </a:lnTo>
                <a:cubicBezTo>
                  <a:pt x="16306" y="12764"/>
                  <a:pt x="16088" y="14727"/>
                  <a:pt x="16088" y="14727"/>
                </a:cubicBezTo>
                <a:close/>
                <a:moveTo>
                  <a:pt x="15761" y="17673"/>
                </a:moveTo>
                <a:lnTo>
                  <a:pt x="13745" y="17673"/>
                </a:lnTo>
                <a:lnTo>
                  <a:pt x="13745" y="15709"/>
                </a:lnTo>
                <a:lnTo>
                  <a:pt x="15979" y="15709"/>
                </a:lnTo>
                <a:cubicBezTo>
                  <a:pt x="15979" y="15709"/>
                  <a:pt x="15761" y="17673"/>
                  <a:pt x="15761" y="17673"/>
                </a:cubicBezTo>
                <a:close/>
                <a:moveTo>
                  <a:pt x="12764" y="11782"/>
                </a:moveTo>
                <a:lnTo>
                  <a:pt x="10094" y="11782"/>
                </a:lnTo>
                <a:lnTo>
                  <a:pt x="9876" y="9818"/>
                </a:lnTo>
                <a:lnTo>
                  <a:pt x="12764" y="9818"/>
                </a:lnTo>
                <a:cubicBezTo>
                  <a:pt x="12764" y="9818"/>
                  <a:pt x="12764" y="11782"/>
                  <a:pt x="12764" y="11782"/>
                </a:cubicBezTo>
                <a:close/>
                <a:moveTo>
                  <a:pt x="12764" y="14727"/>
                </a:moveTo>
                <a:lnTo>
                  <a:pt x="10421" y="14727"/>
                </a:lnTo>
                <a:lnTo>
                  <a:pt x="10203" y="12764"/>
                </a:lnTo>
                <a:lnTo>
                  <a:pt x="12764" y="12764"/>
                </a:lnTo>
                <a:cubicBezTo>
                  <a:pt x="12764" y="12764"/>
                  <a:pt x="12764" y="14727"/>
                  <a:pt x="12764" y="14727"/>
                </a:cubicBezTo>
                <a:close/>
                <a:moveTo>
                  <a:pt x="12764" y="17673"/>
                </a:moveTo>
                <a:lnTo>
                  <a:pt x="10748" y="17673"/>
                </a:lnTo>
                <a:lnTo>
                  <a:pt x="10531" y="15709"/>
                </a:lnTo>
                <a:lnTo>
                  <a:pt x="12764" y="15709"/>
                </a:lnTo>
                <a:cubicBezTo>
                  <a:pt x="12764" y="15709"/>
                  <a:pt x="12764" y="17673"/>
                  <a:pt x="12764" y="17673"/>
                </a:cubicBezTo>
                <a:close/>
                <a:moveTo>
                  <a:pt x="8836" y="20618"/>
                </a:moveTo>
                <a:cubicBezTo>
                  <a:pt x="8294" y="20618"/>
                  <a:pt x="7855" y="20179"/>
                  <a:pt x="7855" y="19636"/>
                </a:cubicBezTo>
                <a:cubicBezTo>
                  <a:pt x="7855" y="19095"/>
                  <a:pt x="8294" y="18655"/>
                  <a:pt x="8836" y="18655"/>
                </a:cubicBezTo>
                <a:cubicBezTo>
                  <a:pt x="9379" y="18655"/>
                  <a:pt x="9818" y="19095"/>
                  <a:pt x="9818" y="19636"/>
                </a:cubicBezTo>
                <a:cubicBezTo>
                  <a:pt x="9818" y="20179"/>
                  <a:pt x="9379" y="20618"/>
                  <a:pt x="8836" y="20618"/>
                </a:cubicBezTo>
                <a:moveTo>
                  <a:pt x="7213" y="15709"/>
                </a:moveTo>
                <a:lnTo>
                  <a:pt x="9543" y="15709"/>
                </a:lnTo>
                <a:lnTo>
                  <a:pt x="9761" y="17673"/>
                </a:lnTo>
                <a:lnTo>
                  <a:pt x="7740" y="17673"/>
                </a:lnTo>
                <a:cubicBezTo>
                  <a:pt x="7740" y="17673"/>
                  <a:pt x="7213" y="15709"/>
                  <a:pt x="7213" y="15709"/>
                </a:cubicBezTo>
                <a:close/>
                <a:moveTo>
                  <a:pt x="6950" y="14727"/>
                </a:moveTo>
                <a:lnTo>
                  <a:pt x="6423" y="12764"/>
                </a:lnTo>
                <a:lnTo>
                  <a:pt x="9215" y="12764"/>
                </a:lnTo>
                <a:lnTo>
                  <a:pt x="9434" y="14727"/>
                </a:lnTo>
                <a:cubicBezTo>
                  <a:pt x="9434" y="14727"/>
                  <a:pt x="6950" y="14727"/>
                  <a:pt x="6950" y="14727"/>
                </a:cubicBezTo>
                <a:close/>
                <a:moveTo>
                  <a:pt x="5633" y="9818"/>
                </a:moveTo>
                <a:lnTo>
                  <a:pt x="8888" y="9818"/>
                </a:lnTo>
                <a:lnTo>
                  <a:pt x="9106" y="11782"/>
                </a:lnTo>
                <a:lnTo>
                  <a:pt x="6160" y="11782"/>
                </a:lnTo>
                <a:cubicBezTo>
                  <a:pt x="6160" y="11782"/>
                  <a:pt x="5633" y="9818"/>
                  <a:pt x="5633" y="9818"/>
                </a:cubicBezTo>
                <a:close/>
                <a:moveTo>
                  <a:pt x="17621" y="9818"/>
                </a:moveTo>
                <a:lnTo>
                  <a:pt x="20497" y="9818"/>
                </a:lnTo>
                <a:lnTo>
                  <a:pt x="20061" y="11782"/>
                </a:lnTo>
                <a:lnTo>
                  <a:pt x="17403" y="11782"/>
                </a:lnTo>
                <a:cubicBezTo>
                  <a:pt x="17403" y="11782"/>
                  <a:pt x="17621" y="9818"/>
                  <a:pt x="17621" y="9818"/>
                </a:cubicBezTo>
                <a:close/>
                <a:moveTo>
                  <a:pt x="19619" y="18282"/>
                </a:moveTo>
                <a:lnTo>
                  <a:pt x="19622" y="18283"/>
                </a:lnTo>
                <a:lnTo>
                  <a:pt x="21586" y="9447"/>
                </a:lnTo>
                <a:lnTo>
                  <a:pt x="21577" y="9444"/>
                </a:lnTo>
                <a:cubicBezTo>
                  <a:pt x="21586" y="9406"/>
                  <a:pt x="21600" y="9369"/>
                  <a:pt x="21600" y="9327"/>
                </a:cubicBezTo>
                <a:cubicBezTo>
                  <a:pt x="21600" y="9056"/>
                  <a:pt x="21380" y="8836"/>
                  <a:pt x="21109" y="8836"/>
                </a:cubicBezTo>
                <a:lnTo>
                  <a:pt x="5370" y="8836"/>
                </a:lnTo>
                <a:lnTo>
                  <a:pt x="4674" y="6241"/>
                </a:lnTo>
                <a:lnTo>
                  <a:pt x="4667" y="6243"/>
                </a:lnTo>
                <a:cubicBezTo>
                  <a:pt x="4606" y="6041"/>
                  <a:pt x="4425" y="5891"/>
                  <a:pt x="4203" y="5891"/>
                </a:cubicBezTo>
                <a:lnTo>
                  <a:pt x="491" y="5891"/>
                </a:lnTo>
                <a:cubicBezTo>
                  <a:pt x="220" y="5891"/>
                  <a:pt x="0" y="6110"/>
                  <a:pt x="0" y="6382"/>
                </a:cubicBezTo>
                <a:cubicBezTo>
                  <a:pt x="0" y="6653"/>
                  <a:pt x="220" y="6873"/>
                  <a:pt x="491" y="6873"/>
                </a:cubicBezTo>
                <a:lnTo>
                  <a:pt x="3827" y="6873"/>
                </a:lnTo>
                <a:lnTo>
                  <a:pt x="6893" y="18305"/>
                </a:lnTo>
                <a:lnTo>
                  <a:pt x="6894" y="18305"/>
                </a:lnTo>
                <a:cubicBezTo>
                  <a:pt x="6936" y="18443"/>
                  <a:pt x="7037" y="18555"/>
                  <a:pt x="7168" y="18613"/>
                </a:cubicBezTo>
                <a:cubicBezTo>
                  <a:pt x="6984" y="18912"/>
                  <a:pt x="6873" y="19260"/>
                  <a:pt x="6873" y="19636"/>
                </a:cubicBezTo>
                <a:cubicBezTo>
                  <a:pt x="6873" y="20721"/>
                  <a:pt x="7752" y="21600"/>
                  <a:pt x="8836" y="21600"/>
                </a:cubicBezTo>
                <a:cubicBezTo>
                  <a:pt x="9921" y="21600"/>
                  <a:pt x="10800" y="20721"/>
                  <a:pt x="10800" y="19636"/>
                </a:cubicBezTo>
                <a:cubicBezTo>
                  <a:pt x="10800" y="19277"/>
                  <a:pt x="10696" y="18945"/>
                  <a:pt x="10528" y="18655"/>
                </a:cubicBezTo>
                <a:lnTo>
                  <a:pt x="15981" y="18655"/>
                </a:lnTo>
                <a:cubicBezTo>
                  <a:pt x="15813" y="18945"/>
                  <a:pt x="15709" y="19277"/>
                  <a:pt x="15709" y="19636"/>
                </a:cubicBezTo>
                <a:cubicBezTo>
                  <a:pt x="15709" y="20721"/>
                  <a:pt x="16588" y="21600"/>
                  <a:pt x="17673" y="21600"/>
                </a:cubicBezTo>
                <a:cubicBezTo>
                  <a:pt x="18757" y="21600"/>
                  <a:pt x="19636" y="20721"/>
                  <a:pt x="19636" y="19636"/>
                </a:cubicBezTo>
                <a:cubicBezTo>
                  <a:pt x="19636" y="19260"/>
                  <a:pt x="19525" y="18912"/>
                  <a:pt x="19341" y="18613"/>
                </a:cubicBezTo>
                <a:cubicBezTo>
                  <a:pt x="19479" y="18552"/>
                  <a:pt x="19581" y="18430"/>
                  <a:pt x="19619" y="18282"/>
                </a:cubicBezTo>
                <a:moveTo>
                  <a:pt x="12907" y="7711"/>
                </a:moveTo>
                <a:cubicBezTo>
                  <a:pt x="12996" y="7800"/>
                  <a:pt x="13119" y="7855"/>
                  <a:pt x="13255" y="7855"/>
                </a:cubicBezTo>
                <a:cubicBezTo>
                  <a:pt x="13390" y="7855"/>
                  <a:pt x="13513" y="7800"/>
                  <a:pt x="13602" y="7711"/>
                </a:cubicBezTo>
                <a:lnTo>
                  <a:pt x="15565" y="5747"/>
                </a:lnTo>
                <a:cubicBezTo>
                  <a:pt x="15654" y="5658"/>
                  <a:pt x="15709" y="5536"/>
                  <a:pt x="15709" y="5400"/>
                </a:cubicBezTo>
                <a:cubicBezTo>
                  <a:pt x="15709" y="5129"/>
                  <a:pt x="15490" y="4910"/>
                  <a:pt x="15218" y="4910"/>
                </a:cubicBezTo>
                <a:cubicBezTo>
                  <a:pt x="15083" y="4910"/>
                  <a:pt x="14960" y="4964"/>
                  <a:pt x="14871" y="5053"/>
                </a:cubicBezTo>
                <a:lnTo>
                  <a:pt x="13745" y="6179"/>
                </a:lnTo>
                <a:lnTo>
                  <a:pt x="13745" y="491"/>
                </a:lnTo>
                <a:lnTo>
                  <a:pt x="13745" y="491"/>
                </a:lnTo>
                <a:cubicBezTo>
                  <a:pt x="13745" y="220"/>
                  <a:pt x="13526" y="0"/>
                  <a:pt x="13255" y="0"/>
                </a:cubicBezTo>
                <a:cubicBezTo>
                  <a:pt x="12983" y="0"/>
                  <a:pt x="12764" y="220"/>
                  <a:pt x="12764" y="491"/>
                </a:cubicBezTo>
                <a:lnTo>
                  <a:pt x="12764" y="6179"/>
                </a:lnTo>
                <a:lnTo>
                  <a:pt x="11638" y="5053"/>
                </a:lnTo>
                <a:cubicBezTo>
                  <a:pt x="11549" y="4964"/>
                  <a:pt x="11427" y="4910"/>
                  <a:pt x="11291" y="4910"/>
                </a:cubicBezTo>
                <a:cubicBezTo>
                  <a:pt x="11020" y="4910"/>
                  <a:pt x="10800" y="5129"/>
                  <a:pt x="10800" y="5400"/>
                </a:cubicBezTo>
                <a:cubicBezTo>
                  <a:pt x="10800" y="5536"/>
                  <a:pt x="10855" y="5658"/>
                  <a:pt x="10944" y="5747"/>
                </a:cubicBezTo>
                <a:cubicBezTo>
                  <a:pt x="10944" y="5747"/>
                  <a:pt x="12907" y="7711"/>
                  <a:pt x="12907" y="7711"/>
                </a:cubicBezTo>
                <a:close/>
              </a:path>
            </a:pathLst>
          </a:custGeom>
          <a:solidFill>
            <a:srgbClr val="53585F"/>
          </a:solidFill>
          <a:ln w="12700">
            <a:miter lim="400000"/>
          </a:ln>
        </p:spPr>
        <p:txBody>
          <a:bodyPr lIns="38100" tIns="38100" rIns="38100" bIns="38100" anchor="ctr"/>
          <a:lstStyle/>
          <a:p>
            <a:pPr defTabSz="457200">
              <a:defRPr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Tree>
    <p:extLst>
      <p:ext uri="{BB962C8B-B14F-4D97-AF65-F5344CB8AC3E}">
        <p14:creationId xmlns:p14="http://schemas.microsoft.com/office/powerpoint/2010/main" val="656104115"/>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0600B1FE-4F03-43D2-BEC8-55EFE03EBF48}"/>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21119" r="21119"/>
          <a:stretch>
            <a:fillRect/>
          </a:stretch>
        </p:blipFill>
        <p:spPr>
          <a:solidFill>
            <a:schemeClr val="bg1">
              <a:lumMod val="75000"/>
            </a:schemeClr>
          </a:solidFill>
        </p:spPr>
      </p:pic>
      <p:sp>
        <p:nvSpPr>
          <p:cNvPr id="7" name="Rectangle 6"/>
          <p:cNvSpPr/>
          <p:nvPr/>
        </p:nvSpPr>
        <p:spPr>
          <a:xfrm>
            <a:off x="280400" y="2405860"/>
            <a:ext cx="4828629" cy="130283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spc="-150" noProof="1">
                <a:solidFill>
                  <a:schemeClr val="tx1">
                    <a:lumMod val="85000"/>
                    <a:lumOff val="15000"/>
                  </a:schemeClr>
                </a:solidFill>
                <a:ea typeface="Source Sans Pro" panose="020B0503030403020204" pitchFamily="34" charset="0"/>
                <a:cs typeface="Open Sans Light" panose="020B0306030504020204" pitchFamily="34" charset="0"/>
              </a:rPr>
              <a:t>Success Usually Comes To Those Who Are Too Busy </a:t>
            </a:r>
            <a:r>
              <a:rPr lang="en-US" sz="3200" b="1" spc="-150" noProof="1">
                <a:solidFill>
                  <a:schemeClr val="tx1">
                    <a:lumMod val="85000"/>
                    <a:lumOff val="15000"/>
                  </a:schemeClr>
                </a:solidFill>
                <a:ea typeface="Source Sans Pro" panose="020B0503030403020204" pitchFamily="34" charset="0"/>
                <a:cs typeface="Open Sans Light" panose="020B0306030504020204" pitchFamily="34" charset="0"/>
              </a:rPr>
              <a:t>To Be Looking For It</a:t>
            </a:r>
          </a:p>
        </p:txBody>
      </p:sp>
      <p:cxnSp>
        <p:nvCxnSpPr>
          <p:cNvPr id="8" name="Straight Connector 7"/>
          <p:cNvCxnSpPr/>
          <p:nvPr/>
        </p:nvCxnSpPr>
        <p:spPr>
          <a:xfrm>
            <a:off x="362860" y="3984469"/>
            <a:ext cx="4876800"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362860" y="4142912"/>
            <a:ext cx="4876800" cy="1517980"/>
          </a:xfrm>
          <a:prstGeom prst="rect">
            <a:avLst/>
          </a:prstGeom>
        </p:spPr>
        <p:txBody>
          <a:bodyPr wrap="square">
            <a:spAutoFit/>
          </a:bodyPr>
          <a:lstStyle/>
          <a:p>
            <a:pPr algn="just">
              <a:lnSpc>
                <a:spcPct val="200000"/>
              </a:lnSpc>
              <a:buClr>
                <a:srgbClr val="E24848"/>
              </a:buClr>
              <a:defRPr/>
            </a:pPr>
            <a:r>
              <a:rPr lang="en-US" sz="1200" noProof="1">
                <a:solidFill>
                  <a:schemeClr val="tx1">
                    <a:lumMod val="85000"/>
                    <a:lumOff val="15000"/>
                  </a:schemeClr>
                </a:solidFill>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Nam auctor</a:t>
            </a:r>
          </a:p>
        </p:txBody>
      </p:sp>
      <p:sp>
        <p:nvSpPr>
          <p:cNvPr id="10" name="Rectangle 9"/>
          <p:cNvSpPr/>
          <p:nvPr/>
        </p:nvSpPr>
        <p:spPr>
          <a:xfrm flipV="1">
            <a:off x="362860" y="0"/>
            <a:ext cx="824717" cy="1277315"/>
          </a:xfrm>
          <a:prstGeom prst="rect">
            <a:avLst/>
          </a:prstGeom>
          <a:gradFill flip="none" rotWithShape="1">
            <a:gsLst>
              <a:gs pos="0">
                <a:schemeClr val="accent1">
                  <a:alpha val="91000"/>
                </a:schemeClr>
              </a:gs>
              <a:gs pos="100000">
                <a:schemeClr val="accent2">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grpSp>
        <p:nvGrpSpPr>
          <p:cNvPr id="11" name="Group 10"/>
          <p:cNvGrpSpPr/>
          <p:nvPr/>
        </p:nvGrpSpPr>
        <p:grpSpPr>
          <a:xfrm>
            <a:off x="575122" y="287768"/>
            <a:ext cx="429219" cy="451809"/>
            <a:chOff x="11037888" y="1382713"/>
            <a:chExt cx="271463" cy="285750"/>
          </a:xfrm>
          <a:solidFill>
            <a:schemeClr val="bg1"/>
          </a:solidFill>
        </p:grpSpPr>
        <p:sp>
          <p:nvSpPr>
            <p:cNvPr id="12" name="Freeform 4125"/>
            <p:cNvSpPr>
              <a:spLocks/>
            </p:cNvSpPr>
            <p:nvPr/>
          </p:nvSpPr>
          <p:spPr bwMode="auto">
            <a:xfrm>
              <a:off x="11037888" y="1477963"/>
              <a:ext cx="238125" cy="190500"/>
            </a:xfrm>
            <a:custGeom>
              <a:avLst/>
              <a:gdLst>
                <a:gd name="T0" fmla="*/ 736 w 751"/>
                <a:gd name="T1" fmla="*/ 0 h 600"/>
                <a:gd name="T2" fmla="*/ 15 w 751"/>
                <a:gd name="T3" fmla="*/ 0 h 600"/>
                <a:gd name="T4" fmla="*/ 11 w 751"/>
                <a:gd name="T5" fmla="*/ 0 h 600"/>
                <a:gd name="T6" fmla="*/ 8 w 751"/>
                <a:gd name="T7" fmla="*/ 1 h 600"/>
                <a:gd name="T8" fmla="*/ 6 w 751"/>
                <a:gd name="T9" fmla="*/ 2 h 600"/>
                <a:gd name="T10" fmla="*/ 4 w 751"/>
                <a:gd name="T11" fmla="*/ 4 h 600"/>
                <a:gd name="T12" fmla="*/ 2 w 751"/>
                <a:gd name="T13" fmla="*/ 6 h 600"/>
                <a:gd name="T14" fmla="*/ 1 w 751"/>
                <a:gd name="T15" fmla="*/ 9 h 600"/>
                <a:gd name="T16" fmla="*/ 0 w 751"/>
                <a:gd name="T17" fmla="*/ 12 h 600"/>
                <a:gd name="T18" fmla="*/ 0 w 751"/>
                <a:gd name="T19" fmla="*/ 15 h 600"/>
                <a:gd name="T20" fmla="*/ 0 w 751"/>
                <a:gd name="T21" fmla="*/ 585 h 600"/>
                <a:gd name="T22" fmla="*/ 0 w 751"/>
                <a:gd name="T23" fmla="*/ 589 h 600"/>
                <a:gd name="T24" fmla="*/ 1 w 751"/>
                <a:gd name="T25" fmla="*/ 592 h 600"/>
                <a:gd name="T26" fmla="*/ 2 w 751"/>
                <a:gd name="T27" fmla="*/ 594 h 600"/>
                <a:gd name="T28" fmla="*/ 4 w 751"/>
                <a:gd name="T29" fmla="*/ 596 h 600"/>
                <a:gd name="T30" fmla="*/ 6 w 751"/>
                <a:gd name="T31" fmla="*/ 598 h 600"/>
                <a:gd name="T32" fmla="*/ 8 w 751"/>
                <a:gd name="T33" fmla="*/ 599 h 600"/>
                <a:gd name="T34" fmla="*/ 11 w 751"/>
                <a:gd name="T35" fmla="*/ 600 h 600"/>
                <a:gd name="T36" fmla="*/ 15 w 751"/>
                <a:gd name="T37" fmla="*/ 600 h 600"/>
                <a:gd name="T38" fmla="*/ 736 w 751"/>
                <a:gd name="T39" fmla="*/ 600 h 600"/>
                <a:gd name="T40" fmla="*/ 738 w 751"/>
                <a:gd name="T41" fmla="*/ 600 h 600"/>
                <a:gd name="T42" fmla="*/ 741 w 751"/>
                <a:gd name="T43" fmla="*/ 599 h 600"/>
                <a:gd name="T44" fmla="*/ 744 w 751"/>
                <a:gd name="T45" fmla="*/ 598 h 600"/>
                <a:gd name="T46" fmla="*/ 746 w 751"/>
                <a:gd name="T47" fmla="*/ 596 h 600"/>
                <a:gd name="T48" fmla="*/ 748 w 751"/>
                <a:gd name="T49" fmla="*/ 594 h 600"/>
                <a:gd name="T50" fmla="*/ 749 w 751"/>
                <a:gd name="T51" fmla="*/ 592 h 600"/>
                <a:gd name="T52" fmla="*/ 750 w 751"/>
                <a:gd name="T53" fmla="*/ 589 h 600"/>
                <a:gd name="T54" fmla="*/ 751 w 751"/>
                <a:gd name="T55" fmla="*/ 585 h 600"/>
                <a:gd name="T56" fmla="*/ 751 w 751"/>
                <a:gd name="T57" fmla="*/ 15 h 600"/>
                <a:gd name="T58" fmla="*/ 750 w 751"/>
                <a:gd name="T59" fmla="*/ 12 h 600"/>
                <a:gd name="T60" fmla="*/ 749 w 751"/>
                <a:gd name="T61" fmla="*/ 9 h 600"/>
                <a:gd name="T62" fmla="*/ 748 w 751"/>
                <a:gd name="T63" fmla="*/ 6 h 600"/>
                <a:gd name="T64" fmla="*/ 746 w 751"/>
                <a:gd name="T65" fmla="*/ 4 h 600"/>
                <a:gd name="T66" fmla="*/ 744 w 751"/>
                <a:gd name="T67" fmla="*/ 2 h 600"/>
                <a:gd name="T68" fmla="*/ 741 w 751"/>
                <a:gd name="T69" fmla="*/ 1 h 600"/>
                <a:gd name="T70" fmla="*/ 738 w 751"/>
                <a:gd name="T71" fmla="*/ 0 h 600"/>
                <a:gd name="T72" fmla="*/ 736 w 751"/>
                <a:gd name="T73"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51" h="600">
                  <a:moveTo>
                    <a:pt x="736" y="0"/>
                  </a:moveTo>
                  <a:lnTo>
                    <a:pt x="15" y="0"/>
                  </a:lnTo>
                  <a:lnTo>
                    <a:pt x="11" y="0"/>
                  </a:lnTo>
                  <a:lnTo>
                    <a:pt x="8" y="1"/>
                  </a:lnTo>
                  <a:lnTo>
                    <a:pt x="6" y="2"/>
                  </a:lnTo>
                  <a:lnTo>
                    <a:pt x="4" y="4"/>
                  </a:lnTo>
                  <a:lnTo>
                    <a:pt x="2" y="6"/>
                  </a:lnTo>
                  <a:lnTo>
                    <a:pt x="1" y="9"/>
                  </a:lnTo>
                  <a:lnTo>
                    <a:pt x="0" y="12"/>
                  </a:lnTo>
                  <a:lnTo>
                    <a:pt x="0" y="15"/>
                  </a:lnTo>
                  <a:lnTo>
                    <a:pt x="0" y="585"/>
                  </a:lnTo>
                  <a:lnTo>
                    <a:pt x="0" y="589"/>
                  </a:lnTo>
                  <a:lnTo>
                    <a:pt x="1" y="592"/>
                  </a:lnTo>
                  <a:lnTo>
                    <a:pt x="2" y="594"/>
                  </a:lnTo>
                  <a:lnTo>
                    <a:pt x="4" y="596"/>
                  </a:lnTo>
                  <a:lnTo>
                    <a:pt x="6" y="598"/>
                  </a:lnTo>
                  <a:lnTo>
                    <a:pt x="8" y="599"/>
                  </a:lnTo>
                  <a:lnTo>
                    <a:pt x="11" y="600"/>
                  </a:lnTo>
                  <a:lnTo>
                    <a:pt x="15" y="600"/>
                  </a:lnTo>
                  <a:lnTo>
                    <a:pt x="736" y="600"/>
                  </a:lnTo>
                  <a:lnTo>
                    <a:pt x="738" y="600"/>
                  </a:lnTo>
                  <a:lnTo>
                    <a:pt x="741" y="599"/>
                  </a:lnTo>
                  <a:lnTo>
                    <a:pt x="744" y="598"/>
                  </a:lnTo>
                  <a:lnTo>
                    <a:pt x="746" y="596"/>
                  </a:lnTo>
                  <a:lnTo>
                    <a:pt x="748" y="594"/>
                  </a:lnTo>
                  <a:lnTo>
                    <a:pt x="749" y="592"/>
                  </a:lnTo>
                  <a:lnTo>
                    <a:pt x="750" y="589"/>
                  </a:lnTo>
                  <a:lnTo>
                    <a:pt x="751" y="585"/>
                  </a:lnTo>
                  <a:lnTo>
                    <a:pt x="751" y="15"/>
                  </a:lnTo>
                  <a:lnTo>
                    <a:pt x="750" y="12"/>
                  </a:lnTo>
                  <a:lnTo>
                    <a:pt x="749" y="9"/>
                  </a:lnTo>
                  <a:lnTo>
                    <a:pt x="748" y="6"/>
                  </a:lnTo>
                  <a:lnTo>
                    <a:pt x="746" y="4"/>
                  </a:lnTo>
                  <a:lnTo>
                    <a:pt x="744" y="2"/>
                  </a:lnTo>
                  <a:lnTo>
                    <a:pt x="741" y="1"/>
                  </a:lnTo>
                  <a:lnTo>
                    <a:pt x="738" y="0"/>
                  </a:lnTo>
                  <a:lnTo>
                    <a:pt x="7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4126"/>
            <p:cNvSpPr>
              <a:spLocks/>
            </p:cNvSpPr>
            <p:nvPr/>
          </p:nvSpPr>
          <p:spPr bwMode="auto">
            <a:xfrm>
              <a:off x="11095038" y="1382713"/>
              <a:ext cx="114300" cy="80963"/>
            </a:xfrm>
            <a:custGeom>
              <a:avLst/>
              <a:gdLst>
                <a:gd name="T0" fmla="*/ 18 w 360"/>
                <a:gd name="T1" fmla="*/ 257 h 257"/>
                <a:gd name="T2" fmla="*/ 23 w 360"/>
                <a:gd name="T3" fmla="*/ 255 h 257"/>
                <a:gd name="T4" fmla="*/ 27 w 360"/>
                <a:gd name="T5" fmla="*/ 251 h 257"/>
                <a:gd name="T6" fmla="*/ 30 w 360"/>
                <a:gd name="T7" fmla="*/ 245 h 257"/>
                <a:gd name="T8" fmla="*/ 30 w 360"/>
                <a:gd name="T9" fmla="*/ 185 h 257"/>
                <a:gd name="T10" fmla="*/ 32 w 360"/>
                <a:gd name="T11" fmla="*/ 153 h 257"/>
                <a:gd name="T12" fmla="*/ 40 w 360"/>
                <a:gd name="T13" fmla="*/ 123 h 257"/>
                <a:gd name="T14" fmla="*/ 52 w 360"/>
                <a:gd name="T15" fmla="*/ 96 h 257"/>
                <a:gd name="T16" fmla="*/ 69 w 360"/>
                <a:gd name="T17" fmla="*/ 74 h 257"/>
                <a:gd name="T18" fmla="*/ 90 w 360"/>
                <a:gd name="T19" fmla="*/ 56 h 257"/>
                <a:gd name="T20" fmla="*/ 113 w 360"/>
                <a:gd name="T21" fmla="*/ 42 h 257"/>
                <a:gd name="T22" fmla="*/ 140 w 360"/>
                <a:gd name="T23" fmla="*/ 33 h 257"/>
                <a:gd name="T24" fmla="*/ 170 w 360"/>
                <a:gd name="T25" fmla="*/ 30 h 257"/>
                <a:gd name="T26" fmla="*/ 201 w 360"/>
                <a:gd name="T27" fmla="*/ 33 h 257"/>
                <a:gd name="T28" fmla="*/ 231 w 360"/>
                <a:gd name="T29" fmla="*/ 43 h 257"/>
                <a:gd name="T30" fmla="*/ 259 w 360"/>
                <a:gd name="T31" fmla="*/ 57 h 257"/>
                <a:gd name="T32" fmla="*/ 283 w 360"/>
                <a:gd name="T33" fmla="*/ 76 h 257"/>
                <a:gd name="T34" fmla="*/ 302 w 360"/>
                <a:gd name="T35" fmla="*/ 99 h 257"/>
                <a:gd name="T36" fmla="*/ 317 w 360"/>
                <a:gd name="T37" fmla="*/ 125 h 257"/>
                <a:gd name="T38" fmla="*/ 327 w 360"/>
                <a:gd name="T39" fmla="*/ 155 h 257"/>
                <a:gd name="T40" fmla="*/ 330 w 360"/>
                <a:gd name="T41" fmla="*/ 185 h 257"/>
                <a:gd name="T42" fmla="*/ 330 w 360"/>
                <a:gd name="T43" fmla="*/ 245 h 257"/>
                <a:gd name="T44" fmla="*/ 333 w 360"/>
                <a:gd name="T45" fmla="*/ 251 h 257"/>
                <a:gd name="T46" fmla="*/ 336 w 360"/>
                <a:gd name="T47" fmla="*/ 255 h 257"/>
                <a:gd name="T48" fmla="*/ 342 w 360"/>
                <a:gd name="T49" fmla="*/ 257 h 257"/>
                <a:gd name="T50" fmla="*/ 348 w 360"/>
                <a:gd name="T51" fmla="*/ 257 h 257"/>
                <a:gd name="T52" fmla="*/ 353 w 360"/>
                <a:gd name="T53" fmla="*/ 255 h 257"/>
                <a:gd name="T54" fmla="*/ 358 w 360"/>
                <a:gd name="T55" fmla="*/ 251 h 257"/>
                <a:gd name="T56" fmla="*/ 360 w 360"/>
                <a:gd name="T57" fmla="*/ 245 h 257"/>
                <a:gd name="T58" fmla="*/ 360 w 360"/>
                <a:gd name="T59" fmla="*/ 185 h 257"/>
                <a:gd name="T60" fmla="*/ 357 w 360"/>
                <a:gd name="T61" fmla="*/ 149 h 257"/>
                <a:gd name="T62" fmla="*/ 345 w 360"/>
                <a:gd name="T63" fmla="*/ 114 h 257"/>
                <a:gd name="T64" fmla="*/ 327 w 360"/>
                <a:gd name="T65" fmla="*/ 82 h 257"/>
                <a:gd name="T66" fmla="*/ 304 w 360"/>
                <a:gd name="T67" fmla="*/ 56 h 257"/>
                <a:gd name="T68" fmla="*/ 275 w 360"/>
                <a:gd name="T69" fmla="*/ 32 h 257"/>
                <a:gd name="T70" fmla="*/ 243 w 360"/>
                <a:gd name="T71" fmla="*/ 15 h 257"/>
                <a:gd name="T72" fmla="*/ 208 w 360"/>
                <a:gd name="T73" fmla="*/ 4 h 257"/>
                <a:gd name="T74" fmla="*/ 170 w 360"/>
                <a:gd name="T75" fmla="*/ 0 h 257"/>
                <a:gd name="T76" fmla="*/ 135 w 360"/>
                <a:gd name="T77" fmla="*/ 4 h 257"/>
                <a:gd name="T78" fmla="*/ 102 w 360"/>
                <a:gd name="T79" fmla="*/ 14 h 257"/>
                <a:gd name="T80" fmla="*/ 73 w 360"/>
                <a:gd name="T81" fmla="*/ 30 h 257"/>
                <a:gd name="T82" fmla="*/ 48 w 360"/>
                <a:gd name="T83" fmla="*/ 52 h 257"/>
                <a:gd name="T84" fmla="*/ 28 w 360"/>
                <a:gd name="T85" fmla="*/ 79 h 257"/>
                <a:gd name="T86" fmla="*/ 13 w 360"/>
                <a:gd name="T87" fmla="*/ 111 h 257"/>
                <a:gd name="T88" fmla="*/ 3 w 360"/>
                <a:gd name="T89" fmla="*/ 147 h 257"/>
                <a:gd name="T90" fmla="*/ 0 w 360"/>
                <a:gd name="T91" fmla="*/ 185 h 257"/>
                <a:gd name="T92" fmla="*/ 0 w 360"/>
                <a:gd name="T93" fmla="*/ 245 h 257"/>
                <a:gd name="T94" fmla="*/ 2 w 360"/>
                <a:gd name="T95" fmla="*/ 251 h 257"/>
                <a:gd name="T96" fmla="*/ 6 w 360"/>
                <a:gd name="T97" fmla="*/ 255 h 257"/>
                <a:gd name="T98" fmla="*/ 12 w 360"/>
                <a:gd name="T9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0" h="257">
                  <a:moveTo>
                    <a:pt x="15" y="257"/>
                  </a:moveTo>
                  <a:lnTo>
                    <a:pt x="18" y="257"/>
                  </a:lnTo>
                  <a:lnTo>
                    <a:pt x="20" y="256"/>
                  </a:lnTo>
                  <a:lnTo>
                    <a:pt x="23" y="255"/>
                  </a:lnTo>
                  <a:lnTo>
                    <a:pt x="25" y="253"/>
                  </a:lnTo>
                  <a:lnTo>
                    <a:pt x="27" y="251"/>
                  </a:lnTo>
                  <a:lnTo>
                    <a:pt x="29" y="248"/>
                  </a:lnTo>
                  <a:lnTo>
                    <a:pt x="30" y="245"/>
                  </a:lnTo>
                  <a:lnTo>
                    <a:pt x="30" y="242"/>
                  </a:lnTo>
                  <a:lnTo>
                    <a:pt x="30" y="185"/>
                  </a:lnTo>
                  <a:lnTo>
                    <a:pt x="30" y="169"/>
                  </a:lnTo>
                  <a:lnTo>
                    <a:pt x="32" y="153"/>
                  </a:lnTo>
                  <a:lnTo>
                    <a:pt x="35" y="138"/>
                  </a:lnTo>
                  <a:lnTo>
                    <a:pt x="40" y="123"/>
                  </a:lnTo>
                  <a:lnTo>
                    <a:pt x="46" y="109"/>
                  </a:lnTo>
                  <a:lnTo>
                    <a:pt x="52" y="96"/>
                  </a:lnTo>
                  <a:lnTo>
                    <a:pt x="61" y="84"/>
                  </a:lnTo>
                  <a:lnTo>
                    <a:pt x="69" y="74"/>
                  </a:lnTo>
                  <a:lnTo>
                    <a:pt x="79" y="64"/>
                  </a:lnTo>
                  <a:lnTo>
                    <a:pt x="90" y="56"/>
                  </a:lnTo>
                  <a:lnTo>
                    <a:pt x="102" y="48"/>
                  </a:lnTo>
                  <a:lnTo>
                    <a:pt x="113" y="42"/>
                  </a:lnTo>
                  <a:lnTo>
                    <a:pt x="127" y="36"/>
                  </a:lnTo>
                  <a:lnTo>
                    <a:pt x="140" y="33"/>
                  </a:lnTo>
                  <a:lnTo>
                    <a:pt x="155" y="31"/>
                  </a:lnTo>
                  <a:lnTo>
                    <a:pt x="170" y="30"/>
                  </a:lnTo>
                  <a:lnTo>
                    <a:pt x="186" y="31"/>
                  </a:lnTo>
                  <a:lnTo>
                    <a:pt x="201" y="33"/>
                  </a:lnTo>
                  <a:lnTo>
                    <a:pt x="217" y="37"/>
                  </a:lnTo>
                  <a:lnTo>
                    <a:pt x="231" y="43"/>
                  </a:lnTo>
                  <a:lnTo>
                    <a:pt x="245" y="49"/>
                  </a:lnTo>
                  <a:lnTo>
                    <a:pt x="259" y="57"/>
                  </a:lnTo>
                  <a:lnTo>
                    <a:pt x="271" y="66"/>
                  </a:lnTo>
                  <a:lnTo>
                    <a:pt x="283" y="76"/>
                  </a:lnTo>
                  <a:lnTo>
                    <a:pt x="293" y="88"/>
                  </a:lnTo>
                  <a:lnTo>
                    <a:pt x="302" y="99"/>
                  </a:lnTo>
                  <a:lnTo>
                    <a:pt x="311" y="112"/>
                  </a:lnTo>
                  <a:lnTo>
                    <a:pt x="317" y="125"/>
                  </a:lnTo>
                  <a:lnTo>
                    <a:pt x="322" y="140"/>
                  </a:lnTo>
                  <a:lnTo>
                    <a:pt x="327" y="155"/>
                  </a:lnTo>
                  <a:lnTo>
                    <a:pt x="329" y="170"/>
                  </a:lnTo>
                  <a:lnTo>
                    <a:pt x="330" y="185"/>
                  </a:lnTo>
                  <a:lnTo>
                    <a:pt x="330" y="242"/>
                  </a:lnTo>
                  <a:lnTo>
                    <a:pt x="330" y="245"/>
                  </a:lnTo>
                  <a:lnTo>
                    <a:pt x="331" y="248"/>
                  </a:lnTo>
                  <a:lnTo>
                    <a:pt x="333" y="251"/>
                  </a:lnTo>
                  <a:lnTo>
                    <a:pt x="334" y="253"/>
                  </a:lnTo>
                  <a:lnTo>
                    <a:pt x="336" y="255"/>
                  </a:lnTo>
                  <a:lnTo>
                    <a:pt x="340" y="256"/>
                  </a:lnTo>
                  <a:lnTo>
                    <a:pt x="342" y="257"/>
                  </a:lnTo>
                  <a:lnTo>
                    <a:pt x="345" y="257"/>
                  </a:lnTo>
                  <a:lnTo>
                    <a:pt x="348" y="257"/>
                  </a:lnTo>
                  <a:lnTo>
                    <a:pt x="351" y="256"/>
                  </a:lnTo>
                  <a:lnTo>
                    <a:pt x="353" y="255"/>
                  </a:lnTo>
                  <a:lnTo>
                    <a:pt x="356" y="253"/>
                  </a:lnTo>
                  <a:lnTo>
                    <a:pt x="358" y="251"/>
                  </a:lnTo>
                  <a:lnTo>
                    <a:pt x="359" y="248"/>
                  </a:lnTo>
                  <a:lnTo>
                    <a:pt x="360" y="245"/>
                  </a:lnTo>
                  <a:lnTo>
                    <a:pt x="360" y="242"/>
                  </a:lnTo>
                  <a:lnTo>
                    <a:pt x="360" y="185"/>
                  </a:lnTo>
                  <a:lnTo>
                    <a:pt x="359" y="167"/>
                  </a:lnTo>
                  <a:lnTo>
                    <a:pt x="357" y="149"/>
                  </a:lnTo>
                  <a:lnTo>
                    <a:pt x="351" y="131"/>
                  </a:lnTo>
                  <a:lnTo>
                    <a:pt x="345" y="114"/>
                  </a:lnTo>
                  <a:lnTo>
                    <a:pt x="336" y="98"/>
                  </a:lnTo>
                  <a:lnTo>
                    <a:pt x="327" y="82"/>
                  </a:lnTo>
                  <a:lnTo>
                    <a:pt x="316" y="68"/>
                  </a:lnTo>
                  <a:lnTo>
                    <a:pt x="304" y="56"/>
                  </a:lnTo>
                  <a:lnTo>
                    <a:pt x="290" y="43"/>
                  </a:lnTo>
                  <a:lnTo>
                    <a:pt x="275" y="32"/>
                  </a:lnTo>
                  <a:lnTo>
                    <a:pt x="260" y="22"/>
                  </a:lnTo>
                  <a:lnTo>
                    <a:pt x="243" y="15"/>
                  </a:lnTo>
                  <a:lnTo>
                    <a:pt x="226" y="8"/>
                  </a:lnTo>
                  <a:lnTo>
                    <a:pt x="208" y="4"/>
                  </a:lnTo>
                  <a:lnTo>
                    <a:pt x="189" y="1"/>
                  </a:lnTo>
                  <a:lnTo>
                    <a:pt x="170" y="0"/>
                  </a:lnTo>
                  <a:lnTo>
                    <a:pt x="152" y="1"/>
                  </a:lnTo>
                  <a:lnTo>
                    <a:pt x="135" y="4"/>
                  </a:lnTo>
                  <a:lnTo>
                    <a:pt x="118" y="8"/>
                  </a:lnTo>
                  <a:lnTo>
                    <a:pt x="102" y="14"/>
                  </a:lnTo>
                  <a:lnTo>
                    <a:pt x="87" y="21"/>
                  </a:lnTo>
                  <a:lnTo>
                    <a:pt x="73" y="30"/>
                  </a:lnTo>
                  <a:lnTo>
                    <a:pt x="60" y="41"/>
                  </a:lnTo>
                  <a:lnTo>
                    <a:pt x="48" y="52"/>
                  </a:lnTo>
                  <a:lnTo>
                    <a:pt x="37" y="65"/>
                  </a:lnTo>
                  <a:lnTo>
                    <a:pt x="28" y="79"/>
                  </a:lnTo>
                  <a:lnTo>
                    <a:pt x="19" y="95"/>
                  </a:lnTo>
                  <a:lnTo>
                    <a:pt x="13" y="111"/>
                  </a:lnTo>
                  <a:lnTo>
                    <a:pt x="7" y="128"/>
                  </a:lnTo>
                  <a:lnTo>
                    <a:pt x="3" y="147"/>
                  </a:lnTo>
                  <a:lnTo>
                    <a:pt x="1" y="166"/>
                  </a:lnTo>
                  <a:lnTo>
                    <a:pt x="0" y="185"/>
                  </a:lnTo>
                  <a:lnTo>
                    <a:pt x="0" y="242"/>
                  </a:lnTo>
                  <a:lnTo>
                    <a:pt x="0" y="245"/>
                  </a:lnTo>
                  <a:lnTo>
                    <a:pt x="1" y="248"/>
                  </a:lnTo>
                  <a:lnTo>
                    <a:pt x="2" y="251"/>
                  </a:lnTo>
                  <a:lnTo>
                    <a:pt x="4" y="253"/>
                  </a:lnTo>
                  <a:lnTo>
                    <a:pt x="6" y="255"/>
                  </a:lnTo>
                  <a:lnTo>
                    <a:pt x="8" y="256"/>
                  </a:lnTo>
                  <a:lnTo>
                    <a:pt x="12" y="257"/>
                  </a:lnTo>
                  <a:lnTo>
                    <a:pt x="15" y="2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4127"/>
            <p:cNvSpPr>
              <a:spLocks/>
            </p:cNvSpPr>
            <p:nvPr/>
          </p:nvSpPr>
          <p:spPr bwMode="auto">
            <a:xfrm>
              <a:off x="11228388" y="1392238"/>
              <a:ext cx="80963" cy="76200"/>
            </a:xfrm>
            <a:custGeom>
              <a:avLst/>
              <a:gdLst>
                <a:gd name="T0" fmla="*/ 252 w 256"/>
                <a:gd name="T1" fmla="*/ 85 h 239"/>
                <a:gd name="T2" fmla="*/ 171 w 256"/>
                <a:gd name="T3" fmla="*/ 4 h 239"/>
                <a:gd name="T4" fmla="*/ 168 w 256"/>
                <a:gd name="T5" fmla="*/ 2 h 239"/>
                <a:gd name="T6" fmla="*/ 166 w 256"/>
                <a:gd name="T7" fmla="*/ 1 h 239"/>
                <a:gd name="T8" fmla="*/ 164 w 256"/>
                <a:gd name="T9" fmla="*/ 0 h 239"/>
                <a:gd name="T10" fmla="*/ 161 w 256"/>
                <a:gd name="T11" fmla="*/ 0 h 239"/>
                <a:gd name="T12" fmla="*/ 157 w 256"/>
                <a:gd name="T13" fmla="*/ 0 h 239"/>
                <a:gd name="T14" fmla="*/ 155 w 256"/>
                <a:gd name="T15" fmla="*/ 1 h 239"/>
                <a:gd name="T16" fmla="*/ 152 w 256"/>
                <a:gd name="T17" fmla="*/ 2 h 239"/>
                <a:gd name="T18" fmla="*/ 150 w 256"/>
                <a:gd name="T19" fmla="*/ 4 h 239"/>
                <a:gd name="T20" fmla="*/ 5 w 256"/>
                <a:gd name="T21" fmla="*/ 138 h 239"/>
                <a:gd name="T22" fmla="*/ 3 w 256"/>
                <a:gd name="T23" fmla="*/ 140 h 239"/>
                <a:gd name="T24" fmla="*/ 2 w 256"/>
                <a:gd name="T25" fmla="*/ 143 h 239"/>
                <a:gd name="T26" fmla="*/ 1 w 256"/>
                <a:gd name="T27" fmla="*/ 146 h 239"/>
                <a:gd name="T28" fmla="*/ 0 w 256"/>
                <a:gd name="T29" fmla="*/ 149 h 239"/>
                <a:gd name="T30" fmla="*/ 0 w 256"/>
                <a:gd name="T31" fmla="*/ 224 h 239"/>
                <a:gd name="T32" fmla="*/ 1 w 256"/>
                <a:gd name="T33" fmla="*/ 226 h 239"/>
                <a:gd name="T34" fmla="*/ 1 w 256"/>
                <a:gd name="T35" fmla="*/ 229 h 239"/>
                <a:gd name="T36" fmla="*/ 3 w 256"/>
                <a:gd name="T37" fmla="*/ 231 h 239"/>
                <a:gd name="T38" fmla="*/ 4 w 256"/>
                <a:gd name="T39" fmla="*/ 234 h 239"/>
                <a:gd name="T40" fmla="*/ 7 w 256"/>
                <a:gd name="T41" fmla="*/ 236 h 239"/>
                <a:gd name="T42" fmla="*/ 10 w 256"/>
                <a:gd name="T43" fmla="*/ 237 h 239"/>
                <a:gd name="T44" fmla="*/ 13 w 256"/>
                <a:gd name="T45" fmla="*/ 238 h 239"/>
                <a:gd name="T46" fmla="*/ 15 w 256"/>
                <a:gd name="T47" fmla="*/ 239 h 239"/>
                <a:gd name="T48" fmla="*/ 107 w 256"/>
                <a:gd name="T49" fmla="*/ 239 h 239"/>
                <a:gd name="T50" fmla="*/ 109 w 256"/>
                <a:gd name="T51" fmla="*/ 238 h 239"/>
                <a:gd name="T52" fmla="*/ 112 w 256"/>
                <a:gd name="T53" fmla="*/ 238 h 239"/>
                <a:gd name="T54" fmla="*/ 115 w 256"/>
                <a:gd name="T55" fmla="*/ 236 h 239"/>
                <a:gd name="T56" fmla="*/ 117 w 256"/>
                <a:gd name="T57" fmla="*/ 235 h 239"/>
                <a:gd name="T58" fmla="*/ 251 w 256"/>
                <a:gd name="T59" fmla="*/ 106 h 239"/>
                <a:gd name="T60" fmla="*/ 253 w 256"/>
                <a:gd name="T61" fmla="*/ 104 h 239"/>
                <a:gd name="T62" fmla="*/ 254 w 256"/>
                <a:gd name="T63" fmla="*/ 102 h 239"/>
                <a:gd name="T64" fmla="*/ 255 w 256"/>
                <a:gd name="T65" fmla="*/ 99 h 239"/>
                <a:gd name="T66" fmla="*/ 256 w 256"/>
                <a:gd name="T67" fmla="*/ 95 h 239"/>
                <a:gd name="T68" fmla="*/ 255 w 256"/>
                <a:gd name="T69" fmla="*/ 92 h 239"/>
                <a:gd name="T70" fmla="*/ 255 w 256"/>
                <a:gd name="T71" fmla="*/ 90 h 239"/>
                <a:gd name="T72" fmla="*/ 253 w 256"/>
                <a:gd name="T73" fmla="*/ 87 h 239"/>
                <a:gd name="T74" fmla="*/ 252 w 256"/>
                <a:gd name="T75" fmla="*/ 8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6" h="239">
                  <a:moveTo>
                    <a:pt x="252" y="85"/>
                  </a:moveTo>
                  <a:lnTo>
                    <a:pt x="171" y="4"/>
                  </a:lnTo>
                  <a:lnTo>
                    <a:pt x="168" y="2"/>
                  </a:lnTo>
                  <a:lnTo>
                    <a:pt x="166" y="1"/>
                  </a:lnTo>
                  <a:lnTo>
                    <a:pt x="164" y="0"/>
                  </a:lnTo>
                  <a:lnTo>
                    <a:pt x="161" y="0"/>
                  </a:lnTo>
                  <a:lnTo>
                    <a:pt x="157" y="0"/>
                  </a:lnTo>
                  <a:lnTo>
                    <a:pt x="155" y="1"/>
                  </a:lnTo>
                  <a:lnTo>
                    <a:pt x="152" y="2"/>
                  </a:lnTo>
                  <a:lnTo>
                    <a:pt x="150" y="4"/>
                  </a:lnTo>
                  <a:lnTo>
                    <a:pt x="5" y="138"/>
                  </a:lnTo>
                  <a:lnTo>
                    <a:pt x="3" y="140"/>
                  </a:lnTo>
                  <a:lnTo>
                    <a:pt x="2" y="143"/>
                  </a:lnTo>
                  <a:lnTo>
                    <a:pt x="1" y="146"/>
                  </a:lnTo>
                  <a:lnTo>
                    <a:pt x="0" y="149"/>
                  </a:lnTo>
                  <a:lnTo>
                    <a:pt x="0" y="224"/>
                  </a:lnTo>
                  <a:lnTo>
                    <a:pt x="1" y="226"/>
                  </a:lnTo>
                  <a:lnTo>
                    <a:pt x="1" y="229"/>
                  </a:lnTo>
                  <a:lnTo>
                    <a:pt x="3" y="231"/>
                  </a:lnTo>
                  <a:lnTo>
                    <a:pt x="4" y="234"/>
                  </a:lnTo>
                  <a:lnTo>
                    <a:pt x="7" y="236"/>
                  </a:lnTo>
                  <a:lnTo>
                    <a:pt x="10" y="237"/>
                  </a:lnTo>
                  <a:lnTo>
                    <a:pt x="13" y="238"/>
                  </a:lnTo>
                  <a:lnTo>
                    <a:pt x="15" y="239"/>
                  </a:lnTo>
                  <a:lnTo>
                    <a:pt x="107" y="239"/>
                  </a:lnTo>
                  <a:lnTo>
                    <a:pt x="109" y="238"/>
                  </a:lnTo>
                  <a:lnTo>
                    <a:pt x="112" y="238"/>
                  </a:lnTo>
                  <a:lnTo>
                    <a:pt x="115" y="236"/>
                  </a:lnTo>
                  <a:lnTo>
                    <a:pt x="117" y="235"/>
                  </a:lnTo>
                  <a:lnTo>
                    <a:pt x="251" y="106"/>
                  </a:lnTo>
                  <a:lnTo>
                    <a:pt x="253" y="104"/>
                  </a:lnTo>
                  <a:lnTo>
                    <a:pt x="254" y="102"/>
                  </a:lnTo>
                  <a:lnTo>
                    <a:pt x="255" y="99"/>
                  </a:lnTo>
                  <a:lnTo>
                    <a:pt x="256" y="95"/>
                  </a:lnTo>
                  <a:lnTo>
                    <a:pt x="255" y="92"/>
                  </a:lnTo>
                  <a:lnTo>
                    <a:pt x="255" y="90"/>
                  </a:lnTo>
                  <a:lnTo>
                    <a:pt x="253" y="87"/>
                  </a:lnTo>
                  <a:lnTo>
                    <a:pt x="252"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 name="Group 16"/>
          <p:cNvGrpSpPr/>
          <p:nvPr/>
        </p:nvGrpSpPr>
        <p:grpSpPr>
          <a:xfrm flipV="1">
            <a:off x="0" y="5963350"/>
            <a:ext cx="4267202" cy="894650"/>
            <a:chOff x="-38102" y="-49822"/>
            <a:chExt cx="4267202" cy="894650"/>
          </a:xfrm>
        </p:grpSpPr>
        <p:sp>
          <p:nvSpPr>
            <p:cNvPr id="18" name="Freeform 17"/>
            <p:cNvSpPr/>
            <p:nvPr/>
          </p:nvSpPr>
          <p:spPr>
            <a:xfrm>
              <a:off x="-38101" y="-49822"/>
              <a:ext cx="4190260" cy="894650"/>
            </a:xfrm>
            <a:custGeom>
              <a:avLst/>
              <a:gdLst>
                <a:gd name="connsiteX0" fmla="*/ 12075771 w 12192000"/>
                <a:gd name="connsiteY0" fmla="*/ 0 h 1238985"/>
                <a:gd name="connsiteX1" fmla="*/ 116229 w 12192000"/>
                <a:gd name="connsiteY1" fmla="*/ 0 h 1238985"/>
                <a:gd name="connsiteX2" fmla="*/ 0 w 12192000"/>
                <a:gd name="connsiteY2" fmla="*/ 116229 h 1238985"/>
                <a:gd name="connsiteX3" fmla="*/ 0 w 12192000"/>
                <a:gd name="connsiteY3" fmla="*/ 1097104 h 1238985"/>
                <a:gd name="connsiteX4" fmla="*/ 64480 w 12192000"/>
                <a:gd name="connsiteY4" fmla="*/ 1097591 h 1238985"/>
                <a:gd name="connsiteX5" fmla="*/ 454868 w 12192000"/>
                <a:gd name="connsiteY5" fmla="*/ 1064430 h 1238985"/>
                <a:gd name="connsiteX6" fmla="*/ 3051118 w 12192000"/>
                <a:gd name="connsiteY6" fmla="*/ 346411 h 1238985"/>
                <a:gd name="connsiteX7" fmla="*/ 5799277 w 12192000"/>
                <a:gd name="connsiteY7" fmla="*/ 1214711 h 1238985"/>
                <a:gd name="connsiteX8" fmla="*/ 8369560 w 12192000"/>
                <a:gd name="connsiteY8" fmla="*/ 874016 h 1238985"/>
                <a:gd name="connsiteX9" fmla="*/ 8469240 w 12192000"/>
                <a:gd name="connsiteY9" fmla="*/ 877029 h 1238985"/>
                <a:gd name="connsiteX10" fmla="*/ 8568921 w 12192000"/>
                <a:gd name="connsiteY10" fmla="*/ 874016 h 1238985"/>
                <a:gd name="connsiteX11" fmla="*/ 11139204 w 12192000"/>
                <a:gd name="connsiteY11" fmla="*/ 1214711 h 1238985"/>
                <a:gd name="connsiteX12" fmla="*/ 11860670 w 12192000"/>
                <a:gd name="connsiteY12" fmla="*/ 1013385 h 1238985"/>
                <a:gd name="connsiteX13" fmla="*/ 12192000 w 12192000"/>
                <a:gd name="connsiteY13" fmla="*/ 881143 h 1238985"/>
                <a:gd name="connsiteX14" fmla="*/ 12192000 w 12192000"/>
                <a:gd name="connsiteY14" fmla="*/ 116229 h 1238985"/>
                <a:gd name="connsiteX15" fmla="*/ 12075771 w 12192000"/>
                <a:gd name="connsiteY15" fmla="*/ 0 h 1238985"/>
                <a:gd name="connsiteX0" fmla="*/ 12075771 w 12192000"/>
                <a:gd name="connsiteY0" fmla="*/ 0 h 1238985"/>
                <a:gd name="connsiteX1" fmla="*/ 116229 w 12192000"/>
                <a:gd name="connsiteY1" fmla="*/ 0 h 1238985"/>
                <a:gd name="connsiteX2" fmla="*/ 0 w 12192000"/>
                <a:gd name="connsiteY2" fmla="*/ 116229 h 1238985"/>
                <a:gd name="connsiteX3" fmla="*/ 0 w 12192000"/>
                <a:gd name="connsiteY3" fmla="*/ 1097104 h 1238985"/>
                <a:gd name="connsiteX4" fmla="*/ 64480 w 12192000"/>
                <a:gd name="connsiteY4" fmla="*/ 1097591 h 1238985"/>
                <a:gd name="connsiteX5" fmla="*/ 454868 w 12192000"/>
                <a:gd name="connsiteY5" fmla="*/ 1064430 h 1238985"/>
                <a:gd name="connsiteX6" fmla="*/ 3051118 w 12192000"/>
                <a:gd name="connsiteY6" fmla="*/ 346411 h 1238985"/>
                <a:gd name="connsiteX7" fmla="*/ 5799277 w 12192000"/>
                <a:gd name="connsiteY7" fmla="*/ 1214711 h 1238985"/>
                <a:gd name="connsiteX8" fmla="*/ 8369560 w 12192000"/>
                <a:gd name="connsiteY8" fmla="*/ 874016 h 1238985"/>
                <a:gd name="connsiteX9" fmla="*/ 8469240 w 12192000"/>
                <a:gd name="connsiteY9" fmla="*/ 877029 h 1238985"/>
                <a:gd name="connsiteX10" fmla="*/ 8568921 w 12192000"/>
                <a:gd name="connsiteY10" fmla="*/ 874016 h 1238985"/>
                <a:gd name="connsiteX11" fmla="*/ 11139204 w 12192000"/>
                <a:gd name="connsiteY11" fmla="*/ 1214711 h 1238985"/>
                <a:gd name="connsiteX12" fmla="*/ 11860670 w 12192000"/>
                <a:gd name="connsiteY12" fmla="*/ 1013385 h 1238985"/>
                <a:gd name="connsiteX13" fmla="*/ 12192000 w 12192000"/>
                <a:gd name="connsiteY13" fmla="*/ 116229 h 1238985"/>
                <a:gd name="connsiteX14" fmla="*/ 12075771 w 12192000"/>
                <a:gd name="connsiteY14" fmla="*/ 0 h 1238985"/>
                <a:gd name="connsiteX0" fmla="*/ 12075771 w 13388758"/>
                <a:gd name="connsiteY0" fmla="*/ 0 h 1238985"/>
                <a:gd name="connsiteX1" fmla="*/ 116229 w 13388758"/>
                <a:gd name="connsiteY1" fmla="*/ 0 h 1238985"/>
                <a:gd name="connsiteX2" fmla="*/ 0 w 13388758"/>
                <a:gd name="connsiteY2" fmla="*/ 116229 h 1238985"/>
                <a:gd name="connsiteX3" fmla="*/ 0 w 13388758"/>
                <a:gd name="connsiteY3" fmla="*/ 1097104 h 1238985"/>
                <a:gd name="connsiteX4" fmla="*/ 64480 w 13388758"/>
                <a:gd name="connsiteY4" fmla="*/ 1097591 h 1238985"/>
                <a:gd name="connsiteX5" fmla="*/ 454868 w 13388758"/>
                <a:gd name="connsiteY5" fmla="*/ 1064430 h 1238985"/>
                <a:gd name="connsiteX6" fmla="*/ 3051118 w 13388758"/>
                <a:gd name="connsiteY6" fmla="*/ 346411 h 1238985"/>
                <a:gd name="connsiteX7" fmla="*/ 5799277 w 13388758"/>
                <a:gd name="connsiteY7" fmla="*/ 1214711 h 1238985"/>
                <a:gd name="connsiteX8" fmla="*/ 8369560 w 13388758"/>
                <a:gd name="connsiteY8" fmla="*/ 874016 h 1238985"/>
                <a:gd name="connsiteX9" fmla="*/ 8469240 w 13388758"/>
                <a:gd name="connsiteY9" fmla="*/ 877029 h 1238985"/>
                <a:gd name="connsiteX10" fmla="*/ 8568921 w 13388758"/>
                <a:gd name="connsiteY10" fmla="*/ 874016 h 1238985"/>
                <a:gd name="connsiteX11" fmla="*/ 11139204 w 13388758"/>
                <a:gd name="connsiteY11" fmla="*/ 1214711 h 1238985"/>
                <a:gd name="connsiteX12" fmla="*/ 13388758 w 13388758"/>
                <a:gd name="connsiteY12" fmla="*/ 371810 h 1238985"/>
                <a:gd name="connsiteX13" fmla="*/ 12192000 w 13388758"/>
                <a:gd name="connsiteY13" fmla="*/ 116229 h 1238985"/>
                <a:gd name="connsiteX14" fmla="*/ 12075771 w 13388758"/>
                <a:gd name="connsiteY14" fmla="*/ 0 h 1238985"/>
                <a:gd name="connsiteX0" fmla="*/ 12075771 w 13388758"/>
                <a:gd name="connsiteY0" fmla="*/ 0 h 1238985"/>
                <a:gd name="connsiteX1" fmla="*/ 116229 w 13388758"/>
                <a:gd name="connsiteY1" fmla="*/ 0 h 1238985"/>
                <a:gd name="connsiteX2" fmla="*/ 0 w 13388758"/>
                <a:gd name="connsiteY2" fmla="*/ 116229 h 1238985"/>
                <a:gd name="connsiteX3" fmla="*/ 0 w 13388758"/>
                <a:gd name="connsiteY3" fmla="*/ 1097104 h 1238985"/>
                <a:gd name="connsiteX4" fmla="*/ 64480 w 13388758"/>
                <a:gd name="connsiteY4" fmla="*/ 1097591 h 1238985"/>
                <a:gd name="connsiteX5" fmla="*/ 454868 w 13388758"/>
                <a:gd name="connsiteY5" fmla="*/ 1064430 h 1238985"/>
                <a:gd name="connsiteX6" fmla="*/ 3051118 w 13388758"/>
                <a:gd name="connsiteY6" fmla="*/ 346411 h 1238985"/>
                <a:gd name="connsiteX7" fmla="*/ 5799277 w 13388758"/>
                <a:gd name="connsiteY7" fmla="*/ 1214711 h 1238985"/>
                <a:gd name="connsiteX8" fmla="*/ 8369560 w 13388758"/>
                <a:gd name="connsiteY8" fmla="*/ 874016 h 1238985"/>
                <a:gd name="connsiteX9" fmla="*/ 8469240 w 13388758"/>
                <a:gd name="connsiteY9" fmla="*/ 877029 h 1238985"/>
                <a:gd name="connsiteX10" fmla="*/ 8568921 w 13388758"/>
                <a:gd name="connsiteY10" fmla="*/ 874016 h 1238985"/>
                <a:gd name="connsiteX11" fmla="*/ 11139204 w 13388758"/>
                <a:gd name="connsiteY11" fmla="*/ 1214711 h 1238985"/>
                <a:gd name="connsiteX12" fmla="*/ 13388758 w 13388758"/>
                <a:gd name="connsiteY12" fmla="*/ 371810 h 1238985"/>
                <a:gd name="connsiteX13" fmla="*/ 12075771 w 13388758"/>
                <a:gd name="connsiteY13" fmla="*/ 0 h 1238985"/>
                <a:gd name="connsiteX0" fmla="*/ 15008043 w 15008043"/>
                <a:gd name="connsiteY0" fmla="*/ 0 h 1255436"/>
                <a:gd name="connsiteX1" fmla="*/ 116229 w 15008043"/>
                <a:gd name="connsiteY1" fmla="*/ 16451 h 1255436"/>
                <a:gd name="connsiteX2" fmla="*/ 0 w 15008043"/>
                <a:gd name="connsiteY2" fmla="*/ 132680 h 1255436"/>
                <a:gd name="connsiteX3" fmla="*/ 0 w 15008043"/>
                <a:gd name="connsiteY3" fmla="*/ 1113555 h 1255436"/>
                <a:gd name="connsiteX4" fmla="*/ 64480 w 15008043"/>
                <a:gd name="connsiteY4" fmla="*/ 1114042 h 1255436"/>
                <a:gd name="connsiteX5" fmla="*/ 454868 w 15008043"/>
                <a:gd name="connsiteY5" fmla="*/ 1080881 h 1255436"/>
                <a:gd name="connsiteX6" fmla="*/ 3051118 w 15008043"/>
                <a:gd name="connsiteY6" fmla="*/ 362862 h 1255436"/>
                <a:gd name="connsiteX7" fmla="*/ 5799277 w 15008043"/>
                <a:gd name="connsiteY7" fmla="*/ 1231162 h 1255436"/>
                <a:gd name="connsiteX8" fmla="*/ 8369560 w 15008043"/>
                <a:gd name="connsiteY8" fmla="*/ 890467 h 1255436"/>
                <a:gd name="connsiteX9" fmla="*/ 8469240 w 15008043"/>
                <a:gd name="connsiteY9" fmla="*/ 893480 h 1255436"/>
                <a:gd name="connsiteX10" fmla="*/ 8568921 w 15008043"/>
                <a:gd name="connsiteY10" fmla="*/ 890467 h 1255436"/>
                <a:gd name="connsiteX11" fmla="*/ 11139204 w 15008043"/>
                <a:gd name="connsiteY11" fmla="*/ 1231162 h 1255436"/>
                <a:gd name="connsiteX12" fmla="*/ 13388758 w 15008043"/>
                <a:gd name="connsiteY12" fmla="*/ 388261 h 1255436"/>
                <a:gd name="connsiteX13" fmla="*/ 15008043 w 15008043"/>
                <a:gd name="connsiteY13" fmla="*/ 0 h 1255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008043" h="1255436">
                  <a:moveTo>
                    <a:pt x="15008043" y="0"/>
                  </a:moveTo>
                  <a:lnTo>
                    <a:pt x="116229" y="16451"/>
                  </a:lnTo>
                  <a:cubicBezTo>
                    <a:pt x="52037" y="16451"/>
                    <a:pt x="0" y="68488"/>
                    <a:pt x="0" y="132680"/>
                  </a:cubicBezTo>
                  <a:lnTo>
                    <a:pt x="0" y="1113555"/>
                  </a:lnTo>
                  <a:lnTo>
                    <a:pt x="64480" y="1114042"/>
                  </a:lnTo>
                  <a:cubicBezTo>
                    <a:pt x="205319" y="1111536"/>
                    <a:pt x="336848" y="1101378"/>
                    <a:pt x="454868" y="1080881"/>
                  </a:cubicBezTo>
                  <a:cubicBezTo>
                    <a:pt x="1399029" y="916907"/>
                    <a:pt x="2160383" y="337815"/>
                    <a:pt x="3051118" y="362862"/>
                  </a:cubicBezTo>
                  <a:cubicBezTo>
                    <a:pt x="3941852" y="387909"/>
                    <a:pt x="4810060" y="1067188"/>
                    <a:pt x="5799277" y="1231162"/>
                  </a:cubicBezTo>
                  <a:cubicBezTo>
                    <a:pt x="6603015" y="1364391"/>
                    <a:pt x="7677767" y="906507"/>
                    <a:pt x="8369560" y="890467"/>
                  </a:cubicBezTo>
                  <a:lnTo>
                    <a:pt x="8469240" y="893480"/>
                  </a:lnTo>
                  <a:lnTo>
                    <a:pt x="8568921" y="890467"/>
                  </a:lnTo>
                  <a:cubicBezTo>
                    <a:pt x="9260713" y="906507"/>
                    <a:pt x="10335898" y="1314863"/>
                    <a:pt x="11139204" y="1231162"/>
                  </a:cubicBezTo>
                  <a:cubicBezTo>
                    <a:pt x="11942510" y="1147461"/>
                    <a:pt x="13154337" y="475394"/>
                    <a:pt x="13388758" y="388261"/>
                  </a:cubicBezTo>
                  <a:lnTo>
                    <a:pt x="15008043" y="0"/>
                  </a:lnTo>
                  <a:close/>
                </a:path>
              </a:pathLst>
            </a:custGeom>
            <a:solidFill>
              <a:schemeClr val="bg1">
                <a:lumMod val="75000"/>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Freeform 18"/>
            <p:cNvSpPr/>
            <p:nvPr/>
          </p:nvSpPr>
          <p:spPr>
            <a:xfrm flipH="1">
              <a:off x="-38102" y="-38099"/>
              <a:ext cx="4267202" cy="717300"/>
            </a:xfrm>
            <a:custGeom>
              <a:avLst/>
              <a:gdLst>
                <a:gd name="connsiteX0" fmla="*/ 12191319 w 12192000"/>
                <a:gd name="connsiteY0" fmla="*/ 0 h 1418416"/>
                <a:gd name="connsiteX1" fmla="*/ 681 w 12192000"/>
                <a:gd name="connsiteY1" fmla="*/ 0 h 1418416"/>
                <a:gd name="connsiteX2" fmla="*/ 0 w 12192000"/>
                <a:gd name="connsiteY2" fmla="*/ 4247 h 1418416"/>
                <a:gd name="connsiteX3" fmla="*/ 0 w 12192000"/>
                <a:gd name="connsiteY3" fmla="*/ 1239710 h 1418416"/>
                <a:gd name="connsiteX4" fmla="*/ 64480 w 12192000"/>
                <a:gd name="connsiteY4" fmla="*/ 1240323 h 1418416"/>
                <a:gd name="connsiteX5" fmla="*/ 454868 w 12192000"/>
                <a:gd name="connsiteY5" fmla="*/ 1198555 h 1418416"/>
                <a:gd name="connsiteX6" fmla="*/ 3051118 w 12192000"/>
                <a:gd name="connsiteY6" fmla="*/ 294173 h 1418416"/>
                <a:gd name="connsiteX7" fmla="*/ 5799277 w 12192000"/>
                <a:gd name="connsiteY7" fmla="*/ 1387842 h 1418416"/>
                <a:gd name="connsiteX8" fmla="*/ 8369560 w 12192000"/>
                <a:gd name="connsiteY8" fmla="*/ 958719 h 1418416"/>
                <a:gd name="connsiteX9" fmla="*/ 8469240 w 12192000"/>
                <a:gd name="connsiteY9" fmla="*/ 962514 h 1418416"/>
                <a:gd name="connsiteX10" fmla="*/ 8568921 w 12192000"/>
                <a:gd name="connsiteY10" fmla="*/ 958719 h 1418416"/>
                <a:gd name="connsiteX11" fmla="*/ 11139204 w 12192000"/>
                <a:gd name="connsiteY11" fmla="*/ 1387842 h 1418416"/>
                <a:gd name="connsiteX12" fmla="*/ 11860670 w 12192000"/>
                <a:gd name="connsiteY12" fmla="*/ 1134261 h 1418416"/>
                <a:gd name="connsiteX13" fmla="*/ 12192000 w 12192000"/>
                <a:gd name="connsiteY13" fmla="*/ 967695 h 1418416"/>
                <a:gd name="connsiteX14" fmla="*/ 12192000 w 12192000"/>
                <a:gd name="connsiteY14" fmla="*/ 4247 h 1418416"/>
                <a:gd name="connsiteX0" fmla="*/ 12191319 w 12192000"/>
                <a:gd name="connsiteY0" fmla="*/ 0 h 1418416"/>
                <a:gd name="connsiteX1" fmla="*/ 681 w 12192000"/>
                <a:gd name="connsiteY1" fmla="*/ 0 h 1418416"/>
                <a:gd name="connsiteX2" fmla="*/ 0 w 12192000"/>
                <a:gd name="connsiteY2" fmla="*/ 4247 h 1418416"/>
                <a:gd name="connsiteX3" fmla="*/ 4872 w 12192000"/>
                <a:gd name="connsiteY3" fmla="*/ 461273 h 1418416"/>
                <a:gd name="connsiteX4" fmla="*/ 0 w 12192000"/>
                <a:gd name="connsiteY4" fmla="*/ 1239710 h 1418416"/>
                <a:gd name="connsiteX5" fmla="*/ 64480 w 12192000"/>
                <a:gd name="connsiteY5" fmla="*/ 1240323 h 1418416"/>
                <a:gd name="connsiteX6" fmla="*/ 454868 w 12192000"/>
                <a:gd name="connsiteY6" fmla="*/ 1198555 h 1418416"/>
                <a:gd name="connsiteX7" fmla="*/ 3051118 w 12192000"/>
                <a:gd name="connsiteY7" fmla="*/ 294173 h 1418416"/>
                <a:gd name="connsiteX8" fmla="*/ 5799277 w 12192000"/>
                <a:gd name="connsiteY8" fmla="*/ 1387842 h 1418416"/>
                <a:gd name="connsiteX9" fmla="*/ 8369560 w 12192000"/>
                <a:gd name="connsiteY9" fmla="*/ 958719 h 1418416"/>
                <a:gd name="connsiteX10" fmla="*/ 8469240 w 12192000"/>
                <a:gd name="connsiteY10" fmla="*/ 962514 h 1418416"/>
                <a:gd name="connsiteX11" fmla="*/ 8568921 w 12192000"/>
                <a:gd name="connsiteY11" fmla="*/ 958719 h 1418416"/>
                <a:gd name="connsiteX12" fmla="*/ 11139204 w 12192000"/>
                <a:gd name="connsiteY12" fmla="*/ 1387842 h 1418416"/>
                <a:gd name="connsiteX13" fmla="*/ 11860670 w 12192000"/>
                <a:gd name="connsiteY13" fmla="*/ 1134261 h 1418416"/>
                <a:gd name="connsiteX14" fmla="*/ 12192000 w 12192000"/>
                <a:gd name="connsiteY14" fmla="*/ 967695 h 1418416"/>
                <a:gd name="connsiteX15" fmla="*/ 12192000 w 12192000"/>
                <a:gd name="connsiteY15" fmla="*/ 4247 h 1418416"/>
                <a:gd name="connsiteX16" fmla="*/ 12191319 w 12192000"/>
                <a:gd name="connsiteY16"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299416 w 14491416"/>
                <a:gd name="connsiteY4" fmla="*/ 1239710 h 1418416"/>
                <a:gd name="connsiteX5" fmla="*/ 2363896 w 14491416"/>
                <a:gd name="connsiteY5" fmla="*/ 1240323 h 1418416"/>
                <a:gd name="connsiteX6" fmla="*/ 2754284 w 14491416"/>
                <a:gd name="connsiteY6" fmla="*/ 1198555 h 1418416"/>
                <a:gd name="connsiteX7" fmla="*/ 5350534 w 14491416"/>
                <a:gd name="connsiteY7" fmla="*/ 294173 h 1418416"/>
                <a:gd name="connsiteX8" fmla="*/ 8098693 w 14491416"/>
                <a:gd name="connsiteY8" fmla="*/ 1387842 h 1418416"/>
                <a:gd name="connsiteX9" fmla="*/ 10668976 w 14491416"/>
                <a:gd name="connsiteY9" fmla="*/ 958719 h 1418416"/>
                <a:gd name="connsiteX10" fmla="*/ 10768656 w 14491416"/>
                <a:gd name="connsiteY10" fmla="*/ 962514 h 1418416"/>
                <a:gd name="connsiteX11" fmla="*/ 10868337 w 14491416"/>
                <a:gd name="connsiteY11" fmla="*/ 958719 h 1418416"/>
                <a:gd name="connsiteX12" fmla="*/ 13438620 w 14491416"/>
                <a:gd name="connsiteY12" fmla="*/ 1387842 h 1418416"/>
                <a:gd name="connsiteX13" fmla="*/ 14160086 w 14491416"/>
                <a:gd name="connsiteY13" fmla="*/ 1134261 h 1418416"/>
                <a:gd name="connsiteX14" fmla="*/ 14491416 w 14491416"/>
                <a:gd name="connsiteY14" fmla="*/ 967695 h 1418416"/>
                <a:gd name="connsiteX15" fmla="*/ 14491416 w 14491416"/>
                <a:gd name="connsiteY15" fmla="*/ 4247 h 1418416"/>
                <a:gd name="connsiteX16" fmla="*/ 14490735 w 14491416"/>
                <a:gd name="connsiteY16"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299416 w 14491416"/>
                <a:gd name="connsiteY4" fmla="*/ 1239710 h 1418416"/>
                <a:gd name="connsiteX5" fmla="*/ 1570198 w 14491416"/>
                <a:gd name="connsiteY5" fmla="*/ 889756 h 1418416"/>
                <a:gd name="connsiteX6" fmla="*/ 2754284 w 14491416"/>
                <a:gd name="connsiteY6" fmla="*/ 1198555 h 1418416"/>
                <a:gd name="connsiteX7" fmla="*/ 5350534 w 14491416"/>
                <a:gd name="connsiteY7" fmla="*/ 294173 h 1418416"/>
                <a:gd name="connsiteX8" fmla="*/ 8098693 w 14491416"/>
                <a:gd name="connsiteY8" fmla="*/ 1387842 h 1418416"/>
                <a:gd name="connsiteX9" fmla="*/ 10668976 w 14491416"/>
                <a:gd name="connsiteY9" fmla="*/ 958719 h 1418416"/>
                <a:gd name="connsiteX10" fmla="*/ 10768656 w 14491416"/>
                <a:gd name="connsiteY10" fmla="*/ 962514 h 1418416"/>
                <a:gd name="connsiteX11" fmla="*/ 10868337 w 14491416"/>
                <a:gd name="connsiteY11" fmla="*/ 958719 h 1418416"/>
                <a:gd name="connsiteX12" fmla="*/ 13438620 w 14491416"/>
                <a:gd name="connsiteY12" fmla="*/ 1387842 h 1418416"/>
                <a:gd name="connsiteX13" fmla="*/ 14160086 w 14491416"/>
                <a:gd name="connsiteY13" fmla="*/ 1134261 h 1418416"/>
                <a:gd name="connsiteX14" fmla="*/ 14491416 w 14491416"/>
                <a:gd name="connsiteY14" fmla="*/ 967695 h 1418416"/>
                <a:gd name="connsiteX15" fmla="*/ 14491416 w 14491416"/>
                <a:gd name="connsiteY15" fmla="*/ 4247 h 1418416"/>
                <a:gd name="connsiteX16" fmla="*/ 14490735 w 14491416"/>
                <a:gd name="connsiteY16"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299416 w 14491416"/>
                <a:gd name="connsiteY4" fmla="*/ 1239710 h 1418416"/>
                <a:gd name="connsiteX5" fmla="*/ 2754284 w 14491416"/>
                <a:gd name="connsiteY5" fmla="*/ 1198555 h 1418416"/>
                <a:gd name="connsiteX6" fmla="*/ 5350534 w 14491416"/>
                <a:gd name="connsiteY6" fmla="*/ 294173 h 1418416"/>
                <a:gd name="connsiteX7" fmla="*/ 8098693 w 14491416"/>
                <a:gd name="connsiteY7" fmla="*/ 1387842 h 1418416"/>
                <a:gd name="connsiteX8" fmla="*/ 10668976 w 14491416"/>
                <a:gd name="connsiteY8" fmla="*/ 958719 h 1418416"/>
                <a:gd name="connsiteX9" fmla="*/ 10768656 w 14491416"/>
                <a:gd name="connsiteY9" fmla="*/ 962514 h 1418416"/>
                <a:gd name="connsiteX10" fmla="*/ 10868337 w 14491416"/>
                <a:gd name="connsiteY10" fmla="*/ 958719 h 1418416"/>
                <a:gd name="connsiteX11" fmla="*/ 13438620 w 14491416"/>
                <a:gd name="connsiteY11" fmla="*/ 1387842 h 1418416"/>
                <a:gd name="connsiteX12" fmla="*/ 14160086 w 14491416"/>
                <a:gd name="connsiteY12" fmla="*/ 1134261 h 1418416"/>
                <a:gd name="connsiteX13" fmla="*/ 14491416 w 14491416"/>
                <a:gd name="connsiteY13" fmla="*/ 967695 h 1418416"/>
                <a:gd name="connsiteX14" fmla="*/ 14491416 w 14491416"/>
                <a:gd name="connsiteY14" fmla="*/ 4247 h 1418416"/>
                <a:gd name="connsiteX15" fmla="*/ 14490735 w 14491416"/>
                <a:gd name="connsiteY15"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754284 w 14491416"/>
                <a:gd name="connsiteY4" fmla="*/ 1198555 h 1418416"/>
                <a:gd name="connsiteX5" fmla="*/ 5350534 w 14491416"/>
                <a:gd name="connsiteY5" fmla="*/ 294173 h 1418416"/>
                <a:gd name="connsiteX6" fmla="*/ 8098693 w 14491416"/>
                <a:gd name="connsiteY6" fmla="*/ 1387842 h 1418416"/>
                <a:gd name="connsiteX7" fmla="*/ 10668976 w 14491416"/>
                <a:gd name="connsiteY7" fmla="*/ 958719 h 1418416"/>
                <a:gd name="connsiteX8" fmla="*/ 10768656 w 14491416"/>
                <a:gd name="connsiteY8" fmla="*/ 962514 h 1418416"/>
                <a:gd name="connsiteX9" fmla="*/ 10868337 w 14491416"/>
                <a:gd name="connsiteY9" fmla="*/ 958719 h 1418416"/>
                <a:gd name="connsiteX10" fmla="*/ 13438620 w 14491416"/>
                <a:gd name="connsiteY10" fmla="*/ 1387842 h 1418416"/>
                <a:gd name="connsiteX11" fmla="*/ 14160086 w 14491416"/>
                <a:gd name="connsiteY11" fmla="*/ 1134261 h 1418416"/>
                <a:gd name="connsiteX12" fmla="*/ 14491416 w 14491416"/>
                <a:gd name="connsiteY12" fmla="*/ 967695 h 1418416"/>
                <a:gd name="connsiteX13" fmla="*/ 14491416 w 14491416"/>
                <a:gd name="connsiteY13" fmla="*/ 4247 h 1418416"/>
                <a:gd name="connsiteX14" fmla="*/ 14490735 w 14491416"/>
                <a:gd name="connsiteY14"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754284 w 14491416"/>
                <a:gd name="connsiteY4" fmla="*/ 1198555 h 1418416"/>
                <a:gd name="connsiteX5" fmla="*/ 5350534 w 14491416"/>
                <a:gd name="connsiteY5" fmla="*/ 294173 h 1418416"/>
                <a:gd name="connsiteX6" fmla="*/ 8098693 w 14491416"/>
                <a:gd name="connsiteY6" fmla="*/ 1387842 h 1418416"/>
                <a:gd name="connsiteX7" fmla="*/ 10668976 w 14491416"/>
                <a:gd name="connsiteY7" fmla="*/ 958719 h 1418416"/>
                <a:gd name="connsiteX8" fmla="*/ 10768656 w 14491416"/>
                <a:gd name="connsiteY8" fmla="*/ 962514 h 1418416"/>
                <a:gd name="connsiteX9" fmla="*/ 10868337 w 14491416"/>
                <a:gd name="connsiteY9" fmla="*/ 958719 h 1418416"/>
                <a:gd name="connsiteX10" fmla="*/ 13438620 w 14491416"/>
                <a:gd name="connsiteY10" fmla="*/ 1387842 h 1418416"/>
                <a:gd name="connsiteX11" fmla="*/ 14160086 w 14491416"/>
                <a:gd name="connsiteY11" fmla="*/ 1134261 h 1418416"/>
                <a:gd name="connsiteX12" fmla="*/ 14491416 w 14491416"/>
                <a:gd name="connsiteY12" fmla="*/ 967695 h 1418416"/>
                <a:gd name="connsiteX13" fmla="*/ 14491416 w 14491416"/>
                <a:gd name="connsiteY13" fmla="*/ 4247 h 1418416"/>
                <a:gd name="connsiteX14" fmla="*/ 14490735 w 14491416"/>
                <a:gd name="connsiteY14" fmla="*/ 0 h 1418416"/>
                <a:gd name="connsiteX0" fmla="*/ 14576079 w 14576760"/>
                <a:gd name="connsiteY0" fmla="*/ 12301 h 1430717"/>
                <a:gd name="connsiteX1" fmla="*/ 2385441 w 14576760"/>
                <a:gd name="connsiteY1" fmla="*/ 12301 h 1430717"/>
                <a:gd name="connsiteX2" fmla="*/ 2384760 w 14576760"/>
                <a:gd name="connsiteY2" fmla="*/ 16548 h 1430717"/>
                <a:gd name="connsiteX3" fmla="*/ 0 w 14576760"/>
                <a:gd name="connsiteY3" fmla="*/ 0 h 1430717"/>
                <a:gd name="connsiteX4" fmla="*/ 2839628 w 14576760"/>
                <a:gd name="connsiteY4" fmla="*/ 1210856 h 1430717"/>
                <a:gd name="connsiteX5" fmla="*/ 5435878 w 14576760"/>
                <a:gd name="connsiteY5" fmla="*/ 306474 h 1430717"/>
                <a:gd name="connsiteX6" fmla="*/ 8184037 w 14576760"/>
                <a:gd name="connsiteY6" fmla="*/ 1400143 h 1430717"/>
                <a:gd name="connsiteX7" fmla="*/ 10754320 w 14576760"/>
                <a:gd name="connsiteY7" fmla="*/ 971020 h 1430717"/>
                <a:gd name="connsiteX8" fmla="*/ 10854000 w 14576760"/>
                <a:gd name="connsiteY8" fmla="*/ 974815 h 1430717"/>
                <a:gd name="connsiteX9" fmla="*/ 10953681 w 14576760"/>
                <a:gd name="connsiteY9" fmla="*/ 971020 h 1430717"/>
                <a:gd name="connsiteX10" fmla="*/ 13523964 w 14576760"/>
                <a:gd name="connsiteY10" fmla="*/ 1400143 h 1430717"/>
                <a:gd name="connsiteX11" fmla="*/ 14245430 w 14576760"/>
                <a:gd name="connsiteY11" fmla="*/ 1146562 h 1430717"/>
                <a:gd name="connsiteX12" fmla="*/ 14576760 w 14576760"/>
                <a:gd name="connsiteY12" fmla="*/ 979996 h 1430717"/>
                <a:gd name="connsiteX13" fmla="*/ 14576760 w 14576760"/>
                <a:gd name="connsiteY13" fmla="*/ 16548 h 1430717"/>
                <a:gd name="connsiteX14" fmla="*/ 14576079 w 14576760"/>
                <a:gd name="connsiteY14" fmla="*/ 12301 h 1430717"/>
                <a:gd name="connsiteX0" fmla="*/ 14576079 w 14576760"/>
                <a:gd name="connsiteY0" fmla="*/ 12301 h 1430717"/>
                <a:gd name="connsiteX1" fmla="*/ 2385441 w 14576760"/>
                <a:gd name="connsiteY1" fmla="*/ 12301 h 1430717"/>
                <a:gd name="connsiteX2" fmla="*/ 2384760 w 14576760"/>
                <a:gd name="connsiteY2" fmla="*/ 16548 h 1430717"/>
                <a:gd name="connsiteX3" fmla="*/ 0 w 14576760"/>
                <a:gd name="connsiteY3" fmla="*/ 0 h 1430717"/>
                <a:gd name="connsiteX4" fmla="*/ 2839628 w 14576760"/>
                <a:gd name="connsiteY4" fmla="*/ 1210856 h 1430717"/>
                <a:gd name="connsiteX5" fmla="*/ 5435878 w 14576760"/>
                <a:gd name="connsiteY5" fmla="*/ 306474 h 1430717"/>
                <a:gd name="connsiteX6" fmla="*/ 8184037 w 14576760"/>
                <a:gd name="connsiteY6" fmla="*/ 1400143 h 1430717"/>
                <a:gd name="connsiteX7" fmla="*/ 10754320 w 14576760"/>
                <a:gd name="connsiteY7" fmla="*/ 971020 h 1430717"/>
                <a:gd name="connsiteX8" fmla="*/ 10854000 w 14576760"/>
                <a:gd name="connsiteY8" fmla="*/ 974815 h 1430717"/>
                <a:gd name="connsiteX9" fmla="*/ 10953681 w 14576760"/>
                <a:gd name="connsiteY9" fmla="*/ 971020 h 1430717"/>
                <a:gd name="connsiteX10" fmla="*/ 13523964 w 14576760"/>
                <a:gd name="connsiteY10" fmla="*/ 1400143 h 1430717"/>
                <a:gd name="connsiteX11" fmla="*/ 14245430 w 14576760"/>
                <a:gd name="connsiteY11" fmla="*/ 1146562 h 1430717"/>
                <a:gd name="connsiteX12" fmla="*/ 14576760 w 14576760"/>
                <a:gd name="connsiteY12" fmla="*/ 979996 h 1430717"/>
                <a:gd name="connsiteX13" fmla="*/ 14576760 w 14576760"/>
                <a:gd name="connsiteY13" fmla="*/ 16548 h 1430717"/>
                <a:gd name="connsiteX14" fmla="*/ 14576079 w 14576760"/>
                <a:gd name="connsiteY14" fmla="*/ 12301 h 1430717"/>
                <a:gd name="connsiteX0" fmla="*/ 14576079 w 14576760"/>
                <a:gd name="connsiteY0" fmla="*/ 12301 h 1430717"/>
                <a:gd name="connsiteX1" fmla="*/ 2385441 w 14576760"/>
                <a:gd name="connsiteY1" fmla="*/ 12301 h 1430717"/>
                <a:gd name="connsiteX2" fmla="*/ 2384760 w 14576760"/>
                <a:gd name="connsiteY2" fmla="*/ 16548 h 1430717"/>
                <a:gd name="connsiteX3" fmla="*/ 0 w 14576760"/>
                <a:gd name="connsiteY3" fmla="*/ 0 h 1430717"/>
                <a:gd name="connsiteX4" fmla="*/ 2839628 w 14576760"/>
                <a:gd name="connsiteY4" fmla="*/ 1210856 h 1430717"/>
                <a:gd name="connsiteX5" fmla="*/ 5435878 w 14576760"/>
                <a:gd name="connsiteY5" fmla="*/ 306474 h 1430717"/>
                <a:gd name="connsiteX6" fmla="*/ 8184037 w 14576760"/>
                <a:gd name="connsiteY6" fmla="*/ 1400143 h 1430717"/>
                <a:gd name="connsiteX7" fmla="*/ 10754320 w 14576760"/>
                <a:gd name="connsiteY7" fmla="*/ 971020 h 1430717"/>
                <a:gd name="connsiteX8" fmla="*/ 10854000 w 14576760"/>
                <a:gd name="connsiteY8" fmla="*/ 974815 h 1430717"/>
                <a:gd name="connsiteX9" fmla="*/ 10953681 w 14576760"/>
                <a:gd name="connsiteY9" fmla="*/ 971020 h 1430717"/>
                <a:gd name="connsiteX10" fmla="*/ 13523964 w 14576760"/>
                <a:gd name="connsiteY10" fmla="*/ 1400143 h 1430717"/>
                <a:gd name="connsiteX11" fmla="*/ 14245430 w 14576760"/>
                <a:gd name="connsiteY11" fmla="*/ 1146562 h 1430717"/>
                <a:gd name="connsiteX12" fmla="*/ 14576760 w 14576760"/>
                <a:gd name="connsiteY12" fmla="*/ 979996 h 1430717"/>
                <a:gd name="connsiteX13" fmla="*/ 14576760 w 14576760"/>
                <a:gd name="connsiteY13" fmla="*/ 16548 h 1430717"/>
                <a:gd name="connsiteX14" fmla="*/ 14576079 w 14576760"/>
                <a:gd name="connsiteY14" fmla="*/ 12301 h 1430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76760" h="1430717">
                  <a:moveTo>
                    <a:pt x="14576079" y="12301"/>
                  </a:moveTo>
                  <a:lnTo>
                    <a:pt x="2385441" y="12301"/>
                  </a:lnTo>
                  <a:lnTo>
                    <a:pt x="2384760" y="16548"/>
                  </a:lnTo>
                  <a:lnTo>
                    <a:pt x="0" y="0"/>
                  </a:lnTo>
                  <a:cubicBezTo>
                    <a:pt x="1676011" y="306683"/>
                    <a:pt x="1442922" y="1144401"/>
                    <a:pt x="2839628" y="1210856"/>
                  </a:cubicBezTo>
                  <a:cubicBezTo>
                    <a:pt x="4236334" y="1277311"/>
                    <a:pt x="4545143" y="274926"/>
                    <a:pt x="5435878" y="306474"/>
                  </a:cubicBezTo>
                  <a:cubicBezTo>
                    <a:pt x="6326612" y="338022"/>
                    <a:pt x="7194820" y="1193609"/>
                    <a:pt x="8184037" y="1400143"/>
                  </a:cubicBezTo>
                  <a:cubicBezTo>
                    <a:pt x="8987775" y="1567952"/>
                    <a:pt x="10062527" y="991223"/>
                    <a:pt x="10754320" y="971020"/>
                  </a:cubicBezTo>
                  <a:lnTo>
                    <a:pt x="10854000" y="974815"/>
                  </a:lnTo>
                  <a:lnTo>
                    <a:pt x="10953681" y="971020"/>
                  </a:lnTo>
                  <a:cubicBezTo>
                    <a:pt x="11645473" y="991223"/>
                    <a:pt x="12720224" y="1567952"/>
                    <a:pt x="13523964" y="1400143"/>
                  </a:cubicBezTo>
                  <a:cubicBezTo>
                    <a:pt x="13771268" y="1348510"/>
                    <a:pt x="14011009" y="1256311"/>
                    <a:pt x="14245430" y="1146562"/>
                  </a:cubicBezTo>
                  <a:lnTo>
                    <a:pt x="14576760" y="979996"/>
                  </a:lnTo>
                  <a:lnTo>
                    <a:pt x="14576760" y="16548"/>
                  </a:lnTo>
                  <a:lnTo>
                    <a:pt x="14576079" y="12301"/>
                  </a:lnTo>
                  <a:close/>
                </a:path>
              </a:pathLst>
            </a:custGeom>
            <a:gradFill>
              <a:gsLst>
                <a:gs pos="100000">
                  <a:schemeClr val="accent1">
                    <a:alpha val="25000"/>
                  </a:schemeClr>
                </a:gs>
                <a:gs pos="0">
                  <a:schemeClr val="accent2">
                    <a:alpha val="25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p:cNvSpPr/>
            <p:nvPr/>
          </p:nvSpPr>
          <p:spPr>
            <a:xfrm flipH="1">
              <a:off x="-38102" y="-38100"/>
              <a:ext cx="4267202" cy="590868"/>
            </a:xfrm>
            <a:custGeom>
              <a:avLst/>
              <a:gdLst>
                <a:gd name="connsiteX0" fmla="*/ 12191319 w 12192000"/>
                <a:gd name="connsiteY0" fmla="*/ 0 h 1418416"/>
                <a:gd name="connsiteX1" fmla="*/ 681 w 12192000"/>
                <a:gd name="connsiteY1" fmla="*/ 0 h 1418416"/>
                <a:gd name="connsiteX2" fmla="*/ 0 w 12192000"/>
                <a:gd name="connsiteY2" fmla="*/ 4247 h 1418416"/>
                <a:gd name="connsiteX3" fmla="*/ 0 w 12192000"/>
                <a:gd name="connsiteY3" fmla="*/ 1239710 h 1418416"/>
                <a:gd name="connsiteX4" fmla="*/ 64480 w 12192000"/>
                <a:gd name="connsiteY4" fmla="*/ 1240323 h 1418416"/>
                <a:gd name="connsiteX5" fmla="*/ 454868 w 12192000"/>
                <a:gd name="connsiteY5" fmla="*/ 1198555 h 1418416"/>
                <a:gd name="connsiteX6" fmla="*/ 3051118 w 12192000"/>
                <a:gd name="connsiteY6" fmla="*/ 294173 h 1418416"/>
                <a:gd name="connsiteX7" fmla="*/ 5799277 w 12192000"/>
                <a:gd name="connsiteY7" fmla="*/ 1387842 h 1418416"/>
                <a:gd name="connsiteX8" fmla="*/ 8369560 w 12192000"/>
                <a:gd name="connsiteY8" fmla="*/ 958719 h 1418416"/>
                <a:gd name="connsiteX9" fmla="*/ 8469240 w 12192000"/>
                <a:gd name="connsiteY9" fmla="*/ 962514 h 1418416"/>
                <a:gd name="connsiteX10" fmla="*/ 8568921 w 12192000"/>
                <a:gd name="connsiteY10" fmla="*/ 958719 h 1418416"/>
                <a:gd name="connsiteX11" fmla="*/ 11139204 w 12192000"/>
                <a:gd name="connsiteY11" fmla="*/ 1387842 h 1418416"/>
                <a:gd name="connsiteX12" fmla="*/ 11860670 w 12192000"/>
                <a:gd name="connsiteY12" fmla="*/ 1134261 h 1418416"/>
                <a:gd name="connsiteX13" fmla="*/ 12192000 w 12192000"/>
                <a:gd name="connsiteY13" fmla="*/ 967695 h 1418416"/>
                <a:gd name="connsiteX14" fmla="*/ 12192000 w 12192000"/>
                <a:gd name="connsiteY14" fmla="*/ 4247 h 1418416"/>
                <a:gd name="connsiteX0" fmla="*/ 12191319 w 12192000"/>
                <a:gd name="connsiteY0" fmla="*/ 0 h 1418416"/>
                <a:gd name="connsiteX1" fmla="*/ 681 w 12192000"/>
                <a:gd name="connsiteY1" fmla="*/ 0 h 1418416"/>
                <a:gd name="connsiteX2" fmla="*/ 0 w 12192000"/>
                <a:gd name="connsiteY2" fmla="*/ 4247 h 1418416"/>
                <a:gd name="connsiteX3" fmla="*/ 4872 w 12192000"/>
                <a:gd name="connsiteY3" fmla="*/ 461273 h 1418416"/>
                <a:gd name="connsiteX4" fmla="*/ 0 w 12192000"/>
                <a:gd name="connsiteY4" fmla="*/ 1239710 h 1418416"/>
                <a:gd name="connsiteX5" fmla="*/ 64480 w 12192000"/>
                <a:gd name="connsiteY5" fmla="*/ 1240323 h 1418416"/>
                <a:gd name="connsiteX6" fmla="*/ 454868 w 12192000"/>
                <a:gd name="connsiteY6" fmla="*/ 1198555 h 1418416"/>
                <a:gd name="connsiteX7" fmla="*/ 3051118 w 12192000"/>
                <a:gd name="connsiteY7" fmla="*/ 294173 h 1418416"/>
                <a:gd name="connsiteX8" fmla="*/ 5799277 w 12192000"/>
                <a:gd name="connsiteY8" fmla="*/ 1387842 h 1418416"/>
                <a:gd name="connsiteX9" fmla="*/ 8369560 w 12192000"/>
                <a:gd name="connsiteY9" fmla="*/ 958719 h 1418416"/>
                <a:gd name="connsiteX10" fmla="*/ 8469240 w 12192000"/>
                <a:gd name="connsiteY10" fmla="*/ 962514 h 1418416"/>
                <a:gd name="connsiteX11" fmla="*/ 8568921 w 12192000"/>
                <a:gd name="connsiteY11" fmla="*/ 958719 h 1418416"/>
                <a:gd name="connsiteX12" fmla="*/ 11139204 w 12192000"/>
                <a:gd name="connsiteY12" fmla="*/ 1387842 h 1418416"/>
                <a:gd name="connsiteX13" fmla="*/ 11860670 w 12192000"/>
                <a:gd name="connsiteY13" fmla="*/ 1134261 h 1418416"/>
                <a:gd name="connsiteX14" fmla="*/ 12192000 w 12192000"/>
                <a:gd name="connsiteY14" fmla="*/ 967695 h 1418416"/>
                <a:gd name="connsiteX15" fmla="*/ 12192000 w 12192000"/>
                <a:gd name="connsiteY15" fmla="*/ 4247 h 1418416"/>
                <a:gd name="connsiteX16" fmla="*/ 12191319 w 12192000"/>
                <a:gd name="connsiteY16"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299416 w 14491416"/>
                <a:gd name="connsiteY4" fmla="*/ 1239710 h 1418416"/>
                <a:gd name="connsiteX5" fmla="*/ 2363896 w 14491416"/>
                <a:gd name="connsiteY5" fmla="*/ 1240323 h 1418416"/>
                <a:gd name="connsiteX6" fmla="*/ 2754284 w 14491416"/>
                <a:gd name="connsiteY6" fmla="*/ 1198555 h 1418416"/>
                <a:gd name="connsiteX7" fmla="*/ 5350534 w 14491416"/>
                <a:gd name="connsiteY7" fmla="*/ 294173 h 1418416"/>
                <a:gd name="connsiteX8" fmla="*/ 8098693 w 14491416"/>
                <a:gd name="connsiteY8" fmla="*/ 1387842 h 1418416"/>
                <a:gd name="connsiteX9" fmla="*/ 10668976 w 14491416"/>
                <a:gd name="connsiteY9" fmla="*/ 958719 h 1418416"/>
                <a:gd name="connsiteX10" fmla="*/ 10768656 w 14491416"/>
                <a:gd name="connsiteY10" fmla="*/ 962514 h 1418416"/>
                <a:gd name="connsiteX11" fmla="*/ 10868337 w 14491416"/>
                <a:gd name="connsiteY11" fmla="*/ 958719 h 1418416"/>
                <a:gd name="connsiteX12" fmla="*/ 13438620 w 14491416"/>
                <a:gd name="connsiteY12" fmla="*/ 1387842 h 1418416"/>
                <a:gd name="connsiteX13" fmla="*/ 14160086 w 14491416"/>
                <a:gd name="connsiteY13" fmla="*/ 1134261 h 1418416"/>
                <a:gd name="connsiteX14" fmla="*/ 14491416 w 14491416"/>
                <a:gd name="connsiteY14" fmla="*/ 967695 h 1418416"/>
                <a:gd name="connsiteX15" fmla="*/ 14491416 w 14491416"/>
                <a:gd name="connsiteY15" fmla="*/ 4247 h 1418416"/>
                <a:gd name="connsiteX16" fmla="*/ 14490735 w 14491416"/>
                <a:gd name="connsiteY16"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299416 w 14491416"/>
                <a:gd name="connsiteY4" fmla="*/ 1239710 h 1418416"/>
                <a:gd name="connsiteX5" fmla="*/ 1570198 w 14491416"/>
                <a:gd name="connsiteY5" fmla="*/ 889756 h 1418416"/>
                <a:gd name="connsiteX6" fmla="*/ 2754284 w 14491416"/>
                <a:gd name="connsiteY6" fmla="*/ 1198555 h 1418416"/>
                <a:gd name="connsiteX7" fmla="*/ 5350534 w 14491416"/>
                <a:gd name="connsiteY7" fmla="*/ 294173 h 1418416"/>
                <a:gd name="connsiteX8" fmla="*/ 8098693 w 14491416"/>
                <a:gd name="connsiteY8" fmla="*/ 1387842 h 1418416"/>
                <a:gd name="connsiteX9" fmla="*/ 10668976 w 14491416"/>
                <a:gd name="connsiteY9" fmla="*/ 958719 h 1418416"/>
                <a:gd name="connsiteX10" fmla="*/ 10768656 w 14491416"/>
                <a:gd name="connsiteY10" fmla="*/ 962514 h 1418416"/>
                <a:gd name="connsiteX11" fmla="*/ 10868337 w 14491416"/>
                <a:gd name="connsiteY11" fmla="*/ 958719 h 1418416"/>
                <a:gd name="connsiteX12" fmla="*/ 13438620 w 14491416"/>
                <a:gd name="connsiteY12" fmla="*/ 1387842 h 1418416"/>
                <a:gd name="connsiteX13" fmla="*/ 14160086 w 14491416"/>
                <a:gd name="connsiteY13" fmla="*/ 1134261 h 1418416"/>
                <a:gd name="connsiteX14" fmla="*/ 14491416 w 14491416"/>
                <a:gd name="connsiteY14" fmla="*/ 967695 h 1418416"/>
                <a:gd name="connsiteX15" fmla="*/ 14491416 w 14491416"/>
                <a:gd name="connsiteY15" fmla="*/ 4247 h 1418416"/>
                <a:gd name="connsiteX16" fmla="*/ 14490735 w 14491416"/>
                <a:gd name="connsiteY16"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299416 w 14491416"/>
                <a:gd name="connsiteY4" fmla="*/ 1239710 h 1418416"/>
                <a:gd name="connsiteX5" fmla="*/ 2754284 w 14491416"/>
                <a:gd name="connsiteY5" fmla="*/ 1198555 h 1418416"/>
                <a:gd name="connsiteX6" fmla="*/ 5350534 w 14491416"/>
                <a:gd name="connsiteY6" fmla="*/ 294173 h 1418416"/>
                <a:gd name="connsiteX7" fmla="*/ 8098693 w 14491416"/>
                <a:gd name="connsiteY7" fmla="*/ 1387842 h 1418416"/>
                <a:gd name="connsiteX8" fmla="*/ 10668976 w 14491416"/>
                <a:gd name="connsiteY8" fmla="*/ 958719 h 1418416"/>
                <a:gd name="connsiteX9" fmla="*/ 10768656 w 14491416"/>
                <a:gd name="connsiteY9" fmla="*/ 962514 h 1418416"/>
                <a:gd name="connsiteX10" fmla="*/ 10868337 w 14491416"/>
                <a:gd name="connsiteY10" fmla="*/ 958719 h 1418416"/>
                <a:gd name="connsiteX11" fmla="*/ 13438620 w 14491416"/>
                <a:gd name="connsiteY11" fmla="*/ 1387842 h 1418416"/>
                <a:gd name="connsiteX12" fmla="*/ 14160086 w 14491416"/>
                <a:gd name="connsiteY12" fmla="*/ 1134261 h 1418416"/>
                <a:gd name="connsiteX13" fmla="*/ 14491416 w 14491416"/>
                <a:gd name="connsiteY13" fmla="*/ 967695 h 1418416"/>
                <a:gd name="connsiteX14" fmla="*/ 14491416 w 14491416"/>
                <a:gd name="connsiteY14" fmla="*/ 4247 h 1418416"/>
                <a:gd name="connsiteX15" fmla="*/ 14490735 w 14491416"/>
                <a:gd name="connsiteY15"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754284 w 14491416"/>
                <a:gd name="connsiteY4" fmla="*/ 1198555 h 1418416"/>
                <a:gd name="connsiteX5" fmla="*/ 5350534 w 14491416"/>
                <a:gd name="connsiteY5" fmla="*/ 294173 h 1418416"/>
                <a:gd name="connsiteX6" fmla="*/ 8098693 w 14491416"/>
                <a:gd name="connsiteY6" fmla="*/ 1387842 h 1418416"/>
                <a:gd name="connsiteX7" fmla="*/ 10668976 w 14491416"/>
                <a:gd name="connsiteY7" fmla="*/ 958719 h 1418416"/>
                <a:gd name="connsiteX8" fmla="*/ 10768656 w 14491416"/>
                <a:gd name="connsiteY8" fmla="*/ 962514 h 1418416"/>
                <a:gd name="connsiteX9" fmla="*/ 10868337 w 14491416"/>
                <a:gd name="connsiteY9" fmla="*/ 958719 h 1418416"/>
                <a:gd name="connsiteX10" fmla="*/ 13438620 w 14491416"/>
                <a:gd name="connsiteY10" fmla="*/ 1387842 h 1418416"/>
                <a:gd name="connsiteX11" fmla="*/ 14160086 w 14491416"/>
                <a:gd name="connsiteY11" fmla="*/ 1134261 h 1418416"/>
                <a:gd name="connsiteX12" fmla="*/ 14491416 w 14491416"/>
                <a:gd name="connsiteY12" fmla="*/ 967695 h 1418416"/>
                <a:gd name="connsiteX13" fmla="*/ 14491416 w 14491416"/>
                <a:gd name="connsiteY13" fmla="*/ 4247 h 1418416"/>
                <a:gd name="connsiteX14" fmla="*/ 14490735 w 14491416"/>
                <a:gd name="connsiteY14" fmla="*/ 0 h 1418416"/>
                <a:gd name="connsiteX0" fmla="*/ 14490735 w 14491416"/>
                <a:gd name="connsiteY0" fmla="*/ 0 h 1418416"/>
                <a:gd name="connsiteX1" fmla="*/ 2300097 w 14491416"/>
                <a:gd name="connsiteY1" fmla="*/ 0 h 1418416"/>
                <a:gd name="connsiteX2" fmla="*/ 2299416 w 14491416"/>
                <a:gd name="connsiteY2" fmla="*/ 4247 h 1418416"/>
                <a:gd name="connsiteX3" fmla="*/ 0 w 14491416"/>
                <a:gd name="connsiteY3" fmla="*/ 18451 h 1418416"/>
                <a:gd name="connsiteX4" fmla="*/ 2754284 w 14491416"/>
                <a:gd name="connsiteY4" fmla="*/ 1198555 h 1418416"/>
                <a:gd name="connsiteX5" fmla="*/ 5350534 w 14491416"/>
                <a:gd name="connsiteY5" fmla="*/ 294173 h 1418416"/>
                <a:gd name="connsiteX6" fmla="*/ 8098693 w 14491416"/>
                <a:gd name="connsiteY6" fmla="*/ 1387842 h 1418416"/>
                <a:gd name="connsiteX7" fmla="*/ 10668976 w 14491416"/>
                <a:gd name="connsiteY7" fmla="*/ 958719 h 1418416"/>
                <a:gd name="connsiteX8" fmla="*/ 10768656 w 14491416"/>
                <a:gd name="connsiteY8" fmla="*/ 962514 h 1418416"/>
                <a:gd name="connsiteX9" fmla="*/ 10868337 w 14491416"/>
                <a:gd name="connsiteY9" fmla="*/ 958719 h 1418416"/>
                <a:gd name="connsiteX10" fmla="*/ 13438620 w 14491416"/>
                <a:gd name="connsiteY10" fmla="*/ 1387842 h 1418416"/>
                <a:gd name="connsiteX11" fmla="*/ 14160086 w 14491416"/>
                <a:gd name="connsiteY11" fmla="*/ 1134261 h 1418416"/>
                <a:gd name="connsiteX12" fmla="*/ 14491416 w 14491416"/>
                <a:gd name="connsiteY12" fmla="*/ 967695 h 1418416"/>
                <a:gd name="connsiteX13" fmla="*/ 14491416 w 14491416"/>
                <a:gd name="connsiteY13" fmla="*/ 4247 h 1418416"/>
                <a:gd name="connsiteX14" fmla="*/ 14490735 w 14491416"/>
                <a:gd name="connsiteY14" fmla="*/ 0 h 1418416"/>
                <a:gd name="connsiteX0" fmla="*/ 14576079 w 14576760"/>
                <a:gd name="connsiteY0" fmla="*/ 12301 h 1430717"/>
                <a:gd name="connsiteX1" fmla="*/ 2385441 w 14576760"/>
                <a:gd name="connsiteY1" fmla="*/ 12301 h 1430717"/>
                <a:gd name="connsiteX2" fmla="*/ 2384760 w 14576760"/>
                <a:gd name="connsiteY2" fmla="*/ 16548 h 1430717"/>
                <a:gd name="connsiteX3" fmla="*/ 0 w 14576760"/>
                <a:gd name="connsiteY3" fmla="*/ 0 h 1430717"/>
                <a:gd name="connsiteX4" fmla="*/ 2839628 w 14576760"/>
                <a:gd name="connsiteY4" fmla="*/ 1210856 h 1430717"/>
                <a:gd name="connsiteX5" fmla="*/ 5435878 w 14576760"/>
                <a:gd name="connsiteY5" fmla="*/ 306474 h 1430717"/>
                <a:gd name="connsiteX6" fmla="*/ 8184037 w 14576760"/>
                <a:gd name="connsiteY6" fmla="*/ 1400143 h 1430717"/>
                <a:gd name="connsiteX7" fmla="*/ 10754320 w 14576760"/>
                <a:gd name="connsiteY7" fmla="*/ 971020 h 1430717"/>
                <a:gd name="connsiteX8" fmla="*/ 10854000 w 14576760"/>
                <a:gd name="connsiteY8" fmla="*/ 974815 h 1430717"/>
                <a:gd name="connsiteX9" fmla="*/ 10953681 w 14576760"/>
                <a:gd name="connsiteY9" fmla="*/ 971020 h 1430717"/>
                <a:gd name="connsiteX10" fmla="*/ 13523964 w 14576760"/>
                <a:gd name="connsiteY10" fmla="*/ 1400143 h 1430717"/>
                <a:gd name="connsiteX11" fmla="*/ 14245430 w 14576760"/>
                <a:gd name="connsiteY11" fmla="*/ 1146562 h 1430717"/>
                <a:gd name="connsiteX12" fmla="*/ 14576760 w 14576760"/>
                <a:gd name="connsiteY12" fmla="*/ 979996 h 1430717"/>
                <a:gd name="connsiteX13" fmla="*/ 14576760 w 14576760"/>
                <a:gd name="connsiteY13" fmla="*/ 16548 h 1430717"/>
                <a:gd name="connsiteX14" fmla="*/ 14576079 w 14576760"/>
                <a:gd name="connsiteY14" fmla="*/ 12301 h 1430717"/>
                <a:gd name="connsiteX0" fmla="*/ 14576079 w 14576760"/>
                <a:gd name="connsiteY0" fmla="*/ 12301 h 1430717"/>
                <a:gd name="connsiteX1" fmla="*/ 2385441 w 14576760"/>
                <a:gd name="connsiteY1" fmla="*/ 12301 h 1430717"/>
                <a:gd name="connsiteX2" fmla="*/ 2384760 w 14576760"/>
                <a:gd name="connsiteY2" fmla="*/ 16548 h 1430717"/>
                <a:gd name="connsiteX3" fmla="*/ 0 w 14576760"/>
                <a:gd name="connsiteY3" fmla="*/ 0 h 1430717"/>
                <a:gd name="connsiteX4" fmla="*/ 2839628 w 14576760"/>
                <a:gd name="connsiteY4" fmla="*/ 1210856 h 1430717"/>
                <a:gd name="connsiteX5" fmla="*/ 5435878 w 14576760"/>
                <a:gd name="connsiteY5" fmla="*/ 306474 h 1430717"/>
                <a:gd name="connsiteX6" fmla="*/ 8184037 w 14576760"/>
                <a:gd name="connsiteY6" fmla="*/ 1400143 h 1430717"/>
                <a:gd name="connsiteX7" fmla="*/ 10754320 w 14576760"/>
                <a:gd name="connsiteY7" fmla="*/ 971020 h 1430717"/>
                <a:gd name="connsiteX8" fmla="*/ 10854000 w 14576760"/>
                <a:gd name="connsiteY8" fmla="*/ 974815 h 1430717"/>
                <a:gd name="connsiteX9" fmla="*/ 10953681 w 14576760"/>
                <a:gd name="connsiteY9" fmla="*/ 971020 h 1430717"/>
                <a:gd name="connsiteX10" fmla="*/ 13523964 w 14576760"/>
                <a:gd name="connsiteY10" fmla="*/ 1400143 h 1430717"/>
                <a:gd name="connsiteX11" fmla="*/ 14245430 w 14576760"/>
                <a:gd name="connsiteY11" fmla="*/ 1146562 h 1430717"/>
                <a:gd name="connsiteX12" fmla="*/ 14576760 w 14576760"/>
                <a:gd name="connsiteY12" fmla="*/ 979996 h 1430717"/>
                <a:gd name="connsiteX13" fmla="*/ 14576760 w 14576760"/>
                <a:gd name="connsiteY13" fmla="*/ 16548 h 1430717"/>
                <a:gd name="connsiteX14" fmla="*/ 14576079 w 14576760"/>
                <a:gd name="connsiteY14" fmla="*/ 12301 h 1430717"/>
                <a:gd name="connsiteX0" fmla="*/ 14576079 w 14576760"/>
                <a:gd name="connsiteY0" fmla="*/ 12301 h 1430717"/>
                <a:gd name="connsiteX1" fmla="*/ 2385441 w 14576760"/>
                <a:gd name="connsiteY1" fmla="*/ 12301 h 1430717"/>
                <a:gd name="connsiteX2" fmla="*/ 2384760 w 14576760"/>
                <a:gd name="connsiteY2" fmla="*/ 16548 h 1430717"/>
                <a:gd name="connsiteX3" fmla="*/ 0 w 14576760"/>
                <a:gd name="connsiteY3" fmla="*/ 0 h 1430717"/>
                <a:gd name="connsiteX4" fmla="*/ 2839628 w 14576760"/>
                <a:gd name="connsiteY4" fmla="*/ 1210856 h 1430717"/>
                <a:gd name="connsiteX5" fmla="*/ 5435878 w 14576760"/>
                <a:gd name="connsiteY5" fmla="*/ 306474 h 1430717"/>
                <a:gd name="connsiteX6" fmla="*/ 8184037 w 14576760"/>
                <a:gd name="connsiteY6" fmla="*/ 1400143 h 1430717"/>
                <a:gd name="connsiteX7" fmla="*/ 10754320 w 14576760"/>
                <a:gd name="connsiteY7" fmla="*/ 971020 h 1430717"/>
                <a:gd name="connsiteX8" fmla="*/ 10854000 w 14576760"/>
                <a:gd name="connsiteY8" fmla="*/ 974815 h 1430717"/>
                <a:gd name="connsiteX9" fmla="*/ 10953681 w 14576760"/>
                <a:gd name="connsiteY9" fmla="*/ 971020 h 1430717"/>
                <a:gd name="connsiteX10" fmla="*/ 13523964 w 14576760"/>
                <a:gd name="connsiteY10" fmla="*/ 1400143 h 1430717"/>
                <a:gd name="connsiteX11" fmla="*/ 14245430 w 14576760"/>
                <a:gd name="connsiteY11" fmla="*/ 1146562 h 1430717"/>
                <a:gd name="connsiteX12" fmla="*/ 14576760 w 14576760"/>
                <a:gd name="connsiteY12" fmla="*/ 979996 h 1430717"/>
                <a:gd name="connsiteX13" fmla="*/ 14576760 w 14576760"/>
                <a:gd name="connsiteY13" fmla="*/ 16548 h 1430717"/>
                <a:gd name="connsiteX14" fmla="*/ 14576079 w 14576760"/>
                <a:gd name="connsiteY14" fmla="*/ 12301 h 1430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76760" h="1430717">
                  <a:moveTo>
                    <a:pt x="14576079" y="12301"/>
                  </a:moveTo>
                  <a:lnTo>
                    <a:pt x="2385441" y="12301"/>
                  </a:lnTo>
                  <a:lnTo>
                    <a:pt x="2384760" y="16548"/>
                  </a:lnTo>
                  <a:lnTo>
                    <a:pt x="0" y="0"/>
                  </a:lnTo>
                  <a:cubicBezTo>
                    <a:pt x="1676011" y="306683"/>
                    <a:pt x="1442922" y="1144401"/>
                    <a:pt x="2839628" y="1210856"/>
                  </a:cubicBezTo>
                  <a:cubicBezTo>
                    <a:pt x="4236334" y="1277311"/>
                    <a:pt x="4545143" y="274926"/>
                    <a:pt x="5435878" y="306474"/>
                  </a:cubicBezTo>
                  <a:cubicBezTo>
                    <a:pt x="6326612" y="338022"/>
                    <a:pt x="7194820" y="1193609"/>
                    <a:pt x="8184037" y="1400143"/>
                  </a:cubicBezTo>
                  <a:cubicBezTo>
                    <a:pt x="8987775" y="1567952"/>
                    <a:pt x="10062527" y="991223"/>
                    <a:pt x="10754320" y="971020"/>
                  </a:cubicBezTo>
                  <a:lnTo>
                    <a:pt x="10854000" y="974815"/>
                  </a:lnTo>
                  <a:lnTo>
                    <a:pt x="10953681" y="971020"/>
                  </a:lnTo>
                  <a:cubicBezTo>
                    <a:pt x="11645473" y="991223"/>
                    <a:pt x="12720224" y="1567952"/>
                    <a:pt x="13523964" y="1400143"/>
                  </a:cubicBezTo>
                  <a:cubicBezTo>
                    <a:pt x="13771268" y="1348510"/>
                    <a:pt x="14011009" y="1256311"/>
                    <a:pt x="14245430" y="1146562"/>
                  </a:cubicBezTo>
                  <a:lnTo>
                    <a:pt x="14576760" y="979996"/>
                  </a:lnTo>
                  <a:lnTo>
                    <a:pt x="14576760" y="16548"/>
                  </a:lnTo>
                  <a:lnTo>
                    <a:pt x="14576079" y="12301"/>
                  </a:lnTo>
                  <a:close/>
                </a:path>
              </a:pathLst>
            </a:custGeom>
            <a:gradFill flip="none" rotWithShape="1">
              <a:gsLst>
                <a:gs pos="100000">
                  <a:schemeClr val="accent1"/>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20"/>
            <p:cNvSpPr/>
            <p:nvPr/>
          </p:nvSpPr>
          <p:spPr>
            <a:xfrm flipV="1">
              <a:off x="-38101" y="-38100"/>
              <a:ext cx="4237399" cy="491881"/>
            </a:xfrm>
            <a:custGeom>
              <a:avLst/>
              <a:gdLst>
                <a:gd name="connsiteX0" fmla="*/ 12192000 w 12192000"/>
                <a:gd name="connsiteY0" fmla="*/ 0 h 1074584"/>
                <a:gd name="connsiteX1" fmla="*/ 1582058 w 12192000"/>
                <a:gd name="connsiteY1" fmla="*/ 0 h 1074584"/>
                <a:gd name="connsiteX2" fmla="*/ 810918 w 12192000"/>
                <a:gd name="connsiteY2" fmla="*/ 0 h 1074584"/>
                <a:gd name="connsiteX3" fmla="*/ 470766 w 12192000"/>
                <a:gd name="connsiteY3" fmla="*/ 0 h 1074584"/>
                <a:gd name="connsiteX4" fmla="*/ 448024 w 12192000"/>
                <a:gd name="connsiteY4" fmla="*/ 0 h 1074584"/>
                <a:gd name="connsiteX5" fmla="*/ 0 w 12192000"/>
                <a:gd name="connsiteY5" fmla="*/ 0 h 1074584"/>
                <a:gd name="connsiteX6" fmla="*/ 0 w 12192000"/>
                <a:gd name="connsiteY6" fmla="*/ 1074584 h 1074584"/>
                <a:gd name="connsiteX7" fmla="*/ 345070 w 12192000"/>
                <a:gd name="connsiteY7" fmla="*/ 1074584 h 1074584"/>
                <a:gd name="connsiteX8" fmla="*/ 1582058 w 12192000"/>
                <a:gd name="connsiteY8" fmla="*/ 1074584 h 1074584"/>
                <a:gd name="connsiteX9" fmla="*/ 12192000 w 12192000"/>
                <a:gd name="connsiteY9" fmla="*/ 1074584 h 1074584"/>
                <a:gd name="connsiteX0" fmla="*/ 12192000 w 12192000"/>
                <a:gd name="connsiteY0" fmla="*/ 0 h 1074584"/>
                <a:gd name="connsiteX1" fmla="*/ 1582058 w 12192000"/>
                <a:gd name="connsiteY1" fmla="*/ 0 h 1074584"/>
                <a:gd name="connsiteX2" fmla="*/ 470766 w 12192000"/>
                <a:gd name="connsiteY2" fmla="*/ 0 h 1074584"/>
                <a:gd name="connsiteX3" fmla="*/ 448024 w 12192000"/>
                <a:gd name="connsiteY3" fmla="*/ 0 h 1074584"/>
                <a:gd name="connsiteX4" fmla="*/ 0 w 12192000"/>
                <a:gd name="connsiteY4" fmla="*/ 0 h 1074584"/>
                <a:gd name="connsiteX5" fmla="*/ 0 w 12192000"/>
                <a:gd name="connsiteY5" fmla="*/ 1074584 h 1074584"/>
                <a:gd name="connsiteX6" fmla="*/ 345070 w 12192000"/>
                <a:gd name="connsiteY6" fmla="*/ 1074584 h 1074584"/>
                <a:gd name="connsiteX7" fmla="*/ 1582058 w 12192000"/>
                <a:gd name="connsiteY7" fmla="*/ 1074584 h 1074584"/>
                <a:gd name="connsiteX8" fmla="*/ 12192000 w 12192000"/>
                <a:gd name="connsiteY8" fmla="*/ 1074584 h 1074584"/>
                <a:gd name="connsiteX9" fmla="*/ 12192000 w 12192000"/>
                <a:gd name="connsiteY9" fmla="*/ 0 h 1074584"/>
                <a:gd name="connsiteX0" fmla="*/ 12192000 w 12192000"/>
                <a:gd name="connsiteY0" fmla="*/ 0 h 1074584"/>
                <a:gd name="connsiteX1" fmla="*/ 1582058 w 12192000"/>
                <a:gd name="connsiteY1" fmla="*/ 0 h 1074584"/>
                <a:gd name="connsiteX2" fmla="*/ 470766 w 12192000"/>
                <a:gd name="connsiteY2" fmla="*/ 0 h 1074584"/>
                <a:gd name="connsiteX3" fmla="*/ 0 w 12192000"/>
                <a:gd name="connsiteY3" fmla="*/ 0 h 1074584"/>
                <a:gd name="connsiteX4" fmla="*/ 0 w 12192000"/>
                <a:gd name="connsiteY4" fmla="*/ 1074584 h 1074584"/>
                <a:gd name="connsiteX5" fmla="*/ 345070 w 12192000"/>
                <a:gd name="connsiteY5" fmla="*/ 1074584 h 1074584"/>
                <a:gd name="connsiteX6" fmla="*/ 1582058 w 12192000"/>
                <a:gd name="connsiteY6" fmla="*/ 1074584 h 1074584"/>
                <a:gd name="connsiteX7" fmla="*/ 12192000 w 12192000"/>
                <a:gd name="connsiteY7" fmla="*/ 1074584 h 1074584"/>
                <a:gd name="connsiteX8" fmla="*/ 12192000 w 12192000"/>
                <a:gd name="connsiteY8"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345070 w 12192000"/>
                <a:gd name="connsiteY4" fmla="*/ 1074584 h 1074584"/>
                <a:gd name="connsiteX5" fmla="*/ 1582058 w 12192000"/>
                <a:gd name="connsiteY5" fmla="*/ 1074584 h 1074584"/>
                <a:gd name="connsiteX6" fmla="*/ 12192000 w 12192000"/>
                <a:gd name="connsiteY6" fmla="*/ 1074584 h 1074584"/>
                <a:gd name="connsiteX7" fmla="*/ 12192000 w 12192000"/>
                <a:gd name="connsiteY7"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1582058 w 12192000"/>
                <a:gd name="connsiteY4" fmla="*/ 1074584 h 1074584"/>
                <a:gd name="connsiteX5" fmla="*/ 12192000 w 12192000"/>
                <a:gd name="connsiteY5" fmla="*/ 1074584 h 1074584"/>
                <a:gd name="connsiteX6" fmla="*/ 12192000 w 12192000"/>
                <a:gd name="connsiteY6"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12192000 w 12192000"/>
                <a:gd name="connsiteY4" fmla="*/ 1074584 h 1074584"/>
                <a:gd name="connsiteX5" fmla="*/ 12192000 w 12192000"/>
                <a:gd name="connsiteY5" fmla="*/ 0 h 1074584"/>
                <a:gd name="connsiteX0" fmla="*/ 12192000 w 12192000"/>
                <a:gd name="connsiteY0" fmla="*/ 0 h 1074584"/>
                <a:gd name="connsiteX1" fmla="*/ 0 w 12192000"/>
                <a:gd name="connsiteY1" fmla="*/ 0 h 1074584"/>
                <a:gd name="connsiteX2" fmla="*/ 0 w 12192000"/>
                <a:gd name="connsiteY2" fmla="*/ 1074584 h 1074584"/>
                <a:gd name="connsiteX3" fmla="*/ 12192000 w 12192000"/>
                <a:gd name="connsiteY3" fmla="*/ 1074584 h 1074584"/>
                <a:gd name="connsiteX4" fmla="*/ 12192000 w 12192000"/>
                <a:gd name="connsiteY4" fmla="*/ 0 h 1074584"/>
                <a:gd name="connsiteX0" fmla="*/ 12192000 w 12192000"/>
                <a:gd name="connsiteY0" fmla="*/ 0 h 1074584"/>
                <a:gd name="connsiteX1" fmla="*/ 1683657 w 12192000"/>
                <a:gd name="connsiteY1" fmla="*/ 0 h 1074584"/>
                <a:gd name="connsiteX2" fmla="*/ 0 w 12192000"/>
                <a:gd name="connsiteY2" fmla="*/ 0 h 1074584"/>
                <a:gd name="connsiteX3" fmla="*/ 0 w 12192000"/>
                <a:gd name="connsiteY3" fmla="*/ 1074584 h 1074584"/>
                <a:gd name="connsiteX4" fmla="*/ 12192000 w 12192000"/>
                <a:gd name="connsiteY4" fmla="*/ 1074584 h 1074584"/>
                <a:gd name="connsiteX5" fmla="*/ 12192000 w 12192000"/>
                <a:gd name="connsiteY5" fmla="*/ 0 h 1074584"/>
                <a:gd name="connsiteX0" fmla="*/ 12192000 w 12192000"/>
                <a:gd name="connsiteY0" fmla="*/ 2595749 h 3670333"/>
                <a:gd name="connsiteX1" fmla="*/ 2989943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2595749 h 3670333"/>
                <a:gd name="connsiteX1" fmla="*/ 2989943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2595749 h 3670333"/>
                <a:gd name="connsiteX1" fmla="*/ 3875315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3134985 h 4209569"/>
                <a:gd name="connsiteX1" fmla="*/ 3875315 w 12192000"/>
                <a:gd name="connsiteY1" fmla="*/ 539236 h 4209569"/>
                <a:gd name="connsiteX2" fmla="*/ 0 w 12192000"/>
                <a:gd name="connsiteY2" fmla="*/ 3134985 h 4209569"/>
                <a:gd name="connsiteX3" fmla="*/ 0 w 12192000"/>
                <a:gd name="connsiteY3" fmla="*/ 4209569 h 4209569"/>
                <a:gd name="connsiteX4" fmla="*/ 12192000 w 12192000"/>
                <a:gd name="connsiteY4" fmla="*/ 4209569 h 4209569"/>
                <a:gd name="connsiteX5" fmla="*/ 12192000 w 12192000"/>
                <a:gd name="connsiteY5" fmla="*/ 3134985 h 4209569"/>
                <a:gd name="connsiteX0" fmla="*/ 12192000 w 12192000"/>
                <a:gd name="connsiteY0" fmla="*/ 2158437 h 3233021"/>
                <a:gd name="connsiteX1" fmla="*/ 5138058 w 12192000"/>
                <a:gd name="connsiteY1" fmla="*/ 679140 h 3233021"/>
                <a:gd name="connsiteX2" fmla="*/ 0 w 12192000"/>
                <a:gd name="connsiteY2" fmla="*/ 2158437 h 3233021"/>
                <a:gd name="connsiteX3" fmla="*/ 0 w 12192000"/>
                <a:gd name="connsiteY3" fmla="*/ 3233021 h 3233021"/>
                <a:gd name="connsiteX4" fmla="*/ 12192000 w 12192000"/>
                <a:gd name="connsiteY4" fmla="*/ 3233021 h 3233021"/>
                <a:gd name="connsiteX5" fmla="*/ 12192000 w 12192000"/>
                <a:gd name="connsiteY5" fmla="*/ 2158437 h 3233021"/>
                <a:gd name="connsiteX0" fmla="*/ 12192000 w 12192000"/>
                <a:gd name="connsiteY0" fmla="*/ 1802920 h 2877504"/>
                <a:gd name="connsiteX1" fmla="*/ 5138058 w 12192000"/>
                <a:gd name="connsiteY1" fmla="*/ 323623 h 2877504"/>
                <a:gd name="connsiteX2" fmla="*/ 0 w 12192000"/>
                <a:gd name="connsiteY2" fmla="*/ 1802920 h 2877504"/>
                <a:gd name="connsiteX3" fmla="*/ 0 w 12192000"/>
                <a:gd name="connsiteY3" fmla="*/ 2877504 h 2877504"/>
                <a:gd name="connsiteX4" fmla="*/ 12192000 w 12192000"/>
                <a:gd name="connsiteY4" fmla="*/ 2877504 h 2877504"/>
                <a:gd name="connsiteX5" fmla="*/ 12192000 w 12192000"/>
                <a:gd name="connsiteY5" fmla="*/ 1802920 h 2877504"/>
                <a:gd name="connsiteX0" fmla="*/ 12192000 w 12192000"/>
                <a:gd name="connsiteY0" fmla="*/ 1802920 h 2877504"/>
                <a:gd name="connsiteX1" fmla="*/ 5138058 w 12192000"/>
                <a:gd name="connsiteY1" fmla="*/ 323623 h 2877504"/>
                <a:gd name="connsiteX2" fmla="*/ 0 w 12192000"/>
                <a:gd name="connsiteY2" fmla="*/ 1802920 h 2877504"/>
                <a:gd name="connsiteX3" fmla="*/ 0 w 12192000"/>
                <a:gd name="connsiteY3" fmla="*/ 2877504 h 2877504"/>
                <a:gd name="connsiteX4" fmla="*/ 12192000 w 12192000"/>
                <a:gd name="connsiteY4" fmla="*/ 2877504 h 2877504"/>
                <a:gd name="connsiteX5" fmla="*/ 12192000 w 12192000"/>
                <a:gd name="connsiteY5" fmla="*/ 1802920 h 2877504"/>
                <a:gd name="connsiteX0" fmla="*/ 12192000 w 12192000"/>
                <a:gd name="connsiteY0" fmla="*/ 1187253 h 2261837"/>
                <a:gd name="connsiteX1" fmla="*/ 4601030 w 12192000"/>
                <a:gd name="connsiteY1" fmla="*/ 433648 h 2261837"/>
                <a:gd name="connsiteX2" fmla="*/ 0 w 12192000"/>
                <a:gd name="connsiteY2" fmla="*/ 1187253 h 2261837"/>
                <a:gd name="connsiteX3" fmla="*/ 0 w 12192000"/>
                <a:gd name="connsiteY3" fmla="*/ 2261837 h 2261837"/>
                <a:gd name="connsiteX4" fmla="*/ 12192000 w 12192000"/>
                <a:gd name="connsiteY4" fmla="*/ 2261837 h 2261837"/>
                <a:gd name="connsiteX5" fmla="*/ 12192000 w 12192000"/>
                <a:gd name="connsiteY5" fmla="*/ 1187253 h 2261837"/>
                <a:gd name="connsiteX0" fmla="*/ 12192000 w 12192000"/>
                <a:gd name="connsiteY0" fmla="*/ 755772 h 1830356"/>
                <a:gd name="connsiteX1" fmla="*/ 6194520 w 12192000"/>
                <a:gd name="connsiteY1" fmla="*/ 534733 h 1830356"/>
                <a:gd name="connsiteX2" fmla="*/ 4601030 w 12192000"/>
                <a:gd name="connsiteY2" fmla="*/ 2167 h 1830356"/>
                <a:gd name="connsiteX3" fmla="*/ 0 w 12192000"/>
                <a:gd name="connsiteY3" fmla="*/ 755772 h 1830356"/>
                <a:gd name="connsiteX4" fmla="*/ 0 w 12192000"/>
                <a:gd name="connsiteY4" fmla="*/ 1830356 h 1830356"/>
                <a:gd name="connsiteX5" fmla="*/ 12192000 w 12192000"/>
                <a:gd name="connsiteY5" fmla="*/ 1830356 h 1830356"/>
                <a:gd name="connsiteX6" fmla="*/ 12192000 w 12192000"/>
                <a:gd name="connsiteY6" fmla="*/ 755772 h 1830356"/>
                <a:gd name="connsiteX0" fmla="*/ 12192000 w 12192000"/>
                <a:gd name="connsiteY0" fmla="*/ 221040 h 1295624"/>
                <a:gd name="connsiteX1" fmla="*/ 6194520 w 12192000"/>
                <a:gd name="connsiteY1" fmla="*/ 1 h 1295624"/>
                <a:gd name="connsiteX2" fmla="*/ 0 w 12192000"/>
                <a:gd name="connsiteY2" fmla="*/ 221040 h 1295624"/>
                <a:gd name="connsiteX3" fmla="*/ 0 w 12192000"/>
                <a:gd name="connsiteY3" fmla="*/ 1295624 h 1295624"/>
                <a:gd name="connsiteX4" fmla="*/ 12192000 w 12192000"/>
                <a:gd name="connsiteY4" fmla="*/ 1295624 h 1295624"/>
                <a:gd name="connsiteX5" fmla="*/ 12192000 w 12192000"/>
                <a:gd name="connsiteY5" fmla="*/ 221040 h 1295624"/>
                <a:gd name="connsiteX0" fmla="*/ 12192000 w 12192000"/>
                <a:gd name="connsiteY0" fmla="*/ 1644514 h 2719098"/>
                <a:gd name="connsiteX1" fmla="*/ 6238063 w 12192000"/>
                <a:gd name="connsiteY1" fmla="*/ 0 h 2719098"/>
                <a:gd name="connsiteX2" fmla="*/ 0 w 12192000"/>
                <a:gd name="connsiteY2" fmla="*/ 1644514 h 2719098"/>
                <a:gd name="connsiteX3" fmla="*/ 0 w 12192000"/>
                <a:gd name="connsiteY3" fmla="*/ 2719098 h 2719098"/>
                <a:gd name="connsiteX4" fmla="*/ 12192000 w 12192000"/>
                <a:gd name="connsiteY4" fmla="*/ 2719098 h 2719098"/>
                <a:gd name="connsiteX5" fmla="*/ 12192000 w 12192000"/>
                <a:gd name="connsiteY5" fmla="*/ 1644514 h 2719098"/>
                <a:gd name="connsiteX0" fmla="*/ 12192000 w 12192000"/>
                <a:gd name="connsiteY0" fmla="*/ 1644514 h 2719098"/>
                <a:gd name="connsiteX1" fmla="*/ 6238063 w 12192000"/>
                <a:gd name="connsiteY1" fmla="*/ 0 h 2719098"/>
                <a:gd name="connsiteX2" fmla="*/ 0 w 12192000"/>
                <a:gd name="connsiteY2" fmla="*/ 1644514 h 2719098"/>
                <a:gd name="connsiteX3" fmla="*/ 0 w 12192000"/>
                <a:gd name="connsiteY3" fmla="*/ 2719098 h 2719098"/>
                <a:gd name="connsiteX4" fmla="*/ 12192000 w 12192000"/>
                <a:gd name="connsiteY4" fmla="*/ 2719098 h 2719098"/>
                <a:gd name="connsiteX5" fmla="*/ 12192000 w 12192000"/>
                <a:gd name="connsiteY5" fmla="*/ 1644514 h 2719098"/>
                <a:gd name="connsiteX0" fmla="*/ 12192000 w 12192000"/>
                <a:gd name="connsiteY0" fmla="*/ 2138436 h 3213020"/>
                <a:gd name="connsiteX1" fmla="*/ 6238063 w 12192000"/>
                <a:gd name="connsiteY1" fmla="*/ 493922 h 3213020"/>
                <a:gd name="connsiteX2" fmla="*/ 0 w 12192000"/>
                <a:gd name="connsiteY2" fmla="*/ 2138436 h 3213020"/>
                <a:gd name="connsiteX3" fmla="*/ 0 w 12192000"/>
                <a:gd name="connsiteY3" fmla="*/ 3213020 h 3213020"/>
                <a:gd name="connsiteX4" fmla="*/ 12192000 w 12192000"/>
                <a:gd name="connsiteY4" fmla="*/ 3213020 h 3213020"/>
                <a:gd name="connsiteX5" fmla="*/ 12192000 w 12192000"/>
                <a:gd name="connsiteY5" fmla="*/ 2138436 h 3213020"/>
                <a:gd name="connsiteX0" fmla="*/ 12192000 w 12192000"/>
                <a:gd name="connsiteY0" fmla="*/ 2044923 h 3119507"/>
                <a:gd name="connsiteX1" fmla="*/ 6238063 w 12192000"/>
                <a:gd name="connsiteY1" fmla="*/ 400409 h 3119507"/>
                <a:gd name="connsiteX2" fmla="*/ 3727091 w 12192000"/>
                <a:gd name="connsiteY2" fmla="*/ 121296 h 3119507"/>
                <a:gd name="connsiteX3" fmla="*/ 0 w 12192000"/>
                <a:gd name="connsiteY3" fmla="*/ 2044923 h 3119507"/>
                <a:gd name="connsiteX4" fmla="*/ 0 w 12192000"/>
                <a:gd name="connsiteY4" fmla="*/ 3119507 h 3119507"/>
                <a:gd name="connsiteX5" fmla="*/ 12192000 w 12192000"/>
                <a:gd name="connsiteY5" fmla="*/ 3119507 h 3119507"/>
                <a:gd name="connsiteX6" fmla="*/ 12192000 w 12192000"/>
                <a:gd name="connsiteY6" fmla="*/ 2044923 h 3119507"/>
                <a:gd name="connsiteX0" fmla="*/ 12192000 w 12192000"/>
                <a:gd name="connsiteY0" fmla="*/ 1652861 h 2727445"/>
                <a:gd name="connsiteX1" fmla="*/ 6238063 w 12192000"/>
                <a:gd name="connsiteY1" fmla="*/ 8347 h 2727445"/>
                <a:gd name="connsiteX2" fmla="*/ 3538406 w 12192000"/>
                <a:gd name="connsiteY2" fmla="*/ 1041063 h 2727445"/>
                <a:gd name="connsiteX3" fmla="*/ 0 w 12192000"/>
                <a:gd name="connsiteY3" fmla="*/ 1652861 h 2727445"/>
                <a:gd name="connsiteX4" fmla="*/ 0 w 12192000"/>
                <a:gd name="connsiteY4" fmla="*/ 2727445 h 2727445"/>
                <a:gd name="connsiteX5" fmla="*/ 12192000 w 12192000"/>
                <a:gd name="connsiteY5" fmla="*/ 2727445 h 2727445"/>
                <a:gd name="connsiteX6" fmla="*/ 12192000 w 12192000"/>
                <a:gd name="connsiteY6" fmla="*/ 1652861 h 2727445"/>
                <a:gd name="connsiteX0" fmla="*/ 12192000 w 12192000"/>
                <a:gd name="connsiteY0" fmla="*/ 1655532 h 2730116"/>
                <a:gd name="connsiteX1" fmla="*/ 8894177 w 12192000"/>
                <a:gd name="connsiteY1" fmla="*/ 569243 h 2730116"/>
                <a:gd name="connsiteX2" fmla="*/ 6238063 w 12192000"/>
                <a:gd name="connsiteY2" fmla="*/ 11018 h 2730116"/>
                <a:gd name="connsiteX3" fmla="*/ 3538406 w 12192000"/>
                <a:gd name="connsiteY3" fmla="*/ 1043734 h 2730116"/>
                <a:gd name="connsiteX4" fmla="*/ 0 w 12192000"/>
                <a:gd name="connsiteY4" fmla="*/ 1655532 h 2730116"/>
                <a:gd name="connsiteX5" fmla="*/ 0 w 12192000"/>
                <a:gd name="connsiteY5" fmla="*/ 2730116 h 2730116"/>
                <a:gd name="connsiteX6" fmla="*/ 12192000 w 12192000"/>
                <a:gd name="connsiteY6" fmla="*/ 2730116 h 2730116"/>
                <a:gd name="connsiteX7" fmla="*/ 12192000 w 12192000"/>
                <a:gd name="connsiteY7" fmla="*/ 1655532 h 2730116"/>
                <a:gd name="connsiteX0" fmla="*/ 12192000 w 12192000"/>
                <a:gd name="connsiteY0" fmla="*/ 1658292 h 2732876"/>
                <a:gd name="connsiteX1" fmla="*/ 8749034 w 12192000"/>
                <a:gd name="connsiteY1" fmla="*/ 1855923 h 2732876"/>
                <a:gd name="connsiteX2" fmla="*/ 6238063 w 12192000"/>
                <a:gd name="connsiteY2" fmla="*/ 13778 h 2732876"/>
                <a:gd name="connsiteX3" fmla="*/ 3538406 w 12192000"/>
                <a:gd name="connsiteY3" fmla="*/ 1046494 h 2732876"/>
                <a:gd name="connsiteX4" fmla="*/ 0 w 12192000"/>
                <a:gd name="connsiteY4" fmla="*/ 1658292 h 2732876"/>
                <a:gd name="connsiteX5" fmla="*/ 0 w 12192000"/>
                <a:gd name="connsiteY5" fmla="*/ 2732876 h 2732876"/>
                <a:gd name="connsiteX6" fmla="*/ 12192000 w 12192000"/>
                <a:gd name="connsiteY6" fmla="*/ 2732876 h 2732876"/>
                <a:gd name="connsiteX7" fmla="*/ 12192000 w 12192000"/>
                <a:gd name="connsiteY7" fmla="*/ 1658292 h 2732876"/>
                <a:gd name="connsiteX0" fmla="*/ 12192000 w 12192000"/>
                <a:gd name="connsiteY0" fmla="*/ 780671 h 1855255"/>
                <a:gd name="connsiteX1" fmla="*/ 8749034 w 12192000"/>
                <a:gd name="connsiteY1" fmla="*/ 978302 h 1855255"/>
                <a:gd name="connsiteX2" fmla="*/ 6034863 w 12192000"/>
                <a:gd name="connsiteY2" fmla="*/ 140965 h 1855255"/>
                <a:gd name="connsiteX3" fmla="*/ 3538406 w 12192000"/>
                <a:gd name="connsiteY3" fmla="*/ 168873 h 1855255"/>
                <a:gd name="connsiteX4" fmla="*/ 0 w 12192000"/>
                <a:gd name="connsiteY4" fmla="*/ 780671 h 1855255"/>
                <a:gd name="connsiteX5" fmla="*/ 0 w 12192000"/>
                <a:gd name="connsiteY5" fmla="*/ 1855255 h 1855255"/>
                <a:gd name="connsiteX6" fmla="*/ 12192000 w 12192000"/>
                <a:gd name="connsiteY6" fmla="*/ 1855255 h 1855255"/>
                <a:gd name="connsiteX7" fmla="*/ 12192000 w 12192000"/>
                <a:gd name="connsiteY7" fmla="*/ 780671 h 1855255"/>
                <a:gd name="connsiteX0" fmla="*/ 12192000 w 12192000"/>
                <a:gd name="connsiteY0" fmla="*/ 641773 h 1716357"/>
                <a:gd name="connsiteX1" fmla="*/ 8749034 w 12192000"/>
                <a:gd name="connsiteY1" fmla="*/ 839404 h 1716357"/>
                <a:gd name="connsiteX2" fmla="*/ 6034863 w 12192000"/>
                <a:gd name="connsiteY2" fmla="*/ 2067 h 1716357"/>
                <a:gd name="connsiteX3" fmla="*/ 3132006 w 12192000"/>
                <a:gd name="connsiteY3" fmla="*/ 1090602 h 1716357"/>
                <a:gd name="connsiteX4" fmla="*/ 0 w 12192000"/>
                <a:gd name="connsiteY4" fmla="*/ 641773 h 1716357"/>
                <a:gd name="connsiteX5" fmla="*/ 0 w 12192000"/>
                <a:gd name="connsiteY5" fmla="*/ 1716357 h 1716357"/>
                <a:gd name="connsiteX6" fmla="*/ 12192000 w 12192000"/>
                <a:gd name="connsiteY6" fmla="*/ 1716357 h 1716357"/>
                <a:gd name="connsiteX7" fmla="*/ 12192000 w 12192000"/>
                <a:gd name="connsiteY7" fmla="*/ 641773 h 1716357"/>
                <a:gd name="connsiteX0" fmla="*/ 12192000 w 12192000"/>
                <a:gd name="connsiteY0" fmla="*/ 1003870 h 2078454"/>
                <a:gd name="connsiteX1" fmla="*/ 8749034 w 12192000"/>
                <a:gd name="connsiteY1" fmla="*/ 1201501 h 2078454"/>
                <a:gd name="connsiteX2" fmla="*/ 6020349 w 12192000"/>
                <a:gd name="connsiteY2" fmla="*/ 1317 h 2078454"/>
                <a:gd name="connsiteX3" fmla="*/ 3132006 w 12192000"/>
                <a:gd name="connsiteY3" fmla="*/ 1452699 h 2078454"/>
                <a:gd name="connsiteX4" fmla="*/ 0 w 12192000"/>
                <a:gd name="connsiteY4" fmla="*/ 1003870 h 2078454"/>
                <a:gd name="connsiteX5" fmla="*/ 0 w 12192000"/>
                <a:gd name="connsiteY5" fmla="*/ 2078454 h 2078454"/>
                <a:gd name="connsiteX6" fmla="*/ 12192000 w 12192000"/>
                <a:gd name="connsiteY6" fmla="*/ 2078454 h 2078454"/>
                <a:gd name="connsiteX7" fmla="*/ 12192000 w 12192000"/>
                <a:gd name="connsiteY7" fmla="*/ 1003870 h 2078454"/>
                <a:gd name="connsiteX0" fmla="*/ 12192000 w 14474952"/>
                <a:gd name="connsiteY0" fmla="*/ 1003870 h 2105637"/>
                <a:gd name="connsiteX1" fmla="*/ 8749034 w 14474952"/>
                <a:gd name="connsiteY1" fmla="*/ 1201501 h 2105637"/>
                <a:gd name="connsiteX2" fmla="*/ 6020349 w 14474952"/>
                <a:gd name="connsiteY2" fmla="*/ 1317 h 2105637"/>
                <a:gd name="connsiteX3" fmla="*/ 3132006 w 14474952"/>
                <a:gd name="connsiteY3" fmla="*/ 1452699 h 2105637"/>
                <a:gd name="connsiteX4" fmla="*/ 0 w 14474952"/>
                <a:gd name="connsiteY4" fmla="*/ 1003870 h 2105637"/>
                <a:gd name="connsiteX5" fmla="*/ 0 w 14474952"/>
                <a:gd name="connsiteY5" fmla="*/ 2078454 h 2105637"/>
                <a:gd name="connsiteX6" fmla="*/ 14474952 w 14474952"/>
                <a:gd name="connsiteY6" fmla="*/ 2105637 h 2105637"/>
                <a:gd name="connsiteX7" fmla="*/ 12192000 w 14474952"/>
                <a:gd name="connsiteY7" fmla="*/ 1003870 h 2105637"/>
                <a:gd name="connsiteX0" fmla="*/ 12192000 w 14474952"/>
                <a:gd name="connsiteY0" fmla="*/ 1003870 h 2105637"/>
                <a:gd name="connsiteX1" fmla="*/ 8749034 w 14474952"/>
                <a:gd name="connsiteY1" fmla="*/ 1201501 h 2105637"/>
                <a:gd name="connsiteX2" fmla="*/ 6020349 w 14474952"/>
                <a:gd name="connsiteY2" fmla="*/ 1317 h 2105637"/>
                <a:gd name="connsiteX3" fmla="*/ 3132006 w 14474952"/>
                <a:gd name="connsiteY3" fmla="*/ 1452699 h 2105637"/>
                <a:gd name="connsiteX4" fmla="*/ 0 w 14474952"/>
                <a:gd name="connsiteY4" fmla="*/ 1003870 h 2105637"/>
                <a:gd name="connsiteX5" fmla="*/ 0 w 14474952"/>
                <a:gd name="connsiteY5" fmla="*/ 2078454 h 2105637"/>
                <a:gd name="connsiteX6" fmla="*/ 14474952 w 14474952"/>
                <a:gd name="connsiteY6" fmla="*/ 2105637 h 2105637"/>
                <a:gd name="connsiteX7" fmla="*/ 12192000 w 14474952"/>
                <a:gd name="connsiteY7" fmla="*/ 1003870 h 2105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4952" h="2105637">
                  <a:moveTo>
                    <a:pt x="12192000" y="1003870"/>
                  </a:moveTo>
                  <a:cubicBezTo>
                    <a:pt x="11642363" y="643725"/>
                    <a:pt x="9741357" y="1475587"/>
                    <a:pt x="8749034" y="1201501"/>
                  </a:cubicBezTo>
                  <a:cubicBezTo>
                    <a:pt x="7756711" y="927415"/>
                    <a:pt x="6956520" y="-40549"/>
                    <a:pt x="6020349" y="1317"/>
                  </a:cubicBezTo>
                  <a:cubicBezTo>
                    <a:pt x="5084178" y="43183"/>
                    <a:pt x="4171683" y="1178613"/>
                    <a:pt x="3132006" y="1452699"/>
                  </a:cubicBezTo>
                  <a:cubicBezTo>
                    <a:pt x="2092329" y="1726785"/>
                    <a:pt x="621182" y="504168"/>
                    <a:pt x="0" y="1003870"/>
                  </a:cubicBezTo>
                  <a:lnTo>
                    <a:pt x="0" y="2078454"/>
                  </a:lnTo>
                  <a:lnTo>
                    <a:pt x="14474952" y="2105637"/>
                  </a:lnTo>
                  <a:cubicBezTo>
                    <a:pt x="12881865" y="1792746"/>
                    <a:pt x="12952984" y="1371126"/>
                    <a:pt x="12192000" y="1003870"/>
                  </a:cubicBezTo>
                  <a:close/>
                </a:path>
              </a:pathLst>
            </a:custGeom>
            <a:solidFill>
              <a:schemeClr val="accent3">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extLst>
      <p:ext uri="{BB962C8B-B14F-4D97-AF65-F5344CB8AC3E}">
        <p14:creationId xmlns:p14="http://schemas.microsoft.com/office/powerpoint/2010/main" val="1325078925"/>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BFFC8D0D-8C5A-4E92-9468-5C783879DBCC}"/>
              </a:ext>
            </a:extLst>
          </p:cNvPr>
          <p:cNvPicPr>
            <a:picLocks noGrp="1" noChangeAspect="1"/>
          </p:cNvPicPr>
          <p:nvPr>
            <p:ph type="pic" sz="quarter" idx="13"/>
          </p:nvPr>
        </p:nvPicPr>
        <p:blipFill rotWithShape="1">
          <a:blip r:embed="rId4">
            <a:extLst>
              <a:ext uri="{28A0092B-C50C-407E-A947-70E740481C1C}">
                <a14:useLocalDpi xmlns:a14="http://schemas.microsoft.com/office/drawing/2010/main" val="0"/>
              </a:ext>
            </a:extLst>
          </a:blip>
          <a:srcRect t="48593" b="3031"/>
          <a:stretch/>
        </p:blipFill>
        <p:spPr>
          <a:xfrm>
            <a:off x="0" y="0"/>
            <a:ext cx="11498538" cy="3972689"/>
          </a:xfrm>
          <a:solidFill>
            <a:schemeClr val="bg1">
              <a:lumMod val="85000"/>
            </a:schemeClr>
          </a:solidFill>
        </p:spPr>
      </p:pic>
      <p:sp>
        <p:nvSpPr>
          <p:cNvPr id="5" name="Rectangle 4"/>
          <p:cNvSpPr/>
          <p:nvPr>
            <p:custDataLst>
              <p:tags r:id="rId1"/>
            </p:custDataLst>
          </p:nvPr>
        </p:nvSpPr>
        <p:spPr>
          <a:xfrm>
            <a:off x="406318" y="890857"/>
            <a:ext cx="9271000"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spc="-150" dirty="0">
                <a:solidFill>
                  <a:schemeClr val="tx1">
                    <a:lumMod val="85000"/>
                    <a:lumOff val="15000"/>
                  </a:schemeClr>
                </a:solidFill>
                <a:ea typeface="Source Sans Pro" panose="020B0503030403020204" pitchFamily="34" charset="0"/>
                <a:cs typeface="Open Sans Light" panose="020B0306030504020204" pitchFamily="34" charset="0"/>
              </a:rPr>
              <a:t>Only </a:t>
            </a:r>
            <a:r>
              <a:rPr lang="en-US" sz="3200" b="1" spc="-150" dirty="0">
                <a:solidFill>
                  <a:schemeClr val="tx1">
                    <a:lumMod val="85000"/>
                    <a:lumOff val="15000"/>
                  </a:schemeClr>
                </a:solidFill>
                <a:ea typeface="Source Sans Pro" panose="020B0503030403020204" pitchFamily="34" charset="0"/>
                <a:cs typeface="Open Sans Light" panose="020B0306030504020204" pitchFamily="34" charset="0"/>
              </a:rPr>
              <a:t>Minimalist</a:t>
            </a:r>
          </a:p>
        </p:txBody>
      </p:sp>
      <p:sp>
        <p:nvSpPr>
          <p:cNvPr id="6" name="Rectangle 5"/>
          <p:cNvSpPr/>
          <p:nvPr>
            <p:custDataLst>
              <p:tags r:id="rId2"/>
            </p:custDataLst>
          </p:nvPr>
        </p:nvSpPr>
        <p:spPr>
          <a:xfrm>
            <a:off x="465988" y="1404480"/>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lumMod val="85000"/>
                    <a:lumOff val="15000"/>
                  </a:schemeClr>
                </a:solidFill>
                <a:ea typeface="Open Sans" panose="020B0606030504020204" pitchFamily="34" charset="0"/>
                <a:cs typeface="Open Sans" panose="020B0606030504020204" pitchFamily="34" charset="0"/>
              </a:rPr>
              <a:t>Put Your Great Subtitle Here</a:t>
            </a:r>
          </a:p>
        </p:txBody>
      </p:sp>
      <p:grpSp>
        <p:nvGrpSpPr>
          <p:cNvPr id="8" name="Group 7"/>
          <p:cNvGrpSpPr/>
          <p:nvPr/>
        </p:nvGrpSpPr>
        <p:grpSpPr>
          <a:xfrm>
            <a:off x="0" y="-9526"/>
            <a:ext cx="4162790" cy="854354"/>
            <a:chOff x="0" y="-9526"/>
            <a:chExt cx="4162790" cy="854354"/>
          </a:xfrm>
        </p:grpSpPr>
        <p:sp>
          <p:nvSpPr>
            <p:cNvPr id="9" name="Freeform 8"/>
            <p:cNvSpPr/>
            <p:nvPr/>
          </p:nvSpPr>
          <p:spPr>
            <a:xfrm>
              <a:off x="1" y="-9526"/>
              <a:ext cx="4086315" cy="854354"/>
            </a:xfrm>
            <a:custGeom>
              <a:avLst/>
              <a:gdLst>
                <a:gd name="connsiteX0" fmla="*/ 0 w 4086315"/>
                <a:gd name="connsiteY0" fmla="*/ 0 h 854354"/>
                <a:gd name="connsiteX1" fmla="*/ 4086315 w 4086315"/>
                <a:gd name="connsiteY1" fmla="*/ 0 h 854354"/>
                <a:gd name="connsiteX2" fmla="*/ 3700053 w 4086315"/>
                <a:gd name="connsiteY2" fmla="*/ 236387 h 854354"/>
                <a:gd name="connsiteX3" fmla="*/ 3071976 w 4086315"/>
                <a:gd name="connsiteY3" fmla="*/ 837056 h 854354"/>
                <a:gd name="connsiteX4" fmla="*/ 2354350 w 4086315"/>
                <a:gd name="connsiteY4" fmla="*/ 594269 h 854354"/>
                <a:gd name="connsiteX5" fmla="*/ 2326519 w 4086315"/>
                <a:gd name="connsiteY5" fmla="*/ 596417 h 854354"/>
                <a:gd name="connsiteX6" fmla="*/ 2298688 w 4086315"/>
                <a:gd name="connsiteY6" fmla="*/ 594269 h 854354"/>
                <a:gd name="connsiteX7" fmla="*/ 1581063 w 4086315"/>
                <a:gd name="connsiteY7" fmla="*/ 837056 h 854354"/>
                <a:gd name="connsiteX8" fmla="*/ 813774 w 4086315"/>
                <a:gd name="connsiteY8" fmla="*/ 218287 h 854354"/>
                <a:gd name="connsiteX9" fmla="*/ 88899 w 4086315"/>
                <a:gd name="connsiteY9" fmla="*/ 729962 h 854354"/>
                <a:gd name="connsiteX10" fmla="*/ 36789 w 4086315"/>
                <a:gd name="connsiteY10" fmla="*/ 746586 h 854354"/>
                <a:gd name="connsiteX11" fmla="*/ 0 w 4086315"/>
                <a:gd name="connsiteY11" fmla="*/ 751118 h 8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86315" h="854354">
                  <a:moveTo>
                    <a:pt x="0" y="0"/>
                  </a:moveTo>
                  <a:lnTo>
                    <a:pt x="4086315" y="0"/>
                  </a:lnTo>
                  <a:lnTo>
                    <a:pt x="3700053" y="236387"/>
                  </a:lnTo>
                  <a:cubicBezTo>
                    <a:pt x="3634603" y="298480"/>
                    <a:pt x="3296259" y="777409"/>
                    <a:pt x="3071976" y="837056"/>
                  </a:cubicBezTo>
                  <a:cubicBezTo>
                    <a:pt x="2847692" y="896703"/>
                    <a:pt x="2547499" y="605700"/>
                    <a:pt x="2354350" y="594269"/>
                  </a:cubicBezTo>
                  <a:lnTo>
                    <a:pt x="2326519" y="596417"/>
                  </a:lnTo>
                  <a:lnTo>
                    <a:pt x="2298688" y="594269"/>
                  </a:lnTo>
                  <a:cubicBezTo>
                    <a:pt x="2105539" y="605700"/>
                    <a:pt x="1805467" y="931998"/>
                    <a:pt x="1581063" y="837056"/>
                  </a:cubicBezTo>
                  <a:cubicBezTo>
                    <a:pt x="1304873" y="720205"/>
                    <a:pt x="1062468" y="236136"/>
                    <a:pt x="813774" y="218287"/>
                  </a:cubicBezTo>
                  <a:cubicBezTo>
                    <a:pt x="565080" y="200438"/>
                    <a:pt x="352509" y="613111"/>
                    <a:pt x="88899" y="729962"/>
                  </a:cubicBezTo>
                  <a:cubicBezTo>
                    <a:pt x="72423" y="737266"/>
                    <a:pt x="55004" y="742727"/>
                    <a:pt x="36789" y="746586"/>
                  </a:cubicBezTo>
                  <a:lnTo>
                    <a:pt x="0" y="751118"/>
                  </a:lnTo>
                  <a:close/>
                </a:path>
              </a:pathLst>
            </a:custGeom>
            <a:solidFill>
              <a:schemeClr val="bg1">
                <a:lumMod val="75000"/>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Freeform 9"/>
            <p:cNvSpPr/>
            <p:nvPr/>
          </p:nvSpPr>
          <p:spPr>
            <a:xfrm flipH="1">
              <a:off x="0" y="-9525"/>
              <a:ext cx="4162790" cy="688727"/>
            </a:xfrm>
            <a:custGeom>
              <a:avLst/>
              <a:gdLst>
                <a:gd name="connsiteX0" fmla="*/ 4162790 w 4162790"/>
                <a:gd name="connsiteY0" fmla="*/ 0 h 688727"/>
                <a:gd name="connsiteX1" fmla="*/ 0 w 4162790"/>
                <a:gd name="connsiteY1" fmla="*/ 0 h 688727"/>
                <a:gd name="connsiteX2" fmla="*/ 93505 w 4162790"/>
                <a:gd name="connsiteY2" fmla="*/ 40291 h 688727"/>
                <a:gd name="connsiteX3" fmla="*/ 764963 w 4162790"/>
                <a:gd name="connsiteY3" fmla="*/ 578498 h 688727"/>
                <a:gd name="connsiteX4" fmla="*/ 1524989 w 4162790"/>
                <a:gd name="connsiteY4" fmla="*/ 125080 h 688727"/>
                <a:gd name="connsiteX5" fmla="*/ 2329486 w 4162790"/>
                <a:gd name="connsiteY5" fmla="*/ 673399 h 688727"/>
                <a:gd name="connsiteX6" fmla="*/ 3081911 w 4162790"/>
                <a:gd name="connsiteY6" fmla="*/ 458255 h 688727"/>
                <a:gd name="connsiteX7" fmla="*/ 3111091 w 4162790"/>
                <a:gd name="connsiteY7" fmla="*/ 460157 h 688727"/>
                <a:gd name="connsiteX8" fmla="*/ 3140272 w 4162790"/>
                <a:gd name="connsiteY8" fmla="*/ 458255 h 688727"/>
                <a:gd name="connsiteX9" fmla="*/ 3892696 w 4162790"/>
                <a:gd name="connsiteY9" fmla="*/ 673399 h 688727"/>
                <a:gd name="connsiteX10" fmla="*/ 4103899 w 4162790"/>
                <a:gd name="connsiteY10" fmla="*/ 546264 h 688727"/>
                <a:gd name="connsiteX11" fmla="*/ 4162790 w 4162790"/>
                <a:gd name="connsiteY11" fmla="*/ 495560 h 68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62790" h="688727">
                  <a:moveTo>
                    <a:pt x="4162790" y="0"/>
                  </a:moveTo>
                  <a:lnTo>
                    <a:pt x="0" y="0"/>
                  </a:lnTo>
                  <a:lnTo>
                    <a:pt x="93505" y="40291"/>
                  </a:lnTo>
                  <a:cubicBezTo>
                    <a:pt x="414722" y="224142"/>
                    <a:pt x="407200" y="549345"/>
                    <a:pt x="764963" y="578498"/>
                  </a:cubicBezTo>
                  <a:cubicBezTo>
                    <a:pt x="1173835" y="611816"/>
                    <a:pt x="1264236" y="109263"/>
                    <a:pt x="1524989" y="125080"/>
                  </a:cubicBezTo>
                  <a:cubicBezTo>
                    <a:pt x="1785743" y="140897"/>
                    <a:pt x="2039902" y="569851"/>
                    <a:pt x="2329486" y="673399"/>
                  </a:cubicBezTo>
                  <a:cubicBezTo>
                    <a:pt x="2564772" y="757531"/>
                    <a:pt x="2879395" y="468384"/>
                    <a:pt x="3081911" y="458255"/>
                  </a:cubicBezTo>
                  <a:lnTo>
                    <a:pt x="3111091" y="460157"/>
                  </a:lnTo>
                  <a:lnTo>
                    <a:pt x="3140272" y="458255"/>
                  </a:lnTo>
                  <a:cubicBezTo>
                    <a:pt x="3342787" y="468384"/>
                    <a:pt x="3657409" y="757531"/>
                    <a:pt x="3892696" y="673399"/>
                  </a:cubicBezTo>
                  <a:cubicBezTo>
                    <a:pt x="3965092" y="647512"/>
                    <a:pt x="4035274" y="601287"/>
                    <a:pt x="4103899" y="546264"/>
                  </a:cubicBezTo>
                  <a:lnTo>
                    <a:pt x="4162790" y="495560"/>
                  </a:lnTo>
                  <a:close/>
                </a:path>
              </a:pathLst>
            </a:custGeom>
            <a:gradFill>
              <a:gsLst>
                <a:gs pos="100000">
                  <a:schemeClr val="accent1">
                    <a:alpha val="25000"/>
                  </a:schemeClr>
                </a:gs>
                <a:gs pos="0">
                  <a:schemeClr val="accent2">
                    <a:alpha val="25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10"/>
            <p:cNvSpPr/>
            <p:nvPr userDrawn="1"/>
          </p:nvSpPr>
          <p:spPr>
            <a:xfrm flipH="1">
              <a:off x="0" y="-9525"/>
              <a:ext cx="4148598" cy="562293"/>
            </a:xfrm>
            <a:custGeom>
              <a:avLst/>
              <a:gdLst>
                <a:gd name="connsiteX0" fmla="*/ 4148598 w 4148598"/>
                <a:gd name="connsiteY0" fmla="*/ 0 h 562293"/>
                <a:gd name="connsiteX1" fmla="*/ 0 w 4148598"/>
                <a:gd name="connsiteY1" fmla="*/ 0 h 562293"/>
                <a:gd name="connsiteX2" fmla="*/ 79313 w 4148598"/>
                <a:gd name="connsiteY2" fmla="*/ 28152 h 562293"/>
                <a:gd name="connsiteX3" fmla="*/ 750771 w 4148598"/>
                <a:gd name="connsiteY3" fmla="*/ 471494 h 562293"/>
                <a:gd name="connsiteX4" fmla="*/ 1510797 w 4148598"/>
                <a:gd name="connsiteY4" fmla="*/ 97996 h 562293"/>
                <a:gd name="connsiteX5" fmla="*/ 2315294 w 4148598"/>
                <a:gd name="connsiteY5" fmla="*/ 549667 h 562293"/>
                <a:gd name="connsiteX6" fmla="*/ 3067719 w 4148598"/>
                <a:gd name="connsiteY6" fmla="*/ 372445 h 562293"/>
                <a:gd name="connsiteX7" fmla="*/ 3096899 w 4148598"/>
                <a:gd name="connsiteY7" fmla="*/ 374012 h 562293"/>
                <a:gd name="connsiteX8" fmla="*/ 3126080 w 4148598"/>
                <a:gd name="connsiteY8" fmla="*/ 372445 h 562293"/>
                <a:gd name="connsiteX9" fmla="*/ 3878504 w 4148598"/>
                <a:gd name="connsiteY9" fmla="*/ 549667 h 562293"/>
                <a:gd name="connsiteX10" fmla="*/ 4089707 w 4148598"/>
                <a:gd name="connsiteY10" fmla="*/ 444942 h 562293"/>
                <a:gd name="connsiteX11" fmla="*/ 4148598 w 4148598"/>
                <a:gd name="connsiteY11" fmla="*/ 403175 h 56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48598" h="562293">
                  <a:moveTo>
                    <a:pt x="4148598" y="0"/>
                  </a:moveTo>
                  <a:lnTo>
                    <a:pt x="0" y="0"/>
                  </a:lnTo>
                  <a:lnTo>
                    <a:pt x="79313" y="28152"/>
                  </a:lnTo>
                  <a:cubicBezTo>
                    <a:pt x="400530" y="179597"/>
                    <a:pt x="393008" y="447480"/>
                    <a:pt x="750771" y="471494"/>
                  </a:cubicBezTo>
                  <a:cubicBezTo>
                    <a:pt x="1159643" y="498939"/>
                    <a:pt x="1250044" y="84967"/>
                    <a:pt x="1510797" y="97996"/>
                  </a:cubicBezTo>
                  <a:cubicBezTo>
                    <a:pt x="1771551" y="111025"/>
                    <a:pt x="2025710" y="464371"/>
                    <a:pt x="2315294" y="549667"/>
                  </a:cubicBezTo>
                  <a:cubicBezTo>
                    <a:pt x="2550580" y="618970"/>
                    <a:pt x="2865203" y="380789"/>
                    <a:pt x="3067719" y="372445"/>
                  </a:cubicBezTo>
                  <a:lnTo>
                    <a:pt x="3096899" y="374012"/>
                  </a:lnTo>
                  <a:lnTo>
                    <a:pt x="3126080" y="372445"/>
                  </a:lnTo>
                  <a:cubicBezTo>
                    <a:pt x="3328595" y="380789"/>
                    <a:pt x="3643217" y="618970"/>
                    <a:pt x="3878504" y="549667"/>
                  </a:cubicBezTo>
                  <a:cubicBezTo>
                    <a:pt x="3950900" y="528344"/>
                    <a:pt x="4021082" y="490267"/>
                    <a:pt x="4089707" y="444942"/>
                  </a:cubicBezTo>
                  <a:lnTo>
                    <a:pt x="4148598" y="403175"/>
                  </a:lnTo>
                  <a:close/>
                </a:path>
              </a:pathLst>
            </a:custGeom>
            <a:gradFill flip="none" rotWithShape="1">
              <a:gsLst>
                <a:gs pos="100000">
                  <a:schemeClr val="accent1"/>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11"/>
            <p:cNvSpPr/>
            <p:nvPr/>
          </p:nvSpPr>
          <p:spPr>
            <a:xfrm flipV="1">
              <a:off x="0" y="-9526"/>
              <a:ext cx="4045638" cy="463307"/>
            </a:xfrm>
            <a:custGeom>
              <a:avLst/>
              <a:gdLst>
                <a:gd name="connsiteX0" fmla="*/ 0 w 4045638"/>
                <a:gd name="connsiteY0" fmla="*/ 463307 h 463307"/>
                <a:gd name="connsiteX1" fmla="*/ 4045638 w 4045638"/>
                <a:gd name="connsiteY1" fmla="*/ 463307 h 463307"/>
                <a:gd name="connsiteX2" fmla="*/ 3929456 w 4045638"/>
                <a:gd name="connsiteY2" fmla="*/ 432895 h 463307"/>
                <a:gd name="connsiteX3" fmla="*/ 3530987 w 4045638"/>
                <a:gd name="connsiteY3" fmla="*/ 234506 h 463307"/>
                <a:gd name="connsiteX4" fmla="*/ 2523093 w 4045638"/>
                <a:gd name="connsiteY4" fmla="*/ 280673 h 463307"/>
                <a:gd name="connsiteX5" fmla="*/ 1724297 w 4045638"/>
                <a:gd name="connsiteY5" fmla="*/ 308 h 463307"/>
                <a:gd name="connsiteX6" fmla="*/ 878763 w 4045638"/>
                <a:gd name="connsiteY6" fmla="*/ 339353 h 463307"/>
                <a:gd name="connsiteX7" fmla="*/ 41022 w 4045638"/>
                <a:gd name="connsiteY7" fmla="*/ 208123 h 463307"/>
                <a:gd name="connsiteX8" fmla="*/ 0 w 4045638"/>
                <a:gd name="connsiteY8" fmla="*/ 216898 h 463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45638" h="463307">
                  <a:moveTo>
                    <a:pt x="0" y="463307"/>
                  </a:moveTo>
                  <a:lnTo>
                    <a:pt x="4045638" y="463307"/>
                  </a:lnTo>
                  <a:lnTo>
                    <a:pt x="3929456" y="432895"/>
                  </a:lnTo>
                  <a:cubicBezTo>
                    <a:pt x="3728123" y="370337"/>
                    <a:pt x="3698064" y="298850"/>
                    <a:pt x="3530987" y="234506"/>
                  </a:cubicBezTo>
                  <a:cubicBezTo>
                    <a:pt x="3370086" y="150375"/>
                    <a:pt x="2813585" y="344700"/>
                    <a:pt x="2523093" y="280673"/>
                  </a:cubicBezTo>
                  <a:cubicBezTo>
                    <a:pt x="2232600" y="216646"/>
                    <a:pt x="1998352" y="-9472"/>
                    <a:pt x="1724297" y="308"/>
                  </a:cubicBezTo>
                  <a:cubicBezTo>
                    <a:pt x="1450242" y="10088"/>
                    <a:pt x="1183118" y="275326"/>
                    <a:pt x="878763" y="339353"/>
                  </a:cubicBezTo>
                  <a:cubicBezTo>
                    <a:pt x="612453" y="395377"/>
                    <a:pt x="249437" y="183713"/>
                    <a:pt x="41022" y="208123"/>
                  </a:cubicBezTo>
                  <a:lnTo>
                    <a:pt x="0" y="216898"/>
                  </a:lnTo>
                  <a:close/>
                </a:path>
              </a:pathLst>
            </a:custGeom>
            <a:solidFill>
              <a:schemeClr val="accent3">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5" name="Rectangle 14"/>
          <p:cNvSpPr/>
          <p:nvPr/>
        </p:nvSpPr>
        <p:spPr>
          <a:xfrm>
            <a:off x="1180339" y="4435347"/>
            <a:ext cx="4218975" cy="1517980"/>
          </a:xfrm>
          <a:prstGeom prst="rect">
            <a:avLst/>
          </a:prstGeom>
        </p:spPr>
        <p:txBody>
          <a:bodyPr wrap="square">
            <a:spAutoFit/>
          </a:bodyPr>
          <a:lstStyle/>
          <a:p>
            <a:pPr algn="just">
              <a:lnSpc>
                <a:spcPct val="200000"/>
              </a:lnSpc>
              <a:buClr>
                <a:srgbClr val="E24848"/>
              </a:buClr>
              <a:defRPr/>
            </a:pPr>
            <a:r>
              <a:rPr lang="en-US" sz="1200" noProof="1">
                <a:solidFill>
                  <a:schemeClr val="tx1">
                    <a:lumMod val="85000"/>
                    <a:lumOff val="15000"/>
                  </a:schemeClr>
                </a:solidFill>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Nam auctor</a:t>
            </a:r>
          </a:p>
        </p:txBody>
      </p:sp>
      <p:sp>
        <p:nvSpPr>
          <p:cNvPr id="16" name="Rectangle 15"/>
          <p:cNvSpPr/>
          <p:nvPr/>
        </p:nvSpPr>
        <p:spPr>
          <a:xfrm>
            <a:off x="6671655" y="4435347"/>
            <a:ext cx="4218975" cy="1517980"/>
          </a:xfrm>
          <a:prstGeom prst="rect">
            <a:avLst/>
          </a:prstGeom>
        </p:spPr>
        <p:txBody>
          <a:bodyPr wrap="square">
            <a:spAutoFit/>
          </a:bodyPr>
          <a:lstStyle/>
          <a:p>
            <a:pPr algn="just">
              <a:lnSpc>
                <a:spcPct val="200000"/>
              </a:lnSpc>
              <a:buClr>
                <a:srgbClr val="E24848"/>
              </a:buClr>
              <a:defRPr/>
            </a:pPr>
            <a:r>
              <a:rPr lang="en-US" sz="1200" noProof="1">
                <a:solidFill>
                  <a:schemeClr val="tx1">
                    <a:lumMod val="85000"/>
                    <a:lumOff val="15000"/>
                  </a:schemeClr>
                </a:solidFill>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Nam auctor</a:t>
            </a:r>
          </a:p>
        </p:txBody>
      </p:sp>
      <p:sp>
        <p:nvSpPr>
          <p:cNvPr id="17" name="Freeform 1259"/>
          <p:cNvSpPr>
            <a:spLocks/>
          </p:cNvSpPr>
          <p:nvPr/>
        </p:nvSpPr>
        <p:spPr bwMode="auto">
          <a:xfrm>
            <a:off x="900086" y="3778296"/>
            <a:ext cx="2757514" cy="468694"/>
          </a:xfrm>
          <a:custGeom>
            <a:avLst/>
            <a:gdLst>
              <a:gd name="T0" fmla="*/ 970 w 1032"/>
              <a:gd name="T1" fmla="*/ 166 h 244"/>
              <a:gd name="T2" fmla="*/ 980 w 1032"/>
              <a:gd name="T3" fmla="*/ 154 h 244"/>
              <a:gd name="T4" fmla="*/ 988 w 1032"/>
              <a:gd name="T5" fmla="*/ 146 h 244"/>
              <a:gd name="T6" fmla="*/ 994 w 1032"/>
              <a:gd name="T7" fmla="*/ 134 h 244"/>
              <a:gd name="T8" fmla="*/ 1012 w 1032"/>
              <a:gd name="T9" fmla="*/ 128 h 244"/>
              <a:gd name="T10" fmla="*/ 960 w 1032"/>
              <a:gd name="T11" fmla="*/ 122 h 244"/>
              <a:gd name="T12" fmla="*/ 970 w 1032"/>
              <a:gd name="T13" fmla="*/ 120 h 244"/>
              <a:gd name="T14" fmla="*/ 952 w 1032"/>
              <a:gd name="T15" fmla="*/ 114 h 244"/>
              <a:gd name="T16" fmla="*/ 984 w 1032"/>
              <a:gd name="T17" fmla="*/ 102 h 244"/>
              <a:gd name="T18" fmla="*/ 968 w 1032"/>
              <a:gd name="T19" fmla="*/ 100 h 244"/>
              <a:gd name="T20" fmla="*/ 932 w 1032"/>
              <a:gd name="T21" fmla="*/ 94 h 244"/>
              <a:gd name="T22" fmla="*/ 950 w 1032"/>
              <a:gd name="T23" fmla="*/ 90 h 244"/>
              <a:gd name="T24" fmla="*/ 928 w 1032"/>
              <a:gd name="T25" fmla="*/ 86 h 244"/>
              <a:gd name="T26" fmla="*/ 920 w 1032"/>
              <a:gd name="T27" fmla="*/ 80 h 244"/>
              <a:gd name="T28" fmla="*/ 920 w 1032"/>
              <a:gd name="T29" fmla="*/ 74 h 244"/>
              <a:gd name="T30" fmla="*/ 922 w 1032"/>
              <a:gd name="T31" fmla="*/ 64 h 244"/>
              <a:gd name="T32" fmla="*/ 984 w 1032"/>
              <a:gd name="T33" fmla="*/ 56 h 244"/>
              <a:gd name="T34" fmla="*/ 996 w 1032"/>
              <a:gd name="T35" fmla="*/ 52 h 244"/>
              <a:gd name="T36" fmla="*/ 1026 w 1032"/>
              <a:gd name="T37" fmla="*/ 42 h 244"/>
              <a:gd name="T38" fmla="*/ 1000 w 1032"/>
              <a:gd name="T39" fmla="*/ 36 h 244"/>
              <a:gd name="T40" fmla="*/ 870 w 1032"/>
              <a:gd name="T41" fmla="*/ 22 h 244"/>
              <a:gd name="T42" fmla="*/ 588 w 1032"/>
              <a:gd name="T43" fmla="*/ 0 h 244"/>
              <a:gd name="T44" fmla="*/ 328 w 1032"/>
              <a:gd name="T45" fmla="*/ 2 h 244"/>
              <a:gd name="T46" fmla="*/ 88 w 1032"/>
              <a:gd name="T47" fmla="*/ 26 h 244"/>
              <a:gd name="T48" fmla="*/ 38 w 1032"/>
              <a:gd name="T49" fmla="*/ 48 h 244"/>
              <a:gd name="T50" fmla="*/ 54 w 1032"/>
              <a:gd name="T51" fmla="*/ 58 h 244"/>
              <a:gd name="T52" fmla="*/ 60 w 1032"/>
              <a:gd name="T53" fmla="*/ 80 h 244"/>
              <a:gd name="T54" fmla="*/ 48 w 1032"/>
              <a:gd name="T55" fmla="*/ 82 h 244"/>
              <a:gd name="T56" fmla="*/ 56 w 1032"/>
              <a:gd name="T57" fmla="*/ 86 h 244"/>
              <a:gd name="T58" fmla="*/ 74 w 1032"/>
              <a:gd name="T59" fmla="*/ 92 h 244"/>
              <a:gd name="T60" fmla="*/ 62 w 1032"/>
              <a:gd name="T61" fmla="*/ 96 h 244"/>
              <a:gd name="T62" fmla="*/ 72 w 1032"/>
              <a:gd name="T63" fmla="*/ 100 h 244"/>
              <a:gd name="T64" fmla="*/ 48 w 1032"/>
              <a:gd name="T65" fmla="*/ 108 h 244"/>
              <a:gd name="T66" fmla="*/ 34 w 1032"/>
              <a:gd name="T67" fmla="*/ 112 h 244"/>
              <a:gd name="T68" fmla="*/ 56 w 1032"/>
              <a:gd name="T69" fmla="*/ 124 h 244"/>
              <a:gd name="T70" fmla="*/ 56 w 1032"/>
              <a:gd name="T71" fmla="*/ 138 h 244"/>
              <a:gd name="T72" fmla="*/ 30 w 1032"/>
              <a:gd name="T73" fmla="*/ 144 h 244"/>
              <a:gd name="T74" fmla="*/ 0 w 1032"/>
              <a:gd name="T75" fmla="*/ 152 h 244"/>
              <a:gd name="T76" fmla="*/ 6 w 1032"/>
              <a:gd name="T77" fmla="*/ 164 h 244"/>
              <a:gd name="T78" fmla="*/ 14 w 1032"/>
              <a:gd name="T79" fmla="*/ 178 h 244"/>
              <a:gd name="T80" fmla="*/ 32 w 1032"/>
              <a:gd name="T81" fmla="*/ 200 h 244"/>
              <a:gd name="T82" fmla="*/ 56 w 1032"/>
              <a:gd name="T83" fmla="*/ 216 h 244"/>
              <a:gd name="T84" fmla="*/ 78 w 1032"/>
              <a:gd name="T85" fmla="*/ 232 h 244"/>
              <a:gd name="T86" fmla="*/ 118 w 1032"/>
              <a:gd name="T87" fmla="*/ 236 h 244"/>
              <a:gd name="T88" fmla="*/ 144 w 1032"/>
              <a:gd name="T89" fmla="*/ 238 h 244"/>
              <a:gd name="T90" fmla="*/ 168 w 1032"/>
              <a:gd name="T91" fmla="*/ 240 h 244"/>
              <a:gd name="T92" fmla="*/ 200 w 1032"/>
              <a:gd name="T93" fmla="*/ 242 h 244"/>
              <a:gd name="T94" fmla="*/ 246 w 1032"/>
              <a:gd name="T95" fmla="*/ 244 h 244"/>
              <a:gd name="T96" fmla="*/ 306 w 1032"/>
              <a:gd name="T97" fmla="*/ 238 h 244"/>
              <a:gd name="T98" fmla="*/ 362 w 1032"/>
              <a:gd name="T99" fmla="*/ 238 h 244"/>
              <a:gd name="T100" fmla="*/ 374 w 1032"/>
              <a:gd name="T101" fmla="*/ 238 h 244"/>
              <a:gd name="T102" fmla="*/ 522 w 1032"/>
              <a:gd name="T103" fmla="*/ 238 h 244"/>
              <a:gd name="T104" fmla="*/ 582 w 1032"/>
              <a:gd name="T105" fmla="*/ 236 h 244"/>
              <a:gd name="T106" fmla="*/ 848 w 1032"/>
              <a:gd name="T107" fmla="*/ 234 h 244"/>
              <a:gd name="T108" fmla="*/ 922 w 1032"/>
              <a:gd name="T109" fmla="*/ 232 h 244"/>
              <a:gd name="T110" fmla="*/ 880 w 1032"/>
              <a:gd name="T111" fmla="*/ 230 h 244"/>
              <a:gd name="T112" fmla="*/ 858 w 1032"/>
              <a:gd name="T113" fmla="*/ 230 h 244"/>
              <a:gd name="T114" fmla="*/ 854 w 1032"/>
              <a:gd name="T115" fmla="*/ 228 h 244"/>
              <a:gd name="T116" fmla="*/ 920 w 1032"/>
              <a:gd name="T117" fmla="*/ 228 h 244"/>
              <a:gd name="T118" fmla="*/ 992 w 1032"/>
              <a:gd name="T119" fmla="*/ 226 h 244"/>
              <a:gd name="T120" fmla="*/ 1032 w 1032"/>
              <a:gd name="T121" fmla="*/ 20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32" h="244">
                <a:moveTo>
                  <a:pt x="1032" y="172"/>
                </a:moveTo>
                <a:lnTo>
                  <a:pt x="1032" y="172"/>
                </a:lnTo>
                <a:lnTo>
                  <a:pt x="964" y="174"/>
                </a:lnTo>
                <a:lnTo>
                  <a:pt x="964" y="174"/>
                </a:lnTo>
                <a:lnTo>
                  <a:pt x="966" y="170"/>
                </a:lnTo>
                <a:lnTo>
                  <a:pt x="970" y="166"/>
                </a:lnTo>
                <a:lnTo>
                  <a:pt x="970" y="166"/>
                </a:lnTo>
                <a:lnTo>
                  <a:pt x="976" y="164"/>
                </a:lnTo>
                <a:lnTo>
                  <a:pt x="978" y="162"/>
                </a:lnTo>
                <a:lnTo>
                  <a:pt x="982" y="158"/>
                </a:lnTo>
                <a:lnTo>
                  <a:pt x="982" y="158"/>
                </a:lnTo>
                <a:lnTo>
                  <a:pt x="980" y="154"/>
                </a:lnTo>
                <a:lnTo>
                  <a:pt x="980" y="152"/>
                </a:lnTo>
                <a:lnTo>
                  <a:pt x="982" y="150"/>
                </a:lnTo>
                <a:lnTo>
                  <a:pt x="982" y="150"/>
                </a:lnTo>
                <a:lnTo>
                  <a:pt x="984" y="148"/>
                </a:lnTo>
                <a:lnTo>
                  <a:pt x="988" y="146"/>
                </a:lnTo>
                <a:lnTo>
                  <a:pt x="988" y="146"/>
                </a:lnTo>
                <a:lnTo>
                  <a:pt x="996" y="140"/>
                </a:lnTo>
                <a:lnTo>
                  <a:pt x="998" y="136"/>
                </a:lnTo>
                <a:lnTo>
                  <a:pt x="996" y="136"/>
                </a:lnTo>
                <a:lnTo>
                  <a:pt x="992" y="134"/>
                </a:lnTo>
                <a:lnTo>
                  <a:pt x="992" y="134"/>
                </a:lnTo>
                <a:lnTo>
                  <a:pt x="994" y="134"/>
                </a:lnTo>
                <a:lnTo>
                  <a:pt x="996" y="132"/>
                </a:lnTo>
                <a:lnTo>
                  <a:pt x="1002" y="132"/>
                </a:lnTo>
                <a:lnTo>
                  <a:pt x="1008" y="130"/>
                </a:lnTo>
                <a:lnTo>
                  <a:pt x="1010" y="130"/>
                </a:lnTo>
                <a:lnTo>
                  <a:pt x="1012" y="128"/>
                </a:lnTo>
                <a:lnTo>
                  <a:pt x="1012" y="128"/>
                </a:lnTo>
                <a:lnTo>
                  <a:pt x="1004" y="126"/>
                </a:lnTo>
                <a:lnTo>
                  <a:pt x="986" y="126"/>
                </a:lnTo>
                <a:lnTo>
                  <a:pt x="958" y="126"/>
                </a:lnTo>
                <a:lnTo>
                  <a:pt x="958" y="126"/>
                </a:lnTo>
                <a:lnTo>
                  <a:pt x="960" y="124"/>
                </a:lnTo>
                <a:lnTo>
                  <a:pt x="960" y="122"/>
                </a:lnTo>
                <a:lnTo>
                  <a:pt x="966" y="122"/>
                </a:lnTo>
                <a:lnTo>
                  <a:pt x="970" y="124"/>
                </a:lnTo>
                <a:lnTo>
                  <a:pt x="974" y="122"/>
                </a:lnTo>
                <a:lnTo>
                  <a:pt x="974" y="122"/>
                </a:lnTo>
                <a:lnTo>
                  <a:pt x="972" y="120"/>
                </a:lnTo>
                <a:lnTo>
                  <a:pt x="970" y="120"/>
                </a:lnTo>
                <a:lnTo>
                  <a:pt x="964" y="120"/>
                </a:lnTo>
                <a:lnTo>
                  <a:pt x="956" y="118"/>
                </a:lnTo>
                <a:lnTo>
                  <a:pt x="952" y="118"/>
                </a:lnTo>
                <a:lnTo>
                  <a:pt x="952" y="118"/>
                </a:lnTo>
                <a:lnTo>
                  <a:pt x="954" y="114"/>
                </a:lnTo>
                <a:lnTo>
                  <a:pt x="952" y="114"/>
                </a:lnTo>
                <a:lnTo>
                  <a:pt x="950" y="112"/>
                </a:lnTo>
                <a:lnTo>
                  <a:pt x="950" y="112"/>
                </a:lnTo>
                <a:lnTo>
                  <a:pt x="956" y="108"/>
                </a:lnTo>
                <a:lnTo>
                  <a:pt x="960" y="106"/>
                </a:lnTo>
                <a:lnTo>
                  <a:pt x="972" y="104"/>
                </a:lnTo>
                <a:lnTo>
                  <a:pt x="984" y="102"/>
                </a:lnTo>
                <a:lnTo>
                  <a:pt x="994" y="98"/>
                </a:lnTo>
                <a:lnTo>
                  <a:pt x="994" y="98"/>
                </a:lnTo>
                <a:lnTo>
                  <a:pt x="990" y="96"/>
                </a:lnTo>
                <a:lnTo>
                  <a:pt x="982" y="96"/>
                </a:lnTo>
                <a:lnTo>
                  <a:pt x="968" y="100"/>
                </a:lnTo>
                <a:lnTo>
                  <a:pt x="968" y="100"/>
                </a:lnTo>
                <a:lnTo>
                  <a:pt x="946" y="100"/>
                </a:lnTo>
                <a:lnTo>
                  <a:pt x="936" y="100"/>
                </a:lnTo>
                <a:lnTo>
                  <a:pt x="930" y="98"/>
                </a:lnTo>
                <a:lnTo>
                  <a:pt x="928" y="96"/>
                </a:lnTo>
                <a:lnTo>
                  <a:pt x="928" y="96"/>
                </a:lnTo>
                <a:lnTo>
                  <a:pt x="932" y="94"/>
                </a:lnTo>
                <a:lnTo>
                  <a:pt x="942" y="94"/>
                </a:lnTo>
                <a:lnTo>
                  <a:pt x="950" y="92"/>
                </a:lnTo>
                <a:lnTo>
                  <a:pt x="952" y="92"/>
                </a:lnTo>
                <a:lnTo>
                  <a:pt x="952" y="92"/>
                </a:lnTo>
                <a:lnTo>
                  <a:pt x="952" y="90"/>
                </a:lnTo>
                <a:lnTo>
                  <a:pt x="950" y="90"/>
                </a:lnTo>
                <a:lnTo>
                  <a:pt x="940" y="90"/>
                </a:lnTo>
                <a:lnTo>
                  <a:pt x="930" y="90"/>
                </a:lnTo>
                <a:lnTo>
                  <a:pt x="928" y="88"/>
                </a:lnTo>
                <a:lnTo>
                  <a:pt x="926" y="86"/>
                </a:lnTo>
                <a:lnTo>
                  <a:pt x="926" y="86"/>
                </a:lnTo>
                <a:lnTo>
                  <a:pt x="928" y="86"/>
                </a:lnTo>
                <a:lnTo>
                  <a:pt x="928" y="84"/>
                </a:lnTo>
                <a:lnTo>
                  <a:pt x="928" y="80"/>
                </a:lnTo>
                <a:lnTo>
                  <a:pt x="928" y="80"/>
                </a:lnTo>
                <a:lnTo>
                  <a:pt x="928" y="82"/>
                </a:lnTo>
                <a:lnTo>
                  <a:pt x="924" y="82"/>
                </a:lnTo>
                <a:lnTo>
                  <a:pt x="920" y="80"/>
                </a:lnTo>
                <a:lnTo>
                  <a:pt x="918" y="78"/>
                </a:lnTo>
                <a:lnTo>
                  <a:pt x="918" y="78"/>
                </a:lnTo>
                <a:lnTo>
                  <a:pt x="920" y="78"/>
                </a:lnTo>
                <a:lnTo>
                  <a:pt x="922" y="76"/>
                </a:lnTo>
                <a:lnTo>
                  <a:pt x="922" y="76"/>
                </a:lnTo>
                <a:lnTo>
                  <a:pt x="920" y="74"/>
                </a:lnTo>
                <a:lnTo>
                  <a:pt x="914" y="74"/>
                </a:lnTo>
                <a:lnTo>
                  <a:pt x="904" y="72"/>
                </a:lnTo>
                <a:lnTo>
                  <a:pt x="904" y="72"/>
                </a:lnTo>
                <a:lnTo>
                  <a:pt x="906" y="70"/>
                </a:lnTo>
                <a:lnTo>
                  <a:pt x="910" y="68"/>
                </a:lnTo>
                <a:lnTo>
                  <a:pt x="922" y="64"/>
                </a:lnTo>
                <a:lnTo>
                  <a:pt x="942" y="60"/>
                </a:lnTo>
                <a:lnTo>
                  <a:pt x="942" y="60"/>
                </a:lnTo>
                <a:lnTo>
                  <a:pt x="970" y="56"/>
                </a:lnTo>
                <a:lnTo>
                  <a:pt x="970" y="56"/>
                </a:lnTo>
                <a:lnTo>
                  <a:pt x="984" y="56"/>
                </a:lnTo>
                <a:lnTo>
                  <a:pt x="984" y="56"/>
                </a:lnTo>
                <a:lnTo>
                  <a:pt x="990" y="56"/>
                </a:lnTo>
                <a:lnTo>
                  <a:pt x="998" y="54"/>
                </a:lnTo>
                <a:lnTo>
                  <a:pt x="998" y="54"/>
                </a:lnTo>
                <a:lnTo>
                  <a:pt x="998" y="54"/>
                </a:lnTo>
                <a:lnTo>
                  <a:pt x="998" y="52"/>
                </a:lnTo>
                <a:lnTo>
                  <a:pt x="996" y="52"/>
                </a:lnTo>
                <a:lnTo>
                  <a:pt x="996" y="52"/>
                </a:lnTo>
                <a:lnTo>
                  <a:pt x="1002" y="46"/>
                </a:lnTo>
                <a:lnTo>
                  <a:pt x="1010" y="42"/>
                </a:lnTo>
                <a:lnTo>
                  <a:pt x="1010" y="42"/>
                </a:lnTo>
                <a:lnTo>
                  <a:pt x="1022" y="42"/>
                </a:lnTo>
                <a:lnTo>
                  <a:pt x="1026" y="42"/>
                </a:lnTo>
                <a:lnTo>
                  <a:pt x="1032" y="40"/>
                </a:lnTo>
                <a:lnTo>
                  <a:pt x="1032" y="40"/>
                </a:lnTo>
                <a:lnTo>
                  <a:pt x="1026" y="38"/>
                </a:lnTo>
                <a:lnTo>
                  <a:pt x="1016" y="36"/>
                </a:lnTo>
                <a:lnTo>
                  <a:pt x="1000" y="36"/>
                </a:lnTo>
                <a:lnTo>
                  <a:pt x="1000" y="36"/>
                </a:lnTo>
                <a:lnTo>
                  <a:pt x="970" y="36"/>
                </a:lnTo>
                <a:lnTo>
                  <a:pt x="970" y="36"/>
                </a:lnTo>
                <a:lnTo>
                  <a:pt x="944" y="32"/>
                </a:lnTo>
                <a:lnTo>
                  <a:pt x="916" y="30"/>
                </a:lnTo>
                <a:lnTo>
                  <a:pt x="916" y="30"/>
                </a:lnTo>
                <a:lnTo>
                  <a:pt x="870" y="22"/>
                </a:lnTo>
                <a:lnTo>
                  <a:pt x="822" y="16"/>
                </a:lnTo>
                <a:lnTo>
                  <a:pt x="822" y="16"/>
                </a:lnTo>
                <a:lnTo>
                  <a:pt x="714" y="8"/>
                </a:lnTo>
                <a:lnTo>
                  <a:pt x="714" y="8"/>
                </a:lnTo>
                <a:lnTo>
                  <a:pt x="650" y="2"/>
                </a:lnTo>
                <a:lnTo>
                  <a:pt x="588" y="0"/>
                </a:lnTo>
                <a:lnTo>
                  <a:pt x="588" y="0"/>
                </a:lnTo>
                <a:lnTo>
                  <a:pt x="500" y="0"/>
                </a:lnTo>
                <a:lnTo>
                  <a:pt x="416" y="2"/>
                </a:lnTo>
                <a:lnTo>
                  <a:pt x="416" y="2"/>
                </a:lnTo>
                <a:lnTo>
                  <a:pt x="358" y="2"/>
                </a:lnTo>
                <a:lnTo>
                  <a:pt x="328" y="2"/>
                </a:lnTo>
                <a:lnTo>
                  <a:pt x="300" y="6"/>
                </a:lnTo>
                <a:lnTo>
                  <a:pt x="300" y="6"/>
                </a:lnTo>
                <a:lnTo>
                  <a:pt x="248" y="10"/>
                </a:lnTo>
                <a:lnTo>
                  <a:pt x="194" y="14"/>
                </a:lnTo>
                <a:lnTo>
                  <a:pt x="140" y="18"/>
                </a:lnTo>
                <a:lnTo>
                  <a:pt x="88" y="26"/>
                </a:lnTo>
                <a:lnTo>
                  <a:pt x="88" y="26"/>
                </a:lnTo>
                <a:lnTo>
                  <a:pt x="72" y="28"/>
                </a:lnTo>
                <a:lnTo>
                  <a:pt x="52" y="36"/>
                </a:lnTo>
                <a:lnTo>
                  <a:pt x="44" y="40"/>
                </a:lnTo>
                <a:lnTo>
                  <a:pt x="38" y="44"/>
                </a:lnTo>
                <a:lnTo>
                  <a:pt x="38" y="48"/>
                </a:lnTo>
                <a:lnTo>
                  <a:pt x="38" y="50"/>
                </a:lnTo>
                <a:lnTo>
                  <a:pt x="38" y="52"/>
                </a:lnTo>
                <a:lnTo>
                  <a:pt x="42" y="56"/>
                </a:lnTo>
                <a:lnTo>
                  <a:pt x="42" y="56"/>
                </a:lnTo>
                <a:lnTo>
                  <a:pt x="48" y="58"/>
                </a:lnTo>
                <a:lnTo>
                  <a:pt x="54" y="58"/>
                </a:lnTo>
                <a:lnTo>
                  <a:pt x="54" y="58"/>
                </a:lnTo>
                <a:lnTo>
                  <a:pt x="58" y="66"/>
                </a:lnTo>
                <a:lnTo>
                  <a:pt x="60" y="72"/>
                </a:lnTo>
                <a:lnTo>
                  <a:pt x="60" y="72"/>
                </a:lnTo>
                <a:lnTo>
                  <a:pt x="62" y="76"/>
                </a:lnTo>
                <a:lnTo>
                  <a:pt x="60" y="80"/>
                </a:lnTo>
                <a:lnTo>
                  <a:pt x="60" y="80"/>
                </a:lnTo>
                <a:lnTo>
                  <a:pt x="54" y="80"/>
                </a:lnTo>
                <a:lnTo>
                  <a:pt x="48" y="80"/>
                </a:lnTo>
                <a:lnTo>
                  <a:pt x="48" y="80"/>
                </a:lnTo>
                <a:lnTo>
                  <a:pt x="48" y="82"/>
                </a:lnTo>
                <a:lnTo>
                  <a:pt x="48" y="82"/>
                </a:lnTo>
                <a:lnTo>
                  <a:pt x="54" y="84"/>
                </a:lnTo>
                <a:lnTo>
                  <a:pt x="62" y="82"/>
                </a:lnTo>
                <a:lnTo>
                  <a:pt x="62" y="82"/>
                </a:lnTo>
                <a:lnTo>
                  <a:pt x="62" y="84"/>
                </a:lnTo>
                <a:lnTo>
                  <a:pt x="60" y="86"/>
                </a:lnTo>
                <a:lnTo>
                  <a:pt x="56" y="86"/>
                </a:lnTo>
                <a:lnTo>
                  <a:pt x="50" y="86"/>
                </a:lnTo>
                <a:lnTo>
                  <a:pt x="46" y="88"/>
                </a:lnTo>
                <a:lnTo>
                  <a:pt x="46" y="88"/>
                </a:lnTo>
                <a:lnTo>
                  <a:pt x="62" y="88"/>
                </a:lnTo>
                <a:lnTo>
                  <a:pt x="72" y="90"/>
                </a:lnTo>
                <a:lnTo>
                  <a:pt x="74" y="92"/>
                </a:lnTo>
                <a:lnTo>
                  <a:pt x="76" y="94"/>
                </a:lnTo>
                <a:lnTo>
                  <a:pt x="76" y="94"/>
                </a:lnTo>
                <a:lnTo>
                  <a:pt x="74" y="96"/>
                </a:lnTo>
                <a:lnTo>
                  <a:pt x="72" y="96"/>
                </a:lnTo>
                <a:lnTo>
                  <a:pt x="66" y="96"/>
                </a:lnTo>
                <a:lnTo>
                  <a:pt x="62" y="96"/>
                </a:lnTo>
                <a:lnTo>
                  <a:pt x="58" y="96"/>
                </a:lnTo>
                <a:lnTo>
                  <a:pt x="58" y="98"/>
                </a:lnTo>
                <a:lnTo>
                  <a:pt x="58" y="98"/>
                </a:lnTo>
                <a:lnTo>
                  <a:pt x="64" y="98"/>
                </a:lnTo>
                <a:lnTo>
                  <a:pt x="72" y="100"/>
                </a:lnTo>
                <a:lnTo>
                  <a:pt x="72" y="100"/>
                </a:lnTo>
                <a:lnTo>
                  <a:pt x="58" y="102"/>
                </a:lnTo>
                <a:lnTo>
                  <a:pt x="42" y="102"/>
                </a:lnTo>
                <a:lnTo>
                  <a:pt x="42" y="102"/>
                </a:lnTo>
                <a:lnTo>
                  <a:pt x="44" y="104"/>
                </a:lnTo>
                <a:lnTo>
                  <a:pt x="46" y="104"/>
                </a:lnTo>
                <a:lnTo>
                  <a:pt x="48" y="108"/>
                </a:lnTo>
                <a:lnTo>
                  <a:pt x="48" y="108"/>
                </a:lnTo>
                <a:lnTo>
                  <a:pt x="48" y="110"/>
                </a:lnTo>
                <a:lnTo>
                  <a:pt x="46" y="110"/>
                </a:lnTo>
                <a:lnTo>
                  <a:pt x="38" y="110"/>
                </a:lnTo>
                <a:lnTo>
                  <a:pt x="34" y="110"/>
                </a:lnTo>
                <a:lnTo>
                  <a:pt x="34" y="112"/>
                </a:lnTo>
                <a:lnTo>
                  <a:pt x="34" y="116"/>
                </a:lnTo>
                <a:lnTo>
                  <a:pt x="34" y="116"/>
                </a:lnTo>
                <a:lnTo>
                  <a:pt x="38" y="120"/>
                </a:lnTo>
                <a:lnTo>
                  <a:pt x="44" y="122"/>
                </a:lnTo>
                <a:lnTo>
                  <a:pt x="50" y="122"/>
                </a:lnTo>
                <a:lnTo>
                  <a:pt x="56" y="124"/>
                </a:lnTo>
                <a:lnTo>
                  <a:pt x="56" y="124"/>
                </a:lnTo>
                <a:lnTo>
                  <a:pt x="52" y="128"/>
                </a:lnTo>
                <a:lnTo>
                  <a:pt x="52" y="134"/>
                </a:lnTo>
                <a:lnTo>
                  <a:pt x="52" y="134"/>
                </a:lnTo>
                <a:lnTo>
                  <a:pt x="54" y="136"/>
                </a:lnTo>
                <a:lnTo>
                  <a:pt x="56" y="138"/>
                </a:lnTo>
                <a:lnTo>
                  <a:pt x="56" y="138"/>
                </a:lnTo>
                <a:lnTo>
                  <a:pt x="54" y="142"/>
                </a:lnTo>
                <a:lnTo>
                  <a:pt x="54" y="142"/>
                </a:lnTo>
                <a:lnTo>
                  <a:pt x="48" y="144"/>
                </a:lnTo>
                <a:lnTo>
                  <a:pt x="42" y="144"/>
                </a:lnTo>
                <a:lnTo>
                  <a:pt x="30" y="144"/>
                </a:lnTo>
                <a:lnTo>
                  <a:pt x="30" y="144"/>
                </a:lnTo>
                <a:lnTo>
                  <a:pt x="16" y="144"/>
                </a:lnTo>
                <a:lnTo>
                  <a:pt x="10" y="144"/>
                </a:lnTo>
                <a:lnTo>
                  <a:pt x="4" y="148"/>
                </a:lnTo>
                <a:lnTo>
                  <a:pt x="4" y="148"/>
                </a:lnTo>
                <a:lnTo>
                  <a:pt x="0" y="152"/>
                </a:lnTo>
                <a:lnTo>
                  <a:pt x="0" y="152"/>
                </a:lnTo>
                <a:lnTo>
                  <a:pt x="0" y="158"/>
                </a:lnTo>
                <a:lnTo>
                  <a:pt x="0" y="164"/>
                </a:lnTo>
                <a:lnTo>
                  <a:pt x="0" y="164"/>
                </a:lnTo>
                <a:lnTo>
                  <a:pt x="4" y="164"/>
                </a:lnTo>
                <a:lnTo>
                  <a:pt x="6" y="164"/>
                </a:lnTo>
                <a:lnTo>
                  <a:pt x="12" y="164"/>
                </a:lnTo>
                <a:lnTo>
                  <a:pt x="12" y="164"/>
                </a:lnTo>
                <a:lnTo>
                  <a:pt x="14" y="168"/>
                </a:lnTo>
                <a:lnTo>
                  <a:pt x="14" y="172"/>
                </a:lnTo>
                <a:lnTo>
                  <a:pt x="14" y="174"/>
                </a:lnTo>
                <a:lnTo>
                  <a:pt x="14" y="178"/>
                </a:lnTo>
                <a:lnTo>
                  <a:pt x="14" y="178"/>
                </a:lnTo>
                <a:lnTo>
                  <a:pt x="24" y="190"/>
                </a:lnTo>
                <a:lnTo>
                  <a:pt x="24" y="190"/>
                </a:lnTo>
                <a:lnTo>
                  <a:pt x="30" y="196"/>
                </a:lnTo>
                <a:lnTo>
                  <a:pt x="30" y="196"/>
                </a:lnTo>
                <a:lnTo>
                  <a:pt x="32" y="200"/>
                </a:lnTo>
                <a:lnTo>
                  <a:pt x="36" y="206"/>
                </a:lnTo>
                <a:lnTo>
                  <a:pt x="36" y="206"/>
                </a:lnTo>
                <a:lnTo>
                  <a:pt x="40" y="208"/>
                </a:lnTo>
                <a:lnTo>
                  <a:pt x="46" y="210"/>
                </a:lnTo>
                <a:lnTo>
                  <a:pt x="56" y="216"/>
                </a:lnTo>
                <a:lnTo>
                  <a:pt x="56" y="216"/>
                </a:lnTo>
                <a:lnTo>
                  <a:pt x="66" y="226"/>
                </a:lnTo>
                <a:lnTo>
                  <a:pt x="66" y="226"/>
                </a:lnTo>
                <a:lnTo>
                  <a:pt x="70" y="228"/>
                </a:lnTo>
                <a:lnTo>
                  <a:pt x="70" y="230"/>
                </a:lnTo>
                <a:lnTo>
                  <a:pt x="78" y="232"/>
                </a:lnTo>
                <a:lnTo>
                  <a:pt x="78" y="232"/>
                </a:lnTo>
                <a:lnTo>
                  <a:pt x="80" y="228"/>
                </a:lnTo>
                <a:lnTo>
                  <a:pt x="80" y="228"/>
                </a:lnTo>
                <a:lnTo>
                  <a:pt x="114" y="236"/>
                </a:lnTo>
                <a:lnTo>
                  <a:pt x="114" y="236"/>
                </a:lnTo>
                <a:lnTo>
                  <a:pt x="116" y="236"/>
                </a:lnTo>
                <a:lnTo>
                  <a:pt x="118" y="236"/>
                </a:lnTo>
                <a:lnTo>
                  <a:pt x="120" y="234"/>
                </a:lnTo>
                <a:lnTo>
                  <a:pt x="120" y="234"/>
                </a:lnTo>
                <a:lnTo>
                  <a:pt x="130" y="234"/>
                </a:lnTo>
                <a:lnTo>
                  <a:pt x="140" y="238"/>
                </a:lnTo>
                <a:lnTo>
                  <a:pt x="140" y="238"/>
                </a:lnTo>
                <a:lnTo>
                  <a:pt x="144" y="238"/>
                </a:lnTo>
                <a:lnTo>
                  <a:pt x="150" y="238"/>
                </a:lnTo>
                <a:lnTo>
                  <a:pt x="150" y="238"/>
                </a:lnTo>
                <a:lnTo>
                  <a:pt x="154" y="238"/>
                </a:lnTo>
                <a:lnTo>
                  <a:pt x="158" y="238"/>
                </a:lnTo>
                <a:lnTo>
                  <a:pt x="168" y="240"/>
                </a:lnTo>
                <a:lnTo>
                  <a:pt x="168" y="240"/>
                </a:lnTo>
                <a:lnTo>
                  <a:pt x="184" y="242"/>
                </a:lnTo>
                <a:lnTo>
                  <a:pt x="194" y="242"/>
                </a:lnTo>
                <a:lnTo>
                  <a:pt x="200" y="240"/>
                </a:lnTo>
                <a:lnTo>
                  <a:pt x="200" y="240"/>
                </a:lnTo>
                <a:lnTo>
                  <a:pt x="198" y="242"/>
                </a:lnTo>
                <a:lnTo>
                  <a:pt x="200" y="242"/>
                </a:lnTo>
                <a:lnTo>
                  <a:pt x="206" y="244"/>
                </a:lnTo>
                <a:lnTo>
                  <a:pt x="218" y="242"/>
                </a:lnTo>
                <a:lnTo>
                  <a:pt x="218" y="242"/>
                </a:lnTo>
                <a:lnTo>
                  <a:pt x="234" y="242"/>
                </a:lnTo>
                <a:lnTo>
                  <a:pt x="242" y="242"/>
                </a:lnTo>
                <a:lnTo>
                  <a:pt x="246" y="244"/>
                </a:lnTo>
                <a:lnTo>
                  <a:pt x="246" y="244"/>
                </a:lnTo>
                <a:lnTo>
                  <a:pt x="252" y="242"/>
                </a:lnTo>
                <a:lnTo>
                  <a:pt x="262" y="240"/>
                </a:lnTo>
                <a:lnTo>
                  <a:pt x="280" y="238"/>
                </a:lnTo>
                <a:lnTo>
                  <a:pt x="280" y="238"/>
                </a:lnTo>
                <a:lnTo>
                  <a:pt x="306" y="238"/>
                </a:lnTo>
                <a:lnTo>
                  <a:pt x="306" y="238"/>
                </a:lnTo>
                <a:lnTo>
                  <a:pt x="324" y="236"/>
                </a:lnTo>
                <a:lnTo>
                  <a:pt x="340" y="238"/>
                </a:lnTo>
                <a:lnTo>
                  <a:pt x="340" y="238"/>
                </a:lnTo>
                <a:lnTo>
                  <a:pt x="354" y="240"/>
                </a:lnTo>
                <a:lnTo>
                  <a:pt x="362" y="238"/>
                </a:lnTo>
                <a:lnTo>
                  <a:pt x="366" y="238"/>
                </a:lnTo>
                <a:lnTo>
                  <a:pt x="366" y="238"/>
                </a:lnTo>
                <a:lnTo>
                  <a:pt x="370" y="236"/>
                </a:lnTo>
                <a:lnTo>
                  <a:pt x="370" y="236"/>
                </a:lnTo>
                <a:lnTo>
                  <a:pt x="374" y="238"/>
                </a:lnTo>
                <a:lnTo>
                  <a:pt x="374" y="238"/>
                </a:lnTo>
                <a:lnTo>
                  <a:pt x="382" y="238"/>
                </a:lnTo>
                <a:lnTo>
                  <a:pt x="390" y="238"/>
                </a:lnTo>
                <a:lnTo>
                  <a:pt x="390" y="238"/>
                </a:lnTo>
                <a:lnTo>
                  <a:pt x="450" y="236"/>
                </a:lnTo>
                <a:lnTo>
                  <a:pt x="450" y="236"/>
                </a:lnTo>
                <a:lnTo>
                  <a:pt x="522" y="238"/>
                </a:lnTo>
                <a:lnTo>
                  <a:pt x="522" y="238"/>
                </a:lnTo>
                <a:lnTo>
                  <a:pt x="536" y="236"/>
                </a:lnTo>
                <a:lnTo>
                  <a:pt x="550" y="238"/>
                </a:lnTo>
                <a:lnTo>
                  <a:pt x="550" y="238"/>
                </a:lnTo>
                <a:lnTo>
                  <a:pt x="568" y="238"/>
                </a:lnTo>
                <a:lnTo>
                  <a:pt x="582" y="236"/>
                </a:lnTo>
                <a:lnTo>
                  <a:pt x="582" y="236"/>
                </a:lnTo>
                <a:lnTo>
                  <a:pt x="668" y="236"/>
                </a:lnTo>
                <a:lnTo>
                  <a:pt x="758" y="234"/>
                </a:lnTo>
                <a:lnTo>
                  <a:pt x="758" y="234"/>
                </a:lnTo>
                <a:lnTo>
                  <a:pt x="802" y="234"/>
                </a:lnTo>
                <a:lnTo>
                  <a:pt x="848" y="234"/>
                </a:lnTo>
                <a:lnTo>
                  <a:pt x="848" y="234"/>
                </a:lnTo>
                <a:lnTo>
                  <a:pt x="892" y="236"/>
                </a:lnTo>
                <a:lnTo>
                  <a:pt x="920" y="236"/>
                </a:lnTo>
                <a:lnTo>
                  <a:pt x="932" y="234"/>
                </a:lnTo>
                <a:lnTo>
                  <a:pt x="932" y="234"/>
                </a:lnTo>
                <a:lnTo>
                  <a:pt x="922" y="232"/>
                </a:lnTo>
                <a:lnTo>
                  <a:pt x="912" y="232"/>
                </a:lnTo>
                <a:lnTo>
                  <a:pt x="912" y="232"/>
                </a:lnTo>
                <a:lnTo>
                  <a:pt x="906" y="232"/>
                </a:lnTo>
                <a:lnTo>
                  <a:pt x="898" y="232"/>
                </a:lnTo>
                <a:lnTo>
                  <a:pt x="898" y="232"/>
                </a:lnTo>
                <a:lnTo>
                  <a:pt x="880" y="230"/>
                </a:lnTo>
                <a:lnTo>
                  <a:pt x="880" y="230"/>
                </a:lnTo>
                <a:lnTo>
                  <a:pt x="868" y="232"/>
                </a:lnTo>
                <a:lnTo>
                  <a:pt x="868" y="232"/>
                </a:lnTo>
                <a:lnTo>
                  <a:pt x="860" y="230"/>
                </a:lnTo>
                <a:lnTo>
                  <a:pt x="860" y="230"/>
                </a:lnTo>
                <a:lnTo>
                  <a:pt x="858" y="230"/>
                </a:lnTo>
                <a:lnTo>
                  <a:pt x="858" y="230"/>
                </a:lnTo>
                <a:lnTo>
                  <a:pt x="856" y="232"/>
                </a:lnTo>
                <a:lnTo>
                  <a:pt x="856" y="232"/>
                </a:lnTo>
                <a:lnTo>
                  <a:pt x="856" y="232"/>
                </a:lnTo>
                <a:lnTo>
                  <a:pt x="854" y="230"/>
                </a:lnTo>
                <a:lnTo>
                  <a:pt x="854" y="228"/>
                </a:lnTo>
                <a:lnTo>
                  <a:pt x="854" y="228"/>
                </a:lnTo>
                <a:lnTo>
                  <a:pt x="856" y="228"/>
                </a:lnTo>
                <a:lnTo>
                  <a:pt x="864" y="226"/>
                </a:lnTo>
                <a:lnTo>
                  <a:pt x="886" y="226"/>
                </a:lnTo>
                <a:lnTo>
                  <a:pt x="920" y="228"/>
                </a:lnTo>
                <a:lnTo>
                  <a:pt x="920" y="228"/>
                </a:lnTo>
                <a:lnTo>
                  <a:pt x="930" y="226"/>
                </a:lnTo>
                <a:lnTo>
                  <a:pt x="930" y="226"/>
                </a:lnTo>
                <a:lnTo>
                  <a:pt x="946" y="226"/>
                </a:lnTo>
                <a:lnTo>
                  <a:pt x="946" y="226"/>
                </a:lnTo>
                <a:lnTo>
                  <a:pt x="968" y="228"/>
                </a:lnTo>
                <a:lnTo>
                  <a:pt x="992" y="226"/>
                </a:lnTo>
                <a:lnTo>
                  <a:pt x="992" y="226"/>
                </a:lnTo>
                <a:lnTo>
                  <a:pt x="1016" y="220"/>
                </a:lnTo>
                <a:lnTo>
                  <a:pt x="1030" y="214"/>
                </a:lnTo>
                <a:lnTo>
                  <a:pt x="1032" y="210"/>
                </a:lnTo>
                <a:lnTo>
                  <a:pt x="1032" y="208"/>
                </a:lnTo>
                <a:lnTo>
                  <a:pt x="1032" y="208"/>
                </a:lnTo>
                <a:lnTo>
                  <a:pt x="1022" y="208"/>
                </a:lnTo>
                <a:lnTo>
                  <a:pt x="1022" y="208"/>
                </a:lnTo>
                <a:lnTo>
                  <a:pt x="1028" y="188"/>
                </a:lnTo>
                <a:lnTo>
                  <a:pt x="1032" y="172"/>
                </a:lnTo>
                <a:lnTo>
                  <a:pt x="1032" y="172"/>
                </a:lnTo>
                <a:close/>
              </a:path>
            </a:pathLst>
          </a:custGeom>
          <a:gradFill>
            <a:gsLst>
              <a:gs pos="100000">
                <a:schemeClr val="accent1"/>
              </a:gs>
              <a:gs pos="0">
                <a:schemeClr val="accent2"/>
              </a:gs>
            </a:gsLst>
            <a:lin ang="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13" name="Content Placeholder 2"/>
          <p:cNvSpPr txBox="1">
            <a:spLocks/>
          </p:cNvSpPr>
          <p:nvPr/>
        </p:nvSpPr>
        <p:spPr>
          <a:xfrm>
            <a:off x="1215817" y="3814978"/>
            <a:ext cx="1882175" cy="405765"/>
          </a:xfrm>
          <a:prstGeom prst="rect">
            <a:avLst/>
          </a:prstGeom>
          <a:noFill/>
          <a:ln>
            <a:noFill/>
          </a:ln>
        </p:spPr>
        <p:txBody>
          <a:bodyPr anchor="ctr"/>
          <a:lstStyle>
            <a:defPPr>
              <a:defRPr lang="en-US"/>
            </a:defPPr>
            <a:lvl1pPr>
              <a:defRPr sz="2000" b="1">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ctr"/>
            <a:r>
              <a:rPr lang="en-US" sz="1600" dirty="0">
                <a:solidFill>
                  <a:schemeClr val="bg1"/>
                </a:solidFill>
                <a:latin typeface="+mn-lt"/>
                <a:ea typeface="Roboto" panose="02000000000000000000" pitchFamily="2" charset="0"/>
                <a:cs typeface="Open Sans" panose="020B0606030504020204" pitchFamily="34" charset="0"/>
              </a:rPr>
              <a:t>Subtitle Here</a:t>
            </a:r>
          </a:p>
        </p:txBody>
      </p:sp>
      <p:sp>
        <p:nvSpPr>
          <p:cNvPr id="20" name="Freeform 1259"/>
          <p:cNvSpPr>
            <a:spLocks/>
          </p:cNvSpPr>
          <p:nvPr/>
        </p:nvSpPr>
        <p:spPr bwMode="auto">
          <a:xfrm>
            <a:off x="6671655" y="3778296"/>
            <a:ext cx="2757514" cy="468694"/>
          </a:xfrm>
          <a:custGeom>
            <a:avLst/>
            <a:gdLst>
              <a:gd name="T0" fmla="*/ 970 w 1032"/>
              <a:gd name="T1" fmla="*/ 166 h 244"/>
              <a:gd name="T2" fmla="*/ 980 w 1032"/>
              <a:gd name="T3" fmla="*/ 154 h 244"/>
              <a:gd name="T4" fmla="*/ 988 w 1032"/>
              <a:gd name="T5" fmla="*/ 146 h 244"/>
              <a:gd name="T6" fmla="*/ 994 w 1032"/>
              <a:gd name="T7" fmla="*/ 134 h 244"/>
              <a:gd name="T8" fmla="*/ 1012 w 1032"/>
              <a:gd name="T9" fmla="*/ 128 h 244"/>
              <a:gd name="T10" fmla="*/ 960 w 1032"/>
              <a:gd name="T11" fmla="*/ 122 h 244"/>
              <a:gd name="T12" fmla="*/ 970 w 1032"/>
              <a:gd name="T13" fmla="*/ 120 h 244"/>
              <a:gd name="T14" fmla="*/ 952 w 1032"/>
              <a:gd name="T15" fmla="*/ 114 h 244"/>
              <a:gd name="T16" fmla="*/ 984 w 1032"/>
              <a:gd name="T17" fmla="*/ 102 h 244"/>
              <a:gd name="T18" fmla="*/ 968 w 1032"/>
              <a:gd name="T19" fmla="*/ 100 h 244"/>
              <a:gd name="T20" fmla="*/ 932 w 1032"/>
              <a:gd name="T21" fmla="*/ 94 h 244"/>
              <a:gd name="T22" fmla="*/ 950 w 1032"/>
              <a:gd name="T23" fmla="*/ 90 h 244"/>
              <a:gd name="T24" fmla="*/ 928 w 1032"/>
              <a:gd name="T25" fmla="*/ 86 h 244"/>
              <a:gd name="T26" fmla="*/ 920 w 1032"/>
              <a:gd name="T27" fmla="*/ 80 h 244"/>
              <a:gd name="T28" fmla="*/ 920 w 1032"/>
              <a:gd name="T29" fmla="*/ 74 h 244"/>
              <a:gd name="T30" fmla="*/ 922 w 1032"/>
              <a:gd name="T31" fmla="*/ 64 h 244"/>
              <a:gd name="T32" fmla="*/ 984 w 1032"/>
              <a:gd name="T33" fmla="*/ 56 h 244"/>
              <a:gd name="T34" fmla="*/ 996 w 1032"/>
              <a:gd name="T35" fmla="*/ 52 h 244"/>
              <a:gd name="T36" fmla="*/ 1026 w 1032"/>
              <a:gd name="T37" fmla="*/ 42 h 244"/>
              <a:gd name="T38" fmla="*/ 1000 w 1032"/>
              <a:gd name="T39" fmla="*/ 36 h 244"/>
              <a:gd name="T40" fmla="*/ 870 w 1032"/>
              <a:gd name="T41" fmla="*/ 22 h 244"/>
              <a:gd name="T42" fmla="*/ 588 w 1032"/>
              <a:gd name="T43" fmla="*/ 0 h 244"/>
              <a:gd name="T44" fmla="*/ 328 w 1032"/>
              <a:gd name="T45" fmla="*/ 2 h 244"/>
              <a:gd name="T46" fmla="*/ 88 w 1032"/>
              <a:gd name="T47" fmla="*/ 26 h 244"/>
              <a:gd name="T48" fmla="*/ 38 w 1032"/>
              <a:gd name="T49" fmla="*/ 48 h 244"/>
              <a:gd name="T50" fmla="*/ 54 w 1032"/>
              <a:gd name="T51" fmla="*/ 58 h 244"/>
              <a:gd name="T52" fmla="*/ 60 w 1032"/>
              <a:gd name="T53" fmla="*/ 80 h 244"/>
              <a:gd name="T54" fmla="*/ 48 w 1032"/>
              <a:gd name="T55" fmla="*/ 82 h 244"/>
              <a:gd name="T56" fmla="*/ 56 w 1032"/>
              <a:gd name="T57" fmla="*/ 86 h 244"/>
              <a:gd name="T58" fmla="*/ 74 w 1032"/>
              <a:gd name="T59" fmla="*/ 92 h 244"/>
              <a:gd name="T60" fmla="*/ 62 w 1032"/>
              <a:gd name="T61" fmla="*/ 96 h 244"/>
              <a:gd name="T62" fmla="*/ 72 w 1032"/>
              <a:gd name="T63" fmla="*/ 100 h 244"/>
              <a:gd name="T64" fmla="*/ 48 w 1032"/>
              <a:gd name="T65" fmla="*/ 108 h 244"/>
              <a:gd name="T66" fmla="*/ 34 w 1032"/>
              <a:gd name="T67" fmla="*/ 112 h 244"/>
              <a:gd name="T68" fmla="*/ 56 w 1032"/>
              <a:gd name="T69" fmla="*/ 124 h 244"/>
              <a:gd name="T70" fmla="*/ 56 w 1032"/>
              <a:gd name="T71" fmla="*/ 138 h 244"/>
              <a:gd name="T72" fmla="*/ 30 w 1032"/>
              <a:gd name="T73" fmla="*/ 144 h 244"/>
              <a:gd name="T74" fmla="*/ 0 w 1032"/>
              <a:gd name="T75" fmla="*/ 152 h 244"/>
              <a:gd name="T76" fmla="*/ 6 w 1032"/>
              <a:gd name="T77" fmla="*/ 164 h 244"/>
              <a:gd name="T78" fmla="*/ 14 w 1032"/>
              <a:gd name="T79" fmla="*/ 178 h 244"/>
              <a:gd name="T80" fmla="*/ 32 w 1032"/>
              <a:gd name="T81" fmla="*/ 200 h 244"/>
              <a:gd name="T82" fmla="*/ 56 w 1032"/>
              <a:gd name="T83" fmla="*/ 216 h 244"/>
              <a:gd name="T84" fmla="*/ 78 w 1032"/>
              <a:gd name="T85" fmla="*/ 232 h 244"/>
              <a:gd name="T86" fmla="*/ 118 w 1032"/>
              <a:gd name="T87" fmla="*/ 236 h 244"/>
              <a:gd name="T88" fmla="*/ 144 w 1032"/>
              <a:gd name="T89" fmla="*/ 238 h 244"/>
              <a:gd name="T90" fmla="*/ 168 w 1032"/>
              <a:gd name="T91" fmla="*/ 240 h 244"/>
              <a:gd name="T92" fmla="*/ 200 w 1032"/>
              <a:gd name="T93" fmla="*/ 242 h 244"/>
              <a:gd name="T94" fmla="*/ 246 w 1032"/>
              <a:gd name="T95" fmla="*/ 244 h 244"/>
              <a:gd name="T96" fmla="*/ 306 w 1032"/>
              <a:gd name="T97" fmla="*/ 238 h 244"/>
              <a:gd name="T98" fmla="*/ 362 w 1032"/>
              <a:gd name="T99" fmla="*/ 238 h 244"/>
              <a:gd name="T100" fmla="*/ 374 w 1032"/>
              <a:gd name="T101" fmla="*/ 238 h 244"/>
              <a:gd name="T102" fmla="*/ 522 w 1032"/>
              <a:gd name="T103" fmla="*/ 238 h 244"/>
              <a:gd name="T104" fmla="*/ 582 w 1032"/>
              <a:gd name="T105" fmla="*/ 236 h 244"/>
              <a:gd name="T106" fmla="*/ 848 w 1032"/>
              <a:gd name="T107" fmla="*/ 234 h 244"/>
              <a:gd name="T108" fmla="*/ 922 w 1032"/>
              <a:gd name="T109" fmla="*/ 232 h 244"/>
              <a:gd name="T110" fmla="*/ 880 w 1032"/>
              <a:gd name="T111" fmla="*/ 230 h 244"/>
              <a:gd name="T112" fmla="*/ 858 w 1032"/>
              <a:gd name="T113" fmla="*/ 230 h 244"/>
              <a:gd name="T114" fmla="*/ 854 w 1032"/>
              <a:gd name="T115" fmla="*/ 228 h 244"/>
              <a:gd name="T116" fmla="*/ 920 w 1032"/>
              <a:gd name="T117" fmla="*/ 228 h 244"/>
              <a:gd name="T118" fmla="*/ 992 w 1032"/>
              <a:gd name="T119" fmla="*/ 226 h 244"/>
              <a:gd name="T120" fmla="*/ 1032 w 1032"/>
              <a:gd name="T121" fmla="*/ 20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32" h="244">
                <a:moveTo>
                  <a:pt x="1032" y="172"/>
                </a:moveTo>
                <a:lnTo>
                  <a:pt x="1032" y="172"/>
                </a:lnTo>
                <a:lnTo>
                  <a:pt x="964" y="174"/>
                </a:lnTo>
                <a:lnTo>
                  <a:pt x="964" y="174"/>
                </a:lnTo>
                <a:lnTo>
                  <a:pt x="966" y="170"/>
                </a:lnTo>
                <a:lnTo>
                  <a:pt x="970" y="166"/>
                </a:lnTo>
                <a:lnTo>
                  <a:pt x="970" y="166"/>
                </a:lnTo>
                <a:lnTo>
                  <a:pt x="976" y="164"/>
                </a:lnTo>
                <a:lnTo>
                  <a:pt x="978" y="162"/>
                </a:lnTo>
                <a:lnTo>
                  <a:pt x="982" y="158"/>
                </a:lnTo>
                <a:lnTo>
                  <a:pt x="982" y="158"/>
                </a:lnTo>
                <a:lnTo>
                  <a:pt x="980" y="154"/>
                </a:lnTo>
                <a:lnTo>
                  <a:pt x="980" y="152"/>
                </a:lnTo>
                <a:lnTo>
                  <a:pt x="982" y="150"/>
                </a:lnTo>
                <a:lnTo>
                  <a:pt x="982" y="150"/>
                </a:lnTo>
                <a:lnTo>
                  <a:pt x="984" y="148"/>
                </a:lnTo>
                <a:lnTo>
                  <a:pt x="988" y="146"/>
                </a:lnTo>
                <a:lnTo>
                  <a:pt x="988" y="146"/>
                </a:lnTo>
                <a:lnTo>
                  <a:pt x="996" y="140"/>
                </a:lnTo>
                <a:lnTo>
                  <a:pt x="998" y="136"/>
                </a:lnTo>
                <a:lnTo>
                  <a:pt x="996" y="136"/>
                </a:lnTo>
                <a:lnTo>
                  <a:pt x="992" y="134"/>
                </a:lnTo>
                <a:lnTo>
                  <a:pt x="992" y="134"/>
                </a:lnTo>
                <a:lnTo>
                  <a:pt x="994" y="134"/>
                </a:lnTo>
                <a:lnTo>
                  <a:pt x="996" y="132"/>
                </a:lnTo>
                <a:lnTo>
                  <a:pt x="1002" y="132"/>
                </a:lnTo>
                <a:lnTo>
                  <a:pt x="1008" y="130"/>
                </a:lnTo>
                <a:lnTo>
                  <a:pt x="1010" y="130"/>
                </a:lnTo>
                <a:lnTo>
                  <a:pt x="1012" y="128"/>
                </a:lnTo>
                <a:lnTo>
                  <a:pt x="1012" y="128"/>
                </a:lnTo>
                <a:lnTo>
                  <a:pt x="1004" y="126"/>
                </a:lnTo>
                <a:lnTo>
                  <a:pt x="986" y="126"/>
                </a:lnTo>
                <a:lnTo>
                  <a:pt x="958" y="126"/>
                </a:lnTo>
                <a:lnTo>
                  <a:pt x="958" y="126"/>
                </a:lnTo>
                <a:lnTo>
                  <a:pt x="960" y="124"/>
                </a:lnTo>
                <a:lnTo>
                  <a:pt x="960" y="122"/>
                </a:lnTo>
                <a:lnTo>
                  <a:pt x="966" y="122"/>
                </a:lnTo>
                <a:lnTo>
                  <a:pt x="970" y="124"/>
                </a:lnTo>
                <a:lnTo>
                  <a:pt x="974" y="122"/>
                </a:lnTo>
                <a:lnTo>
                  <a:pt x="974" y="122"/>
                </a:lnTo>
                <a:lnTo>
                  <a:pt x="972" y="120"/>
                </a:lnTo>
                <a:lnTo>
                  <a:pt x="970" y="120"/>
                </a:lnTo>
                <a:lnTo>
                  <a:pt x="964" y="120"/>
                </a:lnTo>
                <a:lnTo>
                  <a:pt x="956" y="118"/>
                </a:lnTo>
                <a:lnTo>
                  <a:pt x="952" y="118"/>
                </a:lnTo>
                <a:lnTo>
                  <a:pt x="952" y="118"/>
                </a:lnTo>
                <a:lnTo>
                  <a:pt x="954" y="114"/>
                </a:lnTo>
                <a:lnTo>
                  <a:pt x="952" y="114"/>
                </a:lnTo>
                <a:lnTo>
                  <a:pt x="950" y="112"/>
                </a:lnTo>
                <a:lnTo>
                  <a:pt x="950" y="112"/>
                </a:lnTo>
                <a:lnTo>
                  <a:pt x="956" y="108"/>
                </a:lnTo>
                <a:lnTo>
                  <a:pt x="960" y="106"/>
                </a:lnTo>
                <a:lnTo>
                  <a:pt x="972" y="104"/>
                </a:lnTo>
                <a:lnTo>
                  <a:pt x="984" y="102"/>
                </a:lnTo>
                <a:lnTo>
                  <a:pt x="994" y="98"/>
                </a:lnTo>
                <a:lnTo>
                  <a:pt x="994" y="98"/>
                </a:lnTo>
                <a:lnTo>
                  <a:pt x="990" y="96"/>
                </a:lnTo>
                <a:lnTo>
                  <a:pt x="982" y="96"/>
                </a:lnTo>
                <a:lnTo>
                  <a:pt x="968" y="100"/>
                </a:lnTo>
                <a:lnTo>
                  <a:pt x="968" y="100"/>
                </a:lnTo>
                <a:lnTo>
                  <a:pt x="946" y="100"/>
                </a:lnTo>
                <a:lnTo>
                  <a:pt x="936" y="100"/>
                </a:lnTo>
                <a:lnTo>
                  <a:pt x="930" y="98"/>
                </a:lnTo>
                <a:lnTo>
                  <a:pt x="928" y="96"/>
                </a:lnTo>
                <a:lnTo>
                  <a:pt x="928" y="96"/>
                </a:lnTo>
                <a:lnTo>
                  <a:pt x="932" y="94"/>
                </a:lnTo>
                <a:lnTo>
                  <a:pt x="942" y="94"/>
                </a:lnTo>
                <a:lnTo>
                  <a:pt x="950" y="92"/>
                </a:lnTo>
                <a:lnTo>
                  <a:pt x="952" y="92"/>
                </a:lnTo>
                <a:lnTo>
                  <a:pt x="952" y="92"/>
                </a:lnTo>
                <a:lnTo>
                  <a:pt x="952" y="90"/>
                </a:lnTo>
                <a:lnTo>
                  <a:pt x="950" y="90"/>
                </a:lnTo>
                <a:lnTo>
                  <a:pt x="940" y="90"/>
                </a:lnTo>
                <a:lnTo>
                  <a:pt x="930" y="90"/>
                </a:lnTo>
                <a:lnTo>
                  <a:pt x="928" y="88"/>
                </a:lnTo>
                <a:lnTo>
                  <a:pt x="926" y="86"/>
                </a:lnTo>
                <a:lnTo>
                  <a:pt x="926" y="86"/>
                </a:lnTo>
                <a:lnTo>
                  <a:pt x="928" y="86"/>
                </a:lnTo>
                <a:lnTo>
                  <a:pt x="928" y="84"/>
                </a:lnTo>
                <a:lnTo>
                  <a:pt x="928" y="80"/>
                </a:lnTo>
                <a:lnTo>
                  <a:pt x="928" y="80"/>
                </a:lnTo>
                <a:lnTo>
                  <a:pt x="928" y="82"/>
                </a:lnTo>
                <a:lnTo>
                  <a:pt x="924" y="82"/>
                </a:lnTo>
                <a:lnTo>
                  <a:pt x="920" y="80"/>
                </a:lnTo>
                <a:lnTo>
                  <a:pt x="918" y="78"/>
                </a:lnTo>
                <a:lnTo>
                  <a:pt x="918" y="78"/>
                </a:lnTo>
                <a:lnTo>
                  <a:pt x="920" y="78"/>
                </a:lnTo>
                <a:lnTo>
                  <a:pt x="922" y="76"/>
                </a:lnTo>
                <a:lnTo>
                  <a:pt x="922" y="76"/>
                </a:lnTo>
                <a:lnTo>
                  <a:pt x="920" y="74"/>
                </a:lnTo>
                <a:lnTo>
                  <a:pt x="914" y="74"/>
                </a:lnTo>
                <a:lnTo>
                  <a:pt x="904" y="72"/>
                </a:lnTo>
                <a:lnTo>
                  <a:pt x="904" y="72"/>
                </a:lnTo>
                <a:lnTo>
                  <a:pt x="906" y="70"/>
                </a:lnTo>
                <a:lnTo>
                  <a:pt x="910" y="68"/>
                </a:lnTo>
                <a:lnTo>
                  <a:pt x="922" y="64"/>
                </a:lnTo>
                <a:lnTo>
                  <a:pt x="942" y="60"/>
                </a:lnTo>
                <a:lnTo>
                  <a:pt x="942" y="60"/>
                </a:lnTo>
                <a:lnTo>
                  <a:pt x="970" y="56"/>
                </a:lnTo>
                <a:lnTo>
                  <a:pt x="970" y="56"/>
                </a:lnTo>
                <a:lnTo>
                  <a:pt x="984" y="56"/>
                </a:lnTo>
                <a:lnTo>
                  <a:pt x="984" y="56"/>
                </a:lnTo>
                <a:lnTo>
                  <a:pt x="990" y="56"/>
                </a:lnTo>
                <a:lnTo>
                  <a:pt x="998" y="54"/>
                </a:lnTo>
                <a:lnTo>
                  <a:pt x="998" y="54"/>
                </a:lnTo>
                <a:lnTo>
                  <a:pt x="998" y="54"/>
                </a:lnTo>
                <a:lnTo>
                  <a:pt x="998" y="52"/>
                </a:lnTo>
                <a:lnTo>
                  <a:pt x="996" y="52"/>
                </a:lnTo>
                <a:lnTo>
                  <a:pt x="996" y="52"/>
                </a:lnTo>
                <a:lnTo>
                  <a:pt x="1002" y="46"/>
                </a:lnTo>
                <a:lnTo>
                  <a:pt x="1010" y="42"/>
                </a:lnTo>
                <a:lnTo>
                  <a:pt x="1010" y="42"/>
                </a:lnTo>
                <a:lnTo>
                  <a:pt x="1022" y="42"/>
                </a:lnTo>
                <a:lnTo>
                  <a:pt x="1026" y="42"/>
                </a:lnTo>
                <a:lnTo>
                  <a:pt x="1032" y="40"/>
                </a:lnTo>
                <a:lnTo>
                  <a:pt x="1032" y="40"/>
                </a:lnTo>
                <a:lnTo>
                  <a:pt x="1026" y="38"/>
                </a:lnTo>
                <a:lnTo>
                  <a:pt x="1016" y="36"/>
                </a:lnTo>
                <a:lnTo>
                  <a:pt x="1000" y="36"/>
                </a:lnTo>
                <a:lnTo>
                  <a:pt x="1000" y="36"/>
                </a:lnTo>
                <a:lnTo>
                  <a:pt x="970" y="36"/>
                </a:lnTo>
                <a:lnTo>
                  <a:pt x="970" y="36"/>
                </a:lnTo>
                <a:lnTo>
                  <a:pt x="944" y="32"/>
                </a:lnTo>
                <a:lnTo>
                  <a:pt x="916" y="30"/>
                </a:lnTo>
                <a:lnTo>
                  <a:pt x="916" y="30"/>
                </a:lnTo>
                <a:lnTo>
                  <a:pt x="870" y="22"/>
                </a:lnTo>
                <a:lnTo>
                  <a:pt x="822" y="16"/>
                </a:lnTo>
                <a:lnTo>
                  <a:pt x="822" y="16"/>
                </a:lnTo>
                <a:lnTo>
                  <a:pt x="714" y="8"/>
                </a:lnTo>
                <a:lnTo>
                  <a:pt x="714" y="8"/>
                </a:lnTo>
                <a:lnTo>
                  <a:pt x="650" y="2"/>
                </a:lnTo>
                <a:lnTo>
                  <a:pt x="588" y="0"/>
                </a:lnTo>
                <a:lnTo>
                  <a:pt x="588" y="0"/>
                </a:lnTo>
                <a:lnTo>
                  <a:pt x="500" y="0"/>
                </a:lnTo>
                <a:lnTo>
                  <a:pt x="416" y="2"/>
                </a:lnTo>
                <a:lnTo>
                  <a:pt x="416" y="2"/>
                </a:lnTo>
                <a:lnTo>
                  <a:pt x="358" y="2"/>
                </a:lnTo>
                <a:lnTo>
                  <a:pt x="328" y="2"/>
                </a:lnTo>
                <a:lnTo>
                  <a:pt x="300" y="6"/>
                </a:lnTo>
                <a:lnTo>
                  <a:pt x="300" y="6"/>
                </a:lnTo>
                <a:lnTo>
                  <a:pt x="248" y="10"/>
                </a:lnTo>
                <a:lnTo>
                  <a:pt x="194" y="14"/>
                </a:lnTo>
                <a:lnTo>
                  <a:pt x="140" y="18"/>
                </a:lnTo>
                <a:lnTo>
                  <a:pt x="88" y="26"/>
                </a:lnTo>
                <a:lnTo>
                  <a:pt x="88" y="26"/>
                </a:lnTo>
                <a:lnTo>
                  <a:pt x="72" y="28"/>
                </a:lnTo>
                <a:lnTo>
                  <a:pt x="52" y="36"/>
                </a:lnTo>
                <a:lnTo>
                  <a:pt x="44" y="40"/>
                </a:lnTo>
                <a:lnTo>
                  <a:pt x="38" y="44"/>
                </a:lnTo>
                <a:lnTo>
                  <a:pt x="38" y="48"/>
                </a:lnTo>
                <a:lnTo>
                  <a:pt x="38" y="50"/>
                </a:lnTo>
                <a:lnTo>
                  <a:pt x="38" y="52"/>
                </a:lnTo>
                <a:lnTo>
                  <a:pt x="42" y="56"/>
                </a:lnTo>
                <a:lnTo>
                  <a:pt x="42" y="56"/>
                </a:lnTo>
                <a:lnTo>
                  <a:pt x="48" y="58"/>
                </a:lnTo>
                <a:lnTo>
                  <a:pt x="54" y="58"/>
                </a:lnTo>
                <a:lnTo>
                  <a:pt x="54" y="58"/>
                </a:lnTo>
                <a:lnTo>
                  <a:pt x="58" y="66"/>
                </a:lnTo>
                <a:lnTo>
                  <a:pt x="60" y="72"/>
                </a:lnTo>
                <a:lnTo>
                  <a:pt x="60" y="72"/>
                </a:lnTo>
                <a:lnTo>
                  <a:pt x="62" y="76"/>
                </a:lnTo>
                <a:lnTo>
                  <a:pt x="60" y="80"/>
                </a:lnTo>
                <a:lnTo>
                  <a:pt x="60" y="80"/>
                </a:lnTo>
                <a:lnTo>
                  <a:pt x="54" y="80"/>
                </a:lnTo>
                <a:lnTo>
                  <a:pt x="48" y="80"/>
                </a:lnTo>
                <a:lnTo>
                  <a:pt x="48" y="80"/>
                </a:lnTo>
                <a:lnTo>
                  <a:pt x="48" y="82"/>
                </a:lnTo>
                <a:lnTo>
                  <a:pt x="48" y="82"/>
                </a:lnTo>
                <a:lnTo>
                  <a:pt x="54" y="84"/>
                </a:lnTo>
                <a:lnTo>
                  <a:pt x="62" y="82"/>
                </a:lnTo>
                <a:lnTo>
                  <a:pt x="62" y="82"/>
                </a:lnTo>
                <a:lnTo>
                  <a:pt x="62" y="84"/>
                </a:lnTo>
                <a:lnTo>
                  <a:pt x="60" y="86"/>
                </a:lnTo>
                <a:lnTo>
                  <a:pt x="56" y="86"/>
                </a:lnTo>
                <a:lnTo>
                  <a:pt x="50" y="86"/>
                </a:lnTo>
                <a:lnTo>
                  <a:pt x="46" y="88"/>
                </a:lnTo>
                <a:lnTo>
                  <a:pt x="46" y="88"/>
                </a:lnTo>
                <a:lnTo>
                  <a:pt x="62" y="88"/>
                </a:lnTo>
                <a:lnTo>
                  <a:pt x="72" y="90"/>
                </a:lnTo>
                <a:lnTo>
                  <a:pt x="74" y="92"/>
                </a:lnTo>
                <a:lnTo>
                  <a:pt x="76" y="94"/>
                </a:lnTo>
                <a:lnTo>
                  <a:pt x="76" y="94"/>
                </a:lnTo>
                <a:lnTo>
                  <a:pt x="74" y="96"/>
                </a:lnTo>
                <a:lnTo>
                  <a:pt x="72" y="96"/>
                </a:lnTo>
                <a:lnTo>
                  <a:pt x="66" y="96"/>
                </a:lnTo>
                <a:lnTo>
                  <a:pt x="62" y="96"/>
                </a:lnTo>
                <a:lnTo>
                  <a:pt x="58" y="96"/>
                </a:lnTo>
                <a:lnTo>
                  <a:pt x="58" y="98"/>
                </a:lnTo>
                <a:lnTo>
                  <a:pt x="58" y="98"/>
                </a:lnTo>
                <a:lnTo>
                  <a:pt x="64" y="98"/>
                </a:lnTo>
                <a:lnTo>
                  <a:pt x="72" y="100"/>
                </a:lnTo>
                <a:lnTo>
                  <a:pt x="72" y="100"/>
                </a:lnTo>
                <a:lnTo>
                  <a:pt x="58" y="102"/>
                </a:lnTo>
                <a:lnTo>
                  <a:pt x="42" y="102"/>
                </a:lnTo>
                <a:lnTo>
                  <a:pt x="42" y="102"/>
                </a:lnTo>
                <a:lnTo>
                  <a:pt x="44" y="104"/>
                </a:lnTo>
                <a:lnTo>
                  <a:pt x="46" y="104"/>
                </a:lnTo>
                <a:lnTo>
                  <a:pt x="48" y="108"/>
                </a:lnTo>
                <a:lnTo>
                  <a:pt x="48" y="108"/>
                </a:lnTo>
                <a:lnTo>
                  <a:pt x="48" y="110"/>
                </a:lnTo>
                <a:lnTo>
                  <a:pt x="46" y="110"/>
                </a:lnTo>
                <a:lnTo>
                  <a:pt x="38" y="110"/>
                </a:lnTo>
                <a:lnTo>
                  <a:pt x="34" y="110"/>
                </a:lnTo>
                <a:lnTo>
                  <a:pt x="34" y="112"/>
                </a:lnTo>
                <a:lnTo>
                  <a:pt x="34" y="116"/>
                </a:lnTo>
                <a:lnTo>
                  <a:pt x="34" y="116"/>
                </a:lnTo>
                <a:lnTo>
                  <a:pt x="38" y="120"/>
                </a:lnTo>
                <a:lnTo>
                  <a:pt x="44" y="122"/>
                </a:lnTo>
                <a:lnTo>
                  <a:pt x="50" y="122"/>
                </a:lnTo>
                <a:lnTo>
                  <a:pt x="56" y="124"/>
                </a:lnTo>
                <a:lnTo>
                  <a:pt x="56" y="124"/>
                </a:lnTo>
                <a:lnTo>
                  <a:pt x="52" y="128"/>
                </a:lnTo>
                <a:lnTo>
                  <a:pt x="52" y="134"/>
                </a:lnTo>
                <a:lnTo>
                  <a:pt x="52" y="134"/>
                </a:lnTo>
                <a:lnTo>
                  <a:pt x="54" y="136"/>
                </a:lnTo>
                <a:lnTo>
                  <a:pt x="56" y="138"/>
                </a:lnTo>
                <a:lnTo>
                  <a:pt x="56" y="138"/>
                </a:lnTo>
                <a:lnTo>
                  <a:pt x="54" y="142"/>
                </a:lnTo>
                <a:lnTo>
                  <a:pt x="54" y="142"/>
                </a:lnTo>
                <a:lnTo>
                  <a:pt x="48" y="144"/>
                </a:lnTo>
                <a:lnTo>
                  <a:pt x="42" y="144"/>
                </a:lnTo>
                <a:lnTo>
                  <a:pt x="30" y="144"/>
                </a:lnTo>
                <a:lnTo>
                  <a:pt x="30" y="144"/>
                </a:lnTo>
                <a:lnTo>
                  <a:pt x="16" y="144"/>
                </a:lnTo>
                <a:lnTo>
                  <a:pt x="10" y="144"/>
                </a:lnTo>
                <a:lnTo>
                  <a:pt x="4" y="148"/>
                </a:lnTo>
                <a:lnTo>
                  <a:pt x="4" y="148"/>
                </a:lnTo>
                <a:lnTo>
                  <a:pt x="0" y="152"/>
                </a:lnTo>
                <a:lnTo>
                  <a:pt x="0" y="152"/>
                </a:lnTo>
                <a:lnTo>
                  <a:pt x="0" y="158"/>
                </a:lnTo>
                <a:lnTo>
                  <a:pt x="0" y="164"/>
                </a:lnTo>
                <a:lnTo>
                  <a:pt x="0" y="164"/>
                </a:lnTo>
                <a:lnTo>
                  <a:pt x="4" y="164"/>
                </a:lnTo>
                <a:lnTo>
                  <a:pt x="6" y="164"/>
                </a:lnTo>
                <a:lnTo>
                  <a:pt x="12" y="164"/>
                </a:lnTo>
                <a:lnTo>
                  <a:pt x="12" y="164"/>
                </a:lnTo>
                <a:lnTo>
                  <a:pt x="14" y="168"/>
                </a:lnTo>
                <a:lnTo>
                  <a:pt x="14" y="172"/>
                </a:lnTo>
                <a:lnTo>
                  <a:pt x="14" y="174"/>
                </a:lnTo>
                <a:lnTo>
                  <a:pt x="14" y="178"/>
                </a:lnTo>
                <a:lnTo>
                  <a:pt x="14" y="178"/>
                </a:lnTo>
                <a:lnTo>
                  <a:pt x="24" y="190"/>
                </a:lnTo>
                <a:lnTo>
                  <a:pt x="24" y="190"/>
                </a:lnTo>
                <a:lnTo>
                  <a:pt x="30" y="196"/>
                </a:lnTo>
                <a:lnTo>
                  <a:pt x="30" y="196"/>
                </a:lnTo>
                <a:lnTo>
                  <a:pt x="32" y="200"/>
                </a:lnTo>
                <a:lnTo>
                  <a:pt x="36" y="206"/>
                </a:lnTo>
                <a:lnTo>
                  <a:pt x="36" y="206"/>
                </a:lnTo>
                <a:lnTo>
                  <a:pt x="40" y="208"/>
                </a:lnTo>
                <a:lnTo>
                  <a:pt x="46" y="210"/>
                </a:lnTo>
                <a:lnTo>
                  <a:pt x="56" y="216"/>
                </a:lnTo>
                <a:lnTo>
                  <a:pt x="56" y="216"/>
                </a:lnTo>
                <a:lnTo>
                  <a:pt x="66" y="226"/>
                </a:lnTo>
                <a:lnTo>
                  <a:pt x="66" y="226"/>
                </a:lnTo>
                <a:lnTo>
                  <a:pt x="70" y="228"/>
                </a:lnTo>
                <a:lnTo>
                  <a:pt x="70" y="230"/>
                </a:lnTo>
                <a:lnTo>
                  <a:pt x="78" y="232"/>
                </a:lnTo>
                <a:lnTo>
                  <a:pt x="78" y="232"/>
                </a:lnTo>
                <a:lnTo>
                  <a:pt x="80" y="228"/>
                </a:lnTo>
                <a:lnTo>
                  <a:pt x="80" y="228"/>
                </a:lnTo>
                <a:lnTo>
                  <a:pt x="114" y="236"/>
                </a:lnTo>
                <a:lnTo>
                  <a:pt x="114" y="236"/>
                </a:lnTo>
                <a:lnTo>
                  <a:pt x="116" y="236"/>
                </a:lnTo>
                <a:lnTo>
                  <a:pt x="118" y="236"/>
                </a:lnTo>
                <a:lnTo>
                  <a:pt x="120" y="234"/>
                </a:lnTo>
                <a:lnTo>
                  <a:pt x="120" y="234"/>
                </a:lnTo>
                <a:lnTo>
                  <a:pt x="130" y="234"/>
                </a:lnTo>
                <a:lnTo>
                  <a:pt x="140" y="238"/>
                </a:lnTo>
                <a:lnTo>
                  <a:pt x="140" y="238"/>
                </a:lnTo>
                <a:lnTo>
                  <a:pt x="144" y="238"/>
                </a:lnTo>
                <a:lnTo>
                  <a:pt x="150" y="238"/>
                </a:lnTo>
                <a:lnTo>
                  <a:pt x="150" y="238"/>
                </a:lnTo>
                <a:lnTo>
                  <a:pt x="154" y="238"/>
                </a:lnTo>
                <a:lnTo>
                  <a:pt x="158" y="238"/>
                </a:lnTo>
                <a:lnTo>
                  <a:pt x="168" y="240"/>
                </a:lnTo>
                <a:lnTo>
                  <a:pt x="168" y="240"/>
                </a:lnTo>
                <a:lnTo>
                  <a:pt x="184" y="242"/>
                </a:lnTo>
                <a:lnTo>
                  <a:pt x="194" y="242"/>
                </a:lnTo>
                <a:lnTo>
                  <a:pt x="200" y="240"/>
                </a:lnTo>
                <a:lnTo>
                  <a:pt x="200" y="240"/>
                </a:lnTo>
                <a:lnTo>
                  <a:pt x="198" y="242"/>
                </a:lnTo>
                <a:lnTo>
                  <a:pt x="200" y="242"/>
                </a:lnTo>
                <a:lnTo>
                  <a:pt x="206" y="244"/>
                </a:lnTo>
                <a:lnTo>
                  <a:pt x="218" y="242"/>
                </a:lnTo>
                <a:lnTo>
                  <a:pt x="218" y="242"/>
                </a:lnTo>
                <a:lnTo>
                  <a:pt x="234" y="242"/>
                </a:lnTo>
                <a:lnTo>
                  <a:pt x="242" y="242"/>
                </a:lnTo>
                <a:lnTo>
                  <a:pt x="246" y="244"/>
                </a:lnTo>
                <a:lnTo>
                  <a:pt x="246" y="244"/>
                </a:lnTo>
                <a:lnTo>
                  <a:pt x="252" y="242"/>
                </a:lnTo>
                <a:lnTo>
                  <a:pt x="262" y="240"/>
                </a:lnTo>
                <a:lnTo>
                  <a:pt x="280" y="238"/>
                </a:lnTo>
                <a:lnTo>
                  <a:pt x="280" y="238"/>
                </a:lnTo>
                <a:lnTo>
                  <a:pt x="306" y="238"/>
                </a:lnTo>
                <a:lnTo>
                  <a:pt x="306" y="238"/>
                </a:lnTo>
                <a:lnTo>
                  <a:pt x="324" y="236"/>
                </a:lnTo>
                <a:lnTo>
                  <a:pt x="340" y="238"/>
                </a:lnTo>
                <a:lnTo>
                  <a:pt x="340" y="238"/>
                </a:lnTo>
                <a:lnTo>
                  <a:pt x="354" y="240"/>
                </a:lnTo>
                <a:lnTo>
                  <a:pt x="362" y="238"/>
                </a:lnTo>
                <a:lnTo>
                  <a:pt x="366" y="238"/>
                </a:lnTo>
                <a:lnTo>
                  <a:pt x="366" y="238"/>
                </a:lnTo>
                <a:lnTo>
                  <a:pt x="370" y="236"/>
                </a:lnTo>
                <a:lnTo>
                  <a:pt x="370" y="236"/>
                </a:lnTo>
                <a:lnTo>
                  <a:pt x="374" y="238"/>
                </a:lnTo>
                <a:lnTo>
                  <a:pt x="374" y="238"/>
                </a:lnTo>
                <a:lnTo>
                  <a:pt x="382" y="238"/>
                </a:lnTo>
                <a:lnTo>
                  <a:pt x="390" y="238"/>
                </a:lnTo>
                <a:lnTo>
                  <a:pt x="390" y="238"/>
                </a:lnTo>
                <a:lnTo>
                  <a:pt x="450" y="236"/>
                </a:lnTo>
                <a:lnTo>
                  <a:pt x="450" y="236"/>
                </a:lnTo>
                <a:lnTo>
                  <a:pt x="522" y="238"/>
                </a:lnTo>
                <a:lnTo>
                  <a:pt x="522" y="238"/>
                </a:lnTo>
                <a:lnTo>
                  <a:pt x="536" y="236"/>
                </a:lnTo>
                <a:lnTo>
                  <a:pt x="550" y="238"/>
                </a:lnTo>
                <a:lnTo>
                  <a:pt x="550" y="238"/>
                </a:lnTo>
                <a:lnTo>
                  <a:pt x="568" y="238"/>
                </a:lnTo>
                <a:lnTo>
                  <a:pt x="582" y="236"/>
                </a:lnTo>
                <a:lnTo>
                  <a:pt x="582" y="236"/>
                </a:lnTo>
                <a:lnTo>
                  <a:pt x="668" y="236"/>
                </a:lnTo>
                <a:lnTo>
                  <a:pt x="758" y="234"/>
                </a:lnTo>
                <a:lnTo>
                  <a:pt x="758" y="234"/>
                </a:lnTo>
                <a:lnTo>
                  <a:pt x="802" y="234"/>
                </a:lnTo>
                <a:lnTo>
                  <a:pt x="848" y="234"/>
                </a:lnTo>
                <a:lnTo>
                  <a:pt x="848" y="234"/>
                </a:lnTo>
                <a:lnTo>
                  <a:pt x="892" y="236"/>
                </a:lnTo>
                <a:lnTo>
                  <a:pt x="920" y="236"/>
                </a:lnTo>
                <a:lnTo>
                  <a:pt x="932" y="234"/>
                </a:lnTo>
                <a:lnTo>
                  <a:pt x="932" y="234"/>
                </a:lnTo>
                <a:lnTo>
                  <a:pt x="922" y="232"/>
                </a:lnTo>
                <a:lnTo>
                  <a:pt x="912" y="232"/>
                </a:lnTo>
                <a:lnTo>
                  <a:pt x="912" y="232"/>
                </a:lnTo>
                <a:lnTo>
                  <a:pt x="906" y="232"/>
                </a:lnTo>
                <a:lnTo>
                  <a:pt x="898" y="232"/>
                </a:lnTo>
                <a:lnTo>
                  <a:pt x="898" y="232"/>
                </a:lnTo>
                <a:lnTo>
                  <a:pt x="880" y="230"/>
                </a:lnTo>
                <a:lnTo>
                  <a:pt x="880" y="230"/>
                </a:lnTo>
                <a:lnTo>
                  <a:pt x="868" y="232"/>
                </a:lnTo>
                <a:lnTo>
                  <a:pt x="868" y="232"/>
                </a:lnTo>
                <a:lnTo>
                  <a:pt x="860" y="230"/>
                </a:lnTo>
                <a:lnTo>
                  <a:pt x="860" y="230"/>
                </a:lnTo>
                <a:lnTo>
                  <a:pt x="858" y="230"/>
                </a:lnTo>
                <a:lnTo>
                  <a:pt x="858" y="230"/>
                </a:lnTo>
                <a:lnTo>
                  <a:pt x="856" y="232"/>
                </a:lnTo>
                <a:lnTo>
                  <a:pt x="856" y="232"/>
                </a:lnTo>
                <a:lnTo>
                  <a:pt x="856" y="232"/>
                </a:lnTo>
                <a:lnTo>
                  <a:pt x="854" y="230"/>
                </a:lnTo>
                <a:lnTo>
                  <a:pt x="854" y="228"/>
                </a:lnTo>
                <a:lnTo>
                  <a:pt x="854" y="228"/>
                </a:lnTo>
                <a:lnTo>
                  <a:pt x="856" y="228"/>
                </a:lnTo>
                <a:lnTo>
                  <a:pt x="864" y="226"/>
                </a:lnTo>
                <a:lnTo>
                  <a:pt x="886" y="226"/>
                </a:lnTo>
                <a:lnTo>
                  <a:pt x="920" y="228"/>
                </a:lnTo>
                <a:lnTo>
                  <a:pt x="920" y="228"/>
                </a:lnTo>
                <a:lnTo>
                  <a:pt x="930" y="226"/>
                </a:lnTo>
                <a:lnTo>
                  <a:pt x="930" y="226"/>
                </a:lnTo>
                <a:lnTo>
                  <a:pt x="946" y="226"/>
                </a:lnTo>
                <a:lnTo>
                  <a:pt x="946" y="226"/>
                </a:lnTo>
                <a:lnTo>
                  <a:pt x="968" y="228"/>
                </a:lnTo>
                <a:lnTo>
                  <a:pt x="992" y="226"/>
                </a:lnTo>
                <a:lnTo>
                  <a:pt x="992" y="226"/>
                </a:lnTo>
                <a:lnTo>
                  <a:pt x="1016" y="220"/>
                </a:lnTo>
                <a:lnTo>
                  <a:pt x="1030" y="214"/>
                </a:lnTo>
                <a:lnTo>
                  <a:pt x="1032" y="210"/>
                </a:lnTo>
                <a:lnTo>
                  <a:pt x="1032" y="208"/>
                </a:lnTo>
                <a:lnTo>
                  <a:pt x="1032" y="208"/>
                </a:lnTo>
                <a:lnTo>
                  <a:pt x="1022" y="208"/>
                </a:lnTo>
                <a:lnTo>
                  <a:pt x="1022" y="208"/>
                </a:lnTo>
                <a:lnTo>
                  <a:pt x="1028" y="188"/>
                </a:lnTo>
                <a:lnTo>
                  <a:pt x="1032" y="172"/>
                </a:lnTo>
                <a:lnTo>
                  <a:pt x="1032" y="172"/>
                </a:lnTo>
                <a:close/>
              </a:path>
            </a:pathLst>
          </a:custGeom>
          <a:gradFill>
            <a:gsLst>
              <a:gs pos="100000">
                <a:schemeClr val="accent1"/>
              </a:gs>
              <a:gs pos="0">
                <a:schemeClr val="accent2"/>
              </a:gs>
            </a:gsLst>
            <a:lin ang="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21" name="Content Placeholder 2"/>
          <p:cNvSpPr txBox="1">
            <a:spLocks/>
          </p:cNvSpPr>
          <p:nvPr/>
        </p:nvSpPr>
        <p:spPr>
          <a:xfrm>
            <a:off x="6987386" y="3814978"/>
            <a:ext cx="1882175" cy="405765"/>
          </a:xfrm>
          <a:prstGeom prst="rect">
            <a:avLst/>
          </a:prstGeom>
          <a:noFill/>
          <a:ln>
            <a:noFill/>
          </a:ln>
        </p:spPr>
        <p:txBody>
          <a:bodyPr anchor="ctr"/>
          <a:lstStyle>
            <a:defPPr>
              <a:defRPr lang="en-US"/>
            </a:defPPr>
            <a:lvl1pPr>
              <a:defRPr sz="2000" b="1">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ctr"/>
            <a:r>
              <a:rPr lang="en-US" sz="1600" dirty="0">
                <a:solidFill>
                  <a:schemeClr val="bg1"/>
                </a:solidFill>
                <a:latin typeface="+mn-lt"/>
                <a:ea typeface="Roboto" panose="02000000000000000000" pitchFamily="2" charset="0"/>
                <a:cs typeface="Open Sans" panose="020B0606030504020204" pitchFamily="34" charset="0"/>
              </a:rPr>
              <a:t>Subtitle Here</a:t>
            </a:r>
          </a:p>
        </p:txBody>
      </p:sp>
    </p:spTree>
    <p:extLst>
      <p:ext uri="{BB962C8B-B14F-4D97-AF65-F5344CB8AC3E}">
        <p14:creationId xmlns:p14="http://schemas.microsoft.com/office/powerpoint/2010/main" val="2879277611"/>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82D374D6-97EB-4BF2-AA10-BA91A60A1EC9}"/>
              </a:ext>
            </a:extLst>
          </p:cNvPr>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t="7779" b="7779"/>
          <a:stretch>
            <a:fillRect/>
          </a:stretch>
        </p:blipFill>
        <p:spPr/>
      </p:pic>
      <p:sp>
        <p:nvSpPr>
          <p:cNvPr id="16" name="Freeform 15"/>
          <p:cNvSpPr/>
          <p:nvPr/>
        </p:nvSpPr>
        <p:spPr>
          <a:xfrm rot="5400000" flipH="1">
            <a:off x="3324222" y="-2009778"/>
            <a:ext cx="5543550" cy="12192006"/>
          </a:xfrm>
          <a:custGeom>
            <a:avLst/>
            <a:gdLst>
              <a:gd name="connsiteX0" fmla="*/ 5509437 w 5509442"/>
              <a:gd name="connsiteY0" fmla="*/ 11074428 h 12192006"/>
              <a:gd name="connsiteX1" fmla="*/ 5049745 w 5509442"/>
              <a:gd name="connsiteY1" fmla="*/ 9227023 h 12192006"/>
              <a:gd name="connsiteX2" fmla="*/ 5053540 w 5509442"/>
              <a:gd name="connsiteY2" fmla="*/ 9145449 h 12192006"/>
              <a:gd name="connsiteX3" fmla="*/ 5049745 w 5509442"/>
              <a:gd name="connsiteY3" fmla="*/ 9063876 h 12192006"/>
              <a:gd name="connsiteX4" fmla="*/ 5509437 w 5509442"/>
              <a:gd name="connsiteY4" fmla="*/ 7216469 h 12192006"/>
              <a:gd name="connsiteX5" fmla="*/ 5478868 w 5509442"/>
              <a:gd name="connsiteY5" fmla="*/ 6960465 h 12192006"/>
              <a:gd name="connsiteX6" fmla="*/ 4385199 w 5509442"/>
              <a:gd name="connsiteY6" fmla="*/ 4711488 h 12192006"/>
              <a:gd name="connsiteX7" fmla="*/ 5289581 w 5509442"/>
              <a:gd name="connsiteY7" fmla="*/ 2586826 h 12192006"/>
              <a:gd name="connsiteX8" fmla="*/ 5331349 w 5509442"/>
              <a:gd name="connsiteY8" fmla="*/ 2267348 h 12192006"/>
              <a:gd name="connsiteX9" fmla="*/ 5330736 w 5509442"/>
              <a:gd name="connsiteY9" fmla="*/ 2214581 h 12192006"/>
              <a:gd name="connsiteX10" fmla="*/ 5331349 w 5509442"/>
              <a:gd name="connsiteY10" fmla="*/ 2161812 h 12192006"/>
              <a:gd name="connsiteX11" fmla="*/ 5289581 w 5509442"/>
              <a:gd name="connsiteY11" fmla="*/ 1842336 h 12192006"/>
              <a:gd name="connsiteX12" fmla="*/ 4434451 w 5509442"/>
              <a:gd name="connsiteY12" fmla="*/ 101845 h 12192006"/>
              <a:gd name="connsiteX13" fmla="*/ 4410121 w 5509442"/>
              <a:gd name="connsiteY13" fmla="*/ 0 h 12192006"/>
              <a:gd name="connsiteX14" fmla="*/ 0 w 5509442"/>
              <a:gd name="connsiteY14" fmla="*/ 0 h 12192006"/>
              <a:gd name="connsiteX15" fmla="*/ 0 w 5509442"/>
              <a:gd name="connsiteY15" fmla="*/ 12192006 h 12192006"/>
              <a:gd name="connsiteX16" fmla="*/ 4290326 w 5509442"/>
              <a:gd name="connsiteY16" fmla="*/ 12192006 h 12192006"/>
              <a:gd name="connsiteX17" fmla="*/ 4290326 w 5509442"/>
              <a:gd name="connsiteY17" fmla="*/ 12192000 h 12192006"/>
              <a:gd name="connsiteX18" fmla="*/ 5058721 w 5509442"/>
              <a:gd name="connsiteY18" fmla="*/ 12192000 h 12192006"/>
              <a:gd name="connsiteX19" fmla="*/ 5225287 w 5509442"/>
              <a:gd name="connsiteY19" fmla="*/ 11920853 h 12192006"/>
              <a:gd name="connsiteX20" fmla="*/ 5478868 w 5509442"/>
              <a:gd name="connsiteY20" fmla="*/ 11330436 h 12192006"/>
              <a:gd name="connsiteX21" fmla="*/ 5509437 w 5509442"/>
              <a:gd name="connsiteY21" fmla="*/ 11074428 h 12192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09442" h="12192006">
                <a:moveTo>
                  <a:pt x="5509437" y="11074428"/>
                </a:moveTo>
                <a:cubicBezTo>
                  <a:pt x="5511191" y="10457702"/>
                  <a:pt x="5067423" y="9722389"/>
                  <a:pt x="5049745" y="9227023"/>
                </a:cubicBezTo>
                <a:lnTo>
                  <a:pt x="5053540" y="9145449"/>
                </a:lnTo>
                <a:lnTo>
                  <a:pt x="5049745" y="9063876"/>
                </a:lnTo>
                <a:cubicBezTo>
                  <a:pt x="5067422" y="8568508"/>
                  <a:pt x="5511190" y="7833195"/>
                  <a:pt x="5509437" y="7216469"/>
                </a:cubicBezTo>
                <a:cubicBezTo>
                  <a:pt x="5509187" y="7128367"/>
                  <a:pt x="5499844" y="7042682"/>
                  <a:pt x="5478868" y="6960465"/>
                </a:cubicBezTo>
                <a:cubicBezTo>
                  <a:pt x="5272334" y="6150930"/>
                  <a:pt x="4416747" y="5440426"/>
                  <a:pt x="4385199" y="4711488"/>
                </a:cubicBezTo>
                <a:cubicBezTo>
                  <a:pt x="4353651" y="3982547"/>
                  <a:pt x="5083047" y="3359488"/>
                  <a:pt x="5289581" y="2586826"/>
                </a:cubicBezTo>
                <a:cubicBezTo>
                  <a:pt x="5315398" y="2490242"/>
                  <a:pt x="5328193" y="2382605"/>
                  <a:pt x="5331349" y="2267348"/>
                </a:cubicBezTo>
                <a:lnTo>
                  <a:pt x="5330736" y="2214581"/>
                </a:lnTo>
                <a:lnTo>
                  <a:pt x="5331349" y="2161812"/>
                </a:lnTo>
                <a:cubicBezTo>
                  <a:pt x="5328193" y="2046556"/>
                  <a:pt x="5315398" y="1938918"/>
                  <a:pt x="5289581" y="1842336"/>
                </a:cubicBezTo>
                <a:cubicBezTo>
                  <a:pt x="5120158" y="1208511"/>
                  <a:pt x="4598896" y="675356"/>
                  <a:pt x="4434451" y="101845"/>
                </a:cubicBezTo>
                <a:lnTo>
                  <a:pt x="4410121" y="0"/>
                </a:lnTo>
                <a:lnTo>
                  <a:pt x="0" y="0"/>
                </a:lnTo>
                <a:lnTo>
                  <a:pt x="0" y="12192006"/>
                </a:lnTo>
                <a:lnTo>
                  <a:pt x="4290326" y="12192006"/>
                </a:lnTo>
                <a:lnTo>
                  <a:pt x="4290326" y="12192000"/>
                </a:lnTo>
                <a:lnTo>
                  <a:pt x="5058721" y="12192000"/>
                </a:lnTo>
                <a:lnTo>
                  <a:pt x="5225287" y="11920853"/>
                </a:lnTo>
                <a:cubicBezTo>
                  <a:pt x="5335036" y="11729012"/>
                  <a:pt x="5427235" y="11532818"/>
                  <a:pt x="5478868" y="11330436"/>
                </a:cubicBezTo>
                <a:cubicBezTo>
                  <a:pt x="5499844" y="11248216"/>
                  <a:pt x="5509187" y="11162533"/>
                  <a:pt x="5509437" y="11074428"/>
                </a:cubicBezTo>
                <a:close/>
              </a:path>
            </a:pathLst>
          </a:custGeom>
          <a:gradFill flip="none" rotWithShape="1">
            <a:gsLst>
              <a:gs pos="0">
                <a:schemeClr val="accent1">
                  <a:alpha val="90000"/>
                </a:schemeClr>
              </a:gs>
              <a:gs pos="100000">
                <a:schemeClr val="accent2">
                  <a:alpha val="9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1" dirty="0"/>
          </a:p>
        </p:txBody>
      </p:sp>
      <p:sp>
        <p:nvSpPr>
          <p:cNvPr id="5" name="Rectangle 4"/>
          <p:cNvSpPr/>
          <p:nvPr>
            <p:custDataLst>
              <p:tags r:id="rId1"/>
            </p:custDataLst>
          </p:nvPr>
        </p:nvSpPr>
        <p:spPr>
          <a:xfrm>
            <a:off x="406318" y="374147"/>
            <a:ext cx="9271000"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spc="-150" dirty="0">
                <a:solidFill>
                  <a:schemeClr val="tx1">
                    <a:lumMod val="85000"/>
                    <a:lumOff val="15000"/>
                  </a:schemeClr>
                </a:solidFill>
                <a:latin typeface="Montserrat" panose="00000500000000000000" pitchFamily="2" charset="0"/>
                <a:ea typeface="Source Sans Pro" panose="020B0503030403020204" pitchFamily="34" charset="0"/>
                <a:cs typeface="Open Sans Light" panose="020B0306030504020204" pitchFamily="34" charset="0"/>
              </a:rPr>
              <a:t>Only </a:t>
            </a:r>
            <a:r>
              <a:rPr lang="en-US" sz="3200" b="1" spc="-150" dirty="0">
                <a:solidFill>
                  <a:schemeClr val="tx1">
                    <a:lumMod val="85000"/>
                    <a:lumOff val="15000"/>
                  </a:schemeClr>
                </a:solidFill>
                <a:latin typeface="Montserrat" panose="00000500000000000000" pitchFamily="2" charset="0"/>
                <a:ea typeface="Source Sans Pro" panose="020B0503030403020204" pitchFamily="34" charset="0"/>
                <a:cs typeface="Open Sans Light" panose="020B0306030504020204" pitchFamily="34" charset="0"/>
              </a:rPr>
              <a:t>Minimalist</a:t>
            </a:r>
          </a:p>
        </p:txBody>
      </p:sp>
      <p:sp>
        <p:nvSpPr>
          <p:cNvPr id="6" name="Rectangle 5"/>
          <p:cNvSpPr/>
          <p:nvPr>
            <p:custDataLst>
              <p:tags r:id="rId2"/>
            </p:custDataLst>
          </p:nvPr>
        </p:nvSpPr>
        <p:spPr>
          <a:xfrm>
            <a:off x="465988" y="887770"/>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lumMod val="85000"/>
                    <a:lumOff val="15000"/>
                  </a:schemeClr>
                </a:solidFill>
                <a:ea typeface="Open Sans" panose="020B0606030504020204" pitchFamily="34" charset="0"/>
                <a:cs typeface="Open Sans" panose="020B0606030504020204" pitchFamily="34" charset="0"/>
              </a:rPr>
              <a:t>Put Your Great Subtitle Here</a:t>
            </a:r>
          </a:p>
        </p:txBody>
      </p:sp>
      <p:sp>
        <p:nvSpPr>
          <p:cNvPr id="20" name="Shape 18706"/>
          <p:cNvSpPr/>
          <p:nvPr/>
        </p:nvSpPr>
        <p:spPr>
          <a:xfrm>
            <a:off x="4469383" y="2850651"/>
            <a:ext cx="7034782" cy="3509051"/>
          </a:xfrm>
          <a:custGeom>
            <a:avLst/>
            <a:gdLst/>
            <a:ahLst/>
            <a:cxnLst>
              <a:cxn ang="0">
                <a:pos x="wd2" y="hd2"/>
              </a:cxn>
              <a:cxn ang="5400000">
                <a:pos x="wd2" y="hd2"/>
              </a:cxn>
              <a:cxn ang="10800000">
                <a:pos x="wd2" y="hd2"/>
              </a:cxn>
              <a:cxn ang="16200000">
                <a:pos x="wd2" y="hd2"/>
              </a:cxn>
            </a:cxnLst>
            <a:rect l="0" t="0" r="r" b="b"/>
            <a:pathLst>
              <a:path w="21597" h="21597" extrusionOk="0">
                <a:moveTo>
                  <a:pt x="8311" y="0"/>
                </a:moveTo>
                <a:cubicBezTo>
                  <a:pt x="8302" y="2"/>
                  <a:pt x="8292" y="8"/>
                  <a:pt x="8283" y="18"/>
                </a:cubicBezTo>
                <a:lnTo>
                  <a:pt x="7986" y="18"/>
                </a:lnTo>
                <a:cubicBezTo>
                  <a:pt x="7979" y="18"/>
                  <a:pt x="7973" y="18"/>
                  <a:pt x="7966" y="19"/>
                </a:cubicBezTo>
                <a:lnTo>
                  <a:pt x="7961" y="20"/>
                </a:lnTo>
                <a:cubicBezTo>
                  <a:pt x="7961" y="20"/>
                  <a:pt x="7961" y="21"/>
                  <a:pt x="7960" y="21"/>
                </a:cubicBezTo>
                <a:cubicBezTo>
                  <a:pt x="7960" y="21"/>
                  <a:pt x="7960" y="20"/>
                  <a:pt x="7960" y="20"/>
                </a:cubicBezTo>
                <a:lnTo>
                  <a:pt x="7956" y="21"/>
                </a:lnTo>
                <a:cubicBezTo>
                  <a:pt x="7911" y="29"/>
                  <a:pt x="7871" y="54"/>
                  <a:pt x="7831" y="79"/>
                </a:cubicBezTo>
                <a:cubicBezTo>
                  <a:pt x="7785" y="108"/>
                  <a:pt x="7741" y="136"/>
                  <a:pt x="7694" y="136"/>
                </a:cubicBezTo>
                <a:cubicBezTo>
                  <a:pt x="7683" y="136"/>
                  <a:pt x="7673" y="135"/>
                  <a:pt x="7664" y="134"/>
                </a:cubicBezTo>
                <a:cubicBezTo>
                  <a:pt x="7650" y="133"/>
                  <a:pt x="7636" y="134"/>
                  <a:pt x="7623" y="135"/>
                </a:cubicBezTo>
                <a:cubicBezTo>
                  <a:pt x="7621" y="129"/>
                  <a:pt x="7621" y="123"/>
                  <a:pt x="7620" y="117"/>
                </a:cubicBezTo>
                <a:cubicBezTo>
                  <a:pt x="7605" y="62"/>
                  <a:pt x="7577" y="32"/>
                  <a:pt x="7548" y="37"/>
                </a:cubicBezTo>
                <a:cubicBezTo>
                  <a:pt x="7539" y="39"/>
                  <a:pt x="7529" y="45"/>
                  <a:pt x="7520" y="55"/>
                </a:cubicBezTo>
                <a:cubicBezTo>
                  <a:pt x="7499" y="77"/>
                  <a:pt x="7487" y="117"/>
                  <a:pt x="7483" y="160"/>
                </a:cubicBezTo>
                <a:cubicBezTo>
                  <a:pt x="7476" y="159"/>
                  <a:pt x="7470" y="157"/>
                  <a:pt x="7463" y="157"/>
                </a:cubicBezTo>
                <a:lnTo>
                  <a:pt x="7435" y="157"/>
                </a:lnTo>
                <a:cubicBezTo>
                  <a:pt x="7368" y="157"/>
                  <a:pt x="7312" y="183"/>
                  <a:pt x="7248" y="245"/>
                </a:cubicBezTo>
                <a:cubicBezTo>
                  <a:pt x="7244" y="249"/>
                  <a:pt x="7241" y="256"/>
                  <a:pt x="7240" y="265"/>
                </a:cubicBezTo>
                <a:cubicBezTo>
                  <a:pt x="7239" y="273"/>
                  <a:pt x="7240" y="282"/>
                  <a:pt x="7242" y="289"/>
                </a:cubicBezTo>
                <a:cubicBezTo>
                  <a:pt x="7245" y="297"/>
                  <a:pt x="7249" y="304"/>
                  <a:pt x="7252" y="310"/>
                </a:cubicBezTo>
                <a:cubicBezTo>
                  <a:pt x="7226" y="314"/>
                  <a:pt x="7197" y="328"/>
                  <a:pt x="7197" y="387"/>
                </a:cubicBezTo>
                <a:cubicBezTo>
                  <a:pt x="7197" y="404"/>
                  <a:pt x="7201" y="420"/>
                  <a:pt x="7205" y="435"/>
                </a:cubicBezTo>
                <a:cubicBezTo>
                  <a:pt x="7205" y="450"/>
                  <a:pt x="7204" y="466"/>
                  <a:pt x="7207" y="480"/>
                </a:cubicBezTo>
                <a:cubicBezTo>
                  <a:pt x="7211" y="494"/>
                  <a:pt x="7217" y="499"/>
                  <a:pt x="7223" y="507"/>
                </a:cubicBezTo>
                <a:cubicBezTo>
                  <a:pt x="7217" y="500"/>
                  <a:pt x="7211" y="493"/>
                  <a:pt x="7204" y="485"/>
                </a:cubicBezTo>
                <a:cubicBezTo>
                  <a:pt x="7162" y="435"/>
                  <a:pt x="7116" y="379"/>
                  <a:pt x="7047" y="379"/>
                </a:cubicBezTo>
                <a:cubicBezTo>
                  <a:pt x="7002" y="379"/>
                  <a:pt x="6979" y="408"/>
                  <a:pt x="6979" y="464"/>
                </a:cubicBezTo>
                <a:cubicBezTo>
                  <a:pt x="6979" y="489"/>
                  <a:pt x="6983" y="508"/>
                  <a:pt x="6987" y="527"/>
                </a:cubicBezTo>
                <a:lnTo>
                  <a:pt x="6982" y="527"/>
                </a:lnTo>
                <a:cubicBezTo>
                  <a:pt x="6981" y="527"/>
                  <a:pt x="6981" y="526"/>
                  <a:pt x="6980" y="526"/>
                </a:cubicBezTo>
                <a:lnTo>
                  <a:pt x="6978" y="525"/>
                </a:lnTo>
                <a:cubicBezTo>
                  <a:pt x="6968" y="517"/>
                  <a:pt x="6958" y="512"/>
                  <a:pt x="6948" y="507"/>
                </a:cubicBezTo>
                <a:cubicBezTo>
                  <a:pt x="6922" y="493"/>
                  <a:pt x="6903" y="483"/>
                  <a:pt x="6890" y="436"/>
                </a:cubicBezTo>
                <a:cubicBezTo>
                  <a:pt x="6888" y="428"/>
                  <a:pt x="6883" y="422"/>
                  <a:pt x="6879" y="421"/>
                </a:cubicBezTo>
                <a:cubicBezTo>
                  <a:pt x="6874" y="420"/>
                  <a:pt x="6870" y="424"/>
                  <a:pt x="6867" y="430"/>
                </a:cubicBezTo>
                <a:lnTo>
                  <a:pt x="6845" y="472"/>
                </a:lnTo>
                <a:cubicBezTo>
                  <a:pt x="6842" y="478"/>
                  <a:pt x="6841" y="485"/>
                  <a:pt x="6841" y="493"/>
                </a:cubicBezTo>
                <a:cubicBezTo>
                  <a:pt x="6841" y="495"/>
                  <a:pt x="6841" y="496"/>
                  <a:pt x="6841" y="498"/>
                </a:cubicBezTo>
                <a:cubicBezTo>
                  <a:pt x="6837" y="493"/>
                  <a:pt x="6833" y="487"/>
                  <a:pt x="6828" y="486"/>
                </a:cubicBezTo>
                <a:cubicBezTo>
                  <a:pt x="6816" y="454"/>
                  <a:pt x="6801" y="421"/>
                  <a:pt x="6778" y="421"/>
                </a:cubicBezTo>
                <a:cubicBezTo>
                  <a:pt x="6740" y="421"/>
                  <a:pt x="6708" y="448"/>
                  <a:pt x="6677" y="475"/>
                </a:cubicBezTo>
                <a:cubicBezTo>
                  <a:pt x="6658" y="491"/>
                  <a:pt x="6638" y="508"/>
                  <a:pt x="6617" y="519"/>
                </a:cubicBezTo>
                <a:cubicBezTo>
                  <a:pt x="6615" y="519"/>
                  <a:pt x="6615" y="519"/>
                  <a:pt x="6614" y="519"/>
                </a:cubicBezTo>
                <a:cubicBezTo>
                  <a:pt x="6601" y="499"/>
                  <a:pt x="6586" y="485"/>
                  <a:pt x="6568" y="485"/>
                </a:cubicBezTo>
                <a:cubicBezTo>
                  <a:pt x="6544" y="485"/>
                  <a:pt x="6523" y="511"/>
                  <a:pt x="6510" y="548"/>
                </a:cubicBezTo>
                <a:cubicBezTo>
                  <a:pt x="6508" y="549"/>
                  <a:pt x="6505" y="549"/>
                  <a:pt x="6503" y="550"/>
                </a:cubicBezTo>
                <a:cubicBezTo>
                  <a:pt x="6479" y="562"/>
                  <a:pt x="6454" y="574"/>
                  <a:pt x="6419" y="583"/>
                </a:cubicBezTo>
                <a:cubicBezTo>
                  <a:pt x="6375" y="594"/>
                  <a:pt x="6370" y="668"/>
                  <a:pt x="6367" y="717"/>
                </a:cubicBezTo>
                <a:cubicBezTo>
                  <a:pt x="6363" y="775"/>
                  <a:pt x="6360" y="795"/>
                  <a:pt x="6336" y="795"/>
                </a:cubicBezTo>
                <a:cubicBezTo>
                  <a:pt x="6317" y="795"/>
                  <a:pt x="6304" y="787"/>
                  <a:pt x="6290" y="767"/>
                </a:cubicBezTo>
                <a:cubicBezTo>
                  <a:pt x="6284" y="758"/>
                  <a:pt x="6276" y="759"/>
                  <a:pt x="6271" y="769"/>
                </a:cubicBezTo>
                <a:cubicBezTo>
                  <a:pt x="6267" y="776"/>
                  <a:pt x="6259" y="784"/>
                  <a:pt x="6255" y="792"/>
                </a:cubicBezTo>
                <a:cubicBezTo>
                  <a:pt x="6242" y="798"/>
                  <a:pt x="6233" y="811"/>
                  <a:pt x="6226" y="832"/>
                </a:cubicBezTo>
                <a:cubicBezTo>
                  <a:pt x="6181" y="895"/>
                  <a:pt x="6122" y="960"/>
                  <a:pt x="6068" y="996"/>
                </a:cubicBezTo>
                <a:cubicBezTo>
                  <a:pt x="6049" y="1003"/>
                  <a:pt x="6014" y="1032"/>
                  <a:pt x="6014" y="1089"/>
                </a:cubicBezTo>
                <a:cubicBezTo>
                  <a:pt x="6014" y="1183"/>
                  <a:pt x="6098" y="1193"/>
                  <a:pt x="6159" y="1200"/>
                </a:cubicBezTo>
                <a:cubicBezTo>
                  <a:pt x="6164" y="1200"/>
                  <a:pt x="6168" y="1200"/>
                  <a:pt x="6172" y="1201"/>
                </a:cubicBezTo>
                <a:cubicBezTo>
                  <a:pt x="6169" y="1276"/>
                  <a:pt x="6152" y="1337"/>
                  <a:pt x="6123" y="1373"/>
                </a:cubicBezTo>
                <a:cubicBezTo>
                  <a:pt x="6111" y="1387"/>
                  <a:pt x="6097" y="1393"/>
                  <a:pt x="6075" y="1393"/>
                </a:cubicBezTo>
                <a:cubicBezTo>
                  <a:pt x="6064" y="1393"/>
                  <a:pt x="6051" y="1391"/>
                  <a:pt x="6039" y="1390"/>
                </a:cubicBezTo>
                <a:cubicBezTo>
                  <a:pt x="6025" y="1388"/>
                  <a:pt x="6012" y="1385"/>
                  <a:pt x="5998" y="1385"/>
                </a:cubicBezTo>
                <a:cubicBezTo>
                  <a:pt x="5977" y="1385"/>
                  <a:pt x="5961" y="1390"/>
                  <a:pt x="5946" y="1400"/>
                </a:cubicBezTo>
                <a:cubicBezTo>
                  <a:pt x="5924" y="1414"/>
                  <a:pt x="5906" y="1433"/>
                  <a:pt x="5890" y="1453"/>
                </a:cubicBezTo>
                <a:cubicBezTo>
                  <a:pt x="5875" y="1470"/>
                  <a:pt x="5861" y="1487"/>
                  <a:pt x="5844" y="1498"/>
                </a:cubicBezTo>
                <a:cubicBezTo>
                  <a:pt x="5832" y="1506"/>
                  <a:pt x="5816" y="1508"/>
                  <a:pt x="5801" y="1510"/>
                </a:cubicBezTo>
                <a:cubicBezTo>
                  <a:pt x="5763" y="1514"/>
                  <a:pt x="5713" y="1521"/>
                  <a:pt x="5713" y="1641"/>
                </a:cubicBezTo>
                <a:cubicBezTo>
                  <a:pt x="5713" y="1665"/>
                  <a:pt x="5713" y="1720"/>
                  <a:pt x="5884" y="1824"/>
                </a:cubicBezTo>
                <a:cubicBezTo>
                  <a:pt x="5895" y="1831"/>
                  <a:pt x="5932" y="1854"/>
                  <a:pt x="5940" y="1854"/>
                </a:cubicBezTo>
                <a:lnTo>
                  <a:pt x="5961" y="1854"/>
                </a:lnTo>
                <a:cubicBezTo>
                  <a:pt x="5961" y="1855"/>
                  <a:pt x="5960" y="1857"/>
                  <a:pt x="5959" y="1858"/>
                </a:cubicBezTo>
                <a:cubicBezTo>
                  <a:pt x="5953" y="1877"/>
                  <a:pt x="5952" y="1879"/>
                  <a:pt x="5933" y="1879"/>
                </a:cubicBezTo>
                <a:lnTo>
                  <a:pt x="5880" y="1879"/>
                </a:lnTo>
                <a:cubicBezTo>
                  <a:pt x="5857" y="1879"/>
                  <a:pt x="5807" y="1913"/>
                  <a:pt x="5802" y="1990"/>
                </a:cubicBezTo>
                <a:cubicBezTo>
                  <a:pt x="5801" y="2004"/>
                  <a:pt x="5805" y="2018"/>
                  <a:pt x="5812" y="2023"/>
                </a:cubicBezTo>
                <a:cubicBezTo>
                  <a:pt x="5838" y="2042"/>
                  <a:pt x="5849" y="2038"/>
                  <a:pt x="5859" y="2032"/>
                </a:cubicBezTo>
                <a:cubicBezTo>
                  <a:pt x="5866" y="2028"/>
                  <a:pt x="5874" y="2024"/>
                  <a:pt x="5891" y="2024"/>
                </a:cubicBezTo>
                <a:cubicBezTo>
                  <a:pt x="5902" y="2024"/>
                  <a:pt x="5916" y="2039"/>
                  <a:pt x="5932" y="2056"/>
                </a:cubicBezTo>
                <a:cubicBezTo>
                  <a:pt x="5938" y="2063"/>
                  <a:pt x="5945" y="2071"/>
                  <a:pt x="5952" y="2079"/>
                </a:cubicBezTo>
                <a:cubicBezTo>
                  <a:pt x="5949" y="2082"/>
                  <a:pt x="5946" y="2086"/>
                  <a:pt x="5942" y="2090"/>
                </a:cubicBezTo>
                <a:cubicBezTo>
                  <a:pt x="5937" y="2096"/>
                  <a:pt x="5931" y="2102"/>
                  <a:pt x="5925" y="2110"/>
                </a:cubicBezTo>
                <a:cubicBezTo>
                  <a:pt x="5922" y="2115"/>
                  <a:pt x="5919" y="2122"/>
                  <a:pt x="5919" y="2130"/>
                </a:cubicBezTo>
                <a:cubicBezTo>
                  <a:pt x="5918" y="2138"/>
                  <a:pt x="5919" y="2147"/>
                  <a:pt x="5922" y="2153"/>
                </a:cubicBezTo>
                <a:cubicBezTo>
                  <a:pt x="5949" y="2223"/>
                  <a:pt x="6021" y="2266"/>
                  <a:pt x="6071" y="2266"/>
                </a:cubicBezTo>
                <a:cubicBezTo>
                  <a:pt x="6075" y="2266"/>
                  <a:pt x="6078" y="2268"/>
                  <a:pt x="6080" y="2269"/>
                </a:cubicBezTo>
                <a:cubicBezTo>
                  <a:pt x="6083" y="2270"/>
                  <a:pt x="6085" y="2270"/>
                  <a:pt x="6087" y="2270"/>
                </a:cubicBezTo>
                <a:cubicBezTo>
                  <a:pt x="6096" y="2270"/>
                  <a:pt x="6103" y="2259"/>
                  <a:pt x="6110" y="2245"/>
                </a:cubicBezTo>
                <a:cubicBezTo>
                  <a:pt x="6113" y="2238"/>
                  <a:pt x="6114" y="2227"/>
                  <a:pt x="6113" y="2217"/>
                </a:cubicBezTo>
                <a:cubicBezTo>
                  <a:pt x="6112" y="2212"/>
                  <a:pt x="6111" y="2207"/>
                  <a:pt x="6110" y="2203"/>
                </a:cubicBezTo>
                <a:cubicBezTo>
                  <a:pt x="6113" y="2203"/>
                  <a:pt x="6116" y="2203"/>
                  <a:pt x="6120" y="2203"/>
                </a:cubicBezTo>
                <a:cubicBezTo>
                  <a:pt x="6127" y="2203"/>
                  <a:pt x="6134" y="2210"/>
                  <a:pt x="6141" y="2215"/>
                </a:cubicBezTo>
                <a:cubicBezTo>
                  <a:pt x="6152" y="2227"/>
                  <a:pt x="6164" y="2236"/>
                  <a:pt x="6178" y="2236"/>
                </a:cubicBezTo>
                <a:cubicBezTo>
                  <a:pt x="6178" y="2236"/>
                  <a:pt x="6179" y="2235"/>
                  <a:pt x="6180" y="2235"/>
                </a:cubicBezTo>
                <a:cubicBezTo>
                  <a:pt x="6181" y="2235"/>
                  <a:pt x="6182" y="2237"/>
                  <a:pt x="6183" y="2237"/>
                </a:cubicBezTo>
                <a:cubicBezTo>
                  <a:pt x="6202" y="2237"/>
                  <a:pt x="6215" y="2218"/>
                  <a:pt x="6226" y="2203"/>
                </a:cubicBezTo>
                <a:cubicBezTo>
                  <a:pt x="6236" y="2189"/>
                  <a:pt x="6243" y="2181"/>
                  <a:pt x="6251" y="2181"/>
                </a:cubicBezTo>
                <a:lnTo>
                  <a:pt x="6315" y="2181"/>
                </a:lnTo>
                <a:cubicBezTo>
                  <a:pt x="6379" y="2181"/>
                  <a:pt x="6439" y="2209"/>
                  <a:pt x="6495" y="2265"/>
                </a:cubicBezTo>
                <a:cubicBezTo>
                  <a:pt x="6548" y="2319"/>
                  <a:pt x="6597" y="2401"/>
                  <a:pt x="6638" y="2501"/>
                </a:cubicBezTo>
                <a:cubicBezTo>
                  <a:pt x="6638" y="2501"/>
                  <a:pt x="6637" y="2499"/>
                  <a:pt x="6637" y="2499"/>
                </a:cubicBezTo>
                <a:cubicBezTo>
                  <a:pt x="6610" y="2499"/>
                  <a:pt x="6588" y="2544"/>
                  <a:pt x="6588" y="2599"/>
                </a:cubicBezTo>
                <a:cubicBezTo>
                  <a:pt x="6588" y="2653"/>
                  <a:pt x="6610" y="2696"/>
                  <a:pt x="6637" y="2696"/>
                </a:cubicBezTo>
                <a:cubicBezTo>
                  <a:pt x="6659" y="2696"/>
                  <a:pt x="6675" y="2664"/>
                  <a:pt x="6681" y="2623"/>
                </a:cubicBezTo>
                <a:cubicBezTo>
                  <a:pt x="6706" y="2706"/>
                  <a:pt x="6729" y="2794"/>
                  <a:pt x="6746" y="2892"/>
                </a:cubicBezTo>
                <a:lnTo>
                  <a:pt x="6746" y="2951"/>
                </a:lnTo>
                <a:cubicBezTo>
                  <a:pt x="6746" y="2966"/>
                  <a:pt x="6751" y="2979"/>
                  <a:pt x="6759" y="2981"/>
                </a:cubicBezTo>
                <a:lnTo>
                  <a:pt x="6761" y="2981"/>
                </a:lnTo>
                <a:cubicBezTo>
                  <a:pt x="6790" y="2987"/>
                  <a:pt x="6799" y="2997"/>
                  <a:pt x="6799" y="3023"/>
                </a:cubicBezTo>
                <a:cubicBezTo>
                  <a:pt x="6799" y="3059"/>
                  <a:pt x="6790" y="3074"/>
                  <a:pt x="6779" y="3095"/>
                </a:cubicBezTo>
                <a:cubicBezTo>
                  <a:pt x="6778" y="3098"/>
                  <a:pt x="6777" y="3101"/>
                  <a:pt x="6775" y="3103"/>
                </a:cubicBezTo>
                <a:cubicBezTo>
                  <a:pt x="6772" y="3102"/>
                  <a:pt x="6770" y="3096"/>
                  <a:pt x="6767" y="3096"/>
                </a:cubicBezTo>
                <a:cubicBezTo>
                  <a:pt x="6740" y="3096"/>
                  <a:pt x="6718" y="3141"/>
                  <a:pt x="6718" y="3195"/>
                </a:cubicBezTo>
                <a:cubicBezTo>
                  <a:pt x="6718" y="3250"/>
                  <a:pt x="6740" y="3293"/>
                  <a:pt x="6767" y="3293"/>
                </a:cubicBezTo>
                <a:cubicBezTo>
                  <a:pt x="6770" y="3293"/>
                  <a:pt x="6771" y="3289"/>
                  <a:pt x="6774" y="3289"/>
                </a:cubicBezTo>
                <a:cubicBezTo>
                  <a:pt x="6789" y="3306"/>
                  <a:pt x="6808" y="3307"/>
                  <a:pt x="6824" y="3307"/>
                </a:cubicBezTo>
                <a:cubicBezTo>
                  <a:pt x="6846" y="3307"/>
                  <a:pt x="6858" y="3278"/>
                  <a:pt x="6867" y="3256"/>
                </a:cubicBezTo>
                <a:cubicBezTo>
                  <a:pt x="6869" y="3250"/>
                  <a:pt x="6872" y="3245"/>
                  <a:pt x="6874" y="3241"/>
                </a:cubicBezTo>
                <a:cubicBezTo>
                  <a:pt x="6874" y="3241"/>
                  <a:pt x="6874" y="3240"/>
                  <a:pt x="6874" y="3240"/>
                </a:cubicBezTo>
                <a:cubicBezTo>
                  <a:pt x="6874" y="3240"/>
                  <a:pt x="6875" y="3240"/>
                  <a:pt x="6875" y="3240"/>
                </a:cubicBezTo>
                <a:cubicBezTo>
                  <a:pt x="6876" y="3236"/>
                  <a:pt x="6877" y="3236"/>
                  <a:pt x="6877" y="3236"/>
                </a:cubicBezTo>
                <a:cubicBezTo>
                  <a:pt x="6901" y="3236"/>
                  <a:pt x="6917" y="3264"/>
                  <a:pt x="6935" y="3307"/>
                </a:cubicBezTo>
                <a:cubicBezTo>
                  <a:pt x="6935" y="3308"/>
                  <a:pt x="6936" y="3307"/>
                  <a:pt x="6936" y="3307"/>
                </a:cubicBezTo>
                <a:cubicBezTo>
                  <a:pt x="6936" y="3308"/>
                  <a:pt x="6936" y="3308"/>
                  <a:pt x="6936" y="3308"/>
                </a:cubicBezTo>
                <a:cubicBezTo>
                  <a:pt x="6936" y="3309"/>
                  <a:pt x="6936" y="3309"/>
                  <a:pt x="6936" y="3310"/>
                </a:cubicBezTo>
                <a:cubicBezTo>
                  <a:pt x="6941" y="3321"/>
                  <a:pt x="6945" y="3332"/>
                  <a:pt x="6950" y="3343"/>
                </a:cubicBezTo>
                <a:cubicBezTo>
                  <a:pt x="6968" y="3391"/>
                  <a:pt x="6988" y="3441"/>
                  <a:pt x="7015" y="3467"/>
                </a:cubicBezTo>
                <a:cubicBezTo>
                  <a:pt x="7015" y="3473"/>
                  <a:pt x="7014" y="3479"/>
                  <a:pt x="7014" y="3481"/>
                </a:cubicBezTo>
                <a:cubicBezTo>
                  <a:pt x="7014" y="3481"/>
                  <a:pt x="7013" y="3482"/>
                  <a:pt x="7011" y="3482"/>
                </a:cubicBezTo>
                <a:cubicBezTo>
                  <a:pt x="6987" y="3482"/>
                  <a:pt x="6968" y="3467"/>
                  <a:pt x="6948" y="3451"/>
                </a:cubicBezTo>
                <a:cubicBezTo>
                  <a:pt x="6928" y="3435"/>
                  <a:pt x="6908" y="3418"/>
                  <a:pt x="6883" y="3418"/>
                </a:cubicBezTo>
                <a:cubicBezTo>
                  <a:pt x="6878" y="3418"/>
                  <a:pt x="6876" y="3416"/>
                  <a:pt x="6872" y="3415"/>
                </a:cubicBezTo>
                <a:cubicBezTo>
                  <a:pt x="6866" y="3411"/>
                  <a:pt x="6856" y="3408"/>
                  <a:pt x="6840" y="3420"/>
                </a:cubicBezTo>
                <a:cubicBezTo>
                  <a:pt x="6833" y="3425"/>
                  <a:pt x="6830" y="3438"/>
                  <a:pt x="6831" y="3452"/>
                </a:cubicBezTo>
                <a:cubicBezTo>
                  <a:pt x="6832" y="3472"/>
                  <a:pt x="6836" y="3490"/>
                  <a:pt x="6843" y="3505"/>
                </a:cubicBezTo>
                <a:cubicBezTo>
                  <a:pt x="6817" y="3515"/>
                  <a:pt x="6795" y="3554"/>
                  <a:pt x="6795" y="3619"/>
                </a:cubicBezTo>
                <a:cubicBezTo>
                  <a:pt x="6795" y="3674"/>
                  <a:pt x="6818" y="3790"/>
                  <a:pt x="6852" y="3797"/>
                </a:cubicBezTo>
                <a:lnTo>
                  <a:pt x="6880" y="3797"/>
                </a:lnTo>
                <a:lnTo>
                  <a:pt x="6899" y="3797"/>
                </a:lnTo>
                <a:cubicBezTo>
                  <a:pt x="6975" y="3797"/>
                  <a:pt x="6995" y="3736"/>
                  <a:pt x="6998" y="3685"/>
                </a:cubicBezTo>
                <a:cubicBezTo>
                  <a:pt x="6999" y="3671"/>
                  <a:pt x="6995" y="3658"/>
                  <a:pt x="6988" y="3654"/>
                </a:cubicBezTo>
                <a:cubicBezTo>
                  <a:pt x="6983" y="3651"/>
                  <a:pt x="6979" y="3646"/>
                  <a:pt x="6974" y="3642"/>
                </a:cubicBezTo>
                <a:cubicBezTo>
                  <a:pt x="6964" y="3632"/>
                  <a:pt x="6955" y="3618"/>
                  <a:pt x="6947" y="3603"/>
                </a:cubicBezTo>
                <a:cubicBezTo>
                  <a:pt x="6966" y="3613"/>
                  <a:pt x="6986" y="3620"/>
                  <a:pt x="7004" y="3628"/>
                </a:cubicBezTo>
                <a:lnTo>
                  <a:pt x="7021" y="3635"/>
                </a:lnTo>
                <a:cubicBezTo>
                  <a:pt x="7032" y="3640"/>
                  <a:pt x="7044" y="3646"/>
                  <a:pt x="7055" y="3651"/>
                </a:cubicBezTo>
                <a:cubicBezTo>
                  <a:pt x="7048" y="3686"/>
                  <a:pt x="7040" y="3714"/>
                  <a:pt x="7031" y="3743"/>
                </a:cubicBezTo>
                <a:cubicBezTo>
                  <a:pt x="7020" y="3782"/>
                  <a:pt x="7008" y="3823"/>
                  <a:pt x="7000" y="3880"/>
                </a:cubicBezTo>
                <a:cubicBezTo>
                  <a:pt x="6994" y="3876"/>
                  <a:pt x="6989" y="3873"/>
                  <a:pt x="6984" y="3873"/>
                </a:cubicBezTo>
                <a:cubicBezTo>
                  <a:pt x="6973" y="3873"/>
                  <a:pt x="6964" y="3882"/>
                  <a:pt x="6950" y="3896"/>
                </a:cubicBezTo>
                <a:lnTo>
                  <a:pt x="6945" y="3902"/>
                </a:lnTo>
                <a:cubicBezTo>
                  <a:pt x="6940" y="3906"/>
                  <a:pt x="6938" y="3914"/>
                  <a:pt x="6937" y="3923"/>
                </a:cubicBezTo>
                <a:cubicBezTo>
                  <a:pt x="6910" y="3969"/>
                  <a:pt x="6895" y="4021"/>
                  <a:pt x="6880" y="4072"/>
                </a:cubicBezTo>
                <a:cubicBezTo>
                  <a:pt x="6875" y="4070"/>
                  <a:pt x="6871" y="4066"/>
                  <a:pt x="6866" y="4066"/>
                </a:cubicBezTo>
                <a:cubicBezTo>
                  <a:pt x="6825" y="4066"/>
                  <a:pt x="6792" y="4133"/>
                  <a:pt x="6792" y="4214"/>
                </a:cubicBezTo>
                <a:cubicBezTo>
                  <a:pt x="6792" y="4296"/>
                  <a:pt x="6825" y="4362"/>
                  <a:pt x="6866" y="4362"/>
                </a:cubicBezTo>
                <a:cubicBezTo>
                  <a:pt x="6870" y="4362"/>
                  <a:pt x="6873" y="4360"/>
                  <a:pt x="6876" y="4359"/>
                </a:cubicBezTo>
                <a:cubicBezTo>
                  <a:pt x="6875" y="4365"/>
                  <a:pt x="6873" y="4368"/>
                  <a:pt x="6873" y="4375"/>
                </a:cubicBezTo>
                <a:cubicBezTo>
                  <a:pt x="6873" y="4440"/>
                  <a:pt x="6888" y="4486"/>
                  <a:pt x="6904" y="4522"/>
                </a:cubicBezTo>
                <a:cubicBezTo>
                  <a:pt x="6908" y="4531"/>
                  <a:pt x="6912" y="4540"/>
                  <a:pt x="6916" y="4549"/>
                </a:cubicBezTo>
                <a:cubicBezTo>
                  <a:pt x="6928" y="4575"/>
                  <a:pt x="6939" y="4600"/>
                  <a:pt x="6943" y="4626"/>
                </a:cubicBezTo>
                <a:cubicBezTo>
                  <a:pt x="6945" y="4638"/>
                  <a:pt x="6947" y="4654"/>
                  <a:pt x="6949" y="4671"/>
                </a:cubicBezTo>
                <a:cubicBezTo>
                  <a:pt x="6956" y="4727"/>
                  <a:pt x="6960" y="4761"/>
                  <a:pt x="6968" y="4779"/>
                </a:cubicBezTo>
                <a:cubicBezTo>
                  <a:pt x="6969" y="4781"/>
                  <a:pt x="6971" y="4783"/>
                  <a:pt x="6972" y="4784"/>
                </a:cubicBezTo>
                <a:cubicBezTo>
                  <a:pt x="6979" y="4792"/>
                  <a:pt x="6987" y="4796"/>
                  <a:pt x="6995" y="4796"/>
                </a:cubicBezTo>
                <a:cubicBezTo>
                  <a:pt x="7007" y="4796"/>
                  <a:pt x="7016" y="4785"/>
                  <a:pt x="7024" y="4777"/>
                </a:cubicBezTo>
                <a:cubicBezTo>
                  <a:pt x="7027" y="4774"/>
                  <a:pt x="7030" y="4770"/>
                  <a:pt x="7032" y="4769"/>
                </a:cubicBezTo>
                <a:cubicBezTo>
                  <a:pt x="7022" y="4782"/>
                  <a:pt x="7011" y="4802"/>
                  <a:pt x="7011" y="4851"/>
                </a:cubicBezTo>
                <a:cubicBezTo>
                  <a:pt x="7011" y="4908"/>
                  <a:pt x="7027" y="4974"/>
                  <a:pt x="7047" y="5037"/>
                </a:cubicBezTo>
                <a:cubicBezTo>
                  <a:pt x="7040" y="5054"/>
                  <a:pt x="7034" y="5074"/>
                  <a:pt x="7034" y="5098"/>
                </a:cubicBezTo>
                <a:cubicBezTo>
                  <a:pt x="7034" y="5152"/>
                  <a:pt x="7056" y="5196"/>
                  <a:pt x="7084" y="5196"/>
                </a:cubicBezTo>
                <a:cubicBezTo>
                  <a:pt x="7092" y="5196"/>
                  <a:pt x="7097" y="5186"/>
                  <a:pt x="7104" y="5180"/>
                </a:cubicBezTo>
                <a:cubicBezTo>
                  <a:pt x="7115" y="5204"/>
                  <a:pt x="7128" y="5237"/>
                  <a:pt x="7137" y="5253"/>
                </a:cubicBezTo>
                <a:cubicBezTo>
                  <a:pt x="7137" y="5257"/>
                  <a:pt x="7138" y="5264"/>
                  <a:pt x="7138" y="5268"/>
                </a:cubicBezTo>
                <a:cubicBezTo>
                  <a:pt x="7140" y="5293"/>
                  <a:pt x="7142" y="5326"/>
                  <a:pt x="7154" y="5343"/>
                </a:cubicBezTo>
                <a:cubicBezTo>
                  <a:pt x="7168" y="5363"/>
                  <a:pt x="7179" y="5372"/>
                  <a:pt x="7189" y="5379"/>
                </a:cubicBezTo>
                <a:cubicBezTo>
                  <a:pt x="7204" y="5391"/>
                  <a:pt x="7211" y="5397"/>
                  <a:pt x="7219" y="5446"/>
                </a:cubicBezTo>
                <a:cubicBezTo>
                  <a:pt x="7221" y="5460"/>
                  <a:pt x="7228" y="5469"/>
                  <a:pt x="7235" y="5467"/>
                </a:cubicBezTo>
                <a:cubicBezTo>
                  <a:pt x="7249" y="5465"/>
                  <a:pt x="7263" y="5453"/>
                  <a:pt x="7278" y="5439"/>
                </a:cubicBezTo>
                <a:cubicBezTo>
                  <a:pt x="7294" y="5426"/>
                  <a:pt x="7309" y="5413"/>
                  <a:pt x="7323" y="5413"/>
                </a:cubicBezTo>
                <a:cubicBezTo>
                  <a:pt x="7339" y="5413"/>
                  <a:pt x="7348" y="5443"/>
                  <a:pt x="7360" y="5492"/>
                </a:cubicBezTo>
                <a:cubicBezTo>
                  <a:pt x="7373" y="5542"/>
                  <a:pt x="7389" y="5604"/>
                  <a:pt x="7424" y="5604"/>
                </a:cubicBezTo>
                <a:cubicBezTo>
                  <a:pt x="7434" y="5604"/>
                  <a:pt x="7441" y="5595"/>
                  <a:pt x="7446" y="5589"/>
                </a:cubicBezTo>
                <a:cubicBezTo>
                  <a:pt x="7450" y="5584"/>
                  <a:pt x="7453" y="5580"/>
                  <a:pt x="7458" y="5577"/>
                </a:cubicBezTo>
                <a:cubicBezTo>
                  <a:pt x="7462" y="5589"/>
                  <a:pt x="7467" y="5604"/>
                  <a:pt x="7477" y="5611"/>
                </a:cubicBezTo>
                <a:cubicBezTo>
                  <a:pt x="7481" y="5615"/>
                  <a:pt x="7487" y="5617"/>
                  <a:pt x="7492" y="5617"/>
                </a:cubicBezTo>
                <a:cubicBezTo>
                  <a:pt x="7498" y="5617"/>
                  <a:pt x="7502" y="5615"/>
                  <a:pt x="7507" y="5612"/>
                </a:cubicBezTo>
                <a:cubicBezTo>
                  <a:pt x="7508" y="5612"/>
                  <a:pt x="7508" y="5611"/>
                  <a:pt x="7508" y="5611"/>
                </a:cubicBezTo>
                <a:cubicBezTo>
                  <a:pt x="7537" y="5592"/>
                  <a:pt x="7545" y="5527"/>
                  <a:pt x="7552" y="5464"/>
                </a:cubicBezTo>
                <a:cubicBezTo>
                  <a:pt x="7557" y="5413"/>
                  <a:pt x="7563" y="5361"/>
                  <a:pt x="7579" y="5345"/>
                </a:cubicBezTo>
                <a:cubicBezTo>
                  <a:pt x="7585" y="5339"/>
                  <a:pt x="7588" y="5327"/>
                  <a:pt x="7587" y="5314"/>
                </a:cubicBezTo>
                <a:cubicBezTo>
                  <a:pt x="7585" y="5286"/>
                  <a:pt x="7586" y="5223"/>
                  <a:pt x="7587" y="5169"/>
                </a:cubicBezTo>
                <a:cubicBezTo>
                  <a:pt x="7587" y="5139"/>
                  <a:pt x="7588" y="5111"/>
                  <a:pt x="7588" y="5085"/>
                </a:cubicBezTo>
                <a:cubicBezTo>
                  <a:pt x="7588" y="5049"/>
                  <a:pt x="7599" y="5035"/>
                  <a:pt x="7625" y="5012"/>
                </a:cubicBezTo>
                <a:cubicBezTo>
                  <a:pt x="7645" y="4995"/>
                  <a:pt x="7667" y="4976"/>
                  <a:pt x="7679" y="4932"/>
                </a:cubicBezTo>
                <a:cubicBezTo>
                  <a:pt x="7685" y="4912"/>
                  <a:pt x="7687" y="4889"/>
                  <a:pt x="7687" y="4864"/>
                </a:cubicBezTo>
                <a:cubicBezTo>
                  <a:pt x="7687" y="4854"/>
                  <a:pt x="7685" y="4848"/>
                  <a:pt x="7684" y="4840"/>
                </a:cubicBezTo>
                <a:cubicBezTo>
                  <a:pt x="7716" y="4824"/>
                  <a:pt x="7740" y="4768"/>
                  <a:pt x="7740" y="4699"/>
                </a:cubicBezTo>
                <a:cubicBezTo>
                  <a:pt x="7740" y="4658"/>
                  <a:pt x="7732" y="4621"/>
                  <a:pt x="7719" y="4594"/>
                </a:cubicBezTo>
                <a:cubicBezTo>
                  <a:pt x="7727" y="4589"/>
                  <a:pt x="7732" y="4583"/>
                  <a:pt x="7744" y="4577"/>
                </a:cubicBezTo>
                <a:cubicBezTo>
                  <a:pt x="7774" y="4561"/>
                  <a:pt x="7806" y="4544"/>
                  <a:pt x="7827" y="4502"/>
                </a:cubicBezTo>
                <a:cubicBezTo>
                  <a:pt x="7836" y="4483"/>
                  <a:pt x="7841" y="4464"/>
                  <a:pt x="7844" y="4447"/>
                </a:cubicBezTo>
                <a:lnTo>
                  <a:pt x="7844" y="4460"/>
                </a:lnTo>
                <a:cubicBezTo>
                  <a:pt x="7844" y="4477"/>
                  <a:pt x="7851" y="4489"/>
                  <a:pt x="7859" y="4489"/>
                </a:cubicBezTo>
                <a:lnTo>
                  <a:pt x="7891" y="4489"/>
                </a:lnTo>
                <a:cubicBezTo>
                  <a:pt x="7894" y="4489"/>
                  <a:pt x="7897" y="4488"/>
                  <a:pt x="7899" y="4485"/>
                </a:cubicBezTo>
                <a:cubicBezTo>
                  <a:pt x="7917" y="4460"/>
                  <a:pt x="7940" y="4448"/>
                  <a:pt x="7965" y="4437"/>
                </a:cubicBezTo>
                <a:cubicBezTo>
                  <a:pt x="7999" y="4422"/>
                  <a:pt x="8034" y="4406"/>
                  <a:pt x="8060" y="4353"/>
                </a:cubicBezTo>
                <a:cubicBezTo>
                  <a:pt x="8076" y="4321"/>
                  <a:pt x="8085" y="4286"/>
                  <a:pt x="8094" y="4252"/>
                </a:cubicBezTo>
                <a:cubicBezTo>
                  <a:pt x="8098" y="4236"/>
                  <a:pt x="8102" y="4220"/>
                  <a:pt x="8107" y="4204"/>
                </a:cubicBezTo>
                <a:cubicBezTo>
                  <a:pt x="8115" y="4178"/>
                  <a:pt x="8123" y="4160"/>
                  <a:pt x="8133" y="4144"/>
                </a:cubicBezTo>
                <a:lnTo>
                  <a:pt x="8186" y="4067"/>
                </a:lnTo>
                <a:cubicBezTo>
                  <a:pt x="8190" y="4062"/>
                  <a:pt x="8192" y="4053"/>
                  <a:pt x="8192" y="4043"/>
                </a:cubicBezTo>
                <a:cubicBezTo>
                  <a:pt x="8192" y="4035"/>
                  <a:pt x="8202" y="4023"/>
                  <a:pt x="8212" y="4013"/>
                </a:cubicBezTo>
                <a:cubicBezTo>
                  <a:pt x="8216" y="4009"/>
                  <a:pt x="8220" y="4005"/>
                  <a:pt x="8223" y="4001"/>
                </a:cubicBezTo>
                <a:lnTo>
                  <a:pt x="8319" y="4001"/>
                </a:lnTo>
                <a:cubicBezTo>
                  <a:pt x="8321" y="4001"/>
                  <a:pt x="8323" y="4000"/>
                  <a:pt x="8324" y="3999"/>
                </a:cubicBezTo>
                <a:cubicBezTo>
                  <a:pt x="8326" y="3997"/>
                  <a:pt x="8328" y="3996"/>
                  <a:pt x="8330" y="3995"/>
                </a:cubicBezTo>
                <a:lnTo>
                  <a:pt x="8335" y="3990"/>
                </a:lnTo>
                <a:lnTo>
                  <a:pt x="8338" y="3989"/>
                </a:lnTo>
                <a:cubicBezTo>
                  <a:pt x="8338" y="3989"/>
                  <a:pt x="8338" y="3988"/>
                  <a:pt x="8338" y="3988"/>
                </a:cubicBezTo>
                <a:cubicBezTo>
                  <a:pt x="8378" y="3959"/>
                  <a:pt x="8414" y="3947"/>
                  <a:pt x="8448" y="3936"/>
                </a:cubicBezTo>
                <a:cubicBezTo>
                  <a:pt x="8449" y="3936"/>
                  <a:pt x="8449" y="3936"/>
                  <a:pt x="8449" y="3936"/>
                </a:cubicBezTo>
                <a:cubicBezTo>
                  <a:pt x="8481" y="3925"/>
                  <a:pt x="8510" y="3915"/>
                  <a:pt x="8542" y="3894"/>
                </a:cubicBezTo>
                <a:cubicBezTo>
                  <a:pt x="8575" y="3873"/>
                  <a:pt x="8598" y="3830"/>
                  <a:pt x="8619" y="3790"/>
                </a:cubicBezTo>
                <a:cubicBezTo>
                  <a:pt x="8641" y="3749"/>
                  <a:pt x="8662" y="3710"/>
                  <a:pt x="8695" y="3689"/>
                </a:cubicBezTo>
                <a:cubicBezTo>
                  <a:pt x="8700" y="3685"/>
                  <a:pt x="8704" y="3683"/>
                  <a:pt x="8710" y="3679"/>
                </a:cubicBezTo>
                <a:lnTo>
                  <a:pt x="8716" y="3676"/>
                </a:lnTo>
                <a:cubicBezTo>
                  <a:pt x="8743" y="3660"/>
                  <a:pt x="8764" y="3647"/>
                  <a:pt x="8791" y="3603"/>
                </a:cubicBezTo>
                <a:cubicBezTo>
                  <a:pt x="8795" y="3597"/>
                  <a:pt x="8797" y="3585"/>
                  <a:pt x="8796" y="3574"/>
                </a:cubicBezTo>
                <a:cubicBezTo>
                  <a:pt x="8795" y="3563"/>
                  <a:pt x="8791" y="3554"/>
                  <a:pt x="8786" y="3551"/>
                </a:cubicBezTo>
                <a:cubicBezTo>
                  <a:pt x="8774" y="3543"/>
                  <a:pt x="8755" y="3539"/>
                  <a:pt x="8726" y="3533"/>
                </a:cubicBezTo>
                <a:lnTo>
                  <a:pt x="8715" y="3531"/>
                </a:lnTo>
                <a:cubicBezTo>
                  <a:pt x="8669" y="3522"/>
                  <a:pt x="8587" y="3507"/>
                  <a:pt x="8568" y="3461"/>
                </a:cubicBezTo>
                <a:cubicBezTo>
                  <a:pt x="8586" y="3451"/>
                  <a:pt x="8610" y="3430"/>
                  <a:pt x="8610" y="3384"/>
                </a:cubicBezTo>
                <a:cubicBezTo>
                  <a:pt x="8610" y="3360"/>
                  <a:pt x="8603" y="3343"/>
                  <a:pt x="8598" y="3329"/>
                </a:cubicBezTo>
                <a:cubicBezTo>
                  <a:pt x="8596" y="3324"/>
                  <a:pt x="8594" y="3318"/>
                  <a:pt x="8593" y="3312"/>
                </a:cubicBezTo>
                <a:cubicBezTo>
                  <a:pt x="8594" y="3311"/>
                  <a:pt x="8596" y="3310"/>
                  <a:pt x="8598" y="3310"/>
                </a:cubicBezTo>
                <a:cubicBezTo>
                  <a:pt x="8600" y="3309"/>
                  <a:pt x="8603" y="3307"/>
                  <a:pt x="8605" y="3307"/>
                </a:cubicBezTo>
                <a:cubicBezTo>
                  <a:pt x="8639" y="3307"/>
                  <a:pt x="8653" y="3347"/>
                  <a:pt x="8669" y="3396"/>
                </a:cubicBezTo>
                <a:cubicBezTo>
                  <a:pt x="8684" y="3441"/>
                  <a:pt x="8701" y="3491"/>
                  <a:pt x="8737" y="3511"/>
                </a:cubicBezTo>
                <a:cubicBezTo>
                  <a:pt x="8748" y="3518"/>
                  <a:pt x="8759" y="3521"/>
                  <a:pt x="8771" y="3521"/>
                </a:cubicBezTo>
                <a:cubicBezTo>
                  <a:pt x="8789" y="3521"/>
                  <a:pt x="8843" y="3520"/>
                  <a:pt x="8843" y="3439"/>
                </a:cubicBezTo>
                <a:cubicBezTo>
                  <a:pt x="8843" y="3360"/>
                  <a:pt x="8829" y="3291"/>
                  <a:pt x="8802" y="3227"/>
                </a:cubicBezTo>
                <a:cubicBezTo>
                  <a:pt x="8793" y="3208"/>
                  <a:pt x="8782" y="3193"/>
                  <a:pt x="8772" y="3176"/>
                </a:cubicBezTo>
                <a:cubicBezTo>
                  <a:pt x="8767" y="3157"/>
                  <a:pt x="8760" y="3141"/>
                  <a:pt x="8752" y="3128"/>
                </a:cubicBezTo>
                <a:cubicBezTo>
                  <a:pt x="8755" y="3129"/>
                  <a:pt x="8757" y="3130"/>
                  <a:pt x="8760" y="3130"/>
                </a:cubicBezTo>
                <a:cubicBezTo>
                  <a:pt x="8789" y="3130"/>
                  <a:pt x="8807" y="3074"/>
                  <a:pt x="8807" y="2981"/>
                </a:cubicBezTo>
                <a:cubicBezTo>
                  <a:pt x="8807" y="2940"/>
                  <a:pt x="8798" y="2914"/>
                  <a:pt x="8786" y="2895"/>
                </a:cubicBezTo>
                <a:cubicBezTo>
                  <a:pt x="8791" y="2873"/>
                  <a:pt x="8805" y="2865"/>
                  <a:pt x="8826" y="2854"/>
                </a:cubicBezTo>
                <a:cubicBezTo>
                  <a:pt x="8829" y="2852"/>
                  <a:pt x="8833" y="2849"/>
                  <a:pt x="8836" y="2847"/>
                </a:cubicBezTo>
                <a:cubicBezTo>
                  <a:pt x="8851" y="2878"/>
                  <a:pt x="8873" y="2892"/>
                  <a:pt x="8893" y="2871"/>
                </a:cubicBezTo>
                <a:cubicBezTo>
                  <a:pt x="8917" y="2846"/>
                  <a:pt x="8926" y="2787"/>
                  <a:pt x="8913" y="2738"/>
                </a:cubicBezTo>
                <a:cubicBezTo>
                  <a:pt x="8909" y="2725"/>
                  <a:pt x="8902" y="2719"/>
                  <a:pt x="8897" y="2710"/>
                </a:cubicBezTo>
                <a:cubicBezTo>
                  <a:pt x="8895" y="2706"/>
                  <a:pt x="8896" y="2700"/>
                  <a:pt x="8893" y="2698"/>
                </a:cubicBezTo>
                <a:cubicBezTo>
                  <a:pt x="8891" y="2696"/>
                  <a:pt x="8888" y="2692"/>
                  <a:pt x="8886" y="2686"/>
                </a:cubicBezTo>
                <a:cubicBezTo>
                  <a:pt x="8900" y="2680"/>
                  <a:pt x="8914" y="2670"/>
                  <a:pt x="8927" y="2657"/>
                </a:cubicBezTo>
                <a:cubicBezTo>
                  <a:pt x="8951" y="2632"/>
                  <a:pt x="8968" y="2598"/>
                  <a:pt x="8976" y="2558"/>
                </a:cubicBezTo>
                <a:cubicBezTo>
                  <a:pt x="8977" y="2550"/>
                  <a:pt x="8977" y="2542"/>
                  <a:pt x="8975" y="2534"/>
                </a:cubicBezTo>
                <a:cubicBezTo>
                  <a:pt x="8973" y="2527"/>
                  <a:pt x="8970" y="2522"/>
                  <a:pt x="8966" y="2519"/>
                </a:cubicBezTo>
                <a:cubicBezTo>
                  <a:pt x="8960" y="2515"/>
                  <a:pt x="8951" y="2511"/>
                  <a:pt x="8943" y="2508"/>
                </a:cubicBezTo>
                <a:lnTo>
                  <a:pt x="8940" y="2506"/>
                </a:lnTo>
                <a:cubicBezTo>
                  <a:pt x="8913" y="2497"/>
                  <a:pt x="8892" y="2488"/>
                  <a:pt x="8892" y="2462"/>
                </a:cubicBezTo>
                <a:cubicBezTo>
                  <a:pt x="8892" y="2440"/>
                  <a:pt x="8908" y="2436"/>
                  <a:pt x="8945" y="2436"/>
                </a:cubicBezTo>
                <a:cubicBezTo>
                  <a:pt x="8951" y="2436"/>
                  <a:pt x="8956" y="2430"/>
                  <a:pt x="8958" y="2419"/>
                </a:cubicBezTo>
                <a:cubicBezTo>
                  <a:pt x="8961" y="2408"/>
                  <a:pt x="8960" y="2395"/>
                  <a:pt x="8956" y="2386"/>
                </a:cubicBezTo>
                <a:cubicBezTo>
                  <a:pt x="8954" y="2382"/>
                  <a:pt x="8955" y="2371"/>
                  <a:pt x="8957" y="2354"/>
                </a:cubicBezTo>
                <a:cubicBezTo>
                  <a:pt x="8958" y="2341"/>
                  <a:pt x="8959" y="2328"/>
                  <a:pt x="8959" y="2313"/>
                </a:cubicBezTo>
                <a:cubicBezTo>
                  <a:pt x="8959" y="2276"/>
                  <a:pt x="8952" y="2250"/>
                  <a:pt x="8944" y="2224"/>
                </a:cubicBezTo>
                <a:cubicBezTo>
                  <a:pt x="8936" y="2198"/>
                  <a:pt x="8928" y="2173"/>
                  <a:pt x="8928" y="2130"/>
                </a:cubicBezTo>
                <a:cubicBezTo>
                  <a:pt x="8928" y="2113"/>
                  <a:pt x="8921" y="2101"/>
                  <a:pt x="8913" y="2101"/>
                </a:cubicBezTo>
                <a:cubicBezTo>
                  <a:pt x="8871" y="2101"/>
                  <a:pt x="8860" y="2091"/>
                  <a:pt x="8860" y="2058"/>
                </a:cubicBezTo>
                <a:cubicBezTo>
                  <a:pt x="8860" y="2048"/>
                  <a:pt x="8871" y="2024"/>
                  <a:pt x="8887" y="2024"/>
                </a:cubicBezTo>
                <a:cubicBezTo>
                  <a:pt x="8894" y="2024"/>
                  <a:pt x="8903" y="2025"/>
                  <a:pt x="8913" y="2026"/>
                </a:cubicBezTo>
                <a:cubicBezTo>
                  <a:pt x="8920" y="2027"/>
                  <a:pt x="8928" y="2028"/>
                  <a:pt x="8935" y="2028"/>
                </a:cubicBezTo>
                <a:cubicBezTo>
                  <a:pt x="8934" y="2047"/>
                  <a:pt x="8933" y="2066"/>
                  <a:pt x="8938" y="2084"/>
                </a:cubicBezTo>
                <a:cubicBezTo>
                  <a:pt x="8951" y="2133"/>
                  <a:pt x="8980" y="2151"/>
                  <a:pt x="9004" y="2125"/>
                </a:cubicBezTo>
                <a:cubicBezTo>
                  <a:pt x="9026" y="2102"/>
                  <a:pt x="9033" y="2051"/>
                  <a:pt x="9025" y="2006"/>
                </a:cubicBezTo>
                <a:cubicBezTo>
                  <a:pt x="9039" y="1992"/>
                  <a:pt x="9051" y="1970"/>
                  <a:pt x="9051" y="1931"/>
                </a:cubicBezTo>
                <a:cubicBezTo>
                  <a:pt x="9051" y="1852"/>
                  <a:pt x="9016" y="1827"/>
                  <a:pt x="8990" y="1809"/>
                </a:cubicBezTo>
                <a:cubicBezTo>
                  <a:pt x="8985" y="1806"/>
                  <a:pt x="8979" y="1802"/>
                  <a:pt x="8975" y="1798"/>
                </a:cubicBezTo>
                <a:cubicBezTo>
                  <a:pt x="8981" y="1792"/>
                  <a:pt x="8986" y="1786"/>
                  <a:pt x="8990" y="1781"/>
                </a:cubicBezTo>
                <a:cubicBezTo>
                  <a:pt x="8994" y="1776"/>
                  <a:pt x="8998" y="1768"/>
                  <a:pt x="8998" y="1758"/>
                </a:cubicBezTo>
                <a:cubicBezTo>
                  <a:pt x="8998" y="1748"/>
                  <a:pt x="8996" y="1738"/>
                  <a:pt x="8992" y="1732"/>
                </a:cubicBezTo>
                <a:cubicBezTo>
                  <a:pt x="8970" y="1698"/>
                  <a:pt x="8937" y="1645"/>
                  <a:pt x="8898" y="1645"/>
                </a:cubicBezTo>
                <a:cubicBezTo>
                  <a:pt x="8889" y="1645"/>
                  <a:pt x="8881" y="1648"/>
                  <a:pt x="8873" y="1651"/>
                </a:cubicBezTo>
                <a:cubicBezTo>
                  <a:pt x="8867" y="1653"/>
                  <a:pt x="8861" y="1655"/>
                  <a:pt x="8855" y="1654"/>
                </a:cubicBezTo>
                <a:cubicBezTo>
                  <a:pt x="8857" y="1641"/>
                  <a:pt x="8858" y="1628"/>
                  <a:pt x="8859" y="1613"/>
                </a:cubicBezTo>
                <a:cubicBezTo>
                  <a:pt x="8863" y="1576"/>
                  <a:pt x="8868" y="1534"/>
                  <a:pt x="8879" y="1517"/>
                </a:cubicBezTo>
                <a:cubicBezTo>
                  <a:pt x="8888" y="1503"/>
                  <a:pt x="8898" y="1492"/>
                  <a:pt x="8907" y="1481"/>
                </a:cubicBezTo>
                <a:cubicBezTo>
                  <a:pt x="8921" y="1462"/>
                  <a:pt x="8935" y="1443"/>
                  <a:pt x="8946" y="1420"/>
                </a:cubicBezTo>
                <a:cubicBezTo>
                  <a:pt x="8953" y="1419"/>
                  <a:pt x="8960" y="1423"/>
                  <a:pt x="8967" y="1416"/>
                </a:cubicBezTo>
                <a:cubicBezTo>
                  <a:pt x="8991" y="1391"/>
                  <a:pt x="9000" y="1332"/>
                  <a:pt x="8987" y="1284"/>
                </a:cubicBezTo>
                <a:cubicBezTo>
                  <a:pt x="8985" y="1276"/>
                  <a:pt x="8981" y="1274"/>
                  <a:pt x="8979" y="1268"/>
                </a:cubicBezTo>
                <a:cubicBezTo>
                  <a:pt x="9018" y="1249"/>
                  <a:pt x="9065" y="1225"/>
                  <a:pt x="9065" y="1146"/>
                </a:cubicBezTo>
                <a:cubicBezTo>
                  <a:pt x="9067" y="1143"/>
                  <a:pt x="9070" y="1138"/>
                  <a:pt x="9071" y="1134"/>
                </a:cubicBezTo>
                <a:cubicBezTo>
                  <a:pt x="9072" y="1127"/>
                  <a:pt x="9073" y="1119"/>
                  <a:pt x="9072" y="1111"/>
                </a:cubicBezTo>
                <a:cubicBezTo>
                  <a:pt x="9106" y="1099"/>
                  <a:pt x="9157" y="1080"/>
                  <a:pt x="9161" y="966"/>
                </a:cubicBezTo>
                <a:cubicBezTo>
                  <a:pt x="9195" y="947"/>
                  <a:pt x="9222" y="914"/>
                  <a:pt x="9247" y="884"/>
                </a:cubicBezTo>
                <a:cubicBezTo>
                  <a:pt x="9258" y="869"/>
                  <a:pt x="9270" y="856"/>
                  <a:pt x="9282" y="843"/>
                </a:cubicBezTo>
                <a:cubicBezTo>
                  <a:pt x="9291" y="832"/>
                  <a:pt x="9303" y="820"/>
                  <a:pt x="9316" y="811"/>
                </a:cubicBezTo>
                <a:cubicBezTo>
                  <a:pt x="9319" y="810"/>
                  <a:pt x="9321" y="807"/>
                  <a:pt x="9325" y="804"/>
                </a:cubicBezTo>
                <a:cubicBezTo>
                  <a:pt x="9341" y="790"/>
                  <a:pt x="9379" y="749"/>
                  <a:pt x="9379" y="684"/>
                </a:cubicBezTo>
                <a:cubicBezTo>
                  <a:pt x="9379" y="670"/>
                  <a:pt x="9377" y="655"/>
                  <a:pt x="9371" y="640"/>
                </a:cubicBezTo>
                <a:cubicBezTo>
                  <a:pt x="9346" y="577"/>
                  <a:pt x="9265" y="506"/>
                  <a:pt x="9237" y="506"/>
                </a:cubicBezTo>
                <a:cubicBezTo>
                  <a:pt x="9222" y="506"/>
                  <a:pt x="9197" y="506"/>
                  <a:pt x="9184" y="561"/>
                </a:cubicBezTo>
                <a:lnTo>
                  <a:pt x="9101" y="561"/>
                </a:lnTo>
                <a:lnTo>
                  <a:pt x="9093" y="561"/>
                </a:lnTo>
                <a:cubicBezTo>
                  <a:pt x="9091" y="561"/>
                  <a:pt x="9088" y="562"/>
                  <a:pt x="9086" y="564"/>
                </a:cubicBezTo>
                <a:cubicBezTo>
                  <a:pt x="9072" y="579"/>
                  <a:pt x="9062" y="592"/>
                  <a:pt x="9053" y="603"/>
                </a:cubicBezTo>
                <a:cubicBezTo>
                  <a:pt x="9041" y="618"/>
                  <a:pt x="9031" y="632"/>
                  <a:pt x="9011" y="647"/>
                </a:cubicBezTo>
                <a:cubicBezTo>
                  <a:pt x="9002" y="647"/>
                  <a:pt x="8980" y="639"/>
                  <a:pt x="8969" y="634"/>
                </a:cubicBezTo>
                <a:cubicBezTo>
                  <a:pt x="8968" y="634"/>
                  <a:pt x="8967" y="634"/>
                  <a:pt x="8966" y="634"/>
                </a:cubicBezTo>
                <a:lnTo>
                  <a:pt x="8824" y="634"/>
                </a:lnTo>
                <a:cubicBezTo>
                  <a:pt x="8821" y="634"/>
                  <a:pt x="8817" y="636"/>
                  <a:pt x="8815" y="640"/>
                </a:cubicBezTo>
                <a:cubicBezTo>
                  <a:pt x="8811" y="646"/>
                  <a:pt x="8802" y="667"/>
                  <a:pt x="8796" y="677"/>
                </a:cubicBezTo>
                <a:cubicBezTo>
                  <a:pt x="8793" y="669"/>
                  <a:pt x="8789" y="664"/>
                  <a:pt x="8785" y="659"/>
                </a:cubicBezTo>
                <a:cubicBezTo>
                  <a:pt x="8785" y="658"/>
                  <a:pt x="8786" y="656"/>
                  <a:pt x="8786" y="655"/>
                </a:cubicBezTo>
                <a:cubicBezTo>
                  <a:pt x="8786" y="560"/>
                  <a:pt x="8759" y="498"/>
                  <a:pt x="8718" y="498"/>
                </a:cubicBezTo>
                <a:cubicBezTo>
                  <a:pt x="8676" y="498"/>
                  <a:pt x="8621" y="568"/>
                  <a:pt x="8569" y="637"/>
                </a:cubicBezTo>
                <a:cubicBezTo>
                  <a:pt x="8546" y="666"/>
                  <a:pt x="8522" y="697"/>
                  <a:pt x="8502" y="717"/>
                </a:cubicBezTo>
                <a:cubicBezTo>
                  <a:pt x="8508" y="704"/>
                  <a:pt x="8514" y="691"/>
                  <a:pt x="8519" y="680"/>
                </a:cubicBezTo>
                <a:cubicBezTo>
                  <a:pt x="8548" y="613"/>
                  <a:pt x="8560" y="585"/>
                  <a:pt x="8562" y="564"/>
                </a:cubicBezTo>
                <a:cubicBezTo>
                  <a:pt x="8563" y="555"/>
                  <a:pt x="8563" y="546"/>
                  <a:pt x="8560" y="539"/>
                </a:cubicBezTo>
                <a:lnTo>
                  <a:pt x="8585" y="536"/>
                </a:lnTo>
                <a:cubicBezTo>
                  <a:pt x="8586" y="536"/>
                  <a:pt x="8588" y="535"/>
                  <a:pt x="8589" y="534"/>
                </a:cubicBezTo>
                <a:cubicBezTo>
                  <a:pt x="8605" y="522"/>
                  <a:pt x="8629" y="516"/>
                  <a:pt x="8655" y="508"/>
                </a:cubicBezTo>
                <a:cubicBezTo>
                  <a:pt x="8720" y="490"/>
                  <a:pt x="8802" y="467"/>
                  <a:pt x="8811" y="340"/>
                </a:cubicBezTo>
                <a:cubicBezTo>
                  <a:pt x="8812" y="325"/>
                  <a:pt x="8807" y="310"/>
                  <a:pt x="8800" y="307"/>
                </a:cubicBezTo>
                <a:cubicBezTo>
                  <a:pt x="8776" y="295"/>
                  <a:pt x="8749" y="295"/>
                  <a:pt x="8721" y="294"/>
                </a:cubicBezTo>
                <a:cubicBezTo>
                  <a:pt x="8685" y="293"/>
                  <a:pt x="8648" y="290"/>
                  <a:pt x="8618" y="266"/>
                </a:cubicBezTo>
                <a:cubicBezTo>
                  <a:pt x="8589" y="241"/>
                  <a:pt x="8560" y="210"/>
                  <a:pt x="8530" y="177"/>
                </a:cubicBezTo>
                <a:cubicBezTo>
                  <a:pt x="8477" y="118"/>
                  <a:pt x="8422" y="58"/>
                  <a:pt x="8359" y="32"/>
                </a:cubicBezTo>
                <a:cubicBezTo>
                  <a:pt x="8359" y="31"/>
                  <a:pt x="8359" y="32"/>
                  <a:pt x="8359" y="32"/>
                </a:cubicBezTo>
                <a:cubicBezTo>
                  <a:pt x="8345" y="11"/>
                  <a:pt x="8329" y="-3"/>
                  <a:pt x="8311" y="0"/>
                </a:cubicBezTo>
                <a:close/>
                <a:moveTo>
                  <a:pt x="7981" y="77"/>
                </a:moveTo>
                <a:cubicBezTo>
                  <a:pt x="7982" y="77"/>
                  <a:pt x="7984" y="77"/>
                  <a:pt x="7986" y="77"/>
                </a:cubicBezTo>
                <a:lnTo>
                  <a:pt x="8255" y="77"/>
                </a:lnTo>
                <a:cubicBezTo>
                  <a:pt x="8243" y="119"/>
                  <a:pt x="8240" y="171"/>
                  <a:pt x="8252" y="217"/>
                </a:cubicBezTo>
                <a:cubicBezTo>
                  <a:pt x="8271" y="289"/>
                  <a:pt x="8316" y="317"/>
                  <a:pt x="8352" y="279"/>
                </a:cubicBezTo>
                <a:cubicBezTo>
                  <a:pt x="8383" y="246"/>
                  <a:pt x="8396" y="176"/>
                  <a:pt x="8387" y="111"/>
                </a:cubicBezTo>
                <a:cubicBezTo>
                  <a:pt x="8433" y="140"/>
                  <a:pt x="8475" y="184"/>
                  <a:pt x="8516" y="230"/>
                </a:cubicBezTo>
                <a:cubicBezTo>
                  <a:pt x="8545" y="262"/>
                  <a:pt x="8575" y="296"/>
                  <a:pt x="8606" y="322"/>
                </a:cubicBezTo>
                <a:cubicBezTo>
                  <a:pt x="8642" y="351"/>
                  <a:pt x="8682" y="352"/>
                  <a:pt x="8720" y="353"/>
                </a:cubicBezTo>
                <a:cubicBezTo>
                  <a:pt x="8740" y="354"/>
                  <a:pt x="8760" y="355"/>
                  <a:pt x="8777" y="359"/>
                </a:cubicBezTo>
                <a:cubicBezTo>
                  <a:pt x="8760" y="418"/>
                  <a:pt x="8702" y="434"/>
                  <a:pt x="8651" y="449"/>
                </a:cubicBezTo>
                <a:cubicBezTo>
                  <a:pt x="8624" y="456"/>
                  <a:pt x="8599" y="464"/>
                  <a:pt x="8581" y="477"/>
                </a:cubicBezTo>
                <a:lnTo>
                  <a:pt x="8395" y="497"/>
                </a:lnTo>
                <a:cubicBezTo>
                  <a:pt x="8386" y="491"/>
                  <a:pt x="8377" y="483"/>
                  <a:pt x="8367" y="485"/>
                </a:cubicBezTo>
                <a:cubicBezTo>
                  <a:pt x="8357" y="487"/>
                  <a:pt x="8348" y="493"/>
                  <a:pt x="8339" y="502"/>
                </a:cubicBezTo>
                <a:lnTo>
                  <a:pt x="8338" y="502"/>
                </a:lnTo>
                <a:lnTo>
                  <a:pt x="8183" y="520"/>
                </a:lnTo>
                <a:cubicBezTo>
                  <a:pt x="8192" y="491"/>
                  <a:pt x="8196" y="458"/>
                  <a:pt x="8187" y="426"/>
                </a:cubicBezTo>
                <a:cubicBezTo>
                  <a:pt x="8181" y="401"/>
                  <a:pt x="8171" y="385"/>
                  <a:pt x="8159" y="378"/>
                </a:cubicBezTo>
                <a:cubicBezTo>
                  <a:pt x="8147" y="370"/>
                  <a:pt x="8133" y="372"/>
                  <a:pt x="8121" y="385"/>
                </a:cubicBezTo>
                <a:cubicBezTo>
                  <a:pt x="8097" y="410"/>
                  <a:pt x="8088" y="469"/>
                  <a:pt x="8101" y="518"/>
                </a:cubicBezTo>
                <a:cubicBezTo>
                  <a:pt x="8103" y="527"/>
                  <a:pt x="8108" y="529"/>
                  <a:pt x="8112" y="536"/>
                </a:cubicBezTo>
                <a:cubicBezTo>
                  <a:pt x="8109" y="540"/>
                  <a:pt x="8105" y="541"/>
                  <a:pt x="8104" y="548"/>
                </a:cubicBezTo>
                <a:cubicBezTo>
                  <a:pt x="8102" y="560"/>
                  <a:pt x="8104" y="573"/>
                  <a:pt x="8109" y="581"/>
                </a:cubicBezTo>
                <a:cubicBezTo>
                  <a:pt x="8118" y="594"/>
                  <a:pt x="8135" y="606"/>
                  <a:pt x="8199" y="606"/>
                </a:cubicBezTo>
                <a:cubicBezTo>
                  <a:pt x="8229" y="606"/>
                  <a:pt x="8267" y="601"/>
                  <a:pt x="8302" y="598"/>
                </a:cubicBezTo>
                <a:cubicBezTo>
                  <a:pt x="8298" y="632"/>
                  <a:pt x="8299" y="668"/>
                  <a:pt x="8308" y="702"/>
                </a:cubicBezTo>
                <a:cubicBezTo>
                  <a:pt x="8327" y="774"/>
                  <a:pt x="8372" y="802"/>
                  <a:pt x="8408" y="764"/>
                </a:cubicBezTo>
                <a:cubicBezTo>
                  <a:pt x="8440" y="729"/>
                  <a:pt x="8453" y="654"/>
                  <a:pt x="8442" y="586"/>
                </a:cubicBezTo>
                <a:cubicBezTo>
                  <a:pt x="8465" y="584"/>
                  <a:pt x="8493" y="581"/>
                  <a:pt x="8509" y="581"/>
                </a:cubicBezTo>
                <a:cubicBezTo>
                  <a:pt x="8514" y="581"/>
                  <a:pt x="8519" y="580"/>
                  <a:pt x="8522" y="581"/>
                </a:cubicBezTo>
                <a:cubicBezTo>
                  <a:pt x="8514" y="599"/>
                  <a:pt x="8504" y="622"/>
                  <a:pt x="8497" y="640"/>
                </a:cubicBezTo>
                <a:cubicBezTo>
                  <a:pt x="8457" y="729"/>
                  <a:pt x="8447" y="753"/>
                  <a:pt x="8453" y="780"/>
                </a:cubicBezTo>
                <a:cubicBezTo>
                  <a:pt x="8456" y="792"/>
                  <a:pt x="8462" y="800"/>
                  <a:pt x="8469" y="800"/>
                </a:cubicBezTo>
                <a:cubicBezTo>
                  <a:pt x="8498" y="800"/>
                  <a:pt x="8538" y="747"/>
                  <a:pt x="8585" y="687"/>
                </a:cubicBezTo>
                <a:cubicBezTo>
                  <a:pt x="8632" y="626"/>
                  <a:pt x="8684" y="557"/>
                  <a:pt x="8718" y="557"/>
                </a:cubicBezTo>
                <a:cubicBezTo>
                  <a:pt x="8748" y="557"/>
                  <a:pt x="8754" y="610"/>
                  <a:pt x="8755" y="642"/>
                </a:cubicBezTo>
                <a:cubicBezTo>
                  <a:pt x="8748" y="643"/>
                  <a:pt x="8741" y="639"/>
                  <a:pt x="8735" y="646"/>
                </a:cubicBezTo>
                <a:cubicBezTo>
                  <a:pt x="8714" y="668"/>
                  <a:pt x="8707" y="715"/>
                  <a:pt x="8713" y="759"/>
                </a:cubicBezTo>
                <a:cubicBezTo>
                  <a:pt x="8701" y="790"/>
                  <a:pt x="8694" y="811"/>
                  <a:pt x="8682" y="838"/>
                </a:cubicBezTo>
                <a:cubicBezTo>
                  <a:pt x="8660" y="891"/>
                  <a:pt x="8638" y="941"/>
                  <a:pt x="8626" y="975"/>
                </a:cubicBezTo>
                <a:lnTo>
                  <a:pt x="8441" y="1018"/>
                </a:lnTo>
                <a:cubicBezTo>
                  <a:pt x="8440" y="1017"/>
                  <a:pt x="8439" y="1013"/>
                  <a:pt x="8438" y="1012"/>
                </a:cubicBezTo>
                <a:cubicBezTo>
                  <a:pt x="8426" y="1004"/>
                  <a:pt x="8412" y="1006"/>
                  <a:pt x="8400" y="1019"/>
                </a:cubicBezTo>
                <a:cubicBezTo>
                  <a:pt x="8398" y="1021"/>
                  <a:pt x="8398" y="1027"/>
                  <a:pt x="8396" y="1029"/>
                </a:cubicBezTo>
                <a:lnTo>
                  <a:pt x="8114" y="1096"/>
                </a:lnTo>
                <a:lnTo>
                  <a:pt x="8080" y="834"/>
                </a:lnTo>
                <a:lnTo>
                  <a:pt x="7981" y="77"/>
                </a:lnTo>
                <a:close/>
                <a:moveTo>
                  <a:pt x="7910" y="100"/>
                </a:moveTo>
                <a:cubicBezTo>
                  <a:pt x="7910" y="113"/>
                  <a:pt x="7910" y="126"/>
                  <a:pt x="7913" y="138"/>
                </a:cubicBezTo>
                <a:cubicBezTo>
                  <a:pt x="7921" y="170"/>
                  <a:pt x="7941" y="181"/>
                  <a:pt x="7957" y="166"/>
                </a:cubicBezTo>
                <a:lnTo>
                  <a:pt x="8074" y="1092"/>
                </a:lnTo>
                <a:cubicBezTo>
                  <a:pt x="8071" y="1094"/>
                  <a:pt x="8068" y="1091"/>
                  <a:pt x="8065" y="1094"/>
                </a:cubicBezTo>
                <a:cubicBezTo>
                  <a:pt x="8041" y="1119"/>
                  <a:pt x="8032" y="1178"/>
                  <a:pt x="8045" y="1226"/>
                </a:cubicBezTo>
                <a:cubicBezTo>
                  <a:pt x="8055" y="1265"/>
                  <a:pt x="8076" y="1277"/>
                  <a:pt x="8096" y="1270"/>
                </a:cubicBezTo>
                <a:lnTo>
                  <a:pt x="8126" y="1499"/>
                </a:lnTo>
                <a:cubicBezTo>
                  <a:pt x="8118" y="1499"/>
                  <a:pt x="8110" y="1496"/>
                  <a:pt x="8102" y="1504"/>
                </a:cubicBezTo>
                <a:cubicBezTo>
                  <a:pt x="8078" y="1529"/>
                  <a:pt x="8069" y="1589"/>
                  <a:pt x="8082" y="1637"/>
                </a:cubicBezTo>
                <a:cubicBezTo>
                  <a:pt x="8095" y="1685"/>
                  <a:pt x="8124" y="1703"/>
                  <a:pt x="8148" y="1678"/>
                </a:cubicBezTo>
                <a:lnTo>
                  <a:pt x="8191" y="2020"/>
                </a:lnTo>
                <a:cubicBezTo>
                  <a:pt x="8189" y="2019"/>
                  <a:pt x="8187" y="2014"/>
                  <a:pt x="8185" y="2014"/>
                </a:cubicBezTo>
                <a:cubicBezTo>
                  <a:pt x="8166" y="2014"/>
                  <a:pt x="8151" y="2045"/>
                  <a:pt x="8151" y="2083"/>
                </a:cubicBezTo>
                <a:cubicBezTo>
                  <a:pt x="8151" y="2121"/>
                  <a:pt x="8166" y="2151"/>
                  <a:pt x="8185" y="2151"/>
                </a:cubicBezTo>
                <a:cubicBezTo>
                  <a:pt x="8193" y="2151"/>
                  <a:pt x="8200" y="2143"/>
                  <a:pt x="8206" y="2133"/>
                </a:cubicBezTo>
                <a:lnTo>
                  <a:pt x="8276" y="2685"/>
                </a:lnTo>
                <a:lnTo>
                  <a:pt x="8287" y="2776"/>
                </a:lnTo>
                <a:cubicBezTo>
                  <a:pt x="8265" y="2802"/>
                  <a:pt x="8256" y="2858"/>
                  <a:pt x="8268" y="2905"/>
                </a:cubicBezTo>
                <a:cubicBezTo>
                  <a:pt x="8277" y="2937"/>
                  <a:pt x="8292" y="2949"/>
                  <a:pt x="8309" y="2951"/>
                </a:cubicBezTo>
                <a:lnTo>
                  <a:pt x="8409" y="3742"/>
                </a:lnTo>
                <a:cubicBezTo>
                  <a:pt x="8390" y="3755"/>
                  <a:pt x="8374" y="3786"/>
                  <a:pt x="8374" y="3830"/>
                </a:cubicBezTo>
                <a:cubicBezTo>
                  <a:pt x="8374" y="3857"/>
                  <a:pt x="8380" y="3883"/>
                  <a:pt x="8389" y="3901"/>
                </a:cubicBezTo>
                <a:cubicBezTo>
                  <a:pt x="8373" y="3908"/>
                  <a:pt x="8357" y="3912"/>
                  <a:pt x="8339" y="3924"/>
                </a:cubicBezTo>
                <a:lnTo>
                  <a:pt x="8216" y="3563"/>
                </a:lnTo>
                <a:cubicBezTo>
                  <a:pt x="8224" y="3545"/>
                  <a:pt x="8230" y="3521"/>
                  <a:pt x="8230" y="3494"/>
                </a:cubicBezTo>
                <a:cubicBezTo>
                  <a:pt x="8230" y="3439"/>
                  <a:pt x="8209" y="3395"/>
                  <a:pt x="8181" y="3395"/>
                </a:cubicBezTo>
                <a:cubicBezTo>
                  <a:pt x="8175" y="3395"/>
                  <a:pt x="8170" y="3405"/>
                  <a:pt x="8164" y="3410"/>
                </a:cubicBezTo>
                <a:lnTo>
                  <a:pt x="7855" y="2503"/>
                </a:lnTo>
                <a:cubicBezTo>
                  <a:pt x="7855" y="2497"/>
                  <a:pt x="7858" y="2493"/>
                  <a:pt x="7858" y="2487"/>
                </a:cubicBezTo>
                <a:cubicBezTo>
                  <a:pt x="7858" y="2440"/>
                  <a:pt x="7840" y="2406"/>
                  <a:pt x="7819" y="2396"/>
                </a:cubicBezTo>
                <a:lnTo>
                  <a:pt x="7621" y="1815"/>
                </a:lnTo>
                <a:cubicBezTo>
                  <a:pt x="7625" y="1796"/>
                  <a:pt x="7628" y="1775"/>
                  <a:pt x="7628" y="1752"/>
                </a:cubicBezTo>
                <a:cubicBezTo>
                  <a:pt x="7628" y="1670"/>
                  <a:pt x="7595" y="1604"/>
                  <a:pt x="7555" y="1604"/>
                </a:cubicBezTo>
                <a:cubicBezTo>
                  <a:pt x="7553" y="1604"/>
                  <a:pt x="7551" y="1606"/>
                  <a:pt x="7549" y="1606"/>
                </a:cubicBezTo>
                <a:lnTo>
                  <a:pt x="7426" y="1244"/>
                </a:lnTo>
                <a:cubicBezTo>
                  <a:pt x="7436" y="1219"/>
                  <a:pt x="7442" y="1189"/>
                  <a:pt x="7442" y="1155"/>
                </a:cubicBezTo>
                <a:cubicBezTo>
                  <a:pt x="7442" y="1111"/>
                  <a:pt x="7432" y="1072"/>
                  <a:pt x="7416" y="1045"/>
                </a:cubicBezTo>
                <a:lnTo>
                  <a:pt x="7455" y="845"/>
                </a:lnTo>
                <a:cubicBezTo>
                  <a:pt x="7467" y="840"/>
                  <a:pt x="7476" y="822"/>
                  <a:pt x="7476" y="797"/>
                </a:cubicBezTo>
                <a:cubicBezTo>
                  <a:pt x="7476" y="786"/>
                  <a:pt x="7473" y="777"/>
                  <a:pt x="7470" y="768"/>
                </a:cubicBezTo>
                <a:lnTo>
                  <a:pt x="7555" y="331"/>
                </a:lnTo>
                <a:cubicBezTo>
                  <a:pt x="7566" y="331"/>
                  <a:pt x="7578" y="328"/>
                  <a:pt x="7589" y="316"/>
                </a:cubicBezTo>
                <a:cubicBezTo>
                  <a:pt x="7613" y="291"/>
                  <a:pt x="7625" y="243"/>
                  <a:pt x="7627" y="194"/>
                </a:cubicBezTo>
                <a:cubicBezTo>
                  <a:pt x="7638" y="192"/>
                  <a:pt x="7650" y="192"/>
                  <a:pt x="7663" y="194"/>
                </a:cubicBezTo>
                <a:cubicBezTo>
                  <a:pt x="7672" y="195"/>
                  <a:pt x="7682" y="196"/>
                  <a:pt x="7694" y="196"/>
                </a:cubicBezTo>
                <a:cubicBezTo>
                  <a:pt x="7746" y="196"/>
                  <a:pt x="7794" y="166"/>
                  <a:pt x="7840" y="136"/>
                </a:cubicBezTo>
                <a:cubicBezTo>
                  <a:pt x="7863" y="122"/>
                  <a:pt x="7887" y="111"/>
                  <a:pt x="7910" y="100"/>
                </a:cubicBezTo>
                <a:close/>
                <a:moveTo>
                  <a:pt x="5681" y="204"/>
                </a:moveTo>
                <a:cubicBezTo>
                  <a:pt x="5660" y="204"/>
                  <a:pt x="5647" y="229"/>
                  <a:pt x="5637" y="248"/>
                </a:cubicBezTo>
                <a:cubicBezTo>
                  <a:pt x="5627" y="266"/>
                  <a:pt x="5622" y="276"/>
                  <a:pt x="5613" y="276"/>
                </a:cubicBezTo>
                <a:cubicBezTo>
                  <a:pt x="5602" y="276"/>
                  <a:pt x="5594" y="268"/>
                  <a:pt x="5584" y="257"/>
                </a:cubicBezTo>
                <a:cubicBezTo>
                  <a:pt x="5572" y="243"/>
                  <a:pt x="5557" y="225"/>
                  <a:pt x="5533" y="225"/>
                </a:cubicBezTo>
                <a:cubicBezTo>
                  <a:pt x="5520" y="225"/>
                  <a:pt x="5508" y="236"/>
                  <a:pt x="5500" y="254"/>
                </a:cubicBezTo>
                <a:lnTo>
                  <a:pt x="5263" y="254"/>
                </a:lnTo>
                <a:cubicBezTo>
                  <a:pt x="5235" y="254"/>
                  <a:pt x="5215" y="276"/>
                  <a:pt x="5203" y="321"/>
                </a:cubicBezTo>
                <a:cubicBezTo>
                  <a:pt x="5202" y="323"/>
                  <a:pt x="5200" y="325"/>
                  <a:pt x="5198" y="328"/>
                </a:cubicBezTo>
                <a:cubicBezTo>
                  <a:pt x="5193" y="322"/>
                  <a:pt x="5185" y="318"/>
                  <a:pt x="5172" y="318"/>
                </a:cubicBezTo>
                <a:cubicBezTo>
                  <a:pt x="5107" y="318"/>
                  <a:pt x="5077" y="406"/>
                  <a:pt x="5058" y="500"/>
                </a:cubicBezTo>
                <a:cubicBezTo>
                  <a:pt x="5055" y="498"/>
                  <a:pt x="5052" y="496"/>
                  <a:pt x="5049" y="493"/>
                </a:cubicBezTo>
                <a:cubicBezTo>
                  <a:pt x="5003" y="454"/>
                  <a:pt x="4955" y="416"/>
                  <a:pt x="4924" y="416"/>
                </a:cubicBezTo>
                <a:cubicBezTo>
                  <a:pt x="4895" y="416"/>
                  <a:pt x="4886" y="447"/>
                  <a:pt x="4880" y="470"/>
                </a:cubicBezTo>
                <a:cubicBezTo>
                  <a:pt x="4873" y="493"/>
                  <a:pt x="4868" y="509"/>
                  <a:pt x="4840" y="509"/>
                </a:cubicBezTo>
                <a:cubicBezTo>
                  <a:pt x="4831" y="509"/>
                  <a:pt x="4824" y="522"/>
                  <a:pt x="4824" y="539"/>
                </a:cubicBezTo>
                <a:cubicBezTo>
                  <a:pt x="4824" y="540"/>
                  <a:pt x="4823" y="543"/>
                  <a:pt x="4822" y="543"/>
                </a:cubicBezTo>
                <a:lnTo>
                  <a:pt x="4776" y="543"/>
                </a:lnTo>
                <a:cubicBezTo>
                  <a:pt x="4765" y="543"/>
                  <a:pt x="4752" y="545"/>
                  <a:pt x="4738" y="548"/>
                </a:cubicBezTo>
                <a:cubicBezTo>
                  <a:pt x="4702" y="555"/>
                  <a:pt x="4665" y="571"/>
                  <a:pt x="4635" y="591"/>
                </a:cubicBezTo>
                <a:cubicBezTo>
                  <a:pt x="4628" y="596"/>
                  <a:pt x="4621" y="602"/>
                  <a:pt x="4614" y="607"/>
                </a:cubicBezTo>
                <a:cubicBezTo>
                  <a:pt x="4576" y="639"/>
                  <a:pt x="4555" y="678"/>
                  <a:pt x="4549" y="724"/>
                </a:cubicBezTo>
                <a:cubicBezTo>
                  <a:pt x="4548" y="733"/>
                  <a:pt x="4549" y="742"/>
                  <a:pt x="4552" y="750"/>
                </a:cubicBezTo>
                <a:cubicBezTo>
                  <a:pt x="4555" y="757"/>
                  <a:pt x="4559" y="761"/>
                  <a:pt x="4564" y="761"/>
                </a:cubicBezTo>
                <a:lnTo>
                  <a:pt x="4610" y="761"/>
                </a:lnTo>
                <a:cubicBezTo>
                  <a:pt x="4613" y="761"/>
                  <a:pt x="4616" y="759"/>
                  <a:pt x="4619" y="755"/>
                </a:cubicBezTo>
                <a:cubicBezTo>
                  <a:pt x="4623" y="749"/>
                  <a:pt x="4634" y="739"/>
                  <a:pt x="4645" y="731"/>
                </a:cubicBezTo>
                <a:lnTo>
                  <a:pt x="4647" y="731"/>
                </a:lnTo>
                <a:cubicBezTo>
                  <a:pt x="4643" y="737"/>
                  <a:pt x="4640" y="744"/>
                  <a:pt x="4636" y="752"/>
                </a:cubicBezTo>
                <a:cubicBezTo>
                  <a:pt x="4633" y="759"/>
                  <a:pt x="4631" y="768"/>
                  <a:pt x="4631" y="778"/>
                </a:cubicBezTo>
                <a:cubicBezTo>
                  <a:pt x="4632" y="787"/>
                  <a:pt x="4635" y="795"/>
                  <a:pt x="4639" y="800"/>
                </a:cubicBezTo>
                <a:lnTo>
                  <a:pt x="4641" y="802"/>
                </a:lnTo>
                <a:cubicBezTo>
                  <a:pt x="4652" y="815"/>
                  <a:pt x="4663" y="826"/>
                  <a:pt x="4673" y="832"/>
                </a:cubicBezTo>
                <a:cubicBezTo>
                  <a:pt x="4671" y="841"/>
                  <a:pt x="4668" y="850"/>
                  <a:pt x="4666" y="859"/>
                </a:cubicBezTo>
                <a:cubicBezTo>
                  <a:pt x="4664" y="869"/>
                  <a:pt x="4665" y="881"/>
                  <a:pt x="4669" y="890"/>
                </a:cubicBezTo>
                <a:cubicBezTo>
                  <a:pt x="4671" y="897"/>
                  <a:pt x="4676" y="901"/>
                  <a:pt x="4680" y="901"/>
                </a:cubicBezTo>
                <a:cubicBezTo>
                  <a:pt x="4681" y="901"/>
                  <a:pt x="4681" y="901"/>
                  <a:pt x="4682" y="901"/>
                </a:cubicBezTo>
                <a:cubicBezTo>
                  <a:pt x="4687" y="900"/>
                  <a:pt x="4698" y="900"/>
                  <a:pt x="4711" y="900"/>
                </a:cubicBezTo>
                <a:cubicBezTo>
                  <a:pt x="4709" y="904"/>
                  <a:pt x="4708" y="909"/>
                  <a:pt x="4708" y="914"/>
                </a:cubicBezTo>
                <a:cubicBezTo>
                  <a:pt x="4708" y="922"/>
                  <a:pt x="4708" y="930"/>
                  <a:pt x="4711" y="936"/>
                </a:cubicBezTo>
                <a:cubicBezTo>
                  <a:pt x="4730" y="986"/>
                  <a:pt x="4795" y="1037"/>
                  <a:pt x="4840" y="1038"/>
                </a:cubicBezTo>
                <a:cubicBezTo>
                  <a:pt x="4862" y="1038"/>
                  <a:pt x="4876" y="1015"/>
                  <a:pt x="4891" y="994"/>
                </a:cubicBezTo>
                <a:lnTo>
                  <a:pt x="4898" y="994"/>
                </a:lnTo>
                <a:cubicBezTo>
                  <a:pt x="4898" y="1001"/>
                  <a:pt x="4900" y="1008"/>
                  <a:pt x="4902" y="1014"/>
                </a:cubicBezTo>
                <a:cubicBezTo>
                  <a:pt x="4907" y="1031"/>
                  <a:pt x="4916" y="1044"/>
                  <a:pt x="4926" y="1054"/>
                </a:cubicBezTo>
                <a:cubicBezTo>
                  <a:pt x="4920" y="1055"/>
                  <a:pt x="4915" y="1054"/>
                  <a:pt x="4909" y="1053"/>
                </a:cubicBezTo>
                <a:cubicBezTo>
                  <a:pt x="4899" y="1050"/>
                  <a:pt x="4889" y="1049"/>
                  <a:pt x="4880" y="1056"/>
                </a:cubicBezTo>
                <a:cubicBezTo>
                  <a:pt x="4875" y="1061"/>
                  <a:pt x="4872" y="1073"/>
                  <a:pt x="4872" y="1085"/>
                </a:cubicBezTo>
                <a:cubicBezTo>
                  <a:pt x="4871" y="1086"/>
                  <a:pt x="4872" y="1086"/>
                  <a:pt x="4872" y="1087"/>
                </a:cubicBezTo>
                <a:cubicBezTo>
                  <a:pt x="4871" y="1089"/>
                  <a:pt x="4872" y="1091"/>
                  <a:pt x="4872" y="1094"/>
                </a:cubicBezTo>
                <a:cubicBezTo>
                  <a:pt x="4872" y="1094"/>
                  <a:pt x="4872" y="1094"/>
                  <a:pt x="4872" y="1095"/>
                </a:cubicBezTo>
                <a:cubicBezTo>
                  <a:pt x="4872" y="1095"/>
                  <a:pt x="4872" y="1096"/>
                  <a:pt x="4872" y="1096"/>
                </a:cubicBezTo>
                <a:cubicBezTo>
                  <a:pt x="4873" y="1101"/>
                  <a:pt x="4874" y="1105"/>
                  <a:pt x="4874" y="1110"/>
                </a:cubicBezTo>
                <a:cubicBezTo>
                  <a:pt x="4860" y="1118"/>
                  <a:pt x="4852" y="1135"/>
                  <a:pt x="4851" y="1160"/>
                </a:cubicBezTo>
                <a:cubicBezTo>
                  <a:pt x="4847" y="1152"/>
                  <a:pt x="4842" y="1147"/>
                  <a:pt x="4839" y="1142"/>
                </a:cubicBezTo>
                <a:cubicBezTo>
                  <a:pt x="4837" y="1139"/>
                  <a:pt x="4834" y="1134"/>
                  <a:pt x="4833" y="1134"/>
                </a:cubicBezTo>
                <a:lnTo>
                  <a:pt x="4833" y="1126"/>
                </a:lnTo>
                <a:cubicBezTo>
                  <a:pt x="4833" y="1097"/>
                  <a:pt x="4833" y="1072"/>
                  <a:pt x="4824" y="1053"/>
                </a:cubicBezTo>
                <a:cubicBezTo>
                  <a:pt x="4815" y="1035"/>
                  <a:pt x="4802" y="1033"/>
                  <a:pt x="4791" y="1033"/>
                </a:cubicBezTo>
                <a:lnTo>
                  <a:pt x="4769" y="1033"/>
                </a:lnTo>
                <a:cubicBezTo>
                  <a:pt x="4764" y="1033"/>
                  <a:pt x="4759" y="1038"/>
                  <a:pt x="4756" y="1048"/>
                </a:cubicBezTo>
                <a:cubicBezTo>
                  <a:pt x="4754" y="1058"/>
                  <a:pt x="4754" y="1070"/>
                  <a:pt x="4757" y="1080"/>
                </a:cubicBezTo>
                <a:lnTo>
                  <a:pt x="4765" y="1102"/>
                </a:lnTo>
                <a:lnTo>
                  <a:pt x="4765" y="1118"/>
                </a:lnTo>
                <a:lnTo>
                  <a:pt x="4762" y="1118"/>
                </a:lnTo>
                <a:cubicBezTo>
                  <a:pt x="4759" y="1110"/>
                  <a:pt x="4758" y="1098"/>
                  <a:pt x="4756" y="1087"/>
                </a:cubicBezTo>
                <a:cubicBezTo>
                  <a:pt x="4753" y="1059"/>
                  <a:pt x="4748" y="1021"/>
                  <a:pt x="4722" y="1000"/>
                </a:cubicBezTo>
                <a:cubicBezTo>
                  <a:pt x="4706" y="987"/>
                  <a:pt x="4687" y="989"/>
                  <a:pt x="4671" y="994"/>
                </a:cubicBezTo>
                <a:cubicBezTo>
                  <a:pt x="4659" y="998"/>
                  <a:pt x="4648" y="1001"/>
                  <a:pt x="4637" y="992"/>
                </a:cubicBezTo>
                <a:cubicBezTo>
                  <a:pt x="4627" y="985"/>
                  <a:pt x="4623" y="963"/>
                  <a:pt x="4616" y="927"/>
                </a:cubicBezTo>
                <a:cubicBezTo>
                  <a:pt x="4608" y="885"/>
                  <a:pt x="4598" y="832"/>
                  <a:pt x="4569" y="809"/>
                </a:cubicBezTo>
                <a:cubicBezTo>
                  <a:pt x="4529" y="778"/>
                  <a:pt x="4485" y="768"/>
                  <a:pt x="4431" y="760"/>
                </a:cubicBezTo>
                <a:cubicBezTo>
                  <a:pt x="4427" y="759"/>
                  <a:pt x="4423" y="763"/>
                  <a:pt x="4420" y="769"/>
                </a:cubicBezTo>
                <a:cubicBezTo>
                  <a:pt x="4417" y="776"/>
                  <a:pt x="4415" y="784"/>
                  <a:pt x="4415" y="793"/>
                </a:cubicBezTo>
                <a:cubicBezTo>
                  <a:pt x="4416" y="815"/>
                  <a:pt x="4420" y="832"/>
                  <a:pt x="4425" y="845"/>
                </a:cubicBezTo>
                <a:cubicBezTo>
                  <a:pt x="4405" y="849"/>
                  <a:pt x="4391" y="866"/>
                  <a:pt x="4375" y="885"/>
                </a:cubicBezTo>
                <a:lnTo>
                  <a:pt x="4370" y="892"/>
                </a:lnTo>
                <a:cubicBezTo>
                  <a:pt x="4365" y="897"/>
                  <a:pt x="4362" y="907"/>
                  <a:pt x="4362" y="917"/>
                </a:cubicBezTo>
                <a:cubicBezTo>
                  <a:pt x="4362" y="926"/>
                  <a:pt x="4367" y="948"/>
                  <a:pt x="4374" y="969"/>
                </a:cubicBezTo>
                <a:lnTo>
                  <a:pt x="4374" y="969"/>
                </a:lnTo>
                <a:cubicBezTo>
                  <a:pt x="4360" y="969"/>
                  <a:pt x="4320" y="968"/>
                  <a:pt x="4320" y="1041"/>
                </a:cubicBezTo>
                <a:cubicBezTo>
                  <a:pt x="4320" y="1063"/>
                  <a:pt x="4326" y="1082"/>
                  <a:pt x="4336" y="1097"/>
                </a:cubicBezTo>
                <a:lnTo>
                  <a:pt x="4313" y="1097"/>
                </a:lnTo>
                <a:cubicBezTo>
                  <a:pt x="4309" y="1097"/>
                  <a:pt x="4305" y="1100"/>
                  <a:pt x="4302" y="1106"/>
                </a:cubicBezTo>
                <a:cubicBezTo>
                  <a:pt x="4299" y="1113"/>
                  <a:pt x="4298" y="1121"/>
                  <a:pt x="4299" y="1130"/>
                </a:cubicBezTo>
                <a:cubicBezTo>
                  <a:pt x="4305" y="1245"/>
                  <a:pt x="4342" y="1278"/>
                  <a:pt x="4384" y="1288"/>
                </a:cubicBezTo>
                <a:cubicBezTo>
                  <a:pt x="4383" y="1289"/>
                  <a:pt x="4383" y="1289"/>
                  <a:pt x="4382" y="1289"/>
                </a:cubicBezTo>
                <a:cubicBezTo>
                  <a:pt x="4376" y="1294"/>
                  <a:pt x="4373" y="1305"/>
                  <a:pt x="4373" y="1317"/>
                </a:cubicBezTo>
                <a:cubicBezTo>
                  <a:pt x="4373" y="1377"/>
                  <a:pt x="4390" y="1390"/>
                  <a:pt x="4405" y="1390"/>
                </a:cubicBezTo>
                <a:cubicBezTo>
                  <a:pt x="4419" y="1390"/>
                  <a:pt x="4428" y="1380"/>
                  <a:pt x="4438" y="1370"/>
                </a:cubicBezTo>
                <a:cubicBezTo>
                  <a:pt x="4439" y="1368"/>
                  <a:pt x="4440" y="1368"/>
                  <a:pt x="4442" y="1366"/>
                </a:cubicBezTo>
                <a:cubicBezTo>
                  <a:pt x="4446" y="1384"/>
                  <a:pt x="4454" y="1403"/>
                  <a:pt x="4469" y="1409"/>
                </a:cubicBezTo>
                <a:cubicBezTo>
                  <a:pt x="4459" y="1424"/>
                  <a:pt x="4453" y="1442"/>
                  <a:pt x="4453" y="1467"/>
                </a:cubicBezTo>
                <a:cubicBezTo>
                  <a:pt x="4453" y="1530"/>
                  <a:pt x="4488" y="1571"/>
                  <a:pt x="4523" y="1590"/>
                </a:cubicBezTo>
                <a:cubicBezTo>
                  <a:pt x="4522" y="1595"/>
                  <a:pt x="4521" y="1601"/>
                  <a:pt x="4521" y="1606"/>
                </a:cubicBezTo>
                <a:cubicBezTo>
                  <a:pt x="4528" y="1701"/>
                  <a:pt x="4599" y="1709"/>
                  <a:pt x="4621" y="1709"/>
                </a:cubicBezTo>
                <a:cubicBezTo>
                  <a:pt x="4655" y="1709"/>
                  <a:pt x="4676" y="1684"/>
                  <a:pt x="4683" y="1633"/>
                </a:cubicBezTo>
                <a:cubicBezTo>
                  <a:pt x="4708" y="1666"/>
                  <a:pt x="4733" y="1691"/>
                  <a:pt x="4750" y="1687"/>
                </a:cubicBezTo>
                <a:cubicBezTo>
                  <a:pt x="4758" y="1685"/>
                  <a:pt x="4763" y="1673"/>
                  <a:pt x="4763" y="1658"/>
                </a:cubicBezTo>
                <a:lnTo>
                  <a:pt x="4763" y="1632"/>
                </a:lnTo>
                <a:lnTo>
                  <a:pt x="4786" y="1632"/>
                </a:lnTo>
                <a:cubicBezTo>
                  <a:pt x="4794" y="1632"/>
                  <a:pt x="4802" y="1618"/>
                  <a:pt x="4802" y="1602"/>
                </a:cubicBezTo>
                <a:cubicBezTo>
                  <a:pt x="4802" y="1596"/>
                  <a:pt x="4800" y="1590"/>
                  <a:pt x="4799" y="1585"/>
                </a:cubicBezTo>
                <a:cubicBezTo>
                  <a:pt x="4796" y="1570"/>
                  <a:pt x="4792" y="1559"/>
                  <a:pt x="4788" y="1548"/>
                </a:cubicBezTo>
                <a:cubicBezTo>
                  <a:pt x="4794" y="1560"/>
                  <a:pt x="4804" y="1569"/>
                  <a:pt x="4818" y="1569"/>
                </a:cubicBezTo>
                <a:cubicBezTo>
                  <a:pt x="4822" y="1569"/>
                  <a:pt x="4827" y="1566"/>
                  <a:pt x="4831" y="1563"/>
                </a:cubicBezTo>
                <a:cubicBezTo>
                  <a:pt x="4825" y="1582"/>
                  <a:pt x="4820" y="1603"/>
                  <a:pt x="4815" y="1624"/>
                </a:cubicBezTo>
                <a:cubicBezTo>
                  <a:pt x="4814" y="1628"/>
                  <a:pt x="4814" y="1632"/>
                  <a:pt x="4814" y="1637"/>
                </a:cubicBezTo>
                <a:lnTo>
                  <a:pt x="4814" y="1687"/>
                </a:lnTo>
                <a:cubicBezTo>
                  <a:pt x="4814" y="1703"/>
                  <a:pt x="4820" y="1717"/>
                  <a:pt x="4828" y="1717"/>
                </a:cubicBezTo>
                <a:lnTo>
                  <a:pt x="4860" y="1717"/>
                </a:lnTo>
                <a:cubicBezTo>
                  <a:pt x="4861" y="1717"/>
                  <a:pt x="4862" y="1716"/>
                  <a:pt x="4862" y="1716"/>
                </a:cubicBezTo>
                <a:cubicBezTo>
                  <a:pt x="4862" y="1720"/>
                  <a:pt x="4860" y="1723"/>
                  <a:pt x="4860" y="1727"/>
                </a:cubicBezTo>
                <a:cubicBezTo>
                  <a:pt x="4853" y="1725"/>
                  <a:pt x="4847" y="1721"/>
                  <a:pt x="4840" y="1721"/>
                </a:cubicBezTo>
                <a:cubicBezTo>
                  <a:pt x="4836" y="1721"/>
                  <a:pt x="4832" y="1721"/>
                  <a:pt x="4828" y="1721"/>
                </a:cubicBezTo>
                <a:cubicBezTo>
                  <a:pt x="4824" y="1720"/>
                  <a:pt x="4819" y="1720"/>
                  <a:pt x="4814" y="1720"/>
                </a:cubicBezTo>
                <a:cubicBezTo>
                  <a:pt x="4777" y="1720"/>
                  <a:pt x="4771" y="1766"/>
                  <a:pt x="4771" y="1794"/>
                </a:cubicBezTo>
                <a:cubicBezTo>
                  <a:pt x="4771" y="1865"/>
                  <a:pt x="4799" y="1894"/>
                  <a:pt x="4822" y="1917"/>
                </a:cubicBezTo>
                <a:cubicBezTo>
                  <a:pt x="4812" y="1921"/>
                  <a:pt x="4801" y="1925"/>
                  <a:pt x="4790" y="1928"/>
                </a:cubicBezTo>
                <a:cubicBezTo>
                  <a:pt x="4777" y="1932"/>
                  <a:pt x="4764" y="1934"/>
                  <a:pt x="4752" y="1940"/>
                </a:cubicBezTo>
                <a:cubicBezTo>
                  <a:pt x="4736" y="1948"/>
                  <a:pt x="4687" y="1971"/>
                  <a:pt x="4687" y="2091"/>
                </a:cubicBezTo>
                <a:cubicBezTo>
                  <a:pt x="4687" y="2122"/>
                  <a:pt x="4700" y="2156"/>
                  <a:pt x="4723" y="2156"/>
                </a:cubicBezTo>
                <a:cubicBezTo>
                  <a:pt x="4737" y="2156"/>
                  <a:pt x="4747" y="2136"/>
                  <a:pt x="4754" y="2118"/>
                </a:cubicBezTo>
                <a:cubicBezTo>
                  <a:pt x="4782" y="2136"/>
                  <a:pt x="4807" y="2151"/>
                  <a:pt x="4833" y="2164"/>
                </a:cubicBezTo>
                <a:cubicBezTo>
                  <a:pt x="4825" y="2181"/>
                  <a:pt x="4820" y="2201"/>
                  <a:pt x="4820" y="2225"/>
                </a:cubicBezTo>
                <a:cubicBezTo>
                  <a:pt x="4820" y="2280"/>
                  <a:pt x="4842" y="2323"/>
                  <a:pt x="4869" y="2323"/>
                </a:cubicBezTo>
                <a:cubicBezTo>
                  <a:pt x="4896" y="2323"/>
                  <a:pt x="4918" y="2280"/>
                  <a:pt x="4918" y="2225"/>
                </a:cubicBezTo>
                <a:cubicBezTo>
                  <a:pt x="4918" y="2211"/>
                  <a:pt x="4913" y="2201"/>
                  <a:pt x="4910" y="2188"/>
                </a:cubicBezTo>
                <a:cubicBezTo>
                  <a:pt x="4923" y="2191"/>
                  <a:pt x="4936" y="2198"/>
                  <a:pt x="4949" y="2198"/>
                </a:cubicBezTo>
                <a:cubicBezTo>
                  <a:pt x="4971" y="2198"/>
                  <a:pt x="4986" y="2181"/>
                  <a:pt x="4997" y="2168"/>
                </a:cubicBezTo>
                <a:cubicBezTo>
                  <a:pt x="5004" y="2161"/>
                  <a:pt x="5008" y="2156"/>
                  <a:pt x="5013" y="2156"/>
                </a:cubicBezTo>
                <a:lnTo>
                  <a:pt x="5172" y="2156"/>
                </a:lnTo>
                <a:cubicBezTo>
                  <a:pt x="5185" y="2156"/>
                  <a:pt x="5188" y="2161"/>
                  <a:pt x="5192" y="2174"/>
                </a:cubicBezTo>
                <a:cubicBezTo>
                  <a:pt x="5202" y="2198"/>
                  <a:pt x="5212" y="2220"/>
                  <a:pt x="5242" y="2220"/>
                </a:cubicBezTo>
                <a:cubicBezTo>
                  <a:pt x="5246" y="2220"/>
                  <a:pt x="5255" y="2213"/>
                  <a:pt x="5260" y="2211"/>
                </a:cubicBezTo>
                <a:cubicBezTo>
                  <a:pt x="5286" y="2206"/>
                  <a:pt x="5318" y="2195"/>
                  <a:pt x="5349" y="2171"/>
                </a:cubicBezTo>
                <a:cubicBezTo>
                  <a:pt x="5401" y="2131"/>
                  <a:pt x="5427" y="2087"/>
                  <a:pt x="5427" y="2040"/>
                </a:cubicBezTo>
                <a:cubicBezTo>
                  <a:pt x="5427" y="2028"/>
                  <a:pt x="5425" y="2018"/>
                  <a:pt x="5422" y="2007"/>
                </a:cubicBezTo>
                <a:cubicBezTo>
                  <a:pt x="5411" y="1977"/>
                  <a:pt x="5391" y="1976"/>
                  <a:pt x="5384" y="1976"/>
                </a:cubicBezTo>
                <a:lnTo>
                  <a:pt x="5344" y="1976"/>
                </a:lnTo>
                <a:cubicBezTo>
                  <a:pt x="5348" y="1955"/>
                  <a:pt x="5357" y="1945"/>
                  <a:pt x="5371" y="1935"/>
                </a:cubicBezTo>
                <a:lnTo>
                  <a:pt x="5377" y="1931"/>
                </a:lnTo>
                <a:cubicBezTo>
                  <a:pt x="5378" y="1930"/>
                  <a:pt x="5379" y="1929"/>
                  <a:pt x="5380" y="1928"/>
                </a:cubicBezTo>
                <a:cubicBezTo>
                  <a:pt x="5389" y="1940"/>
                  <a:pt x="5398" y="1950"/>
                  <a:pt x="5409" y="1950"/>
                </a:cubicBezTo>
                <a:cubicBezTo>
                  <a:pt x="5436" y="1950"/>
                  <a:pt x="5458" y="1907"/>
                  <a:pt x="5458" y="1852"/>
                </a:cubicBezTo>
                <a:cubicBezTo>
                  <a:pt x="5458" y="1816"/>
                  <a:pt x="5446" y="1789"/>
                  <a:pt x="5431" y="1772"/>
                </a:cubicBezTo>
                <a:lnTo>
                  <a:pt x="5471" y="1772"/>
                </a:lnTo>
                <a:lnTo>
                  <a:pt x="5507" y="1772"/>
                </a:lnTo>
                <a:cubicBezTo>
                  <a:pt x="5510" y="1772"/>
                  <a:pt x="5513" y="1771"/>
                  <a:pt x="5516" y="1767"/>
                </a:cubicBezTo>
                <a:cubicBezTo>
                  <a:pt x="5534" y="1742"/>
                  <a:pt x="5546" y="1708"/>
                  <a:pt x="5558" y="1674"/>
                </a:cubicBezTo>
                <a:cubicBezTo>
                  <a:pt x="5573" y="1634"/>
                  <a:pt x="5587" y="1596"/>
                  <a:pt x="5609" y="1575"/>
                </a:cubicBezTo>
                <a:cubicBezTo>
                  <a:pt x="5616" y="1568"/>
                  <a:pt x="5620" y="1550"/>
                  <a:pt x="5616" y="1535"/>
                </a:cubicBezTo>
                <a:cubicBezTo>
                  <a:pt x="5611" y="1508"/>
                  <a:pt x="5603" y="1488"/>
                  <a:pt x="5594" y="1472"/>
                </a:cubicBezTo>
                <a:cubicBezTo>
                  <a:pt x="5599" y="1469"/>
                  <a:pt x="5604" y="1464"/>
                  <a:pt x="5608" y="1455"/>
                </a:cubicBezTo>
                <a:cubicBezTo>
                  <a:pt x="5615" y="1438"/>
                  <a:pt x="5618" y="1413"/>
                  <a:pt x="5618" y="1379"/>
                </a:cubicBezTo>
                <a:cubicBezTo>
                  <a:pt x="5623" y="1383"/>
                  <a:pt x="5626" y="1391"/>
                  <a:pt x="5632" y="1391"/>
                </a:cubicBezTo>
                <a:cubicBezTo>
                  <a:pt x="5657" y="1391"/>
                  <a:pt x="5675" y="1353"/>
                  <a:pt x="5679" y="1305"/>
                </a:cubicBezTo>
                <a:cubicBezTo>
                  <a:pt x="5680" y="1304"/>
                  <a:pt x="5681" y="1304"/>
                  <a:pt x="5682" y="1303"/>
                </a:cubicBezTo>
                <a:cubicBezTo>
                  <a:pt x="5692" y="1297"/>
                  <a:pt x="5707" y="1300"/>
                  <a:pt x="5724" y="1305"/>
                </a:cubicBezTo>
                <a:cubicBezTo>
                  <a:pt x="5734" y="1307"/>
                  <a:pt x="5745" y="1309"/>
                  <a:pt x="5755" y="1309"/>
                </a:cubicBezTo>
                <a:cubicBezTo>
                  <a:pt x="5772" y="1309"/>
                  <a:pt x="5785" y="1302"/>
                  <a:pt x="5796" y="1286"/>
                </a:cubicBezTo>
                <a:cubicBezTo>
                  <a:pt x="5815" y="1258"/>
                  <a:pt x="5833" y="1221"/>
                  <a:pt x="5850" y="1186"/>
                </a:cubicBezTo>
                <a:cubicBezTo>
                  <a:pt x="5848" y="1197"/>
                  <a:pt x="5843" y="1205"/>
                  <a:pt x="5843" y="1218"/>
                </a:cubicBezTo>
                <a:cubicBezTo>
                  <a:pt x="5843" y="1273"/>
                  <a:pt x="5865" y="1316"/>
                  <a:pt x="5893" y="1316"/>
                </a:cubicBezTo>
                <a:cubicBezTo>
                  <a:pt x="5920" y="1316"/>
                  <a:pt x="5941" y="1273"/>
                  <a:pt x="5941" y="1218"/>
                </a:cubicBezTo>
                <a:cubicBezTo>
                  <a:pt x="5941" y="1164"/>
                  <a:pt x="5920" y="1119"/>
                  <a:pt x="5893" y="1119"/>
                </a:cubicBezTo>
                <a:cubicBezTo>
                  <a:pt x="5887" y="1119"/>
                  <a:pt x="5884" y="1128"/>
                  <a:pt x="5879" y="1131"/>
                </a:cubicBezTo>
                <a:cubicBezTo>
                  <a:pt x="5912" y="1065"/>
                  <a:pt x="5945" y="1001"/>
                  <a:pt x="5989" y="972"/>
                </a:cubicBezTo>
                <a:cubicBezTo>
                  <a:pt x="6003" y="963"/>
                  <a:pt x="6018" y="953"/>
                  <a:pt x="6035" y="943"/>
                </a:cubicBezTo>
                <a:cubicBezTo>
                  <a:pt x="6110" y="896"/>
                  <a:pt x="6196" y="842"/>
                  <a:pt x="6239" y="757"/>
                </a:cubicBezTo>
                <a:cubicBezTo>
                  <a:pt x="6243" y="748"/>
                  <a:pt x="6244" y="735"/>
                  <a:pt x="6242" y="724"/>
                </a:cubicBezTo>
                <a:cubicBezTo>
                  <a:pt x="6240" y="713"/>
                  <a:pt x="6235" y="706"/>
                  <a:pt x="6229" y="705"/>
                </a:cubicBezTo>
                <a:cubicBezTo>
                  <a:pt x="6210" y="704"/>
                  <a:pt x="6188" y="707"/>
                  <a:pt x="6167" y="710"/>
                </a:cubicBezTo>
                <a:cubicBezTo>
                  <a:pt x="6151" y="712"/>
                  <a:pt x="6135" y="713"/>
                  <a:pt x="6121" y="713"/>
                </a:cubicBezTo>
                <a:cubicBezTo>
                  <a:pt x="6156" y="693"/>
                  <a:pt x="6189" y="687"/>
                  <a:pt x="6222" y="680"/>
                </a:cubicBezTo>
                <a:cubicBezTo>
                  <a:pt x="6278" y="668"/>
                  <a:pt x="6331" y="657"/>
                  <a:pt x="6379" y="585"/>
                </a:cubicBezTo>
                <a:cubicBezTo>
                  <a:pt x="6381" y="582"/>
                  <a:pt x="6389" y="578"/>
                  <a:pt x="6394" y="576"/>
                </a:cubicBezTo>
                <a:cubicBezTo>
                  <a:pt x="6410" y="570"/>
                  <a:pt x="6438" y="558"/>
                  <a:pt x="6438" y="498"/>
                </a:cubicBezTo>
                <a:cubicBezTo>
                  <a:pt x="6438" y="429"/>
                  <a:pt x="6395" y="413"/>
                  <a:pt x="6353" y="400"/>
                </a:cubicBezTo>
                <a:cubicBezTo>
                  <a:pt x="6331" y="393"/>
                  <a:pt x="6304" y="385"/>
                  <a:pt x="6296" y="370"/>
                </a:cubicBezTo>
                <a:cubicBezTo>
                  <a:pt x="6293" y="364"/>
                  <a:pt x="6291" y="356"/>
                  <a:pt x="6289" y="347"/>
                </a:cubicBezTo>
                <a:cubicBezTo>
                  <a:pt x="6283" y="328"/>
                  <a:pt x="6275" y="301"/>
                  <a:pt x="6254" y="290"/>
                </a:cubicBezTo>
                <a:cubicBezTo>
                  <a:pt x="6240" y="282"/>
                  <a:pt x="6233" y="275"/>
                  <a:pt x="6219" y="259"/>
                </a:cubicBezTo>
                <a:cubicBezTo>
                  <a:pt x="6215" y="255"/>
                  <a:pt x="6211" y="253"/>
                  <a:pt x="6207" y="255"/>
                </a:cubicBezTo>
                <a:lnTo>
                  <a:pt x="6093" y="322"/>
                </a:lnTo>
                <a:cubicBezTo>
                  <a:pt x="6093" y="319"/>
                  <a:pt x="6091" y="317"/>
                  <a:pt x="6090" y="315"/>
                </a:cubicBezTo>
                <a:cubicBezTo>
                  <a:pt x="6063" y="259"/>
                  <a:pt x="5988" y="232"/>
                  <a:pt x="5857" y="232"/>
                </a:cubicBezTo>
                <a:cubicBezTo>
                  <a:pt x="5844" y="232"/>
                  <a:pt x="5832" y="233"/>
                  <a:pt x="5822" y="233"/>
                </a:cubicBezTo>
                <a:lnTo>
                  <a:pt x="5755" y="233"/>
                </a:lnTo>
                <a:lnTo>
                  <a:pt x="5745" y="233"/>
                </a:lnTo>
                <a:cubicBezTo>
                  <a:pt x="5739" y="233"/>
                  <a:pt x="5734" y="228"/>
                  <a:pt x="5727" y="223"/>
                </a:cubicBezTo>
                <a:cubicBezTo>
                  <a:pt x="5716" y="214"/>
                  <a:pt x="5702" y="204"/>
                  <a:pt x="5681" y="204"/>
                </a:cubicBezTo>
                <a:close/>
                <a:moveTo>
                  <a:pt x="7435" y="217"/>
                </a:moveTo>
                <a:lnTo>
                  <a:pt x="7463" y="217"/>
                </a:lnTo>
                <a:cubicBezTo>
                  <a:pt x="7470" y="217"/>
                  <a:pt x="7477" y="221"/>
                  <a:pt x="7484" y="222"/>
                </a:cubicBezTo>
                <a:cubicBezTo>
                  <a:pt x="7486" y="233"/>
                  <a:pt x="7487" y="244"/>
                  <a:pt x="7489" y="254"/>
                </a:cubicBezTo>
                <a:cubicBezTo>
                  <a:pt x="7497" y="285"/>
                  <a:pt x="7510" y="305"/>
                  <a:pt x="7525" y="318"/>
                </a:cubicBezTo>
                <a:lnTo>
                  <a:pt x="7440" y="755"/>
                </a:lnTo>
                <a:cubicBezTo>
                  <a:pt x="7432" y="764"/>
                  <a:pt x="7425" y="777"/>
                  <a:pt x="7425" y="797"/>
                </a:cubicBezTo>
                <a:cubicBezTo>
                  <a:pt x="7425" y="804"/>
                  <a:pt x="7427" y="809"/>
                  <a:pt x="7428" y="815"/>
                </a:cubicBezTo>
                <a:lnTo>
                  <a:pt x="7389" y="1015"/>
                </a:lnTo>
                <a:cubicBezTo>
                  <a:pt x="7383" y="1011"/>
                  <a:pt x="7376" y="1007"/>
                  <a:pt x="7368" y="1007"/>
                </a:cubicBezTo>
                <a:cubicBezTo>
                  <a:pt x="7352" y="1007"/>
                  <a:pt x="7337" y="1020"/>
                  <a:pt x="7325" y="1039"/>
                </a:cubicBezTo>
                <a:lnTo>
                  <a:pt x="7018" y="583"/>
                </a:lnTo>
                <a:cubicBezTo>
                  <a:pt x="7020" y="581"/>
                  <a:pt x="7022" y="577"/>
                  <a:pt x="7023" y="574"/>
                </a:cubicBezTo>
                <a:cubicBezTo>
                  <a:pt x="7026" y="565"/>
                  <a:pt x="7027" y="555"/>
                  <a:pt x="7025" y="546"/>
                </a:cubicBezTo>
                <a:cubicBezTo>
                  <a:pt x="7023" y="534"/>
                  <a:pt x="7020" y="523"/>
                  <a:pt x="7017" y="513"/>
                </a:cubicBezTo>
                <a:cubicBezTo>
                  <a:pt x="7013" y="494"/>
                  <a:pt x="7009" y="480"/>
                  <a:pt x="7009" y="464"/>
                </a:cubicBezTo>
                <a:cubicBezTo>
                  <a:pt x="7009" y="458"/>
                  <a:pt x="7009" y="438"/>
                  <a:pt x="7047" y="438"/>
                </a:cubicBezTo>
                <a:cubicBezTo>
                  <a:pt x="7107" y="438"/>
                  <a:pt x="7149" y="488"/>
                  <a:pt x="7189" y="536"/>
                </a:cubicBezTo>
                <a:cubicBezTo>
                  <a:pt x="7203" y="554"/>
                  <a:pt x="7217" y="570"/>
                  <a:pt x="7231" y="584"/>
                </a:cubicBezTo>
                <a:cubicBezTo>
                  <a:pt x="7233" y="586"/>
                  <a:pt x="7235" y="586"/>
                  <a:pt x="7238" y="586"/>
                </a:cubicBezTo>
                <a:lnTo>
                  <a:pt x="7333" y="586"/>
                </a:lnTo>
                <a:cubicBezTo>
                  <a:pt x="7340" y="586"/>
                  <a:pt x="7346" y="578"/>
                  <a:pt x="7348" y="564"/>
                </a:cubicBezTo>
                <a:cubicBezTo>
                  <a:pt x="7349" y="551"/>
                  <a:pt x="7346" y="537"/>
                  <a:pt x="7339" y="530"/>
                </a:cubicBezTo>
                <a:cubicBezTo>
                  <a:pt x="7333" y="524"/>
                  <a:pt x="7324" y="515"/>
                  <a:pt x="7314" y="507"/>
                </a:cubicBezTo>
                <a:cubicBezTo>
                  <a:pt x="7307" y="501"/>
                  <a:pt x="7298" y="491"/>
                  <a:pt x="7289" y="483"/>
                </a:cubicBezTo>
                <a:cubicBezTo>
                  <a:pt x="7298" y="454"/>
                  <a:pt x="7303" y="421"/>
                  <a:pt x="7294" y="388"/>
                </a:cubicBezTo>
                <a:cubicBezTo>
                  <a:pt x="7291" y="378"/>
                  <a:pt x="7286" y="375"/>
                  <a:pt x="7282" y="367"/>
                </a:cubicBezTo>
                <a:cubicBezTo>
                  <a:pt x="7289" y="367"/>
                  <a:pt x="7296" y="367"/>
                  <a:pt x="7300" y="365"/>
                </a:cubicBezTo>
                <a:cubicBezTo>
                  <a:pt x="7306" y="363"/>
                  <a:pt x="7310" y="354"/>
                  <a:pt x="7311" y="344"/>
                </a:cubicBezTo>
                <a:cubicBezTo>
                  <a:pt x="7313" y="333"/>
                  <a:pt x="7311" y="323"/>
                  <a:pt x="7307" y="315"/>
                </a:cubicBezTo>
                <a:cubicBezTo>
                  <a:pt x="7299" y="298"/>
                  <a:pt x="7291" y="288"/>
                  <a:pt x="7284" y="280"/>
                </a:cubicBezTo>
                <a:cubicBezTo>
                  <a:pt x="7334" y="237"/>
                  <a:pt x="7380" y="217"/>
                  <a:pt x="7435" y="217"/>
                </a:cubicBezTo>
                <a:close/>
                <a:moveTo>
                  <a:pt x="5681" y="264"/>
                </a:moveTo>
                <a:cubicBezTo>
                  <a:pt x="5696" y="264"/>
                  <a:pt x="5706" y="271"/>
                  <a:pt x="5716" y="279"/>
                </a:cubicBezTo>
                <a:cubicBezTo>
                  <a:pt x="5721" y="283"/>
                  <a:pt x="5727" y="288"/>
                  <a:pt x="5733" y="290"/>
                </a:cubicBezTo>
                <a:lnTo>
                  <a:pt x="5714" y="389"/>
                </a:lnTo>
                <a:cubicBezTo>
                  <a:pt x="5714" y="376"/>
                  <a:pt x="5716" y="363"/>
                  <a:pt x="5712" y="351"/>
                </a:cubicBezTo>
                <a:cubicBezTo>
                  <a:pt x="5706" y="327"/>
                  <a:pt x="5696" y="311"/>
                  <a:pt x="5684" y="303"/>
                </a:cubicBezTo>
                <a:cubicBezTo>
                  <a:pt x="5672" y="296"/>
                  <a:pt x="5659" y="298"/>
                  <a:pt x="5647" y="310"/>
                </a:cubicBezTo>
                <a:cubicBezTo>
                  <a:pt x="5650" y="304"/>
                  <a:pt x="5654" y="298"/>
                  <a:pt x="5658" y="291"/>
                </a:cubicBezTo>
                <a:cubicBezTo>
                  <a:pt x="5667" y="274"/>
                  <a:pt x="5672" y="264"/>
                  <a:pt x="5681" y="264"/>
                </a:cubicBezTo>
                <a:close/>
                <a:moveTo>
                  <a:pt x="5533" y="284"/>
                </a:moveTo>
                <a:cubicBezTo>
                  <a:pt x="5549" y="284"/>
                  <a:pt x="5559" y="295"/>
                  <a:pt x="5570" y="308"/>
                </a:cubicBezTo>
                <a:cubicBezTo>
                  <a:pt x="5581" y="321"/>
                  <a:pt x="5594" y="336"/>
                  <a:pt x="5613" y="336"/>
                </a:cubicBezTo>
                <a:cubicBezTo>
                  <a:pt x="5627" y="336"/>
                  <a:pt x="5637" y="325"/>
                  <a:pt x="5645" y="312"/>
                </a:cubicBezTo>
                <a:cubicBezTo>
                  <a:pt x="5622" y="339"/>
                  <a:pt x="5613" y="396"/>
                  <a:pt x="5626" y="443"/>
                </a:cubicBezTo>
                <a:cubicBezTo>
                  <a:pt x="5638" y="491"/>
                  <a:pt x="5668" y="509"/>
                  <a:pt x="5692" y="484"/>
                </a:cubicBezTo>
                <a:cubicBezTo>
                  <a:pt x="5696" y="480"/>
                  <a:pt x="5697" y="471"/>
                  <a:pt x="5700" y="465"/>
                </a:cubicBezTo>
                <a:lnTo>
                  <a:pt x="5461" y="1713"/>
                </a:lnTo>
                <a:lnTo>
                  <a:pt x="5401" y="1713"/>
                </a:lnTo>
                <a:cubicBezTo>
                  <a:pt x="5397" y="1713"/>
                  <a:pt x="5392" y="1717"/>
                  <a:pt x="5389" y="1724"/>
                </a:cubicBezTo>
                <a:cubicBezTo>
                  <a:pt x="5386" y="1732"/>
                  <a:pt x="5385" y="1742"/>
                  <a:pt x="5387" y="1751"/>
                </a:cubicBezTo>
                <a:cubicBezTo>
                  <a:pt x="5388" y="1759"/>
                  <a:pt x="5390" y="1763"/>
                  <a:pt x="5391" y="1769"/>
                </a:cubicBezTo>
                <a:cubicBezTo>
                  <a:pt x="5374" y="1784"/>
                  <a:pt x="5359" y="1812"/>
                  <a:pt x="5359" y="1852"/>
                </a:cubicBezTo>
                <a:cubicBezTo>
                  <a:pt x="5359" y="1855"/>
                  <a:pt x="5360" y="1856"/>
                  <a:pt x="5361" y="1858"/>
                </a:cubicBezTo>
                <a:lnTo>
                  <a:pt x="5337" y="1817"/>
                </a:lnTo>
                <a:lnTo>
                  <a:pt x="5013" y="1264"/>
                </a:lnTo>
                <a:cubicBezTo>
                  <a:pt x="5019" y="1242"/>
                  <a:pt x="5023" y="1219"/>
                  <a:pt x="5023" y="1193"/>
                </a:cubicBezTo>
                <a:cubicBezTo>
                  <a:pt x="5023" y="1165"/>
                  <a:pt x="5018" y="1140"/>
                  <a:pt x="5012" y="1118"/>
                </a:cubicBezTo>
                <a:cubicBezTo>
                  <a:pt x="5016" y="1120"/>
                  <a:pt x="5022" y="1119"/>
                  <a:pt x="5026" y="1122"/>
                </a:cubicBezTo>
                <a:cubicBezTo>
                  <a:pt x="5045" y="1134"/>
                  <a:pt x="5059" y="1160"/>
                  <a:pt x="5074" y="1188"/>
                </a:cubicBezTo>
                <a:cubicBezTo>
                  <a:pt x="5097" y="1229"/>
                  <a:pt x="5122" y="1275"/>
                  <a:pt x="5163" y="1266"/>
                </a:cubicBezTo>
                <a:cubicBezTo>
                  <a:pt x="5169" y="1265"/>
                  <a:pt x="5174" y="1257"/>
                  <a:pt x="5176" y="1246"/>
                </a:cubicBezTo>
                <a:cubicBezTo>
                  <a:pt x="5178" y="1235"/>
                  <a:pt x="5176" y="1223"/>
                  <a:pt x="5172" y="1215"/>
                </a:cubicBezTo>
                <a:cubicBezTo>
                  <a:pt x="5168" y="1207"/>
                  <a:pt x="5160" y="1196"/>
                  <a:pt x="5147" y="1176"/>
                </a:cubicBezTo>
                <a:cubicBezTo>
                  <a:pt x="5134" y="1158"/>
                  <a:pt x="5108" y="1121"/>
                  <a:pt x="5099" y="1103"/>
                </a:cubicBezTo>
                <a:cubicBezTo>
                  <a:pt x="5100" y="1101"/>
                  <a:pt x="5102" y="1099"/>
                  <a:pt x="5103" y="1097"/>
                </a:cubicBezTo>
                <a:cubicBezTo>
                  <a:pt x="5104" y="1096"/>
                  <a:pt x="5104" y="1094"/>
                  <a:pt x="5105" y="1092"/>
                </a:cubicBezTo>
                <a:lnTo>
                  <a:pt x="5204" y="1092"/>
                </a:lnTo>
                <a:cubicBezTo>
                  <a:pt x="5206" y="1092"/>
                  <a:pt x="5208" y="1092"/>
                  <a:pt x="5210" y="1090"/>
                </a:cubicBezTo>
                <a:cubicBezTo>
                  <a:pt x="5216" y="1085"/>
                  <a:pt x="5223" y="1080"/>
                  <a:pt x="5229" y="1075"/>
                </a:cubicBezTo>
                <a:cubicBezTo>
                  <a:pt x="5262" y="1048"/>
                  <a:pt x="5294" y="1023"/>
                  <a:pt x="5318" y="963"/>
                </a:cubicBezTo>
                <a:cubicBezTo>
                  <a:pt x="5321" y="954"/>
                  <a:pt x="5322" y="941"/>
                  <a:pt x="5319" y="930"/>
                </a:cubicBezTo>
                <a:cubicBezTo>
                  <a:pt x="5317" y="920"/>
                  <a:pt x="5312" y="914"/>
                  <a:pt x="5306" y="914"/>
                </a:cubicBezTo>
                <a:lnTo>
                  <a:pt x="5274" y="914"/>
                </a:lnTo>
                <a:cubicBezTo>
                  <a:pt x="5271" y="914"/>
                  <a:pt x="5267" y="916"/>
                  <a:pt x="5265" y="920"/>
                </a:cubicBezTo>
                <a:cubicBezTo>
                  <a:pt x="5225" y="983"/>
                  <a:pt x="5179" y="1012"/>
                  <a:pt x="5115" y="1012"/>
                </a:cubicBezTo>
                <a:cubicBezTo>
                  <a:pt x="5095" y="1012"/>
                  <a:pt x="5083" y="1001"/>
                  <a:pt x="5072" y="992"/>
                </a:cubicBezTo>
                <a:cubicBezTo>
                  <a:pt x="5062" y="985"/>
                  <a:pt x="5053" y="977"/>
                  <a:pt x="5041" y="977"/>
                </a:cubicBezTo>
                <a:cubicBezTo>
                  <a:pt x="5027" y="977"/>
                  <a:pt x="5017" y="993"/>
                  <a:pt x="5010" y="1005"/>
                </a:cubicBezTo>
                <a:cubicBezTo>
                  <a:pt x="5005" y="1014"/>
                  <a:pt x="5001" y="1020"/>
                  <a:pt x="4998" y="1020"/>
                </a:cubicBezTo>
                <a:cubicBezTo>
                  <a:pt x="4964" y="1020"/>
                  <a:pt x="4932" y="999"/>
                  <a:pt x="4927" y="982"/>
                </a:cubicBezTo>
                <a:cubicBezTo>
                  <a:pt x="4926" y="980"/>
                  <a:pt x="4927" y="980"/>
                  <a:pt x="4927" y="977"/>
                </a:cubicBezTo>
                <a:cubicBezTo>
                  <a:pt x="4929" y="968"/>
                  <a:pt x="4929" y="958"/>
                  <a:pt x="4926" y="949"/>
                </a:cubicBezTo>
                <a:cubicBezTo>
                  <a:pt x="4923" y="940"/>
                  <a:pt x="4918" y="935"/>
                  <a:pt x="4913" y="935"/>
                </a:cubicBezTo>
                <a:lnTo>
                  <a:pt x="4886" y="935"/>
                </a:lnTo>
                <a:cubicBezTo>
                  <a:pt x="4883" y="935"/>
                  <a:pt x="4880" y="937"/>
                  <a:pt x="4877" y="941"/>
                </a:cubicBezTo>
                <a:lnTo>
                  <a:pt x="4873" y="947"/>
                </a:lnTo>
                <a:cubicBezTo>
                  <a:pt x="4863" y="962"/>
                  <a:pt x="4854" y="974"/>
                  <a:pt x="4844" y="977"/>
                </a:cubicBezTo>
                <a:lnTo>
                  <a:pt x="4819" y="933"/>
                </a:lnTo>
                <a:lnTo>
                  <a:pt x="4792" y="887"/>
                </a:lnTo>
                <a:cubicBezTo>
                  <a:pt x="4794" y="882"/>
                  <a:pt x="4795" y="876"/>
                  <a:pt x="4795" y="870"/>
                </a:cubicBezTo>
                <a:cubicBezTo>
                  <a:pt x="4794" y="854"/>
                  <a:pt x="4788" y="842"/>
                  <a:pt x="4780" y="842"/>
                </a:cubicBezTo>
                <a:cubicBezTo>
                  <a:pt x="4775" y="842"/>
                  <a:pt x="4770" y="842"/>
                  <a:pt x="4765" y="842"/>
                </a:cubicBezTo>
                <a:lnTo>
                  <a:pt x="4743" y="803"/>
                </a:lnTo>
                <a:cubicBezTo>
                  <a:pt x="4753" y="797"/>
                  <a:pt x="4763" y="793"/>
                  <a:pt x="4774" y="788"/>
                </a:cubicBezTo>
                <a:cubicBezTo>
                  <a:pt x="4788" y="783"/>
                  <a:pt x="4802" y="777"/>
                  <a:pt x="4816" y="768"/>
                </a:cubicBezTo>
                <a:cubicBezTo>
                  <a:pt x="4823" y="764"/>
                  <a:pt x="4827" y="753"/>
                  <a:pt x="4827" y="739"/>
                </a:cubicBezTo>
                <a:cubicBezTo>
                  <a:pt x="4826" y="726"/>
                  <a:pt x="4822" y="713"/>
                  <a:pt x="4815" y="710"/>
                </a:cubicBezTo>
                <a:cubicBezTo>
                  <a:pt x="4794" y="700"/>
                  <a:pt x="4786" y="701"/>
                  <a:pt x="4769" y="701"/>
                </a:cubicBezTo>
                <a:cubicBezTo>
                  <a:pt x="4742" y="701"/>
                  <a:pt x="4728" y="727"/>
                  <a:pt x="4716" y="747"/>
                </a:cubicBezTo>
                <a:cubicBezTo>
                  <a:pt x="4715" y="749"/>
                  <a:pt x="4714" y="750"/>
                  <a:pt x="4713" y="752"/>
                </a:cubicBezTo>
                <a:lnTo>
                  <a:pt x="4703" y="734"/>
                </a:lnTo>
                <a:cubicBezTo>
                  <a:pt x="4705" y="733"/>
                  <a:pt x="4708" y="732"/>
                  <a:pt x="4710" y="730"/>
                </a:cubicBezTo>
                <a:cubicBezTo>
                  <a:pt x="4717" y="725"/>
                  <a:pt x="4722" y="710"/>
                  <a:pt x="4720" y="696"/>
                </a:cubicBezTo>
                <a:cubicBezTo>
                  <a:pt x="4719" y="682"/>
                  <a:pt x="4713" y="672"/>
                  <a:pt x="4706" y="672"/>
                </a:cubicBezTo>
                <a:lnTo>
                  <a:pt x="4692" y="672"/>
                </a:lnTo>
                <a:lnTo>
                  <a:pt x="4744" y="607"/>
                </a:lnTo>
                <a:cubicBezTo>
                  <a:pt x="4756" y="605"/>
                  <a:pt x="4767" y="604"/>
                  <a:pt x="4776" y="604"/>
                </a:cubicBezTo>
                <a:lnTo>
                  <a:pt x="4822" y="604"/>
                </a:lnTo>
                <a:cubicBezTo>
                  <a:pt x="4834" y="604"/>
                  <a:pt x="4845" y="589"/>
                  <a:pt x="4851" y="569"/>
                </a:cubicBezTo>
                <a:cubicBezTo>
                  <a:pt x="4866" y="566"/>
                  <a:pt x="4875" y="557"/>
                  <a:pt x="4883" y="547"/>
                </a:cubicBezTo>
                <a:cubicBezTo>
                  <a:pt x="4880" y="559"/>
                  <a:pt x="4876" y="570"/>
                  <a:pt x="4876" y="584"/>
                </a:cubicBezTo>
                <a:cubicBezTo>
                  <a:pt x="4876" y="639"/>
                  <a:pt x="4898" y="682"/>
                  <a:pt x="4925" y="682"/>
                </a:cubicBezTo>
                <a:cubicBezTo>
                  <a:pt x="4952" y="682"/>
                  <a:pt x="4974" y="639"/>
                  <a:pt x="4974" y="584"/>
                </a:cubicBezTo>
                <a:cubicBezTo>
                  <a:pt x="4974" y="530"/>
                  <a:pt x="4952" y="485"/>
                  <a:pt x="4925" y="485"/>
                </a:cubicBezTo>
                <a:cubicBezTo>
                  <a:pt x="4917" y="485"/>
                  <a:pt x="4911" y="496"/>
                  <a:pt x="4905" y="502"/>
                </a:cubicBezTo>
                <a:cubicBezTo>
                  <a:pt x="4905" y="502"/>
                  <a:pt x="4905" y="501"/>
                  <a:pt x="4905" y="500"/>
                </a:cubicBezTo>
                <a:cubicBezTo>
                  <a:pt x="4911" y="481"/>
                  <a:pt x="4912" y="476"/>
                  <a:pt x="4924" y="476"/>
                </a:cubicBezTo>
                <a:cubicBezTo>
                  <a:pt x="4951" y="476"/>
                  <a:pt x="5007" y="523"/>
                  <a:pt x="5037" y="548"/>
                </a:cubicBezTo>
                <a:cubicBezTo>
                  <a:pt x="5048" y="557"/>
                  <a:pt x="5057" y="565"/>
                  <a:pt x="5062" y="568"/>
                </a:cubicBezTo>
                <a:cubicBezTo>
                  <a:pt x="5069" y="573"/>
                  <a:pt x="5077" y="565"/>
                  <a:pt x="5080" y="550"/>
                </a:cubicBezTo>
                <a:cubicBezTo>
                  <a:pt x="5100" y="444"/>
                  <a:pt x="5122" y="378"/>
                  <a:pt x="5172" y="378"/>
                </a:cubicBezTo>
                <a:cubicBezTo>
                  <a:pt x="5183" y="378"/>
                  <a:pt x="5185" y="382"/>
                  <a:pt x="5186" y="384"/>
                </a:cubicBezTo>
                <a:cubicBezTo>
                  <a:pt x="5188" y="387"/>
                  <a:pt x="5192" y="393"/>
                  <a:pt x="5198" y="393"/>
                </a:cubicBezTo>
                <a:cubicBezTo>
                  <a:pt x="5206" y="393"/>
                  <a:pt x="5211" y="385"/>
                  <a:pt x="5224" y="363"/>
                </a:cubicBezTo>
                <a:cubicBezTo>
                  <a:pt x="5226" y="360"/>
                  <a:pt x="5227" y="357"/>
                  <a:pt x="5228" y="353"/>
                </a:cubicBezTo>
                <a:cubicBezTo>
                  <a:pt x="5235" y="326"/>
                  <a:pt x="5245" y="315"/>
                  <a:pt x="5263" y="315"/>
                </a:cubicBezTo>
                <a:lnTo>
                  <a:pt x="5345" y="315"/>
                </a:lnTo>
                <a:cubicBezTo>
                  <a:pt x="5320" y="339"/>
                  <a:pt x="5304" y="388"/>
                  <a:pt x="5304" y="447"/>
                </a:cubicBezTo>
                <a:cubicBezTo>
                  <a:pt x="5304" y="528"/>
                  <a:pt x="5337" y="595"/>
                  <a:pt x="5377" y="595"/>
                </a:cubicBezTo>
                <a:cubicBezTo>
                  <a:pt x="5418" y="595"/>
                  <a:pt x="5451" y="528"/>
                  <a:pt x="5451" y="447"/>
                </a:cubicBezTo>
                <a:cubicBezTo>
                  <a:pt x="5451" y="388"/>
                  <a:pt x="5434" y="339"/>
                  <a:pt x="5409" y="315"/>
                </a:cubicBezTo>
                <a:lnTo>
                  <a:pt x="5507" y="315"/>
                </a:lnTo>
                <a:cubicBezTo>
                  <a:pt x="5513" y="315"/>
                  <a:pt x="5518" y="309"/>
                  <a:pt x="5520" y="298"/>
                </a:cubicBezTo>
                <a:cubicBezTo>
                  <a:pt x="5522" y="292"/>
                  <a:pt x="5527" y="284"/>
                  <a:pt x="5533" y="284"/>
                </a:cubicBezTo>
                <a:close/>
                <a:moveTo>
                  <a:pt x="5765" y="293"/>
                </a:moveTo>
                <a:lnTo>
                  <a:pt x="5822" y="293"/>
                </a:lnTo>
                <a:cubicBezTo>
                  <a:pt x="5832" y="292"/>
                  <a:pt x="5844" y="293"/>
                  <a:pt x="5857" y="293"/>
                </a:cubicBezTo>
                <a:cubicBezTo>
                  <a:pt x="5976" y="293"/>
                  <a:pt x="6031" y="314"/>
                  <a:pt x="6056" y="338"/>
                </a:cubicBezTo>
                <a:cubicBezTo>
                  <a:pt x="6053" y="343"/>
                  <a:pt x="6050" y="346"/>
                  <a:pt x="6046" y="349"/>
                </a:cubicBezTo>
                <a:lnTo>
                  <a:pt x="6037" y="353"/>
                </a:lnTo>
                <a:cubicBezTo>
                  <a:pt x="6030" y="358"/>
                  <a:pt x="6025" y="375"/>
                  <a:pt x="6027" y="391"/>
                </a:cubicBezTo>
                <a:cubicBezTo>
                  <a:pt x="6029" y="406"/>
                  <a:pt x="6037" y="415"/>
                  <a:pt x="6045" y="412"/>
                </a:cubicBezTo>
                <a:cubicBezTo>
                  <a:pt x="6049" y="410"/>
                  <a:pt x="6053" y="407"/>
                  <a:pt x="6055" y="406"/>
                </a:cubicBezTo>
                <a:lnTo>
                  <a:pt x="6210" y="317"/>
                </a:lnTo>
                <a:cubicBezTo>
                  <a:pt x="6223" y="332"/>
                  <a:pt x="6231" y="339"/>
                  <a:pt x="6246" y="347"/>
                </a:cubicBezTo>
                <a:cubicBezTo>
                  <a:pt x="6255" y="352"/>
                  <a:pt x="6258" y="361"/>
                  <a:pt x="6263" y="378"/>
                </a:cubicBezTo>
                <a:cubicBezTo>
                  <a:pt x="6266" y="388"/>
                  <a:pt x="6270" y="401"/>
                  <a:pt x="6275" y="412"/>
                </a:cubicBezTo>
                <a:cubicBezTo>
                  <a:pt x="6290" y="441"/>
                  <a:pt x="6318" y="450"/>
                  <a:pt x="6348" y="459"/>
                </a:cubicBezTo>
                <a:cubicBezTo>
                  <a:pt x="6367" y="466"/>
                  <a:pt x="6408" y="480"/>
                  <a:pt x="6408" y="498"/>
                </a:cubicBezTo>
                <a:cubicBezTo>
                  <a:pt x="6408" y="506"/>
                  <a:pt x="6407" y="510"/>
                  <a:pt x="6388" y="518"/>
                </a:cubicBezTo>
                <a:cubicBezTo>
                  <a:pt x="6379" y="522"/>
                  <a:pt x="6369" y="525"/>
                  <a:pt x="6361" y="536"/>
                </a:cubicBezTo>
                <a:cubicBezTo>
                  <a:pt x="6320" y="599"/>
                  <a:pt x="6273" y="609"/>
                  <a:pt x="6219" y="620"/>
                </a:cubicBezTo>
                <a:cubicBezTo>
                  <a:pt x="6172" y="630"/>
                  <a:pt x="6118" y="641"/>
                  <a:pt x="6062" y="695"/>
                </a:cubicBezTo>
                <a:cubicBezTo>
                  <a:pt x="6058" y="699"/>
                  <a:pt x="6055" y="707"/>
                  <a:pt x="6054" y="717"/>
                </a:cubicBezTo>
                <a:cubicBezTo>
                  <a:pt x="6053" y="727"/>
                  <a:pt x="6056" y="737"/>
                  <a:pt x="6059" y="744"/>
                </a:cubicBezTo>
                <a:cubicBezTo>
                  <a:pt x="6070" y="765"/>
                  <a:pt x="6087" y="774"/>
                  <a:pt x="6118" y="774"/>
                </a:cubicBezTo>
                <a:cubicBezTo>
                  <a:pt x="6134" y="774"/>
                  <a:pt x="6152" y="772"/>
                  <a:pt x="6169" y="769"/>
                </a:cubicBezTo>
                <a:cubicBezTo>
                  <a:pt x="6173" y="769"/>
                  <a:pt x="6177" y="769"/>
                  <a:pt x="6180" y="768"/>
                </a:cubicBezTo>
                <a:cubicBezTo>
                  <a:pt x="6137" y="816"/>
                  <a:pt x="6077" y="854"/>
                  <a:pt x="6026" y="886"/>
                </a:cubicBezTo>
                <a:cubicBezTo>
                  <a:pt x="6009" y="896"/>
                  <a:pt x="5994" y="906"/>
                  <a:pt x="5980" y="915"/>
                </a:cubicBezTo>
                <a:cubicBezTo>
                  <a:pt x="5922" y="953"/>
                  <a:pt x="5881" y="1038"/>
                  <a:pt x="5842" y="1119"/>
                </a:cubicBezTo>
                <a:cubicBezTo>
                  <a:pt x="5821" y="1164"/>
                  <a:pt x="5801" y="1206"/>
                  <a:pt x="5779" y="1238"/>
                </a:cubicBezTo>
                <a:cubicBezTo>
                  <a:pt x="5768" y="1253"/>
                  <a:pt x="5750" y="1251"/>
                  <a:pt x="5728" y="1245"/>
                </a:cubicBezTo>
                <a:cubicBezTo>
                  <a:pt x="5709" y="1240"/>
                  <a:pt x="5688" y="1237"/>
                  <a:pt x="5672" y="1246"/>
                </a:cubicBezTo>
                <a:cubicBezTo>
                  <a:pt x="5672" y="1246"/>
                  <a:pt x="5671" y="1246"/>
                  <a:pt x="5671" y="1246"/>
                </a:cubicBezTo>
                <a:cubicBezTo>
                  <a:pt x="5663" y="1217"/>
                  <a:pt x="5650" y="1194"/>
                  <a:pt x="5632" y="1194"/>
                </a:cubicBezTo>
                <a:cubicBezTo>
                  <a:pt x="5605" y="1194"/>
                  <a:pt x="5583" y="1238"/>
                  <a:pt x="5583" y="1293"/>
                </a:cubicBezTo>
                <a:cubicBezTo>
                  <a:pt x="5583" y="1294"/>
                  <a:pt x="5583" y="1295"/>
                  <a:pt x="5583" y="1296"/>
                </a:cubicBezTo>
                <a:cubicBezTo>
                  <a:pt x="5579" y="1299"/>
                  <a:pt x="5575" y="1300"/>
                  <a:pt x="5571" y="1303"/>
                </a:cubicBezTo>
                <a:cubicBezTo>
                  <a:pt x="5571" y="1303"/>
                  <a:pt x="5605" y="1123"/>
                  <a:pt x="5632" y="986"/>
                </a:cubicBezTo>
                <a:cubicBezTo>
                  <a:pt x="5636" y="992"/>
                  <a:pt x="5640" y="998"/>
                  <a:pt x="5645" y="998"/>
                </a:cubicBezTo>
                <a:cubicBezTo>
                  <a:pt x="5660" y="998"/>
                  <a:pt x="5671" y="975"/>
                  <a:pt x="5671" y="947"/>
                </a:cubicBezTo>
                <a:cubicBezTo>
                  <a:pt x="5671" y="921"/>
                  <a:pt x="5661" y="901"/>
                  <a:pt x="5649" y="898"/>
                </a:cubicBezTo>
                <a:cubicBezTo>
                  <a:pt x="5705" y="607"/>
                  <a:pt x="5765" y="293"/>
                  <a:pt x="5765" y="293"/>
                </a:cubicBezTo>
                <a:close/>
                <a:moveTo>
                  <a:pt x="5954" y="373"/>
                </a:moveTo>
                <a:cubicBezTo>
                  <a:pt x="5913" y="373"/>
                  <a:pt x="5880" y="439"/>
                  <a:pt x="5880" y="521"/>
                </a:cubicBezTo>
                <a:cubicBezTo>
                  <a:pt x="5880" y="603"/>
                  <a:pt x="5913" y="669"/>
                  <a:pt x="5954" y="669"/>
                </a:cubicBezTo>
                <a:cubicBezTo>
                  <a:pt x="5995" y="669"/>
                  <a:pt x="6028" y="603"/>
                  <a:pt x="6028" y="521"/>
                </a:cubicBezTo>
                <a:cubicBezTo>
                  <a:pt x="6028" y="439"/>
                  <a:pt x="5995" y="373"/>
                  <a:pt x="5954" y="373"/>
                </a:cubicBezTo>
                <a:close/>
                <a:moveTo>
                  <a:pt x="6778" y="482"/>
                </a:moveTo>
                <a:cubicBezTo>
                  <a:pt x="6786" y="482"/>
                  <a:pt x="6792" y="495"/>
                  <a:pt x="6800" y="513"/>
                </a:cubicBezTo>
                <a:cubicBezTo>
                  <a:pt x="6796" y="525"/>
                  <a:pt x="6792" y="538"/>
                  <a:pt x="6792" y="554"/>
                </a:cubicBezTo>
                <a:cubicBezTo>
                  <a:pt x="6792" y="592"/>
                  <a:pt x="6808" y="621"/>
                  <a:pt x="6827" y="621"/>
                </a:cubicBezTo>
                <a:cubicBezTo>
                  <a:pt x="6837" y="621"/>
                  <a:pt x="6845" y="611"/>
                  <a:pt x="6852" y="597"/>
                </a:cubicBezTo>
                <a:cubicBezTo>
                  <a:pt x="6857" y="601"/>
                  <a:pt x="6860" y="609"/>
                  <a:pt x="6867" y="609"/>
                </a:cubicBezTo>
                <a:cubicBezTo>
                  <a:pt x="6875" y="609"/>
                  <a:pt x="6882" y="595"/>
                  <a:pt x="6882" y="578"/>
                </a:cubicBezTo>
                <a:cubicBezTo>
                  <a:pt x="6882" y="558"/>
                  <a:pt x="6878" y="540"/>
                  <a:pt x="6875" y="525"/>
                </a:cubicBezTo>
                <a:cubicBezTo>
                  <a:pt x="6874" y="517"/>
                  <a:pt x="6873" y="511"/>
                  <a:pt x="6872" y="505"/>
                </a:cubicBezTo>
                <a:lnTo>
                  <a:pt x="6875" y="497"/>
                </a:lnTo>
                <a:cubicBezTo>
                  <a:pt x="6894" y="539"/>
                  <a:pt x="6918" y="552"/>
                  <a:pt x="6940" y="564"/>
                </a:cubicBezTo>
                <a:cubicBezTo>
                  <a:pt x="6949" y="569"/>
                  <a:pt x="6957" y="573"/>
                  <a:pt x="6966" y="579"/>
                </a:cubicBezTo>
                <a:lnTo>
                  <a:pt x="7305" y="1084"/>
                </a:lnTo>
                <a:cubicBezTo>
                  <a:pt x="7299" y="1106"/>
                  <a:pt x="7295" y="1129"/>
                  <a:pt x="7295" y="1155"/>
                </a:cubicBezTo>
                <a:cubicBezTo>
                  <a:pt x="7295" y="1158"/>
                  <a:pt x="7295" y="1160"/>
                  <a:pt x="7295" y="1162"/>
                </a:cubicBezTo>
                <a:cubicBezTo>
                  <a:pt x="7250" y="1182"/>
                  <a:pt x="6935" y="1316"/>
                  <a:pt x="6576" y="1470"/>
                </a:cubicBezTo>
                <a:cubicBezTo>
                  <a:pt x="6561" y="1375"/>
                  <a:pt x="6517" y="1306"/>
                  <a:pt x="6465" y="1306"/>
                </a:cubicBezTo>
                <a:cubicBezTo>
                  <a:pt x="6399" y="1306"/>
                  <a:pt x="6346" y="1413"/>
                  <a:pt x="6346" y="1545"/>
                </a:cubicBezTo>
                <a:cubicBezTo>
                  <a:pt x="6346" y="1553"/>
                  <a:pt x="6348" y="1560"/>
                  <a:pt x="6348" y="1568"/>
                </a:cubicBezTo>
                <a:cubicBezTo>
                  <a:pt x="6177" y="1641"/>
                  <a:pt x="5986" y="1724"/>
                  <a:pt x="5953" y="1738"/>
                </a:cubicBezTo>
                <a:cubicBezTo>
                  <a:pt x="5956" y="1727"/>
                  <a:pt x="5960" y="1717"/>
                  <a:pt x="5960" y="1703"/>
                </a:cubicBezTo>
                <a:cubicBezTo>
                  <a:pt x="5960" y="1649"/>
                  <a:pt x="5938" y="1604"/>
                  <a:pt x="5911" y="1604"/>
                </a:cubicBezTo>
                <a:cubicBezTo>
                  <a:pt x="5884" y="1604"/>
                  <a:pt x="5862" y="1649"/>
                  <a:pt x="5862" y="1703"/>
                </a:cubicBezTo>
                <a:cubicBezTo>
                  <a:pt x="5862" y="1722"/>
                  <a:pt x="5868" y="1737"/>
                  <a:pt x="5872" y="1752"/>
                </a:cubicBezTo>
                <a:cubicBezTo>
                  <a:pt x="5788" y="1698"/>
                  <a:pt x="5746" y="1655"/>
                  <a:pt x="5743" y="1641"/>
                </a:cubicBezTo>
                <a:cubicBezTo>
                  <a:pt x="5743" y="1583"/>
                  <a:pt x="5759" y="1575"/>
                  <a:pt x="5803" y="1569"/>
                </a:cubicBezTo>
                <a:cubicBezTo>
                  <a:pt x="5820" y="1567"/>
                  <a:pt x="5837" y="1565"/>
                  <a:pt x="5853" y="1555"/>
                </a:cubicBezTo>
                <a:cubicBezTo>
                  <a:pt x="5873" y="1542"/>
                  <a:pt x="5889" y="1523"/>
                  <a:pt x="5905" y="1505"/>
                </a:cubicBezTo>
                <a:cubicBezTo>
                  <a:pt x="5921" y="1487"/>
                  <a:pt x="5936" y="1470"/>
                  <a:pt x="5955" y="1457"/>
                </a:cubicBezTo>
                <a:cubicBezTo>
                  <a:pt x="5967" y="1449"/>
                  <a:pt x="5981" y="1446"/>
                  <a:pt x="5998" y="1446"/>
                </a:cubicBezTo>
                <a:cubicBezTo>
                  <a:pt x="6011" y="1446"/>
                  <a:pt x="6024" y="1447"/>
                  <a:pt x="6037" y="1449"/>
                </a:cubicBezTo>
                <a:cubicBezTo>
                  <a:pt x="6050" y="1451"/>
                  <a:pt x="6063" y="1453"/>
                  <a:pt x="6075" y="1453"/>
                </a:cubicBezTo>
                <a:cubicBezTo>
                  <a:pt x="6084" y="1453"/>
                  <a:pt x="6096" y="1450"/>
                  <a:pt x="6108" y="1446"/>
                </a:cubicBezTo>
                <a:cubicBezTo>
                  <a:pt x="6106" y="1460"/>
                  <a:pt x="6104" y="1475"/>
                  <a:pt x="6104" y="1491"/>
                </a:cubicBezTo>
                <a:cubicBezTo>
                  <a:pt x="6104" y="1573"/>
                  <a:pt x="6137" y="1639"/>
                  <a:pt x="6178" y="1639"/>
                </a:cubicBezTo>
                <a:cubicBezTo>
                  <a:pt x="6218" y="1639"/>
                  <a:pt x="6251" y="1573"/>
                  <a:pt x="6251" y="1491"/>
                </a:cubicBezTo>
                <a:cubicBezTo>
                  <a:pt x="6251" y="1410"/>
                  <a:pt x="6219" y="1344"/>
                  <a:pt x="6179" y="1343"/>
                </a:cubicBezTo>
                <a:cubicBezTo>
                  <a:pt x="6194" y="1296"/>
                  <a:pt x="6203" y="1239"/>
                  <a:pt x="6203" y="1174"/>
                </a:cubicBezTo>
                <a:cubicBezTo>
                  <a:pt x="6203" y="1159"/>
                  <a:pt x="6197" y="1145"/>
                  <a:pt x="6190" y="1144"/>
                </a:cubicBezTo>
                <a:cubicBezTo>
                  <a:pt x="6183" y="1142"/>
                  <a:pt x="6172" y="1142"/>
                  <a:pt x="6161" y="1140"/>
                </a:cubicBezTo>
                <a:cubicBezTo>
                  <a:pt x="6064" y="1129"/>
                  <a:pt x="6044" y="1106"/>
                  <a:pt x="6044" y="1089"/>
                </a:cubicBezTo>
                <a:cubicBezTo>
                  <a:pt x="6044" y="1078"/>
                  <a:pt x="6060" y="1059"/>
                  <a:pt x="6076" y="1053"/>
                </a:cubicBezTo>
                <a:cubicBezTo>
                  <a:pt x="6120" y="1024"/>
                  <a:pt x="6174" y="969"/>
                  <a:pt x="6221" y="911"/>
                </a:cubicBezTo>
                <a:cubicBezTo>
                  <a:pt x="6228" y="950"/>
                  <a:pt x="6243" y="980"/>
                  <a:pt x="6265" y="980"/>
                </a:cubicBezTo>
                <a:cubicBezTo>
                  <a:pt x="6292" y="980"/>
                  <a:pt x="6314" y="937"/>
                  <a:pt x="6314" y="883"/>
                </a:cubicBezTo>
                <a:cubicBezTo>
                  <a:pt x="6314" y="866"/>
                  <a:pt x="6309" y="853"/>
                  <a:pt x="6305" y="839"/>
                </a:cubicBezTo>
                <a:cubicBezTo>
                  <a:pt x="6315" y="846"/>
                  <a:pt x="6324" y="856"/>
                  <a:pt x="6336" y="856"/>
                </a:cubicBezTo>
                <a:cubicBezTo>
                  <a:pt x="6387" y="856"/>
                  <a:pt x="6393" y="777"/>
                  <a:pt x="6396" y="725"/>
                </a:cubicBezTo>
                <a:cubicBezTo>
                  <a:pt x="6400" y="669"/>
                  <a:pt x="6403" y="647"/>
                  <a:pt x="6423" y="642"/>
                </a:cubicBezTo>
                <a:cubicBezTo>
                  <a:pt x="6453" y="635"/>
                  <a:pt x="6475" y="624"/>
                  <a:pt x="6496" y="614"/>
                </a:cubicBezTo>
                <a:cubicBezTo>
                  <a:pt x="6496" y="621"/>
                  <a:pt x="6494" y="626"/>
                  <a:pt x="6494" y="633"/>
                </a:cubicBezTo>
                <a:cubicBezTo>
                  <a:pt x="6494" y="715"/>
                  <a:pt x="6528" y="781"/>
                  <a:pt x="6568" y="781"/>
                </a:cubicBezTo>
                <a:cubicBezTo>
                  <a:pt x="6609" y="781"/>
                  <a:pt x="6642" y="715"/>
                  <a:pt x="6642" y="633"/>
                </a:cubicBezTo>
                <a:cubicBezTo>
                  <a:pt x="6642" y="610"/>
                  <a:pt x="6639" y="589"/>
                  <a:pt x="6634" y="569"/>
                </a:cubicBezTo>
                <a:cubicBezTo>
                  <a:pt x="6653" y="557"/>
                  <a:pt x="6672" y="544"/>
                  <a:pt x="6689" y="529"/>
                </a:cubicBezTo>
                <a:cubicBezTo>
                  <a:pt x="6718" y="504"/>
                  <a:pt x="6746" y="482"/>
                  <a:pt x="6778" y="482"/>
                </a:cubicBezTo>
                <a:close/>
                <a:moveTo>
                  <a:pt x="7261" y="523"/>
                </a:moveTo>
                <a:cubicBezTo>
                  <a:pt x="7262" y="524"/>
                  <a:pt x="7262" y="526"/>
                  <a:pt x="7263" y="527"/>
                </a:cubicBezTo>
                <a:lnTo>
                  <a:pt x="7242" y="527"/>
                </a:lnTo>
                <a:cubicBezTo>
                  <a:pt x="7248" y="529"/>
                  <a:pt x="7255" y="526"/>
                  <a:pt x="7261" y="523"/>
                </a:cubicBezTo>
                <a:close/>
                <a:moveTo>
                  <a:pt x="9237" y="565"/>
                </a:moveTo>
                <a:cubicBezTo>
                  <a:pt x="9255" y="565"/>
                  <a:pt x="9314" y="618"/>
                  <a:pt x="9340" y="662"/>
                </a:cubicBezTo>
                <a:lnTo>
                  <a:pt x="9332" y="683"/>
                </a:lnTo>
                <a:lnTo>
                  <a:pt x="9309" y="753"/>
                </a:lnTo>
                <a:cubicBezTo>
                  <a:pt x="9308" y="754"/>
                  <a:pt x="9307" y="754"/>
                  <a:pt x="9307" y="754"/>
                </a:cubicBezTo>
                <a:cubicBezTo>
                  <a:pt x="9295" y="762"/>
                  <a:pt x="9284" y="772"/>
                  <a:pt x="9275" y="781"/>
                </a:cubicBezTo>
                <a:lnTo>
                  <a:pt x="9264" y="766"/>
                </a:lnTo>
                <a:cubicBezTo>
                  <a:pt x="9266" y="736"/>
                  <a:pt x="9265" y="705"/>
                  <a:pt x="9257" y="676"/>
                </a:cubicBezTo>
                <a:cubicBezTo>
                  <a:pt x="9246" y="635"/>
                  <a:pt x="9226" y="613"/>
                  <a:pt x="9205" y="605"/>
                </a:cubicBezTo>
                <a:cubicBezTo>
                  <a:pt x="9206" y="602"/>
                  <a:pt x="9209" y="602"/>
                  <a:pt x="9209" y="598"/>
                </a:cubicBezTo>
                <a:cubicBezTo>
                  <a:pt x="9213" y="570"/>
                  <a:pt x="9217" y="565"/>
                  <a:pt x="9237" y="565"/>
                </a:cubicBezTo>
                <a:close/>
                <a:moveTo>
                  <a:pt x="13620" y="577"/>
                </a:moveTo>
                <a:cubicBezTo>
                  <a:pt x="13613" y="577"/>
                  <a:pt x="13608" y="580"/>
                  <a:pt x="13604" y="583"/>
                </a:cubicBezTo>
                <a:cubicBezTo>
                  <a:pt x="13589" y="594"/>
                  <a:pt x="13577" y="618"/>
                  <a:pt x="13571" y="649"/>
                </a:cubicBezTo>
                <a:cubicBezTo>
                  <a:pt x="13544" y="654"/>
                  <a:pt x="13527" y="677"/>
                  <a:pt x="13513" y="696"/>
                </a:cubicBezTo>
                <a:cubicBezTo>
                  <a:pt x="13497" y="716"/>
                  <a:pt x="13484" y="733"/>
                  <a:pt x="13456" y="733"/>
                </a:cubicBezTo>
                <a:cubicBezTo>
                  <a:pt x="13448" y="733"/>
                  <a:pt x="13441" y="747"/>
                  <a:pt x="13441" y="764"/>
                </a:cubicBezTo>
                <a:lnTo>
                  <a:pt x="13441" y="797"/>
                </a:lnTo>
                <a:lnTo>
                  <a:pt x="13403" y="797"/>
                </a:lnTo>
                <a:cubicBezTo>
                  <a:pt x="13400" y="797"/>
                  <a:pt x="13397" y="800"/>
                  <a:pt x="13394" y="804"/>
                </a:cubicBezTo>
                <a:cubicBezTo>
                  <a:pt x="13387" y="816"/>
                  <a:pt x="13382" y="822"/>
                  <a:pt x="13377" y="832"/>
                </a:cubicBezTo>
                <a:cubicBezTo>
                  <a:pt x="13373" y="838"/>
                  <a:pt x="13370" y="845"/>
                  <a:pt x="13366" y="852"/>
                </a:cubicBezTo>
                <a:cubicBezTo>
                  <a:pt x="13362" y="859"/>
                  <a:pt x="13360" y="868"/>
                  <a:pt x="13361" y="878"/>
                </a:cubicBezTo>
                <a:cubicBezTo>
                  <a:pt x="13361" y="888"/>
                  <a:pt x="13364" y="897"/>
                  <a:pt x="13369" y="901"/>
                </a:cubicBezTo>
                <a:cubicBezTo>
                  <a:pt x="13369" y="901"/>
                  <a:pt x="13381" y="912"/>
                  <a:pt x="13385" y="915"/>
                </a:cubicBezTo>
                <a:cubicBezTo>
                  <a:pt x="13390" y="939"/>
                  <a:pt x="13400" y="957"/>
                  <a:pt x="13414" y="957"/>
                </a:cubicBezTo>
                <a:cubicBezTo>
                  <a:pt x="13418" y="957"/>
                  <a:pt x="13421" y="951"/>
                  <a:pt x="13424" y="948"/>
                </a:cubicBezTo>
                <a:cubicBezTo>
                  <a:pt x="13448" y="967"/>
                  <a:pt x="13473" y="985"/>
                  <a:pt x="13482" y="985"/>
                </a:cubicBezTo>
                <a:cubicBezTo>
                  <a:pt x="13497" y="985"/>
                  <a:pt x="13514" y="971"/>
                  <a:pt x="13529" y="957"/>
                </a:cubicBezTo>
                <a:cubicBezTo>
                  <a:pt x="13529" y="960"/>
                  <a:pt x="13528" y="961"/>
                  <a:pt x="13528" y="964"/>
                </a:cubicBezTo>
                <a:cubicBezTo>
                  <a:pt x="13528" y="978"/>
                  <a:pt x="13532" y="989"/>
                  <a:pt x="13535" y="999"/>
                </a:cubicBezTo>
                <a:cubicBezTo>
                  <a:pt x="13504" y="1009"/>
                  <a:pt x="13463" y="1030"/>
                  <a:pt x="13457" y="1092"/>
                </a:cubicBezTo>
                <a:cubicBezTo>
                  <a:pt x="13445" y="1103"/>
                  <a:pt x="13435" y="1123"/>
                  <a:pt x="13435" y="1151"/>
                </a:cubicBezTo>
                <a:cubicBezTo>
                  <a:pt x="13435" y="1188"/>
                  <a:pt x="13451" y="1218"/>
                  <a:pt x="13470" y="1218"/>
                </a:cubicBezTo>
                <a:cubicBezTo>
                  <a:pt x="13487" y="1218"/>
                  <a:pt x="13499" y="1192"/>
                  <a:pt x="13502" y="1159"/>
                </a:cubicBezTo>
                <a:cubicBezTo>
                  <a:pt x="13513" y="1157"/>
                  <a:pt x="13523" y="1153"/>
                  <a:pt x="13530" y="1129"/>
                </a:cubicBezTo>
                <a:cubicBezTo>
                  <a:pt x="13531" y="1130"/>
                  <a:pt x="13533" y="1133"/>
                  <a:pt x="13534" y="1134"/>
                </a:cubicBezTo>
                <a:cubicBezTo>
                  <a:pt x="13539" y="1142"/>
                  <a:pt x="13545" y="1149"/>
                  <a:pt x="13550" y="1154"/>
                </a:cubicBezTo>
                <a:cubicBezTo>
                  <a:pt x="13554" y="1157"/>
                  <a:pt x="13558" y="1161"/>
                  <a:pt x="13564" y="1161"/>
                </a:cubicBezTo>
                <a:cubicBezTo>
                  <a:pt x="13583" y="1161"/>
                  <a:pt x="13594" y="1141"/>
                  <a:pt x="13602" y="1125"/>
                </a:cubicBezTo>
                <a:cubicBezTo>
                  <a:pt x="13610" y="1109"/>
                  <a:pt x="13617" y="1098"/>
                  <a:pt x="13634" y="1098"/>
                </a:cubicBezTo>
                <a:cubicBezTo>
                  <a:pt x="13640" y="1098"/>
                  <a:pt x="13644" y="1092"/>
                  <a:pt x="13647" y="1082"/>
                </a:cubicBezTo>
                <a:cubicBezTo>
                  <a:pt x="13649" y="1072"/>
                  <a:pt x="13650" y="1060"/>
                  <a:pt x="13646" y="1050"/>
                </a:cubicBezTo>
                <a:cubicBezTo>
                  <a:pt x="13635" y="1018"/>
                  <a:pt x="13614" y="1000"/>
                  <a:pt x="13590" y="993"/>
                </a:cubicBezTo>
                <a:cubicBezTo>
                  <a:pt x="13593" y="984"/>
                  <a:pt x="13596" y="976"/>
                  <a:pt x="13596" y="964"/>
                </a:cubicBezTo>
                <a:cubicBezTo>
                  <a:pt x="13596" y="953"/>
                  <a:pt x="13593" y="945"/>
                  <a:pt x="13590" y="936"/>
                </a:cubicBezTo>
                <a:cubicBezTo>
                  <a:pt x="13591" y="936"/>
                  <a:pt x="13592" y="936"/>
                  <a:pt x="13593" y="936"/>
                </a:cubicBezTo>
                <a:cubicBezTo>
                  <a:pt x="13608" y="936"/>
                  <a:pt x="13624" y="933"/>
                  <a:pt x="13639" y="912"/>
                </a:cubicBezTo>
                <a:cubicBezTo>
                  <a:pt x="13643" y="905"/>
                  <a:pt x="13645" y="894"/>
                  <a:pt x="13645" y="884"/>
                </a:cubicBezTo>
                <a:cubicBezTo>
                  <a:pt x="13644" y="873"/>
                  <a:pt x="13640" y="863"/>
                  <a:pt x="13635" y="859"/>
                </a:cubicBezTo>
                <a:cubicBezTo>
                  <a:pt x="13618" y="845"/>
                  <a:pt x="13603" y="833"/>
                  <a:pt x="13589" y="824"/>
                </a:cubicBezTo>
                <a:cubicBezTo>
                  <a:pt x="13576" y="816"/>
                  <a:pt x="13563" y="811"/>
                  <a:pt x="13549" y="806"/>
                </a:cubicBezTo>
                <a:cubicBezTo>
                  <a:pt x="13553" y="801"/>
                  <a:pt x="13558" y="797"/>
                  <a:pt x="13563" y="793"/>
                </a:cubicBezTo>
                <a:cubicBezTo>
                  <a:pt x="13568" y="800"/>
                  <a:pt x="13574" y="808"/>
                  <a:pt x="13581" y="808"/>
                </a:cubicBezTo>
                <a:cubicBezTo>
                  <a:pt x="13600" y="808"/>
                  <a:pt x="13615" y="778"/>
                  <a:pt x="13615" y="740"/>
                </a:cubicBezTo>
                <a:cubicBezTo>
                  <a:pt x="13615" y="739"/>
                  <a:pt x="13614" y="739"/>
                  <a:pt x="13614" y="738"/>
                </a:cubicBezTo>
                <a:cubicBezTo>
                  <a:pt x="13619" y="732"/>
                  <a:pt x="13621" y="723"/>
                  <a:pt x="13621" y="712"/>
                </a:cubicBezTo>
                <a:cubicBezTo>
                  <a:pt x="13621" y="708"/>
                  <a:pt x="13626" y="695"/>
                  <a:pt x="13635" y="682"/>
                </a:cubicBezTo>
                <a:cubicBezTo>
                  <a:pt x="13639" y="676"/>
                  <a:pt x="13641" y="667"/>
                  <a:pt x="13641" y="658"/>
                </a:cubicBezTo>
                <a:cubicBezTo>
                  <a:pt x="13641" y="633"/>
                  <a:pt x="13639" y="577"/>
                  <a:pt x="13620" y="577"/>
                </a:cubicBezTo>
                <a:close/>
                <a:moveTo>
                  <a:pt x="9097" y="621"/>
                </a:moveTo>
                <a:lnTo>
                  <a:pt x="9131" y="666"/>
                </a:lnTo>
                <a:cubicBezTo>
                  <a:pt x="9117" y="709"/>
                  <a:pt x="9114" y="765"/>
                  <a:pt x="9127" y="814"/>
                </a:cubicBezTo>
                <a:cubicBezTo>
                  <a:pt x="9131" y="829"/>
                  <a:pt x="9136" y="840"/>
                  <a:pt x="9142" y="851"/>
                </a:cubicBezTo>
                <a:lnTo>
                  <a:pt x="8933" y="900"/>
                </a:lnTo>
                <a:cubicBezTo>
                  <a:pt x="8932" y="891"/>
                  <a:pt x="8934" y="882"/>
                  <a:pt x="8932" y="873"/>
                </a:cubicBezTo>
                <a:cubicBezTo>
                  <a:pt x="8925" y="849"/>
                  <a:pt x="8915" y="833"/>
                  <a:pt x="8903" y="825"/>
                </a:cubicBezTo>
                <a:cubicBezTo>
                  <a:pt x="8891" y="818"/>
                  <a:pt x="8877" y="820"/>
                  <a:pt x="8865" y="832"/>
                </a:cubicBezTo>
                <a:cubicBezTo>
                  <a:pt x="8848" y="850"/>
                  <a:pt x="8843" y="886"/>
                  <a:pt x="8843" y="922"/>
                </a:cubicBezTo>
                <a:lnTo>
                  <a:pt x="8703" y="956"/>
                </a:lnTo>
                <a:cubicBezTo>
                  <a:pt x="8725" y="915"/>
                  <a:pt x="8747" y="867"/>
                  <a:pt x="8768" y="822"/>
                </a:cubicBezTo>
                <a:cubicBezTo>
                  <a:pt x="8772" y="820"/>
                  <a:pt x="8777" y="824"/>
                  <a:pt x="8781" y="820"/>
                </a:cubicBezTo>
                <a:cubicBezTo>
                  <a:pt x="8795" y="804"/>
                  <a:pt x="8802" y="776"/>
                  <a:pt x="8804" y="746"/>
                </a:cubicBezTo>
                <a:cubicBezTo>
                  <a:pt x="8813" y="728"/>
                  <a:pt x="8823" y="704"/>
                  <a:pt x="8829" y="694"/>
                </a:cubicBezTo>
                <a:lnTo>
                  <a:pt x="8965" y="694"/>
                </a:lnTo>
                <a:cubicBezTo>
                  <a:pt x="8972" y="697"/>
                  <a:pt x="8998" y="706"/>
                  <a:pt x="9011" y="706"/>
                </a:cubicBezTo>
                <a:cubicBezTo>
                  <a:pt x="9014" y="706"/>
                  <a:pt x="9016" y="706"/>
                  <a:pt x="9020" y="704"/>
                </a:cubicBezTo>
                <a:cubicBezTo>
                  <a:pt x="9044" y="686"/>
                  <a:pt x="9056" y="669"/>
                  <a:pt x="9069" y="653"/>
                </a:cubicBezTo>
                <a:cubicBezTo>
                  <a:pt x="9077" y="643"/>
                  <a:pt x="9085" y="633"/>
                  <a:pt x="9097" y="621"/>
                </a:cubicBezTo>
                <a:close/>
                <a:moveTo>
                  <a:pt x="9152" y="621"/>
                </a:moveTo>
                <a:cubicBezTo>
                  <a:pt x="9152" y="621"/>
                  <a:pt x="9154" y="621"/>
                  <a:pt x="9154" y="621"/>
                </a:cubicBezTo>
                <a:cubicBezTo>
                  <a:pt x="9153" y="622"/>
                  <a:pt x="9153" y="622"/>
                  <a:pt x="9153" y="623"/>
                </a:cubicBezTo>
                <a:lnTo>
                  <a:pt x="9152" y="621"/>
                </a:lnTo>
                <a:close/>
                <a:moveTo>
                  <a:pt x="4617" y="669"/>
                </a:moveTo>
                <a:lnTo>
                  <a:pt x="4625" y="682"/>
                </a:lnTo>
                <a:cubicBezTo>
                  <a:pt x="4618" y="688"/>
                  <a:pt x="4611" y="694"/>
                  <a:pt x="4606" y="701"/>
                </a:cubicBezTo>
                <a:lnTo>
                  <a:pt x="4592" y="701"/>
                </a:lnTo>
                <a:cubicBezTo>
                  <a:pt x="4598" y="690"/>
                  <a:pt x="4607" y="679"/>
                  <a:pt x="4617" y="669"/>
                </a:cubicBezTo>
                <a:close/>
                <a:moveTo>
                  <a:pt x="15922" y="672"/>
                </a:moveTo>
                <a:cubicBezTo>
                  <a:pt x="15902" y="672"/>
                  <a:pt x="15888" y="699"/>
                  <a:pt x="15880" y="733"/>
                </a:cubicBezTo>
                <a:cubicBezTo>
                  <a:pt x="15873" y="730"/>
                  <a:pt x="15867" y="726"/>
                  <a:pt x="15859" y="726"/>
                </a:cubicBezTo>
                <a:cubicBezTo>
                  <a:pt x="15800" y="726"/>
                  <a:pt x="15763" y="788"/>
                  <a:pt x="15728" y="851"/>
                </a:cubicBezTo>
                <a:cubicBezTo>
                  <a:pt x="15728" y="849"/>
                  <a:pt x="15729" y="847"/>
                  <a:pt x="15729" y="845"/>
                </a:cubicBezTo>
                <a:cubicBezTo>
                  <a:pt x="15729" y="791"/>
                  <a:pt x="15708" y="746"/>
                  <a:pt x="15680" y="746"/>
                </a:cubicBezTo>
                <a:cubicBezTo>
                  <a:pt x="15654" y="746"/>
                  <a:pt x="15633" y="789"/>
                  <a:pt x="15632" y="842"/>
                </a:cubicBezTo>
                <a:cubicBezTo>
                  <a:pt x="15632" y="843"/>
                  <a:pt x="15631" y="844"/>
                  <a:pt x="15631" y="845"/>
                </a:cubicBezTo>
                <a:cubicBezTo>
                  <a:pt x="15631" y="893"/>
                  <a:pt x="15649" y="927"/>
                  <a:pt x="15672" y="936"/>
                </a:cubicBezTo>
                <a:cubicBezTo>
                  <a:pt x="15667" y="943"/>
                  <a:pt x="15663" y="953"/>
                  <a:pt x="15657" y="958"/>
                </a:cubicBezTo>
                <a:cubicBezTo>
                  <a:pt x="15649" y="967"/>
                  <a:pt x="15640" y="974"/>
                  <a:pt x="15632" y="978"/>
                </a:cubicBezTo>
                <a:cubicBezTo>
                  <a:pt x="15626" y="981"/>
                  <a:pt x="15622" y="991"/>
                  <a:pt x="15622" y="1004"/>
                </a:cubicBezTo>
                <a:cubicBezTo>
                  <a:pt x="15621" y="1013"/>
                  <a:pt x="15625" y="1020"/>
                  <a:pt x="15628" y="1026"/>
                </a:cubicBezTo>
                <a:cubicBezTo>
                  <a:pt x="15621" y="1018"/>
                  <a:pt x="15615" y="1007"/>
                  <a:pt x="15606" y="1007"/>
                </a:cubicBezTo>
                <a:cubicBezTo>
                  <a:pt x="15579" y="1007"/>
                  <a:pt x="15557" y="1052"/>
                  <a:pt x="15557" y="1106"/>
                </a:cubicBezTo>
                <a:cubicBezTo>
                  <a:pt x="15557" y="1150"/>
                  <a:pt x="15572" y="1180"/>
                  <a:pt x="15592" y="1193"/>
                </a:cubicBezTo>
                <a:cubicBezTo>
                  <a:pt x="15598" y="1210"/>
                  <a:pt x="15605" y="1226"/>
                  <a:pt x="15611" y="1236"/>
                </a:cubicBezTo>
                <a:cubicBezTo>
                  <a:pt x="15619" y="1248"/>
                  <a:pt x="15626" y="1253"/>
                  <a:pt x="15632" y="1253"/>
                </a:cubicBezTo>
                <a:cubicBezTo>
                  <a:pt x="15650" y="1253"/>
                  <a:pt x="15682" y="1250"/>
                  <a:pt x="15707" y="1230"/>
                </a:cubicBezTo>
                <a:cubicBezTo>
                  <a:pt x="15707" y="1232"/>
                  <a:pt x="15707" y="1235"/>
                  <a:pt x="15707" y="1238"/>
                </a:cubicBezTo>
                <a:cubicBezTo>
                  <a:pt x="15706" y="1250"/>
                  <a:pt x="15709" y="1260"/>
                  <a:pt x="15714" y="1266"/>
                </a:cubicBezTo>
                <a:cubicBezTo>
                  <a:pt x="15725" y="1278"/>
                  <a:pt x="15742" y="1305"/>
                  <a:pt x="15758" y="1331"/>
                </a:cubicBezTo>
                <a:cubicBezTo>
                  <a:pt x="15773" y="1357"/>
                  <a:pt x="15786" y="1376"/>
                  <a:pt x="15797" y="1392"/>
                </a:cubicBezTo>
                <a:cubicBezTo>
                  <a:pt x="15777" y="1405"/>
                  <a:pt x="15761" y="1435"/>
                  <a:pt x="15761" y="1479"/>
                </a:cubicBezTo>
                <a:cubicBezTo>
                  <a:pt x="15761" y="1534"/>
                  <a:pt x="15783" y="1577"/>
                  <a:pt x="15811" y="1577"/>
                </a:cubicBezTo>
                <a:cubicBezTo>
                  <a:pt x="15838" y="1577"/>
                  <a:pt x="15860" y="1534"/>
                  <a:pt x="15860" y="1479"/>
                </a:cubicBezTo>
                <a:cubicBezTo>
                  <a:pt x="15860" y="1459"/>
                  <a:pt x="15854" y="1444"/>
                  <a:pt x="15849" y="1428"/>
                </a:cubicBezTo>
                <a:cubicBezTo>
                  <a:pt x="15878" y="1432"/>
                  <a:pt x="15907" y="1442"/>
                  <a:pt x="15937" y="1457"/>
                </a:cubicBezTo>
                <a:cubicBezTo>
                  <a:pt x="15978" y="1478"/>
                  <a:pt x="16020" y="1499"/>
                  <a:pt x="16071" y="1499"/>
                </a:cubicBezTo>
                <a:cubicBezTo>
                  <a:pt x="16099" y="1499"/>
                  <a:pt x="16129" y="1462"/>
                  <a:pt x="16129" y="1406"/>
                </a:cubicBezTo>
                <a:cubicBezTo>
                  <a:pt x="16129" y="1387"/>
                  <a:pt x="16125" y="1373"/>
                  <a:pt x="16120" y="1362"/>
                </a:cubicBezTo>
                <a:cubicBezTo>
                  <a:pt x="16123" y="1359"/>
                  <a:pt x="16125" y="1354"/>
                  <a:pt x="16127" y="1350"/>
                </a:cubicBezTo>
                <a:cubicBezTo>
                  <a:pt x="16136" y="1374"/>
                  <a:pt x="16148" y="1391"/>
                  <a:pt x="16164" y="1391"/>
                </a:cubicBezTo>
                <a:cubicBezTo>
                  <a:pt x="16167" y="1391"/>
                  <a:pt x="16168" y="1387"/>
                  <a:pt x="16171" y="1386"/>
                </a:cubicBezTo>
                <a:cubicBezTo>
                  <a:pt x="16166" y="1398"/>
                  <a:pt x="16160" y="1408"/>
                  <a:pt x="16156" y="1420"/>
                </a:cubicBezTo>
                <a:cubicBezTo>
                  <a:pt x="16145" y="1452"/>
                  <a:pt x="16133" y="1485"/>
                  <a:pt x="16120" y="1512"/>
                </a:cubicBezTo>
                <a:cubicBezTo>
                  <a:pt x="16118" y="1516"/>
                  <a:pt x="16114" y="1520"/>
                  <a:pt x="16110" y="1525"/>
                </a:cubicBezTo>
                <a:cubicBezTo>
                  <a:pt x="16097" y="1539"/>
                  <a:pt x="16078" y="1560"/>
                  <a:pt x="16078" y="1626"/>
                </a:cubicBezTo>
                <a:cubicBezTo>
                  <a:pt x="16078" y="1666"/>
                  <a:pt x="16082" y="1721"/>
                  <a:pt x="16124" y="1721"/>
                </a:cubicBezTo>
                <a:cubicBezTo>
                  <a:pt x="16125" y="1721"/>
                  <a:pt x="16127" y="1720"/>
                  <a:pt x="16128" y="1720"/>
                </a:cubicBezTo>
                <a:lnTo>
                  <a:pt x="16239" y="1657"/>
                </a:lnTo>
                <a:cubicBezTo>
                  <a:pt x="16268" y="1647"/>
                  <a:pt x="16302" y="1637"/>
                  <a:pt x="16310" y="1636"/>
                </a:cubicBezTo>
                <a:cubicBezTo>
                  <a:pt x="16317" y="1638"/>
                  <a:pt x="16327" y="1639"/>
                  <a:pt x="16338" y="1639"/>
                </a:cubicBezTo>
                <a:cubicBezTo>
                  <a:pt x="16370" y="1639"/>
                  <a:pt x="16405" y="1629"/>
                  <a:pt x="16432" y="1605"/>
                </a:cubicBezTo>
                <a:cubicBezTo>
                  <a:pt x="16436" y="1608"/>
                  <a:pt x="16439" y="1615"/>
                  <a:pt x="16443" y="1615"/>
                </a:cubicBezTo>
                <a:cubicBezTo>
                  <a:pt x="16470" y="1615"/>
                  <a:pt x="16492" y="1571"/>
                  <a:pt x="16492" y="1517"/>
                </a:cubicBezTo>
                <a:cubicBezTo>
                  <a:pt x="16492" y="1472"/>
                  <a:pt x="16476" y="1441"/>
                  <a:pt x="16456" y="1428"/>
                </a:cubicBezTo>
                <a:cubicBezTo>
                  <a:pt x="16426" y="1362"/>
                  <a:pt x="16368" y="1299"/>
                  <a:pt x="16343" y="1299"/>
                </a:cubicBezTo>
                <a:cubicBezTo>
                  <a:pt x="16337" y="1299"/>
                  <a:pt x="16331" y="1302"/>
                  <a:pt x="16326" y="1307"/>
                </a:cubicBezTo>
                <a:cubicBezTo>
                  <a:pt x="16326" y="1299"/>
                  <a:pt x="16325" y="1290"/>
                  <a:pt x="16325" y="1278"/>
                </a:cubicBezTo>
                <a:cubicBezTo>
                  <a:pt x="16325" y="1261"/>
                  <a:pt x="16319" y="1249"/>
                  <a:pt x="16311" y="1249"/>
                </a:cubicBezTo>
                <a:lnTo>
                  <a:pt x="16283" y="1249"/>
                </a:lnTo>
                <a:cubicBezTo>
                  <a:pt x="16253" y="1249"/>
                  <a:pt x="16231" y="1268"/>
                  <a:pt x="16212" y="1295"/>
                </a:cubicBezTo>
                <a:cubicBezTo>
                  <a:pt x="16212" y="1294"/>
                  <a:pt x="16213" y="1294"/>
                  <a:pt x="16213" y="1293"/>
                </a:cubicBezTo>
                <a:cubicBezTo>
                  <a:pt x="16213" y="1238"/>
                  <a:pt x="16191" y="1194"/>
                  <a:pt x="16164" y="1194"/>
                </a:cubicBezTo>
                <a:cubicBezTo>
                  <a:pt x="16160" y="1194"/>
                  <a:pt x="16158" y="1201"/>
                  <a:pt x="16154" y="1203"/>
                </a:cubicBezTo>
                <a:cubicBezTo>
                  <a:pt x="16153" y="1200"/>
                  <a:pt x="16153" y="1196"/>
                  <a:pt x="16152" y="1194"/>
                </a:cubicBezTo>
                <a:cubicBezTo>
                  <a:pt x="16146" y="1182"/>
                  <a:pt x="16141" y="1171"/>
                  <a:pt x="16137" y="1161"/>
                </a:cubicBezTo>
                <a:cubicBezTo>
                  <a:pt x="16120" y="1122"/>
                  <a:pt x="16109" y="1101"/>
                  <a:pt x="16071" y="1101"/>
                </a:cubicBezTo>
                <a:lnTo>
                  <a:pt x="16029" y="1101"/>
                </a:lnTo>
                <a:cubicBezTo>
                  <a:pt x="16020" y="1101"/>
                  <a:pt x="16013" y="1093"/>
                  <a:pt x="16004" y="1083"/>
                </a:cubicBezTo>
                <a:cubicBezTo>
                  <a:pt x="15994" y="1071"/>
                  <a:pt x="15982" y="1058"/>
                  <a:pt x="15965" y="1057"/>
                </a:cubicBezTo>
                <a:cubicBezTo>
                  <a:pt x="15971" y="1043"/>
                  <a:pt x="15976" y="1028"/>
                  <a:pt x="15976" y="1011"/>
                </a:cubicBezTo>
                <a:cubicBezTo>
                  <a:pt x="15976" y="1005"/>
                  <a:pt x="15976" y="1000"/>
                  <a:pt x="15976" y="994"/>
                </a:cubicBezTo>
                <a:cubicBezTo>
                  <a:pt x="15977" y="985"/>
                  <a:pt x="15977" y="975"/>
                  <a:pt x="15977" y="959"/>
                </a:cubicBezTo>
                <a:cubicBezTo>
                  <a:pt x="15981" y="958"/>
                  <a:pt x="15985" y="954"/>
                  <a:pt x="15992" y="949"/>
                </a:cubicBezTo>
                <a:cubicBezTo>
                  <a:pt x="15997" y="945"/>
                  <a:pt x="16001" y="936"/>
                  <a:pt x="16001" y="926"/>
                </a:cubicBezTo>
                <a:cubicBezTo>
                  <a:pt x="16002" y="915"/>
                  <a:pt x="16000" y="904"/>
                  <a:pt x="15996" y="898"/>
                </a:cubicBezTo>
                <a:cubicBezTo>
                  <a:pt x="15987" y="885"/>
                  <a:pt x="15978" y="866"/>
                  <a:pt x="15968" y="846"/>
                </a:cubicBezTo>
                <a:cubicBezTo>
                  <a:pt x="15966" y="841"/>
                  <a:pt x="15962" y="836"/>
                  <a:pt x="15959" y="830"/>
                </a:cubicBezTo>
                <a:cubicBezTo>
                  <a:pt x="15966" y="813"/>
                  <a:pt x="15971" y="794"/>
                  <a:pt x="15971" y="771"/>
                </a:cubicBezTo>
                <a:cubicBezTo>
                  <a:pt x="15971" y="716"/>
                  <a:pt x="15949" y="672"/>
                  <a:pt x="15922" y="672"/>
                </a:cubicBezTo>
                <a:close/>
                <a:moveTo>
                  <a:pt x="15632" y="842"/>
                </a:moveTo>
                <a:cubicBezTo>
                  <a:pt x="15634" y="834"/>
                  <a:pt x="15634" y="825"/>
                  <a:pt x="15633" y="816"/>
                </a:cubicBezTo>
                <a:lnTo>
                  <a:pt x="15626" y="782"/>
                </a:lnTo>
                <a:cubicBezTo>
                  <a:pt x="15624" y="771"/>
                  <a:pt x="15619" y="764"/>
                  <a:pt x="15612" y="764"/>
                </a:cubicBezTo>
                <a:lnTo>
                  <a:pt x="15534" y="764"/>
                </a:lnTo>
                <a:cubicBezTo>
                  <a:pt x="15529" y="764"/>
                  <a:pt x="15524" y="768"/>
                  <a:pt x="15522" y="776"/>
                </a:cubicBezTo>
                <a:cubicBezTo>
                  <a:pt x="15519" y="785"/>
                  <a:pt x="15518" y="796"/>
                  <a:pt x="15520" y="806"/>
                </a:cubicBezTo>
                <a:cubicBezTo>
                  <a:pt x="15529" y="845"/>
                  <a:pt x="15549" y="864"/>
                  <a:pt x="15578" y="864"/>
                </a:cubicBezTo>
                <a:cubicBezTo>
                  <a:pt x="15592" y="864"/>
                  <a:pt x="15606" y="860"/>
                  <a:pt x="15618" y="857"/>
                </a:cubicBezTo>
                <a:lnTo>
                  <a:pt x="15621" y="856"/>
                </a:lnTo>
                <a:cubicBezTo>
                  <a:pt x="15626" y="854"/>
                  <a:pt x="15629" y="850"/>
                  <a:pt x="15632" y="842"/>
                </a:cubicBezTo>
                <a:close/>
                <a:moveTo>
                  <a:pt x="13997" y="689"/>
                </a:moveTo>
                <a:cubicBezTo>
                  <a:pt x="13966" y="689"/>
                  <a:pt x="13863" y="755"/>
                  <a:pt x="13863" y="845"/>
                </a:cubicBezTo>
                <a:cubicBezTo>
                  <a:pt x="13863" y="850"/>
                  <a:pt x="13865" y="856"/>
                  <a:pt x="13866" y="862"/>
                </a:cubicBezTo>
                <a:cubicBezTo>
                  <a:pt x="13868" y="896"/>
                  <a:pt x="13876" y="940"/>
                  <a:pt x="13914" y="940"/>
                </a:cubicBezTo>
                <a:cubicBezTo>
                  <a:pt x="13930" y="940"/>
                  <a:pt x="14016" y="906"/>
                  <a:pt x="14035" y="878"/>
                </a:cubicBezTo>
                <a:cubicBezTo>
                  <a:pt x="14041" y="870"/>
                  <a:pt x="14043" y="855"/>
                  <a:pt x="14040" y="842"/>
                </a:cubicBezTo>
                <a:lnTo>
                  <a:pt x="14010" y="706"/>
                </a:lnTo>
                <a:cubicBezTo>
                  <a:pt x="14008" y="696"/>
                  <a:pt x="14003" y="689"/>
                  <a:pt x="13997" y="689"/>
                </a:cubicBezTo>
                <a:close/>
                <a:moveTo>
                  <a:pt x="13866" y="862"/>
                </a:moveTo>
                <a:cubicBezTo>
                  <a:pt x="13865" y="853"/>
                  <a:pt x="13863" y="846"/>
                  <a:pt x="13860" y="841"/>
                </a:cubicBezTo>
                <a:cubicBezTo>
                  <a:pt x="13856" y="836"/>
                  <a:pt x="13852" y="833"/>
                  <a:pt x="13848" y="835"/>
                </a:cubicBezTo>
                <a:cubicBezTo>
                  <a:pt x="13841" y="838"/>
                  <a:pt x="13831" y="840"/>
                  <a:pt x="13818" y="839"/>
                </a:cubicBezTo>
                <a:cubicBezTo>
                  <a:pt x="13820" y="831"/>
                  <a:pt x="13819" y="821"/>
                  <a:pt x="13817" y="814"/>
                </a:cubicBezTo>
                <a:cubicBezTo>
                  <a:pt x="13814" y="805"/>
                  <a:pt x="13809" y="801"/>
                  <a:pt x="13804" y="801"/>
                </a:cubicBezTo>
                <a:lnTo>
                  <a:pt x="13734" y="801"/>
                </a:lnTo>
                <a:cubicBezTo>
                  <a:pt x="13726" y="801"/>
                  <a:pt x="13719" y="814"/>
                  <a:pt x="13719" y="830"/>
                </a:cubicBezTo>
                <a:lnTo>
                  <a:pt x="13719" y="835"/>
                </a:lnTo>
                <a:cubicBezTo>
                  <a:pt x="13719" y="842"/>
                  <a:pt x="13718" y="851"/>
                  <a:pt x="13718" y="866"/>
                </a:cubicBezTo>
                <a:cubicBezTo>
                  <a:pt x="13685" y="898"/>
                  <a:pt x="13677" y="956"/>
                  <a:pt x="13677" y="1000"/>
                </a:cubicBezTo>
                <a:cubicBezTo>
                  <a:pt x="13677" y="1040"/>
                  <a:pt x="13703" y="1043"/>
                  <a:pt x="13736" y="1043"/>
                </a:cubicBezTo>
                <a:cubicBezTo>
                  <a:pt x="13737" y="1043"/>
                  <a:pt x="13799" y="1043"/>
                  <a:pt x="13815" y="1027"/>
                </a:cubicBezTo>
                <a:cubicBezTo>
                  <a:pt x="13822" y="1020"/>
                  <a:pt x="13825" y="1003"/>
                  <a:pt x="13822" y="989"/>
                </a:cubicBezTo>
                <a:lnTo>
                  <a:pt x="13821" y="983"/>
                </a:lnTo>
                <a:cubicBezTo>
                  <a:pt x="13822" y="983"/>
                  <a:pt x="13824" y="983"/>
                  <a:pt x="13825" y="983"/>
                </a:cubicBezTo>
                <a:cubicBezTo>
                  <a:pt x="13831" y="983"/>
                  <a:pt x="13850" y="983"/>
                  <a:pt x="13863" y="944"/>
                </a:cubicBezTo>
                <a:cubicBezTo>
                  <a:pt x="13865" y="939"/>
                  <a:pt x="13866" y="934"/>
                  <a:pt x="13866" y="928"/>
                </a:cubicBezTo>
                <a:cubicBezTo>
                  <a:pt x="13866" y="924"/>
                  <a:pt x="13866" y="920"/>
                  <a:pt x="13866" y="916"/>
                </a:cubicBezTo>
                <a:cubicBezTo>
                  <a:pt x="13867" y="905"/>
                  <a:pt x="13867" y="891"/>
                  <a:pt x="13866" y="862"/>
                </a:cubicBezTo>
                <a:close/>
                <a:moveTo>
                  <a:pt x="13550" y="722"/>
                </a:moveTo>
                <a:cubicBezTo>
                  <a:pt x="13549" y="728"/>
                  <a:pt x="13547" y="733"/>
                  <a:pt x="13547" y="740"/>
                </a:cubicBezTo>
                <a:cubicBezTo>
                  <a:pt x="13547" y="741"/>
                  <a:pt x="13547" y="742"/>
                  <a:pt x="13547" y="743"/>
                </a:cubicBezTo>
                <a:cubicBezTo>
                  <a:pt x="13529" y="760"/>
                  <a:pt x="13511" y="777"/>
                  <a:pt x="13499" y="801"/>
                </a:cubicBezTo>
                <a:cubicBezTo>
                  <a:pt x="13499" y="800"/>
                  <a:pt x="13498" y="800"/>
                  <a:pt x="13497" y="800"/>
                </a:cubicBezTo>
                <a:cubicBezTo>
                  <a:pt x="13491" y="795"/>
                  <a:pt x="13488" y="791"/>
                  <a:pt x="13485" y="787"/>
                </a:cubicBezTo>
                <a:cubicBezTo>
                  <a:pt x="13504" y="778"/>
                  <a:pt x="13517" y="762"/>
                  <a:pt x="13529" y="746"/>
                </a:cubicBezTo>
                <a:cubicBezTo>
                  <a:pt x="13536" y="737"/>
                  <a:pt x="13543" y="728"/>
                  <a:pt x="13550" y="722"/>
                </a:cubicBezTo>
                <a:close/>
                <a:moveTo>
                  <a:pt x="13987" y="750"/>
                </a:moveTo>
                <a:lnTo>
                  <a:pt x="14007" y="839"/>
                </a:lnTo>
                <a:cubicBezTo>
                  <a:pt x="13999" y="844"/>
                  <a:pt x="13990" y="846"/>
                  <a:pt x="13980" y="851"/>
                </a:cubicBezTo>
                <a:cubicBezTo>
                  <a:pt x="13983" y="840"/>
                  <a:pt x="13987" y="829"/>
                  <a:pt x="13987" y="815"/>
                </a:cubicBezTo>
                <a:cubicBezTo>
                  <a:pt x="13987" y="791"/>
                  <a:pt x="13980" y="774"/>
                  <a:pt x="13971" y="761"/>
                </a:cubicBezTo>
                <a:cubicBezTo>
                  <a:pt x="13976" y="758"/>
                  <a:pt x="13982" y="751"/>
                  <a:pt x="13987" y="750"/>
                </a:cubicBezTo>
                <a:close/>
                <a:moveTo>
                  <a:pt x="4674" y="765"/>
                </a:moveTo>
                <a:lnTo>
                  <a:pt x="4679" y="773"/>
                </a:lnTo>
                <a:lnTo>
                  <a:pt x="4680" y="775"/>
                </a:lnTo>
                <a:cubicBezTo>
                  <a:pt x="4678" y="774"/>
                  <a:pt x="4676" y="771"/>
                  <a:pt x="4672" y="767"/>
                </a:cubicBezTo>
                <a:cubicBezTo>
                  <a:pt x="4673" y="766"/>
                  <a:pt x="4673" y="766"/>
                  <a:pt x="4674" y="765"/>
                </a:cubicBezTo>
                <a:close/>
                <a:moveTo>
                  <a:pt x="6018" y="783"/>
                </a:moveTo>
                <a:cubicBezTo>
                  <a:pt x="6004" y="783"/>
                  <a:pt x="5992" y="806"/>
                  <a:pt x="5992" y="835"/>
                </a:cubicBezTo>
                <a:cubicBezTo>
                  <a:pt x="5992" y="863"/>
                  <a:pt x="6004" y="886"/>
                  <a:pt x="6018" y="886"/>
                </a:cubicBezTo>
                <a:cubicBezTo>
                  <a:pt x="6032" y="886"/>
                  <a:pt x="6043" y="863"/>
                  <a:pt x="6043" y="835"/>
                </a:cubicBezTo>
                <a:cubicBezTo>
                  <a:pt x="6043" y="806"/>
                  <a:pt x="6032" y="783"/>
                  <a:pt x="6018" y="783"/>
                </a:cubicBezTo>
                <a:close/>
                <a:moveTo>
                  <a:pt x="15859" y="786"/>
                </a:moveTo>
                <a:cubicBezTo>
                  <a:pt x="15866" y="786"/>
                  <a:pt x="15872" y="796"/>
                  <a:pt x="15879" y="800"/>
                </a:cubicBezTo>
                <a:cubicBezTo>
                  <a:pt x="15885" y="838"/>
                  <a:pt x="15901" y="869"/>
                  <a:pt x="15922" y="869"/>
                </a:cubicBezTo>
                <a:cubicBezTo>
                  <a:pt x="15926" y="869"/>
                  <a:pt x="15928" y="863"/>
                  <a:pt x="15931" y="862"/>
                </a:cubicBezTo>
                <a:cubicBezTo>
                  <a:pt x="15936" y="871"/>
                  <a:pt x="15942" y="879"/>
                  <a:pt x="15947" y="890"/>
                </a:cubicBezTo>
                <a:cubicBezTo>
                  <a:pt x="15949" y="893"/>
                  <a:pt x="15951" y="897"/>
                  <a:pt x="15953" y="901"/>
                </a:cubicBezTo>
                <a:cubicBezTo>
                  <a:pt x="15952" y="902"/>
                  <a:pt x="15952" y="902"/>
                  <a:pt x="15951" y="902"/>
                </a:cubicBezTo>
                <a:cubicBezTo>
                  <a:pt x="15948" y="909"/>
                  <a:pt x="15946" y="918"/>
                  <a:pt x="15946" y="928"/>
                </a:cubicBezTo>
                <a:cubicBezTo>
                  <a:pt x="15947" y="962"/>
                  <a:pt x="15947" y="977"/>
                  <a:pt x="15947" y="991"/>
                </a:cubicBezTo>
                <a:cubicBezTo>
                  <a:pt x="15947" y="998"/>
                  <a:pt x="15946" y="1004"/>
                  <a:pt x="15946" y="1010"/>
                </a:cubicBezTo>
                <a:cubicBezTo>
                  <a:pt x="15945" y="1019"/>
                  <a:pt x="15931" y="1043"/>
                  <a:pt x="15914" y="1061"/>
                </a:cubicBezTo>
                <a:cubicBezTo>
                  <a:pt x="15907" y="1068"/>
                  <a:pt x="15904" y="1084"/>
                  <a:pt x="15907" y="1098"/>
                </a:cubicBezTo>
                <a:cubicBezTo>
                  <a:pt x="15910" y="1113"/>
                  <a:pt x="15918" y="1120"/>
                  <a:pt x="15925" y="1116"/>
                </a:cubicBezTo>
                <a:cubicBezTo>
                  <a:pt x="15935" y="1110"/>
                  <a:pt x="15941" y="1112"/>
                  <a:pt x="15948" y="1115"/>
                </a:cubicBezTo>
                <a:cubicBezTo>
                  <a:pt x="15953" y="1116"/>
                  <a:pt x="15958" y="1118"/>
                  <a:pt x="15965" y="1118"/>
                </a:cubicBezTo>
                <a:cubicBezTo>
                  <a:pt x="15974" y="1118"/>
                  <a:pt x="15981" y="1126"/>
                  <a:pt x="15990" y="1135"/>
                </a:cubicBezTo>
                <a:cubicBezTo>
                  <a:pt x="16000" y="1147"/>
                  <a:pt x="16012" y="1160"/>
                  <a:pt x="16029" y="1160"/>
                </a:cubicBezTo>
                <a:lnTo>
                  <a:pt x="16071" y="1160"/>
                </a:lnTo>
                <a:cubicBezTo>
                  <a:pt x="16097" y="1160"/>
                  <a:pt x="16101" y="1170"/>
                  <a:pt x="16114" y="1201"/>
                </a:cubicBezTo>
                <a:cubicBezTo>
                  <a:pt x="16116" y="1205"/>
                  <a:pt x="16118" y="1209"/>
                  <a:pt x="16120" y="1214"/>
                </a:cubicBezTo>
                <a:cubicBezTo>
                  <a:pt x="16110" y="1236"/>
                  <a:pt x="16108" y="1254"/>
                  <a:pt x="16109" y="1282"/>
                </a:cubicBezTo>
                <a:cubicBezTo>
                  <a:pt x="16109" y="1287"/>
                  <a:pt x="16110" y="1294"/>
                  <a:pt x="16110" y="1300"/>
                </a:cubicBezTo>
                <a:cubicBezTo>
                  <a:pt x="16110" y="1310"/>
                  <a:pt x="16098" y="1315"/>
                  <a:pt x="16087" y="1321"/>
                </a:cubicBezTo>
                <a:cubicBezTo>
                  <a:pt x="16083" y="1323"/>
                  <a:pt x="16080" y="1325"/>
                  <a:pt x="16077" y="1327"/>
                </a:cubicBezTo>
                <a:cubicBezTo>
                  <a:pt x="16071" y="1331"/>
                  <a:pt x="16067" y="1343"/>
                  <a:pt x="16067" y="1356"/>
                </a:cubicBezTo>
                <a:cubicBezTo>
                  <a:pt x="16067" y="1369"/>
                  <a:pt x="16071" y="1380"/>
                  <a:pt x="16078" y="1384"/>
                </a:cubicBezTo>
                <a:cubicBezTo>
                  <a:pt x="16096" y="1395"/>
                  <a:pt x="16098" y="1402"/>
                  <a:pt x="16098" y="1406"/>
                </a:cubicBezTo>
                <a:cubicBezTo>
                  <a:pt x="16098" y="1422"/>
                  <a:pt x="16084" y="1440"/>
                  <a:pt x="16071" y="1440"/>
                </a:cubicBezTo>
                <a:cubicBezTo>
                  <a:pt x="16024" y="1440"/>
                  <a:pt x="15983" y="1420"/>
                  <a:pt x="15944" y="1400"/>
                </a:cubicBezTo>
                <a:cubicBezTo>
                  <a:pt x="15907" y="1381"/>
                  <a:pt x="15872" y="1363"/>
                  <a:pt x="15834" y="1363"/>
                </a:cubicBezTo>
                <a:cubicBezTo>
                  <a:pt x="15824" y="1363"/>
                  <a:pt x="15794" y="1314"/>
                  <a:pt x="15776" y="1285"/>
                </a:cubicBezTo>
                <a:cubicBezTo>
                  <a:pt x="15769" y="1272"/>
                  <a:pt x="15761" y="1260"/>
                  <a:pt x="15754" y="1249"/>
                </a:cubicBezTo>
                <a:cubicBezTo>
                  <a:pt x="15775" y="1232"/>
                  <a:pt x="15791" y="1215"/>
                  <a:pt x="15807" y="1198"/>
                </a:cubicBezTo>
                <a:cubicBezTo>
                  <a:pt x="15830" y="1175"/>
                  <a:pt x="15851" y="1154"/>
                  <a:pt x="15885" y="1133"/>
                </a:cubicBezTo>
                <a:cubicBezTo>
                  <a:pt x="15892" y="1129"/>
                  <a:pt x="15896" y="1114"/>
                  <a:pt x="15895" y="1099"/>
                </a:cubicBezTo>
                <a:cubicBezTo>
                  <a:pt x="15894" y="1085"/>
                  <a:pt x="15888" y="1074"/>
                  <a:pt x="15880" y="1074"/>
                </a:cubicBezTo>
                <a:cubicBezTo>
                  <a:pt x="15869" y="1074"/>
                  <a:pt x="15847" y="1071"/>
                  <a:pt x="15827" y="1069"/>
                </a:cubicBezTo>
                <a:cubicBezTo>
                  <a:pt x="15811" y="1067"/>
                  <a:pt x="15797" y="1066"/>
                  <a:pt x="15791" y="1066"/>
                </a:cubicBezTo>
                <a:cubicBezTo>
                  <a:pt x="15747" y="1066"/>
                  <a:pt x="15713" y="1046"/>
                  <a:pt x="15675" y="1011"/>
                </a:cubicBezTo>
                <a:cubicBezTo>
                  <a:pt x="15675" y="1011"/>
                  <a:pt x="15676" y="1006"/>
                  <a:pt x="15676" y="1006"/>
                </a:cubicBezTo>
                <a:cubicBezTo>
                  <a:pt x="15701" y="979"/>
                  <a:pt x="15721" y="942"/>
                  <a:pt x="15741" y="906"/>
                </a:cubicBezTo>
                <a:cubicBezTo>
                  <a:pt x="15775" y="844"/>
                  <a:pt x="15807" y="786"/>
                  <a:pt x="15859" y="786"/>
                </a:cubicBezTo>
                <a:close/>
                <a:moveTo>
                  <a:pt x="13923" y="799"/>
                </a:moveTo>
                <a:cubicBezTo>
                  <a:pt x="13922" y="804"/>
                  <a:pt x="13919" y="809"/>
                  <a:pt x="13919" y="815"/>
                </a:cubicBezTo>
                <a:cubicBezTo>
                  <a:pt x="13919" y="840"/>
                  <a:pt x="13927" y="858"/>
                  <a:pt x="13937" y="870"/>
                </a:cubicBezTo>
                <a:cubicBezTo>
                  <a:pt x="13930" y="872"/>
                  <a:pt x="13917" y="879"/>
                  <a:pt x="13914" y="879"/>
                </a:cubicBezTo>
                <a:cubicBezTo>
                  <a:pt x="13895" y="879"/>
                  <a:pt x="13893" y="866"/>
                  <a:pt x="13893" y="845"/>
                </a:cubicBezTo>
                <a:cubicBezTo>
                  <a:pt x="13893" y="834"/>
                  <a:pt x="13907" y="816"/>
                  <a:pt x="13923" y="799"/>
                </a:cubicBezTo>
                <a:close/>
                <a:moveTo>
                  <a:pt x="4467" y="827"/>
                </a:moveTo>
                <a:cubicBezTo>
                  <a:pt x="4502" y="834"/>
                  <a:pt x="4531" y="844"/>
                  <a:pt x="4558" y="865"/>
                </a:cubicBezTo>
                <a:cubicBezTo>
                  <a:pt x="4574" y="878"/>
                  <a:pt x="4580" y="911"/>
                  <a:pt x="4588" y="949"/>
                </a:cubicBezTo>
                <a:cubicBezTo>
                  <a:pt x="4595" y="988"/>
                  <a:pt x="4604" y="1032"/>
                  <a:pt x="4626" y="1048"/>
                </a:cubicBezTo>
                <a:cubicBezTo>
                  <a:pt x="4643" y="1061"/>
                  <a:pt x="4661" y="1059"/>
                  <a:pt x="4676" y="1054"/>
                </a:cubicBezTo>
                <a:cubicBezTo>
                  <a:pt x="4689" y="1050"/>
                  <a:pt x="4700" y="1048"/>
                  <a:pt x="4710" y="1056"/>
                </a:cubicBezTo>
                <a:cubicBezTo>
                  <a:pt x="4722" y="1066"/>
                  <a:pt x="4724" y="1078"/>
                  <a:pt x="4727" y="1103"/>
                </a:cubicBezTo>
                <a:cubicBezTo>
                  <a:pt x="4730" y="1123"/>
                  <a:pt x="4733" y="1147"/>
                  <a:pt x="4744" y="1168"/>
                </a:cubicBezTo>
                <a:cubicBezTo>
                  <a:pt x="4746" y="1174"/>
                  <a:pt x="4751" y="1177"/>
                  <a:pt x="4755" y="1177"/>
                </a:cubicBezTo>
                <a:lnTo>
                  <a:pt x="4780" y="1177"/>
                </a:lnTo>
                <a:cubicBezTo>
                  <a:pt x="4788" y="1177"/>
                  <a:pt x="4795" y="1164"/>
                  <a:pt x="4795" y="1147"/>
                </a:cubicBezTo>
                <a:lnTo>
                  <a:pt x="4795" y="1092"/>
                </a:lnTo>
                <a:cubicBezTo>
                  <a:pt x="4800" y="1093"/>
                  <a:pt x="4802" y="1094"/>
                  <a:pt x="4802" y="1094"/>
                </a:cubicBezTo>
                <a:cubicBezTo>
                  <a:pt x="4803" y="1098"/>
                  <a:pt x="4803" y="1113"/>
                  <a:pt x="4803" y="1125"/>
                </a:cubicBezTo>
                <a:lnTo>
                  <a:pt x="4803" y="1134"/>
                </a:lnTo>
                <a:cubicBezTo>
                  <a:pt x="4803" y="1165"/>
                  <a:pt x="4815" y="1182"/>
                  <a:pt x="4823" y="1191"/>
                </a:cubicBezTo>
                <a:cubicBezTo>
                  <a:pt x="4825" y="1195"/>
                  <a:pt x="4828" y="1199"/>
                  <a:pt x="4828" y="1198"/>
                </a:cubicBezTo>
                <a:cubicBezTo>
                  <a:pt x="4828" y="1202"/>
                  <a:pt x="4828" y="1205"/>
                  <a:pt x="4824" y="1214"/>
                </a:cubicBezTo>
                <a:cubicBezTo>
                  <a:pt x="4820" y="1224"/>
                  <a:pt x="4814" y="1239"/>
                  <a:pt x="4814" y="1263"/>
                </a:cubicBezTo>
                <a:cubicBezTo>
                  <a:pt x="4814" y="1281"/>
                  <a:pt x="4818" y="1292"/>
                  <a:pt x="4821" y="1298"/>
                </a:cubicBezTo>
                <a:cubicBezTo>
                  <a:pt x="4824" y="1303"/>
                  <a:pt x="4829" y="1309"/>
                  <a:pt x="4837" y="1309"/>
                </a:cubicBezTo>
                <a:cubicBezTo>
                  <a:pt x="4846" y="1309"/>
                  <a:pt x="4857" y="1301"/>
                  <a:pt x="4864" y="1295"/>
                </a:cubicBezTo>
                <a:cubicBezTo>
                  <a:pt x="4865" y="1294"/>
                  <a:pt x="4865" y="1292"/>
                  <a:pt x="4866" y="1292"/>
                </a:cubicBezTo>
                <a:cubicBezTo>
                  <a:pt x="4875" y="1293"/>
                  <a:pt x="4894" y="1305"/>
                  <a:pt x="4910" y="1316"/>
                </a:cubicBezTo>
                <a:cubicBezTo>
                  <a:pt x="4910" y="1317"/>
                  <a:pt x="4911" y="1317"/>
                  <a:pt x="4912" y="1317"/>
                </a:cubicBezTo>
                <a:cubicBezTo>
                  <a:pt x="4923" y="1331"/>
                  <a:pt x="4935" y="1341"/>
                  <a:pt x="4949" y="1341"/>
                </a:cubicBezTo>
                <a:cubicBezTo>
                  <a:pt x="4950" y="1341"/>
                  <a:pt x="4950" y="1341"/>
                  <a:pt x="4950" y="1341"/>
                </a:cubicBezTo>
                <a:cubicBezTo>
                  <a:pt x="4951" y="1341"/>
                  <a:pt x="4953" y="1342"/>
                  <a:pt x="4955" y="1343"/>
                </a:cubicBezTo>
                <a:cubicBezTo>
                  <a:pt x="4955" y="1344"/>
                  <a:pt x="4955" y="1345"/>
                  <a:pt x="4955" y="1345"/>
                </a:cubicBezTo>
                <a:cubicBezTo>
                  <a:pt x="4955" y="1358"/>
                  <a:pt x="4955" y="1362"/>
                  <a:pt x="4954" y="1365"/>
                </a:cubicBezTo>
                <a:cubicBezTo>
                  <a:pt x="4952" y="1371"/>
                  <a:pt x="4938" y="1371"/>
                  <a:pt x="4932" y="1371"/>
                </a:cubicBezTo>
                <a:cubicBezTo>
                  <a:pt x="4926" y="1371"/>
                  <a:pt x="4921" y="1372"/>
                  <a:pt x="4916" y="1373"/>
                </a:cubicBezTo>
                <a:cubicBezTo>
                  <a:pt x="4888" y="1379"/>
                  <a:pt x="4866" y="1422"/>
                  <a:pt x="4848" y="1461"/>
                </a:cubicBezTo>
                <a:cubicBezTo>
                  <a:pt x="4838" y="1481"/>
                  <a:pt x="4824" y="1509"/>
                  <a:pt x="4818" y="1509"/>
                </a:cubicBezTo>
                <a:cubicBezTo>
                  <a:pt x="4807" y="1509"/>
                  <a:pt x="4806" y="1506"/>
                  <a:pt x="4801" y="1467"/>
                </a:cubicBezTo>
                <a:cubicBezTo>
                  <a:pt x="4800" y="1460"/>
                  <a:pt x="4800" y="1453"/>
                  <a:pt x="4799" y="1446"/>
                </a:cubicBezTo>
                <a:cubicBezTo>
                  <a:pt x="4797" y="1435"/>
                  <a:pt x="4793" y="1427"/>
                  <a:pt x="4788" y="1425"/>
                </a:cubicBezTo>
                <a:cubicBezTo>
                  <a:pt x="4783" y="1422"/>
                  <a:pt x="4778" y="1425"/>
                  <a:pt x="4774" y="1433"/>
                </a:cubicBezTo>
                <a:cubicBezTo>
                  <a:pt x="4768" y="1445"/>
                  <a:pt x="4763" y="1457"/>
                  <a:pt x="4759" y="1468"/>
                </a:cubicBezTo>
                <a:cubicBezTo>
                  <a:pt x="4756" y="1478"/>
                  <a:pt x="4753" y="1487"/>
                  <a:pt x="4748" y="1496"/>
                </a:cubicBezTo>
                <a:cubicBezTo>
                  <a:pt x="4743" y="1505"/>
                  <a:pt x="4742" y="1521"/>
                  <a:pt x="4746" y="1533"/>
                </a:cubicBezTo>
                <a:cubicBezTo>
                  <a:pt x="4751" y="1550"/>
                  <a:pt x="4755" y="1563"/>
                  <a:pt x="4759" y="1573"/>
                </a:cubicBezTo>
                <a:lnTo>
                  <a:pt x="4748" y="1573"/>
                </a:lnTo>
                <a:cubicBezTo>
                  <a:pt x="4740" y="1573"/>
                  <a:pt x="4733" y="1585"/>
                  <a:pt x="4733" y="1602"/>
                </a:cubicBezTo>
                <a:lnTo>
                  <a:pt x="4733" y="1620"/>
                </a:lnTo>
                <a:cubicBezTo>
                  <a:pt x="4718" y="1608"/>
                  <a:pt x="4698" y="1581"/>
                  <a:pt x="4687" y="1566"/>
                </a:cubicBezTo>
                <a:lnTo>
                  <a:pt x="4680" y="1556"/>
                </a:lnTo>
                <a:cubicBezTo>
                  <a:pt x="4676" y="1550"/>
                  <a:pt x="4669" y="1550"/>
                  <a:pt x="4664" y="1555"/>
                </a:cubicBezTo>
                <a:cubicBezTo>
                  <a:pt x="4660" y="1560"/>
                  <a:pt x="4657" y="1570"/>
                  <a:pt x="4657" y="1581"/>
                </a:cubicBezTo>
                <a:cubicBezTo>
                  <a:pt x="4657" y="1633"/>
                  <a:pt x="4649" y="1648"/>
                  <a:pt x="4621" y="1648"/>
                </a:cubicBezTo>
                <a:cubicBezTo>
                  <a:pt x="4596" y="1648"/>
                  <a:pt x="4570" y="1639"/>
                  <a:pt x="4558" y="1619"/>
                </a:cubicBezTo>
                <a:cubicBezTo>
                  <a:pt x="4566" y="1611"/>
                  <a:pt x="4570" y="1602"/>
                  <a:pt x="4574" y="1594"/>
                </a:cubicBezTo>
                <a:cubicBezTo>
                  <a:pt x="4579" y="1585"/>
                  <a:pt x="4580" y="1572"/>
                  <a:pt x="4577" y="1561"/>
                </a:cubicBezTo>
                <a:cubicBezTo>
                  <a:pt x="4575" y="1550"/>
                  <a:pt x="4570" y="1542"/>
                  <a:pt x="4564" y="1542"/>
                </a:cubicBezTo>
                <a:cubicBezTo>
                  <a:pt x="4531" y="1542"/>
                  <a:pt x="4483" y="1503"/>
                  <a:pt x="4483" y="1467"/>
                </a:cubicBezTo>
                <a:cubicBezTo>
                  <a:pt x="4483" y="1452"/>
                  <a:pt x="4502" y="1431"/>
                  <a:pt x="4594" y="1419"/>
                </a:cubicBezTo>
                <a:cubicBezTo>
                  <a:pt x="4610" y="1416"/>
                  <a:pt x="4624" y="1414"/>
                  <a:pt x="4633" y="1411"/>
                </a:cubicBezTo>
                <a:cubicBezTo>
                  <a:pt x="4639" y="1408"/>
                  <a:pt x="4644" y="1396"/>
                  <a:pt x="4644" y="1383"/>
                </a:cubicBezTo>
                <a:cubicBezTo>
                  <a:pt x="4644" y="1369"/>
                  <a:pt x="4640" y="1356"/>
                  <a:pt x="4633" y="1352"/>
                </a:cubicBezTo>
                <a:cubicBezTo>
                  <a:pt x="4627" y="1349"/>
                  <a:pt x="4622" y="1346"/>
                  <a:pt x="4617" y="1343"/>
                </a:cubicBezTo>
                <a:cubicBezTo>
                  <a:pt x="4592" y="1329"/>
                  <a:pt x="4571" y="1317"/>
                  <a:pt x="4542" y="1317"/>
                </a:cubicBezTo>
                <a:cubicBezTo>
                  <a:pt x="4522" y="1317"/>
                  <a:pt x="4510" y="1329"/>
                  <a:pt x="4500" y="1338"/>
                </a:cubicBezTo>
                <a:cubicBezTo>
                  <a:pt x="4492" y="1346"/>
                  <a:pt x="4488" y="1351"/>
                  <a:pt x="4479" y="1351"/>
                </a:cubicBezTo>
                <a:cubicBezTo>
                  <a:pt x="4472" y="1351"/>
                  <a:pt x="4470" y="1349"/>
                  <a:pt x="4466" y="1328"/>
                </a:cubicBezTo>
                <a:cubicBezTo>
                  <a:pt x="4465" y="1323"/>
                  <a:pt x="4463" y="1318"/>
                  <a:pt x="4462" y="1313"/>
                </a:cubicBezTo>
                <a:cubicBezTo>
                  <a:pt x="4459" y="1299"/>
                  <a:pt x="4451" y="1293"/>
                  <a:pt x="4444" y="1299"/>
                </a:cubicBezTo>
                <a:cubicBezTo>
                  <a:pt x="4441" y="1301"/>
                  <a:pt x="4439" y="1302"/>
                  <a:pt x="4437" y="1303"/>
                </a:cubicBezTo>
                <a:cubicBezTo>
                  <a:pt x="4441" y="1297"/>
                  <a:pt x="4445" y="1290"/>
                  <a:pt x="4448" y="1280"/>
                </a:cubicBezTo>
                <a:cubicBezTo>
                  <a:pt x="4452" y="1271"/>
                  <a:pt x="4452" y="1259"/>
                  <a:pt x="4450" y="1249"/>
                </a:cubicBezTo>
                <a:cubicBezTo>
                  <a:pt x="4447" y="1238"/>
                  <a:pt x="4442" y="1232"/>
                  <a:pt x="4437" y="1232"/>
                </a:cubicBezTo>
                <a:cubicBezTo>
                  <a:pt x="4371" y="1232"/>
                  <a:pt x="4341" y="1220"/>
                  <a:pt x="4331" y="1156"/>
                </a:cubicBezTo>
                <a:cubicBezTo>
                  <a:pt x="4331" y="1156"/>
                  <a:pt x="4341" y="1156"/>
                  <a:pt x="4341" y="1156"/>
                </a:cubicBezTo>
                <a:cubicBezTo>
                  <a:pt x="4357" y="1177"/>
                  <a:pt x="4389" y="1200"/>
                  <a:pt x="4409" y="1200"/>
                </a:cubicBezTo>
                <a:cubicBezTo>
                  <a:pt x="4423" y="1200"/>
                  <a:pt x="4435" y="1169"/>
                  <a:pt x="4441" y="1151"/>
                </a:cubicBezTo>
                <a:cubicBezTo>
                  <a:pt x="4443" y="1143"/>
                  <a:pt x="4443" y="1133"/>
                  <a:pt x="4442" y="1124"/>
                </a:cubicBezTo>
                <a:cubicBezTo>
                  <a:pt x="4440" y="1115"/>
                  <a:pt x="4437" y="1109"/>
                  <a:pt x="4432" y="1106"/>
                </a:cubicBezTo>
                <a:cubicBezTo>
                  <a:pt x="4428" y="1104"/>
                  <a:pt x="4423" y="1101"/>
                  <a:pt x="4418" y="1098"/>
                </a:cubicBezTo>
                <a:cubicBezTo>
                  <a:pt x="4402" y="1089"/>
                  <a:pt x="4354" y="1061"/>
                  <a:pt x="4350" y="1041"/>
                </a:cubicBezTo>
                <a:cubicBezTo>
                  <a:pt x="4350" y="1037"/>
                  <a:pt x="4350" y="1028"/>
                  <a:pt x="4374" y="1028"/>
                </a:cubicBezTo>
                <a:lnTo>
                  <a:pt x="4383" y="1029"/>
                </a:lnTo>
                <a:cubicBezTo>
                  <a:pt x="4397" y="1029"/>
                  <a:pt x="4405" y="1037"/>
                  <a:pt x="4414" y="1045"/>
                </a:cubicBezTo>
                <a:cubicBezTo>
                  <a:pt x="4422" y="1052"/>
                  <a:pt x="4430" y="1059"/>
                  <a:pt x="4441" y="1059"/>
                </a:cubicBezTo>
                <a:cubicBezTo>
                  <a:pt x="4458" y="1059"/>
                  <a:pt x="4466" y="1032"/>
                  <a:pt x="4471" y="1017"/>
                </a:cubicBezTo>
                <a:cubicBezTo>
                  <a:pt x="4473" y="1013"/>
                  <a:pt x="4474" y="1009"/>
                  <a:pt x="4475" y="1007"/>
                </a:cubicBezTo>
                <a:cubicBezTo>
                  <a:pt x="4478" y="1001"/>
                  <a:pt x="4480" y="991"/>
                  <a:pt x="4479" y="982"/>
                </a:cubicBezTo>
                <a:cubicBezTo>
                  <a:pt x="4478" y="973"/>
                  <a:pt x="4475" y="965"/>
                  <a:pt x="4471" y="961"/>
                </a:cubicBezTo>
                <a:cubicBezTo>
                  <a:pt x="4463" y="950"/>
                  <a:pt x="4453" y="944"/>
                  <a:pt x="4442" y="944"/>
                </a:cubicBezTo>
                <a:cubicBezTo>
                  <a:pt x="4432" y="944"/>
                  <a:pt x="4423" y="949"/>
                  <a:pt x="4415" y="952"/>
                </a:cubicBezTo>
                <a:cubicBezTo>
                  <a:pt x="4412" y="954"/>
                  <a:pt x="4410" y="954"/>
                  <a:pt x="4407" y="955"/>
                </a:cubicBezTo>
                <a:cubicBezTo>
                  <a:pt x="4405" y="949"/>
                  <a:pt x="4400" y="939"/>
                  <a:pt x="4397" y="929"/>
                </a:cubicBezTo>
                <a:cubicBezTo>
                  <a:pt x="4415" y="909"/>
                  <a:pt x="4430" y="898"/>
                  <a:pt x="4455" y="909"/>
                </a:cubicBezTo>
                <a:cubicBezTo>
                  <a:pt x="4456" y="910"/>
                  <a:pt x="4456" y="909"/>
                  <a:pt x="4457" y="909"/>
                </a:cubicBezTo>
                <a:lnTo>
                  <a:pt x="4494" y="909"/>
                </a:lnTo>
                <a:cubicBezTo>
                  <a:pt x="4500" y="909"/>
                  <a:pt x="4506" y="900"/>
                  <a:pt x="4508" y="886"/>
                </a:cubicBezTo>
                <a:cubicBezTo>
                  <a:pt x="4510" y="873"/>
                  <a:pt x="4507" y="858"/>
                  <a:pt x="4501" y="852"/>
                </a:cubicBezTo>
                <a:cubicBezTo>
                  <a:pt x="4493" y="845"/>
                  <a:pt x="4484" y="839"/>
                  <a:pt x="4477" y="834"/>
                </a:cubicBezTo>
                <a:cubicBezTo>
                  <a:pt x="4473" y="831"/>
                  <a:pt x="4470" y="829"/>
                  <a:pt x="4467" y="827"/>
                </a:cubicBezTo>
                <a:close/>
                <a:moveTo>
                  <a:pt x="4713" y="831"/>
                </a:moveTo>
                <a:lnTo>
                  <a:pt x="4718" y="839"/>
                </a:lnTo>
                <a:cubicBezTo>
                  <a:pt x="4715" y="839"/>
                  <a:pt x="4712" y="839"/>
                  <a:pt x="4709" y="839"/>
                </a:cubicBezTo>
                <a:cubicBezTo>
                  <a:pt x="4710" y="836"/>
                  <a:pt x="4712" y="834"/>
                  <a:pt x="4713" y="831"/>
                </a:cubicBezTo>
                <a:close/>
                <a:moveTo>
                  <a:pt x="13502" y="850"/>
                </a:moveTo>
                <a:cubicBezTo>
                  <a:pt x="13504" y="851"/>
                  <a:pt x="13505" y="853"/>
                  <a:pt x="13507" y="853"/>
                </a:cubicBezTo>
                <a:cubicBezTo>
                  <a:pt x="13535" y="861"/>
                  <a:pt x="13552" y="867"/>
                  <a:pt x="13567" y="874"/>
                </a:cubicBezTo>
                <a:cubicBezTo>
                  <a:pt x="13552" y="875"/>
                  <a:pt x="13534" y="889"/>
                  <a:pt x="13518" y="902"/>
                </a:cubicBezTo>
                <a:cubicBezTo>
                  <a:pt x="13505" y="914"/>
                  <a:pt x="13491" y="926"/>
                  <a:pt x="13482" y="926"/>
                </a:cubicBezTo>
                <a:cubicBezTo>
                  <a:pt x="13478" y="925"/>
                  <a:pt x="13459" y="909"/>
                  <a:pt x="13446" y="899"/>
                </a:cubicBezTo>
                <a:cubicBezTo>
                  <a:pt x="13446" y="895"/>
                  <a:pt x="13447" y="893"/>
                  <a:pt x="13447" y="890"/>
                </a:cubicBezTo>
                <a:cubicBezTo>
                  <a:pt x="13447" y="877"/>
                  <a:pt x="13444" y="868"/>
                  <a:pt x="13441" y="858"/>
                </a:cubicBezTo>
                <a:lnTo>
                  <a:pt x="13492" y="858"/>
                </a:lnTo>
                <a:cubicBezTo>
                  <a:pt x="13496" y="858"/>
                  <a:pt x="13499" y="855"/>
                  <a:pt x="13502" y="850"/>
                </a:cubicBezTo>
                <a:close/>
                <a:moveTo>
                  <a:pt x="12818" y="858"/>
                </a:moveTo>
                <a:cubicBezTo>
                  <a:pt x="12801" y="858"/>
                  <a:pt x="12789" y="884"/>
                  <a:pt x="12786" y="916"/>
                </a:cubicBezTo>
                <a:cubicBezTo>
                  <a:pt x="12769" y="930"/>
                  <a:pt x="12755" y="947"/>
                  <a:pt x="12748" y="971"/>
                </a:cubicBezTo>
                <a:cubicBezTo>
                  <a:pt x="12746" y="980"/>
                  <a:pt x="12746" y="990"/>
                  <a:pt x="12748" y="999"/>
                </a:cubicBezTo>
                <a:cubicBezTo>
                  <a:pt x="12750" y="1008"/>
                  <a:pt x="12755" y="1014"/>
                  <a:pt x="12760" y="1015"/>
                </a:cubicBezTo>
                <a:cubicBezTo>
                  <a:pt x="12766" y="1017"/>
                  <a:pt x="12771" y="1020"/>
                  <a:pt x="12777" y="1022"/>
                </a:cubicBezTo>
                <a:cubicBezTo>
                  <a:pt x="12786" y="1027"/>
                  <a:pt x="12796" y="1033"/>
                  <a:pt x="12808" y="1033"/>
                </a:cubicBezTo>
                <a:cubicBezTo>
                  <a:pt x="12829" y="1033"/>
                  <a:pt x="12850" y="1015"/>
                  <a:pt x="12869" y="999"/>
                </a:cubicBezTo>
                <a:cubicBezTo>
                  <a:pt x="12882" y="988"/>
                  <a:pt x="12896" y="977"/>
                  <a:pt x="12904" y="977"/>
                </a:cubicBezTo>
                <a:cubicBezTo>
                  <a:pt x="12910" y="977"/>
                  <a:pt x="12915" y="982"/>
                  <a:pt x="12921" y="989"/>
                </a:cubicBezTo>
                <a:cubicBezTo>
                  <a:pt x="12918" y="992"/>
                  <a:pt x="12915" y="995"/>
                  <a:pt x="12912" y="999"/>
                </a:cubicBezTo>
                <a:cubicBezTo>
                  <a:pt x="12907" y="1006"/>
                  <a:pt x="12905" y="1017"/>
                  <a:pt x="12905" y="1029"/>
                </a:cubicBezTo>
                <a:cubicBezTo>
                  <a:pt x="12906" y="1033"/>
                  <a:pt x="12907" y="1037"/>
                  <a:pt x="12908" y="1040"/>
                </a:cubicBezTo>
                <a:cubicBezTo>
                  <a:pt x="12908" y="1040"/>
                  <a:pt x="12907" y="1040"/>
                  <a:pt x="12907" y="1040"/>
                </a:cubicBezTo>
                <a:cubicBezTo>
                  <a:pt x="12901" y="1047"/>
                  <a:pt x="12898" y="1062"/>
                  <a:pt x="12900" y="1076"/>
                </a:cubicBezTo>
                <a:cubicBezTo>
                  <a:pt x="12904" y="1098"/>
                  <a:pt x="12912" y="1109"/>
                  <a:pt x="12921" y="1119"/>
                </a:cubicBezTo>
                <a:cubicBezTo>
                  <a:pt x="12918" y="1129"/>
                  <a:pt x="12914" y="1138"/>
                  <a:pt x="12914" y="1151"/>
                </a:cubicBezTo>
                <a:cubicBezTo>
                  <a:pt x="12914" y="1188"/>
                  <a:pt x="12930" y="1218"/>
                  <a:pt x="12949" y="1218"/>
                </a:cubicBezTo>
                <a:cubicBezTo>
                  <a:pt x="12962" y="1218"/>
                  <a:pt x="12972" y="1199"/>
                  <a:pt x="12977" y="1175"/>
                </a:cubicBezTo>
                <a:cubicBezTo>
                  <a:pt x="12982" y="1182"/>
                  <a:pt x="12987" y="1188"/>
                  <a:pt x="12993" y="1190"/>
                </a:cubicBezTo>
                <a:cubicBezTo>
                  <a:pt x="12994" y="1190"/>
                  <a:pt x="12996" y="1190"/>
                  <a:pt x="12996" y="1190"/>
                </a:cubicBezTo>
                <a:cubicBezTo>
                  <a:pt x="13015" y="1190"/>
                  <a:pt x="13024" y="1158"/>
                  <a:pt x="13031" y="1131"/>
                </a:cubicBezTo>
                <a:cubicBezTo>
                  <a:pt x="13035" y="1116"/>
                  <a:pt x="13040" y="1098"/>
                  <a:pt x="13044" y="1092"/>
                </a:cubicBezTo>
                <a:cubicBezTo>
                  <a:pt x="13055" y="1081"/>
                  <a:pt x="13065" y="1082"/>
                  <a:pt x="13076" y="1084"/>
                </a:cubicBezTo>
                <a:cubicBezTo>
                  <a:pt x="13084" y="1086"/>
                  <a:pt x="13092" y="1087"/>
                  <a:pt x="13100" y="1085"/>
                </a:cubicBezTo>
                <a:cubicBezTo>
                  <a:pt x="13101" y="1089"/>
                  <a:pt x="13104" y="1093"/>
                  <a:pt x="13106" y="1095"/>
                </a:cubicBezTo>
                <a:cubicBezTo>
                  <a:pt x="13108" y="1096"/>
                  <a:pt x="13110" y="1097"/>
                  <a:pt x="13111" y="1097"/>
                </a:cubicBezTo>
                <a:cubicBezTo>
                  <a:pt x="13116" y="1097"/>
                  <a:pt x="13119" y="1093"/>
                  <a:pt x="13122" y="1087"/>
                </a:cubicBezTo>
                <a:lnTo>
                  <a:pt x="13137" y="1053"/>
                </a:lnTo>
                <a:cubicBezTo>
                  <a:pt x="13139" y="1052"/>
                  <a:pt x="13140" y="1050"/>
                  <a:pt x="13142" y="1048"/>
                </a:cubicBezTo>
                <a:cubicBezTo>
                  <a:pt x="13148" y="1038"/>
                  <a:pt x="13156" y="1036"/>
                  <a:pt x="13164" y="1033"/>
                </a:cubicBezTo>
                <a:cubicBezTo>
                  <a:pt x="13179" y="1028"/>
                  <a:pt x="13200" y="1020"/>
                  <a:pt x="13204" y="950"/>
                </a:cubicBezTo>
                <a:cubicBezTo>
                  <a:pt x="13205" y="936"/>
                  <a:pt x="13201" y="923"/>
                  <a:pt x="13194" y="919"/>
                </a:cubicBezTo>
                <a:cubicBezTo>
                  <a:pt x="13192" y="917"/>
                  <a:pt x="13188" y="912"/>
                  <a:pt x="13183" y="908"/>
                </a:cubicBezTo>
                <a:cubicBezTo>
                  <a:pt x="13183" y="908"/>
                  <a:pt x="13183" y="908"/>
                  <a:pt x="13183" y="908"/>
                </a:cubicBezTo>
                <a:cubicBezTo>
                  <a:pt x="13179" y="881"/>
                  <a:pt x="13168" y="858"/>
                  <a:pt x="13153" y="858"/>
                </a:cubicBezTo>
                <a:cubicBezTo>
                  <a:pt x="13144" y="858"/>
                  <a:pt x="13136" y="866"/>
                  <a:pt x="13129" y="878"/>
                </a:cubicBezTo>
                <a:cubicBezTo>
                  <a:pt x="13129" y="878"/>
                  <a:pt x="13129" y="878"/>
                  <a:pt x="13129" y="878"/>
                </a:cubicBezTo>
                <a:cubicBezTo>
                  <a:pt x="13128" y="878"/>
                  <a:pt x="13127" y="876"/>
                  <a:pt x="13126" y="876"/>
                </a:cubicBezTo>
                <a:cubicBezTo>
                  <a:pt x="13106" y="876"/>
                  <a:pt x="13092" y="892"/>
                  <a:pt x="13079" y="907"/>
                </a:cubicBezTo>
                <a:cubicBezTo>
                  <a:pt x="13075" y="912"/>
                  <a:pt x="13070" y="913"/>
                  <a:pt x="13066" y="917"/>
                </a:cubicBezTo>
                <a:cubicBezTo>
                  <a:pt x="13060" y="904"/>
                  <a:pt x="13051" y="895"/>
                  <a:pt x="13042" y="895"/>
                </a:cubicBezTo>
                <a:cubicBezTo>
                  <a:pt x="13032" y="895"/>
                  <a:pt x="13023" y="903"/>
                  <a:pt x="13017" y="915"/>
                </a:cubicBezTo>
                <a:cubicBezTo>
                  <a:pt x="13011" y="912"/>
                  <a:pt x="13006" y="911"/>
                  <a:pt x="13000" y="907"/>
                </a:cubicBezTo>
                <a:cubicBezTo>
                  <a:pt x="12992" y="902"/>
                  <a:pt x="12984" y="897"/>
                  <a:pt x="12976" y="892"/>
                </a:cubicBezTo>
                <a:cubicBezTo>
                  <a:pt x="12958" y="881"/>
                  <a:pt x="12942" y="876"/>
                  <a:pt x="12925" y="876"/>
                </a:cubicBezTo>
                <a:cubicBezTo>
                  <a:pt x="12909" y="876"/>
                  <a:pt x="12876" y="880"/>
                  <a:pt x="12844" y="888"/>
                </a:cubicBezTo>
                <a:cubicBezTo>
                  <a:pt x="12838" y="871"/>
                  <a:pt x="12830" y="858"/>
                  <a:pt x="12818" y="858"/>
                </a:cubicBezTo>
                <a:close/>
                <a:moveTo>
                  <a:pt x="13748" y="860"/>
                </a:moveTo>
                <a:lnTo>
                  <a:pt x="13768" y="860"/>
                </a:lnTo>
                <a:cubicBezTo>
                  <a:pt x="13768" y="861"/>
                  <a:pt x="13768" y="861"/>
                  <a:pt x="13768" y="862"/>
                </a:cubicBezTo>
                <a:cubicBezTo>
                  <a:pt x="13767" y="877"/>
                  <a:pt x="13773" y="892"/>
                  <a:pt x="13781" y="894"/>
                </a:cubicBezTo>
                <a:cubicBezTo>
                  <a:pt x="13793" y="899"/>
                  <a:pt x="13819" y="900"/>
                  <a:pt x="13836" y="898"/>
                </a:cubicBezTo>
                <a:cubicBezTo>
                  <a:pt x="13836" y="903"/>
                  <a:pt x="13837" y="907"/>
                  <a:pt x="13836" y="911"/>
                </a:cubicBezTo>
                <a:cubicBezTo>
                  <a:pt x="13836" y="912"/>
                  <a:pt x="13836" y="916"/>
                  <a:pt x="13836" y="917"/>
                </a:cubicBezTo>
                <a:cubicBezTo>
                  <a:pt x="13834" y="922"/>
                  <a:pt x="13831" y="923"/>
                  <a:pt x="13825" y="923"/>
                </a:cubicBezTo>
                <a:cubicBezTo>
                  <a:pt x="13821" y="923"/>
                  <a:pt x="13817" y="922"/>
                  <a:pt x="13813" y="921"/>
                </a:cubicBezTo>
                <a:cubicBezTo>
                  <a:pt x="13803" y="919"/>
                  <a:pt x="13791" y="916"/>
                  <a:pt x="13785" y="933"/>
                </a:cubicBezTo>
                <a:cubicBezTo>
                  <a:pt x="13783" y="941"/>
                  <a:pt x="13782" y="951"/>
                  <a:pt x="13784" y="961"/>
                </a:cubicBezTo>
                <a:lnTo>
                  <a:pt x="13788" y="978"/>
                </a:lnTo>
                <a:cubicBezTo>
                  <a:pt x="13786" y="979"/>
                  <a:pt x="13782" y="979"/>
                  <a:pt x="13779" y="979"/>
                </a:cubicBezTo>
                <a:cubicBezTo>
                  <a:pt x="13780" y="974"/>
                  <a:pt x="13782" y="970"/>
                  <a:pt x="13782" y="964"/>
                </a:cubicBezTo>
                <a:cubicBezTo>
                  <a:pt x="13782" y="926"/>
                  <a:pt x="13767" y="895"/>
                  <a:pt x="13749" y="895"/>
                </a:cubicBezTo>
                <a:cubicBezTo>
                  <a:pt x="13747" y="895"/>
                  <a:pt x="13745" y="899"/>
                  <a:pt x="13743" y="900"/>
                </a:cubicBezTo>
                <a:cubicBezTo>
                  <a:pt x="13746" y="894"/>
                  <a:pt x="13750" y="889"/>
                  <a:pt x="13749" y="881"/>
                </a:cubicBezTo>
                <a:cubicBezTo>
                  <a:pt x="13749" y="873"/>
                  <a:pt x="13748" y="866"/>
                  <a:pt x="13748" y="860"/>
                </a:cubicBezTo>
                <a:close/>
                <a:moveTo>
                  <a:pt x="9153" y="908"/>
                </a:moveTo>
                <a:cubicBezTo>
                  <a:pt x="9138" y="917"/>
                  <a:pt x="9121" y="922"/>
                  <a:pt x="9101" y="922"/>
                </a:cubicBezTo>
                <a:cubicBezTo>
                  <a:pt x="9094" y="922"/>
                  <a:pt x="9088" y="932"/>
                  <a:pt x="9087" y="945"/>
                </a:cubicBezTo>
                <a:cubicBezTo>
                  <a:pt x="9085" y="959"/>
                  <a:pt x="9089" y="973"/>
                  <a:pt x="9095" y="979"/>
                </a:cubicBezTo>
                <a:cubicBezTo>
                  <a:pt x="9108" y="992"/>
                  <a:pt x="9116" y="1000"/>
                  <a:pt x="9125" y="1001"/>
                </a:cubicBezTo>
                <a:cubicBezTo>
                  <a:pt x="9116" y="1032"/>
                  <a:pt x="9095" y="1042"/>
                  <a:pt x="9066" y="1053"/>
                </a:cubicBezTo>
                <a:cubicBezTo>
                  <a:pt x="9059" y="1055"/>
                  <a:pt x="9053" y="1057"/>
                  <a:pt x="9047" y="1060"/>
                </a:cubicBezTo>
                <a:cubicBezTo>
                  <a:pt x="9043" y="1062"/>
                  <a:pt x="9039" y="1068"/>
                  <a:pt x="9037" y="1076"/>
                </a:cubicBezTo>
                <a:cubicBezTo>
                  <a:pt x="9035" y="1084"/>
                  <a:pt x="9035" y="1093"/>
                  <a:pt x="9037" y="1102"/>
                </a:cubicBezTo>
                <a:cubicBezTo>
                  <a:pt x="9038" y="1105"/>
                  <a:pt x="9039" y="1108"/>
                  <a:pt x="9040" y="1111"/>
                </a:cubicBezTo>
                <a:cubicBezTo>
                  <a:pt x="9037" y="1119"/>
                  <a:pt x="9036" y="1129"/>
                  <a:pt x="9036" y="1144"/>
                </a:cubicBezTo>
                <a:cubicBezTo>
                  <a:pt x="9036" y="1179"/>
                  <a:pt x="8998" y="1198"/>
                  <a:pt x="8968" y="1212"/>
                </a:cubicBezTo>
                <a:cubicBezTo>
                  <a:pt x="8962" y="1215"/>
                  <a:pt x="8957" y="1219"/>
                  <a:pt x="8951" y="1222"/>
                </a:cubicBezTo>
                <a:cubicBezTo>
                  <a:pt x="8948" y="1224"/>
                  <a:pt x="8947" y="1232"/>
                  <a:pt x="8945" y="1238"/>
                </a:cubicBezTo>
                <a:cubicBezTo>
                  <a:pt x="8937" y="1238"/>
                  <a:pt x="8929" y="1235"/>
                  <a:pt x="8921" y="1243"/>
                </a:cubicBezTo>
                <a:cubicBezTo>
                  <a:pt x="8897" y="1268"/>
                  <a:pt x="8888" y="1327"/>
                  <a:pt x="8901" y="1376"/>
                </a:cubicBezTo>
                <a:cubicBezTo>
                  <a:pt x="8903" y="1386"/>
                  <a:pt x="8909" y="1389"/>
                  <a:pt x="8913" y="1397"/>
                </a:cubicBezTo>
                <a:cubicBezTo>
                  <a:pt x="8906" y="1407"/>
                  <a:pt x="8900" y="1417"/>
                  <a:pt x="8890" y="1429"/>
                </a:cubicBezTo>
                <a:cubicBezTo>
                  <a:pt x="8881" y="1441"/>
                  <a:pt x="8871" y="1455"/>
                  <a:pt x="8861" y="1469"/>
                </a:cubicBezTo>
                <a:cubicBezTo>
                  <a:pt x="8841" y="1499"/>
                  <a:pt x="8836" y="1553"/>
                  <a:pt x="8830" y="1601"/>
                </a:cubicBezTo>
                <a:cubicBezTo>
                  <a:pt x="8828" y="1624"/>
                  <a:pt x="8825" y="1648"/>
                  <a:pt x="8822" y="1660"/>
                </a:cubicBezTo>
                <a:cubicBezTo>
                  <a:pt x="8819" y="1667"/>
                  <a:pt x="8819" y="1676"/>
                  <a:pt x="8820" y="1685"/>
                </a:cubicBezTo>
                <a:cubicBezTo>
                  <a:pt x="8822" y="1693"/>
                  <a:pt x="8824" y="1699"/>
                  <a:pt x="8828" y="1702"/>
                </a:cubicBezTo>
                <a:cubicBezTo>
                  <a:pt x="8844" y="1717"/>
                  <a:pt x="8862" y="1716"/>
                  <a:pt x="8878" y="1710"/>
                </a:cubicBezTo>
                <a:cubicBezTo>
                  <a:pt x="8885" y="1708"/>
                  <a:pt x="8891" y="1706"/>
                  <a:pt x="8898" y="1706"/>
                </a:cubicBezTo>
                <a:cubicBezTo>
                  <a:pt x="8918" y="1706"/>
                  <a:pt x="8937" y="1726"/>
                  <a:pt x="8954" y="1749"/>
                </a:cubicBezTo>
                <a:cubicBezTo>
                  <a:pt x="8950" y="1750"/>
                  <a:pt x="8948" y="1752"/>
                  <a:pt x="8945" y="1752"/>
                </a:cubicBezTo>
                <a:cubicBezTo>
                  <a:pt x="8940" y="1752"/>
                  <a:pt x="8936" y="1757"/>
                  <a:pt x="8933" y="1764"/>
                </a:cubicBezTo>
                <a:cubicBezTo>
                  <a:pt x="8930" y="1771"/>
                  <a:pt x="8929" y="1781"/>
                  <a:pt x="8930" y="1789"/>
                </a:cubicBezTo>
                <a:cubicBezTo>
                  <a:pt x="8936" y="1835"/>
                  <a:pt x="8959" y="1851"/>
                  <a:pt x="8980" y="1865"/>
                </a:cubicBezTo>
                <a:cubicBezTo>
                  <a:pt x="9008" y="1885"/>
                  <a:pt x="9021" y="1898"/>
                  <a:pt x="9021" y="1931"/>
                </a:cubicBezTo>
                <a:cubicBezTo>
                  <a:pt x="9021" y="1944"/>
                  <a:pt x="9016" y="1954"/>
                  <a:pt x="9006" y="1961"/>
                </a:cubicBezTo>
                <a:cubicBezTo>
                  <a:pt x="9002" y="1956"/>
                  <a:pt x="9000" y="1947"/>
                  <a:pt x="8996" y="1945"/>
                </a:cubicBezTo>
                <a:cubicBezTo>
                  <a:pt x="8984" y="1937"/>
                  <a:pt x="8970" y="1939"/>
                  <a:pt x="8958" y="1952"/>
                </a:cubicBezTo>
                <a:cubicBezTo>
                  <a:pt x="8954" y="1956"/>
                  <a:pt x="8954" y="1965"/>
                  <a:pt x="8951" y="1970"/>
                </a:cubicBezTo>
                <a:cubicBezTo>
                  <a:pt x="8939" y="1969"/>
                  <a:pt x="8927" y="1968"/>
                  <a:pt x="8916" y="1967"/>
                </a:cubicBezTo>
                <a:cubicBezTo>
                  <a:pt x="8905" y="1965"/>
                  <a:pt x="8895" y="1964"/>
                  <a:pt x="8887" y="1964"/>
                </a:cubicBezTo>
                <a:cubicBezTo>
                  <a:pt x="8857" y="1964"/>
                  <a:pt x="8830" y="2009"/>
                  <a:pt x="8830" y="2058"/>
                </a:cubicBezTo>
                <a:cubicBezTo>
                  <a:pt x="8830" y="2145"/>
                  <a:pt x="8869" y="2158"/>
                  <a:pt x="8899" y="2160"/>
                </a:cubicBezTo>
                <a:cubicBezTo>
                  <a:pt x="8902" y="2203"/>
                  <a:pt x="8911" y="2232"/>
                  <a:pt x="8918" y="2256"/>
                </a:cubicBezTo>
                <a:cubicBezTo>
                  <a:pt x="8925" y="2277"/>
                  <a:pt x="8930" y="2293"/>
                  <a:pt x="8930" y="2313"/>
                </a:cubicBezTo>
                <a:cubicBezTo>
                  <a:pt x="8930" y="2321"/>
                  <a:pt x="8929" y="2331"/>
                  <a:pt x="8927" y="2341"/>
                </a:cubicBezTo>
                <a:cubicBezTo>
                  <a:pt x="8926" y="2351"/>
                  <a:pt x="8925" y="2364"/>
                  <a:pt x="8925" y="2377"/>
                </a:cubicBezTo>
                <a:cubicBezTo>
                  <a:pt x="8894" y="2379"/>
                  <a:pt x="8862" y="2392"/>
                  <a:pt x="8862" y="2462"/>
                </a:cubicBezTo>
                <a:cubicBezTo>
                  <a:pt x="8862" y="2528"/>
                  <a:pt x="8892" y="2549"/>
                  <a:pt x="8919" y="2560"/>
                </a:cubicBezTo>
                <a:lnTo>
                  <a:pt x="8909" y="2608"/>
                </a:lnTo>
                <a:cubicBezTo>
                  <a:pt x="8896" y="2620"/>
                  <a:pt x="8880" y="2629"/>
                  <a:pt x="8865" y="2632"/>
                </a:cubicBezTo>
                <a:cubicBezTo>
                  <a:pt x="8857" y="2634"/>
                  <a:pt x="8851" y="2646"/>
                  <a:pt x="8851" y="2661"/>
                </a:cubicBezTo>
                <a:cubicBezTo>
                  <a:pt x="8851" y="2674"/>
                  <a:pt x="8853" y="2686"/>
                  <a:pt x="8855" y="2696"/>
                </a:cubicBezTo>
                <a:cubicBezTo>
                  <a:pt x="8852" y="2698"/>
                  <a:pt x="8849" y="2695"/>
                  <a:pt x="8847" y="2698"/>
                </a:cubicBezTo>
                <a:cubicBezTo>
                  <a:pt x="8829" y="2716"/>
                  <a:pt x="8823" y="2754"/>
                  <a:pt x="8825" y="2792"/>
                </a:cubicBezTo>
                <a:cubicBezTo>
                  <a:pt x="8822" y="2793"/>
                  <a:pt x="8821" y="2794"/>
                  <a:pt x="8819" y="2796"/>
                </a:cubicBezTo>
                <a:cubicBezTo>
                  <a:pt x="8800" y="2805"/>
                  <a:pt x="8779" y="2815"/>
                  <a:pt x="8766" y="2846"/>
                </a:cubicBezTo>
                <a:cubicBezTo>
                  <a:pt x="8765" y="2845"/>
                  <a:pt x="8765" y="2845"/>
                  <a:pt x="8764" y="2845"/>
                </a:cubicBezTo>
                <a:cubicBezTo>
                  <a:pt x="8746" y="2823"/>
                  <a:pt x="8731" y="2803"/>
                  <a:pt x="8719" y="2771"/>
                </a:cubicBezTo>
                <a:cubicBezTo>
                  <a:pt x="8716" y="2763"/>
                  <a:pt x="8712" y="2759"/>
                  <a:pt x="8707" y="2759"/>
                </a:cubicBezTo>
                <a:lnTo>
                  <a:pt x="8675" y="2759"/>
                </a:lnTo>
                <a:cubicBezTo>
                  <a:pt x="8670" y="2759"/>
                  <a:pt x="8666" y="2764"/>
                  <a:pt x="8663" y="2772"/>
                </a:cubicBezTo>
                <a:cubicBezTo>
                  <a:pt x="8660" y="2780"/>
                  <a:pt x="8659" y="2791"/>
                  <a:pt x="8661" y="2800"/>
                </a:cubicBezTo>
                <a:cubicBezTo>
                  <a:pt x="8674" y="2868"/>
                  <a:pt x="8707" y="2892"/>
                  <a:pt x="8734" y="2911"/>
                </a:cubicBezTo>
                <a:cubicBezTo>
                  <a:pt x="8765" y="2933"/>
                  <a:pt x="8777" y="2946"/>
                  <a:pt x="8777" y="2981"/>
                </a:cubicBezTo>
                <a:cubicBezTo>
                  <a:pt x="8777" y="3024"/>
                  <a:pt x="8772" y="3069"/>
                  <a:pt x="8760" y="3069"/>
                </a:cubicBezTo>
                <a:cubicBezTo>
                  <a:pt x="8729" y="3069"/>
                  <a:pt x="8669" y="2969"/>
                  <a:pt x="8658" y="2899"/>
                </a:cubicBezTo>
                <a:cubicBezTo>
                  <a:pt x="8655" y="2885"/>
                  <a:pt x="8649" y="2876"/>
                  <a:pt x="8641" y="2878"/>
                </a:cubicBezTo>
                <a:cubicBezTo>
                  <a:pt x="8631" y="2881"/>
                  <a:pt x="8625" y="2880"/>
                  <a:pt x="8622" y="2879"/>
                </a:cubicBezTo>
                <a:cubicBezTo>
                  <a:pt x="8619" y="2879"/>
                  <a:pt x="8617" y="2878"/>
                  <a:pt x="8616" y="2878"/>
                </a:cubicBezTo>
                <a:cubicBezTo>
                  <a:pt x="8608" y="2878"/>
                  <a:pt x="8601" y="2892"/>
                  <a:pt x="8601" y="2909"/>
                </a:cubicBezTo>
                <a:lnTo>
                  <a:pt x="8601" y="2972"/>
                </a:lnTo>
                <a:cubicBezTo>
                  <a:pt x="8601" y="2980"/>
                  <a:pt x="8603" y="2988"/>
                  <a:pt x="8605" y="2994"/>
                </a:cubicBezTo>
                <a:cubicBezTo>
                  <a:pt x="8627" y="3037"/>
                  <a:pt x="8654" y="3073"/>
                  <a:pt x="8680" y="3108"/>
                </a:cubicBezTo>
                <a:cubicBezTo>
                  <a:pt x="8653" y="3130"/>
                  <a:pt x="8634" y="3183"/>
                  <a:pt x="8634" y="3244"/>
                </a:cubicBezTo>
                <a:cubicBezTo>
                  <a:pt x="8634" y="3249"/>
                  <a:pt x="8635" y="3253"/>
                  <a:pt x="8636" y="3257"/>
                </a:cubicBezTo>
                <a:cubicBezTo>
                  <a:pt x="8627" y="3251"/>
                  <a:pt x="8617" y="3248"/>
                  <a:pt x="8605" y="3248"/>
                </a:cubicBezTo>
                <a:cubicBezTo>
                  <a:pt x="8600" y="3248"/>
                  <a:pt x="8596" y="3250"/>
                  <a:pt x="8592" y="3251"/>
                </a:cubicBezTo>
                <a:cubicBezTo>
                  <a:pt x="8588" y="3253"/>
                  <a:pt x="8583" y="3255"/>
                  <a:pt x="8581" y="3253"/>
                </a:cubicBezTo>
                <a:cubicBezTo>
                  <a:pt x="8577" y="3247"/>
                  <a:pt x="8571" y="3246"/>
                  <a:pt x="8566" y="3251"/>
                </a:cubicBezTo>
                <a:cubicBezTo>
                  <a:pt x="8562" y="3257"/>
                  <a:pt x="8559" y="3267"/>
                  <a:pt x="8559" y="3278"/>
                </a:cubicBezTo>
                <a:cubicBezTo>
                  <a:pt x="8559" y="3322"/>
                  <a:pt x="8568" y="3347"/>
                  <a:pt x="8574" y="3364"/>
                </a:cubicBezTo>
                <a:cubicBezTo>
                  <a:pt x="8578" y="3374"/>
                  <a:pt x="8580" y="3380"/>
                  <a:pt x="8580" y="3384"/>
                </a:cubicBezTo>
                <a:cubicBezTo>
                  <a:pt x="8579" y="3386"/>
                  <a:pt x="8576" y="3397"/>
                  <a:pt x="8545" y="3410"/>
                </a:cubicBezTo>
                <a:cubicBezTo>
                  <a:pt x="8538" y="3413"/>
                  <a:pt x="8533" y="3425"/>
                  <a:pt x="8533" y="3439"/>
                </a:cubicBezTo>
                <a:cubicBezTo>
                  <a:pt x="8533" y="3552"/>
                  <a:pt x="8624" y="3575"/>
                  <a:pt x="8702" y="3589"/>
                </a:cubicBezTo>
                <a:lnTo>
                  <a:pt x="8697" y="3614"/>
                </a:lnTo>
                <a:lnTo>
                  <a:pt x="8695" y="3626"/>
                </a:lnTo>
                <a:cubicBezTo>
                  <a:pt x="8692" y="3627"/>
                  <a:pt x="8689" y="3630"/>
                  <a:pt x="8686" y="3633"/>
                </a:cubicBezTo>
                <a:cubicBezTo>
                  <a:pt x="8647" y="3659"/>
                  <a:pt x="8621" y="3705"/>
                  <a:pt x="8599" y="3747"/>
                </a:cubicBezTo>
                <a:cubicBezTo>
                  <a:pt x="8579" y="3784"/>
                  <a:pt x="8560" y="3820"/>
                  <a:pt x="8533" y="3837"/>
                </a:cubicBezTo>
                <a:cubicBezTo>
                  <a:pt x="8509" y="3852"/>
                  <a:pt x="8487" y="3861"/>
                  <a:pt x="8464" y="3869"/>
                </a:cubicBezTo>
                <a:cubicBezTo>
                  <a:pt x="8467" y="3856"/>
                  <a:pt x="8472" y="3845"/>
                  <a:pt x="8472" y="3830"/>
                </a:cubicBezTo>
                <a:cubicBezTo>
                  <a:pt x="8472" y="3790"/>
                  <a:pt x="8459" y="3763"/>
                  <a:pt x="8442" y="3747"/>
                </a:cubicBezTo>
                <a:lnTo>
                  <a:pt x="8341" y="2928"/>
                </a:lnTo>
                <a:cubicBezTo>
                  <a:pt x="8358" y="2899"/>
                  <a:pt x="8365" y="2854"/>
                  <a:pt x="8355" y="2813"/>
                </a:cubicBezTo>
                <a:cubicBezTo>
                  <a:pt x="8348" y="2789"/>
                  <a:pt x="8338" y="2773"/>
                  <a:pt x="8326" y="2765"/>
                </a:cubicBezTo>
                <a:cubicBezTo>
                  <a:pt x="8325" y="2764"/>
                  <a:pt x="8323" y="2767"/>
                  <a:pt x="8321" y="2766"/>
                </a:cubicBezTo>
                <a:lnTo>
                  <a:pt x="8321" y="2764"/>
                </a:lnTo>
                <a:lnTo>
                  <a:pt x="8129" y="1223"/>
                </a:lnTo>
                <a:cubicBezTo>
                  <a:pt x="8135" y="1201"/>
                  <a:pt x="8136" y="1178"/>
                  <a:pt x="8132" y="1153"/>
                </a:cubicBezTo>
                <a:lnTo>
                  <a:pt x="8377" y="1095"/>
                </a:lnTo>
                <a:cubicBezTo>
                  <a:pt x="8376" y="1114"/>
                  <a:pt x="8375" y="1133"/>
                  <a:pt x="8380" y="1152"/>
                </a:cubicBezTo>
                <a:cubicBezTo>
                  <a:pt x="8392" y="1200"/>
                  <a:pt x="8422" y="1218"/>
                  <a:pt x="8446" y="1193"/>
                </a:cubicBezTo>
                <a:cubicBezTo>
                  <a:pt x="8468" y="1169"/>
                  <a:pt x="8475" y="1118"/>
                  <a:pt x="8467" y="1073"/>
                </a:cubicBezTo>
                <a:lnTo>
                  <a:pt x="8614" y="1038"/>
                </a:lnTo>
                <a:cubicBezTo>
                  <a:pt x="8615" y="1041"/>
                  <a:pt x="8616" y="1043"/>
                  <a:pt x="8617" y="1046"/>
                </a:cubicBezTo>
                <a:cubicBezTo>
                  <a:pt x="8621" y="1054"/>
                  <a:pt x="8626" y="1057"/>
                  <a:pt x="8631" y="1054"/>
                </a:cubicBezTo>
                <a:cubicBezTo>
                  <a:pt x="8640" y="1049"/>
                  <a:pt x="8649" y="1040"/>
                  <a:pt x="8659" y="1026"/>
                </a:cubicBezTo>
                <a:lnTo>
                  <a:pt x="8854" y="979"/>
                </a:lnTo>
                <a:cubicBezTo>
                  <a:pt x="8868" y="1012"/>
                  <a:pt x="8891" y="1028"/>
                  <a:pt x="8911" y="1006"/>
                </a:cubicBezTo>
                <a:cubicBezTo>
                  <a:pt x="8920" y="996"/>
                  <a:pt x="8925" y="979"/>
                  <a:pt x="8929" y="962"/>
                </a:cubicBezTo>
                <a:lnTo>
                  <a:pt x="9013" y="942"/>
                </a:lnTo>
                <a:lnTo>
                  <a:pt x="9153" y="908"/>
                </a:lnTo>
                <a:close/>
                <a:moveTo>
                  <a:pt x="4759" y="911"/>
                </a:moveTo>
                <a:lnTo>
                  <a:pt x="4787" y="957"/>
                </a:lnTo>
                <a:cubicBezTo>
                  <a:pt x="4772" y="947"/>
                  <a:pt x="4758" y="934"/>
                  <a:pt x="4748" y="921"/>
                </a:cubicBezTo>
                <a:cubicBezTo>
                  <a:pt x="4751" y="917"/>
                  <a:pt x="4755" y="914"/>
                  <a:pt x="4759" y="911"/>
                </a:cubicBezTo>
                <a:close/>
                <a:moveTo>
                  <a:pt x="5478" y="933"/>
                </a:moveTo>
                <a:cubicBezTo>
                  <a:pt x="5464" y="933"/>
                  <a:pt x="5452" y="956"/>
                  <a:pt x="5452" y="984"/>
                </a:cubicBezTo>
                <a:cubicBezTo>
                  <a:pt x="5452" y="1012"/>
                  <a:pt x="5464" y="1035"/>
                  <a:pt x="5478" y="1035"/>
                </a:cubicBezTo>
                <a:cubicBezTo>
                  <a:pt x="5492" y="1035"/>
                  <a:pt x="5504" y="1012"/>
                  <a:pt x="5504" y="984"/>
                </a:cubicBezTo>
                <a:cubicBezTo>
                  <a:pt x="5504" y="956"/>
                  <a:pt x="5492" y="933"/>
                  <a:pt x="5478" y="933"/>
                </a:cubicBezTo>
                <a:close/>
                <a:moveTo>
                  <a:pt x="12935" y="936"/>
                </a:moveTo>
                <a:cubicBezTo>
                  <a:pt x="12943" y="937"/>
                  <a:pt x="12951" y="940"/>
                  <a:pt x="12957" y="943"/>
                </a:cubicBezTo>
                <a:lnTo>
                  <a:pt x="12957" y="944"/>
                </a:lnTo>
                <a:lnTo>
                  <a:pt x="12957" y="957"/>
                </a:lnTo>
                <a:cubicBezTo>
                  <a:pt x="12951" y="953"/>
                  <a:pt x="12946" y="947"/>
                  <a:pt x="12940" y="941"/>
                </a:cubicBezTo>
                <a:cubicBezTo>
                  <a:pt x="12939" y="939"/>
                  <a:pt x="12937" y="938"/>
                  <a:pt x="12935" y="936"/>
                </a:cubicBezTo>
                <a:close/>
                <a:moveTo>
                  <a:pt x="13720" y="936"/>
                </a:moveTo>
                <a:cubicBezTo>
                  <a:pt x="13718" y="945"/>
                  <a:pt x="13714" y="953"/>
                  <a:pt x="13714" y="964"/>
                </a:cubicBezTo>
                <a:cubicBezTo>
                  <a:pt x="13714" y="971"/>
                  <a:pt x="13717" y="975"/>
                  <a:pt x="13718" y="982"/>
                </a:cubicBezTo>
                <a:cubicBezTo>
                  <a:pt x="13715" y="981"/>
                  <a:pt x="13709" y="981"/>
                  <a:pt x="13707" y="980"/>
                </a:cubicBezTo>
                <a:cubicBezTo>
                  <a:pt x="13709" y="961"/>
                  <a:pt x="13714" y="948"/>
                  <a:pt x="13720" y="936"/>
                </a:cubicBezTo>
                <a:close/>
                <a:moveTo>
                  <a:pt x="13121" y="938"/>
                </a:moveTo>
                <a:cubicBezTo>
                  <a:pt x="13124" y="962"/>
                  <a:pt x="13131" y="977"/>
                  <a:pt x="13142" y="985"/>
                </a:cubicBezTo>
                <a:cubicBezTo>
                  <a:pt x="13137" y="989"/>
                  <a:pt x="13132" y="989"/>
                  <a:pt x="13126" y="997"/>
                </a:cubicBezTo>
                <a:cubicBezTo>
                  <a:pt x="13123" y="998"/>
                  <a:pt x="13118" y="997"/>
                  <a:pt x="13115" y="996"/>
                </a:cubicBezTo>
                <a:cubicBezTo>
                  <a:pt x="13111" y="993"/>
                  <a:pt x="13106" y="995"/>
                  <a:pt x="13103" y="1000"/>
                </a:cubicBezTo>
                <a:cubicBezTo>
                  <a:pt x="13099" y="1006"/>
                  <a:pt x="13096" y="1014"/>
                  <a:pt x="13096" y="1024"/>
                </a:cubicBezTo>
                <a:lnTo>
                  <a:pt x="13096" y="1027"/>
                </a:lnTo>
                <a:cubicBezTo>
                  <a:pt x="13091" y="1028"/>
                  <a:pt x="13085" y="1026"/>
                  <a:pt x="13079" y="1025"/>
                </a:cubicBezTo>
                <a:cubicBezTo>
                  <a:pt x="13062" y="1021"/>
                  <a:pt x="13045" y="1022"/>
                  <a:pt x="13030" y="1040"/>
                </a:cubicBezTo>
                <a:cubicBezTo>
                  <a:pt x="13018" y="1054"/>
                  <a:pt x="13011" y="1079"/>
                  <a:pt x="13005" y="1102"/>
                </a:cubicBezTo>
                <a:cubicBezTo>
                  <a:pt x="13003" y="1110"/>
                  <a:pt x="12999" y="1125"/>
                  <a:pt x="12996" y="1130"/>
                </a:cubicBezTo>
                <a:cubicBezTo>
                  <a:pt x="12994" y="1127"/>
                  <a:pt x="12991" y="1120"/>
                  <a:pt x="12988" y="1113"/>
                </a:cubicBezTo>
                <a:lnTo>
                  <a:pt x="12987" y="965"/>
                </a:lnTo>
                <a:lnTo>
                  <a:pt x="12987" y="962"/>
                </a:lnTo>
                <a:cubicBezTo>
                  <a:pt x="12988" y="962"/>
                  <a:pt x="12989" y="962"/>
                  <a:pt x="12989" y="963"/>
                </a:cubicBezTo>
                <a:cubicBezTo>
                  <a:pt x="12995" y="967"/>
                  <a:pt x="13003" y="968"/>
                  <a:pt x="13009" y="972"/>
                </a:cubicBezTo>
                <a:cubicBezTo>
                  <a:pt x="13011" y="1005"/>
                  <a:pt x="13024" y="1032"/>
                  <a:pt x="13042" y="1032"/>
                </a:cubicBezTo>
                <a:cubicBezTo>
                  <a:pt x="13057" y="1032"/>
                  <a:pt x="13068" y="1010"/>
                  <a:pt x="13072" y="982"/>
                </a:cubicBezTo>
                <a:cubicBezTo>
                  <a:pt x="13080" y="975"/>
                  <a:pt x="13088" y="966"/>
                  <a:pt x="13094" y="958"/>
                </a:cubicBezTo>
                <a:cubicBezTo>
                  <a:pt x="13104" y="948"/>
                  <a:pt x="13112" y="941"/>
                  <a:pt x="13121" y="938"/>
                </a:cubicBezTo>
                <a:close/>
                <a:moveTo>
                  <a:pt x="12860" y="942"/>
                </a:moveTo>
                <a:cubicBezTo>
                  <a:pt x="12859" y="943"/>
                  <a:pt x="12858" y="944"/>
                  <a:pt x="12857" y="944"/>
                </a:cubicBezTo>
                <a:cubicBezTo>
                  <a:pt x="12854" y="947"/>
                  <a:pt x="12851" y="947"/>
                  <a:pt x="12847" y="950"/>
                </a:cubicBezTo>
                <a:cubicBezTo>
                  <a:pt x="12848" y="949"/>
                  <a:pt x="12848" y="949"/>
                  <a:pt x="12848" y="948"/>
                </a:cubicBezTo>
                <a:cubicBezTo>
                  <a:pt x="12852" y="946"/>
                  <a:pt x="12855" y="943"/>
                  <a:pt x="12860" y="942"/>
                </a:cubicBezTo>
                <a:close/>
                <a:moveTo>
                  <a:pt x="11490" y="950"/>
                </a:moveTo>
                <a:cubicBezTo>
                  <a:pt x="11486" y="950"/>
                  <a:pt x="11483" y="952"/>
                  <a:pt x="11480" y="956"/>
                </a:cubicBezTo>
                <a:cubicBezTo>
                  <a:pt x="11475" y="964"/>
                  <a:pt x="11472" y="976"/>
                  <a:pt x="11466" y="991"/>
                </a:cubicBezTo>
                <a:cubicBezTo>
                  <a:pt x="11459" y="1013"/>
                  <a:pt x="11447" y="1048"/>
                  <a:pt x="11438" y="1048"/>
                </a:cubicBezTo>
                <a:lnTo>
                  <a:pt x="11436" y="1047"/>
                </a:lnTo>
                <a:cubicBezTo>
                  <a:pt x="11435" y="1046"/>
                  <a:pt x="11433" y="1046"/>
                  <a:pt x="11432" y="1045"/>
                </a:cubicBezTo>
                <a:cubicBezTo>
                  <a:pt x="11411" y="1030"/>
                  <a:pt x="11370" y="987"/>
                  <a:pt x="11362" y="971"/>
                </a:cubicBezTo>
                <a:cubicBezTo>
                  <a:pt x="11359" y="966"/>
                  <a:pt x="11356" y="962"/>
                  <a:pt x="11352" y="962"/>
                </a:cubicBezTo>
                <a:lnTo>
                  <a:pt x="11292" y="962"/>
                </a:lnTo>
                <a:cubicBezTo>
                  <a:pt x="11287" y="962"/>
                  <a:pt x="11282" y="968"/>
                  <a:pt x="11280" y="977"/>
                </a:cubicBezTo>
                <a:cubicBezTo>
                  <a:pt x="11277" y="986"/>
                  <a:pt x="11277" y="996"/>
                  <a:pt x="11279" y="1005"/>
                </a:cubicBezTo>
                <a:lnTo>
                  <a:pt x="11267" y="1005"/>
                </a:lnTo>
                <a:cubicBezTo>
                  <a:pt x="11260" y="1005"/>
                  <a:pt x="11253" y="1017"/>
                  <a:pt x="11252" y="1032"/>
                </a:cubicBezTo>
                <a:cubicBezTo>
                  <a:pt x="11246" y="1031"/>
                  <a:pt x="11239" y="1026"/>
                  <a:pt x="11233" y="1018"/>
                </a:cubicBezTo>
                <a:cubicBezTo>
                  <a:pt x="11231" y="1015"/>
                  <a:pt x="11229" y="1015"/>
                  <a:pt x="11226" y="1014"/>
                </a:cubicBezTo>
                <a:cubicBezTo>
                  <a:pt x="11226" y="1014"/>
                  <a:pt x="11225" y="1013"/>
                  <a:pt x="11224" y="1013"/>
                </a:cubicBezTo>
                <a:cubicBezTo>
                  <a:pt x="11222" y="1012"/>
                  <a:pt x="11221" y="1007"/>
                  <a:pt x="11218" y="1007"/>
                </a:cubicBezTo>
                <a:cubicBezTo>
                  <a:pt x="11215" y="1007"/>
                  <a:pt x="11214" y="1012"/>
                  <a:pt x="11211" y="1013"/>
                </a:cubicBezTo>
                <a:lnTo>
                  <a:pt x="11193" y="1013"/>
                </a:lnTo>
                <a:cubicBezTo>
                  <a:pt x="11189" y="1013"/>
                  <a:pt x="11185" y="1017"/>
                  <a:pt x="11182" y="1024"/>
                </a:cubicBezTo>
                <a:cubicBezTo>
                  <a:pt x="11179" y="1030"/>
                  <a:pt x="11177" y="1037"/>
                  <a:pt x="11178" y="1046"/>
                </a:cubicBezTo>
                <a:cubicBezTo>
                  <a:pt x="11179" y="1071"/>
                  <a:pt x="11185" y="1095"/>
                  <a:pt x="11192" y="1117"/>
                </a:cubicBezTo>
                <a:cubicBezTo>
                  <a:pt x="11194" y="1120"/>
                  <a:pt x="11194" y="1123"/>
                  <a:pt x="11195" y="1125"/>
                </a:cubicBezTo>
                <a:cubicBezTo>
                  <a:pt x="11200" y="1137"/>
                  <a:pt x="11203" y="1149"/>
                  <a:pt x="11209" y="1159"/>
                </a:cubicBezTo>
                <a:cubicBezTo>
                  <a:pt x="11209" y="1177"/>
                  <a:pt x="11211" y="1193"/>
                  <a:pt x="11215" y="1205"/>
                </a:cubicBezTo>
                <a:cubicBezTo>
                  <a:pt x="11215" y="1205"/>
                  <a:pt x="11214" y="1204"/>
                  <a:pt x="11214" y="1204"/>
                </a:cubicBezTo>
                <a:cubicBezTo>
                  <a:pt x="11207" y="1204"/>
                  <a:pt x="11202" y="1208"/>
                  <a:pt x="11197" y="1214"/>
                </a:cubicBezTo>
                <a:cubicBezTo>
                  <a:pt x="11197" y="1211"/>
                  <a:pt x="11197" y="1207"/>
                  <a:pt x="11197" y="1204"/>
                </a:cubicBezTo>
                <a:cubicBezTo>
                  <a:pt x="11197" y="1134"/>
                  <a:pt x="11127" y="1090"/>
                  <a:pt x="11098" y="1090"/>
                </a:cubicBezTo>
                <a:lnTo>
                  <a:pt x="11090" y="1090"/>
                </a:lnTo>
                <a:cubicBezTo>
                  <a:pt x="11066" y="1091"/>
                  <a:pt x="11040" y="1098"/>
                  <a:pt x="11040" y="1183"/>
                </a:cubicBezTo>
                <a:cubicBezTo>
                  <a:pt x="11040" y="1198"/>
                  <a:pt x="11040" y="1211"/>
                  <a:pt x="11041" y="1224"/>
                </a:cubicBezTo>
                <a:cubicBezTo>
                  <a:pt x="11031" y="1187"/>
                  <a:pt x="11016" y="1153"/>
                  <a:pt x="10985" y="1153"/>
                </a:cubicBezTo>
                <a:cubicBezTo>
                  <a:pt x="10970" y="1153"/>
                  <a:pt x="10956" y="1167"/>
                  <a:pt x="10947" y="1189"/>
                </a:cubicBezTo>
                <a:cubicBezTo>
                  <a:pt x="10947" y="1185"/>
                  <a:pt x="10947" y="1181"/>
                  <a:pt x="10946" y="1177"/>
                </a:cubicBezTo>
                <a:cubicBezTo>
                  <a:pt x="10944" y="1167"/>
                  <a:pt x="10939" y="1161"/>
                  <a:pt x="10934" y="1159"/>
                </a:cubicBezTo>
                <a:cubicBezTo>
                  <a:pt x="10884" y="1142"/>
                  <a:pt x="10860" y="1141"/>
                  <a:pt x="10826" y="1141"/>
                </a:cubicBezTo>
                <a:cubicBezTo>
                  <a:pt x="10802" y="1141"/>
                  <a:pt x="10771" y="1195"/>
                  <a:pt x="10755" y="1228"/>
                </a:cubicBezTo>
                <a:cubicBezTo>
                  <a:pt x="10741" y="1208"/>
                  <a:pt x="10725" y="1194"/>
                  <a:pt x="10707" y="1194"/>
                </a:cubicBezTo>
                <a:cubicBezTo>
                  <a:pt x="10662" y="1194"/>
                  <a:pt x="10625" y="1267"/>
                  <a:pt x="10625" y="1358"/>
                </a:cubicBezTo>
                <a:cubicBezTo>
                  <a:pt x="10625" y="1449"/>
                  <a:pt x="10662" y="1523"/>
                  <a:pt x="10707" y="1523"/>
                </a:cubicBezTo>
                <a:cubicBezTo>
                  <a:pt x="10714" y="1523"/>
                  <a:pt x="10721" y="1518"/>
                  <a:pt x="10727" y="1514"/>
                </a:cubicBezTo>
                <a:cubicBezTo>
                  <a:pt x="10743" y="1570"/>
                  <a:pt x="10780" y="1625"/>
                  <a:pt x="10808" y="1639"/>
                </a:cubicBezTo>
                <a:cubicBezTo>
                  <a:pt x="10809" y="1640"/>
                  <a:pt x="10810" y="1639"/>
                  <a:pt x="10812" y="1639"/>
                </a:cubicBezTo>
                <a:cubicBezTo>
                  <a:pt x="10814" y="1639"/>
                  <a:pt x="10816" y="1636"/>
                  <a:pt x="10818" y="1633"/>
                </a:cubicBezTo>
                <a:cubicBezTo>
                  <a:pt x="10816" y="1645"/>
                  <a:pt x="10812" y="1653"/>
                  <a:pt x="10812" y="1666"/>
                </a:cubicBezTo>
                <a:cubicBezTo>
                  <a:pt x="10812" y="1720"/>
                  <a:pt x="10834" y="1764"/>
                  <a:pt x="10861" y="1764"/>
                </a:cubicBezTo>
                <a:cubicBezTo>
                  <a:pt x="10888" y="1764"/>
                  <a:pt x="10910" y="1720"/>
                  <a:pt x="10910" y="1666"/>
                </a:cubicBezTo>
                <a:cubicBezTo>
                  <a:pt x="10910" y="1650"/>
                  <a:pt x="10904" y="1639"/>
                  <a:pt x="10901" y="1625"/>
                </a:cubicBezTo>
                <a:cubicBezTo>
                  <a:pt x="10910" y="1630"/>
                  <a:pt x="10918" y="1637"/>
                  <a:pt x="10929" y="1638"/>
                </a:cubicBezTo>
                <a:cubicBezTo>
                  <a:pt x="10925" y="1644"/>
                  <a:pt x="10922" y="1652"/>
                  <a:pt x="10920" y="1661"/>
                </a:cubicBezTo>
                <a:cubicBezTo>
                  <a:pt x="10919" y="1663"/>
                  <a:pt x="10919" y="1665"/>
                  <a:pt x="10919" y="1667"/>
                </a:cubicBezTo>
                <a:cubicBezTo>
                  <a:pt x="10918" y="1667"/>
                  <a:pt x="10919" y="1668"/>
                  <a:pt x="10919" y="1668"/>
                </a:cubicBezTo>
                <a:cubicBezTo>
                  <a:pt x="10918" y="1672"/>
                  <a:pt x="10917" y="1678"/>
                  <a:pt x="10917" y="1681"/>
                </a:cubicBezTo>
                <a:cubicBezTo>
                  <a:pt x="10917" y="1684"/>
                  <a:pt x="10917" y="1686"/>
                  <a:pt x="10917" y="1690"/>
                </a:cubicBezTo>
                <a:cubicBezTo>
                  <a:pt x="10918" y="1717"/>
                  <a:pt x="10924" y="1758"/>
                  <a:pt x="10947" y="1772"/>
                </a:cubicBezTo>
                <a:cubicBezTo>
                  <a:pt x="10946" y="1777"/>
                  <a:pt x="10945" y="1781"/>
                  <a:pt x="10945" y="1787"/>
                </a:cubicBezTo>
                <a:cubicBezTo>
                  <a:pt x="10945" y="1854"/>
                  <a:pt x="10965" y="1903"/>
                  <a:pt x="10991" y="1942"/>
                </a:cubicBezTo>
                <a:cubicBezTo>
                  <a:pt x="10985" y="1959"/>
                  <a:pt x="10979" y="1979"/>
                  <a:pt x="10979" y="2002"/>
                </a:cubicBezTo>
                <a:cubicBezTo>
                  <a:pt x="10979" y="2056"/>
                  <a:pt x="11001" y="2100"/>
                  <a:pt x="11028" y="2100"/>
                </a:cubicBezTo>
                <a:cubicBezTo>
                  <a:pt x="11050" y="2100"/>
                  <a:pt x="11064" y="2070"/>
                  <a:pt x="11071" y="2032"/>
                </a:cubicBezTo>
                <a:cubicBezTo>
                  <a:pt x="11088" y="2048"/>
                  <a:pt x="11105" y="2064"/>
                  <a:pt x="11117" y="2080"/>
                </a:cubicBezTo>
                <a:cubicBezTo>
                  <a:pt x="11119" y="2083"/>
                  <a:pt x="11122" y="2084"/>
                  <a:pt x="11125" y="2084"/>
                </a:cubicBezTo>
                <a:cubicBezTo>
                  <a:pt x="11129" y="2084"/>
                  <a:pt x="11133" y="2082"/>
                  <a:pt x="11135" y="2076"/>
                </a:cubicBezTo>
                <a:cubicBezTo>
                  <a:pt x="11152" y="2044"/>
                  <a:pt x="11159" y="1998"/>
                  <a:pt x="11166" y="1955"/>
                </a:cubicBezTo>
                <a:cubicBezTo>
                  <a:pt x="11173" y="1911"/>
                  <a:pt x="11180" y="1869"/>
                  <a:pt x="11195" y="1844"/>
                </a:cubicBezTo>
                <a:cubicBezTo>
                  <a:pt x="11197" y="1841"/>
                  <a:pt x="11201" y="1840"/>
                  <a:pt x="11205" y="1838"/>
                </a:cubicBezTo>
                <a:cubicBezTo>
                  <a:pt x="11213" y="1834"/>
                  <a:pt x="11227" y="1827"/>
                  <a:pt x="11233" y="1798"/>
                </a:cubicBezTo>
                <a:cubicBezTo>
                  <a:pt x="11235" y="1784"/>
                  <a:pt x="11238" y="1769"/>
                  <a:pt x="11241" y="1753"/>
                </a:cubicBezTo>
                <a:lnTo>
                  <a:pt x="11244" y="1735"/>
                </a:lnTo>
                <a:cubicBezTo>
                  <a:pt x="11245" y="1730"/>
                  <a:pt x="11246" y="1726"/>
                  <a:pt x="11246" y="1722"/>
                </a:cubicBezTo>
                <a:cubicBezTo>
                  <a:pt x="11255" y="1677"/>
                  <a:pt x="11264" y="1645"/>
                  <a:pt x="11273" y="1613"/>
                </a:cubicBezTo>
                <a:cubicBezTo>
                  <a:pt x="11281" y="1603"/>
                  <a:pt x="11286" y="1589"/>
                  <a:pt x="11287" y="1569"/>
                </a:cubicBezTo>
                <a:cubicBezTo>
                  <a:pt x="11299" y="1543"/>
                  <a:pt x="11312" y="1524"/>
                  <a:pt x="11328" y="1520"/>
                </a:cubicBezTo>
                <a:cubicBezTo>
                  <a:pt x="11331" y="1528"/>
                  <a:pt x="11336" y="1539"/>
                  <a:pt x="11342" y="1549"/>
                </a:cubicBezTo>
                <a:cubicBezTo>
                  <a:pt x="11340" y="1558"/>
                  <a:pt x="11341" y="1568"/>
                  <a:pt x="11343" y="1576"/>
                </a:cubicBezTo>
                <a:cubicBezTo>
                  <a:pt x="11357" y="1632"/>
                  <a:pt x="11369" y="1673"/>
                  <a:pt x="11381" y="1695"/>
                </a:cubicBezTo>
                <a:cubicBezTo>
                  <a:pt x="11380" y="1702"/>
                  <a:pt x="11377" y="1706"/>
                  <a:pt x="11373" y="1713"/>
                </a:cubicBezTo>
                <a:cubicBezTo>
                  <a:pt x="11371" y="1716"/>
                  <a:pt x="11370" y="1718"/>
                  <a:pt x="11368" y="1722"/>
                </a:cubicBezTo>
                <a:cubicBezTo>
                  <a:pt x="11362" y="1735"/>
                  <a:pt x="11354" y="1755"/>
                  <a:pt x="11352" y="1796"/>
                </a:cubicBezTo>
                <a:cubicBezTo>
                  <a:pt x="11351" y="1805"/>
                  <a:pt x="11353" y="1812"/>
                  <a:pt x="11355" y="1819"/>
                </a:cubicBezTo>
                <a:cubicBezTo>
                  <a:pt x="11358" y="1825"/>
                  <a:pt x="11362" y="1830"/>
                  <a:pt x="11366" y="1830"/>
                </a:cubicBezTo>
                <a:cubicBezTo>
                  <a:pt x="11378" y="1832"/>
                  <a:pt x="11392" y="1832"/>
                  <a:pt x="11407" y="1833"/>
                </a:cubicBezTo>
                <a:cubicBezTo>
                  <a:pt x="11420" y="1833"/>
                  <a:pt x="11433" y="1832"/>
                  <a:pt x="11445" y="1834"/>
                </a:cubicBezTo>
                <a:cubicBezTo>
                  <a:pt x="11444" y="1852"/>
                  <a:pt x="11445" y="1871"/>
                  <a:pt x="11448" y="1892"/>
                </a:cubicBezTo>
                <a:cubicBezTo>
                  <a:pt x="11449" y="1900"/>
                  <a:pt x="11451" y="1907"/>
                  <a:pt x="11455" y="1911"/>
                </a:cubicBezTo>
                <a:cubicBezTo>
                  <a:pt x="11457" y="1913"/>
                  <a:pt x="11460" y="1915"/>
                  <a:pt x="11462" y="1915"/>
                </a:cubicBezTo>
                <a:cubicBezTo>
                  <a:pt x="11464" y="1915"/>
                  <a:pt x="11465" y="1914"/>
                  <a:pt x="11467" y="1913"/>
                </a:cubicBezTo>
                <a:cubicBezTo>
                  <a:pt x="11495" y="1895"/>
                  <a:pt x="11516" y="1867"/>
                  <a:pt x="11535" y="1840"/>
                </a:cubicBezTo>
                <a:cubicBezTo>
                  <a:pt x="11547" y="1823"/>
                  <a:pt x="11560" y="1807"/>
                  <a:pt x="11573" y="1793"/>
                </a:cubicBezTo>
                <a:cubicBezTo>
                  <a:pt x="11574" y="1793"/>
                  <a:pt x="11574" y="1792"/>
                  <a:pt x="11574" y="1792"/>
                </a:cubicBezTo>
                <a:cubicBezTo>
                  <a:pt x="11574" y="1791"/>
                  <a:pt x="11575" y="1791"/>
                  <a:pt x="11575" y="1791"/>
                </a:cubicBezTo>
                <a:cubicBezTo>
                  <a:pt x="11575" y="1791"/>
                  <a:pt x="11575" y="1791"/>
                  <a:pt x="11576" y="1791"/>
                </a:cubicBezTo>
                <a:cubicBezTo>
                  <a:pt x="11585" y="1781"/>
                  <a:pt x="11593" y="1774"/>
                  <a:pt x="11601" y="1769"/>
                </a:cubicBezTo>
                <a:cubicBezTo>
                  <a:pt x="11605" y="1766"/>
                  <a:pt x="11608" y="1759"/>
                  <a:pt x="11610" y="1750"/>
                </a:cubicBezTo>
                <a:cubicBezTo>
                  <a:pt x="11611" y="1741"/>
                  <a:pt x="11611" y="1731"/>
                  <a:pt x="11608" y="1723"/>
                </a:cubicBezTo>
                <a:cubicBezTo>
                  <a:pt x="11598" y="1695"/>
                  <a:pt x="11582" y="1685"/>
                  <a:pt x="11568" y="1675"/>
                </a:cubicBezTo>
                <a:cubicBezTo>
                  <a:pt x="11545" y="1660"/>
                  <a:pt x="11530" y="1650"/>
                  <a:pt x="11530" y="1588"/>
                </a:cubicBezTo>
                <a:cubicBezTo>
                  <a:pt x="11530" y="1571"/>
                  <a:pt x="11523" y="1558"/>
                  <a:pt x="11515" y="1558"/>
                </a:cubicBezTo>
                <a:lnTo>
                  <a:pt x="11466" y="1558"/>
                </a:lnTo>
                <a:cubicBezTo>
                  <a:pt x="11466" y="1544"/>
                  <a:pt x="11464" y="1528"/>
                  <a:pt x="11461" y="1512"/>
                </a:cubicBezTo>
                <a:cubicBezTo>
                  <a:pt x="11458" y="1499"/>
                  <a:pt x="11452" y="1491"/>
                  <a:pt x="11445" y="1493"/>
                </a:cubicBezTo>
                <a:lnTo>
                  <a:pt x="11440" y="1496"/>
                </a:lnTo>
                <a:cubicBezTo>
                  <a:pt x="11413" y="1437"/>
                  <a:pt x="11301" y="1310"/>
                  <a:pt x="11260" y="1310"/>
                </a:cubicBezTo>
                <a:cubicBezTo>
                  <a:pt x="11259" y="1310"/>
                  <a:pt x="11258" y="1311"/>
                  <a:pt x="11257" y="1310"/>
                </a:cubicBezTo>
                <a:cubicBezTo>
                  <a:pt x="11258" y="1279"/>
                  <a:pt x="11255" y="1253"/>
                  <a:pt x="11248" y="1235"/>
                </a:cubicBezTo>
                <a:cubicBezTo>
                  <a:pt x="11256" y="1234"/>
                  <a:pt x="11264" y="1232"/>
                  <a:pt x="11272" y="1229"/>
                </a:cubicBezTo>
                <a:cubicBezTo>
                  <a:pt x="11278" y="1227"/>
                  <a:pt x="11283" y="1224"/>
                  <a:pt x="11288" y="1223"/>
                </a:cubicBezTo>
                <a:cubicBezTo>
                  <a:pt x="11288" y="1226"/>
                  <a:pt x="11288" y="1231"/>
                  <a:pt x="11288" y="1235"/>
                </a:cubicBezTo>
                <a:cubicBezTo>
                  <a:pt x="11291" y="1268"/>
                  <a:pt x="11297" y="1307"/>
                  <a:pt x="11326" y="1327"/>
                </a:cubicBezTo>
                <a:cubicBezTo>
                  <a:pt x="11328" y="1328"/>
                  <a:pt x="11329" y="1328"/>
                  <a:pt x="11331" y="1328"/>
                </a:cubicBezTo>
                <a:lnTo>
                  <a:pt x="11438" y="1328"/>
                </a:lnTo>
                <a:cubicBezTo>
                  <a:pt x="11439" y="1328"/>
                  <a:pt x="11440" y="1330"/>
                  <a:pt x="11441" y="1330"/>
                </a:cubicBezTo>
                <a:cubicBezTo>
                  <a:pt x="11442" y="1330"/>
                  <a:pt x="11443" y="1329"/>
                  <a:pt x="11444" y="1329"/>
                </a:cubicBezTo>
                <a:cubicBezTo>
                  <a:pt x="11462" y="1381"/>
                  <a:pt x="11488" y="1405"/>
                  <a:pt x="11526" y="1405"/>
                </a:cubicBezTo>
                <a:cubicBezTo>
                  <a:pt x="11526" y="1405"/>
                  <a:pt x="11527" y="1405"/>
                  <a:pt x="11528" y="1405"/>
                </a:cubicBezTo>
                <a:cubicBezTo>
                  <a:pt x="11529" y="1405"/>
                  <a:pt x="11529" y="1405"/>
                  <a:pt x="11530" y="1405"/>
                </a:cubicBezTo>
                <a:cubicBezTo>
                  <a:pt x="11592" y="1399"/>
                  <a:pt x="11685" y="1273"/>
                  <a:pt x="11741" y="1198"/>
                </a:cubicBezTo>
                <a:lnTo>
                  <a:pt x="11752" y="1183"/>
                </a:lnTo>
                <a:cubicBezTo>
                  <a:pt x="11759" y="1175"/>
                  <a:pt x="11761" y="1158"/>
                  <a:pt x="11758" y="1145"/>
                </a:cubicBezTo>
                <a:cubicBezTo>
                  <a:pt x="11742" y="1082"/>
                  <a:pt x="11696" y="1013"/>
                  <a:pt x="11649" y="1013"/>
                </a:cubicBezTo>
                <a:lnTo>
                  <a:pt x="11579" y="1013"/>
                </a:lnTo>
                <a:cubicBezTo>
                  <a:pt x="11557" y="1013"/>
                  <a:pt x="11542" y="1030"/>
                  <a:pt x="11531" y="1042"/>
                </a:cubicBezTo>
                <a:cubicBezTo>
                  <a:pt x="11530" y="1043"/>
                  <a:pt x="11529" y="1045"/>
                  <a:pt x="11528" y="1046"/>
                </a:cubicBezTo>
                <a:cubicBezTo>
                  <a:pt x="11529" y="1042"/>
                  <a:pt x="11529" y="1038"/>
                  <a:pt x="11529" y="1033"/>
                </a:cubicBezTo>
                <a:cubicBezTo>
                  <a:pt x="11530" y="1019"/>
                  <a:pt x="11530" y="1002"/>
                  <a:pt x="11530" y="979"/>
                </a:cubicBezTo>
                <a:cubicBezTo>
                  <a:pt x="11530" y="963"/>
                  <a:pt x="11523" y="950"/>
                  <a:pt x="11515" y="950"/>
                </a:cubicBezTo>
                <a:lnTo>
                  <a:pt x="11490" y="950"/>
                </a:lnTo>
                <a:close/>
                <a:moveTo>
                  <a:pt x="7065" y="970"/>
                </a:moveTo>
                <a:cubicBezTo>
                  <a:pt x="7038" y="970"/>
                  <a:pt x="7015" y="1015"/>
                  <a:pt x="7015" y="1069"/>
                </a:cubicBezTo>
                <a:cubicBezTo>
                  <a:pt x="7015" y="1123"/>
                  <a:pt x="7038" y="1167"/>
                  <a:pt x="7065" y="1167"/>
                </a:cubicBezTo>
                <a:cubicBezTo>
                  <a:pt x="7092" y="1167"/>
                  <a:pt x="7114" y="1123"/>
                  <a:pt x="7114" y="1069"/>
                </a:cubicBezTo>
                <a:cubicBezTo>
                  <a:pt x="7114" y="1015"/>
                  <a:pt x="7092" y="970"/>
                  <a:pt x="7065" y="970"/>
                </a:cubicBezTo>
                <a:close/>
                <a:moveTo>
                  <a:pt x="6711" y="1007"/>
                </a:moveTo>
                <a:cubicBezTo>
                  <a:pt x="6684" y="1007"/>
                  <a:pt x="6662" y="1052"/>
                  <a:pt x="6662" y="1106"/>
                </a:cubicBezTo>
                <a:cubicBezTo>
                  <a:pt x="6662" y="1161"/>
                  <a:pt x="6684" y="1204"/>
                  <a:pt x="6711" y="1204"/>
                </a:cubicBezTo>
                <a:cubicBezTo>
                  <a:pt x="6739" y="1204"/>
                  <a:pt x="6760" y="1161"/>
                  <a:pt x="6760" y="1106"/>
                </a:cubicBezTo>
                <a:cubicBezTo>
                  <a:pt x="6760" y="1052"/>
                  <a:pt x="6739" y="1007"/>
                  <a:pt x="6711" y="1007"/>
                </a:cubicBezTo>
                <a:close/>
                <a:moveTo>
                  <a:pt x="11497" y="1010"/>
                </a:moveTo>
                <a:lnTo>
                  <a:pt x="11500" y="1010"/>
                </a:lnTo>
                <a:cubicBezTo>
                  <a:pt x="11500" y="1017"/>
                  <a:pt x="11499" y="1022"/>
                  <a:pt x="11499" y="1028"/>
                </a:cubicBezTo>
                <a:cubicBezTo>
                  <a:pt x="11498" y="1051"/>
                  <a:pt x="11497" y="1071"/>
                  <a:pt x="11501" y="1095"/>
                </a:cubicBezTo>
                <a:cubicBezTo>
                  <a:pt x="11502" y="1107"/>
                  <a:pt x="11508" y="1116"/>
                  <a:pt x="11515" y="1116"/>
                </a:cubicBezTo>
                <a:cubicBezTo>
                  <a:pt x="11527" y="1116"/>
                  <a:pt x="11537" y="1105"/>
                  <a:pt x="11546" y="1095"/>
                </a:cubicBezTo>
                <a:cubicBezTo>
                  <a:pt x="11556" y="1084"/>
                  <a:pt x="11565" y="1074"/>
                  <a:pt x="11579" y="1074"/>
                </a:cubicBezTo>
                <a:lnTo>
                  <a:pt x="11649" y="1074"/>
                </a:lnTo>
                <a:cubicBezTo>
                  <a:pt x="11662" y="1074"/>
                  <a:pt x="11675" y="1084"/>
                  <a:pt x="11686" y="1095"/>
                </a:cubicBezTo>
                <a:cubicBezTo>
                  <a:pt x="11676" y="1107"/>
                  <a:pt x="11667" y="1125"/>
                  <a:pt x="11667" y="1151"/>
                </a:cubicBezTo>
                <a:cubicBezTo>
                  <a:pt x="11667" y="1173"/>
                  <a:pt x="11674" y="1190"/>
                  <a:pt x="11682" y="1202"/>
                </a:cubicBezTo>
                <a:cubicBezTo>
                  <a:pt x="11635" y="1263"/>
                  <a:pt x="11579" y="1331"/>
                  <a:pt x="11537" y="1343"/>
                </a:cubicBezTo>
                <a:lnTo>
                  <a:pt x="11457" y="1097"/>
                </a:lnTo>
                <a:cubicBezTo>
                  <a:pt x="11472" y="1081"/>
                  <a:pt x="11483" y="1049"/>
                  <a:pt x="11491" y="1026"/>
                </a:cubicBezTo>
                <a:cubicBezTo>
                  <a:pt x="11492" y="1021"/>
                  <a:pt x="11495" y="1014"/>
                  <a:pt x="11497" y="1010"/>
                </a:cubicBezTo>
                <a:close/>
                <a:moveTo>
                  <a:pt x="11317" y="1022"/>
                </a:moveTo>
                <a:lnTo>
                  <a:pt x="11346" y="1022"/>
                </a:lnTo>
                <a:cubicBezTo>
                  <a:pt x="11363" y="1048"/>
                  <a:pt x="11398" y="1082"/>
                  <a:pt x="11417" y="1097"/>
                </a:cubicBezTo>
                <a:cubicBezTo>
                  <a:pt x="11425" y="1119"/>
                  <a:pt x="11432" y="1142"/>
                  <a:pt x="11440" y="1163"/>
                </a:cubicBezTo>
                <a:cubicBezTo>
                  <a:pt x="11442" y="1170"/>
                  <a:pt x="11444" y="1177"/>
                  <a:pt x="11446" y="1183"/>
                </a:cubicBezTo>
                <a:cubicBezTo>
                  <a:pt x="11448" y="1190"/>
                  <a:pt x="11450" y="1197"/>
                  <a:pt x="11452" y="1203"/>
                </a:cubicBezTo>
                <a:cubicBezTo>
                  <a:pt x="11449" y="1200"/>
                  <a:pt x="11446" y="1194"/>
                  <a:pt x="11441" y="1194"/>
                </a:cubicBezTo>
                <a:cubicBezTo>
                  <a:pt x="11422" y="1194"/>
                  <a:pt x="11407" y="1225"/>
                  <a:pt x="11407" y="1263"/>
                </a:cubicBezTo>
                <a:cubicBezTo>
                  <a:pt x="11407" y="1265"/>
                  <a:pt x="11408" y="1266"/>
                  <a:pt x="11408" y="1268"/>
                </a:cubicBezTo>
                <a:lnTo>
                  <a:pt x="11333" y="1268"/>
                </a:lnTo>
                <a:cubicBezTo>
                  <a:pt x="11329" y="1265"/>
                  <a:pt x="11326" y="1262"/>
                  <a:pt x="11323" y="1257"/>
                </a:cubicBezTo>
                <a:cubicBezTo>
                  <a:pt x="11330" y="1256"/>
                  <a:pt x="11337" y="1256"/>
                  <a:pt x="11345" y="1256"/>
                </a:cubicBezTo>
                <a:cubicBezTo>
                  <a:pt x="11347" y="1256"/>
                  <a:pt x="11348" y="1255"/>
                  <a:pt x="11350" y="1254"/>
                </a:cubicBezTo>
                <a:cubicBezTo>
                  <a:pt x="11359" y="1249"/>
                  <a:pt x="11370" y="1245"/>
                  <a:pt x="11379" y="1243"/>
                </a:cubicBezTo>
                <a:cubicBezTo>
                  <a:pt x="11389" y="1240"/>
                  <a:pt x="11397" y="1238"/>
                  <a:pt x="11404" y="1232"/>
                </a:cubicBezTo>
                <a:cubicBezTo>
                  <a:pt x="11411" y="1227"/>
                  <a:pt x="11415" y="1214"/>
                  <a:pt x="11413" y="1200"/>
                </a:cubicBezTo>
                <a:cubicBezTo>
                  <a:pt x="11412" y="1186"/>
                  <a:pt x="11405" y="1175"/>
                  <a:pt x="11398" y="1175"/>
                </a:cubicBezTo>
                <a:cubicBezTo>
                  <a:pt x="11394" y="1175"/>
                  <a:pt x="11359" y="1170"/>
                  <a:pt x="11336" y="1167"/>
                </a:cubicBezTo>
                <a:cubicBezTo>
                  <a:pt x="11309" y="1163"/>
                  <a:pt x="11301" y="1162"/>
                  <a:pt x="11299" y="1162"/>
                </a:cubicBezTo>
                <a:cubicBezTo>
                  <a:pt x="11288" y="1162"/>
                  <a:pt x="11277" y="1166"/>
                  <a:pt x="11267" y="1169"/>
                </a:cubicBezTo>
                <a:cubicBezTo>
                  <a:pt x="11259" y="1172"/>
                  <a:pt x="11251" y="1175"/>
                  <a:pt x="11246" y="1175"/>
                </a:cubicBezTo>
                <a:cubicBezTo>
                  <a:pt x="11242" y="1175"/>
                  <a:pt x="11241" y="1174"/>
                  <a:pt x="11241" y="1174"/>
                </a:cubicBezTo>
                <a:cubicBezTo>
                  <a:pt x="11241" y="1174"/>
                  <a:pt x="11239" y="1169"/>
                  <a:pt x="11239" y="1148"/>
                </a:cubicBezTo>
                <a:cubicBezTo>
                  <a:pt x="11240" y="1141"/>
                  <a:pt x="11237" y="1135"/>
                  <a:pt x="11235" y="1130"/>
                </a:cubicBezTo>
                <a:cubicBezTo>
                  <a:pt x="11242" y="1121"/>
                  <a:pt x="11246" y="1108"/>
                  <a:pt x="11248" y="1092"/>
                </a:cubicBezTo>
                <a:cubicBezTo>
                  <a:pt x="11257" y="1094"/>
                  <a:pt x="11266" y="1091"/>
                  <a:pt x="11274" y="1083"/>
                </a:cubicBezTo>
                <a:cubicBezTo>
                  <a:pt x="11278" y="1079"/>
                  <a:pt x="11280" y="1072"/>
                  <a:pt x="11281" y="1064"/>
                </a:cubicBezTo>
                <a:lnTo>
                  <a:pt x="11303" y="1064"/>
                </a:lnTo>
                <a:cubicBezTo>
                  <a:pt x="11308" y="1064"/>
                  <a:pt x="11313" y="1059"/>
                  <a:pt x="11316" y="1050"/>
                </a:cubicBezTo>
                <a:cubicBezTo>
                  <a:pt x="11318" y="1042"/>
                  <a:pt x="11319" y="1032"/>
                  <a:pt x="11317" y="1022"/>
                </a:cubicBezTo>
                <a:close/>
                <a:moveTo>
                  <a:pt x="5041" y="1038"/>
                </a:moveTo>
                <a:cubicBezTo>
                  <a:pt x="5047" y="1038"/>
                  <a:pt x="5052" y="1042"/>
                  <a:pt x="5060" y="1048"/>
                </a:cubicBezTo>
                <a:cubicBezTo>
                  <a:pt x="5065" y="1052"/>
                  <a:pt x="5071" y="1057"/>
                  <a:pt x="5079" y="1061"/>
                </a:cubicBezTo>
                <a:cubicBezTo>
                  <a:pt x="5074" y="1070"/>
                  <a:pt x="5069" y="1083"/>
                  <a:pt x="5068" y="1099"/>
                </a:cubicBezTo>
                <a:cubicBezTo>
                  <a:pt x="5058" y="1085"/>
                  <a:pt x="5047" y="1072"/>
                  <a:pt x="5034" y="1063"/>
                </a:cubicBezTo>
                <a:cubicBezTo>
                  <a:pt x="5031" y="1061"/>
                  <a:pt x="5028" y="1060"/>
                  <a:pt x="5025" y="1059"/>
                </a:cubicBezTo>
                <a:cubicBezTo>
                  <a:pt x="5027" y="1056"/>
                  <a:pt x="5028" y="1054"/>
                  <a:pt x="5029" y="1052"/>
                </a:cubicBezTo>
                <a:cubicBezTo>
                  <a:pt x="5034" y="1043"/>
                  <a:pt x="5038" y="1038"/>
                  <a:pt x="5041" y="1038"/>
                </a:cubicBezTo>
                <a:close/>
                <a:moveTo>
                  <a:pt x="13580" y="1047"/>
                </a:moveTo>
                <a:cubicBezTo>
                  <a:pt x="13587" y="1048"/>
                  <a:pt x="13593" y="1050"/>
                  <a:pt x="13599" y="1054"/>
                </a:cubicBezTo>
                <a:cubicBezTo>
                  <a:pt x="13592" y="1062"/>
                  <a:pt x="13586" y="1073"/>
                  <a:pt x="13582" y="1082"/>
                </a:cubicBezTo>
                <a:cubicBezTo>
                  <a:pt x="13579" y="1087"/>
                  <a:pt x="13577" y="1091"/>
                  <a:pt x="13575" y="1094"/>
                </a:cubicBezTo>
                <a:lnTo>
                  <a:pt x="13577" y="1081"/>
                </a:lnTo>
                <a:lnTo>
                  <a:pt x="13580" y="1047"/>
                </a:lnTo>
                <a:close/>
                <a:moveTo>
                  <a:pt x="13549" y="1052"/>
                </a:moveTo>
                <a:cubicBezTo>
                  <a:pt x="13549" y="1052"/>
                  <a:pt x="13547" y="1068"/>
                  <a:pt x="13547" y="1068"/>
                </a:cubicBezTo>
                <a:lnTo>
                  <a:pt x="13546" y="1078"/>
                </a:lnTo>
                <a:cubicBezTo>
                  <a:pt x="13540" y="1070"/>
                  <a:pt x="13534" y="1064"/>
                  <a:pt x="13528" y="1061"/>
                </a:cubicBezTo>
                <a:cubicBezTo>
                  <a:pt x="13534" y="1058"/>
                  <a:pt x="13541" y="1054"/>
                  <a:pt x="13549" y="1052"/>
                </a:cubicBezTo>
                <a:close/>
                <a:moveTo>
                  <a:pt x="12958" y="1063"/>
                </a:moveTo>
                <a:cubicBezTo>
                  <a:pt x="12958" y="1063"/>
                  <a:pt x="12958" y="1076"/>
                  <a:pt x="12958" y="1076"/>
                </a:cubicBezTo>
                <a:lnTo>
                  <a:pt x="12958" y="1087"/>
                </a:lnTo>
                <a:cubicBezTo>
                  <a:pt x="12954" y="1086"/>
                  <a:pt x="12952" y="1083"/>
                  <a:pt x="12949" y="1082"/>
                </a:cubicBezTo>
                <a:cubicBezTo>
                  <a:pt x="12949" y="1082"/>
                  <a:pt x="12949" y="1082"/>
                  <a:pt x="12949" y="1082"/>
                </a:cubicBezTo>
                <a:cubicBezTo>
                  <a:pt x="12945" y="1080"/>
                  <a:pt x="12940" y="1079"/>
                  <a:pt x="12938" y="1077"/>
                </a:cubicBezTo>
                <a:cubicBezTo>
                  <a:pt x="12945" y="1072"/>
                  <a:pt x="12951" y="1067"/>
                  <a:pt x="12958" y="1063"/>
                </a:cubicBezTo>
                <a:close/>
                <a:moveTo>
                  <a:pt x="13510" y="1071"/>
                </a:moveTo>
                <a:cubicBezTo>
                  <a:pt x="13508" y="1075"/>
                  <a:pt x="13507" y="1079"/>
                  <a:pt x="13507" y="1083"/>
                </a:cubicBezTo>
                <a:cubicBezTo>
                  <a:pt x="13505" y="1096"/>
                  <a:pt x="13504" y="1099"/>
                  <a:pt x="13504" y="1099"/>
                </a:cubicBezTo>
                <a:cubicBezTo>
                  <a:pt x="13502" y="1101"/>
                  <a:pt x="13495" y="1100"/>
                  <a:pt x="13489" y="1098"/>
                </a:cubicBezTo>
                <a:cubicBezTo>
                  <a:pt x="13488" y="1097"/>
                  <a:pt x="13487" y="1097"/>
                  <a:pt x="13486" y="1096"/>
                </a:cubicBezTo>
                <a:cubicBezTo>
                  <a:pt x="13490" y="1089"/>
                  <a:pt x="13497" y="1080"/>
                  <a:pt x="13510" y="1071"/>
                </a:cubicBezTo>
                <a:close/>
                <a:moveTo>
                  <a:pt x="15655" y="1110"/>
                </a:moveTo>
                <a:cubicBezTo>
                  <a:pt x="15666" y="1117"/>
                  <a:pt x="15682" y="1131"/>
                  <a:pt x="15693" y="1140"/>
                </a:cubicBezTo>
                <a:cubicBezTo>
                  <a:pt x="15699" y="1146"/>
                  <a:pt x="15706" y="1151"/>
                  <a:pt x="15712" y="1155"/>
                </a:cubicBezTo>
                <a:cubicBezTo>
                  <a:pt x="15700" y="1179"/>
                  <a:pt x="15669" y="1192"/>
                  <a:pt x="15640" y="1194"/>
                </a:cubicBezTo>
                <a:lnTo>
                  <a:pt x="15655" y="1110"/>
                </a:lnTo>
                <a:close/>
                <a:moveTo>
                  <a:pt x="15742" y="1117"/>
                </a:moveTo>
                <a:cubicBezTo>
                  <a:pt x="15757" y="1122"/>
                  <a:pt x="15774" y="1126"/>
                  <a:pt x="15791" y="1126"/>
                </a:cubicBezTo>
                <a:cubicBezTo>
                  <a:pt x="15795" y="1126"/>
                  <a:pt x="15802" y="1126"/>
                  <a:pt x="15811" y="1127"/>
                </a:cubicBezTo>
                <a:cubicBezTo>
                  <a:pt x="15805" y="1133"/>
                  <a:pt x="15800" y="1139"/>
                  <a:pt x="15794" y="1145"/>
                </a:cubicBezTo>
                <a:cubicBezTo>
                  <a:pt x="15776" y="1163"/>
                  <a:pt x="15756" y="1182"/>
                  <a:pt x="15731" y="1201"/>
                </a:cubicBezTo>
                <a:cubicBezTo>
                  <a:pt x="15739" y="1186"/>
                  <a:pt x="15745" y="1166"/>
                  <a:pt x="15747" y="1141"/>
                </a:cubicBezTo>
                <a:cubicBezTo>
                  <a:pt x="15747" y="1132"/>
                  <a:pt x="15745" y="1123"/>
                  <a:pt x="15742" y="1117"/>
                </a:cubicBezTo>
                <a:close/>
                <a:moveTo>
                  <a:pt x="4529" y="1119"/>
                </a:moveTo>
                <a:cubicBezTo>
                  <a:pt x="4515" y="1119"/>
                  <a:pt x="4503" y="1142"/>
                  <a:pt x="4503" y="1170"/>
                </a:cubicBezTo>
                <a:cubicBezTo>
                  <a:pt x="4503" y="1199"/>
                  <a:pt x="4515" y="1222"/>
                  <a:pt x="4529" y="1222"/>
                </a:cubicBezTo>
                <a:cubicBezTo>
                  <a:pt x="4543" y="1222"/>
                  <a:pt x="4555" y="1199"/>
                  <a:pt x="4555" y="1170"/>
                </a:cubicBezTo>
                <a:cubicBezTo>
                  <a:pt x="4555" y="1142"/>
                  <a:pt x="4543" y="1119"/>
                  <a:pt x="4529" y="1119"/>
                </a:cubicBezTo>
                <a:close/>
                <a:moveTo>
                  <a:pt x="4089" y="1138"/>
                </a:moveTo>
                <a:cubicBezTo>
                  <a:pt x="4081" y="1139"/>
                  <a:pt x="4075" y="1153"/>
                  <a:pt x="4075" y="1168"/>
                </a:cubicBezTo>
                <a:cubicBezTo>
                  <a:pt x="4075" y="1205"/>
                  <a:pt x="4085" y="1225"/>
                  <a:pt x="4095" y="1240"/>
                </a:cubicBezTo>
                <a:cubicBezTo>
                  <a:pt x="4095" y="1242"/>
                  <a:pt x="4094" y="1243"/>
                  <a:pt x="4094" y="1245"/>
                </a:cubicBezTo>
                <a:cubicBezTo>
                  <a:pt x="4094" y="1273"/>
                  <a:pt x="4106" y="1296"/>
                  <a:pt x="4120" y="1296"/>
                </a:cubicBezTo>
                <a:cubicBezTo>
                  <a:pt x="4126" y="1296"/>
                  <a:pt x="4132" y="1291"/>
                  <a:pt x="4136" y="1282"/>
                </a:cubicBezTo>
                <a:lnTo>
                  <a:pt x="4164" y="1282"/>
                </a:lnTo>
                <a:cubicBezTo>
                  <a:pt x="4173" y="1282"/>
                  <a:pt x="4180" y="1270"/>
                  <a:pt x="4180" y="1253"/>
                </a:cubicBezTo>
                <a:lnTo>
                  <a:pt x="4180" y="1168"/>
                </a:lnTo>
                <a:cubicBezTo>
                  <a:pt x="4180" y="1152"/>
                  <a:pt x="4173" y="1138"/>
                  <a:pt x="4164" y="1138"/>
                </a:cubicBezTo>
                <a:cubicBezTo>
                  <a:pt x="4160" y="1138"/>
                  <a:pt x="4155" y="1138"/>
                  <a:pt x="4149" y="1138"/>
                </a:cubicBezTo>
                <a:cubicBezTo>
                  <a:pt x="4132" y="1137"/>
                  <a:pt x="4109" y="1135"/>
                  <a:pt x="4089" y="1138"/>
                </a:cubicBezTo>
                <a:close/>
                <a:moveTo>
                  <a:pt x="11078" y="1152"/>
                </a:moveTo>
                <a:lnTo>
                  <a:pt x="11092" y="1349"/>
                </a:lnTo>
                <a:cubicBezTo>
                  <a:pt x="11090" y="1338"/>
                  <a:pt x="11088" y="1328"/>
                  <a:pt x="11086" y="1319"/>
                </a:cubicBezTo>
                <a:cubicBezTo>
                  <a:pt x="11077" y="1273"/>
                  <a:pt x="11070" y="1241"/>
                  <a:pt x="11070" y="1183"/>
                </a:cubicBezTo>
                <a:cubicBezTo>
                  <a:pt x="11070" y="1160"/>
                  <a:pt x="11070" y="1154"/>
                  <a:pt x="11078" y="1152"/>
                </a:cubicBezTo>
                <a:close/>
                <a:moveTo>
                  <a:pt x="11108" y="1152"/>
                </a:moveTo>
                <a:cubicBezTo>
                  <a:pt x="11132" y="1159"/>
                  <a:pt x="11165" y="1189"/>
                  <a:pt x="11167" y="1204"/>
                </a:cubicBezTo>
                <a:cubicBezTo>
                  <a:pt x="11167" y="1216"/>
                  <a:pt x="11166" y="1228"/>
                  <a:pt x="11164" y="1240"/>
                </a:cubicBezTo>
                <a:cubicBezTo>
                  <a:pt x="11163" y="1255"/>
                  <a:pt x="11161" y="1271"/>
                  <a:pt x="11161" y="1289"/>
                </a:cubicBezTo>
                <a:cubicBezTo>
                  <a:pt x="11161" y="1300"/>
                  <a:pt x="11164" y="1310"/>
                  <a:pt x="11168" y="1315"/>
                </a:cubicBezTo>
                <a:cubicBezTo>
                  <a:pt x="11172" y="1320"/>
                  <a:pt x="11178" y="1321"/>
                  <a:pt x="11183" y="1316"/>
                </a:cubicBezTo>
                <a:cubicBezTo>
                  <a:pt x="11192" y="1306"/>
                  <a:pt x="11198" y="1293"/>
                  <a:pt x="11203" y="1281"/>
                </a:cubicBezTo>
                <a:cubicBezTo>
                  <a:pt x="11209" y="1268"/>
                  <a:pt x="11211" y="1265"/>
                  <a:pt x="11214" y="1265"/>
                </a:cubicBezTo>
                <a:cubicBezTo>
                  <a:pt x="11219" y="1265"/>
                  <a:pt x="11223" y="1267"/>
                  <a:pt x="11224" y="1272"/>
                </a:cubicBezTo>
                <a:cubicBezTo>
                  <a:pt x="11227" y="1279"/>
                  <a:pt x="11229" y="1297"/>
                  <a:pt x="11225" y="1329"/>
                </a:cubicBezTo>
                <a:cubicBezTo>
                  <a:pt x="11224" y="1338"/>
                  <a:pt x="11225" y="1347"/>
                  <a:pt x="11228" y="1355"/>
                </a:cubicBezTo>
                <a:cubicBezTo>
                  <a:pt x="11231" y="1362"/>
                  <a:pt x="11235" y="1366"/>
                  <a:pt x="11239" y="1366"/>
                </a:cubicBezTo>
                <a:cubicBezTo>
                  <a:pt x="11242" y="1366"/>
                  <a:pt x="11245" y="1368"/>
                  <a:pt x="11248" y="1369"/>
                </a:cubicBezTo>
                <a:cubicBezTo>
                  <a:pt x="11252" y="1370"/>
                  <a:pt x="11257" y="1371"/>
                  <a:pt x="11260" y="1371"/>
                </a:cubicBezTo>
                <a:cubicBezTo>
                  <a:pt x="11284" y="1371"/>
                  <a:pt x="11359" y="1449"/>
                  <a:pt x="11398" y="1504"/>
                </a:cubicBezTo>
                <a:cubicBezTo>
                  <a:pt x="11396" y="1508"/>
                  <a:pt x="11395" y="1514"/>
                  <a:pt x="11394" y="1520"/>
                </a:cubicBezTo>
                <a:cubicBezTo>
                  <a:pt x="11394" y="1523"/>
                  <a:pt x="11394" y="1526"/>
                  <a:pt x="11395" y="1530"/>
                </a:cubicBezTo>
                <a:cubicBezTo>
                  <a:pt x="11393" y="1527"/>
                  <a:pt x="11390" y="1524"/>
                  <a:pt x="11388" y="1524"/>
                </a:cubicBezTo>
                <a:cubicBezTo>
                  <a:pt x="11362" y="1517"/>
                  <a:pt x="11348" y="1475"/>
                  <a:pt x="11348" y="1474"/>
                </a:cubicBezTo>
                <a:cubicBezTo>
                  <a:pt x="11345" y="1465"/>
                  <a:pt x="11340" y="1460"/>
                  <a:pt x="11335" y="1460"/>
                </a:cubicBezTo>
                <a:cubicBezTo>
                  <a:pt x="11310" y="1460"/>
                  <a:pt x="11292" y="1482"/>
                  <a:pt x="11276" y="1510"/>
                </a:cubicBezTo>
                <a:cubicBezTo>
                  <a:pt x="11270" y="1500"/>
                  <a:pt x="11263" y="1492"/>
                  <a:pt x="11255" y="1492"/>
                </a:cubicBezTo>
                <a:cubicBezTo>
                  <a:pt x="11236" y="1492"/>
                  <a:pt x="11221" y="1523"/>
                  <a:pt x="11221" y="1561"/>
                </a:cubicBezTo>
                <a:cubicBezTo>
                  <a:pt x="11221" y="1586"/>
                  <a:pt x="11229" y="1604"/>
                  <a:pt x="11239" y="1616"/>
                </a:cubicBezTo>
                <a:cubicBezTo>
                  <a:pt x="11234" y="1638"/>
                  <a:pt x="11226" y="1660"/>
                  <a:pt x="11222" y="1680"/>
                </a:cubicBezTo>
                <a:lnTo>
                  <a:pt x="11213" y="1679"/>
                </a:lnTo>
                <a:lnTo>
                  <a:pt x="11147" y="1668"/>
                </a:lnTo>
                <a:lnTo>
                  <a:pt x="11136" y="1525"/>
                </a:lnTo>
                <a:lnTo>
                  <a:pt x="11108" y="1152"/>
                </a:lnTo>
                <a:close/>
                <a:moveTo>
                  <a:pt x="15885" y="1156"/>
                </a:moveTo>
                <a:cubicBezTo>
                  <a:pt x="15858" y="1156"/>
                  <a:pt x="15836" y="1201"/>
                  <a:pt x="15836" y="1256"/>
                </a:cubicBezTo>
                <a:cubicBezTo>
                  <a:pt x="15836" y="1310"/>
                  <a:pt x="15858" y="1353"/>
                  <a:pt x="15885" y="1353"/>
                </a:cubicBezTo>
                <a:cubicBezTo>
                  <a:pt x="15912" y="1353"/>
                  <a:pt x="15934" y="1310"/>
                  <a:pt x="15934" y="1256"/>
                </a:cubicBezTo>
                <a:cubicBezTo>
                  <a:pt x="15934" y="1201"/>
                  <a:pt x="15912" y="1156"/>
                  <a:pt x="15885" y="1156"/>
                </a:cubicBezTo>
                <a:close/>
                <a:moveTo>
                  <a:pt x="4114" y="1196"/>
                </a:moveTo>
                <a:cubicBezTo>
                  <a:pt x="4115" y="1196"/>
                  <a:pt x="4116" y="1196"/>
                  <a:pt x="4117" y="1196"/>
                </a:cubicBezTo>
                <a:cubicBezTo>
                  <a:pt x="4116" y="1196"/>
                  <a:pt x="4116" y="1197"/>
                  <a:pt x="4115" y="1197"/>
                </a:cubicBezTo>
                <a:cubicBezTo>
                  <a:pt x="4115" y="1197"/>
                  <a:pt x="4114" y="1197"/>
                  <a:pt x="4114" y="1196"/>
                </a:cubicBezTo>
                <a:close/>
                <a:moveTo>
                  <a:pt x="4123" y="1196"/>
                </a:moveTo>
                <a:cubicBezTo>
                  <a:pt x="4132" y="1196"/>
                  <a:pt x="4141" y="1197"/>
                  <a:pt x="4148" y="1197"/>
                </a:cubicBezTo>
                <a:cubicBezTo>
                  <a:pt x="4149" y="1197"/>
                  <a:pt x="4149" y="1197"/>
                  <a:pt x="4150" y="1197"/>
                </a:cubicBezTo>
                <a:lnTo>
                  <a:pt x="4150" y="1223"/>
                </a:lnTo>
                <a:lnTo>
                  <a:pt x="4141" y="1223"/>
                </a:lnTo>
                <a:cubicBezTo>
                  <a:pt x="4137" y="1209"/>
                  <a:pt x="4131" y="1198"/>
                  <a:pt x="4123" y="1196"/>
                </a:cubicBezTo>
                <a:close/>
                <a:moveTo>
                  <a:pt x="10826" y="1201"/>
                </a:moveTo>
                <a:cubicBezTo>
                  <a:pt x="10853" y="1201"/>
                  <a:pt x="10872" y="1201"/>
                  <a:pt x="10902" y="1209"/>
                </a:cubicBezTo>
                <a:cubicBezTo>
                  <a:pt x="10899" y="1216"/>
                  <a:pt x="10896" y="1223"/>
                  <a:pt x="10894" y="1232"/>
                </a:cubicBezTo>
                <a:cubicBezTo>
                  <a:pt x="10892" y="1238"/>
                  <a:pt x="10895" y="1243"/>
                  <a:pt x="10895" y="1249"/>
                </a:cubicBezTo>
                <a:cubicBezTo>
                  <a:pt x="10891" y="1263"/>
                  <a:pt x="10886" y="1276"/>
                  <a:pt x="10886" y="1293"/>
                </a:cubicBezTo>
                <a:cubicBezTo>
                  <a:pt x="10886" y="1347"/>
                  <a:pt x="10908" y="1391"/>
                  <a:pt x="10935" y="1391"/>
                </a:cubicBezTo>
                <a:cubicBezTo>
                  <a:pt x="10963" y="1391"/>
                  <a:pt x="10984" y="1347"/>
                  <a:pt x="10984" y="1293"/>
                </a:cubicBezTo>
                <a:cubicBezTo>
                  <a:pt x="10984" y="1267"/>
                  <a:pt x="10979" y="1245"/>
                  <a:pt x="10971" y="1228"/>
                </a:cubicBezTo>
                <a:cubicBezTo>
                  <a:pt x="10975" y="1219"/>
                  <a:pt x="10979" y="1214"/>
                  <a:pt x="10985" y="1214"/>
                </a:cubicBezTo>
                <a:cubicBezTo>
                  <a:pt x="11005" y="1214"/>
                  <a:pt x="11011" y="1236"/>
                  <a:pt x="11023" y="1284"/>
                </a:cubicBezTo>
                <a:cubicBezTo>
                  <a:pt x="11032" y="1325"/>
                  <a:pt x="11045" y="1377"/>
                  <a:pt x="11076" y="1399"/>
                </a:cubicBezTo>
                <a:cubicBezTo>
                  <a:pt x="11081" y="1403"/>
                  <a:pt x="11087" y="1400"/>
                  <a:pt x="11091" y="1392"/>
                </a:cubicBezTo>
                <a:cubicBezTo>
                  <a:pt x="11093" y="1388"/>
                  <a:pt x="11094" y="1383"/>
                  <a:pt x="11095" y="1378"/>
                </a:cubicBezTo>
                <a:lnTo>
                  <a:pt x="11103" y="1482"/>
                </a:lnTo>
                <a:lnTo>
                  <a:pt x="11105" y="1504"/>
                </a:lnTo>
                <a:cubicBezTo>
                  <a:pt x="11103" y="1503"/>
                  <a:pt x="11101" y="1503"/>
                  <a:pt x="11099" y="1503"/>
                </a:cubicBezTo>
                <a:lnTo>
                  <a:pt x="11046" y="1503"/>
                </a:lnTo>
                <a:cubicBezTo>
                  <a:pt x="11042" y="1499"/>
                  <a:pt x="11031" y="1483"/>
                  <a:pt x="11021" y="1470"/>
                </a:cubicBezTo>
                <a:cubicBezTo>
                  <a:pt x="11019" y="1466"/>
                  <a:pt x="11016" y="1464"/>
                  <a:pt x="11013" y="1464"/>
                </a:cubicBezTo>
                <a:lnTo>
                  <a:pt x="10996" y="1464"/>
                </a:lnTo>
                <a:cubicBezTo>
                  <a:pt x="10993" y="1464"/>
                  <a:pt x="10990" y="1465"/>
                  <a:pt x="10988" y="1468"/>
                </a:cubicBezTo>
                <a:cubicBezTo>
                  <a:pt x="10978" y="1480"/>
                  <a:pt x="10972" y="1501"/>
                  <a:pt x="10966" y="1523"/>
                </a:cubicBezTo>
                <a:cubicBezTo>
                  <a:pt x="10957" y="1557"/>
                  <a:pt x="10951" y="1578"/>
                  <a:pt x="10932" y="1578"/>
                </a:cubicBezTo>
                <a:cubicBezTo>
                  <a:pt x="10914" y="1578"/>
                  <a:pt x="10900" y="1571"/>
                  <a:pt x="10890" y="1556"/>
                </a:cubicBezTo>
                <a:cubicBezTo>
                  <a:pt x="10893" y="1552"/>
                  <a:pt x="10895" y="1546"/>
                  <a:pt x="10896" y="1539"/>
                </a:cubicBezTo>
                <a:cubicBezTo>
                  <a:pt x="10897" y="1525"/>
                  <a:pt x="10894" y="1513"/>
                  <a:pt x="10888" y="1506"/>
                </a:cubicBezTo>
                <a:cubicBezTo>
                  <a:pt x="10848" y="1464"/>
                  <a:pt x="10831" y="1440"/>
                  <a:pt x="10836" y="1399"/>
                </a:cubicBezTo>
                <a:cubicBezTo>
                  <a:pt x="10838" y="1384"/>
                  <a:pt x="10834" y="1369"/>
                  <a:pt x="10827" y="1364"/>
                </a:cubicBezTo>
                <a:cubicBezTo>
                  <a:pt x="10826" y="1364"/>
                  <a:pt x="10824" y="1361"/>
                  <a:pt x="10823" y="1359"/>
                </a:cubicBezTo>
                <a:cubicBezTo>
                  <a:pt x="10819" y="1354"/>
                  <a:pt x="10813" y="1345"/>
                  <a:pt x="10806" y="1345"/>
                </a:cubicBezTo>
                <a:cubicBezTo>
                  <a:pt x="10801" y="1342"/>
                  <a:pt x="10791" y="1317"/>
                  <a:pt x="10784" y="1299"/>
                </a:cubicBezTo>
                <a:cubicBezTo>
                  <a:pt x="10782" y="1288"/>
                  <a:pt x="10778" y="1279"/>
                  <a:pt x="10775" y="1270"/>
                </a:cubicBezTo>
                <a:cubicBezTo>
                  <a:pt x="10791" y="1240"/>
                  <a:pt x="10817" y="1201"/>
                  <a:pt x="10826" y="1201"/>
                </a:cubicBezTo>
                <a:close/>
                <a:moveTo>
                  <a:pt x="4858" y="1210"/>
                </a:moveTo>
                <a:cubicBezTo>
                  <a:pt x="4862" y="1219"/>
                  <a:pt x="4867" y="1226"/>
                  <a:pt x="4873" y="1233"/>
                </a:cubicBezTo>
                <a:cubicBezTo>
                  <a:pt x="4870" y="1233"/>
                  <a:pt x="4867" y="1232"/>
                  <a:pt x="4865" y="1232"/>
                </a:cubicBezTo>
                <a:cubicBezTo>
                  <a:pt x="4861" y="1232"/>
                  <a:pt x="4858" y="1235"/>
                  <a:pt x="4852" y="1239"/>
                </a:cubicBezTo>
                <a:cubicBezTo>
                  <a:pt x="4852" y="1239"/>
                  <a:pt x="4852" y="1239"/>
                  <a:pt x="4852" y="1239"/>
                </a:cubicBezTo>
                <a:cubicBezTo>
                  <a:pt x="4854" y="1232"/>
                  <a:pt x="4857" y="1222"/>
                  <a:pt x="4858" y="1210"/>
                </a:cubicBezTo>
                <a:close/>
                <a:moveTo>
                  <a:pt x="7296" y="1222"/>
                </a:moveTo>
                <a:lnTo>
                  <a:pt x="7065" y="1507"/>
                </a:lnTo>
                <a:cubicBezTo>
                  <a:pt x="7059" y="1502"/>
                  <a:pt x="7054" y="1492"/>
                  <a:pt x="7046" y="1492"/>
                </a:cubicBezTo>
                <a:cubicBezTo>
                  <a:pt x="7019" y="1492"/>
                  <a:pt x="6997" y="1537"/>
                  <a:pt x="6997" y="1591"/>
                </a:cubicBezTo>
                <a:lnTo>
                  <a:pt x="6849" y="1776"/>
                </a:lnTo>
                <a:cubicBezTo>
                  <a:pt x="6841" y="1765"/>
                  <a:pt x="6833" y="1753"/>
                  <a:pt x="6823" y="1753"/>
                </a:cubicBezTo>
                <a:cubicBezTo>
                  <a:pt x="6796" y="1753"/>
                  <a:pt x="6774" y="1798"/>
                  <a:pt x="6774" y="1852"/>
                </a:cubicBezTo>
                <a:cubicBezTo>
                  <a:pt x="6774" y="1857"/>
                  <a:pt x="6776" y="1860"/>
                  <a:pt x="6776" y="1864"/>
                </a:cubicBezTo>
                <a:lnTo>
                  <a:pt x="6534" y="2164"/>
                </a:lnTo>
                <a:lnTo>
                  <a:pt x="6501" y="2205"/>
                </a:lnTo>
                <a:cubicBezTo>
                  <a:pt x="6443" y="2149"/>
                  <a:pt x="6381" y="2122"/>
                  <a:pt x="6315" y="2122"/>
                </a:cubicBezTo>
                <a:lnTo>
                  <a:pt x="6251" y="2122"/>
                </a:lnTo>
                <a:cubicBezTo>
                  <a:pt x="6250" y="2122"/>
                  <a:pt x="6249" y="2124"/>
                  <a:pt x="6248" y="2124"/>
                </a:cubicBezTo>
                <a:cubicBezTo>
                  <a:pt x="6249" y="2112"/>
                  <a:pt x="6251" y="2101"/>
                  <a:pt x="6251" y="2088"/>
                </a:cubicBezTo>
                <a:cubicBezTo>
                  <a:pt x="6251" y="2006"/>
                  <a:pt x="6218" y="1940"/>
                  <a:pt x="6178" y="1940"/>
                </a:cubicBezTo>
                <a:cubicBezTo>
                  <a:pt x="6137" y="1940"/>
                  <a:pt x="6104" y="2006"/>
                  <a:pt x="6104" y="2088"/>
                </a:cubicBezTo>
                <a:cubicBezTo>
                  <a:pt x="6104" y="2109"/>
                  <a:pt x="6106" y="2128"/>
                  <a:pt x="6110" y="2146"/>
                </a:cubicBezTo>
                <a:cubicBezTo>
                  <a:pt x="6095" y="2149"/>
                  <a:pt x="6083" y="2154"/>
                  <a:pt x="6075" y="2160"/>
                </a:cubicBezTo>
                <a:lnTo>
                  <a:pt x="6072" y="2161"/>
                </a:lnTo>
                <a:cubicBezTo>
                  <a:pt x="6068" y="2165"/>
                  <a:pt x="6064" y="2174"/>
                  <a:pt x="6063" y="2184"/>
                </a:cubicBezTo>
                <a:cubicBezTo>
                  <a:pt x="6062" y="2192"/>
                  <a:pt x="6063" y="2199"/>
                  <a:pt x="6065" y="2206"/>
                </a:cubicBezTo>
                <a:cubicBezTo>
                  <a:pt x="6030" y="2203"/>
                  <a:pt x="5984" y="2178"/>
                  <a:pt x="5958" y="2140"/>
                </a:cubicBezTo>
                <a:cubicBezTo>
                  <a:pt x="5970" y="2127"/>
                  <a:pt x="5982" y="2113"/>
                  <a:pt x="5990" y="2079"/>
                </a:cubicBezTo>
                <a:cubicBezTo>
                  <a:pt x="5991" y="2071"/>
                  <a:pt x="5991" y="2062"/>
                  <a:pt x="5990" y="2054"/>
                </a:cubicBezTo>
                <a:cubicBezTo>
                  <a:pt x="5988" y="2047"/>
                  <a:pt x="5985" y="2041"/>
                  <a:pt x="5981" y="2038"/>
                </a:cubicBezTo>
                <a:cubicBezTo>
                  <a:pt x="5969" y="2029"/>
                  <a:pt x="5957" y="2016"/>
                  <a:pt x="5946" y="2004"/>
                </a:cubicBezTo>
                <a:cubicBezTo>
                  <a:pt x="5928" y="1984"/>
                  <a:pt x="5910" y="1964"/>
                  <a:pt x="5891" y="1964"/>
                </a:cubicBezTo>
                <a:cubicBezTo>
                  <a:pt x="5869" y="1964"/>
                  <a:pt x="5859" y="1969"/>
                  <a:pt x="5851" y="1974"/>
                </a:cubicBezTo>
                <a:cubicBezTo>
                  <a:pt x="5844" y="1978"/>
                  <a:pt x="5843" y="1979"/>
                  <a:pt x="5837" y="1976"/>
                </a:cubicBezTo>
                <a:cubicBezTo>
                  <a:pt x="5848" y="1952"/>
                  <a:pt x="5870" y="1939"/>
                  <a:pt x="5880" y="1939"/>
                </a:cubicBezTo>
                <a:lnTo>
                  <a:pt x="5933" y="1939"/>
                </a:lnTo>
                <a:cubicBezTo>
                  <a:pt x="5955" y="1939"/>
                  <a:pt x="5967" y="1933"/>
                  <a:pt x="5979" y="1905"/>
                </a:cubicBezTo>
                <a:lnTo>
                  <a:pt x="6093" y="1905"/>
                </a:lnTo>
                <a:cubicBezTo>
                  <a:pt x="6096" y="1905"/>
                  <a:pt x="6099" y="1904"/>
                  <a:pt x="6101" y="1900"/>
                </a:cubicBezTo>
                <a:cubicBezTo>
                  <a:pt x="6124" y="1869"/>
                  <a:pt x="6127" y="1845"/>
                  <a:pt x="6133" y="1803"/>
                </a:cubicBezTo>
                <a:lnTo>
                  <a:pt x="6135" y="1789"/>
                </a:lnTo>
                <a:cubicBezTo>
                  <a:pt x="6136" y="1780"/>
                  <a:pt x="6135" y="1771"/>
                  <a:pt x="6132" y="1764"/>
                </a:cubicBezTo>
                <a:cubicBezTo>
                  <a:pt x="6129" y="1756"/>
                  <a:pt x="6125" y="1752"/>
                  <a:pt x="6120" y="1752"/>
                </a:cubicBezTo>
                <a:lnTo>
                  <a:pt x="6063" y="1752"/>
                </a:lnTo>
                <a:lnTo>
                  <a:pt x="6354" y="1627"/>
                </a:lnTo>
                <a:cubicBezTo>
                  <a:pt x="6371" y="1718"/>
                  <a:pt x="6414" y="1784"/>
                  <a:pt x="6465" y="1784"/>
                </a:cubicBezTo>
                <a:cubicBezTo>
                  <a:pt x="6531" y="1784"/>
                  <a:pt x="6584" y="1677"/>
                  <a:pt x="6584" y="1545"/>
                </a:cubicBezTo>
                <a:cubicBezTo>
                  <a:pt x="6584" y="1539"/>
                  <a:pt x="6582" y="1534"/>
                  <a:pt x="6582" y="1528"/>
                </a:cubicBezTo>
                <a:lnTo>
                  <a:pt x="7296" y="1222"/>
                </a:lnTo>
                <a:close/>
                <a:moveTo>
                  <a:pt x="7320" y="1265"/>
                </a:moveTo>
                <a:cubicBezTo>
                  <a:pt x="7328" y="1280"/>
                  <a:pt x="7338" y="1289"/>
                  <a:pt x="7349" y="1295"/>
                </a:cubicBezTo>
                <a:lnTo>
                  <a:pt x="7302" y="1780"/>
                </a:lnTo>
                <a:cubicBezTo>
                  <a:pt x="7293" y="1764"/>
                  <a:pt x="7282" y="1753"/>
                  <a:pt x="7270" y="1753"/>
                </a:cubicBezTo>
                <a:cubicBezTo>
                  <a:pt x="7242" y="1753"/>
                  <a:pt x="7220" y="1798"/>
                  <a:pt x="7220" y="1852"/>
                </a:cubicBezTo>
                <a:cubicBezTo>
                  <a:pt x="7220" y="1907"/>
                  <a:pt x="7242" y="1950"/>
                  <a:pt x="7270" y="1950"/>
                </a:cubicBezTo>
                <a:cubicBezTo>
                  <a:pt x="7276" y="1950"/>
                  <a:pt x="7281" y="1941"/>
                  <a:pt x="7286" y="1936"/>
                </a:cubicBezTo>
                <a:lnTo>
                  <a:pt x="7253" y="2278"/>
                </a:lnTo>
                <a:cubicBezTo>
                  <a:pt x="7252" y="2278"/>
                  <a:pt x="7252" y="2276"/>
                  <a:pt x="7251" y="2276"/>
                </a:cubicBezTo>
                <a:cubicBezTo>
                  <a:pt x="7224" y="2276"/>
                  <a:pt x="7202" y="2320"/>
                  <a:pt x="7202" y="2375"/>
                </a:cubicBezTo>
                <a:cubicBezTo>
                  <a:pt x="7202" y="2417"/>
                  <a:pt x="7217" y="2446"/>
                  <a:pt x="7235" y="2460"/>
                </a:cubicBezTo>
                <a:lnTo>
                  <a:pt x="7161" y="3219"/>
                </a:lnTo>
                <a:cubicBezTo>
                  <a:pt x="7152" y="3215"/>
                  <a:pt x="7144" y="3208"/>
                  <a:pt x="7135" y="3208"/>
                </a:cubicBezTo>
                <a:cubicBezTo>
                  <a:pt x="7091" y="3208"/>
                  <a:pt x="7054" y="3258"/>
                  <a:pt x="7034" y="3328"/>
                </a:cubicBezTo>
                <a:cubicBezTo>
                  <a:pt x="6996" y="3296"/>
                  <a:pt x="6956" y="3263"/>
                  <a:pt x="6956" y="3263"/>
                </a:cubicBezTo>
                <a:cubicBezTo>
                  <a:pt x="6937" y="3219"/>
                  <a:pt x="6913" y="3176"/>
                  <a:pt x="6877" y="3176"/>
                </a:cubicBezTo>
                <a:cubicBezTo>
                  <a:pt x="6872" y="3176"/>
                  <a:pt x="6867" y="3179"/>
                  <a:pt x="6863" y="3184"/>
                </a:cubicBezTo>
                <a:lnTo>
                  <a:pt x="6803" y="3132"/>
                </a:lnTo>
                <a:cubicBezTo>
                  <a:pt x="6815" y="3110"/>
                  <a:pt x="6828" y="3080"/>
                  <a:pt x="6828" y="3023"/>
                </a:cubicBezTo>
                <a:cubicBezTo>
                  <a:pt x="6828" y="2949"/>
                  <a:pt x="6797" y="2930"/>
                  <a:pt x="6775" y="2924"/>
                </a:cubicBezTo>
                <a:lnTo>
                  <a:pt x="6775" y="2888"/>
                </a:lnTo>
                <a:cubicBezTo>
                  <a:pt x="6775" y="2884"/>
                  <a:pt x="6775" y="2881"/>
                  <a:pt x="6775" y="2878"/>
                </a:cubicBezTo>
                <a:cubicBezTo>
                  <a:pt x="6729" y="2595"/>
                  <a:pt x="6641" y="2364"/>
                  <a:pt x="6532" y="2237"/>
                </a:cubicBezTo>
                <a:lnTo>
                  <a:pt x="6788" y="1921"/>
                </a:lnTo>
                <a:cubicBezTo>
                  <a:pt x="6797" y="1940"/>
                  <a:pt x="6809" y="1950"/>
                  <a:pt x="6823" y="1950"/>
                </a:cubicBezTo>
                <a:cubicBezTo>
                  <a:pt x="6850" y="1950"/>
                  <a:pt x="6872" y="1907"/>
                  <a:pt x="6872" y="1852"/>
                </a:cubicBezTo>
                <a:cubicBezTo>
                  <a:pt x="6872" y="1842"/>
                  <a:pt x="6868" y="1834"/>
                  <a:pt x="6866" y="1824"/>
                </a:cubicBezTo>
                <a:lnTo>
                  <a:pt x="7009" y="1648"/>
                </a:lnTo>
                <a:cubicBezTo>
                  <a:pt x="7018" y="1672"/>
                  <a:pt x="7030" y="1689"/>
                  <a:pt x="7046" y="1689"/>
                </a:cubicBezTo>
                <a:cubicBezTo>
                  <a:pt x="7073" y="1689"/>
                  <a:pt x="7095" y="1646"/>
                  <a:pt x="7095" y="1591"/>
                </a:cubicBezTo>
                <a:cubicBezTo>
                  <a:pt x="7095" y="1576"/>
                  <a:pt x="7090" y="1565"/>
                  <a:pt x="7087" y="1552"/>
                </a:cubicBezTo>
                <a:lnTo>
                  <a:pt x="7320" y="1265"/>
                </a:lnTo>
                <a:close/>
                <a:moveTo>
                  <a:pt x="11474" y="1267"/>
                </a:moveTo>
                <a:cubicBezTo>
                  <a:pt x="11482" y="1291"/>
                  <a:pt x="11490" y="1316"/>
                  <a:pt x="11497" y="1338"/>
                </a:cubicBezTo>
                <a:cubicBezTo>
                  <a:pt x="11483" y="1330"/>
                  <a:pt x="11475" y="1314"/>
                  <a:pt x="11469" y="1294"/>
                </a:cubicBezTo>
                <a:cubicBezTo>
                  <a:pt x="11471" y="1286"/>
                  <a:pt x="11473" y="1277"/>
                  <a:pt x="11474" y="1267"/>
                </a:cubicBezTo>
                <a:close/>
                <a:moveTo>
                  <a:pt x="5260" y="1268"/>
                </a:moveTo>
                <a:cubicBezTo>
                  <a:pt x="5233" y="1268"/>
                  <a:pt x="5211" y="1313"/>
                  <a:pt x="5211" y="1367"/>
                </a:cubicBezTo>
                <a:cubicBezTo>
                  <a:pt x="5211" y="1422"/>
                  <a:pt x="5233" y="1465"/>
                  <a:pt x="5260" y="1465"/>
                </a:cubicBezTo>
                <a:cubicBezTo>
                  <a:pt x="5287" y="1465"/>
                  <a:pt x="5309" y="1422"/>
                  <a:pt x="5309" y="1367"/>
                </a:cubicBezTo>
                <a:cubicBezTo>
                  <a:pt x="5309" y="1313"/>
                  <a:pt x="5287" y="1268"/>
                  <a:pt x="5260" y="1268"/>
                </a:cubicBezTo>
                <a:close/>
                <a:moveTo>
                  <a:pt x="7391" y="1294"/>
                </a:moveTo>
                <a:lnTo>
                  <a:pt x="7482" y="1741"/>
                </a:lnTo>
                <a:cubicBezTo>
                  <a:pt x="7482" y="1745"/>
                  <a:pt x="7481" y="1748"/>
                  <a:pt x="7481" y="1752"/>
                </a:cubicBezTo>
                <a:cubicBezTo>
                  <a:pt x="7481" y="1797"/>
                  <a:pt x="7491" y="1837"/>
                  <a:pt x="7507" y="1864"/>
                </a:cubicBezTo>
                <a:lnTo>
                  <a:pt x="7790" y="3246"/>
                </a:lnTo>
                <a:cubicBezTo>
                  <a:pt x="7763" y="3246"/>
                  <a:pt x="7741" y="3291"/>
                  <a:pt x="7741" y="3345"/>
                </a:cubicBezTo>
                <a:cubicBezTo>
                  <a:pt x="7741" y="3399"/>
                  <a:pt x="7763" y="3443"/>
                  <a:pt x="7791" y="3443"/>
                </a:cubicBezTo>
                <a:cubicBezTo>
                  <a:pt x="7804" y="3443"/>
                  <a:pt x="7816" y="3432"/>
                  <a:pt x="7825" y="3415"/>
                </a:cubicBezTo>
                <a:lnTo>
                  <a:pt x="7929" y="3924"/>
                </a:lnTo>
                <a:cubicBezTo>
                  <a:pt x="7926" y="3923"/>
                  <a:pt x="7924" y="3917"/>
                  <a:pt x="7921" y="3917"/>
                </a:cubicBezTo>
                <a:cubicBezTo>
                  <a:pt x="7899" y="3917"/>
                  <a:pt x="7884" y="3949"/>
                  <a:pt x="7877" y="3988"/>
                </a:cubicBezTo>
                <a:lnTo>
                  <a:pt x="7558" y="3743"/>
                </a:lnTo>
                <a:cubicBezTo>
                  <a:pt x="7555" y="3695"/>
                  <a:pt x="7536" y="3656"/>
                  <a:pt x="7512" y="3656"/>
                </a:cubicBezTo>
                <a:cubicBezTo>
                  <a:pt x="7499" y="3656"/>
                  <a:pt x="7488" y="3667"/>
                  <a:pt x="7479" y="3683"/>
                </a:cubicBezTo>
                <a:lnTo>
                  <a:pt x="7385" y="3610"/>
                </a:lnTo>
                <a:lnTo>
                  <a:pt x="7248" y="3504"/>
                </a:lnTo>
                <a:cubicBezTo>
                  <a:pt x="7250" y="3486"/>
                  <a:pt x="7254" y="3467"/>
                  <a:pt x="7254" y="3447"/>
                </a:cubicBezTo>
                <a:cubicBezTo>
                  <a:pt x="7254" y="3356"/>
                  <a:pt x="7228" y="3279"/>
                  <a:pt x="7190" y="3239"/>
                </a:cubicBezTo>
                <a:cubicBezTo>
                  <a:pt x="7203" y="3106"/>
                  <a:pt x="7228" y="2846"/>
                  <a:pt x="7266" y="2461"/>
                </a:cubicBezTo>
                <a:cubicBezTo>
                  <a:pt x="7285" y="2447"/>
                  <a:pt x="7300" y="2417"/>
                  <a:pt x="7300" y="2375"/>
                </a:cubicBezTo>
                <a:cubicBezTo>
                  <a:pt x="7300" y="2344"/>
                  <a:pt x="7292" y="2319"/>
                  <a:pt x="7281" y="2301"/>
                </a:cubicBezTo>
                <a:cubicBezTo>
                  <a:pt x="7330" y="1801"/>
                  <a:pt x="7377" y="1333"/>
                  <a:pt x="7380" y="1299"/>
                </a:cubicBezTo>
                <a:cubicBezTo>
                  <a:pt x="7384" y="1298"/>
                  <a:pt x="7387" y="1296"/>
                  <a:pt x="7391" y="1294"/>
                </a:cubicBezTo>
                <a:close/>
                <a:moveTo>
                  <a:pt x="16283" y="1308"/>
                </a:moveTo>
                <a:lnTo>
                  <a:pt x="16296" y="1308"/>
                </a:lnTo>
                <a:cubicBezTo>
                  <a:pt x="16297" y="1316"/>
                  <a:pt x="16297" y="1323"/>
                  <a:pt x="16298" y="1328"/>
                </a:cubicBezTo>
                <a:cubicBezTo>
                  <a:pt x="16298" y="1332"/>
                  <a:pt x="16299" y="1337"/>
                  <a:pt x="16299" y="1337"/>
                </a:cubicBezTo>
                <a:cubicBezTo>
                  <a:pt x="16299" y="1338"/>
                  <a:pt x="16298" y="1341"/>
                  <a:pt x="16294" y="1350"/>
                </a:cubicBezTo>
                <a:cubicBezTo>
                  <a:pt x="16289" y="1360"/>
                  <a:pt x="16288" y="1374"/>
                  <a:pt x="16291" y="1386"/>
                </a:cubicBezTo>
                <a:cubicBezTo>
                  <a:pt x="16294" y="1398"/>
                  <a:pt x="16302" y="1404"/>
                  <a:pt x="16308" y="1400"/>
                </a:cubicBezTo>
                <a:cubicBezTo>
                  <a:pt x="16318" y="1395"/>
                  <a:pt x="16325" y="1383"/>
                  <a:pt x="16331" y="1373"/>
                </a:cubicBezTo>
                <a:cubicBezTo>
                  <a:pt x="16336" y="1366"/>
                  <a:pt x="16340" y="1359"/>
                  <a:pt x="16343" y="1359"/>
                </a:cubicBezTo>
                <a:cubicBezTo>
                  <a:pt x="16359" y="1359"/>
                  <a:pt x="16391" y="1400"/>
                  <a:pt x="16415" y="1441"/>
                </a:cubicBezTo>
                <a:cubicBezTo>
                  <a:pt x="16403" y="1459"/>
                  <a:pt x="16394" y="1484"/>
                  <a:pt x="16394" y="1517"/>
                </a:cubicBezTo>
                <a:cubicBezTo>
                  <a:pt x="16394" y="1533"/>
                  <a:pt x="16399" y="1546"/>
                  <a:pt x="16403" y="1560"/>
                </a:cubicBezTo>
                <a:cubicBezTo>
                  <a:pt x="16384" y="1571"/>
                  <a:pt x="16361" y="1578"/>
                  <a:pt x="16338" y="1578"/>
                </a:cubicBezTo>
                <a:cubicBezTo>
                  <a:pt x="16328" y="1578"/>
                  <a:pt x="16319" y="1578"/>
                  <a:pt x="16313" y="1576"/>
                </a:cubicBezTo>
                <a:cubicBezTo>
                  <a:pt x="16312" y="1576"/>
                  <a:pt x="16312" y="1575"/>
                  <a:pt x="16311" y="1575"/>
                </a:cubicBezTo>
                <a:cubicBezTo>
                  <a:pt x="16302" y="1575"/>
                  <a:pt x="16250" y="1592"/>
                  <a:pt x="16232" y="1598"/>
                </a:cubicBezTo>
                <a:lnTo>
                  <a:pt x="16122" y="1660"/>
                </a:lnTo>
                <a:cubicBezTo>
                  <a:pt x="16108" y="1660"/>
                  <a:pt x="16107" y="1654"/>
                  <a:pt x="16107" y="1626"/>
                </a:cubicBezTo>
                <a:cubicBezTo>
                  <a:pt x="16107" y="1596"/>
                  <a:pt x="16113" y="1590"/>
                  <a:pt x="16124" y="1577"/>
                </a:cubicBezTo>
                <a:cubicBezTo>
                  <a:pt x="16129" y="1571"/>
                  <a:pt x="16136" y="1564"/>
                  <a:pt x="16141" y="1554"/>
                </a:cubicBezTo>
                <a:cubicBezTo>
                  <a:pt x="16156" y="1523"/>
                  <a:pt x="16169" y="1488"/>
                  <a:pt x="16180" y="1454"/>
                </a:cubicBezTo>
                <a:cubicBezTo>
                  <a:pt x="16208" y="1376"/>
                  <a:pt x="16231" y="1308"/>
                  <a:pt x="16283" y="1308"/>
                </a:cubicBezTo>
                <a:close/>
                <a:moveTo>
                  <a:pt x="3786" y="1323"/>
                </a:moveTo>
                <a:cubicBezTo>
                  <a:pt x="3769" y="1323"/>
                  <a:pt x="3755" y="1332"/>
                  <a:pt x="3742" y="1342"/>
                </a:cubicBezTo>
                <a:cubicBezTo>
                  <a:pt x="3733" y="1348"/>
                  <a:pt x="3725" y="1354"/>
                  <a:pt x="3715" y="1357"/>
                </a:cubicBezTo>
                <a:cubicBezTo>
                  <a:pt x="3708" y="1359"/>
                  <a:pt x="3703" y="1371"/>
                  <a:pt x="3703" y="1386"/>
                </a:cubicBezTo>
                <a:cubicBezTo>
                  <a:pt x="3703" y="1402"/>
                  <a:pt x="3706" y="1413"/>
                  <a:pt x="3707" y="1425"/>
                </a:cubicBezTo>
                <a:cubicBezTo>
                  <a:pt x="3685" y="1433"/>
                  <a:pt x="3666" y="1469"/>
                  <a:pt x="3666" y="1517"/>
                </a:cubicBezTo>
                <a:cubicBezTo>
                  <a:pt x="3666" y="1571"/>
                  <a:pt x="3688" y="1615"/>
                  <a:pt x="3715" y="1615"/>
                </a:cubicBezTo>
                <a:cubicBezTo>
                  <a:pt x="3725" y="1615"/>
                  <a:pt x="3732" y="1604"/>
                  <a:pt x="3739" y="1595"/>
                </a:cubicBezTo>
                <a:cubicBezTo>
                  <a:pt x="3739" y="1602"/>
                  <a:pt x="3736" y="1610"/>
                  <a:pt x="3739" y="1616"/>
                </a:cubicBezTo>
                <a:cubicBezTo>
                  <a:pt x="3758" y="1653"/>
                  <a:pt x="3770" y="1659"/>
                  <a:pt x="3793" y="1659"/>
                </a:cubicBezTo>
                <a:lnTo>
                  <a:pt x="3807" y="1659"/>
                </a:lnTo>
                <a:cubicBezTo>
                  <a:pt x="3816" y="1659"/>
                  <a:pt x="3826" y="1657"/>
                  <a:pt x="3834" y="1655"/>
                </a:cubicBezTo>
                <a:cubicBezTo>
                  <a:pt x="3841" y="1654"/>
                  <a:pt x="3847" y="1653"/>
                  <a:pt x="3852" y="1653"/>
                </a:cubicBezTo>
                <a:cubicBezTo>
                  <a:pt x="3862" y="1653"/>
                  <a:pt x="3863" y="1657"/>
                  <a:pt x="3864" y="1660"/>
                </a:cubicBezTo>
                <a:cubicBezTo>
                  <a:pt x="3867" y="1671"/>
                  <a:pt x="3873" y="1677"/>
                  <a:pt x="3879" y="1675"/>
                </a:cubicBezTo>
                <a:cubicBezTo>
                  <a:pt x="3898" y="1671"/>
                  <a:pt x="3913" y="1676"/>
                  <a:pt x="3930" y="1682"/>
                </a:cubicBezTo>
                <a:cubicBezTo>
                  <a:pt x="3932" y="1683"/>
                  <a:pt x="3934" y="1684"/>
                  <a:pt x="3936" y="1685"/>
                </a:cubicBezTo>
                <a:cubicBezTo>
                  <a:pt x="3934" y="1684"/>
                  <a:pt x="3933" y="1683"/>
                  <a:pt x="3930" y="1683"/>
                </a:cubicBezTo>
                <a:cubicBezTo>
                  <a:pt x="3918" y="1683"/>
                  <a:pt x="3882" y="1727"/>
                  <a:pt x="3882" y="1766"/>
                </a:cubicBezTo>
                <a:cubicBezTo>
                  <a:pt x="3882" y="1782"/>
                  <a:pt x="3886" y="1794"/>
                  <a:pt x="3893" y="1801"/>
                </a:cubicBezTo>
                <a:cubicBezTo>
                  <a:pt x="3898" y="1805"/>
                  <a:pt x="3904" y="1807"/>
                  <a:pt x="3911" y="1807"/>
                </a:cubicBezTo>
                <a:cubicBezTo>
                  <a:pt x="3946" y="1807"/>
                  <a:pt x="3976" y="1807"/>
                  <a:pt x="3991" y="1765"/>
                </a:cubicBezTo>
                <a:cubicBezTo>
                  <a:pt x="3993" y="1760"/>
                  <a:pt x="3992" y="1754"/>
                  <a:pt x="3992" y="1748"/>
                </a:cubicBezTo>
                <a:cubicBezTo>
                  <a:pt x="3999" y="1754"/>
                  <a:pt x="4005" y="1764"/>
                  <a:pt x="4013" y="1764"/>
                </a:cubicBezTo>
                <a:cubicBezTo>
                  <a:pt x="4017" y="1764"/>
                  <a:pt x="4019" y="1757"/>
                  <a:pt x="4023" y="1756"/>
                </a:cubicBezTo>
                <a:cubicBezTo>
                  <a:pt x="4034" y="1778"/>
                  <a:pt x="4047" y="1799"/>
                  <a:pt x="4072" y="1799"/>
                </a:cubicBezTo>
                <a:cubicBezTo>
                  <a:pt x="4104" y="1799"/>
                  <a:pt x="4125" y="1766"/>
                  <a:pt x="4125" y="1714"/>
                </a:cubicBezTo>
                <a:cubicBezTo>
                  <a:pt x="4125" y="1666"/>
                  <a:pt x="4102" y="1636"/>
                  <a:pt x="4082" y="1609"/>
                </a:cubicBezTo>
                <a:cubicBezTo>
                  <a:pt x="4078" y="1604"/>
                  <a:pt x="4075" y="1599"/>
                  <a:pt x="4072" y="1595"/>
                </a:cubicBezTo>
                <a:cubicBezTo>
                  <a:pt x="4075" y="1587"/>
                  <a:pt x="4078" y="1580"/>
                  <a:pt x="4080" y="1574"/>
                </a:cubicBezTo>
                <a:cubicBezTo>
                  <a:pt x="4084" y="1562"/>
                  <a:pt x="4083" y="1546"/>
                  <a:pt x="4078" y="1535"/>
                </a:cubicBezTo>
                <a:cubicBezTo>
                  <a:pt x="4076" y="1532"/>
                  <a:pt x="4074" y="1526"/>
                  <a:pt x="4071" y="1519"/>
                </a:cubicBezTo>
                <a:cubicBezTo>
                  <a:pt x="4058" y="1485"/>
                  <a:pt x="4035" y="1429"/>
                  <a:pt x="4004" y="1429"/>
                </a:cubicBezTo>
                <a:cubicBezTo>
                  <a:pt x="3992" y="1429"/>
                  <a:pt x="3984" y="1443"/>
                  <a:pt x="3978" y="1454"/>
                </a:cubicBezTo>
                <a:cubicBezTo>
                  <a:pt x="3976" y="1457"/>
                  <a:pt x="3974" y="1462"/>
                  <a:pt x="3973" y="1463"/>
                </a:cubicBezTo>
                <a:cubicBezTo>
                  <a:pt x="3971" y="1461"/>
                  <a:pt x="3966" y="1448"/>
                  <a:pt x="3964" y="1440"/>
                </a:cubicBezTo>
                <a:cubicBezTo>
                  <a:pt x="3955" y="1410"/>
                  <a:pt x="3941" y="1365"/>
                  <a:pt x="3909" y="1365"/>
                </a:cubicBezTo>
                <a:cubicBezTo>
                  <a:pt x="3896" y="1365"/>
                  <a:pt x="3887" y="1377"/>
                  <a:pt x="3879" y="1387"/>
                </a:cubicBezTo>
                <a:cubicBezTo>
                  <a:pt x="3866" y="1406"/>
                  <a:pt x="3862" y="1400"/>
                  <a:pt x="3847" y="1376"/>
                </a:cubicBezTo>
                <a:cubicBezTo>
                  <a:pt x="3834" y="1353"/>
                  <a:pt x="3817" y="1323"/>
                  <a:pt x="3786" y="1323"/>
                </a:cubicBezTo>
                <a:close/>
                <a:moveTo>
                  <a:pt x="4984" y="1340"/>
                </a:moveTo>
                <a:cubicBezTo>
                  <a:pt x="4990" y="1352"/>
                  <a:pt x="4994" y="1365"/>
                  <a:pt x="4994" y="1381"/>
                </a:cubicBezTo>
                <a:cubicBezTo>
                  <a:pt x="4994" y="1433"/>
                  <a:pt x="4981" y="1440"/>
                  <a:pt x="4940" y="1449"/>
                </a:cubicBezTo>
                <a:cubicBezTo>
                  <a:pt x="4924" y="1453"/>
                  <a:pt x="4905" y="1456"/>
                  <a:pt x="4888" y="1468"/>
                </a:cubicBezTo>
                <a:cubicBezTo>
                  <a:pt x="4898" y="1450"/>
                  <a:pt x="4909" y="1435"/>
                  <a:pt x="4920" y="1433"/>
                </a:cubicBezTo>
                <a:cubicBezTo>
                  <a:pt x="4924" y="1432"/>
                  <a:pt x="4929" y="1432"/>
                  <a:pt x="4933" y="1432"/>
                </a:cubicBezTo>
                <a:cubicBezTo>
                  <a:pt x="4949" y="1431"/>
                  <a:pt x="4969" y="1429"/>
                  <a:pt x="4978" y="1399"/>
                </a:cubicBezTo>
                <a:cubicBezTo>
                  <a:pt x="4986" y="1378"/>
                  <a:pt x="4985" y="1358"/>
                  <a:pt x="4984" y="1340"/>
                </a:cubicBezTo>
                <a:close/>
                <a:moveTo>
                  <a:pt x="5023" y="1360"/>
                </a:moveTo>
                <a:lnTo>
                  <a:pt x="5338" y="1899"/>
                </a:lnTo>
                <a:cubicBezTo>
                  <a:pt x="5329" y="1912"/>
                  <a:pt x="5319" y="1933"/>
                  <a:pt x="5315" y="1967"/>
                </a:cubicBezTo>
                <a:lnTo>
                  <a:pt x="4866" y="1945"/>
                </a:lnTo>
                <a:cubicBezTo>
                  <a:pt x="4869" y="1939"/>
                  <a:pt x="4871" y="1930"/>
                  <a:pt x="4872" y="1921"/>
                </a:cubicBezTo>
                <a:cubicBezTo>
                  <a:pt x="4872" y="1912"/>
                  <a:pt x="4869" y="1902"/>
                  <a:pt x="4865" y="1897"/>
                </a:cubicBezTo>
                <a:cubicBezTo>
                  <a:pt x="4857" y="1884"/>
                  <a:pt x="4847" y="1875"/>
                  <a:pt x="4837" y="1865"/>
                </a:cubicBezTo>
                <a:cubicBezTo>
                  <a:pt x="4815" y="1843"/>
                  <a:pt x="4801" y="1828"/>
                  <a:pt x="4801" y="1794"/>
                </a:cubicBezTo>
                <a:cubicBezTo>
                  <a:pt x="4801" y="1783"/>
                  <a:pt x="4801" y="1779"/>
                  <a:pt x="4814" y="1779"/>
                </a:cubicBezTo>
                <a:cubicBezTo>
                  <a:pt x="4818" y="1779"/>
                  <a:pt x="4822" y="1780"/>
                  <a:pt x="4826" y="1780"/>
                </a:cubicBezTo>
                <a:cubicBezTo>
                  <a:pt x="4831" y="1781"/>
                  <a:pt x="4835" y="1781"/>
                  <a:pt x="4840" y="1781"/>
                </a:cubicBezTo>
                <a:cubicBezTo>
                  <a:pt x="4851" y="1781"/>
                  <a:pt x="4859" y="1788"/>
                  <a:pt x="4868" y="1792"/>
                </a:cubicBezTo>
                <a:cubicBezTo>
                  <a:pt x="4877" y="1818"/>
                  <a:pt x="4889" y="1838"/>
                  <a:pt x="4906" y="1838"/>
                </a:cubicBezTo>
                <a:cubicBezTo>
                  <a:pt x="4910" y="1838"/>
                  <a:pt x="4912" y="1833"/>
                  <a:pt x="4915" y="1831"/>
                </a:cubicBezTo>
                <a:cubicBezTo>
                  <a:pt x="4921" y="1839"/>
                  <a:pt x="4926" y="1844"/>
                  <a:pt x="4932" y="1852"/>
                </a:cubicBezTo>
                <a:cubicBezTo>
                  <a:pt x="4942" y="1867"/>
                  <a:pt x="4952" y="1882"/>
                  <a:pt x="4963" y="1896"/>
                </a:cubicBezTo>
                <a:cubicBezTo>
                  <a:pt x="4966" y="1898"/>
                  <a:pt x="4968" y="1900"/>
                  <a:pt x="4971" y="1900"/>
                </a:cubicBezTo>
                <a:lnTo>
                  <a:pt x="5009" y="1900"/>
                </a:lnTo>
                <a:cubicBezTo>
                  <a:pt x="5015" y="1900"/>
                  <a:pt x="5020" y="1893"/>
                  <a:pt x="5023" y="1882"/>
                </a:cubicBezTo>
                <a:cubicBezTo>
                  <a:pt x="5025" y="1870"/>
                  <a:pt x="5023" y="1858"/>
                  <a:pt x="5019" y="1849"/>
                </a:cubicBezTo>
                <a:cubicBezTo>
                  <a:pt x="5010" y="1830"/>
                  <a:pt x="4998" y="1812"/>
                  <a:pt x="4985" y="1794"/>
                </a:cubicBezTo>
                <a:cubicBezTo>
                  <a:pt x="4974" y="1778"/>
                  <a:pt x="4964" y="1762"/>
                  <a:pt x="4954" y="1745"/>
                </a:cubicBezTo>
                <a:cubicBezTo>
                  <a:pt x="4954" y="1743"/>
                  <a:pt x="4955" y="1742"/>
                  <a:pt x="4955" y="1741"/>
                </a:cubicBezTo>
                <a:cubicBezTo>
                  <a:pt x="4955" y="1704"/>
                  <a:pt x="4944" y="1678"/>
                  <a:pt x="4929" y="1661"/>
                </a:cubicBezTo>
                <a:cubicBezTo>
                  <a:pt x="4929" y="1660"/>
                  <a:pt x="4928" y="1659"/>
                  <a:pt x="4928" y="1658"/>
                </a:cubicBezTo>
                <a:cubicBezTo>
                  <a:pt x="4928" y="1641"/>
                  <a:pt x="4922" y="1627"/>
                  <a:pt x="4913" y="1627"/>
                </a:cubicBezTo>
                <a:lnTo>
                  <a:pt x="4882" y="1627"/>
                </a:lnTo>
                <a:cubicBezTo>
                  <a:pt x="4880" y="1627"/>
                  <a:pt x="4877" y="1629"/>
                  <a:pt x="4875" y="1631"/>
                </a:cubicBezTo>
                <a:cubicBezTo>
                  <a:pt x="4863" y="1643"/>
                  <a:pt x="4861" y="1646"/>
                  <a:pt x="4855" y="1658"/>
                </a:cubicBezTo>
                <a:lnTo>
                  <a:pt x="4844" y="1658"/>
                </a:lnTo>
                <a:lnTo>
                  <a:pt x="4844" y="1644"/>
                </a:lnTo>
                <a:cubicBezTo>
                  <a:pt x="4860" y="1577"/>
                  <a:pt x="4872" y="1541"/>
                  <a:pt x="4897" y="1525"/>
                </a:cubicBezTo>
                <a:cubicBezTo>
                  <a:pt x="4912" y="1515"/>
                  <a:pt x="4928" y="1512"/>
                  <a:pt x="4943" y="1509"/>
                </a:cubicBezTo>
                <a:cubicBezTo>
                  <a:pt x="4979" y="1501"/>
                  <a:pt x="5024" y="1491"/>
                  <a:pt x="5024" y="1381"/>
                </a:cubicBezTo>
                <a:cubicBezTo>
                  <a:pt x="5024" y="1374"/>
                  <a:pt x="5024" y="1367"/>
                  <a:pt x="5023" y="1360"/>
                </a:cubicBezTo>
                <a:close/>
                <a:moveTo>
                  <a:pt x="3786" y="1383"/>
                </a:moveTo>
                <a:cubicBezTo>
                  <a:pt x="3806" y="1383"/>
                  <a:pt x="3817" y="1401"/>
                  <a:pt x="3828" y="1421"/>
                </a:cubicBezTo>
                <a:cubicBezTo>
                  <a:pt x="3839" y="1439"/>
                  <a:pt x="3850" y="1460"/>
                  <a:pt x="3867" y="1460"/>
                </a:cubicBezTo>
                <a:cubicBezTo>
                  <a:pt x="3880" y="1460"/>
                  <a:pt x="3888" y="1446"/>
                  <a:pt x="3896" y="1436"/>
                </a:cubicBezTo>
                <a:cubicBezTo>
                  <a:pt x="3901" y="1429"/>
                  <a:pt x="3905" y="1425"/>
                  <a:pt x="3909" y="1425"/>
                </a:cubicBezTo>
                <a:cubicBezTo>
                  <a:pt x="3924" y="1425"/>
                  <a:pt x="3930" y="1441"/>
                  <a:pt x="3938" y="1470"/>
                </a:cubicBezTo>
                <a:cubicBezTo>
                  <a:pt x="3945" y="1493"/>
                  <a:pt x="3954" y="1523"/>
                  <a:pt x="3973" y="1523"/>
                </a:cubicBezTo>
                <a:cubicBezTo>
                  <a:pt x="3985" y="1523"/>
                  <a:pt x="3992" y="1508"/>
                  <a:pt x="3998" y="1498"/>
                </a:cubicBezTo>
                <a:cubicBezTo>
                  <a:pt x="4000" y="1495"/>
                  <a:pt x="4003" y="1489"/>
                  <a:pt x="4004" y="1489"/>
                </a:cubicBezTo>
                <a:cubicBezTo>
                  <a:pt x="4020" y="1489"/>
                  <a:pt x="4038" y="1531"/>
                  <a:pt x="4048" y="1556"/>
                </a:cubicBezTo>
                <a:cubicBezTo>
                  <a:pt x="4048" y="1556"/>
                  <a:pt x="4048" y="1557"/>
                  <a:pt x="4048" y="1558"/>
                </a:cubicBezTo>
                <a:cubicBezTo>
                  <a:pt x="4044" y="1566"/>
                  <a:pt x="4041" y="1576"/>
                  <a:pt x="4038" y="1583"/>
                </a:cubicBezTo>
                <a:cubicBezTo>
                  <a:pt x="4038" y="1585"/>
                  <a:pt x="4039" y="1586"/>
                  <a:pt x="4039" y="1588"/>
                </a:cubicBezTo>
                <a:cubicBezTo>
                  <a:pt x="4031" y="1577"/>
                  <a:pt x="4023" y="1567"/>
                  <a:pt x="4013" y="1567"/>
                </a:cubicBezTo>
                <a:cubicBezTo>
                  <a:pt x="3993" y="1567"/>
                  <a:pt x="3978" y="1596"/>
                  <a:pt x="3971" y="1632"/>
                </a:cubicBezTo>
                <a:cubicBezTo>
                  <a:pt x="3958" y="1631"/>
                  <a:pt x="3947" y="1628"/>
                  <a:pt x="3935" y="1624"/>
                </a:cubicBezTo>
                <a:cubicBezTo>
                  <a:pt x="3922" y="1619"/>
                  <a:pt x="3908" y="1615"/>
                  <a:pt x="3893" y="1615"/>
                </a:cubicBezTo>
                <a:cubicBezTo>
                  <a:pt x="3890" y="1615"/>
                  <a:pt x="3887" y="1614"/>
                  <a:pt x="3884" y="1615"/>
                </a:cubicBezTo>
                <a:cubicBezTo>
                  <a:pt x="3873" y="1593"/>
                  <a:pt x="3858" y="1592"/>
                  <a:pt x="3852" y="1592"/>
                </a:cubicBezTo>
                <a:cubicBezTo>
                  <a:pt x="3846" y="1592"/>
                  <a:pt x="3839" y="1594"/>
                  <a:pt x="3831" y="1596"/>
                </a:cubicBezTo>
                <a:cubicBezTo>
                  <a:pt x="3823" y="1598"/>
                  <a:pt x="3815" y="1599"/>
                  <a:pt x="3807" y="1599"/>
                </a:cubicBezTo>
                <a:lnTo>
                  <a:pt x="3793" y="1599"/>
                </a:lnTo>
                <a:cubicBezTo>
                  <a:pt x="3785" y="1599"/>
                  <a:pt x="3780" y="1599"/>
                  <a:pt x="3775" y="1596"/>
                </a:cubicBezTo>
                <a:cubicBezTo>
                  <a:pt x="3781" y="1591"/>
                  <a:pt x="3787" y="1588"/>
                  <a:pt x="3795" y="1584"/>
                </a:cubicBezTo>
                <a:cubicBezTo>
                  <a:pt x="3802" y="1581"/>
                  <a:pt x="3810" y="1578"/>
                  <a:pt x="3818" y="1573"/>
                </a:cubicBezTo>
                <a:cubicBezTo>
                  <a:pt x="3822" y="1570"/>
                  <a:pt x="3826" y="1562"/>
                  <a:pt x="3827" y="1554"/>
                </a:cubicBezTo>
                <a:cubicBezTo>
                  <a:pt x="3829" y="1546"/>
                  <a:pt x="3828" y="1535"/>
                  <a:pt x="3826" y="1527"/>
                </a:cubicBezTo>
                <a:cubicBezTo>
                  <a:pt x="3825" y="1523"/>
                  <a:pt x="3825" y="1512"/>
                  <a:pt x="3826" y="1509"/>
                </a:cubicBezTo>
                <a:cubicBezTo>
                  <a:pt x="3829" y="1499"/>
                  <a:pt x="3829" y="1488"/>
                  <a:pt x="3827" y="1478"/>
                </a:cubicBezTo>
                <a:cubicBezTo>
                  <a:pt x="3824" y="1469"/>
                  <a:pt x="3819" y="1463"/>
                  <a:pt x="3813" y="1463"/>
                </a:cubicBezTo>
                <a:cubicBezTo>
                  <a:pt x="3793" y="1463"/>
                  <a:pt x="3779" y="1468"/>
                  <a:pt x="3768" y="1471"/>
                </a:cubicBezTo>
                <a:cubicBezTo>
                  <a:pt x="3768" y="1472"/>
                  <a:pt x="3767" y="1471"/>
                  <a:pt x="3766" y="1471"/>
                </a:cubicBezTo>
                <a:cubicBezTo>
                  <a:pt x="3767" y="1467"/>
                  <a:pt x="3768" y="1462"/>
                  <a:pt x="3768" y="1457"/>
                </a:cubicBezTo>
                <a:cubicBezTo>
                  <a:pt x="3770" y="1448"/>
                  <a:pt x="3768" y="1439"/>
                  <a:pt x="3765" y="1432"/>
                </a:cubicBezTo>
                <a:cubicBezTo>
                  <a:pt x="3763" y="1424"/>
                  <a:pt x="3758" y="1420"/>
                  <a:pt x="3754" y="1420"/>
                </a:cubicBezTo>
                <a:cubicBezTo>
                  <a:pt x="3740" y="1420"/>
                  <a:pt x="3735" y="1421"/>
                  <a:pt x="3734" y="1411"/>
                </a:cubicBezTo>
                <a:cubicBezTo>
                  <a:pt x="3740" y="1407"/>
                  <a:pt x="3746" y="1402"/>
                  <a:pt x="3752" y="1398"/>
                </a:cubicBezTo>
                <a:cubicBezTo>
                  <a:pt x="3764" y="1389"/>
                  <a:pt x="3774" y="1383"/>
                  <a:pt x="3786" y="1383"/>
                </a:cubicBezTo>
                <a:close/>
                <a:moveTo>
                  <a:pt x="10787" y="1388"/>
                </a:moveTo>
                <a:cubicBezTo>
                  <a:pt x="10792" y="1396"/>
                  <a:pt x="10798" y="1405"/>
                  <a:pt x="10803" y="1405"/>
                </a:cubicBezTo>
                <a:cubicBezTo>
                  <a:pt x="10804" y="1405"/>
                  <a:pt x="10804" y="1406"/>
                  <a:pt x="10805" y="1407"/>
                </a:cubicBezTo>
                <a:cubicBezTo>
                  <a:pt x="10803" y="1465"/>
                  <a:pt x="10825" y="1502"/>
                  <a:pt x="10850" y="1532"/>
                </a:cubicBezTo>
                <a:cubicBezTo>
                  <a:pt x="10849" y="1539"/>
                  <a:pt x="10849" y="1547"/>
                  <a:pt x="10851" y="1554"/>
                </a:cubicBezTo>
                <a:cubicBezTo>
                  <a:pt x="10853" y="1561"/>
                  <a:pt x="10857" y="1563"/>
                  <a:pt x="10859" y="1569"/>
                </a:cubicBezTo>
                <a:cubicBezTo>
                  <a:pt x="10846" y="1571"/>
                  <a:pt x="10834" y="1581"/>
                  <a:pt x="10825" y="1598"/>
                </a:cubicBezTo>
                <a:cubicBezTo>
                  <a:pt x="10815" y="1533"/>
                  <a:pt x="10797" y="1500"/>
                  <a:pt x="10780" y="1468"/>
                </a:cubicBezTo>
                <a:cubicBezTo>
                  <a:pt x="10777" y="1463"/>
                  <a:pt x="10775" y="1458"/>
                  <a:pt x="10773" y="1454"/>
                </a:cubicBezTo>
                <a:cubicBezTo>
                  <a:pt x="10780" y="1435"/>
                  <a:pt x="10784" y="1413"/>
                  <a:pt x="10787" y="1388"/>
                </a:cubicBezTo>
                <a:close/>
                <a:moveTo>
                  <a:pt x="5553" y="1399"/>
                </a:moveTo>
                <a:lnTo>
                  <a:pt x="5588" y="1399"/>
                </a:lnTo>
                <a:cubicBezTo>
                  <a:pt x="5587" y="1409"/>
                  <a:pt x="5586" y="1413"/>
                  <a:pt x="5586" y="1414"/>
                </a:cubicBezTo>
                <a:cubicBezTo>
                  <a:pt x="5584" y="1417"/>
                  <a:pt x="5581" y="1420"/>
                  <a:pt x="5572" y="1420"/>
                </a:cubicBezTo>
                <a:cubicBezTo>
                  <a:pt x="5566" y="1420"/>
                  <a:pt x="5558" y="1418"/>
                  <a:pt x="5550" y="1416"/>
                </a:cubicBezTo>
                <a:lnTo>
                  <a:pt x="5553" y="1399"/>
                </a:lnTo>
                <a:close/>
                <a:moveTo>
                  <a:pt x="4212" y="1435"/>
                </a:moveTo>
                <a:cubicBezTo>
                  <a:pt x="4173" y="1443"/>
                  <a:pt x="4150" y="1478"/>
                  <a:pt x="4150" y="1528"/>
                </a:cubicBezTo>
                <a:cubicBezTo>
                  <a:pt x="4150" y="1598"/>
                  <a:pt x="4174" y="1635"/>
                  <a:pt x="4195" y="1665"/>
                </a:cubicBezTo>
                <a:cubicBezTo>
                  <a:pt x="4192" y="1678"/>
                  <a:pt x="4187" y="1688"/>
                  <a:pt x="4187" y="1703"/>
                </a:cubicBezTo>
                <a:cubicBezTo>
                  <a:pt x="4187" y="1758"/>
                  <a:pt x="4209" y="1801"/>
                  <a:pt x="4237" y="1801"/>
                </a:cubicBezTo>
                <a:cubicBezTo>
                  <a:pt x="4241" y="1801"/>
                  <a:pt x="4243" y="1794"/>
                  <a:pt x="4247" y="1792"/>
                </a:cubicBezTo>
                <a:cubicBezTo>
                  <a:pt x="4249" y="1792"/>
                  <a:pt x="4249" y="1794"/>
                  <a:pt x="4252" y="1794"/>
                </a:cubicBezTo>
                <a:cubicBezTo>
                  <a:pt x="4268" y="1794"/>
                  <a:pt x="4287" y="1791"/>
                  <a:pt x="4306" y="1785"/>
                </a:cubicBezTo>
                <a:cubicBezTo>
                  <a:pt x="4296" y="1792"/>
                  <a:pt x="4287" y="1801"/>
                  <a:pt x="4281" y="1813"/>
                </a:cubicBezTo>
                <a:cubicBezTo>
                  <a:pt x="4277" y="1821"/>
                  <a:pt x="4276" y="1833"/>
                  <a:pt x="4278" y="1843"/>
                </a:cubicBezTo>
                <a:cubicBezTo>
                  <a:pt x="4279" y="1854"/>
                  <a:pt x="4283" y="1862"/>
                  <a:pt x="4289" y="1864"/>
                </a:cubicBezTo>
                <a:cubicBezTo>
                  <a:pt x="4326" y="1878"/>
                  <a:pt x="4415" y="1911"/>
                  <a:pt x="4425" y="1911"/>
                </a:cubicBezTo>
                <a:cubicBezTo>
                  <a:pt x="4452" y="1911"/>
                  <a:pt x="4472" y="1879"/>
                  <a:pt x="4472" y="1838"/>
                </a:cubicBezTo>
                <a:lnTo>
                  <a:pt x="4472" y="1784"/>
                </a:lnTo>
                <a:cubicBezTo>
                  <a:pt x="4472" y="1775"/>
                  <a:pt x="4470" y="1766"/>
                  <a:pt x="4467" y="1760"/>
                </a:cubicBezTo>
                <a:cubicBezTo>
                  <a:pt x="4463" y="1755"/>
                  <a:pt x="4458" y="1753"/>
                  <a:pt x="4454" y="1755"/>
                </a:cubicBezTo>
                <a:cubicBezTo>
                  <a:pt x="4450" y="1756"/>
                  <a:pt x="4448" y="1756"/>
                  <a:pt x="4447" y="1757"/>
                </a:cubicBezTo>
                <a:cubicBezTo>
                  <a:pt x="4443" y="1755"/>
                  <a:pt x="4439" y="1753"/>
                  <a:pt x="4430" y="1753"/>
                </a:cubicBezTo>
                <a:cubicBezTo>
                  <a:pt x="4415" y="1753"/>
                  <a:pt x="4392" y="1754"/>
                  <a:pt x="4367" y="1759"/>
                </a:cubicBezTo>
                <a:cubicBezTo>
                  <a:pt x="4370" y="1757"/>
                  <a:pt x="4373" y="1753"/>
                  <a:pt x="4374" y="1748"/>
                </a:cubicBezTo>
                <a:cubicBezTo>
                  <a:pt x="4376" y="1741"/>
                  <a:pt x="4377" y="1732"/>
                  <a:pt x="4376" y="1724"/>
                </a:cubicBezTo>
                <a:cubicBezTo>
                  <a:pt x="4373" y="1698"/>
                  <a:pt x="4374" y="1679"/>
                  <a:pt x="4375" y="1659"/>
                </a:cubicBezTo>
                <a:cubicBezTo>
                  <a:pt x="4376" y="1648"/>
                  <a:pt x="4377" y="1637"/>
                  <a:pt x="4377" y="1626"/>
                </a:cubicBezTo>
                <a:cubicBezTo>
                  <a:pt x="4377" y="1553"/>
                  <a:pt x="4343" y="1552"/>
                  <a:pt x="4327" y="1552"/>
                </a:cubicBezTo>
                <a:cubicBezTo>
                  <a:pt x="4302" y="1551"/>
                  <a:pt x="4302" y="1547"/>
                  <a:pt x="4302" y="1528"/>
                </a:cubicBezTo>
                <a:cubicBezTo>
                  <a:pt x="4302" y="1512"/>
                  <a:pt x="4296" y="1498"/>
                  <a:pt x="4288" y="1498"/>
                </a:cubicBezTo>
                <a:cubicBezTo>
                  <a:pt x="4265" y="1498"/>
                  <a:pt x="4231" y="1469"/>
                  <a:pt x="4227" y="1454"/>
                </a:cubicBezTo>
                <a:cubicBezTo>
                  <a:pt x="4225" y="1441"/>
                  <a:pt x="4218" y="1434"/>
                  <a:pt x="4212" y="1435"/>
                </a:cubicBezTo>
                <a:close/>
                <a:moveTo>
                  <a:pt x="3405" y="1455"/>
                </a:moveTo>
                <a:cubicBezTo>
                  <a:pt x="3388" y="1455"/>
                  <a:pt x="3374" y="1468"/>
                  <a:pt x="3361" y="1486"/>
                </a:cubicBezTo>
                <a:cubicBezTo>
                  <a:pt x="3348" y="1493"/>
                  <a:pt x="3334" y="1499"/>
                  <a:pt x="3326" y="1504"/>
                </a:cubicBezTo>
                <a:cubicBezTo>
                  <a:pt x="3278" y="1539"/>
                  <a:pt x="3219" y="1593"/>
                  <a:pt x="3219" y="1651"/>
                </a:cubicBezTo>
                <a:cubicBezTo>
                  <a:pt x="3219" y="1659"/>
                  <a:pt x="3221" y="1667"/>
                  <a:pt x="3224" y="1673"/>
                </a:cubicBezTo>
                <a:cubicBezTo>
                  <a:pt x="3227" y="1678"/>
                  <a:pt x="3230" y="1680"/>
                  <a:pt x="3234" y="1680"/>
                </a:cubicBezTo>
                <a:cubicBezTo>
                  <a:pt x="3235" y="1680"/>
                  <a:pt x="3236" y="1680"/>
                  <a:pt x="3236" y="1680"/>
                </a:cubicBezTo>
                <a:cubicBezTo>
                  <a:pt x="3248" y="1677"/>
                  <a:pt x="3255" y="1667"/>
                  <a:pt x="3262" y="1659"/>
                </a:cubicBezTo>
                <a:cubicBezTo>
                  <a:pt x="3276" y="1641"/>
                  <a:pt x="3281" y="1645"/>
                  <a:pt x="3293" y="1659"/>
                </a:cubicBezTo>
                <a:cubicBezTo>
                  <a:pt x="3295" y="1661"/>
                  <a:pt x="3296" y="1662"/>
                  <a:pt x="3297" y="1664"/>
                </a:cubicBezTo>
                <a:cubicBezTo>
                  <a:pt x="3251" y="1685"/>
                  <a:pt x="3227" y="1721"/>
                  <a:pt x="3226" y="1773"/>
                </a:cubicBezTo>
                <a:cubicBezTo>
                  <a:pt x="3224" y="1767"/>
                  <a:pt x="3223" y="1761"/>
                  <a:pt x="3220" y="1758"/>
                </a:cubicBezTo>
                <a:cubicBezTo>
                  <a:pt x="3218" y="1756"/>
                  <a:pt x="3215" y="1752"/>
                  <a:pt x="3211" y="1746"/>
                </a:cubicBezTo>
                <a:cubicBezTo>
                  <a:pt x="3192" y="1720"/>
                  <a:pt x="3174" y="1696"/>
                  <a:pt x="3157" y="1696"/>
                </a:cubicBezTo>
                <a:cubicBezTo>
                  <a:pt x="3150" y="1696"/>
                  <a:pt x="3126" y="1701"/>
                  <a:pt x="3126" y="1772"/>
                </a:cubicBezTo>
                <a:cubicBezTo>
                  <a:pt x="3126" y="1813"/>
                  <a:pt x="3158" y="1866"/>
                  <a:pt x="3183" y="1866"/>
                </a:cubicBezTo>
                <a:cubicBezTo>
                  <a:pt x="3205" y="1866"/>
                  <a:pt x="3215" y="1834"/>
                  <a:pt x="3223" y="1809"/>
                </a:cubicBezTo>
                <a:lnTo>
                  <a:pt x="3226" y="1801"/>
                </a:lnTo>
                <a:cubicBezTo>
                  <a:pt x="3227" y="1797"/>
                  <a:pt x="3227" y="1792"/>
                  <a:pt x="3227" y="1787"/>
                </a:cubicBezTo>
                <a:cubicBezTo>
                  <a:pt x="3230" y="1827"/>
                  <a:pt x="3252" y="1877"/>
                  <a:pt x="3276" y="1904"/>
                </a:cubicBezTo>
                <a:cubicBezTo>
                  <a:pt x="3276" y="1904"/>
                  <a:pt x="3275" y="1903"/>
                  <a:pt x="3275" y="1903"/>
                </a:cubicBezTo>
                <a:cubicBezTo>
                  <a:pt x="3250" y="1903"/>
                  <a:pt x="3229" y="1928"/>
                  <a:pt x="3216" y="1966"/>
                </a:cubicBezTo>
                <a:lnTo>
                  <a:pt x="3156" y="1966"/>
                </a:lnTo>
                <a:cubicBezTo>
                  <a:pt x="3147" y="1966"/>
                  <a:pt x="3140" y="1979"/>
                  <a:pt x="3140" y="1996"/>
                </a:cubicBezTo>
                <a:cubicBezTo>
                  <a:pt x="3140" y="2031"/>
                  <a:pt x="3151" y="2057"/>
                  <a:pt x="3164" y="2070"/>
                </a:cubicBezTo>
                <a:cubicBezTo>
                  <a:pt x="3162" y="2070"/>
                  <a:pt x="3159" y="2070"/>
                  <a:pt x="3157" y="2069"/>
                </a:cubicBezTo>
                <a:cubicBezTo>
                  <a:pt x="3144" y="2066"/>
                  <a:pt x="3125" y="2065"/>
                  <a:pt x="3103" y="2072"/>
                </a:cubicBezTo>
                <a:cubicBezTo>
                  <a:pt x="3103" y="2069"/>
                  <a:pt x="3104" y="2067"/>
                  <a:pt x="3104" y="2065"/>
                </a:cubicBezTo>
                <a:cubicBezTo>
                  <a:pt x="3104" y="2039"/>
                  <a:pt x="3099" y="2022"/>
                  <a:pt x="3094" y="2009"/>
                </a:cubicBezTo>
                <a:cubicBezTo>
                  <a:pt x="3093" y="2004"/>
                  <a:pt x="3091" y="2000"/>
                  <a:pt x="3090" y="1996"/>
                </a:cubicBezTo>
                <a:cubicBezTo>
                  <a:pt x="3105" y="1977"/>
                  <a:pt x="3115" y="1944"/>
                  <a:pt x="3115" y="1911"/>
                </a:cubicBezTo>
                <a:cubicBezTo>
                  <a:pt x="3115" y="1886"/>
                  <a:pt x="3108" y="1845"/>
                  <a:pt x="3062" y="1845"/>
                </a:cubicBezTo>
                <a:cubicBezTo>
                  <a:pt x="3034" y="1845"/>
                  <a:pt x="3005" y="1859"/>
                  <a:pt x="2987" y="1868"/>
                </a:cubicBezTo>
                <a:cubicBezTo>
                  <a:pt x="2986" y="1867"/>
                  <a:pt x="2986" y="1865"/>
                  <a:pt x="2985" y="1865"/>
                </a:cubicBezTo>
                <a:cubicBezTo>
                  <a:pt x="2982" y="1865"/>
                  <a:pt x="2981" y="1869"/>
                  <a:pt x="2979" y="1870"/>
                </a:cubicBezTo>
                <a:cubicBezTo>
                  <a:pt x="2977" y="1871"/>
                  <a:pt x="2973" y="1872"/>
                  <a:pt x="2972" y="1872"/>
                </a:cubicBezTo>
                <a:cubicBezTo>
                  <a:pt x="2966" y="1871"/>
                  <a:pt x="2962" y="1870"/>
                  <a:pt x="2959" y="1869"/>
                </a:cubicBezTo>
                <a:cubicBezTo>
                  <a:pt x="2953" y="1867"/>
                  <a:pt x="2948" y="1865"/>
                  <a:pt x="2940" y="1864"/>
                </a:cubicBezTo>
                <a:cubicBezTo>
                  <a:pt x="2940" y="1864"/>
                  <a:pt x="2940" y="1865"/>
                  <a:pt x="2940" y="1865"/>
                </a:cubicBezTo>
                <a:cubicBezTo>
                  <a:pt x="2940" y="1865"/>
                  <a:pt x="2939" y="1864"/>
                  <a:pt x="2939" y="1864"/>
                </a:cubicBezTo>
                <a:cubicBezTo>
                  <a:pt x="2938" y="1864"/>
                  <a:pt x="2936" y="1864"/>
                  <a:pt x="2935" y="1864"/>
                </a:cubicBezTo>
                <a:cubicBezTo>
                  <a:pt x="2890" y="1864"/>
                  <a:pt x="2869" y="1917"/>
                  <a:pt x="2850" y="1963"/>
                </a:cubicBezTo>
                <a:cubicBezTo>
                  <a:pt x="2839" y="1988"/>
                  <a:pt x="2830" y="2011"/>
                  <a:pt x="2817" y="2026"/>
                </a:cubicBezTo>
                <a:cubicBezTo>
                  <a:pt x="2798" y="2048"/>
                  <a:pt x="2780" y="2060"/>
                  <a:pt x="2762" y="2073"/>
                </a:cubicBezTo>
                <a:cubicBezTo>
                  <a:pt x="2754" y="2078"/>
                  <a:pt x="2746" y="2086"/>
                  <a:pt x="2737" y="2093"/>
                </a:cubicBezTo>
                <a:cubicBezTo>
                  <a:pt x="2738" y="2086"/>
                  <a:pt x="2741" y="2083"/>
                  <a:pt x="2741" y="2076"/>
                </a:cubicBezTo>
                <a:cubicBezTo>
                  <a:pt x="2741" y="2022"/>
                  <a:pt x="2719" y="1977"/>
                  <a:pt x="2692" y="1977"/>
                </a:cubicBezTo>
                <a:cubicBezTo>
                  <a:pt x="2665" y="1977"/>
                  <a:pt x="2643" y="2022"/>
                  <a:pt x="2643" y="2076"/>
                </a:cubicBezTo>
                <a:cubicBezTo>
                  <a:pt x="2643" y="2122"/>
                  <a:pt x="2660" y="2154"/>
                  <a:pt x="2682" y="2165"/>
                </a:cubicBezTo>
                <a:cubicBezTo>
                  <a:pt x="2670" y="2185"/>
                  <a:pt x="2661" y="2202"/>
                  <a:pt x="2661" y="2213"/>
                </a:cubicBezTo>
                <a:cubicBezTo>
                  <a:pt x="2661" y="2230"/>
                  <a:pt x="2667" y="2242"/>
                  <a:pt x="2672" y="2255"/>
                </a:cubicBezTo>
                <a:cubicBezTo>
                  <a:pt x="2676" y="2264"/>
                  <a:pt x="2681" y="2275"/>
                  <a:pt x="2683" y="2285"/>
                </a:cubicBezTo>
                <a:cubicBezTo>
                  <a:pt x="2685" y="2299"/>
                  <a:pt x="2692" y="2308"/>
                  <a:pt x="2699" y="2306"/>
                </a:cubicBezTo>
                <a:cubicBezTo>
                  <a:pt x="2712" y="2303"/>
                  <a:pt x="2720" y="2291"/>
                  <a:pt x="2726" y="2281"/>
                </a:cubicBezTo>
                <a:cubicBezTo>
                  <a:pt x="2729" y="2278"/>
                  <a:pt x="2732" y="2272"/>
                  <a:pt x="2733" y="2272"/>
                </a:cubicBezTo>
                <a:cubicBezTo>
                  <a:pt x="2739" y="2272"/>
                  <a:pt x="2743" y="2275"/>
                  <a:pt x="2749" y="2278"/>
                </a:cubicBezTo>
                <a:cubicBezTo>
                  <a:pt x="2759" y="2283"/>
                  <a:pt x="2773" y="2286"/>
                  <a:pt x="2786" y="2279"/>
                </a:cubicBezTo>
                <a:cubicBezTo>
                  <a:pt x="2794" y="2303"/>
                  <a:pt x="2809" y="2336"/>
                  <a:pt x="2829" y="2336"/>
                </a:cubicBezTo>
                <a:cubicBezTo>
                  <a:pt x="2831" y="2336"/>
                  <a:pt x="2833" y="2332"/>
                  <a:pt x="2835" y="2332"/>
                </a:cubicBezTo>
                <a:cubicBezTo>
                  <a:pt x="2842" y="2369"/>
                  <a:pt x="2857" y="2398"/>
                  <a:pt x="2878" y="2398"/>
                </a:cubicBezTo>
                <a:cubicBezTo>
                  <a:pt x="2882" y="2398"/>
                  <a:pt x="2884" y="2393"/>
                  <a:pt x="2887" y="2391"/>
                </a:cubicBezTo>
                <a:cubicBezTo>
                  <a:pt x="2897" y="2409"/>
                  <a:pt x="2910" y="2421"/>
                  <a:pt x="2924" y="2421"/>
                </a:cubicBezTo>
                <a:cubicBezTo>
                  <a:pt x="2929" y="2421"/>
                  <a:pt x="2932" y="2420"/>
                  <a:pt x="2936" y="2418"/>
                </a:cubicBezTo>
                <a:cubicBezTo>
                  <a:pt x="2936" y="2418"/>
                  <a:pt x="2936" y="2418"/>
                  <a:pt x="2936" y="2418"/>
                </a:cubicBezTo>
                <a:cubicBezTo>
                  <a:pt x="2954" y="2407"/>
                  <a:pt x="2969" y="2376"/>
                  <a:pt x="2980" y="2343"/>
                </a:cubicBezTo>
                <a:cubicBezTo>
                  <a:pt x="2980" y="2345"/>
                  <a:pt x="2981" y="2347"/>
                  <a:pt x="2981" y="2348"/>
                </a:cubicBezTo>
                <a:cubicBezTo>
                  <a:pt x="2980" y="2356"/>
                  <a:pt x="2978" y="2368"/>
                  <a:pt x="2978" y="2391"/>
                </a:cubicBezTo>
                <a:cubicBezTo>
                  <a:pt x="2978" y="2442"/>
                  <a:pt x="2999" y="2484"/>
                  <a:pt x="3024" y="2484"/>
                </a:cubicBezTo>
                <a:cubicBezTo>
                  <a:pt x="3028" y="2484"/>
                  <a:pt x="3038" y="2490"/>
                  <a:pt x="3047" y="2495"/>
                </a:cubicBezTo>
                <a:cubicBezTo>
                  <a:pt x="3062" y="2503"/>
                  <a:pt x="3080" y="2513"/>
                  <a:pt x="3098" y="2513"/>
                </a:cubicBezTo>
                <a:cubicBezTo>
                  <a:pt x="3114" y="2513"/>
                  <a:pt x="3131" y="2507"/>
                  <a:pt x="3148" y="2499"/>
                </a:cubicBezTo>
                <a:lnTo>
                  <a:pt x="3153" y="2497"/>
                </a:lnTo>
                <a:cubicBezTo>
                  <a:pt x="3153" y="2497"/>
                  <a:pt x="3153" y="2497"/>
                  <a:pt x="3154" y="2497"/>
                </a:cubicBezTo>
                <a:cubicBezTo>
                  <a:pt x="3164" y="2493"/>
                  <a:pt x="3175" y="2488"/>
                  <a:pt x="3186" y="2485"/>
                </a:cubicBezTo>
                <a:cubicBezTo>
                  <a:pt x="3184" y="2489"/>
                  <a:pt x="3182" y="2492"/>
                  <a:pt x="3180" y="2497"/>
                </a:cubicBezTo>
                <a:cubicBezTo>
                  <a:pt x="3180" y="2497"/>
                  <a:pt x="3180" y="2498"/>
                  <a:pt x="3180" y="2498"/>
                </a:cubicBezTo>
                <a:cubicBezTo>
                  <a:pt x="3180" y="2499"/>
                  <a:pt x="3179" y="2498"/>
                  <a:pt x="3179" y="2498"/>
                </a:cubicBezTo>
                <a:cubicBezTo>
                  <a:pt x="3179" y="2499"/>
                  <a:pt x="3179" y="2501"/>
                  <a:pt x="3179" y="2502"/>
                </a:cubicBezTo>
                <a:cubicBezTo>
                  <a:pt x="3178" y="2503"/>
                  <a:pt x="3178" y="2503"/>
                  <a:pt x="3178" y="2504"/>
                </a:cubicBezTo>
                <a:cubicBezTo>
                  <a:pt x="3174" y="2517"/>
                  <a:pt x="3172" y="2532"/>
                  <a:pt x="3172" y="2548"/>
                </a:cubicBezTo>
                <a:cubicBezTo>
                  <a:pt x="3172" y="2599"/>
                  <a:pt x="3218" y="2642"/>
                  <a:pt x="3247" y="2642"/>
                </a:cubicBezTo>
                <a:cubicBezTo>
                  <a:pt x="3254" y="2642"/>
                  <a:pt x="3260" y="2641"/>
                  <a:pt x="3267" y="2639"/>
                </a:cubicBezTo>
                <a:lnTo>
                  <a:pt x="3272" y="2638"/>
                </a:lnTo>
                <a:cubicBezTo>
                  <a:pt x="3272" y="2638"/>
                  <a:pt x="3272" y="2638"/>
                  <a:pt x="3273" y="2638"/>
                </a:cubicBezTo>
                <a:cubicBezTo>
                  <a:pt x="3273" y="2638"/>
                  <a:pt x="3274" y="2638"/>
                  <a:pt x="3274" y="2638"/>
                </a:cubicBezTo>
                <a:cubicBezTo>
                  <a:pt x="3318" y="2630"/>
                  <a:pt x="3356" y="2603"/>
                  <a:pt x="3389" y="2576"/>
                </a:cubicBezTo>
                <a:cubicBezTo>
                  <a:pt x="3392" y="2575"/>
                  <a:pt x="3403" y="2570"/>
                  <a:pt x="3417" y="2564"/>
                </a:cubicBezTo>
                <a:cubicBezTo>
                  <a:pt x="3492" y="2529"/>
                  <a:pt x="3522" y="2515"/>
                  <a:pt x="3533" y="2503"/>
                </a:cubicBezTo>
                <a:cubicBezTo>
                  <a:pt x="3543" y="2502"/>
                  <a:pt x="3565" y="2505"/>
                  <a:pt x="3585" y="2508"/>
                </a:cubicBezTo>
                <a:lnTo>
                  <a:pt x="3595" y="2509"/>
                </a:lnTo>
                <a:cubicBezTo>
                  <a:pt x="3618" y="2512"/>
                  <a:pt x="3640" y="2516"/>
                  <a:pt x="3654" y="2516"/>
                </a:cubicBezTo>
                <a:cubicBezTo>
                  <a:pt x="3661" y="2516"/>
                  <a:pt x="3666" y="2514"/>
                  <a:pt x="3669" y="2512"/>
                </a:cubicBezTo>
                <a:cubicBezTo>
                  <a:pt x="3693" y="2496"/>
                  <a:pt x="3749" y="2358"/>
                  <a:pt x="3749" y="2285"/>
                </a:cubicBezTo>
                <a:cubicBezTo>
                  <a:pt x="3749" y="2215"/>
                  <a:pt x="3719" y="2149"/>
                  <a:pt x="3686" y="2149"/>
                </a:cubicBezTo>
                <a:cubicBezTo>
                  <a:pt x="3666" y="2149"/>
                  <a:pt x="3652" y="2169"/>
                  <a:pt x="3642" y="2184"/>
                </a:cubicBezTo>
                <a:cubicBezTo>
                  <a:pt x="3637" y="2192"/>
                  <a:pt x="3632" y="2199"/>
                  <a:pt x="3628" y="2199"/>
                </a:cubicBezTo>
                <a:cubicBezTo>
                  <a:pt x="3596" y="2199"/>
                  <a:pt x="3563" y="2117"/>
                  <a:pt x="3563" y="2072"/>
                </a:cubicBezTo>
                <a:cubicBezTo>
                  <a:pt x="3563" y="2068"/>
                  <a:pt x="3563" y="2065"/>
                  <a:pt x="3563" y="2061"/>
                </a:cubicBezTo>
                <a:cubicBezTo>
                  <a:pt x="3562" y="2053"/>
                  <a:pt x="3561" y="2042"/>
                  <a:pt x="3563" y="2020"/>
                </a:cubicBezTo>
                <a:cubicBezTo>
                  <a:pt x="3563" y="2012"/>
                  <a:pt x="3562" y="2003"/>
                  <a:pt x="3559" y="1997"/>
                </a:cubicBezTo>
                <a:cubicBezTo>
                  <a:pt x="3556" y="1991"/>
                  <a:pt x="3552" y="1987"/>
                  <a:pt x="3548" y="1987"/>
                </a:cubicBezTo>
                <a:cubicBezTo>
                  <a:pt x="3539" y="1987"/>
                  <a:pt x="3529" y="1980"/>
                  <a:pt x="3516" y="1962"/>
                </a:cubicBezTo>
                <a:cubicBezTo>
                  <a:pt x="3511" y="1955"/>
                  <a:pt x="3503" y="1955"/>
                  <a:pt x="3498" y="1963"/>
                </a:cubicBezTo>
                <a:cubicBezTo>
                  <a:pt x="3493" y="1971"/>
                  <a:pt x="3485" y="1981"/>
                  <a:pt x="3476" y="1991"/>
                </a:cubicBezTo>
                <a:cubicBezTo>
                  <a:pt x="3471" y="1997"/>
                  <a:pt x="3466" y="2002"/>
                  <a:pt x="3460" y="2009"/>
                </a:cubicBezTo>
                <a:cubicBezTo>
                  <a:pt x="3440" y="2033"/>
                  <a:pt x="3417" y="2068"/>
                  <a:pt x="3417" y="2123"/>
                </a:cubicBezTo>
                <a:cubicBezTo>
                  <a:pt x="3417" y="2176"/>
                  <a:pt x="3450" y="2202"/>
                  <a:pt x="3470" y="2211"/>
                </a:cubicBezTo>
                <a:lnTo>
                  <a:pt x="3470" y="2217"/>
                </a:lnTo>
                <a:cubicBezTo>
                  <a:pt x="3462" y="2222"/>
                  <a:pt x="3453" y="2231"/>
                  <a:pt x="3450" y="2245"/>
                </a:cubicBezTo>
                <a:cubicBezTo>
                  <a:pt x="3448" y="2252"/>
                  <a:pt x="3448" y="2261"/>
                  <a:pt x="3449" y="2269"/>
                </a:cubicBezTo>
                <a:cubicBezTo>
                  <a:pt x="3450" y="2276"/>
                  <a:pt x="3453" y="2283"/>
                  <a:pt x="3457" y="2286"/>
                </a:cubicBezTo>
                <a:cubicBezTo>
                  <a:pt x="3461" y="2290"/>
                  <a:pt x="3465" y="2293"/>
                  <a:pt x="3470" y="2295"/>
                </a:cubicBezTo>
                <a:cubicBezTo>
                  <a:pt x="3467" y="2296"/>
                  <a:pt x="3463" y="2297"/>
                  <a:pt x="3458" y="2297"/>
                </a:cubicBezTo>
                <a:cubicBezTo>
                  <a:pt x="3412" y="2297"/>
                  <a:pt x="3379" y="2253"/>
                  <a:pt x="3346" y="2210"/>
                </a:cubicBezTo>
                <a:cubicBezTo>
                  <a:pt x="3336" y="2196"/>
                  <a:pt x="3325" y="2184"/>
                  <a:pt x="3315" y="2172"/>
                </a:cubicBezTo>
                <a:cubicBezTo>
                  <a:pt x="3335" y="2145"/>
                  <a:pt x="3349" y="2102"/>
                  <a:pt x="3349" y="2051"/>
                </a:cubicBezTo>
                <a:cubicBezTo>
                  <a:pt x="3349" y="1994"/>
                  <a:pt x="3332" y="1947"/>
                  <a:pt x="3309" y="1922"/>
                </a:cubicBezTo>
                <a:cubicBezTo>
                  <a:pt x="3345" y="1922"/>
                  <a:pt x="3393" y="1901"/>
                  <a:pt x="3418" y="1854"/>
                </a:cubicBezTo>
                <a:cubicBezTo>
                  <a:pt x="3431" y="1829"/>
                  <a:pt x="3437" y="1799"/>
                  <a:pt x="3436" y="1767"/>
                </a:cubicBezTo>
                <a:cubicBezTo>
                  <a:pt x="3441" y="1763"/>
                  <a:pt x="3445" y="1759"/>
                  <a:pt x="3450" y="1753"/>
                </a:cubicBezTo>
                <a:lnTo>
                  <a:pt x="3452" y="1750"/>
                </a:lnTo>
                <a:cubicBezTo>
                  <a:pt x="3455" y="1746"/>
                  <a:pt x="3459" y="1742"/>
                  <a:pt x="3462" y="1737"/>
                </a:cubicBezTo>
                <a:cubicBezTo>
                  <a:pt x="3468" y="1727"/>
                  <a:pt x="3469" y="1709"/>
                  <a:pt x="3464" y="1696"/>
                </a:cubicBezTo>
                <a:cubicBezTo>
                  <a:pt x="3464" y="1695"/>
                  <a:pt x="3463" y="1693"/>
                  <a:pt x="3463" y="1692"/>
                </a:cubicBezTo>
                <a:cubicBezTo>
                  <a:pt x="3468" y="1678"/>
                  <a:pt x="3472" y="1663"/>
                  <a:pt x="3474" y="1646"/>
                </a:cubicBezTo>
                <a:cubicBezTo>
                  <a:pt x="3474" y="1646"/>
                  <a:pt x="3475" y="1646"/>
                  <a:pt x="3475" y="1646"/>
                </a:cubicBezTo>
                <a:cubicBezTo>
                  <a:pt x="3478" y="1642"/>
                  <a:pt x="3481" y="1638"/>
                  <a:pt x="3485" y="1634"/>
                </a:cubicBezTo>
                <a:cubicBezTo>
                  <a:pt x="3491" y="1628"/>
                  <a:pt x="3494" y="1613"/>
                  <a:pt x="3492" y="1599"/>
                </a:cubicBezTo>
                <a:cubicBezTo>
                  <a:pt x="3489" y="1576"/>
                  <a:pt x="3481" y="1552"/>
                  <a:pt x="3470" y="1532"/>
                </a:cubicBezTo>
                <a:cubicBezTo>
                  <a:pt x="3469" y="1530"/>
                  <a:pt x="3468" y="1530"/>
                  <a:pt x="3467" y="1528"/>
                </a:cubicBezTo>
                <a:cubicBezTo>
                  <a:pt x="3454" y="1485"/>
                  <a:pt x="3432" y="1455"/>
                  <a:pt x="3405" y="1455"/>
                </a:cubicBezTo>
                <a:close/>
                <a:moveTo>
                  <a:pt x="5538" y="1476"/>
                </a:moveTo>
                <a:lnTo>
                  <a:pt x="5543" y="1481"/>
                </a:lnTo>
                <a:cubicBezTo>
                  <a:pt x="5560" y="1497"/>
                  <a:pt x="5573" y="1510"/>
                  <a:pt x="5583" y="1537"/>
                </a:cubicBezTo>
                <a:cubicBezTo>
                  <a:pt x="5562" y="1564"/>
                  <a:pt x="5547" y="1603"/>
                  <a:pt x="5534" y="1638"/>
                </a:cubicBezTo>
                <a:cubicBezTo>
                  <a:pt x="5524" y="1666"/>
                  <a:pt x="5514" y="1693"/>
                  <a:pt x="5502" y="1713"/>
                </a:cubicBezTo>
                <a:lnTo>
                  <a:pt x="5493" y="1713"/>
                </a:lnTo>
                <a:lnTo>
                  <a:pt x="5535" y="1493"/>
                </a:lnTo>
                <a:lnTo>
                  <a:pt x="5538" y="1476"/>
                </a:lnTo>
                <a:close/>
                <a:moveTo>
                  <a:pt x="7461" y="1479"/>
                </a:moveTo>
                <a:cubicBezTo>
                  <a:pt x="7463" y="1485"/>
                  <a:pt x="7465" y="1493"/>
                  <a:pt x="7467" y="1499"/>
                </a:cubicBezTo>
                <a:cubicBezTo>
                  <a:pt x="7469" y="1506"/>
                  <a:pt x="7472" y="1513"/>
                  <a:pt x="7474" y="1520"/>
                </a:cubicBezTo>
                <a:cubicBezTo>
                  <a:pt x="7479" y="1535"/>
                  <a:pt x="7484" y="1550"/>
                  <a:pt x="7489" y="1566"/>
                </a:cubicBezTo>
                <a:cubicBezTo>
                  <a:pt x="7492" y="1573"/>
                  <a:pt x="7493" y="1580"/>
                  <a:pt x="7496" y="1587"/>
                </a:cubicBezTo>
                <a:cubicBezTo>
                  <a:pt x="7501" y="1602"/>
                  <a:pt x="7507" y="1618"/>
                  <a:pt x="7512" y="1634"/>
                </a:cubicBezTo>
                <a:cubicBezTo>
                  <a:pt x="7507" y="1642"/>
                  <a:pt x="7502" y="1650"/>
                  <a:pt x="7498" y="1660"/>
                </a:cubicBezTo>
                <a:lnTo>
                  <a:pt x="7461" y="1479"/>
                </a:lnTo>
                <a:close/>
                <a:moveTo>
                  <a:pt x="4206" y="1497"/>
                </a:moveTo>
                <a:cubicBezTo>
                  <a:pt x="4221" y="1529"/>
                  <a:pt x="4252" y="1550"/>
                  <a:pt x="4274" y="1556"/>
                </a:cubicBezTo>
                <a:cubicBezTo>
                  <a:pt x="4282" y="1611"/>
                  <a:pt x="4311" y="1612"/>
                  <a:pt x="4326" y="1612"/>
                </a:cubicBezTo>
                <a:cubicBezTo>
                  <a:pt x="4347" y="1613"/>
                  <a:pt x="4347" y="1615"/>
                  <a:pt x="4347" y="1626"/>
                </a:cubicBezTo>
                <a:cubicBezTo>
                  <a:pt x="4347" y="1634"/>
                  <a:pt x="4346" y="1642"/>
                  <a:pt x="4346" y="1651"/>
                </a:cubicBezTo>
                <a:cubicBezTo>
                  <a:pt x="4345" y="1667"/>
                  <a:pt x="4344" y="1686"/>
                  <a:pt x="4345" y="1709"/>
                </a:cubicBezTo>
                <a:cubicBezTo>
                  <a:pt x="4318" y="1720"/>
                  <a:pt x="4300" y="1723"/>
                  <a:pt x="4280" y="1727"/>
                </a:cubicBezTo>
                <a:cubicBezTo>
                  <a:pt x="4281" y="1718"/>
                  <a:pt x="4285" y="1713"/>
                  <a:pt x="4285" y="1703"/>
                </a:cubicBezTo>
                <a:cubicBezTo>
                  <a:pt x="4285" y="1649"/>
                  <a:pt x="4264" y="1604"/>
                  <a:pt x="4237" y="1604"/>
                </a:cubicBezTo>
                <a:cubicBezTo>
                  <a:pt x="4228" y="1604"/>
                  <a:pt x="4222" y="1615"/>
                  <a:pt x="4216" y="1622"/>
                </a:cubicBezTo>
                <a:cubicBezTo>
                  <a:pt x="4194" y="1591"/>
                  <a:pt x="4180" y="1569"/>
                  <a:pt x="4180" y="1528"/>
                </a:cubicBezTo>
                <a:cubicBezTo>
                  <a:pt x="4180" y="1514"/>
                  <a:pt x="4192" y="1502"/>
                  <a:pt x="4206" y="1497"/>
                </a:cubicBezTo>
                <a:close/>
                <a:moveTo>
                  <a:pt x="11000" y="1524"/>
                </a:moveTo>
                <a:lnTo>
                  <a:pt x="11008" y="1524"/>
                </a:lnTo>
                <a:cubicBezTo>
                  <a:pt x="11035" y="1562"/>
                  <a:pt x="11042" y="1562"/>
                  <a:pt x="11045" y="1562"/>
                </a:cubicBezTo>
                <a:cubicBezTo>
                  <a:pt x="11024" y="1582"/>
                  <a:pt x="11002" y="1601"/>
                  <a:pt x="10988" y="1609"/>
                </a:cubicBezTo>
                <a:cubicBezTo>
                  <a:pt x="10987" y="1609"/>
                  <a:pt x="10984" y="1610"/>
                  <a:pt x="10980" y="1611"/>
                </a:cubicBezTo>
                <a:cubicBezTo>
                  <a:pt x="10977" y="1612"/>
                  <a:pt x="10974" y="1613"/>
                  <a:pt x="10970" y="1613"/>
                </a:cubicBezTo>
                <a:cubicBezTo>
                  <a:pt x="10981" y="1595"/>
                  <a:pt x="10988" y="1570"/>
                  <a:pt x="10993" y="1551"/>
                </a:cubicBezTo>
                <a:cubicBezTo>
                  <a:pt x="10995" y="1541"/>
                  <a:pt x="10998" y="1530"/>
                  <a:pt x="11000" y="1524"/>
                </a:cubicBezTo>
                <a:close/>
                <a:moveTo>
                  <a:pt x="3789" y="1526"/>
                </a:moveTo>
                <a:cubicBezTo>
                  <a:pt x="3778" y="1531"/>
                  <a:pt x="3768" y="1538"/>
                  <a:pt x="3757" y="1549"/>
                </a:cubicBezTo>
                <a:cubicBezTo>
                  <a:pt x="3759" y="1543"/>
                  <a:pt x="3761" y="1539"/>
                  <a:pt x="3761" y="1532"/>
                </a:cubicBezTo>
                <a:cubicBezTo>
                  <a:pt x="3766" y="1531"/>
                  <a:pt x="3769" y="1531"/>
                  <a:pt x="3774" y="1530"/>
                </a:cubicBezTo>
                <a:cubicBezTo>
                  <a:pt x="3778" y="1528"/>
                  <a:pt x="3783" y="1527"/>
                  <a:pt x="3789" y="1526"/>
                </a:cubicBezTo>
                <a:close/>
                <a:moveTo>
                  <a:pt x="11401" y="1548"/>
                </a:moveTo>
                <a:cubicBezTo>
                  <a:pt x="11402" y="1550"/>
                  <a:pt x="11404" y="1552"/>
                  <a:pt x="11406" y="1553"/>
                </a:cubicBezTo>
                <a:cubicBezTo>
                  <a:pt x="11418" y="1559"/>
                  <a:pt x="11427" y="1560"/>
                  <a:pt x="11436" y="1558"/>
                </a:cubicBezTo>
                <a:cubicBezTo>
                  <a:pt x="11436" y="1563"/>
                  <a:pt x="11436" y="1567"/>
                  <a:pt x="11435" y="1569"/>
                </a:cubicBezTo>
                <a:cubicBezTo>
                  <a:pt x="11432" y="1578"/>
                  <a:pt x="11431" y="1590"/>
                  <a:pt x="11434" y="1601"/>
                </a:cubicBezTo>
                <a:cubicBezTo>
                  <a:pt x="11436" y="1611"/>
                  <a:pt x="11441" y="1617"/>
                  <a:pt x="11447" y="1617"/>
                </a:cubicBezTo>
                <a:lnTo>
                  <a:pt x="11501" y="1617"/>
                </a:lnTo>
                <a:cubicBezTo>
                  <a:pt x="11507" y="1697"/>
                  <a:pt x="11537" y="1717"/>
                  <a:pt x="11558" y="1731"/>
                </a:cubicBezTo>
                <a:lnTo>
                  <a:pt x="11484" y="1721"/>
                </a:lnTo>
                <a:cubicBezTo>
                  <a:pt x="11482" y="1720"/>
                  <a:pt x="11481" y="1716"/>
                  <a:pt x="11478" y="1716"/>
                </a:cubicBezTo>
                <a:cubicBezTo>
                  <a:pt x="11477" y="1716"/>
                  <a:pt x="11476" y="1719"/>
                  <a:pt x="11475" y="1720"/>
                </a:cubicBezTo>
                <a:lnTo>
                  <a:pt x="11463" y="1717"/>
                </a:lnTo>
                <a:lnTo>
                  <a:pt x="11410" y="1709"/>
                </a:lnTo>
                <a:cubicBezTo>
                  <a:pt x="11412" y="1702"/>
                  <a:pt x="11413" y="1694"/>
                  <a:pt x="11413" y="1685"/>
                </a:cubicBezTo>
                <a:cubicBezTo>
                  <a:pt x="11414" y="1670"/>
                  <a:pt x="11410" y="1656"/>
                  <a:pt x="11403" y="1652"/>
                </a:cubicBezTo>
                <a:cubicBezTo>
                  <a:pt x="11400" y="1649"/>
                  <a:pt x="11393" y="1637"/>
                  <a:pt x="11379" y="1584"/>
                </a:cubicBezTo>
                <a:cubicBezTo>
                  <a:pt x="11381" y="1584"/>
                  <a:pt x="11384" y="1583"/>
                  <a:pt x="11386" y="1583"/>
                </a:cubicBezTo>
                <a:cubicBezTo>
                  <a:pt x="11394" y="1583"/>
                  <a:pt x="11400" y="1571"/>
                  <a:pt x="11401" y="1555"/>
                </a:cubicBezTo>
                <a:cubicBezTo>
                  <a:pt x="11401" y="1552"/>
                  <a:pt x="11401" y="1551"/>
                  <a:pt x="11401" y="1548"/>
                </a:cubicBezTo>
                <a:close/>
                <a:moveTo>
                  <a:pt x="11108" y="1556"/>
                </a:moveTo>
                <a:lnTo>
                  <a:pt x="11116" y="1665"/>
                </a:lnTo>
                <a:lnTo>
                  <a:pt x="11114" y="1665"/>
                </a:lnTo>
                <a:cubicBezTo>
                  <a:pt x="11114" y="1625"/>
                  <a:pt x="11101" y="1597"/>
                  <a:pt x="11084" y="1582"/>
                </a:cubicBezTo>
                <a:cubicBezTo>
                  <a:pt x="11091" y="1573"/>
                  <a:pt x="11103" y="1565"/>
                  <a:pt x="11108" y="1556"/>
                </a:cubicBezTo>
                <a:close/>
                <a:moveTo>
                  <a:pt x="3324" y="1569"/>
                </a:moveTo>
                <a:lnTo>
                  <a:pt x="3332" y="1598"/>
                </a:lnTo>
                <a:cubicBezTo>
                  <a:pt x="3332" y="1600"/>
                  <a:pt x="3331" y="1601"/>
                  <a:pt x="3331" y="1603"/>
                </a:cubicBezTo>
                <a:cubicBezTo>
                  <a:pt x="3331" y="1609"/>
                  <a:pt x="3332" y="1614"/>
                  <a:pt x="3333" y="1620"/>
                </a:cubicBezTo>
                <a:lnTo>
                  <a:pt x="3329" y="1620"/>
                </a:lnTo>
                <a:cubicBezTo>
                  <a:pt x="3320" y="1620"/>
                  <a:pt x="3315" y="1615"/>
                  <a:pt x="3308" y="1606"/>
                </a:cubicBezTo>
                <a:cubicBezTo>
                  <a:pt x="3304" y="1602"/>
                  <a:pt x="3300" y="1597"/>
                  <a:pt x="3295" y="1594"/>
                </a:cubicBezTo>
                <a:cubicBezTo>
                  <a:pt x="3304" y="1586"/>
                  <a:pt x="3313" y="1577"/>
                  <a:pt x="3324" y="1569"/>
                </a:cubicBezTo>
                <a:close/>
                <a:moveTo>
                  <a:pt x="16603" y="1587"/>
                </a:moveTo>
                <a:cubicBezTo>
                  <a:pt x="16596" y="1593"/>
                  <a:pt x="16592" y="1591"/>
                  <a:pt x="16585" y="1590"/>
                </a:cubicBezTo>
                <a:cubicBezTo>
                  <a:pt x="16573" y="1589"/>
                  <a:pt x="16556" y="1590"/>
                  <a:pt x="16536" y="1597"/>
                </a:cubicBezTo>
                <a:cubicBezTo>
                  <a:pt x="16532" y="1599"/>
                  <a:pt x="16527" y="1605"/>
                  <a:pt x="16525" y="1613"/>
                </a:cubicBezTo>
                <a:cubicBezTo>
                  <a:pt x="16523" y="1622"/>
                  <a:pt x="16523" y="1633"/>
                  <a:pt x="16526" y="1641"/>
                </a:cubicBezTo>
                <a:cubicBezTo>
                  <a:pt x="16531" y="1658"/>
                  <a:pt x="16545" y="1707"/>
                  <a:pt x="16582" y="1707"/>
                </a:cubicBezTo>
                <a:cubicBezTo>
                  <a:pt x="16605" y="1707"/>
                  <a:pt x="16621" y="1661"/>
                  <a:pt x="16624" y="1618"/>
                </a:cubicBezTo>
                <a:cubicBezTo>
                  <a:pt x="16624" y="1607"/>
                  <a:pt x="16622" y="1597"/>
                  <a:pt x="16618" y="1590"/>
                </a:cubicBezTo>
                <a:cubicBezTo>
                  <a:pt x="16613" y="1584"/>
                  <a:pt x="16608" y="1582"/>
                  <a:pt x="16603" y="1587"/>
                </a:cubicBezTo>
                <a:close/>
                <a:moveTo>
                  <a:pt x="4058" y="1646"/>
                </a:moveTo>
                <a:cubicBezTo>
                  <a:pt x="4061" y="1650"/>
                  <a:pt x="4063" y="1654"/>
                  <a:pt x="4066" y="1658"/>
                </a:cubicBezTo>
                <a:cubicBezTo>
                  <a:pt x="4078" y="1674"/>
                  <a:pt x="4095" y="1698"/>
                  <a:pt x="4095" y="1714"/>
                </a:cubicBezTo>
                <a:cubicBezTo>
                  <a:pt x="4095" y="1737"/>
                  <a:pt x="4077" y="1739"/>
                  <a:pt x="4072" y="1739"/>
                </a:cubicBezTo>
                <a:cubicBezTo>
                  <a:pt x="4062" y="1739"/>
                  <a:pt x="4056" y="1734"/>
                  <a:pt x="4050" y="1725"/>
                </a:cubicBezTo>
                <a:cubicBezTo>
                  <a:pt x="4056" y="1709"/>
                  <a:pt x="4062" y="1689"/>
                  <a:pt x="4062" y="1666"/>
                </a:cubicBezTo>
                <a:cubicBezTo>
                  <a:pt x="4062" y="1658"/>
                  <a:pt x="4059" y="1653"/>
                  <a:pt x="4058" y="1646"/>
                </a:cubicBezTo>
                <a:close/>
                <a:moveTo>
                  <a:pt x="11020" y="1648"/>
                </a:moveTo>
                <a:cubicBezTo>
                  <a:pt x="11019" y="1651"/>
                  <a:pt x="11019" y="1652"/>
                  <a:pt x="11019" y="1654"/>
                </a:cubicBezTo>
                <a:lnTo>
                  <a:pt x="11018" y="1654"/>
                </a:lnTo>
                <a:lnTo>
                  <a:pt x="11014" y="1654"/>
                </a:lnTo>
                <a:cubicBezTo>
                  <a:pt x="11016" y="1653"/>
                  <a:pt x="11018" y="1650"/>
                  <a:pt x="11020" y="1648"/>
                </a:cubicBezTo>
                <a:close/>
                <a:moveTo>
                  <a:pt x="5645" y="1679"/>
                </a:moveTo>
                <a:cubicBezTo>
                  <a:pt x="5631" y="1679"/>
                  <a:pt x="5620" y="1702"/>
                  <a:pt x="5620" y="1730"/>
                </a:cubicBezTo>
                <a:cubicBezTo>
                  <a:pt x="5620" y="1758"/>
                  <a:pt x="5631" y="1781"/>
                  <a:pt x="5645" y="1781"/>
                </a:cubicBezTo>
                <a:cubicBezTo>
                  <a:pt x="5660" y="1781"/>
                  <a:pt x="5671" y="1758"/>
                  <a:pt x="5671" y="1730"/>
                </a:cubicBezTo>
                <a:cubicBezTo>
                  <a:pt x="5671" y="1702"/>
                  <a:pt x="5660" y="1679"/>
                  <a:pt x="5645" y="1679"/>
                </a:cubicBezTo>
                <a:close/>
                <a:moveTo>
                  <a:pt x="3948" y="1688"/>
                </a:moveTo>
                <a:cubicBezTo>
                  <a:pt x="3954" y="1690"/>
                  <a:pt x="3962" y="1691"/>
                  <a:pt x="3969" y="1692"/>
                </a:cubicBezTo>
                <a:cubicBezTo>
                  <a:pt x="3970" y="1698"/>
                  <a:pt x="3971" y="1704"/>
                  <a:pt x="3973" y="1709"/>
                </a:cubicBezTo>
                <a:cubicBezTo>
                  <a:pt x="3971" y="1708"/>
                  <a:pt x="3970" y="1707"/>
                  <a:pt x="3969" y="1706"/>
                </a:cubicBezTo>
                <a:cubicBezTo>
                  <a:pt x="3963" y="1699"/>
                  <a:pt x="3956" y="1692"/>
                  <a:pt x="3948" y="1688"/>
                </a:cubicBezTo>
                <a:close/>
                <a:moveTo>
                  <a:pt x="3353" y="1708"/>
                </a:moveTo>
                <a:cubicBezTo>
                  <a:pt x="3356" y="1714"/>
                  <a:pt x="3360" y="1717"/>
                  <a:pt x="3363" y="1722"/>
                </a:cubicBezTo>
                <a:lnTo>
                  <a:pt x="3366" y="1735"/>
                </a:lnTo>
                <a:cubicBezTo>
                  <a:pt x="3364" y="1735"/>
                  <a:pt x="3363" y="1736"/>
                  <a:pt x="3361" y="1736"/>
                </a:cubicBezTo>
                <a:cubicBezTo>
                  <a:pt x="3353" y="1736"/>
                  <a:pt x="3346" y="1748"/>
                  <a:pt x="3346" y="1765"/>
                </a:cubicBezTo>
                <a:cubicBezTo>
                  <a:pt x="3346" y="1782"/>
                  <a:pt x="3353" y="1795"/>
                  <a:pt x="3361" y="1795"/>
                </a:cubicBezTo>
                <a:lnTo>
                  <a:pt x="3381" y="1795"/>
                </a:lnTo>
                <a:lnTo>
                  <a:pt x="3388" y="1823"/>
                </a:lnTo>
                <a:cubicBezTo>
                  <a:pt x="3368" y="1849"/>
                  <a:pt x="3335" y="1863"/>
                  <a:pt x="3308" y="1863"/>
                </a:cubicBezTo>
                <a:cubicBezTo>
                  <a:pt x="3284" y="1863"/>
                  <a:pt x="3256" y="1798"/>
                  <a:pt x="3256" y="1778"/>
                </a:cubicBezTo>
                <a:cubicBezTo>
                  <a:pt x="3256" y="1753"/>
                  <a:pt x="3283" y="1721"/>
                  <a:pt x="3353" y="1708"/>
                </a:cubicBezTo>
                <a:close/>
                <a:moveTo>
                  <a:pt x="5162" y="1716"/>
                </a:moveTo>
                <a:cubicBezTo>
                  <a:pt x="5148" y="1716"/>
                  <a:pt x="5136" y="1739"/>
                  <a:pt x="5136" y="1767"/>
                </a:cubicBezTo>
                <a:cubicBezTo>
                  <a:pt x="5136" y="1796"/>
                  <a:pt x="5148" y="1819"/>
                  <a:pt x="5162" y="1819"/>
                </a:cubicBezTo>
                <a:cubicBezTo>
                  <a:pt x="5176" y="1819"/>
                  <a:pt x="5187" y="1796"/>
                  <a:pt x="5187" y="1767"/>
                </a:cubicBezTo>
                <a:cubicBezTo>
                  <a:pt x="5187" y="1739"/>
                  <a:pt x="5176" y="1716"/>
                  <a:pt x="5162" y="1716"/>
                </a:cubicBezTo>
                <a:close/>
                <a:moveTo>
                  <a:pt x="3699" y="1734"/>
                </a:moveTo>
                <a:cubicBezTo>
                  <a:pt x="3691" y="1734"/>
                  <a:pt x="3685" y="1746"/>
                  <a:pt x="3685" y="1763"/>
                </a:cubicBezTo>
                <a:cubicBezTo>
                  <a:pt x="3685" y="1820"/>
                  <a:pt x="3718" y="1900"/>
                  <a:pt x="3742" y="1936"/>
                </a:cubicBezTo>
                <a:cubicBezTo>
                  <a:pt x="3754" y="1955"/>
                  <a:pt x="3764" y="1963"/>
                  <a:pt x="3774" y="1963"/>
                </a:cubicBezTo>
                <a:cubicBezTo>
                  <a:pt x="3786" y="1963"/>
                  <a:pt x="3797" y="1953"/>
                  <a:pt x="3806" y="1935"/>
                </a:cubicBezTo>
                <a:cubicBezTo>
                  <a:pt x="3813" y="1921"/>
                  <a:pt x="3817" y="1904"/>
                  <a:pt x="3818" y="1886"/>
                </a:cubicBezTo>
                <a:cubicBezTo>
                  <a:pt x="3819" y="1872"/>
                  <a:pt x="3815" y="1858"/>
                  <a:pt x="3808" y="1854"/>
                </a:cubicBezTo>
                <a:cubicBezTo>
                  <a:pt x="3793" y="1843"/>
                  <a:pt x="3783" y="1823"/>
                  <a:pt x="3772" y="1802"/>
                </a:cubicBezTo>
                <a:cubicBezTo>
                  <a:pt x="3756" y="1770"/>
                  <a:pt x="3737" y="1734"/>
                  <a:pt x="3699" y="1734"/>
                </a:cubicBezTo>
                <a:close/>
                <a:moveTo>
                  <a:pt x="16397" y="1734"/>
                </a:moveTo>
                <a:cubicBezTo>
                  <a:pt x="16309" y="1734"/>
                  <a:pt x="16260" y="1831"/>
                  <a:pt x="16217" y="1918"/>
                </a:cubicBezTo>
                <a:cubicBezTo>
                  <a:pt x="16203" y="1946"/>
                  <a:pt x="16190" y="1972"/>
                  <a:pt x="16176" y="1993"/>
                </a:cubicBezTo>
                <a:cubicBezTo>
                  <a:pt x="16150" y="2033"/>
                  <a:pt x="16010" y="2154"/>
                  <a:pt x="15937" y="2154"/>
                </a:cubicBezTo>
                <a:cubicBezTo>
                  <a:pt x="15916" y="2154"/>
                  <a:pt x="15910" y="2145"/>
                  <a:pt x="15908" y="2140"/>
                </a:cubicBezTo>
                <a:cubicBezTo>
                  <a:pt x="15905" y="2133"/>
                  <a:pt x="15906" y="2120"/>
                  <a:pt x="15907" y="2110"/>
                </a:cubicBezTo>
                <a:cubicBezTo>
                  <a:pt x="15908" y="2100"/>
                  <a:pt x="15907" y="2088"/>
                  <a:pt x="15903" y="2081"/>
                </a:cubicBezTo>
                <a:cubicBezTo>
                  <a:pt x="15899" y="2074"/>
                  <a:pt x="15893" y="2071"/>
                  <a:pt x="15888" y="2074"/>
                </a:cubicBezTo>
                <a:cubicBezTo>
                  <a:pt x="15875" y="2082"/>
                  <a:pt x="15850" y="2091"/>
                  <a:pt x="15822" y="2101"/>
                </a:cubicBezTo>
                <a:cubicBezTo>
                  <a:pt x="15817" y="2095"/>
                  <a:pt x="15813" y="2089"/>
                  <a:pt x="15807" y="2089"/>
                </a:cubicBezTo>
                <a:cubicBezTo>
                  <a:pt x="15798" y="2089"/>
                  <a:pt x="15791" y="2100"/>
                  <a:pt x="15786" y="2115"/>
                </a:cubicBezTo>
                <a:cubicBezTo>
                  <a:pt x="15754" y="2126"/>
                  <a:pt x="15721" y="2138"/>
                  <a:pt x="15683" y="2156"/>
                </a:cubicBezTo>
                <a:cubicBezTo>
                  <a:pt x="15682" y="2156"/>
                  <a:pt x="15681" y="2155"/>
                  <a:pt x="15681" y="2156"/>
                </a:cubicBezTo>
                <a:cubicBezTo>
                  <a:pt x="15646" y="2171"/>
                  <a:pt x="15616" y="2189"/>
                  <a:pt x="15586" y="2208"/>
                </a:cubicBezTo>
                <a:cubicBezTo>
                  <a:pt x="15583" y="2206"/>
                  <a:pt x="15581" y="2201"/>
                  <a:pt x="15577" y="2201"/>
                </a:cubicBezTo>
                <a:cubicBezTo>
                  <a:pt x="15565" y="2201"/>
                  <a:pt x="15554" y="2215"/>
                  <a:pt x="15547" y="2234"/>
                </a:cubicBezTo>
                <a:cubicBezTo>
                  <a:pt x="15518" y="2255"/>
                  <a:pt x="15490" y="2278"/>
                  <a:pt x="15465" y="2302"/>
                </a:cubicBezTo>
                <a:cubicBezTo>
                  <a:pt x="15432" y="2335"/>
                  <a:pt x="15403" y="2372"/>
                  <a:pt x="15376" y="2414"/>
                </a:cubicBezTo>
                <a:lnTo>
                  <a:pt x="15372" y="2421"/>
                </a:lnTo>
                <a:cubicBezTo>
                  <a:pt x="15367" y="2428"/>
                  <a:pt x="15363" y="2435"/>
                  <a:pt x="15359" y="2442"/>
                </a:cubicBezTo>
                <a:cubicBezTo>
                  <a:pt x="15344" y="2469"/>
                  <a:pt x="15334" y="2513"/>
                  <a:pt x="15324" y="2555"/>
                </a:cubicBezTo>
                <a:cubicBezTo>
                  <a:pt x="15308" y="2624"/>
                  <a:pt x="15296" y="2668"/>
                  <a:pt x="15277" y="2668"/>
                </a:cubicBezTo>
                <a:cubicBezTo>
                  <a:pt x="15269" y="2668"/>
                  <a:pt x="15258" y="2668"/>
                  <a:pt x="15245" y="2667"/>
                </a:cubicBezTo>
                <a:cubicBezTo>
                  <a:pt x="15226" y="2666"/>
                  <a:pt x="15202" y="2664"/>
                  <a:pt x="15177" y="2664"/>
                </a:cubicBezTo>
                <a:cubicBezTo>
                  <a:pt x="15168" y="2664"/>
                  <a:pt x="15163" y="2666"/>
                  <a:pt x="15155" y="2666"/>
                </a:cubicBezTo>
                <a:cubicBezTo>
                  <a:pt x="15156" y="2658"/>
                  <a:pt x="15159" y="2652"/>
                  <a:pt x="15159" y="2643"/>
                </a:cubicBezTo>
                <a:cubicBezTo>
                  <a:pt x="15159" y="2605"/>
                  <a:pt x="15144" y="2574"/>
                  <a:pt x="15126" y="2574"/>
                </a:cubicBezTo>
                <a:cubicBezTo>
                  <a:pt x="15107" y="2574"/>
                  <a:pt x="15091" y="2605"/>
                  <a:pt x="15091" y="2643"/>
                </a:cubicBezTo>
                <a:cubicBezTo>
                  <a:pt x="15091" y="2654"/>
                  <a:pt x="15095" y="2662"/>
                  <a:pt x="15098" y="2672"/>
                </a:cubicBezTo>
                <a:cubicBezTo>
                  <a:pt x="15092" y="2673"/>
                  <a:pt x="15085" y="2673"/>
                  <a:pt x="15080" y="2674"/>
                </a:cubicBezTo>
                <a:cubicBezTo>
                  <a:pt x="14980" y="2699"/>
                  <a:pt x="14930" y="2772"/>
                  <a:pt x="14930" y="2890"/>
                </a:cubicBezTo>
                <a:cubicBezTo>
                  <a:pt x="14930" y="2910"/>
                  <a:pt x="14932" y="2931"/>
                  <a:pt x="14938" y="2958"/>
                </a:cubicBezTo>
                <a:cubicBezTo>
                  <a:pt x="14941" y="2968"/>
                  <a:pt x="14943" y="2978"/>
                  <a:pt x="14946" y="2989"/>
                </a:cubicBezTo>
                <a:cubicBezTo>
                  <a:pt x="14950" y="3007"/>
                  <a:pt x="14955" y="3026"/>
                  <a:pt x="14959" y="3045"/>
                </a:cubicBezTo>
                <a:cubicBezTo>
                  <a:pt x="14942" y="3061"/>
                  <a:pt x="14927" y="3057"/>
                  <a:pt x="14898" y="3049"/>
                </a:cubicBezTo>
                <a:lnTo>
                  <a:pt x="14884" y="3045"/>
                </a:lnTo>
                <a:cubicBezTo>
                  <a:pt x="14857" y="3038"/>
                  <a:pt x="14819" y="3030"/>
                  <a:pt x="14765" y="3030"/>
                </a:cubicBezTo>
                <a:cubicBezTo>
                  <a:pt x="14760" y="3030"/>
                  <a:pt x="14755" y="3034"/>
                  <a:pt x="14752" y="3042"/>
                </a:cubicBezTo>
                <a:cubicBezTo>
                  <a:pt x="14711" y="3153"/>
                  <a:pt x="14691" y="3165"/>
                  <a:pt x="14684" y="3165"/>
                </a:cubicBezTo>
                <a:cubicBezTo>
                  <a:pt x="14669" y="3165"/>
                  <a:pt x="14659" y="3084"/>
                  <a:pt x="14653" y="3030"/>
                </a:cubicBezTo>
                <a:cubicBezTo>
                  <a:pt x="14647" y="2981"/>
                  <a:pt x="14642" y="2938"/>
                  <a:pt x="14632" y="2913"/>
                </a:cubicBezTo>
                <a:cubicBezTo>
                  <a:pt x="14628" y="2904"/>
                  <a:pt x="14623" y="2900"/>
                  <a:pt x="14617" y="2903"/>
                </a:cubicBezTo>
                <a:cubicBezTo>
                  <a:pt x="14611" y="2906"/>
                  <a:pt x="14607" y="2916"/>
                  <a:pt x="14606" y="2927"/>
                </a:cubicBezTo>
                <a:cubicBezTo>
                  <a:pt x="14596" y="3052"/>
                  <a:pt x="14555" y="3104"/>
                  <a:pt x="14503" y="3160"/>
                </a:cubicBezTo>
                <a:cubicBezTo>
                  <a:pt x="14497" y="3167"/>
                  <a:pt x="14494" y="3182"/>
                  <a:pt x="14496" y="3195"/>
                </a:cubicBezTo>
                <a:cubicBezTo>
                  <a:pt x="14502" y="3237"/>
                  <a:pt x="14515" y="3276"/>
                  <a:pt x="14528" y="3315"/>
                </a:cubicBezTo>
                <a:cubicBezTo>
                  <a:pt x="14559" y="3411"/>
                  <a:pt x="14576" y="3476"/>
                  <a:pt x="14541" y="3550"/>
                </a:cubicBezTo>
                <a:cubicBezTo>
                  <a:pt x="14532" y="3570"/>
                  <a:pt x="14529" y="3595"/>
                  <a:pt x="14528" y="3620"/>
                </a:cubicBezTo>
                <a:cubicBezTo>
                  <a:pt x="14518" y="3621"/>
                  <a:pt x="14507" y="3628"/>
                  <a:pt x="14498" y="3637"/>
                </a:cubicBezTo>
                <a:cubicBezTo>
                  <a:pt x="14481" y="3461"/>
                  <a:pt x="14472" y="3270"/>
                  <a:pt x="14472" y="3208"/>
                </a:cubicBezTo>
                <a:cubicBezTo>
                  <a:pt x="14472" y="3170"/>
                  <a:pt x="14482" y="3139"/>
                  <a:pt x="14492" y="3108"/>
                </a:cubicBezTo>
                <a:cubicBezTo>
                  <a:pt x="14503" y="3074"/>
                  <a:pt x="14515" y="3039"/>
                  <a:pt x="14507" y="3002"/>
                </a:cubicBezTo>
                <a:cubicBezTo>
                  <a:pt x="14502" y="2978"/>
                  <a:pt x="14487" y="2960"/>
                  <a:pt x="14465" y="2942"/>
                </a:cubicBezTo>
                <a:cubicBezTo>
                  <a:pt x="14453" y="2923"/>
                  <a:pt x="14438" y="2910"/>
                  <a:pt x="14421" y="2910"/>
                </a:cubicBezTo>
                <a:cubicBezTo>
                  <a:pt x="14419" y="2910"/>
                  <a:pt x="14417" y="2912"/>
                  <a:pt x="14414" y="2912"/>
                </a:cubicBezTo>
                <a:cubicBezTo>
                  <a:pt x="14410" y="2910"/>
                  <a:pt x="14409" y="2908"/>
                  <a:pt x="14405" y="2906"/>
                </a:cubicBezTo>
                <a:cubicBezTo>
                  <a:pt x="14404" y="2906"/>
                  <a:pt x="14404" y="2906"/>
                  <a:pt x="14404" y="2906"/>
                </a:cubicBezTo>
                <a:cubicBezTo>
                  <a:pt x="14404" y="2906"/>
                  <a:pt x="14403" y="2905"/>
                  <a:pt x="14403" y="2905"/>
                </a:cubicBezTo>
                <a:cubicBezTo>
                  <a:pt x="14410" y="2899"/>
                  <a:pt x="14416" y="2894"/>
                  <a:pt x="14420" y="2888"/>
                </a:cubicBezTo>
                <a:cubicBezTo>
                  <a:pt x="14423" y="2882"/>
                  <a:pt x="14425" y="2873"/>
                  <a:pt x="14425" y="2864"/>
                </a:cubicBezTo>
                <a:cubicBezTo>
                  <a:pt x="14425" y="2855"/>
                  <a:pt x="14423" y="2847"/>
                  <a:pt x="14420" y="2841"/>
                </a:cubicBezTo>
                <a:cubicBezTo>
                  <a:pt x="14414" y="2831"/>
                  <a:pt x="14409" y="2819"/>
                  <a:pt x="14404" y="2807"/>
                </a:cubicBezTo>
                <a:cubicBezTo>
                  <a:pt x="14393" y="2782"/>
                  <a:pt x="14381" y="2754"/>
                  <a:pt x="14357" y="2754"/>
                </a:cubicBezTo>
                <a:cubicBezTo>
                  <a:pt x="14330" y="2754"/>
                  <a:pt x="14310" y="2813"/>
                  <a:pt x="14310" y="2868"/>
                </a:cubicBezTo>
                <a:cubicBezTo>
                  <a:pt x="14310" y="2871"/>
                  <a:pt x="14310" y="2875"/>
                  <a:pt x="14310" y="2878"/>
                </a:cubicBezTo>
                <a:cubicBezTo>
                  <a:pt x="14308" y="2894"/>
                  <a:pt x="14306" y="2913"/>
                  <a:pt x="14312" y="2928"/>
                </a:cubicBezTo>
                <a:cubicBezTo>
                  <a:pt x="14312" y="2929"/>
                  <a:pt x="14312" y="2929"/>
                  <a:pt x="14313" y="2930"/>
                </a:cubicBezTo>
                <a:cubicBezTo>
                  <a:pt x="14301" y="2939"/>
                  <a:pt x="14289" y="2950"/>
                  <a:pt x="14277" y="2965"/>
                </a:cubicBezTo>
                <a:cubicBezTo>
                  <a:pt x="14218" y="3031"/>
                  <a:pt x="14157" y="3146"/>
                  <a:pt x="14129" y="3253"/>
                </a:cubicBezTo>
                <a:cubicBezTo>
                  <a:pt x="14126" y="3251"/>
                  <a:pt x="14124" y="3246"/>
                  <a:pt x="14121" y="3246"/>
                </a:cubicBezTo>
                <a:cubicBezTo>
                  <a:pt x="14102" y="3246"/>
                  <a:pt x="14087" y="3277"/>
                  <a:pt x="14087" y="3314"/>
                </a:cubicBezTo>
                <a:cubicBezTo>
                  <a:pt x="14087" y="3347"/>
                  <a:pt x="14099" y="3370"/>
                  <a:pt x="14114" y="3376"/>
                </a:cubicBezTo>
                <a:cubicBezTo>
                  <a:pt x="14116" y="3452"/>
                  <a:pt x="14122" y="3522"/>
                  <a:pt x="14137" y="3589"/>
                </a:cubicBezTo>
                <a:lnTo>
                  <a:pt x="14141" y="3605"/>
                </a:lnTo>
                <a:cubicBezTo>
                  <a:pt x="14141" y="3605"/>
                  <a:pt x="14141" y="3606"/>
                  <a:pt x="14141" y="3606"/>
                </a:cubicBezTo>
                <a:cubicBezTo>
                  <a:pt x="14152" y="3653"/>
                  <a:pt x="14168" y="3698"/>
                  <a:pt x="14187" y="3742"/>
                </a:cubicBezTo>
                <a:cubicBezTo>
                  <a:pt x="14182" y="3739"/>
                  <a:pt x="14178" y="3730"/>
                  <a:pt x="14173" y="3730"/>
                </a:cubicBezTo>
                <a:cubicBezTo>
                  <a:pt x="14149" y="3730"/>
                  <a:pt x="14132" y="3767"/>
                  <a:pt x="14127" y="3812"/>
                </a:cubicBezTo>
                <a:cubicBezTo>
                  <a:pt x="14118" y="3802"/>
                  <a:pt x="14109" y="3794"/>
                  <a:pt x="14099" y="3784"/>
                </a:cubicBezTo>
                <a:cubicBezTo>
                  <a:pt x="14055" y="3737"/>
                  <a:pt x="14008" y="3689"/>
                  <a:pt x="13973" y="3664"/>
                </a:cubicBezTo>
                <a:cubicBezTo>
                  <a:pt x="13972" y="3664"/>
                  <a:pt x="13972" y="3664"/>
                  <a:pt x="13972" y="3664"/>
                </a:cubicBezTo>
                <a:cubicBezTo>
                  <a:pt x="13967" y="3661"/>
                  <a:pt x="13963" y="3658"/>
                  <a:pt x="13959" y="3656"/>
                </a:cubicBezTo>
                <a:cubicBezTo>
                  <a:pt x="13921" y="3636"/>
                  <a:pt x="13887" y="3621"/>
                  <a:pt x="13858" y="3612"/>
                </a:cubicBezTo>
                <a:cubicBezTo>
                  <a:pt x="13815" y="3597"/>
                  <a:pt x="13787" y="3599"/>
                  <a:pt x="13766" y="3610"/>
                </a:cubicBezTo>
                <a:cubicBezTo>
                  <a:pt x="13757" y="3599"/>
                  <a:pt x="13748" y="3591"/>
                  <a:pt x="13737" y="3587"/>
                </a:cubicBezTo>
                <a:cubicBezTo>
                  <a:pt x="13734" y="3577"/>
                  <a:pt x="13734" y="3567"/>
                  <a:pt x="13729" y="3558"/>
                </a:cubicBezTo>
                <a:cubicBezTo>
                  <a:pt x="13710" y="3516"/>
                  <a:pt x="13676" y="3483"/>
                  <a:pt x="13651" y="3483"/>
                </a:cubicBezTo>
                <a:cubicBezTo>
                  <a:pt x="13633" y="3483"/>
                  <a:pt x="13621" y="3501"/>
                  <a:pt x="13617" y="3530"/>
                </a:cubicBezTo>
                <a:cubicBezTo>
                  <a:pt x="13617" y="3530"/>
                  <a:pt x="13616" y="3531"/>
                  <a:pt x="13616" y="3531"/>
                </a:cubicBezTo>
                <a:cubicBezTo>
                  <a:pt x="13616" y="3535"/>
                  <a:pt x="13615" y="3541"/>
                  <a:pt x="13615" y="3549"/>
                </a:cubicBezTo>
                <a:cubicBezTo>
                  <a:pt x="13615" y="3591"/>
                  <a:pt x="13634" y="3626"/>
                  <a:pt x="13656" y="3651"/>
                </a:cubicBezTo>
                <a:cubicBezTo>
                  <a:pt x="13647" y="3678"/>
                  <a:pt x="13640" y="3710"/>
                  <a:pt x="13640" y="3746"/>
                </a:cubicBezTo>
                <a:cubicBezTo>
                  <a:pt x="13640" y="3764"/>
                  <a:pt x="13642" y="3781"/>
                  <a:pt x="13645" y="3798"/>
                </a:cubicBezTo>
                <a:cubicBezTo>
                  <a:pt x="13644" y="3798"/>
                  <a:pt x="13642" y="3795"/>
                  <a:pt x="13641" y="3795"/>
                </a:cubicBezTo>
                <a:cubicBezTo>
                  <a:pt x="13615" y="3795"/>
                  <a:pt x="13584" y="3817"/>
                  <a:pt x="13547" y="3842"/>
                </a:cubicBezTo>
                <a:cubicBezTo>
                  <a:pt x="13503" y="3873"/>
                  <a:pt x="13453" y="3908"/>
                  <a:pt x="13408" y="3908"/>
                </a:cubicBezTo>
                <a:cubicBezTo>
                  <a:pt x="13399" y="3908"/>
                  <a:pt x="13392" y="3901"/>
                  <a:pt x="13383" y="3898"/>
                </a:cubicBezTo>
                <a:cubicBezTo>
                  <a:pt x="13382" y="3847"/>
                  <a:pt x="13362" y="3805"/>
                  <a:pt x="13336" y="3805"/>
                </a:cubicBezTo>
                <a:cubicBezTo>
                  <a:pt x="13326" y="3805"/>
                  <a:pt x="13318" y="3816"/>
                  <a:pt x="13310" y="3826"/>
                </a:cubicBezTo>
                <a:cubicBezTo>
                  <a:pt x="13305" y="3823"/>
                  <a:pt x="13301" y="3817"/>
                  <a:pt x="13294" y="3817"/>
                </a:cubicBezTo>
                <a:cubicBezTo>
                  <a:pt x="13241" y="3817"/>
                  <a:pt x="13166" y="3903"/>
                  <a:pt x="13092" y="3993"/>
                </a:cubicBezTo>
                <a:cubicBezTo>
                  <a:pt x="13086" y="3961"/>
                  <a:pt x="13077" y="3934"/>
                  <a:pt x="13064" y="3915"/>
                </a:cubicBezTo>
                <a:cubicBezTo>
                  <a:pt x="13085" y="3905"/>
                  <a:pt x="13104" y="3887"/>
                  <a:pt x="13120" y="3868"/>
                </a:cubicBezTo>
                <a:cubicBezTo>
                  <a:pt x="13126" y="3861"/>
                  <a:pt x="13132" y="3855"/>
                  <a:pt x="13138" y="3848"/>
                </a:cubicBezTo>
                <a:cubicBezTo>
                  <a:pt x="13142" y="3843"/>
                  <a:pt x="13146" y="3832"/>
                  <a:pt x="13146" y="3821"/>
                </a:cubicBezTo>
                <a:lnTo>
                  <a:pt x="13146" y="3767"/>
                </a:lnTo>
                <a:cubicBezTo>
                  <a:pt x="13146" y="3752"/>
                  <a:pt x="13140" y="3738"/>
                  <a:pt x="13132" y="3736"/>
                </a:cubicBezTo>
                <a:cubicBezTo>
                  <a:pt x="13122" y="3733"/>
                  <a:pt x="13114" y="3723"/>
                  <a:pt x="13104" y="3710"/>
                </a:cubicBezTo>
                <a:cubicBezTo>
                  <a:pt x="13091" y="3692"/>
                  <a:pt x="13076" y="3673"/>
                  <a:pt x="13056" y="3673"/>
                </a:cubicBezTo>
                <a:cubicBezTo>
                  <a:pt x="13043" y="3673"/>
                  <a:pt x="13036" y="3694"/>
                  <a:pt x="13031" y="3707"/>
                </a:cubicBezTo>
                <a:cubicBezTo>
                  <a:pt x="13030" y="3710"/>
                  <a:pt x="13029" y="3714"/>
                  <a:pt x="13028" y="3716"/>
                </a:cubicBezTo>
                <a:cubicBezTo>
                  <a:pt x="13009" y="3727"/>
                  <a:pt x="12989" y="3826"/>
                  <a:pt x="12989" y="3842"/>
                </a:cubicBezTo>
                <a:cubicBezTo>
                  <a:pt x="12989" y="3862"/>
                  <a:pt x="12991" y="3877"/>
                  <a:pt x="12994" y="3888"/>
                </a:cubicBezTo>
                <a:cubicBezTo>
                  <a:pt x="12959" y="3906"/>
                  <a:pt x="12933" y="3968"/>
                  <a:pt x="12933" y="4044"/>
                </a:cubicBezTo>
                <a:cubicBezTo>
                  <a:pt x="12933" y="4087"/>
                  <a:pt x="12941" y="4126"/>
                  <a:pt x="12954" y="4155"/>
                </a:cubicBezTo>
                <a:cubicBezTo>
                  <a:pt x="12931" y="4180"/>
                  <a:pt x="12910" y="4199"/>
                  <a:pt x="12899" y="4199"/>
                </a:cubicBezTo>
                <a:cubicBezTo>
                  <a:pt x="12884" y="4199"/>
                  <a:pt x="12866" y="4183"/>
                  <a:pt x="12861" y="4166"/>
                </a:cubicBezTo>
                <a:cubicBezTo>
                  <a:pt x="12859" y="4161"/>
                  <a:pt x="12859" y="4158"/>
                  <a:pt x="12860" y="4155"/>
                </a:cubicBezTo>
                <a:cubicBezTo>
                  <a:pt x="12872" y="4091"/>
                  <a:pt x="12874" y="4000"/>
                  <a:pt x="12867" y="3930"/>
                </a:cubicBezTo>
                <a:lnTo>
                  <a:pt x="12865" y="3922"/>
                </a:lnTo>
                <a:cubicBezTo>
                  <a:pt x="12859" y="3873"/>
                  <a:pt x="12850" y="3854"/>
                  <a:pt x="12840" y="3845"/>
                </a:cubicBezTo>
                <a:cubicBezTo>
                  <a:pt x="12835" y="3802"/>
                  <a:pt x="12819" y="3768"/>
                  <a:pt x="12796" y="3768"/>
                </a:cubicBezTo>
                <a:cubicBezTo>
                  <a:pt x="12769" y="3768"/>
                  <a:pt x="12747" y="3812"/>
                  <a:pt x="12747" y="3867"/>
                </a:cubicBezTo>
                <a:cubicBezTo>
                  <a:pt x="12747" y="3901"/>
                  <a:pt x="12757" y="3926"/>
                  <a:pt x="12769" y="3944"/>
                </a:cubicBezTo>
                <a:cubicBezTo>
                  <a:pt x="12756" y="3992"/>
                  <a:pt x="12742" y="4053"/>
                  <a:pt x="12725" y="4156"/>
                </a:cubicBezTo>
                <a:cubicBezTo>
                  <a:pt x="12720" y="4190"/>
                  <a:pt x="12731" y="4213"/>
                  <a:pt x="12740" y="4229"/>
                </a:cubicBezTo>
                <a:cubicBezTo>
                  <a:pt x="12748" y="4247"/>
                  <a:pt x="12756" y="4262"/>
                  <a:pt x="12756" y="4292"/>
                </a:cubicBezTo>
                <a:cubicBezTo>
                  <a:pt x="12756" y="4328"/>
                  <a:pt x="12750" y="4347"/>
                  <a:pt x="12716" y="4347"/>
                </a:cubicBezTo>
                <a:cubicBezTo>
                  <a:pt x="12705" y="4347"/>
                  <a:pt x="12692" y="4345"/>
                  <a:pt x="12679" y="4343"/>
                </a:cubicBezTo>
                <a:cubicBezTo>
                  <a:pt x="12666" y="4340"/>
                  <a:pt x="12652" y="4338"/>
                  <a:pt x="12638" y="4338"/>
                </a:cubicBezTo>
                <a:cubicBezTo>
                  <a:pt x="12621" y="4338"/>
                  <a:pt x="12608" y="4341"/>
                  <a:pt x="12597" y="4348"/>
                </a:cubicBezTo>
                <a:cubicBezTo>
                  <a:pt x="12590" y="4353"/>
                  <a:pt x="12583" y="4362"/>
                  <a:pt x="12577" y="4374"/>
                </a:cubicBezTo>
                <a:cubicBezTo>
                  <a:pt x="12566" y="4397"/>
                  <a:pt x="12558" y="4432"/>
                  <a:pt x="12550" y="4468"/>
                </a:cubicBezTo>
                <a:cubicBezTo>
                  <a:pt x="12530" y="4553"/>
                  <a:pt x="12510" y="4642"/>
                  <a:pt x="12445" y="4642"/>
                </a:cubicBezTo>
                <a:cubicBezTo>
                  <a:pt x="12436" y="4642"/>
                  <a:pt x="12425" y="4637"/>
                  <a:pt x="12415" y="4634"/>
                </a:cubicBezTo>
                <a:cubicBezTo>
                  <a:pt x="12411" y="4632"/>
                  <a:pt x="12409" y="4626"/>
                  <a:pt x="12405" y="4626"/>
                </a:cubicBezTo>
                <a:cubicBezTo>
                  <a:pt x="12403" y="4626"/>
                  <a:pt x="12402" y="4630"/>
                  <a:pt x="12400" y="4630"/>
                </a:cubicBezTo>
                <a:cubicBezTo>
                  <a:pt x="12379" y="4621"/>
                  <a:pt x="12357" y="4605"/>
                  <a:pt x="12332" y="4584"/>
                </a:cubicBezTo>
                <a:cubicBezTo>
                  <a:pt x="12327" y="4580"/>
                  <a:pt x="12322" y="4581"/>
                  <a:pt x="12318" y="4586"/>
                </a:cubicBezTo>
                <a:cubicBezTo>
                  <a:pt x="12313" y="4592"/>
                  <a:pt x="12311" y="4602"/>
                  <a:pt x="12311" y="4612"/>
                </a:cubicBezTo>
                <a:lnTo>
                  <a:pt x="12311" y="4747"/>
                </a:lnTo>
                <a:cubicBezTo>
                  <a:pt x="12273" y="4730"/>
                  <a:pt x="12254" y="4678"/>
                  <a:pt x="12241" y="4616"/>
                </a:cubicBezTo>
                <a:cubicBezTo>
                  <a:pt x="12244" y="4603"/>
                  <a:pt x="12250" y="4592"/>
                  <a:pt x="12250" y="4576"/>
                </a:cubicBezTo>
                <a:cubicBezTo>
                  <a:pt x="12250" y="4534"/>
                  <a:pt x="12235" y="4505"/>
                  <a:pt x="12216" y="4491"/>
                </a:cubicBezTo>
                <a:cubicBezTo>
                  <a:pt x="12212" y="4462"/>
                  <a:pt x="12208" y="4432"/>
                  <a:pt x="12202" y="4407"/>
                </a:cubicBezTo>
                <a:lnTo>
                  <a:pt x="12227" y="4407"/>
                </a:lnTo>
                <a:cubicBezTo>
                  <a:pt x="12272" y="4407"/>
                  <a:pt x="12311" y="4413"/>
                  <a:pt x="12357" y="4430"/>
                </a:cubicBezTo>
                <a:cubicBezTo>
                  <a:pt x="12358" y="4483"/>
                  <a:pt x="12379" y="4524"/>
                  <a:pt x="12405" y="4524"/>
                </a:cubicBezTo>
                <a:cubicBezTo>
                  <a:pt x="12427" y="4524"/>
                  <a:pt x="12442" y="4494"/>
                  <a:pt x="12448" y="4456"/>
                </a:cubicBezTo>
                <a:cubicBezTo>
                  <a:pt x="12488" y="4452"/>
                  <a:pt x="12531" y="4425"/>
                  <a:pt x="12562" y="4381"/>
                </a:cubicBezTo>
                <a:cubicBezTo>
                  <a:pt x="12596" y="4333"/>
                  <a:pt x="12611" y="4272"/>
                  <a:pt x="12607" y="4210"/>
                </a:cubicBezTo>
                <a:cubicBezTo>
                  <a:pt x="12598" y="4101"/>
                  <a:pt x="12530" y="4004"/>
                  <a:pt x="12405" y="3924"/>
                </a:cubicBezTo>
                <a:cubicBezTo>
                  <a:pt x="12366" y="3899"/>
                  <a:pt x="12310" y="3851"/>
                  <a:pt x="12251" y="3800"/>
                </a:cubicBezTo>
                <a:cubicBezTo>
                  <a:pt x="12150" y="3715"/>
                  <a:pt x="12046" y="3626"/>
                  <a:pt x="11998" y="3624"/>
                </a:cubicBezTo>
                <a:cubicBezTo>
                  <a:pt x="11998" y="3624"/>
                  <a:pt x="11998" y="3625"/>
                  <a:pt x="11998" y="3624"/>
                </a:cubicBezTo>
                <a:cubicBezTo>
                  <a:pt x="11992" y="3620"/>
                  <a:pt x="11985" y="3616"/>
                  <a:pt x="11970" y="3616"/>
                </a:cubicBezTo>
                <a:cubicBezTo>
                  <a:pt x="11962" y="3616"/>
                  <a:pt x="11951" y="3618"/>
                  <a:pt x="11940" y="3621"/>
                </a:cubicBezTo>
                <a:cubicBezTo>
                  <a:pt x="11940" y="3621"/>
                  <a:pt x="11938" y="3620"/>
                  <a:pt x="11938" y="3620"/>
                </a:cubicBezTo>
                <a:cubicBezTo>
                  <a:pt x="11931" y="3618"/>
                  <a:pt x="11914" y="3614"/>
                  <a:pt x="11899" y="3610"/>
                </a:cubicBezTo>
                <a:cubicBezTo>
                  <a:pt x="11893" y="3609"/>
                  <a:pt x="11887" y="3607"/>
                  <a:pt x="11881" y="3606"/>
                </a:cubicBezTo>
                <a:cubicBezTo>
                  <a:pt x="11879" y="3596"/>
                  <a:pt x="11874" y="3589"/>
                  <a:pt x="11870" y="3582"/>
                </a:cubicBezTo>
                <a:cubicBezTo>
                  <a:pt x="11871" y="3582"/>
                  <a:pt x="11871" y="3583"/>
                  <a:pt x="11872" y="3582"/>
                </a:cubicBezTo>
                <a:cubicBezTo>
                  <a:pt x="11900" y="3573"/>
                  <a:pt x="11917" y="3562"/>
                  <a:pt x="11933" y="3479"/>
                </a:cubicBezTo>
                <a:cubicBezTo>
                  <a:pt x="11935" y="3464"/>
                  <a:pt x="11932" y="3448"/>
                  <a:pt x="11926" y="3441"/>
                </a:cubicBezTo>
                <a:lnTo>
                  <a:pt x="11916" y="3432"/>
                </a:lnTo>
                <a:cubicBezTo>
                  <a:pt x="11871" y="3385"/>
                  <a:pt x="11855" y="3370"/>
                  <a:pt x="11845" y="3370"/>
                </a:cubicBezTo>
                <a:cubicBezTo>
                  <a:pt x="11826" y="3370"/>
                  <a:pt x="11815" y="3392"/>
                  <a:pt x="11808" y="3415"/>
                </a:cubicBezTo>
                <a:cubicBezTo>
                  <a:pt x="11807" y="3409"/>
                  <a:pt x="11807" y="3402"/>
                  <a:pt x="11807" y="3392"/>
                </a:cubicBezTo>
                <a:cubicBezTo>
                  <a:pt x="11807" y="3383"/>
                  <a:pt x="11807" y="3373"/>
                  <a:pt x="11806" y="3363"/>
                </a:cubicBezTo>
                <a:cubicBezTo>
                  <a:pt x="11806" y="3353"/>
                  <a:pt x="11803" y="3344"/>
                  <a:pt x="11798" y="3339"/>
                </a:cubicBezTo>
                <a:cubicBezTo>
                  <a:pt x="11794" y="3334"/>
                  <a:pt x="11788" y="3334"/>
                  <a:pt x="11784" y="3340"/>
                </a:cubicBezTo>
                <a:lnTo>
                  <a:pt x="11772" y="3355"/>
                </a:lnTo>
                <a:cubicBezTo>
                  <a:pt x="11757" y="3373"/>
                  <a:pt x="11746" y="3387"/>
                  <a:pt x="11734" y="3404"/>
                </a:cubicBezTo>
                <a:cubicBezTo>
                  <a:pt x="11730" y="3411"/>
                  <a:pt x="11725" y="3419"/>
                  <a:pt x="11720" y="3426"/>
                </a:cubicBezTo>
                <a:cubicBezTo>
                  <a:pt x="11719" y="3416"/>
                  <a:pt x="11717" y="3405"/>
                  <a:pt x="11713" y="3394"/>
                </a:cubicBezTo>
                <a:cubicBezTo>
                  <a:pt x="11709" y="3379"/>
                  <a:pt x="11700" y="3374"/>
                  <a:pt x="11693" y="3382"/>
                </a:cubicBezTo>
                <a:cubicBezTo>
                  <a:pt x="11690" y="3385"/>
                  <a:pt x="11689" y="3389"/>
                  <a:pt x="11686" y="3392"/>
                </a:cubicBezTo>
                <a:cubicBezTo>
                  <a:pt x="11680" y="3352"/>
                  <a:pt x="11664" y="3320"/>
                  <a:pt x="11642" y="3320"/>
                </a:cubicBezTo>
                <a:cubicBezTo>
                  <a:pt x="11623" y="3320"/>
                  <a:pt x="11609" y="3347"/>
                  <a:pt x="11601" y="3381"/>
                </a:cubicBezTo>
                <a:cubicBezTo>
                  <a:pt x="11597" y="3384"/>
                  <a:pt x="11595" y="3384"/>
                  <a:pt x="11590" y="3388"/>
                </a:cubicBezTo>
                <a:cubicBezTo>
                  <a:pt x="11573" y="3402"/>
                  <a:pt x="11551" y="3420"/>
                  <a:pt x="11541" y="3420"/>
                </a:cubicBezTo>
                <a:cubicBezTo>
                  <a:pt x="11531" y="3420"/>
                  <a:pt x="11521" y="3398"/>
                  <a:pt x="11511" y="3375"/>
                </a:cubicBezTo>
                <a:lnTo>
                  <a:pt x="11508" y="3367"/>
                </a:lnTo>
                <a:cubicBezTo>
                  <a:pt x="11505" y="3359"/>
                  <a:pt x="11500" y="3355"/>
                  <a:pt x="11495" y="3356"/>
                </a:cubicBezTo>
                <a:cubicBezTo>
                  <a:pt x="11490" y="3357"/>
                  <a:pt x="11486" y="3364"/>
                  <a:pt x="11484" y="3373"/>
                </a:cubicBezTo>
                <a:cubicBezTo>
                  <a:pt x="11482" y="3378"/>
                  <a:pt x="11472" y="3387"/>
                  <a:pt x="11466" y="3392"/>
                </a:cubicBezTo>
                <a:cubicBezTo>
                  <a:pt x="11464" y="3394"/>
                  <a:pt x="11463" y="3396"/>
                  <a:pt x="11461" y="3398"/>
                </a:cubicBezTo>
                <a:cubicBezTo>
                  <a:pt x="11459" y="3398"/>
                  <a:pt x="11458" y="3395"/>
                  <a:pt x="11456" y="3395"/>
                </a:cubicBezTo>
                <a:cubicBezTo>
                  <a:pt x="11429" y="3395"/>
                  <a:pt x="11407" y="3439"/>
                  <a:pt x="11407" y="3494"/>
                </a:cubicBezTo>
                <a:cubicBezTo>
                  <a:pt x="11407" y="3506"/>
                  <a:pt x="11411" y="3515"/>
                  <a:pt x="11413" y="3525"/>
                </a:cubicBezTo>
                <a:cubicBezTo>
                  <a:pt x="11408" y="3531"/>
                  <a:pt x="11402" y="3531"/>
                  <a:pt x="11396" y="3539"/>
                </a:cubicBezTo>
                <a:cubicBezTo>
                  <a:pt x="11396" y="3535"/>
                  <a:pt x="11394" y="3530"/>
                  <a:pt x="11392" y="3526"/>
                </a:cubicBezTo>
                <a:cubicBezTo>
                  <a:pt x="11389" y="3521"/>
                  <a:pt x="11385" y="3518"/>
                  <a:pt x="11381" y="3518"/>
                </a:cubicBezTo>
                <a:cubicBezTo>
                  <a:pt x="11349" y="3521"/>
                  <a:pt x="11332" y="3565"/>
                  <a:pt x="11320" y="3596"/>
                </a:cubicBezTo>
                <a:cubicBezTo>
                  <a:pt x="11319" y="3598"/>
                  <a:pt x="11319" y="3600"/>
                  <a:pt x="11318" y="3602"/>
                </a:cubicBezTo>
                <a:cubicBezTo>
                  <a:pt x="11317" y="3597"/>
                  <a:pt x="11315" y="3593"/>
                  <a:pt x="11313" y="3589"/>
                </a:cubicBezTo>
                <a:cubicBezTo>
                  <a:pt x="11310" y="3584"/>
                  <a:pt x="11306" y="3582"/>
                  <a:pt x="11301" y="3584"/>
                </a:cubicBezTo>
                <a:cubicBezTo>
                  <a:pt x="11293" y="3587"/>
                  <a:pt x="11285" y="3589"/>
                  <a:pt x="11276" y="3591"/>
                </a:cubicBezTo>
                <a:cubicBezTo>
                  <a:pt x="11249" y="3597"/>
                  <a:pt x="11222" y="3604"/>
                  <a:pt x="11202" y="3642"/>
                </a:cubicBezTo>
                <a:cubicBezTo>
                  <a:pt x="11200" y="3647"/>
                  <a:pt x="11201" y="3654"/>
                  <a:pt x="11201" y="3661"/>
                </a:cubicBezTo>
                <a:cubicBezTo>
                  <a:pt x="11199" y="3660"/>
                  <a:pt x="11198" y="3656"/>
                  <a:pt x="11196" y="3656"/>
                </a:cubicBezTo>
                <a:cubicBezTo>
                  <a:pt x="11181" y="3656"/>
                  <a:pt x="11168" y="3671"/>
                  <a:pt x="11159" y="3693"/>
                </a:cubicBezTo>
                <a:cubicBezTo>
                  <a:pt x="11147" y="3707"/>
                  <a:pt x="11135" y="3727"/>
                  <a:pt x="11126" y="3757"/>
                </a:cubicBezTo>
                <a:cubicBezTo>
                  <a:pt x="11122" y="3767"/>
                  <a:pt x="11122" y="3780"/>
                  <a:pt x="11126" y="3790"/>
                </a:cubicBezTo>
                <a:cubicBezTo>
                  <a:pt x="11129" y="3800"/>
                  <a:pt x="11134" y="3805"/>
                  <a:pt x="11140" y="3804"/>
                </a:cubicBezTo>
                <a:cubicBezTo>
                  <a:pt x="11143" y="3803"/>
                  <a:pt x="11146" y="3803"/>
                  <a:pt x="11148" y="3803"/>
                </a:cubicBezTo>
                <a:cubicBezTo>
                  <a:pt x="11144" y="3819"/>
                  <a:pt x="11135" y="3847"/>
                  <a:pt x="11130" y="3858"/>
                </a:cubicBezTo>
                <a:cubicBezTo>
                  <a:pt x="11123" y="3856"/>
                  <a:pt x="11118" y="3850"/>
                  <a:pt x="11110" y="3842"/>
                </a:cubicBezTo>
                <a:cubicBezTo>
                  <a:pt x="11103" y="3834"/>
                  <a:pt x="11094" y="3825"/>
                  <a:pt x="11082" y="3820"/>
                </a:cubicBezTo>
                <a:cubicBezTo>
                  <a:pt x="11083" y="3796"/>
                  <a:pt x="11079" y="3773"/>
                  <a:pt x="11069" y="3750"/>
                </a:cubicBezTo>
                <a:cubicBezTo>
                  <a:pt x="11066" y="3744"/>
                  <a:pt x="11062" y="3740"/>
                  <a:pt x="11058" y="3740"/>
                </a:cubicBezTo>
                <a:cubicBezTo>
                  <a:pt x="11054" y="3739"/>
                  <a:pt x="11050" y="3742"/>
                  <a:pt x="11047" y="3748"/>
                </a:cubicBezTo>
                <a:cubicBezTo>
                  <a:pt x="11042" y="3759"/>
                  <a:pt x="11037" y="3772"/>
                  <a:pt x="11032" y="3786"/>
                </a:cubicBezTo>
                <a:cubicBezTo>
                  <a:pt x="11029" y="3784"/>
                  <a:pt x="11026" y="3782"/>
                  <a:pt x="11021" y="3782"/>
                </a:cubicBezTo>
                <a:cubicBezTo>
                  <a:pt x="10998" y="3782"/>
                  <a:pt x="10981" y="3815"/>
                  <a:pt x="10975" y="3874"/>
                </a:cubicBezTo>
                <a:cubicBezTo>
                  <a:pt x="10974" y="3886"/>
                  <a:pt x="10977" y="3899"/>
                  <a:pt x="10982" y="3905"/>
                </a:cubicBezTo>
                <a:cubicBezTo>
                  <a:pt x="10976" y="3914"/>
                  <a:pt x="10971" y="3923"/>
                  <a:pt x="10967" y="3934"/>
                </a:cubicBezTo>
                <a:cubicBezTo>
                  <a:pt x="10964" y="3944"/>
                  <a:pt x="10963" y="3956"/>
                  <a:pt x="10966" y="3966"/>
                </a:cubicBezTo>
                <a:cubicBezTo>
                  <a:pt x="10968" y="3976"/>
                  <a:pt x="10973" y="3982"/>
                  <a:pt x="10979" y="3982"/>
                </a:cubicBezTo>
                <a:cubicBezTo>
                  <a:pt x="11011" y="3982"/>
                  <a:pt x="11033" y="3962"/>
                  <a:pt x="11055" y="3943"/>
                </a:cubicBezTo>
                <a:cubicBezTo>
                  <a:pt x="11062" y="3935"/>
                  <a:pt x="11071" y="3928"/>
                  <a:pt x="11080" y="3922"/>
                </a:cubicBezTo>
                <a:cubicBezTo>
                  <a:pt x="11059" y="4000"/>
                  <a:pt x="11016" y="4092"/>
                  <a:pt x="10985" y="4115"/>
                </a:cubicBezTo>
                <a:cubicBezTo>
                  <a:pt x="10940" y="4149"/>
                  <a:pt x="10907" y="4208"/>
                  <a:pt x="10877" y="4306"/>
                </a:cubicBezTo>
                <a:cubicBezTo>
                  <a:pt x="10876" y="4309"/>
                  <a:pt x="10876" y="4312"/>
                  <a:pt x="10875" y="4315"/>
                </a:cubicBezTo>
                <a:cubicBezTo>
                  <a:pt x="10875" y="4319"/>
                  <a:pt x="10873" y="4329"/>
                  <a:pt x="10870" y="4340"/>
                </a:cubicBezTo>
                <a:cubicBezTo>
                  <a:pt x="10867" y="4353"/>
                  <a:pt x="10864" y="4367"/>
                  <a:pt x="10862" y="4380"/>
                </a:cubicBezTo>
                <a:cubicBezTo>
                  <a:pt x="10844" y="4395"/>
                  <a:pt x="10830" y="4423"/>
                  <a:pt x="10830" y="4464"/>
                </a:cubicBezTo>
                <a:cubicBezTo>
                  <a:pt x="10830" y="4475"/>
                  <a:pt x="10835" y="4483"/>
                  <a:pt x="10837" y="4493"/>
                </a:cubicBezTo>
                <a:cubicBezTo>
                  <a:pt x="10833" y="4521"/>
                  <a:pt x="10829" y="4555"/>
                  <a:pt x="10821" y="4566"/>
                </a:cubicBezTo>
                <a:cubicBezTo>
                  <a:pt x="10800" y="4600"/>
                  <a:pt x="10782" y="4640"/>
                  <a:pt x="10764" y="4677"/>
                </a:cubicBezTo>
                <a:cubicBezTo>
                  <a:pt x="10757" y="4694"/>
                  <a:pt x="10748" y="4708"/>
                  <a:pt x="10740" y="4724"/>
                </a:cubicBezTo>
                <a:cubicBezTo>
                  <a:pt x="10732" y="4711"/>
                  <a:pt x="10723" y="4700"/>
                  <a:pt x="10712" y="4700"/>
                </a:cubicBezTo>
                <a:cubicBezTo>
                  <a:pt x="10685" y="4700"/>
                  <a:pt x="10663" y="4745"/>
                  <a:pt x="10663" y="4799"/>
                </a:cubicBezTo>
                <a:cubicBezTo>
                  <a:pt x="10663" y="4813"/>
                  <a:pt x="10667" y="4822"/>
                  <a:pt x="10670" y="4833"/>
                </a:cubicBezTo>
                <a:cubicBezTo>
                  <a:pt x="10659" y="4844"/>
                  <a:pt x="10647" y="4852"/>
                  <a:pt x="10634" y="4859"/>
                </a:cubicBezTo>
                <a:cubicBezTo>
                  <a:pt x="10627" y="4862"/>
                  <a:pt x="10623" y="4874"/>
                  <a:pt x="10623" y="4888"/>
                </a:cubicBezTo>
                <a:cubicBezTo>
                  <a:pt x="10623" y="4894"/>
                  <a:pt x="10624" y="4900"/>
                  <a:pt x="10626" y="4904"/>
                </a:cubicBezTo>
                <a:cubicBezTo>
                  <a:pt x="10611" y="4919"/>
                  <a:pt x="10600" y="4939"/>
                  <a:pt x="10590" y="4957"/>
                </a:cubicBezTo>
                <a:cubicBezTo>
                  <a:pt x="10581" y="4973"/>
                  <a:pt x="10573" y="4986"/>
                  <a:pt x="10564" y="4992"/>
                </a:cubicBezTo>
                <a:cubicBezTo>
                  <a:pt x="10554" y="4932"/>
                  <a:pt x="10528" y="4887"/>
                  <a:pt x="10495" y="4887"/>
                </a:cubicBezTo>
                <a:cubicBezTo>
                  <a:pt x="10454" y="4887"/>
                  <a:pt x="10421" y="4953"/>
                  <a:pt x="10421" y="5035"/>
                </a:cubicBezTo>
                <a:cubicBezTo>
                  <a:pt x="10421" y="5088"/>
                  <a:pt x="10435" y="5132"/>
                  <a:pt x="10456" y="5159"/>
                </a:cubicBezTo>
                <a:cubicBezTo>
                  <a:pt x="10453" y="5166"/>
                  <a:pt x="10448" y="5171"/>
                  <a:pt x="10442" y="5177"/>
                </a:cubicBezTo>
                <a:cubicBezTo>
                  <a:pt x="10429" y="5191"/>
                  <a:pt x="10409" y="5213"/>
                  <a:pt x="10409" y="5270"/>
                </a:cubicBezTo>
                <a:cubicBezTo>
                  <a:pt x="10409" y="5350"/>
                  <a:pt x="10411" y="5434"/>
                  <a:pt x="10424" y="5506"/>
                </a:cubicBezTo>
                <a:cubicBezTo>
                  <a:pt x="10428" y="5527"/>
                  <a:pt x="10433" y="5544"/>
                  <a:pt x="10438" y="5561"/>
                </a:cubicBezTo>
                <a:cubicBezTo>
                  <a:pt x="10418" y="5564"/>
                  <a:pt x="10402" y="5596"/>
                  <a:pt x="10402" y="5637"/>
                </a:cubicBezTo>
                <a:cubicBezTo>
                  <a:pt x="10402" y="5654"/>
                  <a:pt x="10406" y="5668"/>
                  <a:pt x="10411" y="5681"/>
                </a:cubicBezTo>
                <a:cubicBezTo>
                  <a:pt x="10411" y="5681"/>
                  <a:pt x="10411" y="5682"/>
                  <a:pt x="10411" y="5682"/>
                </a:cubicBezTo>
                <a:cubicBezTo>
                  <a:pt x="10411" y="5686"/>
                  <a:pt x="10413" y="5688"/>
                  <a:pt x="10413" y="5691"/>
                </a:cubicBezTo>
                <a:cubicBezTo>
                  <a:pt x="10414" y="5697"/>
                  <a:pt x="10415" y="5704"/>
                  <a:pt x="10417" y="5708"/>
                </a:cubicBezTo>
                <a:cubicBezTo>
                  <a:pt x="10420" y="5711"/>
                  <a:pt x="10423" y="5712"/>
                  <a:pt x="10426" y="5712"/>
                </a:cubicBezTo>
                <a:cubicBezTo>
                  <a:pt x="10428" y="5712"/>
                  <a:pt x="10429" y="5711"/>
                  <a:pt x="10431" y="5710"/>
                </a:cubicBezTo>
                <a:cubicBezTo>
                  <a:pt x="10433" y="5709"/>
                  <a:pt x="10432" y="5710"/>
                  <a:pt x="10434" y="5709"/>
                </a:cubicBezTo>
                <a:cubicBezTo>
                  <a:pt x="10436" y="5710"/>
                  <a:pt x="10438" y="5715"/>
                  <a:pt x="10441" y="5715"/>
                </a:cubicBezTo>
                <a:cubicBezTo>
                  <a:pt x="10451" y="5715"/>
                  <a:pt x="10459" y="5706"/>
                  <a:pt x="10466" y="5694"/>
                </a:cubicBezTo>
                <a:lnTo>
                  <a:pt x="10466" y="5706"/>
                </a:lnTo>
                <a:cubicBezTo>
                  <a:pt x="10452" y="5720"/>
                  <a:pt x="10430" y="5746"/>
                  <a:pt x="10430" y="5789"/>
                </a:cubicBezTo>
                <a:cubicBezTo>
                  <a:pt x="10430" y="5837"/>
                  <a:pt x="10529" y="5938"/>
                  <a:pt x="10541" y="5938"/>
                </a:cubicBezTo>
                <a:cubicBezTo>
                  <a:pt x="10575" y="5938"/>
                  <a:pt x="10610" y="5916"/>
                  <a:pt x="10643" y="5871"/>
                </a:cubicBezTo>
                <a:cubicBezTo>
                  <a:pt x="10647" y="5866"/>
                  <a:pt x="10650" y="5859"/>
                  <a:pt x="10654" y="5853"/>
                </a:cubicBezTo>
                <a:cubicBezTo>
                  <a:pt x="10663" y="5882"/>
                  <a:pt x="10675" y="5905"/>
                  <a:pt x="10693" y="5905"/>
                </a:cubicBezTo>
                <a:cubicBezTo>
                  <a:pt x="10721" y="5905"/>
                  <a:pt x="10742" y="5861"/>
                  <a:pt x="10742" y="5807"/>
                </a:cubicBezTo>
                <a:cubicBezTo>
                  <a:pt x="10742" y="5772"/>
                  <a:pt x="10732" y="5746"/>
                  <a:pt x="10718" y="5729"/>
                </a:cubicBezTo>
                <a:cubicBezTo>
                  <a:pt x="10726" y="5710"/>
                  <a:pt x="10735" y="5690"/>
                  <a:pt x="10741" y="5673"/>
                </a:cubicBezTo>
                <a:cubicBezTo>
                  <a:pt x="10747" y="5693"/>
                  <a:pt x="10754" y="5712"/>
                  <a:pt x="10765" y="5730"/>
                </a:cubicBezTo>
                <a:cubicBezTo>
                  <a:pt x="10761" y="5749"/>
                  <a:pt x="10759" y="5766"/>
                  <a:pt x="10759" y="5781"/>
                </a:cubicBezTo>
                <a:cubicBezTo>
                  <a:pt x="10759" y="5837"/>
                  <a:pt x="10772" y="5867"/>
                  <a:pt x="10784" y="5894"/>
                </a:cubicBezTo>
                <a:cubicBezTo>
                  <a:pt x="10792" y="5911"/>
                  <a:pt x="10798" y="5926"/>
                  <a:pt x="10802" y="5947"/>
                </a:cubicBezTo>
                <a:cubicBezTo>
                  <a:pt x="10806" y="5972"/>
                  <a:pt x="10808" y="5994"/>
                  <a:pt x="10811" y="6015"/>
                </a:cubicBezTo>
                <a:cubicBezTo>
                  <a:pt x="10813" y="6032"/>
                  <a:pt x="10815" y="6048"/>
                  <a:pt x="10817" y="6063"/>
                </a:cubicBezTo>
                <a:cubicBezTo>
                  <a:pt x="10821" y="6095"/>
                  <a:pt x="10829" y="6132"/>
                  <a:pt x="10847" y="6173"/>
                </a:cubicBezTo>
                <a:cubicBezTo>
                  <a:pt x="10847" y="6174"/>
                  <a:pt x="10847" y="6175"/>
                  <a:pt x="10846" y="6176"/>
                </a:cubicBezTo>
                <a:cubicBezTo>
                  <a:pt x="10845" y="6185"/>
                  <a:pt x="10843" y="6195"/>
                  <a:pt x="10843" y="6205"/>
                </a:cubicBezTo>
                <a:cubicBezTo>
                  <a:pt x="10843" y="6208"/>
                  <a:pt x="10844" y="6216"/>
                  <a:pt x="10845" y="6225"/>
                </a:cubicBezTo>
                <a:cubicBezTo>
                  <a:pt x="10838" y="6221"/>
                  <a:pt x="10830" y="6218"/>
                  <a:pt x="10820" y="6218"/>
                </a:cubicBezTo>
                <a:cubicBezTo>
                  <a:pt x="10796" y="6218"/>
                  <a:pt x="10774" y="6312"/>
                  <a:pt x="10767" y="6356"/>
                </a:cubicBezTo>
                <a:cubicBezTo>
                  <a:pt x="10765" y="6347"/>
                  <a:pt x="10760" y="6342"/>
                  <a:pt x="10755" y="6342"/>
                </a:cubicBezTo>
                <a:lnTo>
                  <a:pt x="10731" y="6342"/>
                </a:lnTo>
                <a:cubicBezTo>
                  <a:pt x="10734" y="6336"/>
                  <a:pt x="10737" y="6329"/>
                  <a:pt x="10740" y="6323"/>
                </a:cubicBezTo>
                <a:cubicBezTo>
                  <a:pt x="10743" y="6318"/>
                  <a:pt x="10745" y="6313"/>
                  <a:pt x="10748" y="6308"/>
                </a:cubicBezTo>
                <a:cubicBezTo>
                  <a:pt x="10749" y="6306"/>
                  <a:pt x="10752" y="6302"/>
                  <a:pt x="10755" y="6300"/>
                </a:cubicBezTo>
                <a:cubicBezTo>
                  <a:pt x="10763" y="6291"/>
                  <a:pt x="10778" y="6276"/>
                  <a:pt x="10778" y="6244"/>
                </a:cubicBezTo>
                <a:lnTo>
                  <a:pt x="10778" y="6210"/>
                </a:lnTo>
                <a:cubicBezTo>
                  <a:pt x="10778" y="6194"/>
                  <a:pt x="10771" y="6180"/>
                  <a:pt x="10763" y="6180"/>
                </a:cubicBezTo>
                <a:cubicBezTo>
                  <a:pt x="10738" y="6180"/>
                  <a:pt x="10738" y="6169"/>
                  <a:pt x="10738" y="6163"/>
                </a:cubicBezTo>
                <a:cubicBezTo>
                  <a:pt x="10738" y="6125"/>
                  <a:pt x="10739" y="6103"/>
                  <a:pt x="10749" y="6066"/>
                </a:cubicBezTo>
                <a:cubicBezTo>
                  <a:pt x="10750" y="6061"/>
                  <a:pt x="10750" y="6057"/>
                  <a:pt x="10750" y="6053"/>
                </a:cubicBezTo>
                <a:lnTo>
                  <a:pt x="10750" y="6001"/>
                </a:lnTo>
                <a:cubicBezTo>
                  <a:pt x="10750" y="5990"/>
                  <a:pt x="10747" y="5980"/>
                  <a:pt x="10742" y="5975"/>
                </a:cubicBezTo>
                <a:cubicBezTo>
                  <a:pt x="10737" y="5969"/>
                  <a:pt x="10731" y="5970"/>
                  <a:pt x="10727" y="5977"/>
                </a:cubicBezTo>
                <a:cubicBezTo>
                  <a:pt x="10713" y="5996"/>
                  <a:pt x="10698" y="6011"/>
                  <a:pt x="10681" y="6027"/>
                </a:cubicBezTo>
                <a:cubicBezTo>
                  <a:pt x="10636" y="6071"/>
                  <a:pt x="10585" y="6121"/>
                  <a:pt x="10585" y="6270"/>
                </a:cubicBezTo>
                <a:cubicBezTo>
                  <a:pt x="10585" y="6331"/>
                  <a:pt x="10596" y="6370"/>
                  <a:pt x="10606" y="6409"/>
                </a:cubicBezTo>
                <a:cubicBezTo>
                  <a:pt x="10615" y="6441"/>
                  <a:pt x="10623" y="6474"/>
                  <a:pt x="10627" y="6522"/>
                </a:cubicBezTo>
                <a:cubicBezTo>
                  <a:pt x="10627" y="6527"/>
                  <a:pt x="10628" y="6533"/>
                  <a:pt x="10631" y="6550"/>
                </a:cubicBezTo>
                <a:cubicBezTo>
                  <a:pt x="10634" y="6568"/>
                  <a:pt x="10642" y="6615"/>
                  <a:pt x="10642" y="6626"/>
                </a:cubicBezTo>
                <a:cubicBezTo>
                  <a:pt x="10641" y="6640"/>
                  <a:pt x="10618" y="6668"/>
                  <a:pt x="10610" y="6668"/>
                </a:cubicBezTo>
                <a:cubicBezTo>
                  <a:pt x="10606" y="6668"/>
                  <a:pt x="10601" y="6666"/>
                  <a:pt x="10595" y="6664"/>
                </a:cubicBezTo>
                <a:cubicBezTo>
                  <a:pt x="10589" y="6661"/>
                  <a:pt x="10582" y="6659"/>
                  <a:pt x="10575" y="6659"/>
                </a:cubicBezTo>
                <a:cubicBezTo>
                  <a:pt x="10564" y="6659"/>
                  <a:pt x="10555" y="6667"/>
                  <a:pt x="10547" y="6682"/>
                </a:cubicBezTo>
                <a:cubicBezTo>
                  <a:pt x="10544" y="6687"/>
                  <a:pt x="10542" y="6692"/>
                  <a:pt x="10541" y="6699"/>
                </a:cubicBezTo>
                <a:cubicBezTo>
                  <a:pt x="10540" y="6700"/>
                  <a:pt x="10540" y="6702"/>
                  <a:pt x="10539" y="6703"/>
                </a:cubicBezTo>
                <a:cubicBezTo>
                  <a:pt x="10538" y="6703"/>
                  <a:pt x="10536" y="6704"/>
                  <a:pt x="10534" y="6706"/>
                </a:cubicBezTo>
                <a:cubicBezTo>
                  <a:pt x="10533" y="6706"/>
                  <a:pt x="10533" y="6706"/>
                  <a:pt x="10532" y="6707"/>
                </a:cubicBezTo>
                <a:cubicBezTo>
                  <a:pt x="10528" y="6704"/>
                  <a:pt x="10522" y="6702"/>
                  <a:pt x="10511" y="6702"/>
                </a:cubicBezTo>
                <a:cubicBezTo>
                  <a:pt x="10497" y="6702"/>
                  <a:pt x="10484" y="6708"/>
                  <a:pt x="10470" y="6718"/>
                </a:cubicBezTo>
                <a:cubicBezTo>
                  <a:pt x="10468" y="6720"/>
                  <a:pt x="10466" y="6722"/>
                  <a:pt x="10462" y="6725"/>
                </a:cubicBezTo>
                <a:cubicBezTo>
                  <a:pt x="10462" y="6725"/>
                  <a:pt x="10461" y="6725"/>
                  <a:pt x="10461" y="6725"/>
                </a:cubicBezTo>
                <a:cubicBezTo>
                  <a:pt x="10436" y="6750"/>
                  <a:pt x="10416" y="6790"/>
                  <a:pt x="10397" y="6828"/>
                </a:cubicBezTo>
                <a:lnTo>
                  <a:pt x="10391" y="6841"/>
                </a:lnTo>
                <a:cubicBezTo>
                  <a:pt x="10378" y="6860"/>
                  <a:pt x="10366" y="6881"/>
                  <a:pt x="10366" y="6907"/>
                </a:cubicBezTo>
                <a:cubicBezTo>
                  <a:pt x="10366" y="6919"/>
                  <a:pt x="10367" y="6930"/>
                  <a:pt x="10367" y="6941"/>
                </a:cubicBezTo>
                <a:cubicBezTo>
                  <a:pt x="10367" y="6942"/>
                  <a:pt x="10367" y="6942"/>
                  <a:pt x="10367" y="6943"/>
                </a:cubicBezTo>
                <a:cubicBezTo>
                  <a:pt x="10365" y="6943"/>
                  <a:pt x="10364" y="6939"/>
                  <a:pt x="10362" y="6939"/>
                </a:cubicBezTo>
                <a:cubicBezTo>
                  <a:pt x="10343" y="6939"/>
                  <a:pt x="10328" y="6970"/>
                  <a:pt x="10328" y="7007"/>
                </a:cubicBezTo>
                <a:cubicBezTo>
                  <a:pt x="10328" y="7022"/>
                  <a:pt x="10331" y="7034"/>
                  <a:pt x="10335" y="7045"/>
                </a:cubicBezTo>
                <a:cubicBezTo>
                  <a:pt x="10329" y="7051"/>
                  <a:pt x="10333" y="7049"/>
                  <a:pt x="10318" y="7061"/>
                </a:cubicBezTo>
                <a:cubicBezTo>
                  <a:pt x="10294" y="7082"/>
                  <a:pt x="10266" y="7103"/>
                  <a:pt x="10261" y="7107"/>
                </a:cubicBezTo>
                <a:lnTo>
                  <a:pt x="10256" y="7110"/>
                </a:lnTo>
                <a:cubicBezTo>
                  <a:pt x="10248" y="7113"/>
                  <a:pt x="10244" y="7115"/>
                  <a:pt x="10235" y="7115"/>
                </a:cubicBezTo>
                <a:cubicBezTo>
                  <a:pt x="10228" y="7115"/>
                  <a:pt x="10222" y="7125"/>
                  <a:pt x="10221" y="7138"/>
                </a:cubicBezTo>
                <a:cubicBezTo>
                  <a:pt x="10206" y="7253"/>
                  <a:pt x="10190" y="7311"/>
                  <a:pt x="10142" y="7311"/>
                </a:cubicBezTo>
                <a:cubicBezTo>
                  <a:pt x="10135" y="7311"/>
                  <a:pt x="10129" y="7321"/>
                  <a:pt x="10127" y="7334"/>
                </a:cubicBezTo>
                <a:cubicBezTo>
                  <a:pt x="10125" y="7349"/>
                  <a:pt x="10120" y="7362"/>
                  <a:pt x="10113" y="7369"/>
                </a:cubicBezTo>
                <a:cubicBezTo>
                  <a:pt x="10113" y="7369"/>
                  <a:pt x="10112" y="7371"/>
                  <a:pt x="10112" y="7371"/>
                </a:cubicBezTo>
                <a:cubicBezTo>
                  <a:pt x="10112" y="7371"/>
                  <a:pt x="10111" y="7371"/>
                  <a:pt x="10111" y="7371"/>
                </a:cubicBezTo>
                <a:cubicBezTo>
                  <a:pt x="10109" y="7373"/>
                  <a:pt x="10107" y="7375"/>
                  <a:pt x="10106" y="7375"/>
                </a:cubicBezTo>
                <a:cubicBezTo>
                  <a:pt x="10086" y="7375"/>
                  <a:pt x="10068" y="7359"/>
                  <a:pt x="10053" y="7328"/>
                </a:cubicBezTo>
                <a:cubicBezTo>
                  <a:pt x="10050" y="7322"/>
                  <a:pt x="10046" y="7319"/>
                  <a:pt x="10042" y="7319"/>
                </a:cubicBezTo>
                <a:lnTo>
                  <a:pt x="10021" y="7319"/>
                </a:lnTo>
                <a:cubicBezTo>
                  <a:pt x="10012" y="7319"/>
                  <a:pt x="10006" y="7332"/>
                  <a:pt x="10006" y="7349"/>
                </a:cubicBezTo>
                <a:lnTo>
                  <a:pt x="10006" y="7383"/>
                </a:lnTo>
                <a:cubicBezTo>
                  <a:pt x="10006" y="7386"/>
                  <a:pt x="10006" y="7387"/>
                  <a:pt x="10006" y="7390"/>
                </a:cubicBezTo>
                <a:cubicBezTo>
                  <a:pt x="10006" y="7393"/>
                  <a:pt x="10006" y="7398"/>
                  <a:pt x="10006" y="7404"/>
                </a:cubicBezTo>
                <a:cubicBezTo>
                  <a:pt x="10006" y="7420"/>
                  <a:pt x="10008" y="7443"/>
                  <a:pt x="10012" y="7463"/>
                </a:cubicBezTo>
                <a:cubicBezTo>
                  <a:pt x="10011" y="7463"/>
                  <a:pt x="10010" y="7461"/>
                  <a:pt x="10008" y="7461"/>
                </a:cubicBezTo>
                <a:cubicBezTo>
                  <a:pt x="9997" y="7461"/>
                  <a:pt x="9989" y="7473"/>
                  <a:pt x="9982" y="7489"/>
                </a:cubicBezTo>
                <a:cubicBezTo>
                  <a:pt x="9966" y="7489"/>
                  <a:pt x="9942" y="7473"/>
                  <a:pt x="9939" y="7463"/>
                </a:cubicBezTo>
                <a:cubicBezTo>
                  <a:pt x="9935" y="7450"/>
                  <a:pt x="9928" y="7444"/>
                  <a:pt x="9921" y="7448"/>
                </a:cubicBezTo>
                <a:cubicBezTo>
                  <a:pt x="9918" y="7450"/>
                  <a:pt x="9914" y="7451"/>
                  <a:pt x="9910" y="7454"/>
                </a:cubicBezTo>
                <a:cubicBezTo>
                  <a:pt x="9866" y="7478"/>
                  <a:pt x="9830" y="7502"/>
                  <a:pt x="9830" y="7553"/>
                </a:cubicBezTo>
                <a:cubicBezTo>
                  <a:pt x="9830" y="7565"/>
                  <a:pt x="9831" y="7574"/>
                  <a:pt x="9832" y="7581"/>
                </a:cubicBezTo>
                <a:cubicBezTo>
                  <a:pt x="9838" y="7648"/>
                  <a:pt x="9898" y="7679"/>
                  <a:pt x="9946" y="7705"/>
                </a:cubicBezTo>
                <a:cubicBezTo>
                  <a:pt x="9955" y="7710"/>
                  <a:pt x="9963" y="7714"/>
                  <a:pt x="9971" y="7719"/>
                </a:cubicBezTo>
                <a:cubicBezTo>
                  <a:pt x="9972" y="7719"/>
                  <a:pt x="9973" y="7721"/>
                  <a:pt x="9975" y="7724"/>
                </a:cubicBezTo>
                <a:cubicBezTo>
                  <a:pt x="9978" y="7729"/>
                  <a:pt x="9981" y="7735"/>
                  <a:pt x="9985" y="7740"/>
                </a:cubicBezTo>
                <a:cubicBezTo>
                  <a:pt x="9985" y="7746"/>
                  <a:pt x="9987" y="7750"/>
                  <a:pt x="9988" y="7756"/>
                </a:cubicBezTo>
                <a:cubicBezTo>
                  <a:pt x="9980" y="7773"/>
                  <a:pt x="9974" y="7796"/>
                  <a:pt x="9974" y="7821"/>
                </a:cubicBezTo>
                <a:cubicBezTo>
                  <a:pt x="9974" y="7876"/>
                  <a:pt x="9996" y="7919"/>
                  <a:pt x="10024" y="7919"/>
                </a:cubicBezTo>
                <a:cubicBezTo>
                  <a:pt x="10032" y="7919"/>
                  <a:pt x="10039" y="7908"/>
                  <a:pt x="10046" y="7900"/>
                </a:cubicBezTo>
                <a:cubicBezTo>
                  <a:pt x="10047" y="7905"/>
                  <a:pt x="10048" y="7910"/>
                  <a:pt x="10050" y="7913"/>
                </a:cubicBezTo>
                <a:cubicBezTo>
                  <a:pt x="10052" y="7918"/>
                  <a:pt x="10053" y="7919"/>
                  <a:pt x="10053" y="7927"/>
                </a:cubicBezTo>
                <a:cubicBezTo>
                  <a:pt x="10053" y="7938"/>
                  <a:pt x="10049" y="7964"/>
                  <a:pt x="10046" y="7977"/>
                </a:cubicBezTo>
                <a:cubicBezTo>
                  <a:pt x="10043" y="7989"/>
                  <a:pt x="10044" y="8003"/>
                  <a:pt x="10049" y="8012"/>
                </a:cubicBezTo>
                <a:cubicBezTo>
                  <a:pt x="10049" y="8025"/>
                  <a:pt x="10049" y="8040"/>
                  <a:pt x="10049" y="8054"/>
                </a:cubicBezTo>
                <a:cubicBezTo>
                  <a:pt x="10050" y="8075"/>
                  <a:pt x="10050" y="8095"/>
                  <a:pt x="10050" y="8102"/>
                </a:cubicBezTo>
                <a:cubicBezTo>
                  <a:pt x="10050" y="8135"/>
                  <a:pt x="10045" y="8155"/>
                  <a:pt x="10039" y="8180"/>
                </a:cubicBezTo>
                <a:cubicBezTo>
                  <a:pt x="10033" y="8204"/>
                  <a:pt x="10026" y="8231"/>
                  <a:pt x="10024" y="8268"/>
                </a:cubicBezTo>
                <a:cubicBezTo>
                  <a:pt x="10022" y="8269"/>
                  <a:pt x="10020" y="8270"/>
                  <a:pt x="10017" y="8271"/>
                </a:cubicBezTo>
                <a:cubicBezTo>
                  <a:pt x="10007" y="8276"/>
                  <a:pt x="9992" y="8284"/>
                  <a:pt x="9985" y="8284"/>
                </a:cubicBezTo>
                <a:cubicBezTo>
                  <a:pt x="9978" y="8284"/>
                  <a:pt x="9973" y="8280"/>
                  <a:pt x="9967" y="8276"/>
                </a:cubicBezTo>
                <a:cubicBezTo>
                  <a:pt x="9955" y="8268"/>
                  <a:pt x="9940" y="8260"/>
                  <a:pt x="9924" y="8268"/>
                </a:cubicBezTo>
                <a:lnTo>
                  <a:pt x="9904" y="8268"/>
                </a:lnTo>
                <a:lnTo>
                  <a:pt x="9899" y="8268"/>
                </a:lnTo>
                <a:lnTo>
                  <a:pt x="9825" y="8268"/>
                </a:lnTo>
                <a:lnTo>
                  <a:pt x="9822" y="8266"/>
                </a:lnTo>
                <a:cubicBezTo>
                  <a:pt x="9815" y="8264"/>
                  <a:pt x="9802" y="8259"/>
                  <a:pt x="9798" y="8250"/>
                </a:cubicBezTo>
                <a:cubicBezTo>
                  <a:pt x="9795" y="8245"/>
                  <a:pt x="9791" y="8242"/>
                  <a:pt x="9787" y="8242"/>
                </a:cubicBezTo>
                <a:lnTo>
                  <a:pt x="9692" y="8242"/>
                </a:lnTo>
                <a:cubicBezTo>
                  <a:pt x="9691" y="8242"/>
                  <a:pt x="9688" y="8242"/>
                  <a:pt x="9687" y="8243"/>
                </a:cubicBezTo>
                <a:cubicBezTo>
                  <a:pt x="9685" y="8243"/>
                  <a:pt x="9681" y="8239"/>
                  <a:pt x="9678" y="8236"/>
                </a:cubicBezTo>
                <a:cubicBezTo>
                  <a:pt x="9673" y="8231"/>
                  <a:pt x="9667" y="8225"/>
                  <a:pt x="9660" y="8225"/>
                </a:cubicBezTo>
                <a:cubicBezTo>
                  <a:pt x="9657" y="8225"/>
                  <a:pt x="9650" y="8224"/>
                  <a:pt x="9624" y="8254"/>
                </a:cubicBezTo>
                <a:cubicBezTo>
                  <a:pt x="9582" y="8302"/>
                  <a:pt x="9561" y="8341"/>
                  <a:pt x="9561" y="8369"/>
                </a:cubicBezTo>
                <a:cubicBezTo>
                  <a:pt x="9561" y="8392"/>
                  <a:pt x="9566" y="8416"/>
                  <a:pt x="9571" y="8441"/>
                </a:cubicBezTo>
                <a:cubicBezTo>
                  <a:pt x="9577" y="8469"/>
                  <a:pt x="9584" y="8501"/>
                  <a:pt x="9584" y="8531"/>
                </a:cubicBezTo>
                <a:cubicBezTo>
                  <a:pt x="9584" y="8539"/>
                  <a:pt x="9583" y="8547"/>
                  <a:pt x="9583" y="8554"/>
                </a:cubicBezTo>
                <a:cubicBezTo>
                  <a:pt x="9573" y="8550"/>
                  <a:pt x="9564" y="8543"/>
                  <a:pt x="9554" y="8543"/>
                </a:cubicBezTo>
                <a:cubicBezTo>
                  <a:pt x="9488" y="8543"/>
                  <a:pt x="9435" y="8650"/>
                  <a:pt x="9435" y="8782"/>
                </a:cubicBezTo>
                <a:cubicBezTo>
                  <a:pt x="9435" y="8914"/>
                  <a:pt x="9488" y="9021"/>
                  <a:pt x="9554" y="9021"/>
                </a:cubicBezTo>
                <a:cubicBezTo>
                  <a:pt x="9556" y="9021"/>
                  <a:pt x="9557" y="9019"/>
                  <a:pt x="9559" y="9018"/>
                </a:cubicBezTo>
                <a:cubicBezTo>
                  <a:pt x="9564" y="9027"/>
                  <a:pt x="9569" y="9036"/>
                  <a:pt x="9575" y="9041"/>
                </a:cubicBezTo>
                <a:lnTo>
                  <a:pt x="9575" y="9185"/>
                </a:lnTo>
                <a:cubicBezTo>
                  <a:pt x="9575" y="9216"/>
                  <a:pt x="9587" y="9249"/>
                  <a:pt x="9607" y="9249"/>
                </a:cubicBezTo>
                <a:cubicBezTo>
                  <a:pt x="9625" y="9249"/>
                  <a:pt x="9639" y="9241"/>
                  <a:pt x="9654" y="9234"/>
                </a:cubicBezTo>
                <a:cubicBezTo>
                  <a:pt x="9668" y="9227"/>
                  <a:pt x="9682" y="9220"/>
                  <a:pt x="9699" y="9220"/>
                </a:cubicBezTo>
                <a:cubicBezTo>
                  <a:pt x="9710" y="9220"/>
                  <a:pt x="9718" y="9236"/>
                  <a:pt x="9725" y="9259"/>
                </a:cubicBezTo>
                <a:cubicBezTo>
                  <a:pt x="9719" y="9275"/>
                  <a:pt x="9714" y="9292"/>
                  <a:pt x="9714" y="9313"/>
                </a:cubicBezTo>
                <a:cubicBezTo>
                  <a:pt x="9714" y="9368"/>
                  <a:pt x="9736" y="9411"/>
                  <a:pt x="9763" y="9411"/>
                </a:cubicBezTo>
                <a:cubicBezTo>
                  <a:pt x="9762" y="9416"/>
                  <a:pt x="9760" y="9420"/>
                  <a:pt x="9758" y="9424"/>
                </a:cubicBezTo>
                <a:cubicBezTo>
                  <a:pt x="9754" y="9439"/>
                  <a:pt x="9750" y="9454"/>
                  <a:pt x="9744" y="9468"/>
                </a:cubicBezTo>
                <a:cubicBezTo>
                  <a:pt x="9742" y="9474"/>
                  <a:pt x="9741" y="9480"/>
                  <a:pt x="9741" y="9487"/>
                </a:cubicBezTo>
                <a:cubicBezTo>
                  <a:pt x="9718" y="9542"/>
                  <a:pt x="9692" y="9597"/>
                  <a:pt x="9665" y="9655"/>
                </a:cubicBezTo>
                <a:cubicBezTo>
                  <a:pt x="9632" y="9725"/>
                  <a:pt x="9598" y="9798"/>
                  <a:pt x="9568" y="9873"/>
                </a:cubicBezTo>
                <a:cubicBezTo>
                  <a:pt x="9541" y="9941"/>
                  <a:pt x="9541" y="9998"/>
                  <a:pt x="9540" y="10058"/>
                </a:cubicBezTo>
                <a:cubicBezTo>
                  <a:pt x="9540" y="10101"/>
                  <a:pt x="9540" y="10150"/>
                  <a:pt x="9529" y="10214"/>
                </a:cubicBezTo>
                <a:cubicBezTo>
                  <a:pt x="9525" y="10242"/>
                  <a:pt x="9512" y="10274"/>
                  <a:pt x="9496" y="10304"/>
                </a:cubicBezTo>
                <a:cubicBezTo>
                  <a:pt x="9489" y="10300"/>
                  <a:pt x="9482" y="10296"/>
                  <a:pt x="9475" y="10296"/>
                </a:cubicBezTo>
                <a:cubicBezTo>
                  <a:pt x="9444" y="10296"/>
                  <a:pt x="9418" y="10346"/>
                  <a:pt x="9416" y="10408"/>
                </a:cubicBezTo>
                <a:cubicBezTo>
                  <a:pt x="9410" y="10412"/>
                  <a:pt x="9404" y="10415"/>
                  <a:pt x="9397" y="10418"/>
                </a:cubicBezTo>
                <a:cubicBezTo>
                  <a:pt x="9368" y="10434"/>
                  <a:pt x="9335" y="10452"/>
                  <a:pt x="9313" y="10512"/>
                </a:cubicBezTo>
                <a:cubicBezTo>
                  <a:pt x="9284" y="10591"/>
                  <a:pt x="9252" y="10696"/>
                  <a:pt x="9225" y="10801"/>
                </a:cubicBezTo>
                <a:cubicBezTo>
                  <a:pt x="9200" y="10894"/>
                  <a:pt x="9180" y="10981"/>
                  <a:pt x="9169" y="11051"/>
                </a:cubicBezTo>
                <a:cubicBezTo>
                  <a:pt x="9168" y="11054"/>
                  <a:pt x="9167" y="11056"/>
                  <a:pt x="9166" y="11058"/>
                </a:cubicBezTo>
                <a:cubicBezTo>
                  <a:pt x="9154" y="11049"/>
                  <a:pt x="9140" y="11042"/>
                  <a:pt x="9126" y="11042"/>
                </a:cubicBezTo>
                <a:cubicBezTo>
                  <a:pt x="9060" y="11042"/>
                  <a:pt x="9007" y="11149"/>
                  <a:pt x="9007" y="11281"/>
                </a:cubicBezTo>
                <a:cubicBezTo>
                  <a:pt x="9007" y="11413"/>
                  <a:pt x="9060" y="11520"/>
                  <a:pt x="9126" y="11520"/>
                </a:cubicBezTo>
                <a:cubicBezTo>
                  <a:pt x="9128" y="11520"/>
                  <a:pt x="9130" y="11518"/>
                  <a:pt x="9132" y="11518"/>
                </a:cubicBezTo>
                <a:cubicBezTo>
                  <a:pt x="9142" y="11586"/>
                  <a:pt x="9151" y="11656"/>
                  <a:pt x="9151" y="11740"/>
                </a:cubicBezTo>
                <a:cubicBezTo>
                  <a:pt x="9151" y="11839"/>
                  <a:pt x="9111" y="12057"/>
                  <a:pt x="9071" y="12097"/>
                </a:cubicBezTo>
                <a:cubicBezTo>
                  <a:pt x="9067" y="12101"/>
                  <a:pt x="9064" y="12107"/>
                  <a:pt x="9063" y="12115"/>
                </a:cubicBezTo>
                <a:cubicBezTo>
                  <a:pt x="9062" y="12122"/>
                  <a:pt x="9062" y="12130"/>
                  <a:pt x="9064" y="12137"/>
                </a:cubicBezTo>
                <a:cubicBezTo>
                  <a:pt x="9069" y="12158"/>
                  <a:pt x="9074" y="12174"/>
                  <a:pt x="9079" y="12188"/>
                </a:cubicBezTo>
                <a:cubicBezTo>
                  <a:pt x="9088" y="12215"/>
                  <a:pt x="9094" y="12233"/>
                  <a:pt x="9094" y="12264"/>
                </a:cubicBezTo>
                <a:cubicBezTo>
                  <a:pt x="9094" y="12284"/>
                  <a:pt x="9097" y="12302"/>
                  <a:pt x="9099" y="12321"/>
                </a:cubicBezTo>
                <a:cubicBezTo>
                  <a:pt x="9101" y="12338"/>
                  <a:pt x="9103" y="12355"/>
                  <a:pt x="9104" y="12376"/>
                </a:cubicBezTo>
                <a:cubicBezTo>
                  <a:pt x="9102" y="12379"/>
                  <a:pt x="9101" y="12383"/>
                  <a:pt x="9100" y="12387"/>
                </a:cubicBezTo>
                <a:cubicBezTo>
                  <a:pt x="9097" y="12398"/>
                  <a:pt x="9098" y="12410"/>
                  <a:pt x="9101" y="12419"/>
                </a:cubicBezTo>
                <a:cubicBezTo>
                  <a:pt x="9106" y="12431"/>
                  <a:pt x="9111" y="12439"/>
                  <a:pt x="9115" y="12447"/>
                </a:cubicBezTo>
                <a:cubicBezTo>
                  <a:pt x="9106" y="12471"/>
                  <a:pt x="9100" y="12500"/>
                  <a:pt x="9100" y="12533"/>
                </a:cubicBezTo>
                <a:cubicBezTo>
                  <a:pt x="9100" y="12615"/>
                  <a:pt x="9133" y="12681"/>
                  <a:pt x="9173" y="12681"/>
                </a:cubicBezTo>
                <a:cubicBezTo>
                  <a:pt x="9190" y="12681"/>
                  <a:pt x="9205" y="12668"/>
                  <a:pt x="9217" y="12650"/>
                </a:cubicBezTo>
                <a:cubicBezTo>
                  <a:pt x="9237" y="12684"/>
                  <a:pt x="9259" y="12721"/>
                  <a:pt x="9259" y="12721"/>
                </a:cubicBezTo>
                <a:cubicBezTo>
                  <a:pt x="9292" y="12774"/>
                  <a:pt x="9308" y="12836"/>
                  <a:pt x="9328" y="12907"/>
                </a:cubicBezTo>
                <a:cubicBezTo>
                  <a:pt x="9337" y="12944"/>
                  <a:pt x="9348" y="12982"/>
                  <a:pt x="9361" y="13024"/>
                </a:cubicBezTo>
                <a:cubicBezTo>
                  <a:pt x="9395" y="13127"/>
                  <a:pt x="9469" y="13229"/>
                  <a:pt x="9531" y="13314"/>
                </a:cubicBezTo>
                <a:cubicBezTo>
                  <a:pt x="9539" y="13378"/>
                  <a:pt x="9567" y="13427"/>
                  <a:pt x="9601" y="13427"/>
                </a:cubicBezTo>
                <a:cubicBezTo>
                  <a:pt x="9606" y="13427"/>
                  <a:pt x="9610" y="13423"/>
                  <a:pt x="9615" y="13421"/>
                </a:cubicBezTo>
                <a:cubicBezTo>
                  <a:pt x="9630" y="13432"/>
                  <a:pt x="9647" y="13441"/>
                  <a:pt x="9665" y="13441"/>
                </a:cubicBezTo>
                <a:cubicBezTo>
                  <a:pt x="9709" y="13441"/>
                  <a:pt x="9740" y="13419"/>
                  <a:pt x="9770" y="13397"/>
                </a:cubicBezTo>
                <a:cubicBezTo>
                  <a:pt x="9799" y="13376"/>
                  <a:pt x="9827" y="13356"/>
                  <a:pt x="9866" y="13356"/>
                </a:cubicBezTo>
                <a:cubicBezTo>
                  <a:pt x="9886" y="13356"/>
                  <a:pt x="9910" y="13373"/>
                  <a:pt x="9933" y="13390"/>
                </a:cubicBezTo>
                <a:cubicBezTo>
                  <a:pt x="9955" y="13406"/>
                  <a:pt x="9976" y="13420"/>
                  <a:pt x="9993" y="13420"/>
                </a:cubicBezTo>
                <a:cubicBezTo>
                  <a:pt x="10017" y="13420"/>
                  <a:pt x="10031" y="13396"/>
                  <a:pt x="10044" y="13376"/>
                </a:cubicBezTo>
                <a:cubicBezTo>
                  <a:pt x="10053" y="13362"/>
                  <a:pt x="10061" y="13350"/>
                  <a:pt x="10072" y="13342"/>
                </a:cubicBezTo>
                <a:cubicBezTo>
                  <a:pt x="10094" y="13328"/>
                  <a:pt x="10115" y="13312"/>
                  <a:pt x="10134" y="13297"/>
                </a:cubicBezTo>
                <a:lnTo>
                  <a:pt x="10140" y="13292"/>
                </a:lnTo>
                <a:cubicBezTo>
                  <a:pt x="10171" y="13267"/>
                  <a:pt x="10203" y="13243"/>
                  <a:pt x="10237" y="13224"/>
                </a:cubicBezTo>
                <a:cubicBezTo>
                  <a:pt x="10242" y="13296"/>
                  <a:pt x="10271" y="13353"/>
                  <a:pt x="10309" y="13353"/>
                </a:cubicBezTo>
                <a:cubicBezTo>
                  <a:pt x="10344" y="13353"/>
                  <a:pt x="10373" y="13300"/>
                  <a:pt x="10379" y="13231"/>
                </a:cubicBezTo>
                <a:cubicBezTo>
                  <a:pt x="10394" y="13255"/>
                  <a:pt x="10405" y="13287"/>
                  <a:pt x="10417" y="13320"/>
                </a:cubicBezTo>
                <a:cubicBezTo>
                  <a:pt x="10439" y="13380"/>
                  <a:pt x="10461" y="13441"/>
                  <a:pt x="10498" y="13441"/>
                </a:cubicBezTo>
                <a:lnTo>
                  <a:pt x="10521" y="13441"/>
                </a:lnTo>
                <a:cubicBezTo>
                  <a:pt x="10517" y="13460"/>
                  <a:pt x="10514" y="13481"/>
                  <a:pt x="10514" y="13503"/>
                </a:cubicBezTo>
                <a:cubicBezTo>
                  <a:pt x="10514" y="13585"/>
                  <a:pt x="10547" y="13651"/>
                  <a:pt x="10588" y="13651"/>
                </a:cubicBezTo>
                <a:cubicBezTo>
                  <a:pt x="10628" y="13651"/>
                  <a:pt x="10661" y="13585"/>
                  <a:pt x="10661" y="13503"/>
                </a:cubicBezTo>
                <a:cubicBezTo>
                  <a:pt x="10661" y="13497"/>
                  <a:pt x="10660" y="13492"/>
                  <a:pt x="10660" y="13487"/>
                </a:cubicBezTo>
                <a:cubicBezTo>
                  <a:pt x="10676" y="13510"/>
                  <a:pt x="10691" y="13542"/>
                  <a:pt x="10703" y="13586"/>
                </a:cubicBezTo>
                <a:cubicBezTo>
                  <a:pt x="10687" y="13633"/>
                  <a:pt x="10684" y="13720"/>
                  <a:pt x="10684" y="13802"/>
                </a:cubicBezTo>
                <a:cubicBezTo>
                  <a:pt x="10684" y="13803"/>
                  <a:pt x="10684" y="13805"/>
                  <a:pt x="10684" y="13806"/>
                </a:cubicBezTo>
                <a:cubicBezTo>
                  <a:pt x="10681" y="13819"/>
                  <a:pt x="10679" y="13834"/>
                  <a:pt x="10682" y="13856"/>
                </a:cubicBezTo>
                <a:cubicBezTo>
                  <a:pt x="10662" y="13896"/>
                  <a:pt x="10636" y="13986"/>
                  <a:pt x="10636" y="14036"/>
                </a:cubicBezTo>
                <a:cubicBezTo>
                  <a:pt x="10636" y="14095"/>
                  <a:pt x="10645" y="14155"/>
                  <a:pt x="10665" y="14217"/>
                </a:cubicBezTo>
                <a:cubicBezTo>
                  <a:pt x="10660" y="14216"/>
                  <a:pt x="10655" y="14220"/>
                  <a:pt x="10652" y="14228"/>
                </a:cubicBezTo>
                <a:cubicBezTo>
                  <a:pt x="10648" y="14239"/>
                  <a:pt x="10648" y="14255"/>
                  <a:pt x="10652" y="14266"/>
                </a:cubicBezTo>
                <a:cubicBezTo>
                  <a:pt x="10674" y="14321"/>
                  <a:pt x="10700" y="14372"/>
                  <a:pt x="10725" y="14421"/>
                </a:cubicBezTo>
                <a:cubicBezTo>
                  <a:pt x="10748" y="14464"/>
                  <a:pt x="10769" y="14505"/>
                  <a:pt x="10785" y="14544"/>
                </a:cubicBezTo>
                <a:cubicBezTo>
                  <a:pt x="10799" y="14580"/>
                  <a:pt x="10802" y="14627"/>
                  <a:pt x="10806" y="14677"/>
                </a:cubicBezTo>
                <a:cubicBezTo>
                  <a:pt x="10808" y="14715"/>
                  <a:pt x="10812" y="14753"/>
                  <a:pt x="10819" y="14791"/>
                </a:cubicBezTo>
                <a:cubicBezTo>
                  <a:pt x="10822" y="14806"/>
                  <a:pt x="10825" y="14821"/>
                  <a:pt x="10828" y="14834"/>
                </a:cubicBezTo>
                <a:cubicBezTo>
                  <a:pt x="10845" y="14918"/>
                  <a:pt x="10858" y="14984"/>
                  <a:pt x="10871" y="15137"/>
                </a:cubicBezTo>
                <a:cubicBezTo>
                  <a:pt x="10873" y="15174"/>
                  <a:pt x="10878" y="15200"/>
                  <a:pt x="10883" y="15227"/>
                </a:cubicBezTo>
                <a:cubicBezTo>
                  <a:pt x="10878" y="15225"/>
                  <a:pt x="10873" y="15220"/>
                  <a:pt x="10867" y="15220"/>
                </a:cubicBezTo>
                <a:cubicBezTo>
                  <a:pt x="10826" y="15220"/>
                  <a:pt x="10793" y="15287"/>
                  <a:pt x="10793" y="15368"/>
                </a:cubicBezTo>
                <a:cubicBezTo>
                  <a:pt x="10793" y="15450"/>
                  <a:pt x="10826" y="15516"/>
                  <a:pt x="10867" y="15516"/>
                </a:cubicBezTo>
                <a:cubicBezTo>
                  <a:pt x="10871" y="15516"/>
                  <a:pt x="10874" y="15513"/>
                  <a:pt x="10878" y="15512"/>
                </a:cubicBezTo>
                <a:cubicBezTo>
                  <a:pt x="10868" y="15545"/>
                  <a:pt x="10855" y="15577"/>
                  <a:pt x="10842" y="15611"/>
                </a:cubicBezTo>
                <a:lnTo>
                  <a:pt x="10831" y="15639"/>
                </a:lnTo>
                <a:cubicBezTo>
                  <a:pt x="10827" y="15649"/>
                  <a:pt x="10826" y="15662"/>
                  <a:pt x="10830" y="15673"/>
                </a:cubicBezTo>
                <a:lnTo>
                  <a:pt x="10838" y="15699"/>
                </a:lnTo>
                <a:cubicBezTo>
                  <a:pt x="10814" y="15768"/>
                  <a:pt x="10795" y="15852"/>
                  <a:pt x="10795" y="15970"/>
                </a:cubicBezTo>
                <a:cubicBezTo>
                  <a:pt x="10795" y="16107"/>
                  <a:pt x="10809" y="16227"/>
                  <a:pt x="10842" y="16359"/>
                </a:cubicBezTo>
                <a:cubicBezTo>
                  <a:pt x="10859" y="16424"/>
                  <a:pt x="10877" y="16484"/>
                  <a:pt x="10897" y="16548"/>
                </a:cubicBezTo>
                <a:cubicBezTo>
                  <a:pt x="10905" y="16573"/>
                  <a:pt x="10912" y="16597"/>
                  <a:pt x="10920" y="16623"/>
                </a:cubicBezTo>
                <a:cubicBezTo>
                  <a:pt x="10927" y="16648"/>
                  <a:pt x="10935" y="16667"/>
                  <a:pt x="10942" y="16683"/>
                </a:cubicBezTo>
                <a:cubicBezTo>
                  <a:pt x="10954" y="16709"/>
                  <a:pt x="10960" y="16724"/>
                  <a:pt x="10960" y="16749"/>
                </a:cubicBezTo>
                <a:lnTo>
                  <a:pt x="10960" y="16863"/>
                </a:lnTo>
                <a:cubicBezTo>
                  <a:pt x="10960" y="17053"/>
                  <a:pt x="10985" y="17210"/>
                  <a:pt x="11020" y="17355"/>
                </a:cubicBezTo>
                <a:cubicBezTo>
                  <a:pt x="10996" y="17371"/>
                  <a:pt x="10979" y="17413"/>
                  <a:pt x="10979" y="17466"/>
                </a:cubicBezTo>
                <a:cubicBezTo>
                  <a:pt x="10979" y="17532"/>
                  <a:pt x="11006" y="17586"/>
                  <a:pt x="11039" y="17586"/>
                </a:cubicBezTo>
                <a:cubicBezTo>
                  <a:pt x="11053" y="17586"/>
                  <a:pt x="11064" y="17574"/>
                  <a:pt x="11074" y="17559"/>
                </a:cubicBezTo>
                <a:cubicBezTo>
                  <a:pt x="11078" y="17571"/>
                  <a:pt x="11081" y="17583"/>
                  <a:pt x="11085" y="17595"/>
                </a:cubicBezTo>
                <a:cubicBezTo>
                  <a:pt x="11091" y="17615"/>
                  <a:pt x="11097" y="17635"/>
                  <a:pt x="11103" y="17656"/>
                </a:cubicBezTo>
                <a:cubicBezTo>
                  <a:pt x="11114" y="17691"/>
                  <a:pt x="11126" y="17727"/>
                  <a:pt x="11136" y="17762"/>
                </a:cubicBezTo>
                <a:cubicBezTo>
                  <a:pt x="11139" y="17774"/>
                  <a:pt x="11146" y="17793"/>
                  <a:pt x="11155" y="17816"/>
                </a:cubicBezTo>
                <a:cubicBezTo>
                  <a:pt x="11172" y="17861"/>
                  <a:pt x="11204" y="17942"/>
                  <a:pt x="11204" y="17981"/>
                </a:cubicBezTo>
                <a:cubicBezTo>
                  <a:pt x="11204" y="17983"/>
                  <a:pt x="11204" y="17985"/>
                  <a:pt x="11203" y="17987"/>
                </a:cubicBezTo>
                <a:lnTo>
                  <a:pt x="11203" y="17994"/>
                </a:lnTo>
                <a:lnTo>
                  <a:pt x="11203" y="17999"/>
                </a:lnTo>
                <a:cubicBezTo>
                  <a:pt x="11203" y="18001"/>
                  <a:pt x="11203" y="18002"/>
                  <a:pt x="11203" y="18004"/>
                </a:cubicBezTo>
                <a:cubicBezTo>
                  <a:pt x="11200" y="18028"/>
                  <a:pt x="11193" y="18050"/>
                  <a:pt x="11181" y="18075"/>
                </a:cubicBezTo>
                <a:cubicBezTo>
                  <a:pt x="11175" y="18087"/>
                  <a:pt x="11175" y="18106"/>
                  <a:pt x="11181" y="18117"/>
                </a:cubicBezTo>
                <a:cubicBezTo>
                  <a:pt x="11195" y="18146"/>
                  <a:pt x="11214" y="18232"/>
                  <a:pt x="11214" y="18308"/>
                </a:cubicBezTo>
                <a:cubicBezTo>
                  <a:pt x="11214" y="18319"/>
                  <a:pt x="11217" y="18329"/>
                  <a:pt x="11221" y="18334"/>
                </a:cubicBezTo>
                <a:cubicBezTo>
                  <a:pt x="11226" y="18339"/>
                  <a:pt x="11231" y="18340"/>
                  <a:pt x="11236" y="18335"/>
                </a:cubicBezTo>
                <a:cubicBezTo>
                  <a:pt x="11239" y="18333"/>
                  <a:pt x="11241" y="18330"/>
                  <a:pt x="11242" y="18327"/>
                </a:cubicBezTo>
                <a:cubicBezTo>
                  <a:pt x="11243" y="18326"/>
                  <a:pt x="11244" y="18324"/>
                  <a:pt x="11245" y="18324"/>
                </a:cubicBezTo>
                <a:cubicBezTo>
                  <a:pt x="11263" y="18376"/>
                  <a:pt x="11287" y="18403"/>
                  <a:pt x="11319" y="18403"/>
                </a:cubicBezTo>
                <a:cubicBezTo>
                  <a:pt x="11361" y="18403"/>
                  <a:pt x="11397" y="18370"/>
                  <a:pt x="11431" y="18339"/>
                </a:cubicBezTo>
                <a:cubicBezTo>
                  <a:pt x="11464" y="18309"/>
                  <a:pt x="11494" y="18281"/>
                  <a:pt x="11533" y="18277"/>
                </a:cubicBezTo>
                <a:cubicBezTo>
                  <a:pt x="11534" y="18277"/>
                  <a:pt x="11536" y="18276"/>
                  <a:pt x="11538" y="18276"/>
                </a:cubicBezTo>
                <a:cubicBezTo>
                  <a:pt x="11539" y="18275"/>
                  <a:pt x="11540" y="18274"/>
                  <a:pt x="11541" y="18275"/>
                </a:cubicBezTo>
                <a:cubicBezTo>
                  <a:pt x="11542" y="18275"/>
                  <a:pt x="11542" y="18276"/>
                  <a:pt x="11542" y="18276"/>
                </a:cubicBezTo>
                <a:cubicBezTo>
                  <a:pt x="11550" y="18276"/>
                  <a:pt x="11556" y="18283"/>
                  <a:pt x="11563" y="18292"/>
                </a:cubicBezTo>
                <a:cubicBezTo>
                  <a:pt x="11573" y="18304"/>
                  <a:pt x="11585" y="18317"/>
                  <a:pt x="11601" y="18317"/>
                </a:cubicBezTo>
                <a:cubicBezTo>
                  <a:pt x="11612" y="18317"/>
                  <a:pt x="11623" y="18311"/>
                  <a:pt x="11634" y="18304"/>
                </a:cubicBezTo>
                <a:cubicBezTo>
                  <a:pt x="11642" y="18298"/>
                  <a:pt x="11651" y="18292"/>
                  <a:pt x="11661" y="18290"/>
                </a:cubicBezTo>
                <a:cubicBezTo>
                  <a:pt x="11662" y="18289"/>
                  <a:pt x="11663" y="18288"/>
                  <a:pt x="11665" y="18287"/>
                </a:cubicBezTo>
                <a:cubicBezTo>
                  <a:pt x="11672" y="18286"/>
                  <a:pt x="11678" y="18277"/>
                  <a:pt x="11679" y="18263"/>
                </a:cubicBezTo>
                <a:cubicBezTo>
                  <a:pt x="11681" y="18241"/>
                  <a:pt x="11689" y="18236"/>
                  <a:pt x="11717" y="18230"/>
                </a:cubicBezTo>
                <a:cubicBezTo>
                  <a:pt x="11732" y="18227"/>
                  <a:pt x="11750" y="18223"/>
                  <a:pt x="11766" y="18208"/>
                </a:cubicBezTo>
                <a:cubicBezTo>
                  <a:pt x="11786" y="18189"/>
                  <a:pt x="11803" y="18167"/>
                  <a:pt x="11820" y="18141"/>
                </a:cubicBezTo>
                <a:cubicBezTo>
                  <a:pt x="11820" y="18140"/>
                  <a:pt x="11822" y="18138"/>
                  <a:pt x="11823" y="18137"/>
                </a:cubicBezTo>
                <a:cubicBezTo>
                  <a:pt x="11823" y="18137"/>
                  <a:pt x="11823" y="18136"/>
                  <a:pt x="11823" y="18136"/>
                </a:cubicBezTo>
                <a:cubicBezTo>
                  <a:pt x="11856" y="18081"/>
                  <a:pt x="11878" y="18019"/>
                  <a:pt x="11901" y="17953"/>
                </a:cubicBezTo>
                <a:cubicBezTo>
                  <a:pt x="11912" y="17923"/>
                  <a:pt x="11923" y="17891"/>
                  <a:pt x="11935" y="17860"/>
                </a:cubicBezTo>
                <a:cubicBezTo>
                  <a:pt x="11950" y="17821"/>
                  <a:pt x="11960" y="17780"/>
                  <a:pt x="11969" y="17739"/>
                </a:cubicBezTo>
                <a:cubicBezTo>
                  <a:pt x="11982" y="17686"/>
                  <a:pt x="11994" y="17635"/>
                  <a:pt x="12019" y="17586"/>
                </a:cubicBezTo>
                <a:cubicBezTo>
                  <a:pt x="12022" y="17580"/>
                  <a:pt x="12025" y="17573"/>
                  <a:pt x="12029" y="17566"/>
                </a:cubicBezTo>
                <a:lnTo>
                  <a:pt x="12031" y="17562"/>
                </a:lnTo>
                <a:cubicBezTo>
                  <a:pt x="12051" y="17524"/>
                  <a:pt x="12076" y="17473"/>
                  <a:pt x="12093" y="17411"/>
                </a:cubicBezTo>
                <a:cubicBezTo>
                  <a:pt x="12096" y="17415"/>
                  <a:pt x="12100" y="17420"/>
                  <a:pt x="12104" y="17420"/>
                </a:cubicBezTo>
                <a:cubicBezTo>
                  <a:pt x="12119" y="17420"/>
                  <a:pt x="12132" y="17395"/>
                  <a:pt x="12132" y="17364"/>
                </a:cubicBezTo>
                <a:cubicBezTo>
                  <a:pt x="12132" y="17335"/>
                  <a:pt x="12120" y="17314"/>
                  <a:pt x="12107" y="17312"/>
                </a:cubicBezTo>
                <a:cubicBezTo>
                  <a:pt x="12107" y="17308"/>
                  <a:pt x="12108" y="17305"/>
                  <a:pt x="12108" y="17301"/>
                </a:cubicBezTo>
                <a:cubicBezTo>
                  <a:pt x="12108" y="17263"/>
                  <a:pt x="12098" y="17229"/>
                  <a:pt x="12080" y="17202"/>
                </a:cubicBezTo>
                <a:cubicBezTo>
                  <a:pt x="12084" y="17189"/>
                  <a:pt x="12089" y="17183"/>
                  <a:pt x="12093" y="17172"/>
                </a:cubicBezTo>
                <a:cubicBezTo>
                  <a:pt x="12104" y="17196"/>
                  <a:pt x="12119" y="17213"/>
                  <a:pt x="12137" y="17213"/>
                </a:cubicBezTo>
                <a:cubicBezTo>
                  <a:pt x="12170" y="17213"/>
                  <a:pt x="12196" y="17160"/>
                  <a:pt x="12196" y="17094"/>
                </a:cubicBezTo>
                <a:cubicBezTo>
                  <a:pt x="12196" y="17073"/>
                  <a:pt x="12193" y="17054"/>
                  <a:pt x="12188" y="17037"/>
                </a:cubicBezTo>
                <a:cubicBezTo>
                  <a:pt x="12189" y="17036"/>
                  <a:pt x="12189" y="17037"/>
                  <a:pt x="12190" y="17037"/>
                </a:cubicBezTo>
                <a:cubicBezTo>
                  <a:pt x="12208" y="17035"/>
                  <a:pt x="12230" y="17033"/>
                  <a:pt x="12243" y="16999"/>
                </a:cubicBezTo>
                <a:cubicBezTo>
                  <a:pt x="12262" y="16941"/>
                  <a:pt x="12262" y="16744"/>
                  <a:pt x="12262" y="16736"/>
                </a:cubicBezTo>
                <a:cubicBezTo>
                  <a:pt x="12262" y="16658"/>
                  <a:pt x="12244" y="16603"/>
                  <a:pt x="12227" y="16554"/>
                </a:cubicBezTo>
                <a:cubicBezTo>
                  <a:pt x="12214" y="16517"/>
                  <a:pt x="12203" y="16485"/>
                  <a:pt x="12203" y="16451"/>
                </a:cubicBezTo>
                <a:cubicBezTo>
                  <a:pt x="12203" y="16422"/>
                  <a:pt x="12230" y="16360"/>
                  <a:pt x="12254" y="16353"/>
                </a:cubicBezTo>
                <a:cubicBezTo>
                  <a:pt x="12260" y="16351"/>
                  <a:pt x="12265" y="16341"/>
                  <a:pt x="12266" y="16328"/>
                </a:cubicBezTo>
                <a:cubicBezTo>
                  <a:pt x="12269" y="16291"/>
                  <a:pt x="12279" y="16259"/>
                  <a:pt x="12294" y="16229"/>
                </a:cubicBezTo>
                <a:cubicBezTo>
                  <a:pt x="12303" y="16234"/>
                  <a:pt x="12312" y="16240"/>
                  <a:pt x="12322" y="16240"/>
                </a:cubicBezTo>
                <a:cubicBezTo>
                  <a:pt x="12375" y="16240"/>
                  <a:pt x="12418" y="16156"/>
                  <a:pt x="12418" y="16050"/>
                </a:cubicBezTo>
                <a:cubicBezTo>
                  <a:pt x="12468" y="15999"/>
                  <a:pt x="12515" y="15941"/>
                  <a:pt x="12532" y="15839"/>
                </a:cubicBezTo>
                <a:lnTo>
                  <a:pt x="12543" y="15850"/>
                </a:lnTo>
                <a:cubicBezTo>
                  <a:pt x="12545" y="15851"/>
                  <a:pt x="12547" y="15852"/>
                  <a:pt x="12549" y="15852"/>
                </a:cubicBezTo>
                <a:cubicBezTo>
                  <a:pt x="12551" y="15852"/>
                  <a:pt x="12553" y="15851"/>
                  <a:pt x="12555" y="15849"/>
                </a:cubicBezTo>
                <a:cubicBezTo>
                  <a:pt x="12559" y="15845"/>
                  <a:pt x="12562" y="15838"/>
                  <a:pt x="12564" y="15830"/>
                </a:cubicBezTo>
                <a:cubicBezTo>
                  <a:pt x="12568" y="15801"/>
                  <a:pt x="12570" y="15775"/>
                  <a:pt x="12570" y="15750"/>
                </a:cubicBezTo>
                <a:cubicBezTo>
                  <a:pt x="12570" y="15709"/>
                  <a:pt x="12565" y="15680"/>
                  <a:pt x="12553" y="15653"/>
                </a:cubicBezTo>
                <a:cubicBezTo>
                  <a:pt x="12553" y="15591"/>
                  <a:pt x="12555" y="15540"/>
                  <a:pt x="12557" y="15495"/>
                </a:cubicBezTo>
                <a:cubicBezTo>
                  <a:pt x="12558" y="15458"/>
                  <a:pt x="12559" y="15427"/>
                  <a:pt x="12559" y="15396"/>
                </a:cubicBezTo>
                <a:lnTo>
                  <a:pt x="12559" y="15300"/>
                </a:lnTo>
                <a:cubicBezTo>
                  <a:pt x="12559" y="15299"/>
                  <a:pt x="12559" y="15299"/>
                  <a:pt x="12559" y="15298"/>
                </a:cubicBezTo>
                <a:cubicBezTo>
                  <a:pt x="12565" y="15282"/>
                  <a:pt x="12574" y="15255"/>
                  <a:pt x="12574" y="15226"/>
                </a:cubicBezTo>
                <a:cubicBezTo>
                  <a:pt x="12574" y="15202"/>
                  <a:pt x="12569" y="15180"/>
                  <a:pt x="12562" y="15158"/>
                </a:cubicBezTo>
                <a:cubicBezTo>
                  <a:pt x="12565" y="15137"/>
                  <a:pt x="12567" y="15114"/>
                  <a:pt x="12562" y="15092"/>
                </a:cubicBezTo>
                <a:cubicBezTo>
                  <a:pt x="12556" y="15067"/>
                  <a:pt x="12546" y="15050"/>
                  <a:pt x="12534" y="15041"/>
                </a:cubicBezTo>
                <a:cubicBezTo>
                  <a:pt x="12529" y="15036"/>
                  <a:pt x="12523" y="15041"/>
                  <a:pt x="12516" y="15041"/>
                </a:cubicBezTo>
                <a:cubicBezTo>
                  <a:pt x="12505" y="15008"/>
                  <a:pt x="12496" y="14972"/>
                  <a:pt x="12496" y="14929"/>
                </a:cubicBezTo>
                <a:cubicBezTo>
                  <a:pt x="12496" y="14863"/>
                  <a:pt x="12491" y="14814"/>
                  <a:pt x="12487" y="14767"/>
                </a:cubicBezTo>
                <a:cubicBezTo>
                  <a:pt x="12487" y="14764"/>
                  <a:pt x="12486" y="14760"/>
                  <a:pt x="12486" y="14757"/>
                </a:cubicBezTo>
                <a:cubicBezTo>
                  <a:pt x="12503" y="14754"/>
                  <a:pt x="12517" y="14728"/>
                  <a:pt x="12517" y="14692"/>
                </a:cubicBezTo>
                <a:cubicBezTo>
                  <a:pt x="12517" y="14654"/>
                  <a:pt x="12502" y="14623"/>
                  <a:pt x="12483" y="14623"/>
                </a:cubicBezTo>
                <a:cubicBezTo>
                  <a:pt x="12482" y="14623"/>
                  <a:pt x="12481" y="14626"/>
                  <a:pt x="12479" y="14627"/>
                </a:cubicBezTo>
                <a:cubicBezTo>
                  <a:pt x="12479" y="14621"/>
                  <a:pt x="12479" y="14617"/>
                  <a:pt x="12479" y="14611"/>
                </a:cubicBezTo>
                <a:cubicBezTo>
                  <a:pt x="12479" y="14555"/>
                  <a:pt x="12493" y="14522"/>
                  <a:pt x="12510" y="14485"/>
                </a:cubicBezTo>
                <a:cubicBezTo>
                  <a:pt x="12524" y="14453"/>
                  <a:pt x="12540" y="14416"/>
                  <a:pt x="12548" y="14363"/>
                </a:cubicBezTo>
                <a:cubicBezTo>
                  <a:pt x="12579" y="14144"/>
                  <a:pt x="12642" y="14036"/>
                  <a:pt x="12727" y="13925"/>
                </a:cubicBezTo>
                <a:cubicBezTo>
                  <a:pt x="12732" y="13931"/>
                  <a:pt x="12737" y="13939"/>
                  <a:pt x="12744" y="13939"/>
                </a:cubicBezTo>
                <a:cubicBezTo>
                  <a:pt x="12763" y="13939"/>
                  <a:pt x="12778" y="13909"/>
                  <a:pt x="12778" y="13871"/>
                </a:cubicBezTo>
                <a:cubicBezTo>
                  <a:pt x="12778" y="13868"/>
                  <a:pt x="12776" y="13865"/>
                  <a:pt x="12776" y="13861"/>
                </a:cubicBezTo>
                <a:cubicBezTo>
                  <a:pt x="12812" y="13816"/>
                  <a:pt x="12849" y="13769"/>
                  <a:pt x="12886" y="13711"/>
                </a:cubicBezTo>
                <a:cubicBezTo>
                  <a:pt x="12918" y="13661"/>
                  <a:pt x="12942" y="13605"/>
                  <a:pt x="12962" y="13547"/>
                </a:cubicBezTo>
                <a:cubicBezTo>
                  <a:pt x="12969" y="13559"/>
                  <a:pt x="12977" y="13566"/>
                  <a:pt x="12986" y="13566"/>
                </a:cubicBezTo>
                <a:cubicBezTo>
                  <a:pt x="13005" y="13566"/>
                  <a:pt x="13019" y="13536"/>
                  <a:pt x="13019" y="13498"/>
                </a:cubicBezTo>
                <a:cubicBezTo>
                  <a:pt x="13019" y="13471"/>
                  <a:pt x="13010" y="13451"/>
                  <a:pt x="12999" y="13440"/>
                </a:cubicBezTo>
                <a:cubicBezTo>
                  <a:pt x="13000" y="13435"/>
                  <a:pt x="13002" y="13429"/>
                  <a:pt x="13004" y="13424"/>
                </a:cubicBezTo>
                <a:cubicBezTo>
                  <a:pt x="13020" y="13371"/>
                  <a:pt x="13038" y="13316"/>
                  <a:pt x="13059" y="13259"/>
                </a:cubicBezTo>
                <a:cubicBezTo>
                  <a:pt x="13074" y="13220"/>
                  <a:pt x="13133" y="13054"/>
                  <a:pt x="13172" y="12861"/>
                </a:cubicBezTo>
                <a:cubicBezTo>
                  <a:pt x="13205" y="12845"/>
                  <a:pt x="13229" y="12789"/>
                  <a:pt x="13229" y="12720"/>
                </a:cubicBezTo>
                <a:cubicBezTo>
                  <a:pt x="13229" y="12677"/>
                  <a:pt x="13220" y="12639"/>
                  <a:pt x="13206" y="12612"/>
                </a:cubicBezTo>
                <a:cubicBezTo>
                  <a:pt x="13208" y="12588"/>
                  <a:pt x="13210" y="12561"/>
                  <a:pt x="13210" y="12539"/>
                </a:cubicBezTo>
                <a:cubicBezTo>
                  <a:pt x="13210" y="12513"/>
                  <a:pt x="13205" y="12497"/>
                  <a:pt x="13200" y="12482"/>
                </a:cubicBezTo>
                <a:cubicBezTo>
                  <a:pt x="13198" y="12476"/>
                  <a:pt x="13196" y="12469"/>
                  <a:pt x="13194" y="12462"/>
                </a:cubicBezTo>
                <a:cubicBezTo>
                  <a:pt x="13191" y="12450"/>
                  <a:pt x="13184" y="12443"/>
                  <a:pt x="13177" y="12447"/>
                </a:cubicBezTo>
                <a:cubicBezTo>
                  <a:pt x="13147" y="12462"/>
                  <a:pt x="13117" y="12481"/>
                  <a:pt x="13088" y="12499"/>
                </a:cubicBezTo>
                <a:cubicBezTo>
                  <a:pt x="13052" y="12522"/>
                  <a:pt x="13015" y="12546"/>
                  <a:pt x="12977" y="12562"/>
                </a:cubicBezTo>
                <a:cubicBezTo>
                  <a:pt x="12966" y="12567"/>
                  <a:pt x="12956" y="12571"/>
                  <a:pt x="12945" y="12574"/>
                </a:cubicBezTo>
                <a:cubicBezTo>
                  <a:pt x="12933" y="12577"/>
                  <a:pt x="12923" y="12574"/>
                  <a:pt x="12912" y="12570"/>
                </a:cubicBezTo>
                <a:cubicBezTo>
                  <a:pt x="12895" y="12565"/>
                  <a:pt x="12875" y="12563"/>
                  <a:pt x="12858" y="12575"/>
                </a:cubicBezTo>
                <a:cubicBezTo>
                  <a:pt x="12850" y="12580"/>
                  <a:pt x="12847" y="12589"/>
                  <a:pt x="12842" y="12596"/>
                </a:cubicBezTo>
                <a:cubicBezTo>
                  <a:pt x="12829" y="12559"/>
                  <a:pt x="12808" y="12534"/>
                  <a:pt x="12783" y="12534"/>
                </a:cubicBezTo>
                <a:cubicBezTo>
                  <a:pt x="12771" y="12534"/>
                  <a:pt x="12760" y="12542"/>
                  <a:pt x="12750" y="12552"/>
                </a:cubicBezTo>
                <a:cubicBezTo>
                  <a:pt x="12742" y="12530"/>
                  <a:pt x="12735" y="12510"/>
                  <a:pt x="12727" y="12494"/>
                </a:cubicBezTo>
                <a:cubicBezTo>
                  <a:pt x="12735" y="12462"/>
                  <a:pt x="12732" y="12438"/>
                  <a:pt x="12728" y="12417"/>
                </a:cubicBezTo>
                <a:cubicBezTo>
                  <a:pt x="12726" y="12404"/>
                  <a:pt x="12724" y="12391"/>
                  <a:pt x="12723" y="12372"/>
                </a:cubicBezTo>
                <a:cubicBezTo>
                  <a:pt x="12779" y="12426"/>
                  <a:pt x="12784" y="12425"/>
                  <a:pt x="12788" y="12425"/>
                </a:cubicBezTo>
                <a:cubicBezTo>
                  <a:pt x="12791" y="12425"/>
                  <a:pt x="12794" y="12424"/>
                  <a:pt x="12796" y="12421"/>
                </a:cubicBezTo>
                <a:lnTo>
                  <a:pt x="12805" y="12410"/>
                </a:lnTo>
                <a:cubicBezTo>
                  <a:pt x="12841" y="12408"/>
                  <a:pt x="12856" y="12383"/>
                  <a:pt x="12875" y="12352"/>
                </a:cubicBezTo>
                <a:cubicBezTo>
                  <a:pt x="12880" y="12344"/>
                  <a:pt x="12886" y="12334"/>
                  <a:pt x="12893" y="12323"/>
                </a:cubicBezTo>
                <a:lnTo>
                  <a:pt x="12954" y="12323"/>
                </a:lnTo>
                <a:cubicBezTo>
                  <a:pt x="12956" y="12323"/>
                  <a:pt x="12958" y="12323"/>
                  <a:pt x="12960" y="12321"/>
                </a:cubicBezTo>
                <a:cubicBezTo>
                  <a:pt x="12972" y="12310"/>
                  <a:pt x="12992" y="12284"/>
                  <a:pt x="13015" y="12255"/>
                </a:cubicBezTo>
                <a:cubicBezTo>
                  <a:pt x="13044" y="12219"/>
                  <a:pt x="13082" y="12171"/>
                  <a:pt x="13095" y="12165"/>
                </a:cubicBezTo>
                <a:lnTo>
                  <a:pt x="13113" y="12157"/>
                </a:lnTo>
                <a:cubicBezTo>
                  <a:pt x="13162" y="12132"/>
                  <a:pt x="13219" y="12104"/>
                  <a:pt x="13263" y="12061"/>
                </a:cubicBezTo>
                <a:cubicBezTo>
                  <a:pt x="13267" y="12057"/>
                  <a:pt x="13270" y="12048"/>
                  <a:pt x="13271" y="12039"/>
                </a:cubicBezTo>
                <a:cubicBezTo>
                  <a:pt x="13272" y="12029"/>
                  <a:pt x="13271" y="12020"/>
                  <a:pt x="13267" y="12013"/>
                </a:cubicBezTo>
                <a:cubicBezTo>
                  <a:pt x="13265" y="12009"/>
                  <a:pt x="13263" y="12000"/>
                  <a:pt x="13263" y="11996"/>
                </a:cubicBezTo>
                <a:cubicBezTo>
                  <a:pt x="13263" y="11965"/>
                  <a:pt x="13293" y="11916"/>
                  <a:pt x="13438" y="11863"/>
                </a:cubicBezTo>
                <a:cubicBezTo>
                  <a:pt x="13445" y="11860"/>
                  <a:pt x="13450" y="11848"/>
                  <a:pt x="13450" y="11834"/>
                </a:cubicBezTo>
                <a:cubicBezTo>
                  <a:pt x="13450" y="11814"/>
                  <a:pt x="13463" y="11779"/>
                  <a:pt x="13479" y="11757"/>
                </a:cubicBezTo>
                <a:cubicBezTo>
                  <a:pt x="13488" y="11744"/>
                  <a:pt x="13493" y="11740"/>
                  <a:pt x="13495" y="11740"/>
                </a:cubicBezTo>
                <a:cubicBezTo>
                  <a:pt x="13520" y="11740"/>
                  <a:pt x="13531" y="11695"/>
                  <a:pt x="13539" y="11662"/>
                </a:cubicBezTo>
                <a:cubicBezTo>
                  <a:pt x="13545" y="11634"/>
                  <a:pt x="13550" y="11618"/>
                  <a:pt x="13556" y="11618"/>
                </a:cubicBezTo>
                <a:cubicBezTo>
                  <a:pt x="13585" y="11618"/>
                  <a:pt x="13592" y="11563"/>
                  <a:pt x="13596" y="11522"/>
                </a:cubicBezTo>
                <a:cubicBezTo>
                  <a:pt x="13602" y="11528"/>
                  <a:pt x="13607" y="11538"/>
                  <a:pt x="13615" y="11538"/>
                </a:cubicBezTo>
                <a:cubicBezTo>
                  <a:pt x="13642" y="11538"/>
                  <a:pt x="13664" y="11494"/>
                  <a:pt x="13664" y="11440"/>
                </a:cubicBezTo>
                <a:cubicBezTo>
                  <a:pt x="13664" y="11428"/>
                  <a:pt x="13659" y="11420"/>
                  <a:pt x="13657" y="11409"/>
                </a:cubicBezTo>
                <a:cubicBezTo>
                  <a:pt x="13659" y="11404"/>
                  <a:pt x="13664" y="11404"/>
                  <a:pt x="13664" y="11397"/>
                </a:cubicBezTo>
                <a:cubicBezTo>
                  <a:pt x="13664" y="11357"/>
                  <a:pt x="13676" y="11329"/>
                  <a:pt x="13691" y="11297"/>
                </a:cubicBezTo>
                <a:cubicBezTo>
                  <a:pt x="13707" y="11263"/>
                  <a:pt x="13725" y="11222"/>
                  <a:pt x="13725" y="11162"/>
                </a:cubicBezTo>
                <a:cubicBezTo>
                  <a:pt x="13725" y="11122"/>
                  <a:pt x="13709" y="11108"/>
                  <a:pt x="13699" y="11099"/>
                </a:cubicBezTo>
                <a:cubicBezTo>
                  <a:pt x="13692" y="11094"/>
                  <a:pt x="13685" y="11088"/>
                  <a:pt x="13683" y="11079"/>
                </a:cubicBezTo>
                <a:cubicBezTo>
                  <a:pt x="13681" y="11073"/>
                  <a:pt x="13678" y="11068"/>
                  <a:pt x="13675" y="11065"/>
                </a:cubicBezTo>
                <a:cubicBezTo>
                  <a:pt x="13673" y="11059"/>
                  <a:pt x="13671" y="11050"/>
                  <a:pt x="13670" y="11043"/>
                </a:cubicBezTo>
                <a:cubicBezTo>
                  <a:pt x="13663" y="11016"/>
                  <a:pt x="13654" y="10978"/>
                  <a:pt x="13634" y="10968"/>
                </a:cubicBezTo>
                <a:lnTo>
                  <a:pt x="13628" y="10964"/>
                </a:lnTo>
                <a:cubicBezTo>
                  <a:pt x="13581" y="10935"/>
                  <a:pt x="13551" y="10912"/>
                  <a:pt x="13527" y="10845"/>
                </a:cubicBezTo>
                <a:cubicBezTo>
                  <a:pt x="13533" y="10849"/>
                  <a:pt x="13539" y="10853"/>
                  <a:pt x="13546" y="10853"/>
                </a:cubicBezTo>
                <a:cubicBezTo>
                  <a:pt x="13576" y="10853"/>
                  <a:pt x="13602" y="10817"/>
                  <a:pt x="13614" y="10765"/>
                </a:cubicBezTo>
                <a:cubicBezTo>
                  <a:pt x="13625" y="10769"/>
                  <a:pt x="13638" y="10780"/>
                  <a:pt x="13641" y="10780"/>
                </a:cubicBezTo>
                <a:cubicBezTo>
                  <a:pt x="13670" y="10780"/>
                  <a:pt x="13712" y="10794"/>
                  <a:pt x="13749" y="10808"/>
                </a:cubicBezTo>
                <a:cubicBezTo>
                  <a:pt x="13782" y="10820"/>
                  <a:pt x="13812" y="10831"/>
                  <a:pt x="13832" y="10831"/>
                </a:cubicBezTo>
                <a:cubicBezTo>
                  <a:pt x="13838" y="10833"/>
                  <a:pt x="13843" y="10834"/>
                  <a:pt x="13847" y="10831"/>
                </a:cubicBezTo>
                <a:lnTo>
                  <a:pt x="13917" y="10823"/>
                </a:lnTo>
                <a:cubicBezTo>
                  <a:pt x="13921" y="10823"/>
                  <a:pt x="13925" y="10818"/>
                  <a:pt x="13928" y="10813"/>
                </a:cubicBezTo>
                <a:cubicBezTo>
                  <a:pt x="13930" y="10807"/>
                  <a:pt x="13934" y="10800"/>
                  <a:pt x="13938" y="10795"/>
                </a:cubicBezTo>
                <a:lnTo>
                  <a:pt x="13975" y="10816"/>
                </a:lnTo>
                <a:cubicBezTo>
                  <a:pt x="13976" y="10852"/>
                  <a:pt x="13991" y="10880"/>
                  <a:pt x="14009" y="10880"/>
                </a:cubicBezTo>
                <a:cubicBezTo>
                  <a:pt x="14028" y="10880"/>
                  <a:pt x="14043" y="10850"/>
                  <a:pt x="14043" y="10813"/>
                </a:cubicBezTo>
                <a:cubicBezTo>
                  <a:pt x="14043" y="10805"/>
                  <a:pt x="14040" y="10800"/>
                  <a:pt x="14039" y="10793"/>
                </a:cubicBezTo>
                <a:cubicBezTo>
                  <a:pt x="14041" y="10792"/>
                  <a:pt x="14041" y="10789"/>
                  <a:pt x="14043" y="10789"/>
                </a:cubicBezTo>
                <a:cubicBezTo>
                  <a:pt x="14051" y="10789"/>
                  <a:pt x="14058" y="10788"/>
                  <a:pt x="14064" y="10787"/>
                </a:cubicBezTo>
                <a:cubicBezTo>
                  <a:pt x="14078" y="10785"/>
                  <a:pt x="14091" y="10786"/>
                  <a:pt x="14102" y="10792"/>
                </a:cubicBezTo>
                <a:cubicBezTo>
                  <a:pt x="14114" y="10799"/>
                  <a:pt x="14125" y="10846"/>
                  <a:pt x="14134" y="10885"/>
                </a:cubicBezTo>
                <a:cubicBezTo>
                  <a:pt x="14139" y="10907"/>
                  <a:pt x="14144" y="10929"/>
                  <a:pt x="14150" y="10949"/>
                </a:cubicBezTo>
                <a:cubicBezTo>
                  <a:pt x="14174" y="11022"/>
                  <a:pt x="14241" y="11111"/>
                  <a:pt x="14287" y="11111"/>
                </a:cubicBezTo>
                <a:cubicBezTo>
                  <a:pt x="14296" y="11111"/>
                  <a:pt x="14304" y="11111"/>
                  <a:pt x="14312" y="11112"/>
                </a:cubicBezTo>
                <a:cubicBezTo>
                  <a:pt x="14310" y="11119"/>
                  <a:pt x="14308" y="11123"/>
                  <a:pt x="14304" y="11125"/>
                </a:cubicBezTo>
                <a:cubicBezTo>
                  <a:pt x="14299" y="11128"/>
                  <a:pt x="14293" y="11129"/>
                  <a:pt x="14287" y="11128"/>
                </a:cubicBezTo>
                <a:cubicBezTo>
                  <a:pt x="14284" y="11128"/>
                  <a:pt x="14282" y="11127"/>
                  <a:pt x="14279" y="11127"/>
                </a:cubicBezTo>
                <a:cubicBezTo>
                  <a:pt x="14271" y="11127"/>
                  <a:pt x="14260" y="11130"/>
                  <a:pt x="14248" y="11146"/>
                </a:cubicBezTo>
                <a:cubicBezTo>
                  <a:pt x="14244" y="11151"/>
                  <a:pt x="14241" y="11159"/>
                  <a:pt x="14241" y="11168"/>
                </a:cubicBezTo>
                <a:cubicBezTo>
                  <a:pt x="14240" y="11177"/>
                  <a:pt x="14242" y="11186"/>
                  <a:pt x="14245" y="11193"/>
                </a:cubicBezTo>
                <a:cubicBezTo>
                  <a:pt x="14253" y="11208"/>
                  <a:pt x="14260" y="11227"/>
                  <a:pt x="14268" y="11249"/>
                </a:cubicBezTo>
                <a:cubicBezTo>
                  <a:pt x="14277" y="11273"/>
                  <a:pt x="14287" y="11299"/>
                  <a:pt x="14298" y="11322"/>
                </a:cubicBezTo>
                <a:cubicBezTo>
                  <a:pt x="14314" y="11354"/>
                  <a:pt x="14339" y="11397"/>
                  <a:pt x="14378" y="11397"/>
                </a:cubicBezTo>
                <a:cubicBezTo>
                  <a:pt x="14424" y="11397"/>
                  <a:pt x="14441" y="11320"/>
                  <a:pt x="14455" y="11259"/>
                </a:cubicBezTo>
                <a:cubicBezTo>
                  <a:pt x="14457" y="11278"/>
                  <a:pt x="14460" y="11297"/>
                  <a:pt x="14463" y="11315"/>
                </a:cubicBezTo>
                <a:cubicBezTo>
                  <a:pt x="14469" y="11343"/>
                  <a:pt x="14474" y="11370"/>
                  <a:pt x="14474" y="11400"/>
                </a:cubicBezTo>
                <a:cubicBezTo>
                  <a:pt x="14474" y="11423"/>
                  <a:pt x="14472" y="11435"/>
                  <a:pt x="14470" y="11451"/>
                </a:cubicBezTo>
                <a:cubicBezTo>
                  <a:pt x="14468" y="11465"/>
                  <a:pt x="14465" y="11481"/>
                  <a:pt x="14464" y="11503"/>
                </a:cubicBezTo>
                <a:cubicBezTo>
                  <a:pt x="14463" y="11507"/>
                  <a:pt x="14462" y="11513"/>
                  <a:pt x="14462" y="11519"/>
                </a:cubicBezTo>
                <a:cubicBezTo>
                  <a:pt x="14462" y="11526"/>
                  <a:pt x="14463" y="11539"/>
                  <a:pt x="14464" y="11553"/>
                </a:cubicBezTo>
                <a:cubicBezTo>
                  <a:pt x="14465" y="11563"/>
                  <a:pt x="14465" y="11573"/>
                  <a:pt x="14465" y="11578"/>
                </a:cubicBezTo>
                <a:cubicBezTo>
                  <a:pt x="14465" y="11638"/>
                  <a:pt x="14477" y="11697"/>
                  <a:pt x="14488" y="11753"/>
                </a:cubicBezTo>
                <a:cubicBezTo>
                  <a:pt x="14493" y="11779"/>
                  <a:pt x="14498" y="11807"/>
                  <a:pt x="14502" y="11834"/>
                </a:cubicBezTo>
                <a:cubicBezTo>
                  <a:pt x="14488" y="11843"/>
                  <a:pt x="14477" y="11864"/>
                  <a:pt x="14477" y="11894"/>
                </a:cubicBezTo>
                <a:cubicBezTo>
                  <a:pt x="14477" y="11932"/>
                  <a:pt x="14493" y="11962"/>
                  <a:pt x="14512" y="11962"/>
                </a:cubicBezTo>
                <a:cubicBezTo>
                  <a:pt x="14518" y="11962"/>
                  <a:pt x="14522" y="11954"/>
                  <a:pt x="14527" y="11949"/>
                </a:cubicBezTo>
                <a:cubicBezTo>
                  <a:pt x="14532" y="11972"/>
                  <a:pt x="14536" y="11994"/>
                  <a:pt x="14541" y="12016"/>
                </a:cubicBezTo>
                <a:cubicBezTo>
                  <a:pt x="14551" y="12062"/>
                  <a:pt x="14561" y="12106"/>
                  <a:pt x="14566" y="12132"/>
                </a:cubicBezTo>
                <a:cubicBezTo>
                  <a:pt x="14568" y="12146"/>
                  <a:pt x="14569" y="12159"/>
                  <a:pt x="14571" y="12171"/>
                </a:cubicBezTo>
                <a:cubicBezTo>
                  <a:pt x="14575" y="12203"/>
                  <a:pt x="14579" y="12231"/>
                  <a:pt x="14593" y="12277"/>
                </a:cubicBezTo>
                <a:cubicBezTo>
                  <a:pt x="14600" y="12296"/>
                  <a:pt x="14601" y="12317"/>
                  <a:pt x="14602" y="12344"/>
                </a:cubicBezTo>
                <a:cubicBezTo>
                  <a:pt x="14604" y="12374"/>
                  <a:pt x="14606" y="12409"/>
                  <a:pt x="14616" y="12447"/>
                </a:cubicBezTo>
                <a:cubicBezTo>
                  <a:pt x="14620" y="12463"/>
                  <a:pt x="14627" y="12479"/>
                  <a:pt x="14634" y="12496"/>
                </a:cubicBezTo>
                <a:cubicBezTo>
                  <a:pt x="14645" y="12520"/>
                  <a:pt x="14657" y="12547"/>
                  <a:pt x="14662" y="12579"/>
                </a:cubicBezTo>
                <a:cubicBezTo>
                  <a:pt x="14669" y="12623"/>
                  <a:pt x="14678" y="12666"/>
                  <a:pt x="14688" y="12710"/>
                </a:cubicBezTo>
                <a:cubicBezTo>
                  <a:pt x="14698" y="12756"/>
                  <a:pt x="14708" y="12804"/>
                  <a:pt x="14716" y="12856"/>
                </a:cubicBezTo>
                <a:cubicBezTo>
                  <a:pt x="14721" y="12884"/>
                  <a:pt x="14729" y="12904"/>
                  <a:pt x="14738" y="12913"/>
                </a:cubicBezTo>
                <a:cubicBezTo>
                  <a:pt x="14744" y="12943"/>
                  <a:pt x="14759" y="12962"/>
                  <a:pt x="14777" y="12962"/>
                </a:cubicBezTo>
                <a:cubicBezTo>
                  <a:pt x="14779" y="12962"/>
                  <a:pt x="14781" y="12961"/>
                  <a:pt x="14781" y="12961"/>
                </a:cubicBezTo>
                <a:cubicBezTo>
                  <a:pt x="14804" y="12961"/>
                  <a:pt x="14812" y="12916"/>
                  <a:pt x="14817" y="12886"/>
                </a:cubicBezTo>
                <a:cubicBezTo>
                  <a:pt x="14819" y="12877"/>
                  <a:pt x="14820" y="12868"/>
                  <a:pt x="14822" y="12860"/>
                </a:cubicBezTo>
                <a:cubicBezTo>
                  <a:pt x="14826" y="12843"/>
                  <a:pt x="14827" y="12843"/>
                  <a:pt x="14834" y="12839"/>
                </a:cubicBezTo>
                <a:cubicBezTo>
                  <a:pt x="14839" y="12836"/>
                  <a:pt x="14845" y="12832"/>
                  <a:pt x="14852" y="12825"/>
                </a:cubicBezTo>
                <a:cubicBezTo>
                  <a:pt x="14853" y="12824"/>
                  <a:pt x="14854" y="12824"/>
                  <a:pt x="14854" y="12823"/>
                </a:cubicBezTo>
                <a:cubicBezTo>
                  <a:pt x="14855" y="12823"/>
                  <a:pt x="14856" y="12821"/>
                  <a:pt x="14856" y="12821"/>
                </a:cubicBezTo>
                <a:cubicBezTo>
                  <a:pt x="14869" y="12808"/>
                  <a:pt x="14873" y="12777"/>
                  <a:pt x="14877" y="12744"/>
                </a:cubicBezTo>
                <a:cubicBezTo>
                  <a:pt x="14881" y="12716"/>
                  <a:pt x="14885" y="12684"/>
                  <a:pt x="14894" y="12679"/>
                </a:cubicBezTo>
                <a:cubicBezTo>
                  <a:pt x="14895" y="12678"/>
                  <a:pt x="14898" y="12677"/>
                  <a:pt x="14899" y="12677"/>
                </a:cubicBezTo>
                <a:cubicBezTo>
                  <a:pt x="14905" y="12675"/>
                  <a:pt x="14914" y="12672"/>
                  <a:pt x="14920" y="12660"/>
                </a:cubicBezTo>
                <a:lnTo>
                  <a:pt x="14924" y="12658"/>
                </a:lnTo>
                <a:cubicBezTo>
                  <a:pt x="14932" y="12654"/>
                  <a:pt x="14938" y="12639"/>
                  <a:pt x="14936" y="12623"/>
                </a:cubicBezTo>
                <a:lnTo>
                  <a:pt x="14926" y="12516"/>
                </a:lnTo>
                <a:cubicBezTo>
                  <a:pt x="14926" y="12484"/>
                  <a:pt x="14931" y="12453"/>
                  <a:pt x="14937" y="12418"/>
                </a:cubicBezTo>
                <a:cubicBezTo>
                  <a:pt x="14944" y="12374"/>
                  <a:pt x="14951" y="12325"/>
                  <a:pt x="14951" y="12264"/>
                </a:cubicBezTo>
                <a:cubicBezTo>
                  <a:pt x="14951" y="12227"/>
                  <a:pt x="14947" y="12197"/>
                  <a:pt x="14944" y="12168"/>
                </a:cubicBezTo>
                <a:cubicBezTo>
                  <a:pt x="14940" y="12139"/>
                  <a:pt x="14936" y="12112"/>
                  <a:pt x="14936" y="12076"/>
                </a:cubicBezTo>
                <a:cubicBezTo>
                  <a:pt x="14936" y="12027"/>
                  <a:pt x="14953" y="12012"/>
                  <a:pt x="14992" y="11989"/>
                </a:cubicBezTo>
                <a:cubicBezTo>
                  <a:pt x="14998" y="11985"/>
                  <a:pt x="15003" y="11982"/>
                  <a:pt x="15008" y="11978"/>
                </a:cubicBezTo>
                <a:cubicBezTo>
                  <a:pt x="15019" y="11972"/>
                  <a:pt x="15032" y="11951"/>
                  <a:pt x="15046" y="11925"/>
                </a:cubicBezTo>
                <a:cubicBezTo>
                  <a:pt x="15054" y="11931"/>
                  <a:pt x="15063" y="11935"/>
                  <a:pt x="15072" y="11935"/>
                </a:cubicBezTo>
                <a:cubicBezTo>
                  <a:pt x="15113" y="11935"/>
                  <a:pt x="15146" y="11869"/>
                  <a:pt x="15146" y="11787"/>
                </a:cubicBezTo>
                <a:cubicBezTo>
                  <a:pt x="15146" y="11767"/>
                  <a:pt x="15144" y="11748"/>
                  <a:pt x="15140" y="11730"/>
                </a:cubicBezTo>
                <a:cubicBezTo>
                  <a:pt x="15157" y="11695"/>
                  <a:pt x="15173" y="11660"/>
                  <a:pt x="15191" y="11625"/>
                </a:cubicBezTo>
                <a:cubicBezTo>
                  <a:pt x="15205" y="11596"/>
                  <a:pt x="15227" y="11576"/>
                  <a:pt x="15250" y="11554"/>
                </a:cubicBezTo>
                <a:cubicBezTo>
                  <a:pt x="15276" y="11529"/>
                  <a:pt x="15303" y="11503"/>
                  <a:pt x="15325" y="11460"/>
                </a:cubicBezTo>
                <a:cubicBezTo>
                  <a:pt x="15341" y="11426"/>
                  <a:pt x="15345" y="11389"/>
                  <a:pt x="15348" y="11349"/>
                </a:cubicBezTo>
                <a:cubicBezTo>
                  <a:pt x="15349" y="11345"/>
                  <a:pt x="15349" y="11341"/>
                  <a:pt x="15350" y="11337"/>
                </a:cubicBezTo>
                <a:cubicBezTo>
                  <a:pt x="15350" y="11337"/>
                  <a:pt x="15351" y="11338"/>
                  <a:pt x="15351" y="11338"/>
                </a:cubicBezTo>
                <a:cubicBezTo>
                  <a:pt x="15382" y="11338"/>
                  <a:pt x="15409" y="11299"/>
                  <a:pt x="15420" y="11244"/>
                </a:cubicBezTo>
                <a:cubicBezTo>
                  <a:pt x="15428" y="11253"/>
                  <a:pt x="15438" y="11260"/>
                  <a:pt x="15456" y="11260"/>
                </a:cubicBezTo>
                <a:cubicBezTo>
                  <a:pt x="15467" y="11260"/>
                  <a:pt x="15479" y="11258"/>
                  <a:pt x="15491" y="11256"/>
                </a:cubicBezTo>
                <a:cubicBezTo>
                  <a:pt x="15556" y="11239"/>
                  <a:pt x="15578" y="11176"/>
                  <a:pt x="15583" y="11114"/>
                </a:cubicBezTo>
                <a:cubicBezTo>
                  <a:pt x="15589" y="11118"/>
                  <a:pt x="15592" y="11122"/>
                  <a:pt x="15597" y="11126"/>
                </a:cubicBezTo>
                <a:cubicBezTo>
                  <a:pt x="15601" y="11155"/>
                  <a:pt x="15612" y="11179"/>
                  <a:pt x="15628" y="11179"/>
                </a:cubicBezTo>
                <a:cubicBezTo>
                  <a:pt x="15629" y="11179"/>
                  <a:pt x="15629" y="11177"/>
                  <a:pt x="15630" y="11177"/>
                </a:cubicBezTo>
                <a:cubicBezTo>
                  <a:pt x="15630" y="11180"/>
                  <a:pt x="15632" y="11182"/>
                  <a:pt x="15633" y="11184"/>
                </a:cubicBezTo>
                <a:cubicBezTo>
                  <a:pt x="15635" y="11201"/>
                  <a:pt x="15637" y="11221"/>
                  <a:pt x="15638" y="11243"/>
                </a:cubicBezTo>
                <a:cubicBezTo>
                  <a:pt x="15640" y="11281"/>
                  <a:pt x="15643" y="11324"/>
                  <a:pt x="15655" y="11360"/>
                </a:cubicBezTo>
                <a:cubicBezTo>
                  <a:pt x="15659" y="11371"/>
                  <a:pt x="15662" y="11381"/>
                  <a:pt x="15666" y="11392"/>
                </a:cubicBezTo>
                <a:cubicBezTo>
                  <a:pt x="15680" y="11425"/>
                  <a:pt x="15696" y="11451"/>
                  <a:pt x="15714" y="11479"/>
                </a:cubicBezTo>
                <a:cubicBezTo>
                  <a:pt x="15719" y="11501"/>
                  <a:pt x="15727" y="11518"/>
                  <a:pt x="15736" y="11532"/>
                </a:cubicBezTo>
                <a:cubicBezTo>
                  <a:pt x="15737" y="11534"/>
                  <a:pt x="15738" y="11536"/>
                  <a:pt x="15739" y="11539"/>
                </a:cubicBezTo>
                <a:cubicBezTo>
                  <a:pt x="15756" y="11592"/>
                  <a:pt x="15774" y="11648"/>
                  <a:pt x="15784" y="11712"/>
                </a:cubicBezTo>
                <a:cubicBezTo>
                  <a:pt x="15786" y="11728"/>
                  <a:pt x="15790" y="11740"/>
                  <a:pt x="15793" y="11750"/>
                </a:cubicBezTo>
                <a:cubicBezTo>
                  <a:pt x="15794" y="11753"/>
                  <a:pt x="15797" y="11760"/>
                  <a:pt x="15797" y="11761"/>
                </a:cubicBezTo>
                <a:cubicBezTo>
                  <a:pt x="15797" y="11780"/>
                  <a:pt x="15795" y="11795"/>
                  <a:pt x="15793" y="11812"/>
                </a:cubicBezTo>
                <a:cubicBezTo>
                  <a:pt x="15790" y="11832"/>
                  <a:pt x="15786" y="11857"/>
                  <a:pt x="15786" y="11890"/>
                </a:cubicBezTo>
                <a:cubicBezTo>
                  <a:pt x="15786" y="11934"/>
                  <a:pt x="15786" y="12026"/>
                  <a:pt x="15835" y="12026"/>
                </a:cubicBezTo>
                <a:cubicBezTo>
                  <a:pt x="15884" y="12026"/>
                  <a:pt x="15908" y="11955"/>
                  <a:pt x="15929" y="11893"/>
                </a:cubicBezTo>
                <a:cubicBezTo>
                  <a:pt x="15933" y="11879"/>
                  <a:pt x="15938" y="11866"/>
                  <a:pt x="15943" y="11854"/>
                </a:cubicBezTo>
                <a:cubicBezTo>
                  <a:pt x="15945" y="11864"/>
                  <a:pt x="15947" y="11876"/>
                  <a:pt x="15954" y="11890"/>
                </a:cubicBezTo>
                <a:cubicBezTo>
                  <a:pt x="15959" y="11901"/>
                  <a:pt x="15967" y="11901"/>
                  <a:pt x="15972" y="11903"/>
                </a:cubicBezTo>
                <a:cubicBezTo>
                  <a:pt x="15975" y="11903"/>
                  <a:pt x="15979" y="11904"/>
                  <a:pt x="15980" y="11906"/>
                </a:cubicBezTo>
                <a:cubicBezTo>
                  <a:pt x="15987" y="11928"/>
                  <a:pt x="15984" y="11969"/>
                  <a:pt x="15982" y="12003"/>
                </a:cubicBezTo>
                <a:cubicBezTo>
                  <a:pt x="15979" y="12040"/>
                  <a:pt x="15976" y="12072"/>
                  <a:pt x="15986" y="12094"/>
                </a:cubicBezTo>
                <a:cubicBezTo>
                  <a:pt x="15987" y="12096"/>
                  <a:pt x="15988" y="12099"/>
                  <a:pt x="15990" y="12102"/>
                </a:cubicBezTo>
                <a:cubicBezTo>
                  <a:pt x="15993" y="12162"/>
                  <a:pt x="16004" y="12216"/>
                  <a:pt x="16015" y="12273"/>
                </a:cubicBezTo>
                <a:cubicBezTo>
                  <a:pt x="16030" y="12345"/>
                  <a:pt x="16045" y="12419"/>
                  <a:pt x="16045" y="12515"/>
                </a:cubicBezTo>
                <a:cubicBezTo>
                  <a:pt x="16045" y="12527"/>
                  <a:pt x="16044" y="12546"/>
                  <a:pt x="16042" y="12565"/>
                </a:cubicBezTo>
                <a:cubicBezTo>
                  <a:pt x="16041" y="12572"/>
                  <a:pt x="16042" y="12578"/>
                  <a:pt x="16042" y="12586"/>
                </a:cubicBezTo>
                <a:cubicBezTo>
                  <a:pt x="16020" y="12601"/>
                  <a:pt x="16003" y="12635"/>
                  <a:pt x="16003" y="12682"/>
                </a:cubicBezTo>
                <a:cubicBezTo>
                  <a:pt x="16003" y="12720"/>
                  <a:pt x="16014" y="12749"/>
                  <a:pt x="16029" y="12769"/>
                </a:cubicBezTo>
                <a:cubicBezTo>
                  <a:pt x="16027" y="12790"/>
                  <a:pt x="16024" y="12812"/>
                  <a:pt x="16024" y="12836"/>
                </a:cubicBezTo>
                <a:cubicBezTo>
                  <a:pt x="16024" y="12838"/>
                  <a:pt x="16024" y="12839"/>
                  <a:pt x="16023" y="12841"/>
                </a:cubicBezTo>
                <a:cubicBezTo>
                  <a:pt x="16022" y="12851"/>
                  <a:pt x="16020" y="12867"/>
                  <a:pt x="16026" y="12881"/>
                </a:cubicBezTo>
                <a:cubicBezTo>
                  <a:pt x="16027" y="12884"/>
                  <a:pt x="16029" y="12888"/>
                  <a:pt x="16032" y="12890"/>
                </a:cubicBezTo>
                <a:cubicBezTo>
                  <a:pt x="16039" y="12900"/>
                  <a:pt x="16045" y="12904"/>
                  <a:pt x="16050" y="12904"/>
                </a:cubicBezTo>
                <a:cubicBezTo>
                  <a:pt x="16053" y="12904"/>
                  <a:pt x="16053" y="12902"/>
                  <a:pt x="16055" y="12900"/>
                </a:cubicBezTo>
                <a:cubicBezTo>
                  <a:pt x="16046" y="12918"/>
                  <a:pt x="16040" y="12942"/>
                  <a:pt x="16040" y="12969"/>
                </a:cubicBezTo>
                <a:cubicBezTo>
                  <a:pt x="16040" y="13024"/>
                  <a:pt x="16063" y="13067"/>
                  <a:pt x="16090" y="13067"/>
                </a:cubicBezTo>
                <a:cubicBezTo>
                  <a:pt x="16097" y="13067"/>
                  <a:pt x="16103" y="13057"/>
                  <a:pt x="16109" y="13051"/>
                </a:cubicBezTo>
                <a:cubicBezTo>
                  <a:pt x="16111" y="13064"/>
                  <a:pt x="16114" y="13078"/>
                  <a:pt x="16117" y="13088"/>
                </a:cubicBezTo>
                <a:cubicBezTo>
                  <a:pt x="16123" y="13117"/>
                  <a:pt x="16129" y="13148"/>
                  <a:pt x="16135" y="13185"/>
                </a:cubicBezTo>
                <a:cubicBezTo>
                  <a:pt x="16139" y="13212"/>
                  <a:pt x="16142" y="13240"/>
                  <a:pt x="16146" y="13269"/>
                </a:cubicBezTo>
                <a:cubicBezTo>
                  <a:pt x="16150" y="13308"/>
                  <a:pt x="16155" y="13349"/>
                  <a:pt x="16162" y="13396"/>
                </a:cubicBezTo>
                <a:cubicBezTo>
                  <a:pt x="16188" y="13548"/>
                  <a:pt x="16251" y="13680"/>
                  <a:pt x="16321" y="13725"/>
                </a:cubicBezTo>
                <a:cubicBezTo>
                  <a:pt x="16322" y="13726"/>
                  <a:pt x="16324" y="13729"/>
                  <a:pt x="16326" y="13734"/>
                </a:cubicBezTo>
                <a:cubicBezTo>
                  <a:pt x="16333" y="13746"/>
                  <a:pt x="16342" y="13764"/>
                  <a:pt x="16361" y="13764"/>
                </a:cubicBezTo>
                <a:cubicBezTo>
                  <a:pt x="16370" y="13764"/>
                  <a:pt x="16375" y="13754"/>
                  <a:pt x="16379" y="13747"/>
                </a:cubicBezTo>
                <a:cubicBezTo>
                  <a:pt x="16387" y="13747"/>
                  <a:pt x="16390" y="13747"/>
                  <a:pt x="16406" y="13743"/>
                </a:cubicBezTo>
                <a:cubicBezTo>
                  <a:pt x="16410" y="13742"/>
                  <a:pt x="16414" y="13736"/>
                  <a:pt x="16417" y="13728"/>
                </a:cubicBezTo>
                <a:cubicBezTo>
                  <a:pt x="16419" y="13720"/>
                  <a:pt x="16419" y="13710"/>
                  <a:pt x="16417" y="13701"/>
                </a:cubicBezTo>
                <a:cubicBezTo>
                  <a:pt x="16411" y="13674"/>
                  <a:pt x="16409" y="13657"/>
                  <a:pt x="16406" y="13634"/>
                </a:cubicBezTo>
                <a:cubicBezTo>
                  <a:pt x="16404" y="13619"/>
                  <a:pt x="16403" y="13602"/>
                  <a:pt x="16399" y="13580"/>
                </a:cubicBezTo>
                <a:cubicBezTo>
                  <a:pt x="16395" y="13555"/>
                  <a:pt x="16387" y="13536"/>
                  <a:pt x="16379" y="13518"/>
                </a:cubicBezTo>
                <a:cubicBezTo>
                  <a:pt x="16368" y="13494"/>
                  <a:pt x="16360" y="13472"/>
                  <a:pt x="16360" y="13437"/>
                </a:cubicBezTo>
                <a:cubicBezTo>
                  <a:pt x="16360" y="13424"/>
                  <a:pt x="16361" y="13420"/>
                  <a:pt x="16362" y="13411"/>
                </a:cubicBezTo>
                <a:cubicBezTo>
                  <a:pt x="16365" y="13399"/>
                  <a:pt x="16368" y="13384"/>
                  <a:pt x="16368" y="13356"/>
                </a:cubicBezTo>
                <a:cubicBezTo>
                  <a:pt x="16368" y="13197"/>
                  <a:pt x="16305" y="13130"/>
                  <a:pt x="16250" y="13072"/>
                </a:cubicBezTo>
                <a:lnTo>
                  <a:pt x="16244" y="13066"/>
                </a:lnTo>
                <a:cubicBezTo>
                  <a:pt x="16220" y="13040"/>
                  <a:pt x="16197" y="13014"/>
                  <a:pt x="16181" y="12982"/>
                </a:cubicBezTo>
                <a:cubicBezTo>
                  <a:pt x="16175" y="12970"/>
                  <a:pt x="16171" y="12938"/>
                  <a:pt x="16168" y="12912"/>
                </a:cubicBezTo>
                <a:cubicBezTo>
                  <a:pt x="16166" y="12900"/>
                  <a:pt x="16165" y="12889"/>
                  <a:pt x="16164" y="12878"/>
                </a:cubicBezTo>
                <a:cubicBezTo>
                  <a:pt x="16164" y="12875"/>
                  <a:pt x="16164" y="12872"/>
                  <a:pt x="16164" y="12868"/>
                </a:cubicBezTo>
                <a:cubicBezTo>
                  <a:pt x="16164" y="12865"/>
                  <a:pt x="16164" y="12862"/>
                  <a:pt x="16164" y="12860"/>
                </a:cubicBezTo>
                <a:cubicBezTo>
                  <a:pt x="16163" y="12786"/>
                  <a:pt x="16139" y="12762"/>
                  <a:pt x="16121" y="12743"/>
                </a:cubicBezTo>
                <a:cubicBezTo>
                  <a:pt x="16115" y="12736"/>
                  <a:pt x="16110" y="12730"/>
                  <a:pt x="16105" y="12722"/>
                </a:cubicBezTo>
                <a:cubicBezTo>
                  <a:pt x="16108" y="12709"/>
                  <a:pt x="16114" y="12698"/>
                  <a:pt x="16114" y="12682"/>
                </a:cubicBezTo>
                <a:cubicBezTo>
                  <a:pt x="16114" y="12655"/>
                  <a:pt x="16107" y="12632"/>
                  <a:pt x="16099" y="12612"/>
                </a:cubicBezTo>
                <a:cubicBezTo>
                  <a:pt x="16104" y="12592"/>
                  <a:pt x="16110" y="12572"/>
                  <a:pt x="16118" y="12552"/>
                </a:cubicBezTo>
                <a:cubicBezTo>
                  <a:pt x="16135" y="12510"/>
                  <a:pt x="16154" y="12462"/>
                  <a:pt x="16154" y="12386"/>
                </a:cubicBezTo>
                <a:cubicBezTo>
                  <a:pt x="16154" y="12364"/>
                  <a:pt x="16151" y="12350"/>
                  <a:pt x="16149" y="12338"/>
                </a:cubicBezTo>
                <a:cubicBezTo>
                  <a:pt x="16146" y="12328"/>
                  <a:pt x="16145" y="12320"/>
                  <a:pt x="16145" y="12306"/>
                </a:cubicBezTo>
                <a:cubicBezTo>
                  <a:pt x="16145" y="12302"/>
                  <a:pt x="16145" y="12297"/>
                  <a:pt x="16145" y="12293"/>
                </a:cubicBezTo>
                <a:cubicBezTo>
                  <a:pt x="16145" y="12292"/>
                  <a:pt x="16144" y="12291"/>
                  <a:pt x="16144" y="12290"/>
                </a:cubicBezTo>
                <a:cubicBezTo>
                  <a:pt x="16175" y="12290"/>
                  <a:pt x="16181" y="12307"/>
                  <a:pt x="16183" y="12321"/>
                </a:cubicBezTo>
                <a:cubicBezTo>
                  <a:pt x="16189" y="12368"/>
                  <a:pt x="16194" y="12395"/>
                  <a:pt x="16205" y="12399"/>
                </a:cubicBezTo>
                <a:cubicBezTo>
                  <a:pt x="16213" y="12404"/>
                  <a:pt x="16220" y="12407"/>
                  <a:pt x="16226" y="12411"/>
                </a:cubicBezTo>
                <a:cubicBezTo>
                  <a:pt x="16250" y="12424"/>
                  <a:pt x="16271" y="12435"/>
                  <a:pt x="16292" y="12476"/>
                </a:cubicBezTo>
                <a:cubicBezTo>
                  <a:pt x="16299" y="12490"/>
                  <a:pt x="16300" y="12505"/>
                  <a:pt x="16302" y="12523"/>
                </a:cubicBezTo>
                <a:cubicBezTo>
                  <a:pt x="16305" y="12549"/>
                  <a:pt x="16310" y="12588"/>
                  <a:pt x="16338" y="12597"/>
                </a:cubicBezTo>
                <a:cubicBezTo>
                  <a:pt x="16344" y="12635"/>
                  <a:pt x="16362" y="12655"/>
                  <a:pt x="16382" y="12668"/>
                </a:cubicBezTo>
                <a:cubicBezTo>
                  <a:pt x="16389" y="12700"/>
                  <a:pt x="16402" y="12722"/>
                  <a:pt x="16419" y="12727"/>
                </a:cubicBezTo>
                <a:cubicBezTo>
                  <a:pt x="16417" y="12742"/>
                  <a:pt x="16417" y="12759"/>
                  <a:pt x="16417" y="12778"/>
                </a:cubicBezTo>
                <a:cubicBezTo>
                  <a:pt x="16417" y="12793"/>
                  <a:pt x="16422" y="12893"/>
                  <a:pt x="16449" y="12893"/>
                </a:cubicBezTo>
                <a:cubicBezTo>
                  <a:pt x="16464" y="12893"/>
                  <a:pt x="16504" y="12832"/>
                  <a:pt x="16513" y="12777"/>
                </a:cubicBezTo>
                <a:cubicBezTo>
                  <a:pt x="16530" y="12771"/>
                  <a:pt x="16538" y="12740"/>
                  <a:pt x="16543" y="12720"/>
                </a:cubicBezTo>
                <a:cubicBezTo>
                  <a:pt x="16548" y="12703"/>
                  <a:pt x="16551" y="12690"/>
                  <a:pt x="16558" y="12682"/>
                </a:cubicBezTo>
                <a:cubicBezTo>
                  <a:pt x="16560" y="12683"/>
                  <a:pt x="16561" y="12685"/>
                  <a:pt x="16562" y="12685"/>
                </a:cubicBezTo>
                <a:cubicBezTo>
                  <a:pt x="16577" y="12685"/>
                  <a:pt x="16588" y="12665"/>
                  <a:pt x="16594" y="12639"/>
                </a:cubicBezTo>
                <a:cubicBezTo>
                  <a:pt x="16598" y="12633"/>
                  <a:pt x="16605" y="12626"/>
                  <a:pt x="16608" y="12621"/>
                </a:cubicBezTo>
                <a:cubicBezTo>
                  <a:pt x="16629" y="12591"/>
                  <a:pt x="16646" y="12567"/>
                  <a:pt x="16685" y="12547"/>
                </a:cubicBezTo>
                <a:cubicBezTo>
                  <a:pt x="16692" y="12544"/>
                  <a:pt x="16696" y="12532"/>
                  <a:pt x="16696" y="12518"/>
                </a:cubicBezTo>
                <a:cubicBezTo>
                  <a:pt x="16696" y="12506"/>
                  <a:pt x="16699" y="12497"/>
                  <a:pt x="16700" y="12487"/>
                </a:cubicBezTo>
                <a:cubicBezTo>
                  <a:pt x="16726" y="12477"/>
                  <a:pt x="16746" y="12438"/>
                  <a:pt x="16746" y="12384"/>
                </a:cubicBezTo>
                <a:cubicBezTo>
                  <a:pt x="16746" y="12347"/>
                  <a:pt x="16735" y="12319"/>
                  <a:pt x="16721" y="12299"/>
                </a:cubicBezTo>
                <a:cubicBezTo>
                  <a:pt x="16721" y="12264"/>
                  <a:pt x="16718" y="12224"/>
                  <a:pt x="16714" y="12183"/>
                </a:cubicBezTo>
                <a:cubicBezTo>
                  <a:pt x="16718" y="12169"/>
                  <a:pt x="16724" y="12155"/>
                  <a:pt x="16724" y="12137"/>
                </a:cubicBezTo>
                <a:cubicBezTo>
                  <a:pt x="16724" y="12098"/>
                  <a:pt x="16709" y="12071"/>
                  <a:pt x="16692" y="12060"/>
                </a:cubicBezTo>
                <a:cubicBezTo>
                  <a:pt x="16675" y="11984"/>
                  <a:pt x="16655" y="11918"/>
                  <a:pt x="16630" y="11885"/>
                </a:cubicBezTo>
                <a:cubicBezTo>
                  <a:pt x="16601" y="11848"/>
                  <a:pt x="16581" y="11795"/>
                  <a:pt x="16561" y="11738"/>
                </a:cubicBezTo>
                <a:cubicBezTo>
                  <a:pt x="16553" y="11717"/>
                  <a:pt x="16543" y="11695"/>
                  <a:pt x="16534" y="11673"/>
                </a:cubicBezTo>
                <a:cubicBezTo>
                  <a:pt x="16536" y="11661"/>
                  <a:pt x="16542" y="11652"/>
                  <a:pt x="16542" y="11638"/>
                </a:cubicBezTo>
                <a:cubicBezTo>
                  <a:pt x="16542" y="11585"/>
                  <a:pt x="16521" y="11547"/>
                  <a:pt x="16497" y="11536"/>
                </a:cubicBezTo>
                <a:cubicBezTo>
                  <a:pt x="16501" y="11494"/>
                  <a:pt x="16514" y="11462"/>
                  <a:pt x="16529" y="11434"/>
                </a:cubicBezTo>
                <a:cubicBezTo>
                  <a:pt x="16535" y="11458"/>
                  <a:pt x="16544" y="11477"/>
                  <a:pt x="16558" y="11477"/>
                </a:cubicBezTo>
                <a:cubicBezTo>
                  <a:pt x="16577" y="11477"/>
                  <a:pt x="16592" y="11447"/>
                  <a:pt x="16592" y="11409"/>
                </a:cubicBezTo>
                <a:cubicBezTo>
                  <a:pt x="16592" y="11386"/>
                  <a:pt x="16586" y="11368"/>
                  <a:pt x="16577" y="11356"/>
                </a:cubicBezTo>
                <a:cubicBezTo>
                  <a:pt x="16597" y="11328"/>
                  <a:pt x="16617" y="11301"/>
                  <a:pt x="16632" y="11262"/>
                </a:cubicBezTo>
                <a:cubicBezTo>
                  <a:pt x="16647" y="11273"/>
                  <a:pt x="16660" y="11275"/>
                  <a:pt x="16673" y="11278"/>
                </a:cubicBezTo>
                <a:cubicBezTo>
                  <a:pt x="16686" y="11280"/>
                  <a:pt x="16698" y="11282"/>
                  <a:pt x="16711" y="11292"/>
                </a:cubicBezTo>
                <a:cubicBezTo>
                  <a:pt x="16709" y="11328"/>
                  <a:pt x="16710" y="11368"/>
                  <a:pt x="16719" y="11391"/>
                </a:cubicBezTo>
                <a:cubicBezTo>
                  <a:pt x="16724" y="11403"/>
                  <a:pt x="16731" y="11409"/>
                  <a:pt x="16739" y="11409"/>
                </a:cubicBezTo>
                <a:cubicBezTo>
                  <a:pt x="16743" y="11409"/>
                  <a:pt x="16744" y="11403"/>
                  <a:pt x="16747" y="11401"/>
                </a:cubicBezTo>
                <a:cubicBezTo>
                  <a:pt x="16756" y="11415"/>
                  <a:pt x="16766" y="11426"/>
                  <a:pt x="16778" y="11426"/>
                </a:cubicBezTo>
                <a:cubicBezTo>
                  <a:pt x="16805" y="11426"/>
                  <a:pt x="16827" y="11382"/>
                  <a:pt x="16827" y="11328"/>
                </a:cubicBezTo>
                <a:cubicBezTo>
                  <a:pt x="16827" y="11309"/>
                  <a:pt x="16821" y="11294"/>
                  <a:pt x="16817" y="11279"/>
                </a:cubicBezTo>
                <a:cubicBezTo>
                  <a:pt x="16817" y="11279"/>
                  <a:pt x="16817" y="11278"/>
                  <a:pt x="16818" y="11278"/>
                </a:cubicBezTo>
                <a:cubicBezTo>
                  <a:pt x="16829" y="11271"/>
                  <a:pt x="16840" y="11265"/>
                  <a:pt x="16847" y="11258"/>
                </a:cubicBezTo>
                <a:cubicBezTo>
                  <a:pt x="16862" y="11243"/>
                  <a:pt x="16878" y="11237"/>
                  <a:pt x="16894" y="11231"/>
                </a:cubicBezTo>
                <a:cubicBezTo>
                  <a:pt x="16900" y="11229"/>
                  <a:pt x="16907" y="11225"/>
                  <a:pt x="16913" y="11222"/>
                </a:cubicBezTo>
                <a:cubicBezTo>
                  <a:pt x="16921" y="11229"/>
                  <a:pt x="16928" y="11242"/>
                  <a:pt x="16937" y="11242"/>
                </a:cubicBezTo>
                <a:cubicBezTo>
                  <a:pt x="16970" y="11242"/>
                  <a:pt x="16996" y="11189"/>
                  <a:pt x="16996" y="11124"/>
                </a:cubicBezTo>
                <a:cubicBezTo>
                  <a:pt x="16996" y="11123"/>
                  <a:pt x="16996" y="11123"/>
                  <a:pt x="16996" y="11123"/>
                </a:cubicBezTo>
                <a:cubicBezTo>
                  <a:pt x="17004" y="11131"/>
                  <a:pt x="17012" y="11141"/>
                  <a:pt x="17025" y="11141"/>
                </a:cubicBezTo>
                <a:cubicBezTo>
                  <a:pt x="17097" y="11141"/>
                  <a:pt x="17133" y="11081"/>
                  <a:pt x="17167" y="11021"/>
                </a:cubicBezTo>
                <a:cubicBezTo>
                  <a:pt x="17182" y="10995"/>
                  <a:pt x="17196" y="10970"/>
                  <a:pt x="17212" y="10951"/>
                </a:cubicBezTo>
                <a:cubicBezTo>
                  <a:pt x="17218" y="10945"/>
                  <a:pt x="17224" y="10937"/>
                  <a:pt x="17230" y="10928"/>
                </a:cubicBezTo>
                <a:cubicBezTo>
                  <a:pt x="17230" y="10928"/>
                  <a:pt x="17230" y="10928"/>
                  <a:pt x="17231" y="10928"/>
                </a:cubicBezTo>
                <a:cubicBezTo>
                  <a:pt x="17271" y="10928"/>
                  <a:pt x="17305" y="10862"/>
                  <a:pt x="17305" y="10780"/>
                </a:cubicBezTo>
                <a:cubicBezTo>
                  <a:pt x="17305" y="10777"/>
                  <a:pt x="17304" y="10775"/>
                  <a:pt x="17304" y="10772"/>
                </a:cubicBezTo>
                <a:cubicBezTo>
                  <a:pt x="17311" y="10743"/>
                  <a:pt x="17318" y="10713"/>
                  <a:pt x="17323" y="10684"/>
                </a:cubicBezTo>
                <a:cubicBezTo>
                  <a:pt x="17327" y="10662"/>
                  <a:pt x="17331" y="10640"/>
                  <a:pt x="17335" y="10624"/>
                </a:cubicBezTo>
                <a:cubicBezTo>
                  <a:pt x="17351" y="10559"/>
                  <a:pt x="17405" y="10414"/>
                  <a:pt x="17427" y="10406"/>
                </a:cubicBezTo>
                <a:cubicBezTo>
                  <a:pt x="17434" y="10403"/>
                  <a:pt x="17439" y="10390"/>
                  <a:pt x="17439" y="10375"/>
                </a:cubicBezTo>
                <a:cubicBezTo>
                  <a:pt x="17439" y="10343"/>
                  <a:pt x="17444" y="10317"/>
                  <a:pt x="17450" y="10289"/>
                </a:cubicBezTo>
                <a:cubicBezTo>
                  <a:pt x="17457" y="10302"/>
                  <a:pt x="17466" y="10311"/>
                  <a:pt x="17477" y="10311"/>
                </a:cubicBezTo>
                <a:cubicBezTo>
                  <a:pt x="17499" y="10311"/>
                  <a:pt x="17518" y="10274"/>
                  <a:pt x="17518" y="10228"/>
                </a:cubicBezTo>
                <a:cubicBezTo>
                  <a:pt x="17518" y="10183"/>
                  <a:pt x="17499" y="10147"/>
                  <a:pt x="17477" y="10147"/>
                </a:cubicBezTo>
                <a:cubicBezTo>
                  <a:pt x="17474" y="10147"/>
                  <a:pt x="17472" y="10152"/>
                  <a:pt x="17469" y="10153"/>
                </a:cubicBezTo>
                <a:cubicBezTo>
                  <a:pt x="17470" y="10141"/>
                  <a:pt x="17470" y="10129"/>
                  <a:pt x="17470" y="10117"/>
                </a:cubicBezTo>
                <a:cubicBezTo>
                  <a:pt x="17470" y="9930"/>
                  <a:pt x="17450" y="9857"/>
                  <a:pt x="17409" y="9735"/>
                </a:cubicBezTo>
                <a:cubicBezTo>
                  <a:pt x="17408" y="9732"/>
                  <a:pt x="17407" y="9723"/>
                  <a:pt x="17406" y="9716"/>
                </a:cubicBezTo>
                <a:cubicBezTo>
                  <a:pt x="17403" y="9695"/>
                  <a:pt x="17398" y="9667"/>
                  <a:pt x="17387" y="9646"/>
                </a:cubicBezTo>
                <a:cubicBezTo>
                  <a:pt x="17387" y="9645"/>
                  <a:pt x="17387" y="9644"/>
                  <a:pt x="17387" y="9643"/>
                </a:cubicBezTo>
                <a:cubicBezTo>
                  <a:pt x="17386" y="9638"/>
                  <a:pt x="17385" y="9634"/>
                  <a:pt x="17383" y="9630"/>
                </a:cubicBezTo>
                <a:cubicBezTo>
                  <a:pt x="17382" y="9610"/>
                  <a:pt x="17381" y="9580"/>
                  <a:pt x="17381" y="9572"/>
                </a:cubicBezTo>
                <a:cubicBezTo>
                  <a:pt x="17381" y="9557"/>
                  <a:pt x="17376" y="9545"/>
                  <a:pt x="17368" y="9543"/>
                </a:cubicBezTo>
                <a:cubicBezTo>
                  <a:pt x="17368" y="9543"/>
                  <a:pt x="17364" y="9541"/>
                  <a:pt x="17357" y="9536"/>
                </a:cubicBezTo>
                <a:cubicBezTo>
                  <a:pt x="17341" y="9522"/>
                  <a:pt x="17324" y="9495"/>
                  <a:pt x="17324" y="9466"/>
                </a:cubicBezTo>
                <a:cubicBezTo>
                  <a:pt x="17324" y="9456"/>
                  <a:pt x="17328" y="9450"/>
                  <a:pt x="17339" y="9435"/>
                </a:cubicBezTo>
                <a:cubicBezTo>
                  <a:pt x="17349" y="9420"/>
                  <a:pt x="17362" y="9403"/>
                  <a:pt x="17368" y="9369"/>
                </a:cubicBezTo>
                <a:cubicBezTo>
                  <a:pt x="17374" y="9334"/>
                  <a:pt x="17391" y="9313"/>
                  <a:pt x="17411" y="9294"/>
                </a:cubicBezTo>
                <a:cubicBezTo>
                  <a:pt x="17423" y="9311"/>
                  <a:pt x="17438" y="9324"/>
                  <a:pt x="17454" y="9324"/>
                </a:cubicBezTo>
                <a:cubicBezTo>
                  <a:pt x="17495" y="9324"/>
                  <a:pt x="17528" y="9257"/>
                  <a:pt x="17528" y="9176"/>
                </a:cubicBezTo>
                <a:cubicBezTo>
                  <a:pt x="17528" y="9094"/>
                  <a:pt x="17495" y="9028"/>
                  <a:pt x="17454" y="9028"/>
                </a:cubicBezTo>
                <a:cubicBezTo>
                  <a:pt x="17438" y="9028"/>
                  <a:pt x="17423" y="9040"/>
                  <a:pt x="17411" y="9058"/>
                </a:cubicBezTo>
                <a:cubicBezTo>
                  <a:pt x="17403" y="9048"/>
                  <a:pt x="17394" y="9041"/>
                  <a:pt x="17381" y="9041"/>
                </a:cubicBezTo>
                <a:cubicBezTo>
                  <a:pt x="17361" y="9041"/>
                  <a:pt x="17355" y="9083"/>
                  <a:pt x="17350" y="9114"/>
                </a:cubicBezTo>
                <a:cubicBezTo>
                  <a:pt x="17349" y="9120"/>
                  <a:pt x="17348" y="9129"/>
                  <a:pt x="17346" y="9135"/>
                </a:cubicBezTo>
                <a:cubicBezTo>
                  <a:pt x="17343" y="9135"/>
                  <a:pt x="17340" y="9136"/>
                  <a:pt x="17337" y="9136"/>
                </a:cubicBezTo>
                <a:cubicBezTo>
                  <a:pt x="17332" y="9137"/>
                  <a:pt x="17327" y="9138"/>
                  <a:pt x="17322" y="9138"/>
                </a:cubicBezTo>
                <a:cubicBezTo>
                  <a:pt x="17314" y="9138"/>
                  <a:pt x="17309" y="9135"/>
                  <a:pt x="17305" y="9130"/>
                </a:cubicBezTo>
                <a:cubicBezTo>
                  <a:pt x="17295" y="9118"/>
                  <a:pt x="17293" y="9105"/>
                  <a:pt x="17289" y="9087"/>
                </a:cubicBezTo>
                <a:cubicBezTo>
                  <a:pt x="17284" y="9067"/>
                  <a:pt x="17279" y="9041"/>
                  <a:pt x="17263" y="9017"/>
                </a:cubicBezTo>
                <a:cubicBezTo>
                  <a:pt x="17260" y="9012"/>
                  <a:pt x="17255" y="9007"/>
                  <a:pt x="17249" y="9002"/>
                </a:cubicBezTo>
                <a:cubicBezTo>
                  <a:pt x="17241" y="8996"/>
                  <a:pt x="17224" y="8980"/>
                  <a:pt x="17224" y="8968"/>
                </a:cubicBezTo>
                <a:cubicBezTo>
                  <a:pt x="17224" y="8942"/>
                  <a:pt x="17231" y="8936"/>
                  <a:pt x="17262" y="8924"/>
                </a:cubicBezTo>
                <a:cubicBezTo>
                  <a:pt x="17279" y="8918"/>
                  <a:pt x="17296" y="8911"/>
                  <a:pt x="17310" y="8891"/>
                </a:cubicBezTo>
                <a:cubicBezTo>
                  <a:pt x="17315" y="8883"/>
                  <a:pt x="17321" y="8874"/>
                  <a:pt x="17328" y="8865"/>
                </a:cubicBezTo>
                <a:lnTo>
                  <a:pt x="17330" y="8861"/>
                </a:lnTo>
                <a:cubicBezTo>
                  <a:pt x="17360" y="8818"/>
                  <a:pt x="17391" y="8771"/>
                  <a:pt x="17405" y="8726"/>
                </a:cubicBezTo>
                <a:cubicBezTo>
                  <a:pt x="17405" y="8723"/>
                  <a:pt x="17406" y="8721"/>
                  <a:pt x="17407" y="8718"/>
                </a:cubicBezTo>
                <a:cubicBezTo>
                  <a:pt x="17412" y="8700"/>
                  <a:pt x="17417" y="8684"/>
                  <a:pt x="17426" y="8684"/>
                </a:cubicBezTo>
                <a:cubicBezTo>
                  <a:pt x="17433" y="8684"/>
                  <a:pt x="17450" y="8721"/>
                  <a:pt x="17451" y="8735"/>
                </a:cubicBezTo>
                <a:cubicBezTo>
                  <a:pt x="17451" y="8757"/>
                  <a:pt x="17445" y="8773"/>
                  <a:pt x="17435" y="8798"/>
                </a:cubicBezTo>
                <a:cubicBezTo>
                  <a:pt x="17425" y="8825"/>
                  <a:pt x="17411" y="8859"/>
                  <a:pt x="17411" y="8909"/>
                </a:cubicBezTo>
                <a:cubicBezTo>
                  <a:pt x="17411" y="8925"/>
                  <a:pt x="17418" y="8939"/>
                  <a:pt x="17426" y="8939"/>
                </a:cubicBezTo>
                <a:cubicBezTo>
                  <a:pt x="17459" y="8939"/>
                  <a:pt x="17487" y="8907"/>
                  <a:pt x="17515" y="8875"/>
                </a:cubicBezTo>
                <a:cubicBezTo>
                  <a:pt x="17530" y="8858"/>
                  <a:pt x="17546" y="8842"/>
                  <a:pt x="17562" y="8830"/>
                </a:cubicBezTo>
                <a:cubicBezTo>
                  <a:pt x="17569" y="8834"/>
                  <a:pt x="17576" y="8839"/>
                  <a:pt x="17584" y="8839"/>
                </a:cubicBezTo>
                <a:cubicBezTo>
                  <a:pt x="17596" y="8839"/>
                  <a:pt x="17607" y="8832"/>
                  <a:pt x="17617" y="8821"/>
                </a:cubicBezTo>
                <a:cubicBezTo>
                  <a:pt x="17619" y="8824"/>
                  <a:pt x="17622" y="8825"/>
                  <a:pt x="17624" y="8828"/>
                </a:cubicBezTo>
                <a:cubicBezTo>
                  <a:pt x="17632" y="8837"/>
                  <a:pt x="17640" y="8847"/>
                  <a:pt x="17651" y="8853"/>
                </a:cubicBezTo>
                <a:cubicBezTo>
                  <a:pt x="17650" y="8865"/>
                  <a:pt x="17651" y="8876"/>
                  <a:pt x="17652" y="8888"/>
                </a:cubicBezTo>
                <a:cubicBezTo>
                  <a:pt x="17653" y="8897"/>
                  <a:pt x="17655" y="8906"/>
                  <a:pt x="17655" y="8922"/>
                </a:cubicBezTo>
                <a:cubicBezTo>
                  <a:pt x="17655" y="8928"/>
                  <a:pt x="17654" y="8929"/>
                  <a:pt x="17649" y="8939"/>
                </a:cubicBezTo>
                <a:cubicBezTo>
                  <a:pt x="17642" y="8952"/>
                  <a:pt x="17631" y="8971"/>
                  <a:pt x="17631" y="9011"/>
                </a:cubicBezTo>
                <a:cubicBezTo>
                  <a:pt x="17631" y="9043"/>
                  <a:pt x="17640" y="9113"/>
                  <a:pt x="17667" y="9113"/>
                </a:cubicBezTo>
                <a:cubicBezTo>
                  <a:pt x="17674" y="9113"/>
                  <a:pt x="17679" y="9107"/>
                  <a:pt x="17684" y="9102"/>
                </a:cubicBezTo>
                <a:cubicBezTo>
                  <a:pt x="17688" y="9097"/>
                  <a:pt x="17692" y="9093"/>
                  <a:pt x="17697" y="9093"/>
                </a:cubicBezTo>
                <a:cubicBezTo>
                  <a:pt x="17700" y="9093"/>
                  <a:pt x="17702" y="9097"/>
                  <a:pt x="17705" y="9098"/>
                </a:cubicBezTo>
                <a:cubicBezTo>
                  <a:pt x="17711" y="9114"/>
                  <a:pt x="17720" y="9127"/>
                  <a:pt x="17731" y="9127"/>
                </a:cubicBezTo>
                <a:cubicBezTo>
                  <a:pt x="17731" y="9127"/>
                  <a:pt x="17731" y="9126"/>
                  <a:pt x="17732" y="9126"/>
                </a:cubicBezTo>
                <a:cubicBezTo>
                  <a:pt x="17735" y="9133"/>
                  <a:pt x="17739" y="9138"/>
                  <a:pt x="17739" y="9147"/>
                </a:cubicBezTo>
                <a:cubicBezTo>
                  <a:pt x="17739" y="9158"/>
                  <a:pt x="17730" y="9172"/>
                  <a:pt x="17720" y="9172"/>
                </a:cubicBezTo>
                <a:cubicBezTo>
                  <a:pt x="17712" y="9172"/>
                  <a:pt x="17706" y="9186"/>
                  <a:pt x="17706" y="9203"/>
                </a:cubicBezTo>
                <a:lnTo>
                  <a:pt x="17706" y="9224"/>
                </a:lnTo>
                <a:cubicBezTo>
                  <a:pt x="17690" y="9234"/>
                  <a:pt x="17678" y="9258"/>
                  <a:pt x="17678" y="9292"/>
                </a:cubicBezTo>
                <a:cubicBezTo>
                  <a:pt x="17678" y="9335"/>
                  <a:pt x="17695" y="9370"/>
                  <a:pt x="17717" y="9370"/>
                </a:cubicBezTo>
                <a:cubicBezTo>
                  <a:pt x="17724" y="9370"/>
                  <a:pt x="17729" y="9362"/>
                  <a:pt x="17735" y="9355"/>
                </a:cubicBezTo>
                <a:cubicBezTo>
                  <a:pt x="17734" y="9359"/>
                  <a:pt x="17733" y="9361"/>
                  <a:pt x="17733" y="9365"/>
                </a:cubicBezTo>
                <a:cubicBezTo>
                  <a:pt x="17726" y="9391"/>
                  <a:pt x="17719" y="9420"/>
                  <a:pt x="17719" y="9445"/>
                </a:cubicBezTo>
                <a:cubicBezTo>
                  <a:pt x="17719" y="9448"/>
                  <a:pt x="17720" y="9453"/>
                  <a:pt x="17720" y="9457"/>
                </a:cubicBezTo>
                <a:cubicBezTo>
                  <a:pt x="17713" y="9447"/>
                  <a:pt x="17707" y="9438"/>
                  <a:pt x="17698" y="9438"/>
                </a:cubicBezTo>
                <a:cubicBezTo>
                  <a:pt x="17677" y="9438"/>
                  <a:pt x="17659" y="9473"/>
                  <a:pt x="17659" y="9516"/>
                </a:cubicBezTo>
                <a:cubicBezTo>
                  <a:pt x="17659" y="9559"/>
                  <a:pt x="17677" y="9594"/>
                  <a:pt x="17698" y="9594"/>
                </a:cubicBezTo>
                <a:cubicBezTo>
                  <a:pt x="17710" y="9594"/>
                  <a:pt x="17720" y="9581"/>
                  <a:pt x="17727" y="9564"/>
                </a:cubicBezTo>
                <a:cubicBezTo>
                  <a:pt x="17729" y="9566"/>
                  <a:pt x="17729" y="9573"/>
                  <a:pt x="17731" y="9573"/>
                </a:cubicBezTo>
                <a:lnTo>
                  <a:pt x="17763" y="9573"/>
                </a:lnTo>
                <a:cubicBezTo>
                  <a:pt x="17767" y="9573"/>
                  <a:pt x="17771" y="9570"/>
                  <a:pt x="17774" y="9564"/>
                </a:cubicBezTo>
                <a:cubicBezTo>
                  <a:pt x="17776" y="9560"/>
                  <a:pt x="17778" y="9560"/>
                  <a:pt x="17780" y="9558"/>
                </a:cubicBezTo>
                <a:cubicBezTo>
                  <a:pt x="17787" y="9578"/>
                  <a:pt x="17797" y="9594"/>
                  <a:pt x="17810" y="9594"/>
                </a:cubicBezTo>
                <a:cubicBezTo>
                  <a:pt x="17831" y="9594"/>
                  <a:pt x="17849" y="9559"/>
                  <a:pt x="17849" y="9516"/>
                </a:cubicBezTo>
                <a:cubicBezTo>
                  <a:pt x="17849" y="9508"/>
                  <a:pt x="17846" y="9503"/>
                  <a:pt x="17845" y="9496"/>
                </a:cubicBezTo>
                <a:cubicBezTo>
                  <a:pt x="17850" y="9494"/>
                  <a:pt x="17855" y="9490"/>
                  <a:pt x="17858" y="9489"/>
                </a:cubicBezTo>
                <a:cubicBezTo>
                  <a:pt x="17865" y="9487"/>
                  <a:pt x="17871" y="9485"/>
                  <a:pt x="17875" y="9482"/>
                </a:cubicBezTo>
                <a:cubicBezTo>
                  <a:pt x="17910" y="9463"/>
                  <a:pt x="17920" y="9409"/>
                  <a:pt x="17924" y="9353"/>
                </a:cubicBezTo>
                <a:cubicBezTo>
                  <a:pt x="17934" y="9339"/>
                  <a:pt x="17942" y="9319"/>
                  <a:pt x="17942" y="9292"/>
                </a:cubicBezTo>
                <a:cubicBezTo>
                  <a:pt x="17942" y="9268"/>
                  <a:pt x="17935" y="9250"/>
                  <a:pt x="17927" y="9235"/>
                </a:cubicBezTo>
                <a:cubicBezTo>
                  <a:pt x="17927" y="9233"/>
                  <a:pt x="17927" y="9231"/>
                  <a:pt x="17927" y="9228"/>
                </a:cubicBezTo>
                <a:cubicBezTo>
                  <a:pt x="17925" y="9192"/>
                  <a:pt x="17921" y="9159"/>
                  <a:pt x="17916" y="9129"/>
                </a:cubicBezTo>
                <a:cubicBezTo>
                  <a:pt x="17929" y="9103"/>
                  <a:pt x="17937" y="9066"/>
                  <a:pt x="17937" y="9027"/>
                </a:cubicBezTo>
                <a:cubicBezTo>
                  <a:pt x="17937" y="8945"/>
                  <a:pt x="17904" y="8879"/>
                  <a:pt x="17863" y="8879"/>
                </a:cubicBezTo>
                <a:cubicBezTo>
                  <a:pt x="17853" y="8879"/>
                  <a:pt x="17844" y="8883"/>
                  <a:pt x="17835" y="8890"/>
                </a:cubicBezTo>
                <a:cubicBezTo>
                  <a:pt x="17824" y="8868"/>
                  <a:pt x="17815" y="8845"/>
                  <a:pt x="17814" y="8813"/>
                </a:cubicBezTo>
                <a:cubicBezTo>
                  <a:pt x="17834" y="8806"/>
                  <a:pt x="17854" y="8782"/>
                  <a:pt x="17873" y="8743"/>
                </a:cubicBezTo>
                <a:cubicBezTo>
                  <a:pt x="17878" y="8734"/>
                  <a:pt x="17886" y="8722"/>
                  <a:pt x="17895" y="8709"/>
                </a:cubicBezTo>
                <a:cubicBezTo>
                  <a:pt x="17912" y="8684"/>
                  <a:pt x="17931" y="8657"/>
                  <a:pt x="17938" y="8629"/>
                </a:cubicBezTo>
                <a:cubicBezTo>
                  <a:pt x="17965" y="8516"/>
                  <a:pt x="17980" y="8457"/>
                  <a:pt x="18023" y="8385"/>
                </a:cubicBezTo>
                <a:cubicBezTo>
                  <a:pt x="18046" y="8396"/>
                  <a:pt x="18099" y="8419"/>
                  <a:pt x="18149" y="8424"/>
                </a:cubicBezTo>
                <a:cubicBezTo>
                  <a:pt x="18149" y="8424"/>
                  <a:pt x="18150" y="8424"/>
                  <a:pt x="18150" y="8424"/>
                </a:cubicBezTo>
                <a:lnTo>
                  <a:pt x="18152" y="8424"/>
                </a:lnTo>
                <a:cubicBezTo>
                  <a:pt x="18152" y="8424"/>
                  <a:pt x="18153" y="8424"/>
                  <a:pt x="18153" y="8424"/>
                </a:cubicBezTo>
                <a:cubicBezTo>
                  <a:pt x="18158" y="8424"/>
                  <a:pt x="18163" y="8425"/>
                  <a:pt x="18168" y="8425"/>
                </a:cubicBezTo>
                <a:cubicBezTo>
                  <a:pt x="18195" y="8425"/>
                  <a:pt x="18222" y="8399"/>
                  <a:pt x="18247" y="8362"/>
                </a:cubicBezTo>
                <a:cubicBezTo>
                  <a:pt x="18253" y="8373"/>
                  <a:pt x="18261" y="8381"/>
                  <a:pt x="18270" y="8381"/>
                </a:cubicBezTo>
                <a:cubicBezTo>
                  <a:pt x="18289" y="8381"/>
                  <a:pt x="18304" y="8351"/>
                  <a:pt x="18304" y="8313"/>
                </a:cubicBezTo>
                <a:cubicBezTo>
                  <a:pt x="18304" y="8299"/>
                  <a:pt x="18301" y="8288"/>
                  <a:pt x="18297" y="8277"/>
                </a:cubicBezTo>
                <a:cubicBezTo>
                  <a:pt x="18337" y="8191"/>
                  <a:pt x="18374" y="8080"/>
                  <a:pt x="18409" y="7975"/>
                </a:cubicBezTo>
                <a:cubicBezTo>
                  <a:pt x="18438" y="7890"/>
                  <a:pt x="18465" y="7809"/>
                  <a:pt x="18489" y="7755"/>
                </a:cubicBezTo>
                <a:cubicBezTo>
                  <a:pt x="18489" y="7754"/>
                  <a:pt x="18490" y="7754"/>
                  <a:pt x="18490" y="7754"/>
                </a:cubicBezTo>
                <a:lnTo>
                  <a:pt x="18492" y="7749"/>
                </a:lnTo>
                <a:cubicBezTo>
                  <a:pt x="18494" y="7744"/>
                  <a:pt x="18496" y="7738"/>
                  <a:pt x="18498" y="7734"/>
                </a:cubicBezTo>
                <a:cubicBezTo>
                  <a:pt x="18512" y="7706"/>
                  <a:pt x="18528" y="7670"/>
                  <a:pt x="18541" y="7630"/>
                </a:cubicBezTo>
                <a:cubicBezTo>
                  <a:pt x="18563" y="7568"/>
                  <a:pt x="18580" y="7502"/>
                  <a:pt x="18590" y="7446"/>
                </a:cubicBezTo>
                <a:cubicBezTo>
                  <a:pt x="18592" y="7429"/>
                  <a:pt x="18595" y="7415"/>
                  <a:pt x="18596" y="7403"/>
                </a:cubicBezTo>
                <a:cubicBezTo>
                  <a:pt x="18602" y="7349"/>
                  <a:pt x="18602" y="7302"/>
                  <a:pt x="18601" y="7260"/>
                </a:cubicBezTo>
                <a:cubicBezTo>
                  <a:pt x="18601" y="7202"/>
                  <a:pt x="18600" y="7153"/>
                  <a:pt x="18618" y="7090"/>
                </a:cubicBezTo>
                <a:cubicBezTo>
                  <a:pt x="18624" y="7066"/>
                  <a:pt x="18626" y="7045"/>
                  <a:pt x="18632" y="7021"/>
                </a:cubicBezTo>
                <a:cubicBezTo>
                  <a:pt x="18639" y="7068"/>
                  <a:pt x="18658" y="7102"/>
                  <a:pt x="18682" y="7115"/>
                </a:cubicBezTo>
                <a:lnTo>
                  <a:pt x="18682" y="7235"/>
                </a:lnTo>
                <a:lnTo>
                  <a:pt x="18682" y="7294"/>
                </a:lnTo>
                <a:cubicBezTo>
                  <a:pt x="18682" y="7314"/>
                  <a:pt x="18679" y="7327"/>
                  <a:pt x="18677" y="7343"/>
                </a:cubicBezTo>
                <a:cubicBezTo>
                  <a:pt x="18674" y="7364"/>
                  <a:pt x="18670" y="7388"/>
                  <a:pt x="18670" y="7426"/>
                </a:cubicBezTo>
                <a:cubicBezTo>
                  <a:pt x="18670" y="7456"/>
                  <a:pt x="18674" y="7475"/>
                  <a:pt x="18677" y="7491"/>
                </a:cubicBezTo>
                <a:cubicBezTo>
                  <a:pt x="18681" y="7506"/>
                  <a:pt x="18683" y="7520"/>
                  <a:pt x="18683" y="7545"/>
                </a:cubicBezTo>
                <a:cubicBezTo>
                  <a:pt x="18683" y="7557"/>
                  <a:pt x="18683" y="7568"/>
                  <a:pt x="18682" y="7580"/>
                </a:cubicBezTo>
                <a:cubicBezTo>
                  <a:pt x="18681" y="7595"/>
                  <a:pt x="18680" y="7610"/>
                  <a:pt x="18679" y="7625"/>
                </a:cubicBezTo>
                <a:cubicBezTo>
                  <a:pt x="18679" y="7626"/>
                  <a:pt x="18679" y="7626"/>
                  <a:pt x="18679" y="7626"/>
                </a:cubicBezTo>
                <a:cubicBezTo>
                  <a:pt x="18671" y="7639"/>
                  <a:pt x="18664" y="7656"/>
                  <a:pt x="18664" y="7679"/>
                </a:cubicBezTo>
                <a:cubicBezTo>
                  <a:pt x="18664" y="7699"/>
                  <a:pt x="18668" y="7716"/>
                  <a:pt x="18675" y="7728"/>
                </a:cubicBezTo>
                <a:cubicBezTo>
                  <a:pt x="18675" y="7731"/>
                  <a:pt x="18675" y="7733"/>
                  <a:pt x="18675" y="7736"/>
                </a:cubicBezTo>
                <a:cubicBezTo>
                  <a:pt x="18675" y="7741"/>
                  <a:pt x="18674" y="7752"/>
                  <a:pt x="18674" y="7764"/>
                </a:cubicBezTo>
                <a:cubicBezTo>
                  <a:pt x="18671" y="7841"/>
                  <a:pt x="18671" y="7864"/>
                  <a:pt x="18678" y="7878"/>
                </a:cubicBezTo>
                <a:cubicBezTo>
                  <a:pt x="18681" y="7884"/>
                  <a:pt x="18685" y="7889"/>
                  <a:pt x="18690" y="7889"/>
                </a:cubicBezTo>
                <a:cubicBezTo>
                  <a:pt x="18711" y="7889"/>
                  <a:pt x="18721" y="7853"/>
                  <a:pt x="18729" y="7827"/>
                </a:cubicBezTo>
                <a:cubicBezTo>
                  <a:pt x="18734" y="7809"/>
                  <a:pt x="18737" y="7796"/>
                  <a:pt x="18741" y="7796"/>
                </a:cubicBezTo>
                <a:lnTo>
                  <a:pt x="18752" y="7796"/>
                </a:lnTo>
                <a:cubicBezTo>
                  <a:pt x="18758" y="7817"/>
                  <a:pt x="18769" y="7839"/>
                  <a:pt x="18782" y="7839"/>
                </a:cubicBezTo>
                <a:cubicBezTo>
                  <a:pt x="18782" y="7839"/>
                  <a:pt x="18783" y="7839"/>
                  <a:pt x="18784" y="7839"/>
                </a:cubicBezTo>
                <a:cubicBezTo>
                  <a:pt x="18789" y="7838"/>
                  <a:pt x="18793" y="7834"/>
                  <a:pt x="18796" y="7830"/>
                </a:cubicBezTo>
                <a:cubicBezTo>
                  <a:pt x="18803" y="7823"/>
                  <a:pt x="18806" y="7805"/>
                  <a:pt x="18803" y="7791"/>
                </a:cubicBezTo>
                <a:cubicBezTo>
                  <a:pt x="18796" y="7760"/>
                  <a:pt x="18785" y="7736"/>
                  <a:pt x="18775" y="7712"/>
                </a:cubicBezTo>
                <a:cubicBezTo>
                  <a:pt x="18758" y="7674"/>
                  <a:pt x="18743" y="7638"/>
                  <a:pt x="18743" y="7587"/>
                </a:cubicBezTo>
                <a:lnTo>
                  <a:pt x="18743" y="7578"/>
                </a:lnTo>
                <a:cubicBezTo>
                  <a:pt x="18743" y="7492"/>
                  <a:pt x="18749" y="7443"/>
                  <a:pt x="18757" y="7413"/>
                </a:cubicBezTo>
                <a:cubicBezTo>
                  <a:pt x="18763" y="7405"/>
                  <a:pt x="18767" y="7396"/>
                  <a:pt x="18771" y="7383"/>
                </a:cubicBezTo>
                <a:cubicBezTo>
                  <a:pt x="18778" y="7375"/>
                  <a:pt x="18785" y="7370"/>
                  <a:pt x="18791" y="7370"/>
                </a:cubicBezTo>
                <a:cubicBezTo>
                  <a:pt x="18806" y="7370"/>
                  <a:pt x="18817" y="7394"/>
                  <a:pt x="18824" y="7413"/>
                </a:cubicBezTo>
                <a:cubicBezTo>
                  <a:pt x="18827" y="7421"/>
                  <a:pt x="18831" y="7426"/>
                  <a:pt x="18836" y="7426"/>
                </a:cubicBezTo>
                <a:cubicBezTo>
                  <a:pt x="18845" y="7426"/>
                  <a:pt x="18851" y="7412"/>
                  <a:pt x="18851" y="7396"/>
                </a:cubicBezTo>
                <a:cubicBezTo>
                  <a:pt x="18851" y="7391"/>
                  <a:pt x="18851" y="7387"/>
                  <a:pt x="18850" y="7383"/>
                </a:cubicBezTo>
                <a:cubicBezTo>
                  <a:pt x="18842" y="7326"/>
                  <a:pt x="18831" y="7274"/>
                  <a:pt x="18819" y="7224"/>
                </a:cubicBezTo>
                <a:cubicBezTo>
                  <a:pt x="18810" y="7183"/>
                  <a:pt x="18800" y="7139"/>
                  <a:pt x="18793" y="7094"/>
                </a:cubicBezTo>
                <a:cubicBezTo>
                  <a:pt x="18793" y="7092"/>
                  <a:pt x="18792" y="7090"/>
                  <a:pt x="18792" y="7088"/>
                </a:cubicBezTo>
                <a:cubicBezTo>
                  <a:pt x="18792" y="7088"/>
                  <a:pt x="18792" y="7087"/>
                  <a:pt x="18792" y="7087"/>
                </a:cubicBezTo>
                <a:cubicBezTo>
                  <a:pt x="18791" y="7081"/>
                  <a:pt x="18789" y="7075"/>
                  <a:pt x="18788" y="7068"/>
                </a:cubicBezTo>
                <a:cubicBezTo>
                  <a:pt x="18783" y="7046"/>
                  <a:pt x="18776" y="7016"/>
                  <a:pt x="18779" y="6993"/>
                </a:cubicBezTo>
                <a:cubicBezTo>
                  <a:pt x="18779" y="6991"/>
                  <a:pt x="18779" y="6990"/>
                  <a:pt x="18779" y="6988"/>
                </a:cubicBezTo>
                <a:lnTo>
                  <a:pt x="18779" y="6886"/>
                </a:lnTo>
                <a:cubicBezTo>
                  <a:pt x="18779" y="6882"/>
                  <a:pt x="18778" y="6876"/>
                  <a:pt x="18777" y="6872"/>
                </a:cubicBezTo>
                <a:cubicBezTo>
                  <a:pt x="18771" y="6847"/>
                  <a:pt x="18772" y="6826"/>
                  <a:pt x="18773" y="6800"/>
                </a:cubicBezTo>
                <a:cubicBezTo>
                  <a:pt x="18775" y="6776"/>
                  <a:pt x="18776" y="6748"/>
                  <a:pt x="18772" y="6715"/>
                </a:cubicBezTo>
                <a:cubicBezTo>
                  <a:pt x="18769" y="6699"/>
                  <a:pt x="18767" y="6683"/>
                  <a:pt x="18764" y="6667"/>
                </a:cubicBezTo>
                <a:cubicBezTo>
                  <a:pt x="18761" y="6653"/>
                  <a:pt x="18758" y="6638"/>
                  <a:pt x="18755" y="6623"/>
                </a:cubicBezTo>
                <a:cubicBezTo>
                  <a:pt x="18752" y="6600"/>
                  <a:pt x="18747" y="6568"/>
                  <a:pt x="18747" y="6528"/>
                </a:cubicBezTo>
                <a:cubicBezTo>
                  <a:pt x="18747" y="6512"/>
                  <a:pt x="18740" y="6499"/>
                  <a:pt x="18732" y="6499"/>
                </a:cubicBezTo>
                <a:lnTo>
                  <a:pt x="18718" y="6499"/>
                </a:lnTo>
                <a:cubicBezTo>
                  <a:pt x="18709" y="6499"/>
                  <a:pt x="18702" y="6512"/>
                  <a:pt x="18702" y="6528"/>
                </a:cubicBezTo>
                <a:lnTo>
                  <a:pt x="18702" y="6618"/>
                </a:lnTo>
                <a:cubicBezTo>
                  <a:pt x="18702" y="6619"/>
                  <a:pt x="18702" y="6620"/>
                  <a:pt x="18701" y="6624"/>
                </a:cubicBezTo>
                <a:lnTo>
                  <a:pt x="18700" y="6629"/>
                </a:lnTo>
                <a:cubicBezTo>
                  <a:pt x="18699" y="6634"/>
                  <a:pt x="18697" y="6642"/>
                  <a:pt x="18695" y="6651"/>
                </a:cubicBezTo>
                <a:cubicBezTo>
                  <a:pt x="18672" y="6673"/>
                  <a:pt x="18659" y="6736"/>
                  <a:pt x="18654" y="6798"/>
                </a:cubicBezTo>
                <a:cubicBezTo>
                  <a:pt x="18650" y="6768"/>
                  <a:pt x="18643" y="6738"/>
                  <a:pt x="18634" y="6709"/>
                </a:cubicBezTo>
                <a:cubicBezTo>
                  <a:pt x="18671" y="6700"/>
                  <a:pt x="18700" y="6640"/>
                  <a:pt x="18700" y="6564"/>
                </a:cubicBezTo>
                <a:cubicBezTo>
                  <a:pt x="18700" y="6483"/>
                  <a:pt x="18667" y="6416"/>
                  <a:pt x="18626" y="6416"/>
                </a:cubicBezTo>
                <a:cubicBezTo>
                  <a:pt x="18589" y="6416"/>
                  <a:pt x="18560" y="6472"/>
                  <a:pt x="18555" y="6542"/>
                </a:cubicBezTo>
                <a:cubicBezTo>
                  <a:pt x="18545" y="6533"/>
                  <a:pt x="18535" y="6526"/>
                  <a:pt x="18525" y="6526"/>
                </a:cubicBezTo>
                <a:cubicBezTo>
                  <a:pt x="18515" y="6526"/>
                  <a:pt x="18506" y="6531"/>
                  <a:pt x="18498" y="6542"/>
                </a:cubicBezTo>
                <a:cubicBezTo>
                  <a:pt x="18485" y="6562"/>
                  <a:pt x="18472" y="6577"/>
                  <a:pt x="18460" y="6587"/>
                </a:cubicBezTo>
                <a:cubicBezTo>
                  <a:pt x="18452" y="6576"/>
                  <a:pt x="18444" y="6566"/>
                  <a:pt x="18434" y="6566"/>
                </a:cubicBezTo>
                <a:cubicBezTo>
                  <a:pt x="18424" y="6566"/>
                  <a:pt x="18415" y="6577"/>
                  <a:pt x="18406" y="6589"/>
                </a:cubicBezTo>
                <a:cubicBezTo>
                  <a:pt x="18359" y="6561"/>
                  <a:pt x="18333" y="6451"/>
                  <a:pt x="18331" y="6440"/>
                </a:cubicBezTo>
                <a:cubicBezTo>
                  <a:pt x="18331" y="6369"/>
                  <a:pt x="18388" y="6280"/>
                  <a:pt x="18433" y="6209"/>
                </a:cubicBezTo>
                <a:cubicBezTo>
                  <a:pt x="18453" y="6177"/>
                  <a:pt x="18473" y="6147"/>
                  <a:pt x="18486" y="6120"/>
                </a:cubicBezTo>
                <a:cubicBezTo>
                  <a:pt x="18499" y="6094"/>
                  <a:pt x="18513" y="6064"/>
                  <a:pt x="18528" y="6033"/>
                </a:cubicBezTo>
                <a:cubicBezTo>
                  <a:pt x="18584" y="5913"/>
                  <a:pt x="18654" y="5763"/>
                  <a:pt x="18723" y="5724"/>
                </a:cubicBezTo>
                <a:cubicBezTo>
                  <a:pt x="18750" y="5710"/>
                  <a:pt x="18800" y="5694"/>
                  <a:pt x="18868" y="5678"/>
                </a:cubicBezTo>
                <a:cubicBezTo>
                  <a:pt x="18913" y="5668"/>
                  <a:pt x="18939" y="5668"/>
                  <a:pt x="18981" y="5661"/>
                </a:cubicBezTo>
                <a:cubicBezTo>
                  <a:pt x="18982" y="5714"/>
                  <a:pt x="19003" y="5755"/>
                  <a:pt x="19030" y="5755"/>
                </a:cubicBezTo>
                <a:cubicBezTo>
                  <a:pt x="19057" y="5755"/>
                  <a:pt x="19079" y="5712"/>
                  <a:pt x="19079" y="5657"/>
                </a:cubicBezTo>
                <a:cubicBezTo>
                  <a:pt x="19079" y="5653"/>
                  <a:pt x="19077" y="5651"/>
                  <a:pt x="19076" y="5647"/>
                </a:cubicBezTo>
                <a:cubicBezTo>
                  <a:pt x="19088" y="5646"/>
                  <a:pt x="19115" y="5640"/>
                  <a:pt x="19122" y="5640"/>
                </a:cubicBezTo>
                <a:cubicBezTo>
                  <a:pt x="19168" y="5640"/>
                  <a:pt x="19201" y="5666"/>
                  <a:pt x="19230" y="5689"/>
                </a:cubicBezTo>
                <a:cubicBezTo>
                  <a:pt x="19241" y="5698"/>
                  <a:pt x="19253" y="5707"/>
                  <a:pt x="19265" y="5713"/>
                </a:cubicBezTo>
                <a:cubicBezTo>
                  <a:pt x="19241" y="5721"/>
                  <a:pt x="19222" y="5758"/>
                  <a:pt x="19222" y="5807"/>
                </a:cubicBezTo>
                <a:cubicBezTo>
                  <a:pt x="19222" y="5861"/>
                  <a:pt x="19245" y="5905"/>
                  <a:pt x="19272" y="5905"/>
                </a:cubicBezTo>
                <a:cubicBezTo>
                  <a:pt x="19299" y="5905"/>
                  <a:pt x="19321" y="5861"/>
                  <a:pt x="19321" y="5807"/>
                </a:cubicBezTo>
                <a:cubicBezTo>
                  <a:pt x="19321" y="5764"/>
                  <a:pt x="19306" y="5734"/>
                  <a:pt x="19287" y="5720"/>
                </a:cubicBezTo>
                <a:cubicBezTo>
                  <a:pt x="19292" y="5722"/>
                  <a:pt x="19297" y="5725"/>
                  <a:pt x="19303" y="5725"/>
                </a:cubicBezTo>
                <a:lnTo>
                  <a:pt x="19419" y="5725"/>
                </a:lnTo>
                <a:cubicBezTo>
                  <a:pt x="19426" y="5725"/>
                  <a:pt x="19432" y="5716"/>
                  <a:pt x="19433" y="5703"/>
                </a:cubicBezTo>
                <a:cubicBezTo>
                  <a:pt x="19437" y="5670"/>
                  <a:pt x="19442" y="5640"/>
                  <a:pt x="19446" y="5612"/>
                </a:cubicBezTo>
                <a:cubicBezTo>
                  <a:pt x="19446" y="5612"/>
                  <a:pt x="19446" y="5611"/>
                  <a:pt x="19446" y="5611"/>
                </a:cubicBezTo>
                <a:cubicBezTo>
                  <a:pt x="19476" y="5430"/>
                  <a:pt x="19521" y="5334"/>
                  <a:pt x="19591" y="5296"/>
                </a:cubicBezTo>
                <a:cubicBezTo>
                  <a:pt x="19613" y="5285"/>
                  <a:pt x="19637" y="5279"/>
                  <a:pt x="19663" y="5279"/>
                </a:cubicBezTo>
                <a:cubicBezTo>
                  <a:pt x="19676" y="5279"/>
                  <a:pt x="19687" y="5276"/>
                  <a:pt x="19697" y="5274"/>
                </a:cubicBezTo>
                <a:cubicBezTo>
                  <a:pt x="19715" y="5270"/>
                  <a:pt x="19737" y="5268"/>
                  <a:pt x="19764" y="5273"/>
                </a:cubicBezTo>
                <a:cubicBezTo>
                  <a:pt x="19756" y="5312"/>
                  <a:pt x="19752" y="5361"/>
                  <a:pt x="19757" y="5395"/>
                </a:cubicBezTo>
                <a:cubicBezTo>
                  <a:pt x="19763" y="5427"/>
                  <a:pt x="19776" y="5446"/>
                  <a:pt x="19792" y="5446"/>
                </a:cubicBezTo>
                <a:cubicBezTo>
                  <a:pt x="19824" y="5446"/>
                  <a:pt x="19875" y="5358"/>
                  <a:pt x="19938" y="5216"/>
                </a:cubicBezTo>
                <a:cubicBezTo>
                  <a:pt x="19946" y="5253"/>
                  <a:pt x="19959" y="5284"/>
                  <a:pt x="19974" y="5309"/>
                </a:cubicBezTo>
                <a:cubicBezTo>
                  <a:pt x="19963" y="5329"/>
                  <a:pt x="19949" y="5349"/>
                  <a:pt x="19931" y="5373"/>
                </a:cubicBezTo>
                <a:cubicBezTo>
                  <a:pt x="19909" y="5401"/>
                  <a:pt x="19887" y="5413"/>
                  <a:pt x="19867" y="5423"/>
                </a:cubicBezTo>
                <a:cubicBezTo>
                  <a:pt x="19836" y="5439"/>
                  <a:pt x="19804" y="5455"/>
                  <a:pt x="19778" y="5529"/>
                </a:cubicBezTo>
                <a:cubicBezTo>
                  <a:pt x="19768" y="5558"/>
                  <a:pt x="19758" y="5589"/>
                  <a:pt x="19748" y="5620"/>
                </a:cubicBezTo>
                <a:cubicBezTo>
                  <a:pt x="19739" y="5648"/>
                  <a:pt x="19730" y="5676"/>
                  <a:pt x="19721" y="5703"/>
                </a:cubicBezTo>
                <a:cubicBezTo>
                  <a:pt x="19698" y="5769"/>
                  <a:pt x="19679" y="5813"/>
                  <a:pt x="19660" y="5846"/>
                </a:cubicBezTo>
                <a:cubicBezTo>
                  <a:pt x="19656" y="5852"/>
                  <a:pt x="19653" y="5855"/>
                  <a:pt x="19650" y="5859"/>
                </a:cubicBezTo>
                <a:cubicBezTo>
                  <a:pt x="19649" y="5859"/>
                  <a:pt x="19649" y="5857"/>
                  <a:pt x="19647" y="5857"/>
                </a:cubicBezTo>
                <a:cubicBezTo>
                  <a:pt x="19633" y="5857"/>
                  <a:pt x="19623" y="5877"/>
                  <a:pt x="19618" y="5902"/>
                </a:cubicBezTo>
                <a:cubicBezTo>
                  <a:pt x="19614" y="5907"/>
                  <a:pt x="19611" y="5911"/>
                  <a:pt x="19607" y="5915"/>
                </a:cubicBezTo>
                <a:cubicBezTo>
                  <a:pt x="19558" y="5978"/>
                  <a:pt x="19527" y="6051"/>
                  <a:pt x="19512" y="6132"/>
                </a:cubicBezTo>
                <a:cubicBezTo>
                  <a:pt x="19506" y="6127"/>
                  <a:pt x="19502" y="6118"/>
                  <a:pt x="19495" y="6118"/>
                </a:cubicBezTo>
                <a:cubicBezTo>
                  <a:pt x="19468" y="6118"/>
                  <a:pt x="19446" y="6163"/>
                  <a:pt x="19446" y="6217"/>
                </a:cubicBezTo>
                <a:cubicBezTo>
                  <a:pt x="19446" y="6272"/>
                  <a:pt x="19468" y="6315"/>
                  <a:pt x="19495" y="6315"/>
                </a:cubicBezTo>
                <a:cubicBezTo>
                  <a:pt x="19498" y="6315"/>
                  <a:pt x="19500" y="6310"/>
                  <a:pt x="19503" y="6309"/>
                </a:cubicBezTo>
                <a:cubicBezTo>
                  <a:pt x="19505" y="6461"/>
                  <a:pt x="19521" y="6802"/>
                  <a:pt x="19565" y="6969"/>
                </a:cubicBezTo>
                <a:cubicBezTo>
                  <a:pt x="19561" y="6980"/>
                  <a:pt x="19557" y="6993"/>
                  <a:pt x="19557" y="7007"/>
                </a:cubicBezTo>
                <a:cubicBezTo>
                  <a:pt x="19557" y="7045"/>
                  <a:pt x="19573" y="7075"/>
                  <a:pt x="19592" y="7075"/>
                </a:cubicBezTo>
                <a:cubicBezTo>
                  <a:pt x="19610" y="7075"/>
                  <a:pt x="19625" y="7045"/>
                  <a:pt x="19625" y="7007"/>
                </a:cubicBezTo>
                <a:cubicBezTo>
                  <a:pt x="19625" y="7002"/>
                  <a:pt x="19623" y="6998"/>
                  <a:pt x="19622" y="6992"/>
                </a:cubicBezTo>
                <a:cubicBezTo>
                  <a:pt x="19630" y="6964"/>
                  <a:pt x="19638" y="6937"/>
                  <a:pt x="19646" y="6905"/>
                </a:cubicBezTo>
                <a:cubicBezTo>
                  <a:pt x="19659" y="6852"/>
                  <a:pt x="19673" y="6800"/>
                  <a:pt x="19689" y="6754"/>
                </a:cubicBezTo>
                <a:cubicBezTo>
                  <a:pt x="19693" y="6756"/>
                  <a:pt x="19696" y="6763"/>
                  <a:pt x="19700" y="6763"/>
                </a:cubicBezTo>
                <a:cubicBezTo>
                  <a:pt x="19727" y="6763"/>
                  <a:pt x="19749" y="6719"/>
                  <a:pt x="19749" y="6665"/>
                </a:cubicBezTo>
                <a:cubicBezTo>
                  <a:pt x="19749" y="6660"/>
                  <a:pt x="19747" y="6657"/>
                  <a:pt x="19746" y="6653"/>
                </a:cubicBezTo>
                <a:cubicBezTo>
                  <a:pt x="19752" y="6648"/>
                  <a:pt x="19756" y="6641"/>
                  <a:pt x="19762" y="6638"/>
                </a:cubicBezTo>
                <a:cubicBezTo>
                  <a:pt x="19770" y="6634"/>
                  <a:pt x="19774" y="6620"/>
                  <a:pt x="19773" y="6604"/>
                </a:cubicBezTo>
                <a:cubicBezTo>
                  <a:pt x="19771" y="6580"/>
                  <a:pt x="19775" y="6560"/>
                  <a:pt x="19786" y="6538"/>
                </a:cubicBezTo>
                <a:cubicBezTo>
                  <a:pt x="19792" y="6527"/>
                  <a:pt x="19798" y="6517"/>
                  <a:pt x="19805" y="6507"/>
                </a:cubicBezTo>
                <a:cubicBezTo>
                  <a:pt x="19808" y="6510"/>
                  <a:pt x="19811" y="6516"/>
                  <a:pt x="19815" y="6516"/>
                </a:cubicBezTo>
                <a:cubicBezTo>
                  <a:pt x="19834" y="6516"/>
                  <a:pt x="19849" y="6486"/>
                  <a:pt x="19849" y="6448"/>
                </a:cubicBezTo>
                <a:cubicBezTo>
                  <a:pt x="19849" y="6443"/>
                  <a:pt x="19847" y="6440"/>
                  <a:pt x="19846" y="6435"/>
                </a:cubicBezTo>
                <a:cubicBezTo>
                  <a:pt x="19853" y="6418"/>
                  <a:pt x="19858" y="6399"/>
                  <a:pt x="19858" y="6376"/>
                </a:cubicBezTo>
                <a:cubicBezTo>
                  <a:pt x="19858" y="6308"/>
                  <a:pt x="19879" y="6268"/>
                  <a:pt x="19899" y="6230"/>
                </a:cubicBezTo>
                <a:cubicBezTo>
                  <a:pt x="19916" y="6197"/>
                  <a:pt x="19932" y="6165"/>
                  <a:pt x="19932" y="6120"/>
                </a:cubicBezTo>
                <a:cubicBezTo>
                  <a:pt x="19932" y="6116"/>
                  <a:pt x="19932" y="6111"/>
                  <a:pt x="19932" y="6104"/>
                </a:cubicBezTo>
                <a:cubicBezTo>
                  <a:pt x="19931" y="6090"/>
                  <a:pt x="19929" y="6077"/>
                  <a:pt x="19928" y="6064"/>
                </a:cubicBezTo>
                <a:cubicBezTo>
                  <a:pt x="19923" y="6028"/>
                  <a:pt x="19919" y="5993"/>
                  <a:pt x="19931" y="5942"/>
                </a:cubicBezTo>
                <a:cubicBezTo>
                  <a:pt x="19960" y="5820"/>
                  <a:pt x="19990" y="5723"/>
                  <a:pt x="20020" y="5653"/>
                </a:cubicBezTo>
                <a:cubicBezTo>
                  <a:pt x="20035" y="5618"/>
                  <a:pt x="20051" y="5598"/>
                  <a:pt x="20066" y="5576"/>
                </a:cubicBezTo>
                <a:cubicBezTo>
                  <a:pt x="20069" y="5578"/>
                  <a:pt x="20072" y="5583"/>
                  <a:pt x="20075" y="5583"/>
                </a:cubicBezTo>
                <a:cubicBezTo>
                  <a:pt x="20090" y="5583"/>
                  <a:pt x="20100" y="5562"/>
                  <a:pt x="20105" y="5536"/>
                </a:cubicBezTo>
                <a:cubicBezTo>
                  <a:pt x="20119" y="5526"/>
                  <a:pt x="20132" y="5513"/>
                  <a:pt x="20147" y="5513"/>
                </a:cubicBezTo>
                <a:cubicBezTo>
                  <a:pt x="20186" y="5513"/>
                  <a:pt x="20223" y="5549"/>
                  <a:pt x="20252" y="5578"/>
                </a:cubicBezTo>
                <a:lnTo>
                  <a:pt x="20254" y="5579"/>
                </a:lnTo>
                <a:cubicBezTo>
                  <a:pt x="20257" y="5582"/>
                  <a:pt x="20260" y="5584"/>
                  <a:pt x="20263" y="5583"/>
                </a:cubicBezTo>
                <a:lnTo>
                  <a:pt x="20285" y="5576"/>
                </a:lnTo>
                <a:cubicBezTo>
                  <a:pt x="20294" y="5584"/>
                  <a:pt x="20302" y="5589"/>
                  <a:pt x="20310" y="5589"/>
                </a:cubicBezTo>
                <a:cubicBezTo>
                  <a:pt x="20320" y="5589"/>
                  <a:pt x="20330" y="5583"/>
                  <a:pt x="20341" y="5581"/>
                </a:cubicBezTo>
                <a:cubicBezTo>
                  <a:pt x="20340" y="5584"/>
                  <a:pt x="20339" y="5586"/>
                  <a:pt x="20339" y="5590"/>
                </a:cubicBezTo>
                <a:cubicBezTo>
                  <a:pt x="20339" y="5628"/>
                  <a:pt x="20354" y="5657"/>
                  <a:pt x="20373" y="5657"/>
                </a:cubicBezTo>
                <a:cubicBezTo>
                  <a:pt x="20392" y="5657"/>
                  <a:pt x="20407" y="5628"/>
                  <a:pt x="20407" y="5590"/>
                </a:cubicBezTo>
                <a:cubicBezTo>
                  <a:pt x="20407" y="5575"/>
                  <a:pt x="20403" y="5564"/>
                  <a:pt x="20399" y="5553"/>
                </a:cubicBezTo>
                <a:cubicBezTo>
                  <a:pt x="20401" y="5551"/>
                  <a:pt x="20403" y="5550"/>
                  <a:pt x="20404" y="5549"/>
                </a:cubicBezTo>
                <a:cubicBezTo>
                  <a:pt x="20409" y="5545"/>
                  <a:pt x="20413" y="5542"/>
                  <a:pt x="20418" y="5537"/>
                </a:cubicBezTo>
                <a:lnTo>
                  <a:pt x="20455" y="5532"/>
                </a:lnTo>
                <a:cubicBezTo>
                  <a:pt x="20457" y="5531"/>
                  <a:pt x="20458" y="5529"/>
                  <a:pt x="20460" y="5527"/>
                </a:cubicBezTo>
                <a:cubicBezTo>
                  <a:pt x="20502" y="5478"/>
                  <a:pt x="20542" y="5417"/>
                  <a:pt x="20581" y="5357"/>
                </a:cubicBezTo>
                <a:cubicBezTo>
                  <a:pt x="20586" y="5348"/>
                  <a:pt x="20591" y="5342"/>
                  <a:pt x="20597" y="5333"/>
                </a:cubicBezTo>
                <a:cubicBezTo>
                  <a:pt x="20602" y="5337"/>
                  <a:pt x="20606" y="5345"/>
                  <a:pt x="20612" y="5345"/>
                </a:cubicBezTo>
                <a:cubicBezTo>
                  <a:pt x="20639" y="5345"/>
                  <a:pt x="20660" y="5302"/>
                  <a:pt x="20660" y="5247"/>
                </a:cubicBezTo>
                <a:cubicBezTo>
                  <a:pt x="20660" y="5246"/>
                  <a:pt x="20660" y="5245"/>
                  <a:pt x="20660" y="5244"/>
                </a:cubicBezTo>
                <a:cubicBezTo>
                  <a:pt x="20705" y="5182"/>
                  <a:pt x="20750" y="5132"/>
                  <a:pt x="20798" y="5131"/>
                </a:cubicBezTo>
                <a:cubicBezTo>
                  <a:pt x="20834" y="5129"/>
                  <a:pt x="20856" y="5120"/>
                  <a:pt x="20880" y="5112"/>
                </a:cubicBezTo>
                <a:cubicBezTo>
                  <a:pt x="20882" y="5146"/>
                  <a:pt x="20895" y="5173"/>
                  <a:pt x="20913" y="5173"/>
                </a:cubicBezTo>
                <a:cubicBezTo>
                  <a:pt x="20932" y="5173"/>
                  <a:pt x="20946" y="5143"/>
                  <a:pt x="20946" y="5105"/>
                </a:cubicBezTo>
                <a:cubicBezTo>
                  <a:pt x="20946" y="5097"/>
                  <a:pt x="20944" y="5091"/>
                  <a:pt x="20942" y="5084"/>
                </a:cubicBezTo>
                <a:cubicBezTo>
                  <a:pt x="20956" y="5070"/>
                  <a:pt x="20965" y="5053"/>
                  <a:pt x="20969" y="5033"/>
                </a:cubicBezTo>
                <a:cubicBezTo>
                  <a:pt x="20981" y="4965"/>
                  <a:pt x="20942" y="4899"/>
                  <a:pt x="20907" y="4839"/>
                </a:cubicBezTo>
                <a:cubicBezTo>
                  <a:pt x="20896" y="4819"/>
                  <a:pt x="20879" y="4790"/>
                  <a:pt x="20876" y="4779"/>
                </a:cubicBezTo>
                <a:cubicBezTo>
                  <a:pt x="20877" y="4711"/>
                  <a:pt x="20900" y="4681"/>
                  <a:pt x="20934" y="4653"/>
                </a:cubicBezTo>
                <a:cubicBezTo>
                  <a:pt x="20936" y="4653"/>
                  <a:pt x="20939" y="4656"/>
                  <a:pt x="20942" y="4656"/>
                </a:cubicBezTo>
                <a:cubicBezTo>
                  <a:pt x="21008" y="4656"/>
                  <a:pt x="21061" y="4549"/>
                  <a:pt x="21061" y="4417"/>
                </a:cubicBezTo>
                <a:cubicBezTo>
                  <a:pt x="21061" y="4416"/>
                  <a:pt x="21061" y="4416"/>
                  <a:pt x="21061" y="4415"/>
                </a:cubicBezTo>
                <a:cubicBezTo>
                  <a:pt x="21120" y="4432"/>
                  <a:pt x="21176" y="4517"/>
                  <a:pt x="21230" y="4604"/>
                </a:cubicBezTo>
                <a:cubicBezTo>
                  <a:pt x="21264" y="4659"/>
                  <a:pt x="21297" y="4711"/>
                  <a:pt x="21330" y="4741"/>
                </a:cubicBezTo>
                <a:cubicBezTo>
                  <a:pt x="21329" y="4749"/>
                  <a:pt x="21325" y="4754"/>
                  <a:pt x="21325" y="4762"/>
                </a:cubicBezTo>
                <a:cubicBezTo>
                  <a:pt x="21325" y="4817"/>
                  <a:pt x="21347" y="4860"/>
                  <a:pt x="21374" y="4860"/>
                </a:cubicBezTo>
                <a:cubicBezTo>
                  <a:pt x="21402" y="4860"/>
                  <a:pt x="21423" y="4817"/>
                  <a:pt x="21423" y="4762"/>
                </a:cubicBezTo>
                <a:cubicBezTo>
                  <a:pt x="21423" y="4751"/>
                  <a:pt x="21419" y="4743"/>
                  <a:pt x="21417" y="4733"/>
                </a:cubicBezTo>
                <a:cubicBezTo>
                  <a:pt x="21431" y="4703"/>
                  <a:pt x="21440" y="4661"/>
                  <a:pt x="21448" y="4622"/>
                </a:cubicBezTo>
                <a:cubicBezTo>
                  <a:pt x="21454" y="4593"/>
                  <a:pt x="21460" y="4561"/>
                  <a:pt x="21466" y="4545"/>
                </a:cubicBezTo>
                <a:cubicBezTo>
                  <a:pt x="21490" y="4491"/>
                  <a:pt x="21511" y="4480"/>
                  <a:pt x="21544" y="4464"/>
                </a:cubicBezTo>
                <a:cubicBezTo>
                  <a:pt x="21556" y="4457"/>
                  <a:pt x="21571" y="4451"/>
                  <a:pt x="21587" y="4440"/>
                </a:cubicBezTo>
                <a:cubicBezTo>
                  <a:pt x="21591" y="4437"/>
                  <a:pt x="21595" y="4430"/>
                  <a:pt x="21597" y="4421"/>
                </a:cubicBezTo>
                <a:cubicBezTo>
                  <a:pt x="21598" y="4411"/>
                  <a:pt x="21597" y="4402"/>
                  <a:pt x="21594" y="4394"/>
                </a:cubicBezTo>
                <a:cubicBezTo>
                  <a:pt x="21543" y="4256"/>
                  <a:pt x="21423" y="4162"/>
                  <a:pt x="21308" y="4071"/>
                </a:cubicBezTo>
                <a:cubicBezTo>
                  <a:pt x="21245" y="4022"/>
                  <a:pt x="21186" y="3975"/>
                  <a:pt x="21144" y="3926"/>
                </a:cubicBezTo>
                <a:cubicBezTo>
                  <a:pt x="21089" y="3862"/>
                  <a:pt x="21036" y="3807"/>
                  <a:pt x="20983" y="3758"/>
                </a:cubicBezTo>
                <a:cubicBezTo>
                  <a:pt x="20982" y="3723"/>
                  <a:pt x="20968" y="3693"/>
                  <a:pt x="20950" y="3693"/>
                </a:cubicBezTo>
                <a:cubicBezTo>
                  <a:pt x="20941" y="3693"/>
                  <a:pt x="20933" y="3700"/>
                  <a:pt x="20927" y="3712"/>
                </a:cubicBezTo>
                <a:cubicBezTo>
                  <a:pt x="20806" y="3611"/>
                  <a:pt x="20692" y="3551"/>
                  <a:pt x="20581" y="3531"/>
                </a:cubicBezTo>
                <a:cubicBezTo>
                  <a:pt x="20570" y="3517"/>
                  <a:pt x="20557" y="3507"/>
                  <a:pt x="20543" y="3507"/>
                </a:cubicBezTo>
                <a:cubicBezTo>
                  <a:pt x="20532" y="3507"/>
                  <a:pt x="20522" y="3511"/>
                  <a:pt x="20513" y="3519"/>
                </a:cubicBezTo>
                <a:cubicBezTo>
                  <a:pt x="20509" y="3519"/>
                  <a:pt x="20506" y="3518"/>
                  <a:pt x="20503" y="3518"/>
                </a:cubicBezTo>
                <a:cubicBezTo>
                  <a:pt x="20500" y="3518"/>
                  <a:pt x="20497" y="3520"/>
                  <a:pt x="20494" y="3524"/>
                </a:cubicBezTo>
                <a:lnTo>
                  <a:pt x="20477" y="3550"/>
                </a:lnTo>
                <a:cubicBezTo>
                  <a:pt x="20422" y="3556"/>
                  <a:pt x="20387" y="3584"/>
                  <a:pt x="20395" y="3634"/>
                </a:cubicBezTo>
                <a:cubicBezTo>
                  <a:pt x="20396" y="3644"/>
                  <a:pt x="20398" y="3653"/>
                  <a:pt x="20399" y="3662"/>
                </a:cubicBezTo>
                <a:lnTo>
                  <a:pt x="20395" y="3668"/>
                </a:lnTo>
                <a:cubicBezTo>
                  <a:pt x="20390" y="3675"/>
                  <a:pt x="20387" y="3688"/>
                  <a:pt x="20389" y="3700"/>
                </a:cubicBezTo>
                <a:cubicBezTo>
                  <a:pt x="20394" y="3742"/>
                  <a:pt x="20395" y="3765"/>
                  <a:pt x="20395" y="3777"/>
                </a:cubicBezTo>
                <a:cubicBezTo>
                  <a:pt x="20395" y="3780"/>
                  <a:pt x="20395" y="3783"/>
                  <a:pt x="20395" y="3785"/>
                </a:cubicBezTo>
                <a:cubicBezTo>
                  <a:pt x="20392" y="3784"/>
                  <a:pt x="20388" y="3780"/>
                  <a:pt x="20380" y="3770"/>
                </a:cubicBezTo>
                <a:cubicBezTo>
                  <a:pt x="20375" y="3763"/>
                  <a:pt x="20369" y="3755"/>
                  <a:pt x="20363" y="3746"/>
                </a:cubicBezTo>
                <a:cubicBezTo>
                  <a:pt x="20353" y="3731"/>
                  <a:pt x="20343" y="3714"/>
                  <a:pt x="20332" y="3697"/>
                </a:cubicBezTo>
                <a:cubicBezTo>
                  <a:pt x="20327" y="3687"/>
                  <a:pt x="20321" y="3678"/>
                  <a:pt x="20316" y="3670"/>
                </a:cubicBezTo>
                <a:cubicBezTo>
                  <a:pt x="20332" y="3663"/>
                  <a:pt x="20346" y="3633"/>
                  <a:pt x="20346" y="3600"/>
                </a:cubicBezTo>
                <a:cubicBezTo>
                  <a:pt x="20346" y="3573"/>
                  <a:pt x="20338" y="3556"/>
                  <a:pt x="20334" y="3546"/>
                </a:cubicBezTo>
                <a:cubicBezTo>
                  <a:pt x="20332" y="3544"/>
                  <a:pt x="20331" y="3541"/>
                  <a:pt x="20331" y="3542"/>
                </a:cubicBezTo>
                <a:cubicBezTo>
                  <a:pt x="20329" y="3528"/>
                  <a:pt x="20323" y="3518"/>
                  <a:pt x="20316" y="3518"/>
                </a:cubicBezTo>
                <a:lnTo>
                  <a:pt x="20246" y="3518"/>
                </a:lnTo>
                <a:cubicBezTo>
                  <a:pt x="20241" y="3518"/>
                  <a:pt x="20236" y="3523"/>
                  <a:pt x="20234" y="3532"/>
                </a:cubicBezTo>
                <a:cubicBezTo>
                  <a:pt x="20231" y="3541"/>
                  <a:pt x="20231" y="3552"/>
                  <a:pt x="20233" y="3561"/>
                </a:cubicBezTo>
                <a:cubicBezTo>
                  <a:pt x="20237" y="3577"/>
                  <a:pt x="20241" y="3591"/>
                  <a:pt x="20246" y="3603"/>
                </a:cubicBezTo>
                <a:lnTo>
                  <a:pt x="19843" y="3585"/>
                </a:lnTo>
                <a:cubicBezTo>
                  <a:pt x="19837" y="3562"/>
                  <a:pt x="19828" y="3544"/>
                  <a:pt x="19815" y="3544"/>
                </a:cubicBezTo>
                <a:cubicBezTo>
                  <a:pt x="19802" y="3544"/>
                  <a:pt x="19792" y="3561"/>
                  <a:pt x="19786" y="3582"/>
                </a:cubicBezTo>
                <a:lnTo>
                  <a:pt x="19781" y="3582"/>
                </a:lnTo>
                <a:cubicBezTo>
                  <a:pt x="19761" y="3449"/>
                  <a:pt x="19724" y="3367"/>
                  <a:pt x="19664" y="3324"/>
                </a:cubicBezTo>
                <a:cubicBezTo>
                  <a:pt x="19628" y="3298"/>
                  <a:pt x="19583" y="3284"/>
                  <a:pt x="19525" y="3284"/>
                </a:cubicBezTo>
                <a:cubicBezTo>
                  <a:pt x="19522" y="3284"/>
                  <a:pt x="19517" y="3285"/>
                  <a:pt x="19513" y="3285"/>
                </a:cubicBezTo>
                <a:cubicBezTo>
                  <a:pt x="19504" y="3262"/>
                  <a:pt x="19492" y="3246"/>
                  <a:pt x="19476" y="3246"/>
                </a:cubicBezTo>
                <a:cubicBezTo>
                  <a:pt x="19459" y="3246"/>
                  <a:pt x="19446" y="3267"/>
                  <a:pt x="19437" y="3296"/>
                </a:cubicBezTo>
                <a:cubicBezTo>
                  <a:pt x="19413" y="3300"/>
                  <a:pt x="19388" y="3306"/>
                  <a:pt x="19366" y="3306"/>
                </a:cubicBezTo>
                <a:cubicBezTo>
                  <a:pt x="19329" y="3306"/>
                  <a:pt x="19305" y="3294"/>
                  <a:pt x="19291" y="3270"/>
                </a:cubicBezTo>
                <a:cubicBezTo>
                  <a:pt x="19276" y="3245"/>
                  <a:pt x="19267" y="3217"/>
                  <a:pt x="19257" y="3186"/>
                </a:cubicBezTo>
                <a:cubicBezTo>
                  <a:pt x="19240" y="3133"/>
                  <a:pt x="19223" y="3079"/>
                  <a:pt x="19180" y="3052"/>
                </a:cubicBezTo>
                <a:cubicBezTo>
                  <a:pt x="19167" y="3043"/>
                  <a:pt x="19155" y="3039"/>
                  <a:pt x="19142" y="3031"/>
                </a:cubicBezTo>
                <a:cubicBezTo>
                  <a:pt x="19133" y="3005"/>
                  <a:pt x="19121" y="2984"/>
                  <a:pt x="19104" y="2984"/>
                </a:cubicBezTo>
                <a:cubicBezTo>
                  <a:pt x="19097" y="2984"/>
                  <a:pt x="19093" y="2994"/>
                  <a:pt x="19087" y="3000"/>
                </a:cubicBezTo>
                <a:cubicBezTo>
                  <a:pt x="19024" y="2966"/>
                  <a:pt x="18962" y="2938"/>
                  <a:pt x="18901" y="2923"/>
                </a:cubicBezTo>
                <a:cubicBezTo>
                  <a:pt x="18847" y="2909"/>
                  <a:pt x="18794" y="2903"/>
                  <a:pt x="18740" y="2903"/>
                </a:cubicBezTo>
                <a:cubicBezTo>
                  <a:pt x="18640" y="2903"/>
                  <a:pt x="18592" y="2969"/>
                  <a:pt x="18563" y="3056"/>
                </a:cubicBezTo>
                <a:cubicBezTo>
                  <a:pt x="18554" y="3035"/>
                  <a:pt x="18542" y="3022"/>
                  <a:pt x="18527" y="3022"/>
                </a:cubicBezTo>
                <a:cubicBezTo>
                  <a:pt x="18500" y="3022"/>
                  <a:pt x="18478" y="3066"/>
                  <a:pt x="18478" y="3121"/>
                </a:cubicBezTo>
                <a:cubicBezTo>
                  <a:pt x="18478" y="3175"/>
                  <a:pt x="18500" y="3219"/>
                  <a:pt x="18527" y="3219"/>
                </a:cubicBezTo>
                <a:cubicBezTo>
                  <a:pt x="18528" y="3219"/>
                  <a:pt x="18529" y="3216"/>
                  <a:pt x="18530" y="3216"/>
                </a:cubicBezTo>
                <a:cubicBezTo>
                  <a:pt x="18529" y="3225"/>
                  <a:pt x="18527" y="3233"/>
                  <a:pt x="18526" y="3242"/>
                </a:cubicBezTo>
                <a:lnTo>
                  <a:pt x="18415" y="3242"/>
                </a:lnTo>
                <a:cubicBezTo>
                  <a:pt x="18415" y="3241"/>
                  <a:pt x="18416" y="3241"/>
                  <a:pt x="18416" y="3240"/>
                </a:cubicBezTo>
                <a:cubicBezTo>
                  <a:pt x="18416" y="3202"/>
                  <a:pt x="18401" y="3171"/>
                  <a:pt x="18382" y="3171"/>
                </a:cubicBezTo>
                <a:cubicBezTo>
                  <a:pt x="18363" y="3171"/>
                  <a:pt x="18348" y="3202"/>
                  <a:pt x="18348" y="3240"/>
                </a:cubicBezTo>
                <a:cubicBezTo>
                  <a:pt x="18348" y="3241"/>
                  <a:pt x="18348" y="3241"/>
                  <a:pt x="18348" y="3242"/>
                </a:cubicBezTo>
                <a:lnTo>
                  <a:pt x="18200" y="3242"/>
                </a:lnTo>
                <a:cubicBezTo>
                  <a:pt x="18176" y="3242"/>
                  <a:pt x="18161" y="3223"/>
                  <a:pt x="18144" y="3199"/>
                </a:cubicBezTo>
                <a:cubicBezTo>
                  <a:pt x="18139" y="3192"/>
                  <a:pt x="18134" y="3186"/>
                  <a:pt x="18129" y="3179"/>
                </a:cubicBezTo>
                <a:cubicBezTo>
                  <a:pt x="18124" y="3173"/>
                  <a:pt x="18120" y="3168"/>
                  <a:pt x="18115" y="3163"/>
                </a:cubicBezTo>
                <a:cubicBezTo>
                  <a:pt x="18098" y="3147"/>
                  <a:pt x="18082" y="3138"/>
                  <a:pt x="18063" y="3136"/>
                </a:cubicBezTo>
                <a:cubicBezTo>
                  <a:pt x="18055" y="3135"/>
                  <a:pt x="18049" y="3145"/>
                  <a:pt x="18048" y="3159"/>
                </a:cubicBezTo>
                <a:lnTo>
                  <a:pt x="18047" y="3170"/>
                </a:lnTo>
                <a:cubicBezTo>
                  <a:pt x="18042" y="3213"/>
                  <a:pt x="18029" y="3327"/>
                  <a:pt x="18009" y="3327"/>
                </a:cubicBezTo>
                <a:cubicBezTo>
                  <a:pt x="17932" y="3327"/>
                  <a:pt x="17898" y="3131"/>
                  <a:pt x="17897" y="3024"/>
                </a:cubicBezTo>
                <a:cubicBezTo>
                  <a:pt x="17898" y="3021"/>
                  <a:pt x="17899" y="3018"/>
                  <a:pt x="17901" y="3014"/>
                </a:cubicBezTo>
                <a:cubicBezTo>
                  <a:pt x="17914" y="2984"/>
                  <a:pt x="17938" y="2928"/>
                  <a:pt x="17927" y="2863"/>
                </a:cubicBezTo>
                <a:cubicBezTo>
                  <a:pt x="17913" y="2788"/>
                  <a:pt x="17857" y="2736"/>
                  <a:pt x="17749" y="2700"/>
                </a:cubicBezTo>
                <a:cubicBezTo>
                  <a:pt x="17712" y="2687"/>
                  <a:pt x="17667" y="2677"/>
                  <a:pt x="17618" y="2668"/>
                </a:cubicBezTo>
                <a:cubicBezTo>
                  <a:pt x="17613" y="2668"/>
                  <a:pt x="17608" y="2667"/>
                  <a:pt x="17603" y="2667"/>
                </a:cubicBezTo>
                <a:cubicBezTo>
                  <a:pt x="17579" y="2667"/>
                  <a:pt x="17553" y="2684"/>
                  <a:pt x="17535" y="2734"/>
                </a:cubicBezTo>
                <a:cubicBezTo>
                  <a:pt x="17531" y="2731"/>
                  <a:pt x="17528" y="2723"/>
                  <a:pt x="17523" y="2723"/>
                </a:cubicBezTo>
                <a:cubicBezTo>
                  <a:pt x="17495" y="2723"/>
                  <a:pt x="17473" y="2768"/>
                  <a:pt x="17473" y="2822"/>
                </a:cubicBezTo>
                <a:cubicBezTo>
                  <a:pt x="17473" y="2828"/>
                  <a:pt x="17476" y="2832"/>
                  <a:pt x="17476" y="2838"/>
                </a:cubicBezTo>
                <a:lnTo>
                  <a:pt x="17300" y="2838"/>
                </a:lnTo>
                <a:cubicBezTo>
                  <a:pt x="17297" y="2836"/>
                  <a:pt x="17291" y="2833"/>
                  <a:pt x="17286" y="2832"/>
                </a:cubicBezTo>
                <a:cubicBezTo>
                  <a:pt x="17280" y="2792"/>
                  <a:pt x="17265" y="2761"/>
                  <a:pt x="17243" y="2761"/>
                </a:cubicBezTo>
                <a:cubicBezTo>
                  <a:pt x="17228" y="2761"/>
                  <a:pt x="17215" y="2778"/>
                  <a:pt x="17206" y="2801"/>
                </a:cubicBezTo>
                <a:cubicBezTo>
                  <a:pt x="17168" y="2788"/>
                  <a:pt x="17118" y="2770"/>
                  <a:pt x="17068" y="2750"/>
                </a:cubicBezTo>
                <a:cubicBezTo>
                  <a:pt x="17068" y="2749"/>
                  <a:pt x="17069" y="2749"/>
                  <a:pt x="17069" y="2748"/>
                </a:cubicBezTo>
                <a:cubicBezTo>
                  <a:pt x="17069" y="2693"/>
                  <a:pt x="17047" y="2649"/>
                  <a:pt x="17020" y="2649"/>
                </a:cubicBezTo>
                <a:cubicBezTo>
                  <a:pt x="17001" y="2649"/>
                  <a:pt x="16988" y="2673"/>
                  <a:pt x="16979" y="2705"/>
                </a:cubicBezTo>
                <a:cubicBezTo>
                  <a:pt x="16946" y="2687"/>
                  <a:pt x="16909" y="2671"/>
                  <a:pt x="16884" y="2651"/>
                </a:cubicBezTo>
                <a:cubicBezTo>
                  <a:pt x="16888" y="2652"/>
                  <a:pt x="16892" y="2652"/>
                  <a:pt x="16896" y="2652"/>
                </a:cubicBezTo>
                <a:cubicBezTo>
                  <a:pt x="16904" y="2652"/>
                  <a:pt x="16912" y="2649"/>
                  <a:pt x="16919" y="2645"/>
                </a:cubicBezTo>
                <a:cubicBezTo>
                  <a:pt x="16922" y="2649"/>
                  <a:pt x="16925" y="2652"/>
                  <a:pt x="16928" y="2652"/>
                </a:cubicBezTo>
                <a:cubicBezTo>
                  <a:pt x="16931" y="2652"/>
                  <a:pt x="16935" y="2649"/>
                  <a:pt x="16938" y="2644"/>
                </a:cubicBezTo>
                <a:lnTo>
                  <a:pt x="16954" y="2615"/>
                </a:lnTo>
                <a:cubicBezTo>
                  <a:pt x="16959" y="2607"/>
                  <a:pt x="16960" y="2594"/>
                  <a:pt x="16959" y="2583"/>
                </a:cubicBezTo>
                <a:cubicBezTo>
                  <a:pt x="16959" y="2579"/>
                  <a:pt x="16960" y="2575"/>
                  <a:pt x="16960" y="2571"/>
                </a:cubicBezTo>
                <a:cubicBezTo>
                  <a:pt x="16960" y="2477"/>
                  <a:pt x="16911" y="2477"/>
                  <a:pt x="16896" y="2477"/>
                </a:cubicBezTo>
                <a:cubicBezTo>
                  <a:pt x="16893" y="2477"/>
                  <a:pt x="16890" y="2478"/>
                  <a:pt x="16886" y="2478"/>
                </a:cubicBezTo>
                <a:cubicBezTo>
                  <a:pt x="16905" y="2457"/>
                  <a:pt x="16917" y="2434"/>
                  <a:pt x="16932" y="2411"/>
                </a:cubicBezTo>
                <a:cubicBezTo>
                  <a:pt x="16945" y="2409"/>
                  <a:pt x="16953" y="2393"/>
                  <a:pt x="16959" y="2371"/>
                </a:cubicBezTo>
                <a:cubicBezTo>
                  <a:pt x="16985" y="2322"/>
                  <a:pt x="17003" y="2271"/>
                  <a:pt x="17000" y="2218"/>
                </a:cubicBezTo>
                <a:cubicBezTo>
                  <a:pt x="16994" y="2116"/>
                  <a:pt x="16925" y="2036"/>
                  <a:pt x="16782" y="1968"/>
                </a:cubicBezTo>
                <a:cubicBezTo>
                  <a:pt x="16781" y="1967"/>
                  <a:pt x="16780" y="1967"/>
                  <a:pt x="16779" y="1967"/>
                </a:cubicBezTo>
                <a:lnTo>
                  <a:pt x="16747" y="1967"/>
                </a:lnTo>
                <a:lnTo>
                  <a:pt x="16567" y="1967"/>
                </a:lnTo>
                <a:cubicBezTo>
                  <a:pt x="16556" y="1915"/>
                  <a:pt x="16541" y="1875"/>
                  <a:pt x="16524" y="1840"/>
                </a:cubicBezTo>
                <a:cubicBezTo>
                  <a:pt x="16520" y="1822"/>
                  <a:pt x="16514" y="1810"/>
                  <a:pt x="16504" y="1802"/>
                </a:cubicBezTo>
                <a:cubicBezTo>
                  <a:pt x="16475" y="1759"/>
                  <a:pt x="16439" y="1734"/>
                  <a:pt x="16397" y="1734"/>
                </a:cubicBezTo>
                <a:close/>
                <a:moveTo>
                  <a:pt x="11120" y="1742"/>
                </a:moveTo>
                <a:lnTo>
                  <a:pt x="11209" y="1752"/>
                </a:lnTo>
                <a:cubicBezTo>
                  <a:pt x="11208" y="1760"/>
                  <a:pt x="11206" y="1768"/>
                  <a:pt x="11205" y="1776"/>
                </a:cubicBezTo>
                <a:cubicBezTo>
                  <a:pt x="11204" y="1777"/>
                  <a:pt x="11201" y="1779"/>
                  <a:pt x="11198" y="1780"/>
                </a:cubicBezTo>
                <a:cubicBezTo>
                  <a:pt x="11192" y="1783"/>
                  <a:pt x="11184" y="1787"/>
                  <a:pt x="11177" y="1798"/>
                </a:cubicBezTo>
                <a:cubicBezTo>
                  <a:pt x="11154" y="1833"/>
                  <a:pt x="11146" y="1889"/>
                  <a:pt x="11138" y="1938"/>
                </a:cubicBezTo>
                <a:cubicBezTo>
                  <a:pt x="11133" y="1967"/>
                  <a:pt x="11128" y="1994"/>
                  <a:pt x="11121" y="2016"/>
                </a:cubicBezTo>
                <a:cubicBezTo>
                  <a:pt x="11109" y="2001"/>
                  <a:pt x="11095" y="1988"/>
                  <a:pt x="11080" y="1974"/>
                </a:cubicBezTo>
                <a:cubicBezTo>
                  <a:pt x="11076" y="1970"/>
                  <a:pt x="11073" y="1967"/>
                  <a:pt x="11069" y="1963"/>
                </a:cubicBezTo>
                <a:cubicBezTo>
                  <a:pt x="11061" y="1930"/>
                  <a:pt x="11048" y="1903"/>
                  <a:pt x="11028" y="1903"/>
                </a:cubicBezTo>
                <a:cubicBezTo>
                  <a:pt x="11025" y="1903"/>
                  <a:pt x="11023" y="1908"/>
                  <a:pt x="11020" y="1910"/>
                </a:cubicBezTo>
                <a:cubicBezTo>
                  <a:pt x="10999" y="1883"/>
                  <a:pt x="10982" y="1853"/>
                  <a:pt x="10977" y="1815"/>
                </a:cubicBezTo>
                <a:cubicBezTo>
                  <a:pt x="10979" y="1815"/>
                  <a:pt x="10981" y="1814"/>
                  <a:pt x="10984" y="1814"/>
                </a:cubicBezTo>
                <a:cubicBezTo>
                  <a:pt x="11009" y="1814"/>
                  <a:pt x="11036" y="1821"/>
                  <a:pt x="11036" y="1821"/>
                </a:cubicBezTo>
                <a:cubicBezTo>
                  <a:pt x="11040" y="1822"/>
                  <a:pt x="11044" y="1820"/>
                  <a:pt x="11048" y="1815"/>
                </a:cubicBezTo>
                <a:cubicBezTo>
                  <a:pt x="11058" y="1798"/>
                  <a:pt x="11069" y="1796"/>
                  <a:pt x="11084" y="1794"/>
                </a:cubicBezTo>
                <a:cubicBezTo>
                  <a:pt x="11092" y="1793"/>
                  <a:pt x="11102" y="1791"/>
                  <a:pt x="11112" y="1786"/>
                </a:cubicBezTo>
                <a:cubicBezTo>
                  <a:pt x="11117" y="1783"/>
                  <a:pt x="11122" y="1774"/>
                  <a:pt x="11123" y="1763"/>
                </a:cubicBezTo>
                <a:cubicBezTo>
                  <a:pt x="11123" y="1755"/>
                  <a:pt x="11122" y="1748"/>
                  <a:pt x="11120" y="1742"/>
                </a:cubicBezTo>
                <a:close/>
                <a:moveTo>
                  <a:pt x="3931" y="1744"/>
                </a:moveTo>
                <a:cubicBezTo>
                  <a:pt x="3935" y="1744"/>
                  <a:pt x="3938" y="1745"/>
                  <a:pt x="3941" y="1746"/>
                </a:cubicBezTo>
                <a:cubicBezTo>
                  <a:pt x="3937" y="1747"/>
                  <a:pt x="3932" y="1747"/>
                  <a:pt x="3928" y="1748"/>
                </a:cubicBezTo>
                <a:cubicBezTo>
                  <a:pt x="3929" y="1746"/>
                  <a:pt x="3930" y="1745"/>
                  <a:pt x="3931" y="1744"/>
                </a:cubicBezTo>
                <a:close/>
                <a:moveTo>
                  <a:pt x="3157" y="1756"/>
                </a:moveTo>
                <a:cubicBezTo>
                  <a:pt x="3165" y="1756"/>
                  <a:pt x="3183" y="1780"/>
                  <a:pt x="3193" y="1793"/>
                </a:cubicBezTo>
                <a:cubicBezTo>
                  <a:pt x="3189" y="1802"/>
                  <a:pt x="3187" y="1806"/>
                  <a:pt x="3183" y="1806"/>
                </a:cubicBezTo>
                <a:cubicBezTo>
                  <a:pt x="3172" y="1806"/>
                  <a:pt x="3158" y="1779"/>
                  <a:pt x="3156" y="1772"/>
                </a:cubicBezTo>
                <a:cubicBezTo>
                  <a:pt x="3156" y="1762"/>
                  <a:pt x="3157" y="1757"/>
                  <a:pt x="3157" y="1756"/>
                </a:cubicBezTo>
                <a:close/>
                <a:moveTo>
                  <a:pt x="6022" y="1770"/>
                </a:moveTo>
                <a:cubicBezTo>
                  <a:pt x="6022" y="1770"/>
                  <a:pt x="6022" y="1771"/>
                  <a:pt x="6022" y="1771"/>
                </a:cubicBezTo>
                <a:cubicBezTo>
                  <a:pt x="6017" y="1793"/>
                  <a:pt x="6014" y="1794"/>
                  <a:pt x="6014" y="1794"/>
                </a:cubicBezTo>
                <a:lnTo>
                  <a:pt x="5964" y="1794"/>
                </a:lnTo>
                <a:cubicBezTo>
                  <a:pt x="5964" y="1794"/>
                  <a:pt x="6022" y="1770"/>
                  <a:pt x="6022" y="1770"/>
                </a:cubicBezTo>
                <a:close/>
                <a:moveTo>
                  <a:pt x="11511" y="1789"/>
                </a:moveTo>
                <a:lnTo>
                  <a:pt x="11519" y="1791"/>
                </a:lnTo>
                <a:cubicBezTo>
                  <a:pt x="11515" y="1795"/>
                  <a:pt x="11512" y="1798"/>
                  <a:pt x="11509" y="1802"/>
                </a:cubicBezTo>
                <a:cubicBezTo>
                  <a:pt x="11509" y="1798"/>
                  <a:pt x="11511" y="1794"/>
                  <a:pt x="11511" y="1789"/>
                </a:cubicBezTo>
                <a:close/>
                <a:moveTo>
                  <a:pt x="16397" y="1793"/>
                </a:moveTo>
                <a:cubicBezTo>
                  <a:pt x="16422" y="1793"/>
                  <a:pt x="16443" y="1803"/>
                  <a:pt x="16460" y="1819"/>
                </a:cubicBezTo>
                <a:cubicBezTo>
                  <a:pt x="16454" y="1833"/>
                  <a:pt x="16450" y="1852"/>
                  <a:pt x="16450" y="1872"/>
                </a:cubicBezTo>
                <a:cubicBezTo>
                  <a:pt x="16450" y="1917"/>
                  <a:pt x="16468" y="1954"/>
                  <a:pt x="16490" y="1954"/>
                </a:cubicBezTo>
                <a:cubicBezTo>
                  <a:pt x="16503" y="1954"/>
                  <a:pt x="16513" y="1941"/>
                  <a:pt x="16521" y="1922"/>
                </a:cubicBezTo>
                <a:cubicBezTo>
                  <a:pt x="16530" y="1950"/>
                  <a:pt x="16537" y="1979"/>
                  <a:pt x="16542" y="2006"/>
                </a:cubicBezTo>
                <a:cubicBezTo>
                  <a:pt x="16544" y="2018"/>
                  <a:pt x="16550" y="2026"/>
                  <a:pt x="16556" y="2026"/>
                </a:cubicBezTo>
                <a:lnTo>
                  <a:pt x="16656" y="2026"/>
                </a:lnTo>
                <a:cubicBezTo>
                  <a:pt x="16644" y="2038"/>
                  <a:pt x="16636" y="2057"/>
                  <a:pt x="16636" y="2083"/>
                </a:cubicBezTo>
                <a:cubicBezTo>
                  <a:pt x="16636" y="2088"/>
                  <a:pt x="16638" y="2091"/>
                  <a:pt x="16638" y="2095"/>
                </a:cubicBezTo>
                <a:lnTo>
                  <a:pt x="16535" y="2223"/>
                </a:lnTo>
                <a:cubicBezTo>
                  <a:pt x="16528" y="2210"/>
                  <a:pt x="16518" y="2201"/>
                  <a:pt x="16508" y="2201"/>
                </a:cubicBezTo>
                <a:cubicBezTo>
                  <a:pt x="16486" y="2201"/>
                  <a:pt x="16468" y="2237"/>
                  <a:pt x="16468" y="2280"/>
                </a:cubicBezTo>
                <a:cubicBezTo>
                  <a:pt x="16468" y="2288"/>
                  <a:pt x="16471" y="2293"/>
                  <a:pt x="16472" y="2300"/>
                </a:cubicBezTo>
                <a:lnTo>
                  <a:pt x="16226" y="2604"/>
                </a:lnTo>
                <a:lnTo>
                  <a:pt x="16129" y="2523"/>
                </a:lnTo>
                <a:cubicBezTo>
                  <a:pt x="16136" y="2508"/>
                  <a:pt x="16140" y="2490"/>
                  <a:pt x="16140" y="2469"/>
                </a:cubicBezTo>
                <a:cubicBezTo>
                  <a:pt x="16140" y="2424"/>
                  <a:pt x="16122" y="2388"/>
                  <a:pt x="16100" y="2388"/>
                </a:cubicBezTo>
                <a:cubicBezTo>
                  <a:pt x="16078" y="2388"/>
                  <a:pt x="16061" y="2422"/>
                  <a:pt x="16060" y="2464"/>
                </a:cubicBezTo>
                <a:lnTo>
                  <a:pt x="15736" y="2194"/>
                </a:lnTo>
                <a:cubicBezTo>
                  <a:pt x="15754" y="2187"/>
                  <a:pt x="15770" y="2181"/>
                  <a:pt x="15786" y="2175"/>
                </a:cubicBezTo>
                <a:cubicBezTo>
                  <a:pt x="15791" y="2189"/>
                  <a:pt x="15798" y="2199"/>
                  <a:pt x="15807" y="2199"/>
                </a:cubicBezTo>
                <a:cubicBezTo>
                  <a:pt x="15819" y="2199"/>
                  <a:pt x="15828" y="2180"/>
                  <a:pt x="15832" y="2158"/>
                </a:cubicBezTo>
                <a:cubicBezTo>
                  <a:pt x="15848" y="2152"/>
                  <a:pt x="15865" y="2147"/>
                  <a:pt x="15877" y="2142"/>
                </a:cubicBezTo>
                <a:cubicBezTo>
                  <a:pt x="15878" y="2155"/>
                  <a:pt x="15880" y="2167"/>
                  <a:pt x="15885" y="2178"/>
                </a:cubicBezTo>
                <a:cubicBezTo>
                  <a:pt x="15894" y="2203"/>
                  <a:pt x="15912" y="2215"/>
                  <a:pt x="15937" y="2215"/>
                </a:cubicBezTo>
                <a:cubicBezTo>
                  <a:pt x="16016" y="2215"/>
                  <a:pt x="16162" y="2090"/>
                  <a:pt x="16194" y="2041"/>
                </a:cubicBezTo>
                <a:cubicBezTo>
                  <a:pt x="16199" y="2034"/>
                  <a:pt x="16204" y="2024"/>
                  <a:pt x="16208" y="2016"/>
                </a:cubicBezTo>
                <a:cubicBezTo>
                  <a:pt x="16209" y="2036"/>
                  <a:pt x="16216" y="2053"/>
                  <a:pt x="16226" y="2053"/>
                </a:cubicBezTo>
                <a:cubicBezTo>
                  <a:pt x="16237" y="2053"/>
                  <a:pt x="16246" y="2035"/>
                  <a:pt x="16246" y="2014"/>
                </a:cubicBezTo>
                <a:cubicBezTo>
                  <a:pt x="16246" y="1995"/>
                  <a:pt x="16238" y="1980"/>
                  <a:pt x="16228" y="1978"/>
                </a:cubicBezTo>
                <a:cubicBezTo>
                  <a:pt x="16232" y="1972"/>
                  <a:pt x="16235" y="1967"/>
                  <a:pt x="16239" y="1960"/>
                </a:cubicBezTo>
                <a:cubicBezTo>
                  <a:pt x="16256" y="1924"/>
                  <a:pt x="16275" y="1890"/>
                  <a:pt x="16296" y="1861"/>
                </a:cubicBezTo>
                <a:cubicBezTo>
                  <a:pt x="16298" y="1861"/>
                  <a:pt x="16299" y="1864"/>
                  <a:pt x="16300" y="1864"/>
                </a:cubicBezTo>
                <a:cubicBezTo>
                  <a:pt x="16309" y="1864"/>
                  <a:pt x="16315" y="1851"/>
                  <a:pt x="16317" y="1835"/>
                </a:cubicBezTo>
                <a:cubicBezTo>
                  <a:pt x="16340" y="1811"/>
                  <a:pt x="16365" y="1793"/>
                  <a:pt x="16397" y="1793"/>
                </a:cubicBezTo>
                <a:close/>
                <a:moveTo>
                  <a:pt x="3721" y="1800"/>
                </a:moveTo>
                <a:cubicBezTo>
                  <a:pt x="3733" y="1809"/>
                  <a:pt x="3741" y="1826"/>
                  <a:pt x="3751" y="1845"/>
                </a:cubicBezTo>
                <a:cubicBezTo>
                  <a:pt x="3757" y="1858"/>
                  <a:pt x="3764" y="1871"/>
                  <a:pt x="3772" y="1883"/>
                </a:cubicBezTo>
                <a:lnTo>
                  <a:pt x="3756" y="1883"/>
                </a:lnTo>
                <a:cubicBezTo>
                  <a:pt x="3742" y="1860"/>
                  <a:pt x="3729" y="1827"/>
                  <a:pt x="3721" y="1800"/>
                </a:cubicBezTo>
                <a:close/>
                <a:moveTo>
                  <a:pt x="6045" y="1812"/>
                </a:moveTo>
                <a:lnTo>
                  <a:pt x="6100" y="1812"/>
                </a:lnTo>
                <a:cubicBezTo>
                  <a:pt x="6098" y="1826"/>
                  <a:pt x="6096" y="1834"/>
                  <a:pt x="6088" y="1845"/>
                </a:cubicBezTo>
                <a:lnTo>
                  <a:pt x="6030" y="1845"/>
                </a:lnTo>
                <a:cubicBezTo>
                  <a:pt x="6037" y="1837"/>
                  <a:pt x="6042" y="1823"/>
                  <a:pt x="6045" y="1812"/>
                </a:cubicBezTo>
                <a:close/>
                <a:moveTo>
                  <a:pt x="4430" y="1813"/>
                </a:moveTo>
                <a:cubicBezTo>
                  <a:pt x="4436" y="1813"/>
                  <a:pt x="4438" y="1814"/>
                  <a:pt x="4438" y="1814"/>
                </a:cubicBezTo>
                <a:cubicBezTo>
                  <a:pt x="4439" y="1815"/>
                  <a:pt x="4441" y="1816"/>
                  <a:pt x="4442" y="1816"/>
                </a:cubicBezTo>
                <a:lnTo>
                  <a:pt x="4442" y="1838"/>
                </a:lnTo>
                <a:cubicBezTo>
                  <a:pt x="4442" y="1841"/>
                  <a:pt x="4437" y="1851"/>
                  <a:pt x="4425" y="1851"/>
                </a:cubicBezTo>
                <a:cubicBezTo>
                  <a:pt x="4420" y="1851"/>
                  <a:pt x="4386" y="1839"/>
                  <a:pt x="4348" y="1824"/>
                </a:cubicBezTo>
                <a:cubicBezTo>
                  <a:pt x="4370" y="1817"/>
                  <a:pt x="4399" y="1813"/>
                  <a:pt x="4430" y="1813"/>
                </a:cubicBezTo>
                <a:close/>
                <a:moveTo>
                  <a:pt x="15882" y="1845"/>
                </a:moveTo>
                <a:cubicBezTo>
                  <a:pt x="15879" y="1845"/>
                  <a:pt x="15876" y="1847"/>
                  <a:pt x="15873" y="1851"/>
                </a:cubicBezTo>
                <a:lnTo>
                  <a:pt x="15869" y="1857"/>
                </a:lnTo>
                <a:cubicBezTo>
                  <a:pt x="15862" y="1868"/>
                  <a:pt x="15853" y="1881"/>
                  <a:pt x="15844" y="1891"/>
                </a:cubicBezTo>
                <a:cubicBezTo>
                  <a:pt x="15838" y="1897"/>
                  <a:pt x="15834" y="1910"/>
                  <a:pt x="15836" y="1924"/>
                </a:cubicBezTo>
                <a:cubicBezTo>
                  <a:pt x="15839" y="1957"/>
                  <a:pt x="15853" y="1990"/>
                  <a:pt x="15872" y="1990"/>
                </a:cubicBezTo>
                <a:cubicBezTo>
                  <a:pt x="15905" y="1990"/>
                  <a:pt x="15923" y="1954"/>
                  <a:pt x="15929" y="1879"/>
                </a:cubicBezTo>
                <a:cubicBezTo>
                  <a:pt x="15929" y="1871"/>
                  <a:pt x="15928" y="1861"/>
                  <a:pt x="15925" y="1855"/>
                </a:cubicBezTo>
                <a:cubicBezTo>
                  <a:pt x="15922" y="1848"/>
                  <a:pt x="15919" y="1845"/>
                  <a:pt x="15914" y="1845"/>
                </a:cubicBezTo>
                <a:cubicBezTo>
                  <a:pt x="15914" y="1845"/>
                  <a:pt x="15882" y="1845"/>
                  <a:pt x="15882" y="1845"/>
                </a:cubicBezTo>
                <a:close/>
                <a:moveTo>
                  <a:pt x="3660" y="1865"/>
                </a:moveTo>
                <a:cubicBezTo>
                  <a:pt x="3632" y="1865"/>
                  <a:pt x="3610" y="1910"/>
                  <a:pt x="3610" y="1964"/>
                </a:cubicBezTo>
                <a:cubicBezTo>
                  <a:pt x="3610" y="2019"/>
                  <a:pt x="3632" y="2062"/>
                  <a:pt x="3660" y="2062"/>
                </a:cubicBezTo>
                <a:cubicBezTo>
                  <a:pt x="3687" y="2062"/>
                  <a:pt x="3709" y="2019"/>
                  <a:pt x="3709" y="1964"/>
                </a:cubicBezTo>
                <a:cubicBezTo>
                  <a:pt x="3709" y="1910"/>
                  <a:pt x="3687" y="1865"/>
                  <a:pt x="3660" y="1865"/>
                </a:cubicBezTo>
                <a:close/>
                <a:moveTo>
                  <a:pt x="4534" y="1865"/>
                </a:moveTo>
                <a:cubicBezTo>
                  <a:pt x="4507" y="1865"/>
                  <a:pt x="4485" y="1910"/>
                  <a:pt x="4485" y="1964"/>
                </a:cubicBezTo>
                <a:cubicBezTo>
                  <a:pt x="4485" y="2015"/>
                  <a:pt x="4505" y="2054"/>
                  <a:pt x="4530" y="2059"/>
                </a:cubicBezTo>
                <a:cubicBezTo>
                  <a:pt x="4525" y="2065"/>
                  <a:pt x="4518" y="2068"/>
                  <a:pt x="4506" y="2068"/>
                </a:cubicBezTo>
                <a:cubicBezTo>
                  <a:pt x="4477" y="2068"/>
                  <a:pt x="4458" y="2040"/>
                  <a:pt x="4437" y="2007"/>
                </a:cubicBezTo>
                <a:cubicBezTo>
                  <a:pt x="4409" y="1966"/>
                  <a:pt x="4378" y="1920"/>
                  <a:pt x="4321" y="1920"/>
                </a:cubicBezTo>
                <a:cubicBezTo>
                  <a:pt x="4296" y="1920"/>
                  <a:pt x="4243" y="1920"/>
                  <a:pt x="4243" y="2013"/>
                </a:cubicBezTo>
                <a:cubicBezTo>
                  <a:pt x="4243" y="2086"/>
                  <a:pt x="4391" y="2192"/>
                  <a:pt x="4410" y="2192"/>
                </a:cubicBezTo>
                <a:cubicBezTo>
                  <a:pt x="4428" y="2192"/>
                  <a:pt x="4441" y="2178"/>
                  <a:pt x="4452" y="2161"/>
                </a:cubicBezTo>
                <a:cubicBezTo>
                  <a:pt x="4463" y="2188"/>
                  <a:pt x="4472" y="2214"/>
                  <a:pt x="4481" y="2242"/>
                </a:cubicBezTo>
                <a:cubicBezTo>
                  <a:pt x="4491" y="2271"/>
                  <a:pt x="4502" y="2301"/>
                  <a:pt x="4516" y="2333"/>
                </a:cubicBezTo>
                <a:cubicBezTo>
                  <a:pt x="4508" y="2348"/>
                  <a:pt x="4497" y="2373"/>
                  <a:pt x="4497" y="2404"/>
                </a:cubicBezTo>
                <a:cubicBezTo>
                  <a:pt x="4497" y="2512"/>
                  <a:pt x="4614" y="2625"/>
                  <a:pt x="4665" y="2625"/>
                </a:cubicBezTo>
                <a:cubicBezTo>
                  <a:pt x="4688" y="2625"/>
                  <a:pt x="4717" y="2580"/>
                  <a:pt x="4731" y="2553"/>
                </a:cubicBezTo>
                <a:lnTo>
                  <a:pt x="4736" y="2553"/>
                </a:lnTo>
                <a:cubicBezTo>
                  <a:pt x="4738" y="2563"/>
                  <a:pt x="4740" y="2573"/>
                  <a:pt x="4744" y="2581"/>
                </a:cubicBezTo>
                <a:cubicBezTo>
                  <a:pt x="4748" y="2590"/>
                  <a:pt x="4755" y="2593"/>
                  <a:pt x="4760" y="2599"/>
                </a:cubicBezTo>
                <a:cubicBezTo>
                  <a:pt x="4751" y="2623"/>
                  <a:pt x="4745" y="2652"/>
                  <a:pt x="4745" y="2685"/>
                </a:cubicBezTo>
                <a:cubicBezTo>
                  <a:pt x="4745" y="2736"/>
                  <a:pt x="4759" y="2780"/>
                  <a:pt x="4779" y="2806"/>
                </a:cubicBezTo>
                <a:cubicBezTo>
                  <a:pt x="4760" y="2830"/>
                  <a:pt x="4741" y="2858"/>
                  <a:pt x="4723" y="2895"/>
                </a:cubicBezTo>
                <a:cubicBezTo>
                  <a:pt x="4715" y="2910"/>
                  <a:pt x="4715" y="2934"/>
                  <a:pt x="4714" y="2959"/>
                </a:cubicBezTo>
                <a:cubicBezTo>
                  <a:pt x="4714" y="2976"/>
                  <a:pt x="4714" y="3005"/>
                  <a:pt x="4710" y="3011"/>
                </a:cubicBezTo>
                <a:cubicBezTo>
                  <a:pt x="4673" y="3066"/>
                  <a:pt x="4661" y="3102"/>
                  <a:pt x="4661" y="3226"/>
                </a:cubicBezTo>
                <a:cubicBezTo>
                  <a:pt x="4661" y="3262"/>
                  <a:pt x="4678" y="3313"/>
                  <a:pt x="4692" y="3349"/>
                </a:cubicBezTo>
                <a:cubicBezTo>
                  <a:pt x="4694" y="3356"/>
                  <a:pt x="4696" y="3360"/>
                  <a:pt x="4696" y="3360"/>
                </a:cubicBezTo>
                <a:cubicBezTo>
                  <a:pt x="4699" y="3366"/>
                  <a:pt x="4702" y="3371"/>
                  <a:pt x="4706" y="3371"/>
                </a:cubicBezTo>
                <a:cubicBezTo>
                  <a:pt x="4740" y="3377"/>
                  <a:pt x="4775" y="3389"/>
                  <a:pt x="4796" y="3399"/>
                </a:cubicBezTo>
                <a:cubicBezTo>
                  <a:pt x="4800" y="3401"/>
                  <a:pt x="4807" y="3401"/>
                  <a:pt x="4809" y="3403"/>
                </a:cubicBezTo>
                <a:lnTo>
                  <a:pt x="4809" y="3404"/>
                </a:lnTo>
                <a:cubicBezTo>
                  <a:pt x="4805" y="3402"/>
                  <a:pt x="4801" y="3401"/>
                  <a:pt x="4796" y="3399"/>
                </a:cubicBezTo>
                <a:cubicBezTo>
                  <a:pt x="4770" y="3389"/>
                  <a:pt x="4744" y="3382"/>
                  <a:pt x="4724" y="3398"/>
                </a:cubicBezTo>
                <a:cubicBezTo>
                  <a:pt x="4717" y="3403"/>
                  <a:pt x="4714" y="3417"/>
                  <a:pt x="4714" y="3431"/>
                </a:cubicBezTo>
                <a:cubicBezTo>
                  <a:pt x="4717" y="3474"/>
                  <a:pt x="4731" y="3497"/>
                  <a:pt x="4742" y="3516"/>
                </a:cubicBezTo>
                <a:cubicBezTo>
                  <a:pt x="4750" y="3531"/>
                  <a:pt x="4758" y="3543"/>
                  <a:pt x="4762" y="3564"/>
                </a:cubicBezTo>
                <a:cubicBezTo>
                  <a:pt x="4764" y="3576"/>
                  <a:pt x="4769" y="3584"/>
                  <a:pt x="4776" y="3584"/>
                </a:cubicBezTo>
                <a:lnTo>
                  <a:pt x="4870" y="3584"/>
                </a:lnTo>
                <a:cubicBezTo>
                  <a:pt x="4886" y="3618"/>
                  <a:pt x="4919" y="3669"/>
                  <a:pt x="4941" y="3669"/>
                </a:cubicBezTo>
                <a:cubicBezTo>
                  <a:pt x="4951" y="3669"/>
                  <a:pt x="4962" y="3669"/>
                  <a:pt x="4973" y="3669"/>
                </a:cubicBezTo>
                <a:cubicBezTo>
                  <a:pt x="4958" y="3689"/>
                  <a:pt x="4947" y="3720"/>
                  <a:pt x="4947" y="3758"/>
                </a:cubicBezTo>
                <a:cubicBezTo>
                  <a:pt x="4947" y="3801"/>
                  <a:pt x="4960" y="3827"/>
                  <a:pt x="4970" y="3847"/>
                </a:cubicBezTo>
                <a:cubicBezTo>
                  <a:pt x="4974" y="3856"/>
                  <a:pt x="4979" y="3867"/>
                  <a:pt x="4980" y="3870"/>
                </a:cubicBezTo>
                <a:cubicBezTo>
                  <a:pt x="4978" y="3876"/>
                  <a:pt x="4967" y="3884"/>
                  <a:pt x="4961" y="3889"/>
                </a:cubicBezTo>
                <a:cubicBezTo>
                  <a:pt x="4946" y="3901"/>
                  <a:pt x="4929" y="3914"/>
                  <a:pt x="4921" y="3945"/>
                </a:cubicBezTo>
                <a:cubicBezTo>
                  <a:pt x="4914" y="3975"/>
                  <a:pt x="4911" y="4002"/>
                  <a:pt x="4908" y="4028"/>
                </a:cubicBezTo>
                <a:cubicBezTo>
                  <a:pt x="4903" y="4068"/>
                  <a:pt x="4898" y="4103"/>
                  <a:pt x="4881" y="4147"/>
                </a:cubicBezTo>
                <a:cubicBezTo>
                  <a:pt x="4874" y="4165"/>
                  <a:pt x="4867" y="4175"/>
                  <a:pt x="4859" y="4175"/>
                </a:cubicBezTo>
                <a:cubicBezTo>
                  <a:pt x="4829" y="4175"/>
                  <a:pt x="4797" y="4066"/>
                  <a:pt x="4797" y="4043"/>
                </a:cubicBezTo>
                <a:cubicBezTo>
                  <a:pt x="4797" y="4034"/>
                  <a:pt x="4799" y="4031"/>
                  <a:pt x="4808" y="4020"/>
                </a:cubicBezTo>
                <a:cubicBezTo>
                  <a:pt x="4818" y="4006"/>
                  <a:pt x="4833" y="3986"/>
                  <a:pt x="4833" y="3937"/>
                </a:cubicBezTo>
                <a:cubicBezTo>
                  <a:pt x="4833" y="3890"/>
                  <a:pt x="4764" y="3757"/>
                  <a:pt x="4740" y="3757"/>
                </a:cubicBezTo>
                <a:cubicBezTo>
                  <a:pt x="4697" y="3757"/>
                  <a:pt x="4689" y="3826"/>
                  <a:pt x="4684" y="3870"/>
                </a:cubicBezTo>
                <a:cubicBezTo>
                  <a:pt x="4680" y="3906"/>
                  <a:pt x="4677" y="3926"/>
                  <a:pt x="4669" y="3934"/>
                </a:cubicBezTo>
                <a:cubicBezTo>
                  <a:pt x="4667" y="3881"/>
                  <a:pt x="4660" y="3834"/>
                  <a:pt x="4628" y="3795"/>
                </a:cubicBezTo>
                <a:cubicBezTo>
                  <a:pt x="4630" y="3789"/>
                  <a:pt x="4633" y="3783"/>
                  <a:pt x="4637" y="3777"/>
                </a:cubicBezTo>
                <a:cubicBezTo>
                  <a:pt x="4640" y="3771"/>
                  <a:pt x="4643" y="3762"/>
                  <a:pt x="4642" y="3753"/>
                </a:cubicBezTo>
                <a:cubicBezTo>
                  <a:pt x="4642" y="3743"/>
                  <a:pt x="4640" y="3733"/>
                  <a:pt x="4635" y="3728"/>
                </a:cubicBezTo>
                <a:cubicBezTo>
                  <a:pt x="4626" y="3717"/>
                  <a:pt x="4617" y="3711"/>
                  <a:pt x="4607" y="3707"/>
                </a:cubicBezTo>
                <a:cubicBezTo>
                  <a:pt x="4615" y="3690"/>
                  <a:pt x="4620" y="3668"/>
                  <a:pt x="4620" y="3643"/>
                </a:cubicBezTo>
                <a:cubicBezTo>
                  <a:pt x="4620" y="3598"/>
                  <a:pt x="4604" y="3567"/>
                  <a:pt x="4584" y="3554"/>
                </a:cubicBezTo>
                <a:cubicBezTo>
                  <a:pt x="4576" y="3519"/>
                  <a:pt x="4561" y="3498"/>
                  <a:pt x="4546" y="3482"/>
                </a:cubicBezTo>
                <a:cubicBezTo>
                  <a:pt x="4533" y="3468"/>
                  <a:pt x="4526" y="3458"/>
                  <a:pt x="4526" y="3446"/>
                </a:cubicBezTo>
                <a:cubicBezTo>
                  <a:pt x="4524" y="3321"/>
                  <a:pt x="4486" y="3236"/>
                  <a:pt x="4424" y="3207"/>
                </a:cubicBezTo>
                <a:cubicBezTo>
                  <a:pt x="4424" y="3206"/>
                  <a:pt x="4425" y="3206"/>
                  <a:pt x="4425" y="3205"/>
                </a:cubicBezTo>
                <a:cubicBezTo>
                  <a:pt x="4431" y="3194"/>
                  <a:pt x="4436" y="3186"/>
                  <a:pt x="4440" y="3178"/>
                </a:cubicBezTo>
                <a:cubicBezTo>
                  <a:pt x="4458" y="3146"/>
                  <a:pt x="4473" y="3119"/>
                  <a:pt x="4479" y="3049"/>
                </a:cubicBezTo>
                <a:cubicBezTo>
                  <a:pt x="4479" y="3046"/>
                  <a:pt x="4479" y="3044"/>
                  <a:pt x="4479" y="3042"/>
                </a:cubicBezTo>
                <a:cubicBezTo>
                  <a:pt x="4484" y="3043"/>
                  <a:pt x="4490" y="3044"/>
                  <a:pt x="4496" y="3044"/>
                </a:cubicBezTo>
                <a:cubicBezTo>
                  <a:pt x="4564" y="3044"/>
                  <a:pt x="4597" y="2950"/>
                  <a:pt x="4624" y="2875"/>
                </a:cubicBezTo>
                <a:lnTo>
                  <a:pt x="4627" y="2865"/>
                </a:lnTo>
                <a:cubicBezTo>
                  <a:pt x="4632" y="2858"/>
                  <a:pt x="4646" y="2838"/>
                  <a:pt x="4655" y="2822"/>
                </a:cubicBezTo>
                <a:cubicBezTo>
                  <a:pt x="4664" y="2807"/>
                  <a:pt x="4670" y="2797"/>
                  <a:pt x="4670" y="2780"/>
                </a:cubicBezTo>
                <a:cubicBezTo>
                  <a:pt x="4670" y="2772"/>
                  <a:pt x="4669" y="2764"/>
                  <a:pt x="4669" y="2757"/>
                </a:cubicBezTo>
                <a:cubicBezTo>
                  <a:pt x="4669" y="2747"/>
                  <a:pt x="4669" y="2741"/>
                  <a:pt x="4670" y="2731"/>
                </a:cubicBezTo>
                <a:cubicBezTo>
                  <a:pt x="4671" y="2723"/>
                  <a:pt x="4669" y="2713"/>
                  <a:pt x="4666" y="2706"/>
                </a:cubicBezTo>
                <a:cubicBezTo>
                  <a:pt x="4663" y="2699"/>
                  <a:pt x="4659" y="2695"/>
                  <a:pt x="4655" y="2695"/>
                </a:cubicBezTo>
                <a:cubicBezTo>
                  <a:pt x="4617" y="2695"/>
                  <a:pt x="4583" y="2682"/>
                  <a:pt x="4551" y="2670"/>
                </a:cubicBezTo>
                <a:cubicBezTo>
                  <a:pt x="4518" y="2657"/>
                  <a:pt x="4484" y="2644"/>
                  <a:pt x="4447" y="2644"/>
                </a:cubicBezTo>
                <a:cubicBezTo>
                  <a:pt x="4429" y="2644"/>
                  <a:pt x="4417" y="2653"/>
                  <a:pt x="4406" y="2665"/>
                </a:cubicBezTo>
                <a:cubicBezTo>
                  <a:pt x="4398" y="2635"/>
                  <a:pt x="4385" y="2611"/>
                  <a:pt x="4367" y="2611"/>
                </a:cubicBezTo>
                <a:cubicBezTo>
                  <a:pt x="4340" y="2611"/>
                  <a:pt x="4317" y="2656"/>
                  <a:pt x="4317" y="2710"/>
                </a:cubicBezTo>
                <a:cubicBezTo>
                  <a:pt x="4317" y="2734"/>
                  <a:pt x="4323" y="2755"/>
                  <a:pt x="4330" y="2772"/>
                </a:cubicBezTo>
                <a:cubicBezTo>
                  <a:pt x="4329" y="2776"/>
                  <a:pt x="4326" y="2776"/>
                  <a:pt x="4326" y="2780"/>
                </a:cubicBezTo>
                <a:lnTo>
                  <a:pt x="4326" y="2853"/>
                </a:lnTo>
                <a:cubicBezTo>
                  <a:pt x="4326" y="2856"/>
                  <a:pt x="4327" y="2859"/>
                  <a:pt x="4327" y="2862"/>
                </a:cubicBezTo>
                <a:cubicBezTo>
                  <a:pt x="4332" y="2890"/>
                  <a:pt x="4333" y="2914"/>
                  <a:pt x="4334" y="2938"/>
                </a:cubicBezTo>
                <a:lnTo>
                  <a:pt x="4335" y="2942"/>
                </a:lnTo>
                <a:cubicBezTo>
                  <a:pt x="4337" y="2987"/>
                  <a:pt x="4341" y="3025"/>
                  <a:pt x="4359" y="3067"/>
                </a:cubicBezTo>
                <a:cubicBezTo>
                  <a:pt x="4358" y="3094"/>
                  <a:pt x="4358" y="3136"/>
                  <a:pt x="4358" y="3184"/>
                </a:cubicBezTo>
                <a:cubicBezTo>
                  <a:pt x="4358" y="3190"/>
                  <a:pt x="4359" y="3195"/>
                  <a:pt x="4361" y="3200"/>
                </a:cubicBezTo>
                <a:cubicBezTo>
                  <a:pt x="4354" y="3204"/>
                  <a:pt x="4347" y="3211"/>
                  <a:pt x="4344" y="3221"/>
                </a:cubicBezTo>
                <a:cubicBezTo>
                  <a:pt x="4335" y="3244"/>
                  <a:pt x="4337" y="3272"/>
                  <a:pt x="4340" y="3296"/>
                </a:cubicBezTo>
                <a:cubicBezTo>
                  <a:pt x="4339" y="3296"/>
                  <a:pt x="4338" y="3297"/>
                  <a:pt x="4337" y="3297"/>
                </a:cubicBezTo>
                <a:cubicBezTo>
                  <a:pt x="4317" y="3302"/>
                  <a:pt x="4284" y="3310"/>
                  <a:pt x="4284" y="3384"/>
                </a:cubicBezTo>
                <a:cubicBezTo>
                  <a:pt x="4284" y="3413"/>
                  <a:pt x="4290" y="3434"/>
                  <a:pt x="4294" y="3451"/>
                </a:cubicBezTo>
                <a:cubicBezTo>
                  <a:pt x="4298" y="3465"/>
                  <a:pt x="4300" y="3477"/>
                  <a:pt x="4300" y="3490"/>
                </a:cubicBezTo>
                <a:cubicBezTo>
                  <a:pt x="4300" y="3495"/>
                  <a:pt x="4300" y="3496"/>
                  <a:pt x="4294" y="3507"/>
                </a:cubicBezTo>
                <a:cubicBezTo>
                  <a:pt x="4286" y="3521"/>
                  <a:pt x="4273" y="3542"/>
                  <a:pt x="4273" y="3588"/>
                </a:cubicBezTo>
                <a:cubicBezTo>
                  <a:pt x="4273" y="3683"/>
                  <a:pt x="4319" y="3701"/>
                  <a:pt x="4356" y="3715"/>
                </a:cubicBezTo>
                <a:cubicBezTo>
                  <a:pt x="4398" y="3732"/>
                  <a:pt x="4417" y="3744"/>
                  <a:pt x="4417" y="3788"/>
                </a:cubicBezTo>
                <a:cubicBezTo>
                  <a:pt x="4417" y="3789"/>
                  <a:pt x="4417" y="3798"/>
                  <a:pt x="4412" y="3837"/>
                </a:cubicBezTo>
                <a:cubicBezTo>
                  <a:pt x="4407" y="3870"/>
                  <a:pt x="4401" y="3905"/>
                  <a:pt x="4401" y="3905"/>
                </a:cubicBezTo>
                <a:cubicBezTo>
                  <a:pt x="4399" y="3917"/>
                  <a:pt x="4401" y="3930"/>
                  <a:pt x="4406" y="3938"/>
                </a:cubicBezTo>
                <a:cubicBezTo>
                  <a:pt x="4410" y="3946"/>
                  <a:pt x="4417" y="3948"/>
                  <a:pt x="4423" y="3941"/>
                </a:cubicBezTo>
                <a:cubicBezTo>
                  <a:pt x="4430" y="3933"/>
                  <a:pt x="4437" y="3926"/>
                  <a:pt x="4445" y="3919"/>
                </a:cubicBezTo>
                <a:cubicBezTo>
                  <a:pt x="4446" y="3918"/>
                  <a:pt x="4448" y="3917"/>
                  <a:pt x="4449" y="3916"/>
                </a:cubicBezTo>
                <a:cubicBezTo>
                  <a:pt x="4448" y="3946"/>
                  <a:pt x="4435" y="3958"/>
                  <a:pt x="4409" y="3980"/>
                </a:cubicBezTo>
                <a:cubicBezTo>
                  <a:pt x="4404" y="3985"/>
                  <a:pt x="4398" y="3990"/>
                  <a:pt x="4392" y="3995"/>
                </a:cubicBezTo>
                <a:cubicBezTo>
                  <a:pt x="4371" y="4016"/>
                  <a:pt x="4347" y="4049"/>
                  <a:pt x="4338" y="4112"/>
                </a:cubicBezTo>
                <a:cubicBezTo>
                  <a:pt x="4337" y="4101"/>
                  <a:pt x="4334" y="4092"/>
                  <a:pt x="4332" y="4083"/>
                </a:cubicBezTo>
                <a:cubicBezTo>
                  <a:pt x="4332" y="4079"/>
                  <a:pt x="4333" y="4075"/>
                  <a:pt x="4333" y="4071"/>
                </a:cubicBezTo>
                <a:cubicBezTo>
                  <a:pt x="4333" y="4070"/>
                  <a:pt x="4333" y="4070"/>
                  <a:pt x="4333" y="4070"/>
                </a:cubicBezTo>
                <a:cubicBezTo>
                  <a:pt x="4333" y="4069"/>
                  <a:pt x="4333" y="4067"/>
                  <a:pt x="4333" y="4066"/>
                </a:cubicBezTo>
                <a:cubicBezTo>
                  <a:pt x="4334" y="4049"/>
                  <a:pt x="4335" y="4024"/>
                  <a:pt x="4328" y="4006"/>
                </a:cubicBezTo>
                <a:cubicBezTo>
                  <a:pt x="4326" y="3997"/>
                  <a:pt x="4321" y="3990"/>
                  <a:pt x="4314" y="3982"/>
                </a:cubicBezTo>
                <a:cubicBezTo>
                  <a:pt x="4326" y="3974"/>
                  <a:pt x="4335" y="3959"/>
                  <a:pt x="4342" y="3944"/>
                </a:cubicBezTo>
                <a:lnTo>
                  <a:pt x="4344" y="3939"/>
                </a:lnTo>
                <a:cubicBezTo>
                  <a:pt x="4349" y="3930"/>
                  <a:pt x="4354" y="3923"/>
                  <a:pt x="4359" y="3916"/>
                </a:cubicBezTo>
                <a:cubicBezTo>
                  <a:pt x="4366" y="3908"/>
                  <a:pt x="4369" y="3892"/>
                  <a:pt x="4366" y="3879"/>
                </a:cubicBezTo>
                <a:cubicBezTo>
                  <a:pt x="4365" y="3876"/>
                  <a:pt x="4364" y="3873"/>
                  <a:pt x="4363" y="3868"/>
                </a:cubicBezTo>
                <a:cubicBezTo>
                  <a:pt x="4359" y="3856"/>
                  <a:pt x="4354" y="3842"/>
                  <a:pt x="4348" y="3826"/>
                </a:cubicBezTo>
                <a:cubicBezTo>
                  <a:pt x="4342" y="3814"/>
                  <a:pt x="4337" y="3800"/>
                  <a:pt x="4330" y="3786"/>
                </a:cubicBezTo>
                <a:cubicBezTo>
                  <a:pt x="4304" y="3733"/>
                  <a:pt x="4251" y="3643"/>
                  <a:pt x="4220" y="3643"/>
                </a:cubicBezTo>
                <a:cubicBezTo>
                  <a:pt x="4213" y="3643"/>
                  <a:pt x="4206" y="3646"/>
                  <a:pt x="4199" y="3652"/>
                </a:cubicBezTo>
                <a:cubicBezTo>
                  <a:pt x="4196" y="3656"/>
                  <a:pt x="4193" y="3659"/>
                  <a:pt x="4191" y="3663"/>
                </a:cubicBezTo>
                <a:cubicBezTo>
                  <a:pt x="4178" y="3683"/>
                  <a:pt x="4172" y="3714"/>
                  <a:pt x="4167" y="3740"/>
                </a:cubicBezTo>
                <a:cubicBezTo>
                  <a:pt x="4164" y="3755"/>
                  <a:pt x="4161" y="3771"/>
                  <a:pt x="4157" y="3778"/>
                </a:cubicBezTo>
                <a:cubicBezTo>
                  <a:pt x="4156" y="3781"/>
                  <a:pt x="4156" y="3780"/>
                  <a:pt x="4156" y="3779"/>
                </a:cubicBezTo>
                <a:cubicBezTo>
                  <a:pt x="4154" y="3779"/>
                  <a:pt x="4152" y="3780"/>
                  <a:pt x="4149" y="3779"/>
                </a:cubicBezTo>
                <a:cubicBezTo>
                  <a:pt x="4147" y="3779"/>
                  <a:pt x="4145" y="3779"/>
                  <a:pt x="4142" y="3778"/>
                </a:cubicBezTo>
                <a:cubicBezTo>
                  <a:pt x="4149" y="3761"/>
                  <a:pt x="4155" y="3741"/>
                  <a:pt x="4155" y="3718"/>
                </a:cubicBezTo>
                <a:cubicBezTo>
                  <a:pt x="4155" y="3663"/>
                  <a:pt x="4133" y="3619"/>
                  <a:pt x="4106" y="3619"/>
                </a:cubicBezTo>
                <a:cubicBezTo>
                  <a:pt x="4079" y="3619"/>
                  <a:pt x="4057" y="3663"/>
                  <a:pt x="4057" y="3718"/>
                </a:cubicBezTo>
                <a:cubicBezTo>
                  <a:pt x="4057" y="3769"/>
                  <a:pt x="4077" y="3809"/>
                  <a:pt x="4103" y="3813"/>
                </a:cubicBezTo>
                <a:cubicBezTo>
                  <a:pt x="4102" y="3819"/>
                  <a:pt x="4099" y="3825"/>
                  <a:pt x="4099" y="3830"/>
                </a:cubicBezTo>
                <a:cubicBezTo>
                  <a:pt x="4099" y="3851"/>
                  <a:pt x="4099" y="3858"/>
                  <a:pt x="4167" y="3909"/>
                </a:cubicBezTo>
                <a:cubicBezTo>
                  <a:pt x="4180" y="3919"/>
                  <a:pt x="4196" y="3930"/>
                  <a:pt x="4213" y="3941"/>
                </a:cubicBezTo>
                <a:cubicBezTo>
                  <a:pt x="4205" y="3943"/>
                  <a:pt x="4197" y="3947"/>
                  <a:pt x="4191" y="3952"/>
                </a:cubicBezTo>
                <a:cubicBezTo>
                  <a:pt x="4190" y="3952"/>
                  <a:pt x="4189" y="3952"/>
                  <a:pt x="4188" y="3953"/>
                </a:cubicBezTo>
                <a:cubicBezTo>
                  <a:pt x="4188" y="3953"/>
                  <a:pt x="4188" y="3954"/>
                  <a:pt x="4188" y="3954"/>
                </a:cubicBezTo>
                <a:cubicBezTo>
                  <a:pt x="4167" y="3974"/>
                  <a:pt x="4156" y="4013"/>
                  <a:pt x="4153" y="4074"/>
                </a:cubicBezTo>
                <a:cubicBezTo>
                  <a:pt x="4138" y="4073"/>
                  <a:pt x="4122" y="4073"/>
                  <a:pt x="4096" y="4074"/>
                </a:cubicBezTo>
                <a:cubicBezTo>
                  <a:pt x="4071" y="4076"/>
                  <a:pt x="4038" y="4077"/>
                  <a:pt x="3987" y="4077"/>
                </a:cubicBezTo>
                <a:cubicBezTo>
                  <a:pt x="3970" y="4077"/>
                  <a:pt x="3951" y="4074"/>
                  <a:pt x="3932" y="4070"/>
                </a:cubicBezTo>
                <a:cubicBezTo>
                  <a:pt x="3846" y="4050"/>
                  <a:pt x="3747" y="3981"/>
                  <a:pt x="3725" y="3842"/>
                </a:cubicBezTo>
                <a:cubicBezTo>
                  <a:pt x="3723" y="3827"/>
                  <a:pt x="3715" y="3818"/>
                  <a:pt x="3707" y="3823"/>
                </a:cubicBezTo>
                <a:cubicBezTo>
                  <a:pt x="3699" y="3827"/>
                  <a:pt x="3683" y="3832"/>
                  <a:pt x="3667" y="3837"/>
                </a:cubicBezTo>
                <a:cubicBezTo>
                  <a:pt x="3660" y="3839"/>
                  <a:pt x="3654" y="3840"/>
                  <a:pt x="3646" y="3842"/>
                </a:cubicBezTo>
                <a:cubicBezTo>
                  <a:pt x="3651" y="3833"/>
                  <a:pt x="3654" y="3823"/>
                  <a:pt x="3656" y="3816"/>
                </a:cubicBezTo>
                <a:cubicBezTo>
                  <a:pt x="3661" y="3801"/>
                  <a:pt x="3662" y="3797"/>
                  <a:pt x="3675" y="3797"/>
                </a:cubicBezTo>
                <a:cubicBezTo>
                  <a:pt x="3699" y="3797"/>
                  <a:pt x="3718" y="3820"/>
                  <a:pt x="3740" y="3848"/>
                </a:cubicBezTo>
                <a:cubicBezTo>
                  <a:pt x="3769" y="3884"/>
                  <a:pt x="3800" y="3924"/>
                  <a:pt x="3849" y="3924"/>
                </a:cubicBezTo>
                <a:lnTo>
                  <a:pt x="3864" y="3924"/>
                </a:lnTo>
                <a:cubicBezTo>
                  <a:pt x="3907" y="3924"/>
                  <a:pt x="3961" y="3924"/>
                  <a:pt x="3984" y="3831"/>
                </a:cubicBezTo>
                <a:cubicBezTo>
                  <a:pt x="3987" y="3818"/>
                  <a:pt x="3985" y="3802"/>
                  <a:pt x="3979" y="3793"/>
                </a:cubicBezTo>
                <a:lnTo>
                  <a:pt x="3977" y="3790"/>
                </a:lnTo>
                <a:cubicBezTo>
                  <a:pt x="3969" y="3778"/>
                  <a:pt x="3964" y="3771"/>
                  <a:pt x="3963" y="3754"/>
                </a:cubicBezTo>
                <a:cubicBezTo>
                  <a:pt x="3962" y="3739"/>
                  <a:pt x="3956" y="3728"/>
                  <a:pt x="3949" y="3728"/>
                </a:cubicBezTo>
                <a:cubicBezTo>
                  <a:pt x="3936" y="3728"/>
                  <a:pt x="3932" y="3724"/>
                  <a:pt x="3932" y="3723"/>
                </a:cubicBezTo>
                <a:cubicBezTo>
                  <a:pt x="3932" y="3718"/>
                  <a:pt x="3932" y="3717"/>
                  <a:pt x="3934" y="3715"/>
                </a:cubicBezTo>
                <a:cubicBezTo>
                  <a:pt x="3937" y="3713"/>
                  <a:pt x="3941" y="3712"/>
                  <a:pt x="3945" y="3712"/>
                </a:cubicBezTo>
                <a:cubicBezTo>
                  <a:pt x="3953" y="3712"/>
                  <a:pt x="3959" y="3712"/>
                  <a:pt x="3965" y="3713"/>
                </a:cubicBezTo>
                <a:cubicBezTo>
                  <a:pt x="3993" y="3716"/>
                  <a:pt x="4009" y="3710"/>
                  <a:pt x="4038" y="3672"/>
                </a:cubicBezTo>
                <a:cubicBezTo>
                  <a:pt x="4042" y="3667"/>
                  <a:pt x="4044" y="3659"/>
                  <a:pt x="4044" y="3649"/>
                </a:cubicBezTo>
                <a:cubicBezTo>
                  <a:pt x="4044" y="3639"/>
                  <a:pt x="4043" y="3630"/>
                  <a:pt x="4039" y="3624"/>
                </a:cubicBezTo>
                <a:cubicBezTo>
                  <a:pt x="4025" y="3602"/>
                  <a:pt x="3997" y="3578"/>
                  <a:pt x="3966" y="3551"/>
                </a:cubicBezTo>
                <a:cubicBezTo>
                  <a:pt x="3910" y="3502"/>
                  <a:pt x="3826" y="3427"/>
                  <a:pt x="3826" y="3354"/>
                </a:cubicBezTo>
                <a:cubicBezTo>
                  <a:pt x="3826" y="3296"/>
                  <a:pt x="3812" y="3242"/>
                  <a:pt x="3800" y="3195"/>
                </a:cubicBezTo>
                <a:lnTo>
                  <a:pt x="3795" y="3174"/>
                </a:lnTo>
                <a:cubicBezTo>
                  <a:pt x="3794" y="3173"/>
                  <a:pt x="3794" y="3171"/>
                  <a:pt x="3794" y="3170"/>
                </a:cubicBezTo>
                <a:cubicBezTo>
                  <a:pt x="3781" y="3117"/>
                  <a:pt x="3768" y="3061"/>
                  <a:pt x="3768" y="2994"/>
                </a:cubicBezTo>
                <a:cubicBezTo>
                  <a:pt x="3769" y="2987"/>
                  <a:pt x="3778" y="2972"/>
                  <a:pt x="3783" y="2962"/>
                </a:cubicBezTo>
                <a:cubicBezTo>
                  <a:pt x="3797" y="2935"/>
                  <a:pt x="3815" y="2902"/>
                  <a:pt x="3815" y="2853"/>
                </a:cubicBezTo>
                <a:cubicBezTo>
                  <a:pt x="3815" y="2779"/>
                  <a:pt x="3779" y="2729"/>
                  <a:pt x="3726" y="2729"/>
                </a:cubicBezTo>
                <a:cubicBezTo>
                  <a:pt x="3703" y="2729"/>
                  <a:pt x="3681" y="2742"/>
                  <a:pt x="3666" y="2764"/>
                </a:cubicBezTo>
                <a:cubicBezTo>
                  <a:pt x="3651" y="2787"/>
                  <a:pt x="3647" y="2814"/>
                  <a:pt x="3647" y="2832"/>
                </a:cubicBezTo>
                <a:cubicBezTo>
                  <a:pt x="3647" y="2839"/>
                  <a:pt x="3648" y="2847"/>
                  <a:pt x="3648" y="2856"/>
                </a:cubicBezTo>
                <a:cubicBezTo>
                  <a:pt x="3642" y="2860"/>
                  <a:pt x="3643" y="2859"/>
                  <a:pt x="3639" y="2856"/>
                </a:cubicBezTo>
                <a:cubicBezTo>
                  <a:pt x="3633" y="2851"/>
                  <a:pt x="3624" y="2843"/>
                  <a:pt x="3605" y="2843"/>
                </a:cubicBezTo>
                <a:cubicBezTo>
                  <a:pt x="3579" y="2843"/>
                  <a:pt x="3552" y="2878"/>
                  <a:pt x="3552" y="2930"/>
                </a:cubicBezTo>
                <a:cubicBezTo>
                  <a:pt x="3552" y="2937"/>
                  <a:pt x="3552" y="2947"/>
                  <a:pt x="3554" y="2960"/>
                </a:cubicBezTo>
                <a:cubicBezTo>
                  <a:pt x="3560" y="3019"/>
                  <a:pt x="3582" y="3151"/>
                  <a:pt x="3597" y="3216"/>
                </a:cubicBezTo>
                <a:cubicBezTo>
                  <a:pt x="3597" y="3217"/>
                  <a:pt x="3597" y="3217"/>
                  <a:pt x="3597" y="3218"/>
                </a:cubicBezTo>
                <a:cubicBezTo>
                  <a:pt x="3593" y="3226"/>
                  <a:pt x="3593" y="3226"/>
                  <a:pt x="3588" y="3226"/>
                </a:cubicBezTo>
                <a:cubicBezTo>
                  <a:pt x="3580" y="3226"/>
                  <a:pt x="3576" y="3221"/>
                  <a:pt x="3574" y="3162"/>
                </a:cubicBezTo>
                <a:cubicBezTo>
                  <a:pt x="3572" y="3135"/>
                  <a:pt x="3571" y="3108"/>
                  <a:pt x="3566" y="3087"/>
                </a:cubicBezTo>
                <a:cubicBezTo>
                  <a:pt x="3555" y="3037"/>
                  <a:pt x="3522" y="2971"/>
                  <a:pt x="3486" y="2951"/>
                </a:cubicBezTo>
                <a:cubicBezTo>
                  <a:pt x="3484" y="2950"/>
                  <a:pt x="3483" y="2949"/>
                  <a:pt x="3482" y="2949"/>
                </a:cubicBezTo>
                <a:lnTo>
                  <a:pt x="3436" y="2949"/>
                </a:lnTo>
                <a:cubicBezTo>
                  <a:pt x="3431" y="2949"/>
                  <a:pt x="3426" y="2954"/>
                  <a:pt x="3424" y="2962"/>
                </a:cubicBezTo>
                <a:cubicBezTo>
                  <a:pt x="3421" y="2970"/>
                  <a:pt x="3420" y="2980"/>
                  <a:pt x="3421" y="2989"/>
                </a:cubicBezTo>
                <a:cubicBezTo>
                  <a:pt x="3422" y="2996"/>
                  <a:pt x="3424" y="3003"/>
                  <a:pt x="3425" y="3009"/>
                </a:cubicBezTo>
                <a:cubicBezTo>
                  <a:pt x="3426" y="3018"/>
                  <a:pt x="3428" y="3025"/>
                  <a:pt x="3429" y="3035"/>
                </a:cubicBezTo>
                <a:cubicBezTo>
                  <a:pt x="3417" y="3041"/>
                  <a:pt x="3405" y="3046"/>
                  <a:pt x="3392" y="3052"/>
                </a:cubicBezTo>
                <a:cubicBezTo>
                  <a:pt x="3376" y="2985"/>
                  <a:pt x="3351" y="2928"/>
                  <a:pt x="3287" y="2928"/>
                </a:cubicBezTo>
                <a:cubicBezTo>
                  <a:pt x="3260" y="2928"/>
                  <a:pt x="3242" y="2957"/>
                  <a:pt x="3229" y="2981"/>
                </a:cubicBezTo>
                <a:cubicBezTo>
                  <a:pt x="3225" y="2930"/>
                  <a:pt x="3218" y="2856"/>
                  <a:pt x="3185" y="2856"/>
                </a:cubicBezTo>
                <a:cubicBezTo>
                  <a:pt x="3173" y="2856"/>
                  <a:pt x="3157" y="2861"/>
                  <a:pt x="3139" y="2869"/>
                </a:cubicBezTo>
                <a:cubicBezTo>
                  <a:pt x="3141" y="2862"/>
                  <a:pt x="3143" y="2853"/>
                  <a:pt x="3143" y="2845"/>
                </a:cubicBezTo>
                <a:cubicBezTo>
                  <a:pt x="3143" y="2805"/>
                  <a:pt x="3129" y="2772"/>
                  <a:pt x="3111" y="2741"/>
                </a:cubicBezTo>
                <a:cubicBezTo>
                  <a:pt x="3109" y="2690"/>
                  <a:pt x="3090" y="2649"/>
                  <a:pt x="3064" y="2649"/>
                </a:cubicBezTo>
                <a:cubicBezTo>
                  <a:pt x="3057" y="2649"/>
                  <a:pt x="3052" y="2658"/>
                  <a:pt x="3046" y="2664"/>
                </a:cubicBezTo>
                <a:cubicBezTo>
                  <a:pt x="3021" y="2645"/>
                  <a:pt x="2996" y="2631"/>
                  <a:pt x="2979" y="2631"/>
                </a:cubicBezTo>
                <a:cubicBezTo>
                  <a:pt x="2966" y="2631"/>
                  <a:pt x="2954" y="2640"/>
                  <a:pt x="2944" y="2647"/>
                </a:cubicBezTo>
                <a:cubicBezTo>
                  <a:pt x="2936" y="2653"/>
                  <a:pt x="2930" y="2658"/>
                  <a:pt x="2925" y="2658"/>
                </a:cubicBezTo>
                <a:cubicBezTo>
                  <a:pt x="2923" y="2658"/>
                  <a:pt x="2922" y="2657"/>
                  <a:pt x="2921" y="2657"/>
                </a:cubicBezTo>
                <a:cubicBezTo>
                  <a:pt x="2921" y="2656"/>
                  <a:pt x="2920" y="2656"/>
                  <a:pt x="2920" y="2656"/>
                </a:cubicBezTo>
                <a:cubicBezTo>
                  <a:pt x="2920" y="2656"/>
                  <a:pt x="2919" y="2655"/>
                  <a:pt x="2919" y="2654"/>
                </a:cubicBezTo>
                <a:cubicBezTo>
                  <a:pt x="2919" y="2654"/>
                  <a:pt x="2918" y="2653"/>
                  <a:pt x="2918" y="2652"/>
                </a:cubicBezTo>
                <a:cubicBezTo>
                  <a:pt x="2915" y="2647"/>
                  <a:pt x="2912" y="2645"/>
                  <a:pt x="2909" y="2644"/>
                </a:cubicBezTo>
                <a:cubicBezTo>
                  <a:pt x="2885" y="2639"/>
                  <a:pt x="2869" y="2623"/>
                  <a:pt x="2850" y="2603"/>
                </a:cubicBezTo>
                <a:cubicBezTo>
                  <a:pt x="2835" y="2588"/>
                  <a:pt x="2819" y="2572"/>
                  <a:pt x="2797" y="2560"/>
                </a:cubicBezTo>
                <a:cubicBezTo>
                  <a:pt x="2790" y="2556"/>
                  <a:pt x="2782" y="2554"/>
                  <a:pt x="2775" y="2554"/>
                </a:cubicBezTo>
                <a:cubicBezTo>
                  <a:pt x="2757" y="2554"/>
                  <a:pt x="2744" y="2565"/>
                  <a:pt x="2732" y="2575"/>
                </a:cubicBezTo>
                <a:cubicBezTo>
                  <a:pt x="2729" y="2577"/>
                  <a:pt x="2727" y="2577"/>
                  <a:pt x="2725" y="2579"/>
                </a:cubicBezTo>
                <a:cubicBezTo>
                  <a:pt x="2713" y="2532"/>
                  <a:pt x="2689" y="2499"/>
                  <a:pt x="2661" y="2499"/>
                </a:cubicBezTo>
                <a:cubicBezTo>
                  <a:pt x="2632" y="2499"/>
                  <a:pt x="2608" y="2534"/>
                  <a:pt x="2596" y="2582"/>
                </a:cubicBezTo>
                <a:cubicBezTo>
                  <a:pt x="2589" y="2585"/>
                  <a:pt x="2582" y="2585"/>
                  <a:pt x="2575" y="2590"/>
                </a:cubicBezTo>
                <a:cubicBezTo>
                  <a:pt x="2569" y="2595"/>
                  <a:pt x="2565" y="2609"/>
                  <a:pt x="2566" y="2622"/>
                </a:cubicBezTo>
                <a:cubicBezTo>
                  <a:pt x="2567" y="2652"/>
                  <a:pt x="2577" y="2684"/>
                  <a:pt x="2586" y="2715"/>
                </a:cubicBezTo>
                <a:cubicBezTo>
                  <a:pt x="2590" y="2732"/>
                  <a:pt x="2598" y="2759"/>
                  <a:pt x="2598" y="2768"/>
                </a:cubicBezTo>
                <a:cubicBezTo>
                  <a:pt x="2598" y="2835"/>
                  <a:pt x="2573" y="2897"/>
                  <a:pt x="2547" y="2963"/>
                </a:cubicBezTo>
                <a:cubicBezTo>
                  <a:pt x="2537" y="2989"/>
                  <a:pt x="2528" y="3015"/>
                  <a:pt x="2519" y="3042"/>
                </a:cubicBezTo>
                <a:cubicBezTo>
                  <a:pt x="2505" y="3059"/>
                  <a:pt x="2494" y="3085"/>
                  <a:pt x="2494" y="3121"/>
                </a:cubicBezTo>
                <a:cubicBezTo>
                  <a:pt x="2494" y="3129"/>
                  <a:pt x="2497" y="3134"/>
                  <a:pt x="2498" y="3142"/>
                </a:cubicBezTo>
                <a:cubicBezTo>
                  <a:pt x="2496" y="3156"/>
                  <a:pt x="2491" y="3169"/>
                  <a:pt x="2491" y="3184"/>
                </a:cubicBezTo>
                <a:cubicBezTo>
                  <a:pt x="2491" y="3236"/>
                  <a:pt x="2523" y="3248"/>
                  <a:pt x="2552" y="3260"/>
                </a:cubicBezTo>
                <a:cubicBezTo>
                  <a:pt x="2567" y="3265"/>
                  <a:pt x="2592" y="3274"/>
                  <a:pt x="2596" y="3284"/>
                </a:cubicBezTo>
                <a:cubicBezTo>
                  <a:pt x="2597" y="3288"/>
                  <a:pt x="2598" y="3293"/>
                  <a:pt x="2600" y="3299"/>
                </a:cubicBezTo>
                <a:cubicBezTo>
                  <a:pt x="2613" y="3347"/>
                  <a:pt x="2623" y="3381"/>
                  <a:pt x="2638" y="3384"/>
                </a:cubicBezTo>
                <a:cubicBezTo>
                  <a:pt x="2639" y="3386"/>
                  <a:pt x="2641" y="3390"/>
                  <a:pt x="2643" y="3392"/>
                </a:cubicBezTo>
                <a:cubicBezTo>
                  <a:pt x="2649" y="3406"/>
                  <a:pt x="2658" y="3426"/>
                  <a:pt x="2672" y="3426"/>
                </a:cubicBezTo>
                <a:cubicBezTo>
                  <a:pt x="2674" y="3426"/>
                  <a:pt x="2850" y="3330"/>
                  <a:pt x="2850" y="3256"/>
                </a:cubicBezTo>
                <a:cubicBezTo>
                  <a:pt x="2850" y="3224"/>
                  <a:pt x="2865" y="3173"/>
                  <a:pt x="2890" y="3118"/>
                </a:cubicBezTo>
                <a:lnTo>
                  <a:pt x="2893" y="3113"/>
                </a:lnTo>
                <a:cubicBezTo>
                  <a:pt x="2926" y="3044"/>
                  <a:pt x="2967" y="2986"/>
                  <a:pt x="2998" y="2966"/>
                </a:cubicBezTo>
                <a:cubicBezTo>
                  <a:pt x="3003" y="2963"/>
                  <a:pt x="3012" y="2960"/>
                  <a:pt x="3023" y="2955"/>
                </a:cubicBezTo>
                <a:cubicBezTo>
                  <a:pt x="2963" y="3019"/>
                  <a:pt x="2910" y="3110"/>
                  <a:pt x="2903" y="3220"/>
                </a:cubicBezTo>
                <a:lnTo>
                  <a:pt x="2902" y="3226"/>
                </a:lnTo>
                <a:cubicBezTo>
                  <a:pt x="2901" y="3233"/>
                  <a:pt x="2901" y="3240"/>
                  <a:pt x="2901" y="3248"/>
                </a:cubicBezTo>
                <a:cubicBezTo>
                  <a:pt x="2901" y="3270"/>
                  <a:pt x="2913" y="3296"/>
                  <a:pt x="2928" y="3318"/>
                </a:cubicBezTo>
                <a:cubicBezTo>
                  <a:pt x="2926" y="3327"/>
                  <a:pt x="2922" y="3334"/>
                  <a:pt x="2922" y="3345"/>
                </a:cubicBezTo>
                <a:cubicBezTo>
                  <a:pt x="2922" y="3386"/>
                  <a:pt x="2937" y="3416"/>
                  <a:pt x="2955" y="3430"/>
                </a:cubicBezTo>
                <a:cubicBezTo>
                  <a:pt x="2957" y="3539"/>
                  <a:pt x="3027" y="3540"/>
                  <a:pt x="3051" y="3540"/>
                </a:cubicBezTo>
                <a:cubicBezTo>
                  <a:pt x="3068" y="3540"/>
                  <a:pt x="3086" y="3538"/>
                  <a:pt x="3101" y="3536"/>
                </a:cubicBezTo>
                <a:cubicBezTo>
                  <a:pt x="3113" y="3534"/>
                  <a:pt x="3124" y="3532"/>
                  <a:pt x="3132" y="3532"/>
                </a:cubicBezTo>
                <a:lnTo>
                  <a:pt x="3144" y="3532"/>
                </a:lnTo>
                <a:cubicBezTo>
                  <a:pt x="3087" y="3546"/>
                  <a:pt x="3047" y="3577"/>
                  <a:pt x="3013" y="3628"/>
                </a:cubicBezTo>
                <a:cubicBezTo>
                  <a:pt x="3007" y="3637"/>
                  <a:pt x="3005" y="3653"/>
                  <a:pt x="3009" y="3666"/>
                </a:cubicBezTo>
                <a:cubicBezTo>
                  <a:pt x="3017" y="3694"/>
                  <a:pt x="3060" y="3831"/>
                  <a:pt x="3122" y="3831"/>
                </a:cubicBezTo>
                <a:cubicBezTo>
                  <a:pt x="3128" y="3831"/>
                  <a:pt x="3135" y="3830"/>
                  <a:pt x="3143" y="3830"/>
                </a:cubicBezTo>
                <a:cubicBezTo>
                  <a:pt x="3153" y="3829"/>
                  <a:pt x="3163" y="3828"/>
                  <a:pt x="3174" y="3828"/>
                </a:cubicBezTo>
                <a:cubicBezTo>
                  <a:pt x="3210" y="3828"/>
                  <a:pt x="3224" y="3838"/>
                  <a:pt x="3229" y="3846"/>
                </a:cubicBezTo>
                <a:cubicBezTo>
                  <a:pt x="3235" y="3855"/>
                  <a:pt x="3237" y="3866"/>
                  <a:pt x="3238" y="3886"/>
                </a:cubicBezTo>
                <a:cubicBezTo>
                  <a:pt x="3240" y="3911"/>
                  <a:pt x="3243" y="3958"/>
                  <a:pt x="3276" y="3958"/>
                </a:cubicBezTo>
                <a:lnTo>
                  <a:pt x="3279" y="3958"/>
                </a:lnTo>
                <a:cubicBezTo>
                  <a:pt x="3286" y="4002"/>
                  <a:pt x="3302" y="4037"/>
                  <a:pt x="3324" y="4053"/>
                </a:cubicBezTo>
                <a:cubicBezTo>
                  <a:pt x="3310" y="4057"/>
                  <a:pt x="3296" y="4060"/>
                  <a:pt x="3285" y="4066"/>
                </a:cubicBezTo>
                <a:cubicBezTo>
                  <a:pt x="3268" y="4075"/>
                  <a:pt x="3251" y="4083"/>
                  <a:pt x="3229" y="4085"/>
                </a:cubicBezTo>
                <a:cubicBezTo>
                  <a:pt x="3186" y="4089"/>
                  <a:pt x="3169" y="4073"/>
                  <a:pt x="3164" y="4064"/>
                </a:cubicBezTo>
                <a:cubicBezTo>
                  <a:pt x="3163" y="4061"/>
                  <a:pt x="3162" y="4058"/>
                  <a:pt x="3161" y="4056"/>
                </a:cubicBezTo>
                <a:cubicBezTo>
                  <a:pt x="3168" y="4052"/>
                  <a:pt x="3180" y="4049"/>
                  <a:pt x="3188" y="4048"/>
                </a:cubicBezTo>
                <a:cubicBezTo>
                  <a:pt x="3208" y="4043"/>
                  <a:pt x="3225" y="4040"/>
                  <a:pt x="3234" y="4021"/>
                </a:cubicBezTo>
                <a:cubicBezTo>
                  <a:pt x="3239" y="4010"/>
                  <a:pt x="3240" y="3994"/>
                  <a:pt x="3236" y="3982"/>
                </a:cubicBezTo>
                <a:lnTo>
                  <a:pt x="3234" y="3979"/>
                </a:lnTo>
                <a:cubicBezTo>
                  <a:pt x="3196" y="3873"/>
                  <a:pt x="3184" y="3837"/>
                  <a:pt x="3142" y="3837"/>
                </a:cubicBezTo>
                <a:cubicBezTo>
                  <a:pt x="3130" y="3837"/>
                  <a:pt x="3115" y="3840"/>
                  <a:pt x="3096" y="3844"/>
                </a:cubicBezTo>
                <a:cubicBezTo>
                  <a:pt x="3084" y="3846"/>
                  <a:pt x="3070" y="3849"/>
                  <a:pt x="3053" y="3852"/>
                </a:cubicBezTo>
                <a:cubicBezTo>
                  <a:pt x="2990" y="3861"/>
                  <a:pt x="2944" y="3812"/>
                  <a:pt x="2894" y="3761"/>
                </a:cubicBezTo>
                <a:cubicBezTo>
                  <a:pt x="2893" y="3759"/>
                  <a:pt x="2890" y="3757"/>
                  <a:pt x="2889" y="3755"/>
                </a:cubicBezTo>
                <a:cubicBezTo>
                  <a:pt x="2872" y="3737"/>
                  <a:pt x="2855" y="3720"/>
                  <a:pt x="2836" y="3705"/>
                </a:cubicBezTo>
                <a:cubicBezTo>
                  <a:pt x="2836" y="3705"/>
                  <a:pt x="2836" y="3705"/>
                  <a:pt x="2836" y="3705"/>
                </a:cubicBezTo>
                <a:cubicBezTo>
                  <a:pt x="2835" y="3705"/>
                  <a:pt x="2835" y="3704"/>
                  <a:pt x="2835" y="3704"/>
                </a:cubicBezTo>
                <a:cubicBezTo>
                  <a:pt x="2798" y="3674"/>
                  <a:pt x="2766" y="3659"/>
                  <a:pt x="2732" y="3659"/>
                </a:cubicBezTo>
                <a:cubicBezTo>
                  <a:pt x="2707" y="3659"/>
                  <a:pt x="2690" y="3677"/>
                  <a:pt x="2675" y="3692"/>
                </a:cubicBezTo>
                <a:cubicBezTo>
                  <a:pt x="2663" y="3704"/>
                  <a:pt x="2653" y="3715"/>
                  <a:pt x="2640" y="3715"/>
                </a:cubicBezTo>
                <a:cubicBezTo>
                  <a:pt x="2628" y="3715"/>
                  <a:pt x="2608" y="3655"/>
                  <a:pt x="2604" y="3623"/>
                </a:cubicBezTo>
                <a:cubicBezTo>
                  <a:pt x="2602" y="3608"/>
                  <a:pt x="2594" y="3598"/>
                  <a:pt x="2586" y="3601"/>
                </a:cubicBezTo>
                <a:cubicBezTo>
                  <a:pt x="2562" y="3611"/>
                  <a:pt x="2549" y="3643"/>
                  <a:pt x="2539" y="3669"/>
                </a:cubicBezTo>
                <a:cubicBezTo>
                  <a:pt x="2528" y="3697"/>
                  <a:pt x="2521" y="3711"/>
                  <a:pt x="2507" y="3711"/>
                </a:cubicBezTo>
                <a:cubicBezTo>
                  <a:pt x="2488" y="3711"/>
                  <a:pt x="2454" y="3630"/>
                  <a:pt x="2436" y="3587"/>
                </a:cubicBezTo>
                <a:cubicBezTo>
                  <a:pt x="2416" y="3540"/>
                  <a:pt x="2408" y="3519"/>
                  <a:pt x="2397" y="3519"/>
                </a:cubicBezTo>
                <a:cubicBezTo>
                  <a:pt x="2366" y="3519"/>
                  <a:pt x="2355" y="3567"/>
                  <a:pt x="2348" y="3598"/>
                </a:cubicBezTo>
                <a:cubicBezTo>
                  <a:pt x="2347" y="3600"/>
                  <a:pt x="2347" y="3601"/>
                  <a:pt x="2346" y="3603"/>
                </a:cubicBezTo>
                <a:cubicBezTo>
                  <a:pt x="2338" y="3592"/>
                  <a:pt x="2330" y="3581"/>
                  <a:pt x="2320" y="3581"/>
                </a:cubicBezTo>
                <a:cubicBezTo>
                  <a:pt x="2311" y="3581"/>
                  <a:pt x="2304" y="3592"/>
                  <a:pt x="2297" y="3600"/>
                </a:cubicBezTo>
                <a:cubicBezTo>
                  <a:pt x="2294" y="3590"/>
                  <a:pt x="2289" y="3582"/>
                  <a:pt x="2283" y="3585"/>
                </a:cubicBezTo>
                <a:lnTo>
                  <a:pt x="2268" y="3592"/>
                </a:lnTo>
                <a:cubicBezTo>
                  <a:pt x="2244" y="3602"/>
                  <a:pt x="2228" y="3616"/>
                  <a:pt x="2211" y="3624"/>
                </a:cubicBezTo>
                <a:cubicBezTo>
                  <a:pt x="2197" y="3598"/>
                  <a:pt x="2179" y="3581"/>
                  <a:pt x="2158" y="3581"/>
                </a:cubicBezTo>
                <a:cubicBezTo>
                  <a:pt x="2121" y="3581"/>
                  <a:pt x="2092" y="3637"/>
                  <a:pt x="2087" y="3707"/>
                </a:cubicBezTo>
                <a:cubicBezTo>
                  <a:pt x="2074" y="3719"/>
                  <a:pt x="2061" y="3733"/>
                  <a:pt x="2053" y="3733"/>
                </a:cubicBezTo>
                <a:cubicBezTo>
                  <a:pt x="2051" y="3733"/>
                  <a:pt x="2051" y="3732"/>
                  <a:pt x="2051" y="3732"/>
                </a:cubicBezTo>
                <a:cubicBezTo>
                  <a:pt x="2033" y="3698"/>
                  <a:pt x="2019" y="3684"/>
                  <a:pt x="2006" y="3684"/>
                </a:cubicBezTo>
                <a:cubicBezTo>
                  <a:pt x="1987" y="3684"/>
                  <a:pt x="1979" y="3719"/>
                  <a:pt x="1975" y="3737"/>
                </a:cubicBezTo>
                <a:cubicBezTo>
                  <a:pt x="1975" y="3738"/>
                  <a:pt x="1975" y="3738"/>
                  <a:pt x="1974" y="3739"/>
                </a:cubicBezTo>
                <a:cubicBezTo>
                  <a:pt x="1974" y="3739"/>
                  <a:pt x="1975" y="3739"/>
                  <a:pt x="1974" y="3740"/>
                </a:cubicBezTo>
                <a:cubicBezTo>
                  <a:pt x="1966" y="3744"/>
                  <a:pt x="1956" y="3747"/>
                  <a:pt x="1950" y="3760"/>
                </a:cubicBezTo>
                <a:cubicBezTo>
                  <a:pt x="1915" y="3767"/>
                  <a:pt x="1892" y="3781"/>
                  <a:pt x="1886" y="3811"/>
                </a:cubicBezTo>
                <a:cubicBezTo>
                  <a:pt x="1881" y="3829"/>
                  <a:pt x="1884" y="3847"/>
                  <a:pt x="1887" y="3862"/>
                </a:cubicBezTo>
                <a:cubicBezTo>
                  <a:pt x="1849" y="3857"/>
                  <a:pt x="1789" y="3839"/>
                  <a:pt x="1728" y="3784"/>
                </a:cubicBezTo>
                <a:cubicBezTo>
                  <a:pt x="1728" y="3778"/>
                  <a:pt x="1730" y="3773"/>
                  <a:pt x="1730" y="3767"/>
                </a:cubicBezTo>
                <a:cubicBezTo>
                  <a:pt x="1730" y="3685"/>
                  <a:pt x="1697" y="3619"/>
                  <a:pt x="1656" y="3619"/>
                </a:cubicBezTo>
                <a:cubicBezTo>
                  <a:pt x="1635" y="3619"/>
                  <a:pt x="1616" y="3637"/>
                  <a:pt x="1602" y="3666"/>
                </a:cubicBezTo>
                <a:cubicBezTo>
                  <a:pt x="1596" y="3661"/>
                  <a:pt x="1589" y="3655"/>
                  <a:pt x="1583" y="3649"/>
                </a:cubicBezTo>
                <a:cubicBezTo>
                  <a:pt x="1566" y="3633"/>
                  <a:pt x="1548" y="3619"/>
                  <a:pt x="1527" y="3610"/>
                </a:cubicBezTo>
                <a:cubicBezTo>
                  <a:pt x="1521" y="3594"/>
                  <a:pt x="1513" y="3581"/>
                  <a:pt x="1502" y="3581"/>
                </a:cubicBezTo>
                <a:cubicBezTo>
                  <a:pt x="1493" y="3581"/>
                  <a:pt x="1485" y="3590"/>
                  <a:pt x="1479" y="3603"/>
                </a:cubicBezTo>
                <a:cubicBezTo>
                  <a:pt x="1463" y="3606"/>
                  <a:pt x="1448" y="3610"/>
                  <a:pt x="1435" y="3616"/>
                </a:cubicBezTo>
                <a:cubicBezTo>
                  <a:pt x="1420" y="3623"/>
                  <a:pt x="1406" y="3630"/>
                  <a:pt x="1389" y="3630"/>
                </a:cubicBezTo>
                <a:cubicBezTo>
                  <a:pt x="1336" y="3630"/>
                  <a:pt x="1276" y="3617"/>
                  <a:pt x="1229" y="3593"/>
                </a:cubicBezTo>
                <a:cubicBezTo>
                  <a:pt x="1226" y="3545"/>
                  <a:pt x="1208" y="3507"/>
                  <a:pt x="1183" y="3507"/>
                </a:cubicBezTo>
                <a:cubicBezTo>
                  <a:pt x="1173" y="3507"/>
                  <a:pt x="1164" y="3517"/>
                  <a:pt x="1156" y="3529"/>
                </a:cubicBezTo>
                <a:cubicBezTo>
                  <a:pt x="1154" y="3527"/>
                  <a:pt x="1152" y="3524"/>
                  <a:pt x="1149" y="3524"/>
                </a:cubicBezTo>
                <a:lnTo>
                  <a:pt x="1025" y="3524"/>
                </a:lnTo>
                <a:cubicBezTo>
                  <a:pt x="1028" y="3515"/>
                  <a:pt x="1031" y="3507"/>
                  <a:pt x="1031" y="3496"/>
                </a:cubicBezTo>
                <a:cubicBezTo>
                  <a:pt x="1031" y="3461"/>
                  <a:pt x="1017" y="3432"/>
                  <a:pt x="1000" y="3432"/>
                </a:cubicBezTo>
                <a:cubicBezTo>
                  <a:pt x="983" y="3432"/>
                  <a:pt x="968" y="3460"/>
                  <a:pt x="968" y="3495"/>
                </a:cubicBezTo>
                <a:cubicBezTo>
                  <a:pt x="964" y="3489"/>
                  <a:pt x="958" y="3483"/>
                  <a:pt x="955" y="3478"/>
                </a:cubicBezTo>
                <a:cubicBezTo>
                  <a:pt x="948" y="3467"/>
                  <a:pt x="940" y="3456"/>
                  <a:pt x="931" y="3444"/>
                </a:cubicBezTo>
                <a:cubicBezTo>
                  <a:pt x="928" y="3440"/>
                  <a:pt x="925" y="3439"/>
                  <a:pt x="923" y="3439"/>
                </a:cubicBezTo>
                <a:lnTo>
                  <a:pt x="819" y="3439"/>
                </a:lnTo>
                <a:cubicBezTo>
                  <a:pt x="812" y="3434"/>
                  <a:pt x="806" y="3429"/>
                  <a:pt x="800" y="3423"/>
                </a:cubicBezTo>
                <a:cubicBezTo>
                  <a:pt x="793" y="3416"/>
                  <a:pt x="786" y="3407"/>
                  <a:pt x="773" y="3398"/>
                </a:cubicBezTo>
                <a:cubicBezTo>
                  <a:pt x="766" y="3393"/>
                  <a:pt x="759" y="3398"/>
                  <a:pt x="755" y="3410"/>
                </a:cubicBezTo>
                <a:cubicBezTo>
                  <a:pt x="754" y="3414"/>
                  <a:pt x="752" y="3418"/>
                  <a:pt x="750" y="3422"/>
                </a:cubicBezTo>
                <a:cubicBezTo>
                  <a:pt x="750" y="3420"/>
                  <a:pt x="749" y="3421"/>
                  <a:pt x="748" y="3420"/>
                </a:cubicBezTo>
                <a:cubicBezTo>
                  <a:pt x="748" y="3420"/>
                  <a:pt x="748" y="3419"/>
                  <a:pt x="748" y="3418"/>
                </a:cubicBezTo>
                <a:cubicBezTo>
                  <a:pt x="747" y="3409"/>
                  <a:pt x="743" y="3401"/>
                  <a:pt x="738" y="3398"/>
                </a:cubicBezTo>
                <a:cubicBezTo>
                  <a:pt x="729" y="3392"/>
                  <a:pt x="721" y="3380"/>
                  <a:pt x="714" y="3369"/>
                </a:cubicBezTo>
                <a:cubicBezTo>
                  <a:pt x="702" y="3352"/>
                  <a:pt x="689" y="3333"/>
                  <a:pt x="668" y="3333"/>
                </a:cubicBezTo>
                <a:cubicBezTo>
                  <a:pt x="641" y="3333"/>
                  <a:pt x="623" y="3369"/>
                  <a:pt x="606" y="3402"/>
                </a:cubicBezTo>
                <a:cubicBezTo>
                  <a:pt x="594" y="3424"/>
                  <a:pt x="583" y="3444"/>
                  <a:pt x="572" y="3453"/>
                </a:cubicBezTo>
                <a:cubicBezTo>
                  <a:pt x="561" y="3461"/>
                  <a:pt x="549" y="3460"/>
                  <a:pt x="538" y="3458"/>
                </a:cubicBezTo>
                <a:cubicBezTo>
                  <a:pt x="532" y="3457"/>
                  <a:pt x="527" y="3459"/>
                  <a:pt x="521" y="3459"/>
                </a:cubicBezTo>
                <a:cubicBezTo>
                  <a:pt x="516" y="3443"/>
                  <a:pt x="508" y="3432"/>
                  <a:pt x="497" y="3432"/>
                </a:cubicBezTo>
                <a:cubicBezTo>
                  <a:pt x="482" y="3432"/>
                  <a:pt x="470" y="3457"/>
                  <a:pt x="467" y="3487"/>
                </a:cubicBezTo>
                <a:cubicBezTo>
                  <a:pt x="411" y="3531"/>
                  <a:pt x="356" y="3599"/>
                  <a:pt x="306" y="3687"/>
                </a:cubicBezTo>
                <a:cubicBezTo>
                  <a:pt x="297" y="3668"/>
                  <a:pt x="285" y="3656"/>
                  <a:pt x="271" y="3656"/>
                </a:cubicBezTo>
                <a:cubicBezTo>
                  <a:pt x="245" y="3656"/>
                  <a:pt x="224" y="3699"/>
                  <a:pt x="224" y="3751"/>
                </a:cubicBezTo>
                <a:cubicBezTo>
                  <a:pt x="224" y="3779"/>
                  <a:pt x="230" y="3803"/>
                  <a:pt x="239" y="3820"/>
                </a:cubicBezTo>
                <a:cubicBezTo>
                  <a:pt x="233" y="3835"/>
                  <a:pt x="225" y="3849"/>
                  <a:pt x="220" y="3863"/>
                </a:cubicBezTo>
                <a:lnTo>
                  <a:pt x="218" y="3863"/>
                </a:lnTo>
                <a:lnTo>
                  <a:pt x="110" y="3863"/>
                </a:lnTo>
                <a:cubicBezTo>
                  <a:pt x="104" y="3863"/>
                  <a:pt x="98" y="3872"/>
                  <a:pt x="96" y="3883"/>
                </a:cubicBezTo>
                <a:cubicBezTo>
                  <a:pt x="94" y="3892"/>
                  <a:pt x="79" y="3949"/>
                  <a:pt x="65" y="3999"/>
                </a:cubicBezTo>
                <a:cubicBezTo>
                  <a:pt x="64" y="4003"/>
                  <a:pt x="64" y="4008"/>
                  <a:pt x="64" y="4013"/>
                </a:cubicBezTo>
                <a:cubicBezTo>
                  <a:pt x="64" y="4052"/>
                  <a:pt x="91" y="4069"/>
                  <a:pt x="135" y="4097"/>
                </a:cubicBezTo>
                <a:lnTo>
                  <a:pt x="143" y="4102"/>
                </a:lnTo>
                <a:cubicBezTo>
                  <a:pt x="160" y="4113"/>
                  <a:pt x="176" y="4124"/>
                  <a:pt x="183" y="4133"/>
                </a:cubicBezTo>
                <a:cubicBezTo>
                  <a:pt x="191" y="4142"/>
                  <a:pt x="203" y="4183"/>
                  <a:pt x="213" y="4213"/>
                </a:cubicBezTo>
                <a:cubicBezTo>
                  <a:pt x="215" y="4221"/>
                  <a:pt x="216" y="4221"/>
                  <a:pt x="218" y="4228"/>
                </a:cubicBezTo>
                <a:cubicBezTo>
                  <a:pt x="201" y="4242"/>
                  <a:pt x="186" y="4271"/>
                  <a:pt x="186" y="4311"/>
                </a:cubicBezTo>
                <a:cubicBezTo>
                  <a:pt x="186" y="4330"/>
                  <a:pt x="192" y="4344"/>
                  <a:pt x="196" y="4359"/>
                </a:cubicBezTo>
                <a:cubicBezTo>
                  <a:pt x="170" y="4393"/>
                  <a:pt x="133" y="4426"/>
                  <a:pt x="97" y="4457"/>
                </a:cubicBezTo>
                <a:cubicBezTo>
                  <a:pt x="65" y="4485"/>
                  <a:pt x="33" y="4514"/>
                  <a:pt x="7" y="4544"/>
                </a:cubicBezTo>
                <a:cubicBezTo>
                  <a:pt x="1" y="4552"/>
                  <a:pt x="-2" y="4569"/>
                  <a:pt x="1" y="4583"/>
                </a:cubicBezTo>
                <a:cubicBezTo>
                  <a:pt x="13" y="4628"/>
                  <a:pt x="32" y="4655"/>
                  <a:pt x="58" y="4664"/>
                </a:cubicBezTo>
                <a:cubicBezTo>
                  <a:pt x="58" y="4669"/>
                  <a:pt x="57" y="4675"/>
                  <a:pt x="57" y="4681"/>
                </a:cubicBezTo>
                <a:cubicBezTo>
                  <a:pt x="57" y="4708"/>
                  <a:pt x="65" y="4727"/>
                  <a:pt x="71" y="4744"/>
                </a:cubicBezTo>
                <a:cubicBezTo>
                  <a:pt x="78" y="4761"/>
                  <a:pt x="84" y="4776"/>
                  <a:pt x="85" y="4802"/>
                </a:cubicBezTo>
                <a:cubicBezTo>
                  <a:pt x="86" y="4818"/>
                  <a:pt x="92" y="4830"/>
                  <a:pt x="100" y="4830"/>
                </a:cubicBezTo>
                <a:lnTo>
                  <a:pt x="155" y="4830"/>
                </a:lnTo>
                <a:cubicBezTo>
                  <a:pt x="160" y="4849"/>
                  <a:pt x="169" y="4865"/>
                  <a:pt x="181" y="4865"/>
                </a:cubicBezTo>
                <a:cubicBezTo>
                  <a:pt x="193" y="4865"/>
                  <a:pt x="201" y="4849"/>
                  <a:pt x="207" y="4830"/>
                </a:cubicBezTo>
                <a:lnTo>
                  <a:pt x="212" y="4830"/>
                </a:lnTo>
                <a:cubicBezTo>
                  <a:pt x="213" y="4830"/>
                  <a:pt x="214" y="4829"/>
                  <a:pt x="215" y="4829"/>
                </a:cubicBezTo>
                <a:cubicBezTo>
                  <a:pt x="227" y="4824"/>
                  <a:pt x="237" y="4830"/>
                  <a:pt x="249" y="4839"/>
                </a:cubicBezTo>
                <a:cubicBezTo>
                  <a:pt x="259" y="4846"/>
                  <a:pt x="270" y="4853"/>
                  <a:pt x="285" y="4857"/>
                </a:cubicBezTo>
                <a:cubicBezTo>
                  <a:pt x="290" y="4858"/>
                  <a:pt x="296" y="4859"/>
                  <a:pt x="302" y="4859"/>
                </a:cubicBezTo>
                <a:cubicBezTo>
                  <a:pt x="330" y="4859"/>
                  <a:pt x="348" y="4834"/>
                  <a:pt x="362" y="4813"/>
                </a:cubicBezTo>
                <a:cubicBezTo>
                  <a:pt x="373" y="4798"/>
                  <a:pt x="381" y="4787"/>
                  <a:pt x="392" y="4787"/>
                </a:cubicBezTo>
                <a:cubicBezTo>
                  <a:pt x="393" y="4787"/>
                  <a:pt x="395" y="4787"/>
                  <a:pt x="396" y="4787"/>
                </a:cubicBezTo>
                <a:cubicBezTo>
                  <a:pt x="393" y="4790"/>
                  <a:pt x="389" y="4794"/>
                  <a:pt x="385" y="4799"/>
                </a:cubicBezTo>
                <a:cubicBezTo>
                  <a:pt x="379" y="4807"/>
                  <a:pt x="376" y="4821"/>
                  <a:pt x="378" y="4834"/>
                </a:cubicBezTo>
                <a:cubicBezTo>
                  <a:pt x="380" y="4844"/>
                  <a:pt x="384" y="4852"/>
                  <a:pt x="392" y="4871"/>
                </a:cubicBezTo>
                <a:cubicBezTo>
                  <a:pt x="398" y="4883"/>
                  <a:pt x="411" y="4912"/>
                  <a:pt x="413" y="4925"/>
                </a:cubicBezTo>
                <a:cubicBezTo>
                  <a:pt x="404" y="4954"/>
                  <a:pt x="336" y="5023"/>
                  <a:pt x="282" y="5058"/>
                </a:cubicBezTo>
                <a:cubicBezTo>
                  <a:pt x="269" y="5067"/>
                  <a:pt x="265" y="5068"/>
                  <a:pt x="265" y="5068"/>
                </a:cubicBezTo>
                <a:cubicBezTo>
                  <a:pt x="215" y="5068"/>
                  <a:pt x="91" y="5182"/>
                  <a:pt x="91" y="5331"/>
                </a:cubicBezTo>
                <a:cubicBezTo>
                  <a:pt x="91" y="5381"/>
                  <a:pt x="113" y="5409"/>
                  <a:pt x="133" y="5437"/>
                </a:cubicBezTo>
                <a:cubicBezTo>
                  <a:pt x="141" y="5447"/>
                  <a:pt x="147" y="5460"/>
                  <a:pt x="154" y="5471"/>
                </a:cubicBezTo>
                <a:cubicBezTo>
                  <a:pt x="152" y="5483"/>
                  <a:pt x="151" y="5494"/>
                  <a:pt x="150" y="5507"/>
                </a:cubicBezTo>
                <a:cubicBezTo>
                  <a:pt x="149" y="5510"/>
                  <a:pt x="147" y="5509"/>
                  <a:pt x="146" y="5513"/>
                </a:cubicBezTo>
                <a:cubicBezTo>
                  <a:pt x="143" y="5523"/>
                  <a:pt x="144" y="5535"/>
                  <a:pt x="147" y="5544"/>
                </a:cubicBezTo>
                <a:cubicBezTo>
                  <a:pt x="148" y="5547"/>
                  <a:pt x="151" y="5553"/>
                  <a:pt x="153" y="5556"/>
                </a:cubicBezTo>
                <a:cubicBezTo>
                  <a:pt x="161" y="5617"/>
                  <a:pt x="186" y="5661"/>
                  <a:pt x="218" y="5666"/>
                </a:cubicBezTo>
                <a:cubicBezTo>
                  <a:pt x="219" y="5666"/>
                  <a:pt x="219" y="5666"/>
                  <a:pt x="219" y="5667"/>
                </a:cubicBezTo>
                <a:cubicBezTo>
                  <a:pt x="241" y="5699"/>
                  <a:pt x="264" y="5727"/>
                  <a:pt x="281" y="5741"/>
                </a:cubicBezTo>
                <a:cubicBezTo>
                  <a:pt x="289" y="5749"/>
                  <a:pt x="296" y="5752"/>
                  <a:pt x="302" y="5752"/>
                </a:cubicBezTo>
                <a:cubicBezTo>
                  <a:pt x="312" y="5752"/>
                  <a:pt x="319" y="5735"/>
                  <a:pt x="327" y="5713"/>
                </a:cubicBezTo>
                <a:cubicBezTo>
                  <a:pt x="331" y="5703"/>
                  <a:pt x="340" y="5681"/>
                  <a:pt x="344" y="5678"/>
                </a:cubicBezTo>
                <a:cubicBezTo>
                  <a:pt x="345" y="5680"/>
                  <a:pt x="346" y="5687"/>
                  <a:pt x="346" y="5710"/>
                </a:cubicBezTo>
                <a:cubicBezTo>
                  <a:pt x="346" y="5710"/>
                  <a:pt x="346" y="5713"/>
                  <a:pt x="346" y="5713"/>
                </a:cubicBezTo>
                <a:lnTo>
                  <a:pt x="346" y="5799"/>
                </a:lnTo>
                <a:cubicBezTo>
                  <a:pt x="346" y="5826"/>
                  <a:pt x="352" y="5935"/>
                  <a:pt x="382" y="5935"/>
                </a:cubicBezTo>
                <a:cubicBezTo>
                  <a:pt x="391" y="5935"/>
                  <a:pt x="398" y="5924"/>
                  <a:pt x="404" y="5914"/>
                </a:cubicBezTo>
                <a:cubicBezTo>
                  <a:pt x="406" y="5910"/>
                  <a:pt x="412" y="5901"/>
                  <a:pt x="414" y="5901"/>
                </a:cubicBezTo>
                <a:lnTo>
                  <a:pt x="439" y="5901"/>
                </a:lnTo>
                <a:cubicBezTo>
                  <a:pt x="448" y="5901"/>
                  <a:pt x="454" y="5887"/>
                  <a:pt x="454" y="5871"/>
                </a:cubicBezTo>
                <a:cubicBezTo>
                  <a:pt x="454" y="5869"/>
                  <a:pt x="454" y="5866"/>
                  <a:pt x="454" y="5864"/>
                </a:cubicBezTo>
                <a:cubicBezTo>
                  <a:pt x="477" y="5899"/>
                  <a:pt x="496" y="5922"/>
                  <a:pt x="538" y="5954"/>
                </a:cubicBezTo>
                <a:cubicBezTo>
                  <a:pt x="539" y="5955"/>
                  <a:pt x="541" y="5956"/>
                  <a:pt x="543" y="5956"/>
                </a:cubicBezTo>
                <a:cubicBezTo>
                  <a:pt x="545" y="5956"/>
                  <a:pt x="548" y="5955"/>
                  <a:pt x="550" y="5952"/>
                </a:cubicBezTo>
                <a:cubicBezTo>
                  <a:pt x="554" y="5948"/>
                  <a:pt x="557" y="5939"/>
                  <a:pt x="558" y="5930"/>
                </a:cubicBezTo>
                <a:cubicBezTo>
                  <a:pt x="559" y="5916"/>
                  <a:pt x="561" y="5908"/>
                  <a:pt x="564" y="5894"/>
                </a:cubicBezTo>
                <a:cubicBezTo>
                  <a:pt x="565" y="5892"/>
                  <a:pt x="566" y="5889"/>
                  <a:pt x="566" y="5887"/>
                </a:cubicBezTo>
                <a:cubicBezTo>
                  <a:pt x="568" y="5889"/>
                  <a:pt x="569" y="5890"/>
                  <a:pt x="571" y="5892"/>
                </a:cubicBezTo>
                <a:cubicBezTo>
                  <a:pt x="583" y="5903"/>
                  <a:pt x="595" y="5913"/>
                  <a:pt x="615" y="5913"/>
                </a:cubicBezTo>
                <a:cubicBezTo>
                  <a:pt x="623" y="5913"/>
                  <a:pt x="629" y="5911"/>
                  <a:pt x="635" y="5909"/>
                </a:cubicBezTo>
                <a:cubicBezTo>
                  <a:pt x="650" y="5903"/>
                  <a:pt x="662" y="5891"/>
                  <a:pt x="674" y="5879"/>
                </a:cubicBezTo>
                <a:cubicBezTo>
                  <a:pt x="677" y="5876"/>
                  <a:pt x="680" y="5873"/>
                  <a:pt x="682" y="5871"/>
                </a:cubicBezTo>
                <a:cubicBezTo>
                  <a:pt x="677" y="5886"/>
                  <a:pt x="672" y="5902"/>
                  <a:pt x="668" y="5917"/>
                </a:cubicBezTo>
                <a:cubicBezTo>
                  <a:pt x="665" y="5926"/>
                  <a:pt x="663" y="5935"/>
                  <a:pt x="661" y="5944"/>
                </a:cubicBezTo>
                <a:cubicBezTo>
                  <a:pt x="649" y="5989"/>
                  <a:pt x="638" y="6031"/>
                  <a:pt x="617" y="6059"/>
                </a:cubicBezTo>
                <a:cubicBezTo>
                  <a:pt x="602" y="6079"/>
                  <a:pt x="584" y="6099"/>
                  <a:pt x="566" y="6120"/>
                </a:cubicBezTo>
                <a:cubicBezTo>
                  <a:pt x="521" y="6171"/>
                  <a:pt x="471" y="6229"/>
                  <a:pt x="445" y="6299"/>
                </a:cubicBezTo>
                <a:cubicBezTo>
                  <a:pt x="435" y="6323"/>
                  <a:pt x="423" y="6325"/>
                  <a:pt x="402" y="6328"/>
                </a:cubicBezTo>
                <a:cubicBezTo>
                  <a:pt x="385" y="6330"/>
                  <a:pt x="365" y="6333"/>
                  <a:pt x="347" y="6355"/>
                </a:cubicBezTo>
                <a:cubicBezTo>
                  <a:pt x="333" y="6370"/>
                  <a:pt x="321" y="6400"/>
                  <a:pt x="310" y="6429"/>
                </a:cubicBezTo>
                <a:cubicBezTo>
                  <a:pt x="300" y="6455"/>
                  <a:pt x="289" y="6482"/>
                  <a:pt x="279" y="6495"/>
                </a:cubicBezTo>
                <a:cubicBezTo>
                  <a:pt x="279" y="6495"/>
                  <a:pt x="279" y="6496"/>
                  <a:pt x="279" y="6496"/>
                </a:cubicBezTo>
                <a:cubicBezTo>
                  <a:pt x="279" y="6496"/>
                  <a:pt x="278" y="6496"/>
                  <a:pt x="278" y="6496"/>
                </a:cubicBezTo>
                <a:cubicBezTo>
                  <a:pt x="275" y="6499"/>
                  <a:pt x="272" y="6501"/>
                  <a:pt x="270" y="6504"/>
                </a:cubicBezTo>
                <a:cubicBezTo>
                  <a:pt x="260" y="6511"/>
                  <a:pt x="251" y="6514"/>
                  <a:pt x="240" y="6518"/>
                </a:cubicBezTo>
                <a:cubicBezTo>
                  <a:pt x="217" y="6526"/>
                  <a:pt x="191" y="6534"/>
                  <a:pt x="172" y="6595"/>
                </a:cubicBezTo>
                <a:cubicBezTo>
                  <a:pt x="169" y="6603"/>
                  <a:pt x="169" y="6613"/>
                  <a:pt x="171" y="6622"/>
                </a:cubicBezTo>
                <a:cubicBezTo>
                  <a:pt x="172" y="6630"/>
                  <a:pt x="176" y="6636"/>
                  <a:pt x="181" y="6639"/>
                </a:cubicBezTo>
                <a:cubicBezTo>
                  <a:pt x="183" y="6641"/>
                  <a:pt x="186" y="6642"/>
                  <a:pt x="188" y="6643"/>
                </a:cubicBezTo>
                <a:lnTo>
                  <a:pt x="191" y="6644"/>
                </a:lnTo>
                <a:cubicBezTo>
                  <a:pt x="191" y="6644"/>
                  <a:pt x="191" y="6644"/>
                  <a:pt x="192" y="6644"/>
                </a:cubicBezTo>
                <a:cubicBezTo>
                  <a:pt x="200" y="6647"/>
                  <a:pt x="208" y="6648"/>
                  <a:pt x="216" y="6648"/>
                </a:cubicBezTo>
                <a:cubicBezTo>
                  <a:pt x="239" y="6648"/>
                  <a:pt x="260" y="6636"/>
                  <a:pt x="284" y="6609"/>
                </a:cubicBezTo>
                <a:cubicBezTo>
                  <a:pt x="287" y="6605"/>
                  <a:pt x="291" y="6600"/>
                  <a:pt x="295" y="6596"/>
                </a:cubicBezTo>
                <a:cubicBezTo>
                  <a:pt x="298" y="6591"/>
                  <a:pt x="301" y="6588"/>
                  <a:pt x="305" y="6583"/>
                </a:cubicBezTo>
                <a:lnTo>
                  <a:pt x="306" y="6582"/>
                </a:lnTo>
                <a:lnTo>
                  <a:pt x="311" y="6575"/>
                </a:lnTo>
                <a:lnTo>
                  <a:pt x="326" y="6554"/>
                </a:lnTo>
                <a:cubicBezTo>
                  <a:pt x="348" y="6523"/>
                  <a:pt x="370" y="6496"/>
                  <a:pt x="395" y="6488"/>
                </a:cubicBezTo>
                <a:cubicBezTo>
                  <a:pt x="458" y="6470"/>
                  <a:pt x="538" y="6421"/>
                  <a:pt x="572" y="6351"/>
                </a:cubicBezTo>
                <a:cubicBezTo>
                  <a:pt x="586" y="6323"/>
                  <a:pt x="608" y="6300"/>
                  <a:pt x="631" y="6274"/>
                </a:cubicBezTo>
                <a:cubicBezTo>
                  <a:pt x="661" y="6241"/>
                  <a:pt x="692" y="6207"/>
                  <a:pt x="711" y="6158"/>
                </a:cubicBezTo>
                <a:cubicBezTo>
                  <a:pt x="716" y="6147"/>
                  <a:pt x="719" y="6135"/>
                  <a:pt x="723" y="6125"/>
                </a:cubicBezTo>
                <a:cubicBezTo>
                  <a:pt x="733" y="6096"/>
                  <a:pt x="742" y="6073"/>
                  <a:pt x="759" y="6060"/>
                </a:cubicBezTo>
                <a:lnTo>
                  <a:pt x="771" y="6050"/>
                </a:lnTo>
                <a:cubicBezTo>
                  <a:pt x="810" y="6020"/>
                  <a:pt x="863" y="5977"/>
                  <a:pt x="863" y="5863"/>
                </a:cubicBezTo>
                <a:lnTo>
                  <a:pt x="863" y="5799"/>
                </a:lnTo>
                <a:cubicBezTo>
                  <a:pt x="863" y="5681"/>
                  <a:pt x="989" y="5467"/>
                  <a:pt x="1035" y="5455"/>
                </a:cubicBezTo>
                <a:cubicBezTo>
                  <a:pt x="983" y="5500"/>
                  <a:pt x="955" y="5575"/>
                  <a:pt x="955" y="5670"/>
                </a:cubicBezTo>
                <a:cubicBezTo>
                  <a:pt x="955" y="5672"/>
                  <a:pt x="954" y="5673"/>
                  <a:pt x="953" y="5676"/>
                </a:cubicBezTo>
                <a:cubicBezTo>
                  <a:pt x="951" y="5687"/>
                  <a:pt x="950" y="5696"/>
                  <a:pt x="952" y="5708"/>
                </a:cubicBezTo>
                <a:cubicBezTo>
                  <a:pt x="945" y="5717"/>
                  <a:pt x="939" y="5731"/>
                  <a:pt x="939" y="5755"/>
                </a:cubicBezTo>
                <a:cubicBezTo>
                  <a:pt x="939" y="5793"/>
                  <a:pt x="960" y="5816"/>
                  <a:pt x="975" y="5816"/>
                </a:cubicBezTo>
                <a:cubicBezTo>
                  <a:pt x="1029" y="5816"/>
                  <a:pt x="1169" y="5658"/>
                  <a:pt x="1200" y="5564"/>
                </a:cubicBezTo>
                <a:cubicBezTo>
                  <a:pt x="1204" y="5551"/>
                  <a:pt x="1203" y="5534"/>
                  <a:pt x="1197" y="5525"/>
                </a:cubicBezTo>
                <a:cubicBezTo>
                  <a:pt x="1192" y="5517"/>
                  <a:pt x="1189" y="5511"/>
                  <a:pt x="1187" y="5502"/>
                </a:cubicBezTo>
                <a:cubicBezTo>
                  <a:pt x="1196" y="5495"/>
                  <a:pt x="1208" y="5487"/>
                  <a:pt x="1220" y="5479"/>
                </a:cubicBezTo>
                <a:cubicBezTo>
                  <a:pt x="1229" y="5473"/>
                  <a:pt x="1238" y="5468"/>
                  <a:pt x="1246" y="5462"/>
                </a:cubicBezTo>
                <a:cubicBezTo>
                  <a:pt x="1258" y="5499"/>
                  <a:pt x="1274" y="5526"/>
                  <a:pt x="1291" y="5549"/>
                </a:cubicBezTo>
                <a:cubicBezTo>
                  <a:pt x="1289" y="5561"/>
                  <a:pt x="1284" y="5570"/>
                  <a:pt x="1284" y="5583"/>
                </a:cubicBezTo>
                <a:cubicBezTo>
                  <a:pt x="1284" y="5637"/>
                  <a:pt x="1306" y="5681"/>
                  <a:pt x="1334" y="5681"/>
                </a:cubicBezTo>
                <a:cubicBezTo>
                  <a:pt x="1354" y="5681"/>
                  <a:pt x="1367" y="5654"/>
                  <a:pt x="1375" y="5620"/>
                </a:cubicBezTo>
                <a:cubicBezTo>
                  <a:pt x="1384" y="5626"/>
                  <a:pt x="1394" y="5634"/>
                  <a:pt x="1403" y="5639"/>
                </a:cubicBezTo>
                <a:cubicBezTo>
                  <a:pt x="1419" y="5647"/>
                  <a:pt x="1434" y="5656"/>
                  <a:pt x="1448" y="5666"/>
                </a:cubicBezTo>
                <a:cubicBezTo>
                  <a:pt x="1450" y="5667"/>
                  <a:pt x="1451" y="5667"/>
                  <a:pt x="1453" y="5667"/>
                </a:cubicBezTo>
                <a:lnTo>
                  <a:pt x="1566" y="5667"/>
                </a:lnTo>
                <a:cubicBezTo>
                  <a:pt x="1596" y="5699"/>
                  <a:pt x="1627" y="5716"/>
                  <a:pt x="1656" y="5732"/>
                </a:cubicBezTo>
                <a:cubicBezTo>
                  <a:pt x="1687" y="5749"/>
                  <a:pt x="1715" y="5768"/>
                  <a:pt x="1740" y="5799"/>
                </a:cubicBezTo>
                <a:cubicBezTo>
                  <a:pt x="1736" y="5813"/>
                  <a:pt x="1731" y="5826"/>
                  <a:pt x="1731" y="5844"/>
                </a:cubicBezTo>
                <a:cubicBezTo>
                  <a:pt x="1731" y="5899"/>
                  <a:pt x="1753" y="5942"/>
                  <a:pt x="1780" y="5942"/>
                </a:cubicBezTo>
                <a:cubicBezTo>
                  <a:pt x="1790" y="5942"/>
                  <a:pt x="1797" y="5931"/>
                  <a:pt x="1804" y="5922"/>
                </a:cubicBezTo>
                <a:cubicBezTo>
                  <a:pt x="1820" y="5952"/>
                  <a:pt x="1837" y="5977"/>
                  <a:pt x="1860" y="5977"/>
                </a:cubicBezTo>
                <a:cubicBezTo>
                  <a:pt x="1865" y="5977"/>
                  <a:pt x="1870" y="5975"/>
                  <a:pt x="1874" y="5971"/>
                </a:cubicBezTo>
                <a:cubicBezTo>
                  <a:pt x="1873" y="5977"/>
                  <a:pt x="1873" y="5983"/>
                  <a:pt x="1873" y="5990"/>
                </a:cubicBezTo>
                <a:cubicBezTo>
                  <a:pt x="1873" y="6019"/>
                  <a:pt x="1880" y="6046"/>
                  <a:pt x="1887" y="6070"/>
                </a:cubicBezTo>
                <a:cubicBezTo>
                  <a:pt x="1885" y="6082"/>
                  <a:pt x="1880" y="6091"/>
                  <a:pt x="1880" y="6105"/>
                </a:cubicBezTo>
                <a:cubicBezTo>
                  <a:pt x="1880" y="6160"/>
                  <a:pt x="1902" y="6203"/>
                  <a:pt x="1929" y="6203"/>
                </a:cubicBezTo>
                <a:cubicBezTo>
                  <a:pt x="1932" y="6203"/>
                  <a:pt x="1934" y="6198"/>
                  <a:pt x="1937" y="6197"/>
                </a:cubicBezTo>
                <a:cubicBezTo>
                  <a:pt x="1942" y="6239"/>
                  <a:pt x="1951" y="6276"/>
                  <a:pt x="1968" y="6309"/>
                </a:cubicBezTo>
                <a:cubicBezTo>
                  <a:pt x="1971" y="6315"/>
                  <a:pt x="1975" y="6317"/>
                  <a:pt x="1979" y="6317"/>
                </a:cubicBezTo>
                <a:cubicBezTo>
                  <a:pt x="1983" y="6317"/>
                  <a:pt x="1986" y="6315"/>
                  <a:pt x="1989" y="6309"/>
                </a:cubicBezTo>
                <a:cubicBezTo>
                  <a:pt x="2008" y="6272"/>
                  <a:pt x="2004" y="6225"/>
                  <a:pt x="2000" y="6188"/>
                </a:cubicBezTo>
                <a:cubicBezTo>
                  <a:pt x="2000" y="6182"/>
                  <a:pt x="1999" y="6176"/>
                  <a:pt x="1999" y="6170"/>
                </a:cubicBezTo>
                <a:cubicBezTo>
                  <a:pt x="1998" y="6162"/>
                  <a:pt x="1998" y="6154"/>
                  <a:pt x="1998" y="6145"/>
                </a:cubicBezTo>
                <a:cubicBezTo>
                  <a:pt x="2000" y="6146"/>
                  <a:pt x="2002" y="6147"/>
                  <a:pt x="2004" y="6147"/>
                </a:cubicBezTo>
                <a:cubicBezTo>
                  <a:pt x="2024" y="6147"/>
                  <a:pt x="2032" y="6128"/>
                  <a:pt x="2038" y="6114"/>
                </a:cubicBezTo>
                <a:cubicBezTo>
                  <a:pt x="2041" y="6108"/>
                  <a:pt x="2043" y="6102"/>
                  <a:pt x="2047" y="6098"/>
                </a:cubicBezTo>
                <a:lnTo>
                  <a:pt x="2047" y="6116"/>
                </a:lnTo>
                <a:cubicBezTo>
                  <a:pt x="2046" y="6119"/>
                  <a:pt x="2041" y="6124"/>
                  <a:pt x="2038" y="6127"/>
                </a:cubicBezTo>
                <a:cubicBezTo>
                  <a:pt x="2029" y="6138"/>
                  <a:pt x="2015" y="6155"/>
                  <a:pt x="2015" y="6189"/>
                </a:cubicBezTo>
                <a:cubicBezTo>
                  <a:pt x="2015" y="6220"/>
                  <a:pt x="2023" y="6251"/>
                  <a:pt x="2040" y="6268"/>
                </a:cubicBezTo>
                <a:cubicBezTo>
                  <a:pt x="2013" y="6270"/>
                  <a:pt x="1991" y="6313"/>
                  <a:pt x="1991" y="6366"/>
                </a:cubicBezTo>
                <a:cubicBezTo>
                  <a:pt x="1991" y="6421"/>
                  <a:pt x="2014" y="6464"/>
                  <a:pt x="2041" y="6464"/>
                </a:cubicBezTo>
                <a:cubicBezTo>
                  <a:pt x="2056" y="6464"/>
                  <a:pt x="2068" y="6450"/>
                  <a:pt x="2077" y="6428"/>
                </a:cubicBezTo>
                <a:cubicBezTo>
                  <a:pt x="2077" y="6429"/>
                  <a:pt x="2077" y="6430"/>
                  <a:pt x="2077" y="6430"/>
                </a:cubicBezTo>
                <a:cubicBezTo>
                  <a:pt x="2077" y="6439"/>
                  <a:pt x="2078" y="6448"/>
                  <a:pt x="2078" y="6457"/>
                </a:cubicBezTo>
                <a:cubicBezTo>
                  <a:pt x="2078" y="6475"/>
                  <a:pt x="2106" y="6581"/>
                  <a:pt x="2136" y="6581"/>
                </a:cubicBezTo>
                <a:cubicBezTo>
                  <a:pt x="2151" y="6581"/>
                  <a:pt x="2168" y="6562"/>
                  <a:pt x="2168" y="6509"/>
                </a:cubicBezTo>
                <a:cubicBezTo>
                  <a:pt x="2168" y="6507"/>
                  <a:pt x="2168" y="6505"/>
                  <a:pt x="2168" y="6504"/>
                </a:cubicBezTo>
                <a:cubicBezTo>
                  <a:pt x="2185" y="6524"/>
                  <a:pt x="2203" y="6537"/>
                  <a:pt x="2219" y="6538"/>
                </a:cubicBezTo>
                <a:cubicBezTo>
                  <a:pt x="2206" y="6548"/>
                  <a:pt x="2196" y="6568"/>
                  <a:pt x="2196" y="6597"/>
                </a:cubicBezTo>
                <a:cubicBezTo>
                  <a:pt x="2196" y="6635"/>
                  <a:pt x="2212" y="6665"/>
                  <a:pt x="2230" y="6665"/>
                </a:cubicBezTo>
                <a:cubicBezTo>
                  <a:pt x="2234" y="6665"/>
                  <a:pt x="2237" y="6659"/>
                  <a:pt x="2240" y="6657"/>
                </a:cubicBezTo>
                <a:cubicBezTo>
                  <a:pt x="2241" y="6711"/>
                  <a:pt x="2246" y="6765"/>
                  <a:pt x="2272" y="6780"/>
                </a:cubicBezTo>
                <a:cubicBezTo>
                  <a:pt x="2276" y="6782"/>
                  <a:pt x="2281" y="6783"/>
                  <a:pt x="2285" y="6785"/>
                </a:cubicBezTo>
                <a:cubicBezTo>
                  <a:pt x="2298" y="6790"/>
                  <a:pt x="2306" y="6794"/>
                  <a:pt x="2312" y="6806"/>
                </a:cubicBezTo>
                <a:cubicBezTo>
                  <a:pt x="2316" y="6814"/>
                  <a:pt x="2316" y="6824"/>
                  <a:pt x="2316" y="6845"/>
                </a:cubicBezTo>
                <a:cubicBezTo>
                  <a:pt x="2316" y="6851"/>
                  <a:pt x="2316" y="6857"/>
                  <a:pt x="2316" y="6863"/>
                </a:cubicBezTo>
                <a:cubicBezTo>
                  <a:pt x="2300" y="6890"/>
                  <a:pt x="2289" y="6929"/>
                  <a:pt x="2289" y="6975"/>
                </a:cubicBezTo>
                <a:cubicBezTo>
                  <a:pt x="2289" y="7056"/>
                  <a:pt x="2322" y="7123"/>
                  <a:pt x="2363" y="7123"/>
                </a:cubicBezTo>
                <a:cubicBezTo>
                  <a:pt x="2378" y="7123"/>
                  <a:pt x="2390" y="7112"/>
                  <a:pt x="2402" y="7097"/>
                </a:cubicBezTo>
                <a:cubicBezTo>
                  <a:pt x="2404" y="7112"/>
                  <a:pt x="2406" y="7127"/>
                  <a:pt x="2409" y="7140"/>
                </a:cubicBezTo>
                <a:cubicBezTo>
                  <a:pt x="2414" y="7158"/>
                  <a:pt x="2419" y="7173"/>
                  <a:pt x="2426" y="7186"/>
                </a:cubicBezTo>
                <a:cubicBezTo>
                  <a:pt x="2421" y="7182"/>
                  <a:pt x="2415" y="7180"/>
                  <a:pt x="2409" y="7180"/>
                </a:cubicBezTo>
                <a:cubicBezTo>
                  <a:pt x="2397" y="7180"/>
                  <a:pt x="2386" y="7191"/>
                  <a:pt x="2377" y="7200"/>
                </a:cubicBezTo>
                <a:lnTo>
                  <a:pt x="2373" y="7204"/>
                </a:lnTo>
                <a:cubicBezTo>
                  <a:pt x="2367" y="7211"/>
                  <a:pt x="2363" y="7223"/>
                  <a:pt x="2365" y="7237"/>
                </a:cubicBezTo>
                <a:cubicBezTo>
                  <a:pt x="2366" y="7251"/>
                  <a:pt x="2372" y="7260"/>
                  <a:pt x="2379" y="7260"/>
                </a:cubicBezTo>
                <a:lnTo>
                  <a:pt x="2386" y="7260"/>
                </a:lnTo>
                <a:cubicBezTo>
                  <a:pt x="2387" y="7261"/>
                  <a:pt x="2388" y="7262"/>
                  <a:pt x="2389" y="7263"/>
                </a:cubicBezTo>
                <a:cubicBezTo>
                  <a:pt x="2384" y="7270"/>
                  <a:pt x="2382" y="7283"/>
                  <a:pt x="2384" y="7295"/>
                </a:cubicBezTo>
                <a:cubicBezTo>
                  <a:pt x="2393" y="7350"/>
                  <a:pt x="2436" y="7388"/>
                  <a:pt x="2475" y="7403"/>
                </a:cubicBezTo>
                <a:cubicBezTo>
                  <a:pt x="2474" y="7406"/>
                  <a:pt x="2474" y="7410"/>
                  <a:pt x="2473" y="7414"/>
                </a:cubicBezTo>
                <a:cubicBezTo>
                  <a:pt x="2472" y="7427"/>
                  <a:pt x="2474" y="7441"/>
                  <a:pt x="2480" y="7448"/>
                </a:cubicBezTo>
                <a:cubicBezTo>
                  <a:pt x="2486" y="7456"/>
                  <a:pt x="2493" y="7465"/>
                  <a:pt x="2501" y="7476"/>
                </a:cubicBezTo>
                <a:cubicBezTo>
                  <a:pt x="2528" y="7513"/>
                  <a:pt x="2566" y="7563"/>
                  <a:pt x="2601" y="7590"/>
                </a:cubicBezTo>
                <a:cubicBezTo>
                  <a:pt x="2592" y="7601"/>
                  <a:pt x="2587" y="7615"/>
                  <a:pt x="2587" y="7635"/>
                </a:cubicBezTo>
                <a:cubicBezTo>
                  <a:pt x="2587" y="7692"/>
                  <a:pt x="2603" y="7732"/>
                  <a:pt x="2617" y="7766"/>
                </a:cubicBezTo>
                <a:cubicBezTo>
                  <a:pt x="2629" y="7797"/>
                  <a:pt x="2640" y="7824"/>
                  <a:pt x="2640" y="7860"/>
                </a:cubicBezTo>
                <a:cubicBezTo>
                  <a:pt x="2640" y="7911"/>
                  <a:pt x="2631" y="7986"/>
                  <a:pt x="2621" y="8058"/>
                </a:cubicBezTo>
                <a:cubicBezTo>
                  <a:pt x="2615" y="8106"/>
                  <a:pt x="2610" y="8151"/>
                  <a:pt x="2605" y="8194"/>
                </a:cubicBezTo>
                <a:cubicBezTo>
                  <a:pt x="2600" y="8253"/>
                  <a:pt x="2597" y="8307"/>
                  <a:pt x="2605" y="8347"/>
                </a:cubicBezTo>
                <a:cubicBezTo>
                  <a:pt x="2607" y="8357"/>
                  <a:pt x="2609" y="8371"/>
                  <a:pt x="2610" y="8385"/>
                </a:cubicBezTo>
                <a:cubicBezTo>
                  <a:pt x="2614" y="8425"/>
                  <a:pt x="2614" y="8470"/>
                  <a:pt x="2614" y="8514"/>
                </a:cubicBezTo>
                <a:cubicBezTo>
                  <a:pt x="2613" y="8572"/>
                  <a:pt x="2614" y="8633"/>
                  <a:pt x="2622" y="8684"/>
                </a:cubicBezTo>
                <a:cubicBezTo>
                  <a:pt x="2601" y="8718"/>
                  <a:pt x="2596" y="8753"/>
                  <a:pt x="2606" y="8790"/>
                </a:cubicBezTo>
                <a:cubicBezTo>
                  <a:pt x="2611" y="8807"/>
                  <a:pt x="2616" y="8826"/>
                  <a:pt x="2622" y="8845"/>
                </a:cubicBezTo>
                <a:cubicBezTo>
                  <a:pt x="2656" y="8966"/>
                  <a:pt x="2691" y="9090"/>
                  <a:pt x="2730" y="9123"/>
                </a:cubicBezTo>
                <a:cubicBezTo>
                  <a:pt x="2727" y="9230"/>
                  <a:pt x="2750" y="9294"/>
                  <a:pt x="2773" y="9360"/>
                </a:cubicBezTo>
                <a:cubicBezTo>
                  <a:pt x="2787" y="9398"/>
                  <a:pt x="2801" y="9437"/>
                  <a:pt x="2811" y="9487"/>
                </a:cubicBezTo>
                <a:cubicBezTo>
                  <a:pt x="2812" y="9494"/>
                  <a:pt x="2813" y="9503"/>
                  <a:pt x="2813" y="9512"/>
                </a:cubicBezTo>
                <a:cubicBezTo>
                  <a:pt x="2813" y="9512"/>
                  <a:pt x="2813" y="9512"/>
                  <a:pt x="2813" y="9513"/>
                </a:cubicBezTo>
                <a:lnTo>
                  <a:pt x="2814" y="9527"/>
                </a:lnTo>
                <a:cubicBezTo>
                  <a:pt x="2815" y="9544"/>
                  <a:pt x="2817" y="9584"/>
                  <a:pt x="2836" y="9598"/>
                </a:cubicBezTo>
                <a:cubicBezTo>
                  <a:pt x="2891" y="9640"/>
                  <a:pt x="3002" y="9726"/>
                  <a:pt x="3039" y="9841"/>
                </a:cubicBezTo>
                <a:cubicBezTo>
                  <a:pt x="3039" y="9843"/>
                  <a:pt x="3039" y="9845"/>
                  <a:pt x="3039" y="9846"/>
                </a:cubicBezTo>
                <a:lnTo>
                  <a:pt x="3039" y="9875"/>
                </a:lnTo>
                <a:cubicBezTo>
                  <a:pt x="3039" y="9878"/>
                  <a:pt x="3039" y="9881"/>
                  <a:pt x="3039" y="9883"/>
                </a:cubicBezTo>
                <a:cubicBezTo>
                  <a:pt x="3049" y="9949"/>
                  <a:pt x="3062" y="9986"/>
                  <a:pt x="3074" y="10021"/>
                </a:cubicBezTo>
                <a:cubicBezTo>
                  <a:pt x="3078" y="10033"/>
                  <a:pt x="3082" y="10048"/>
                  <a:pt x="3086" y="10062"/>
                </a:cubicBezTo>
                <a:cubicBezTo>
                  <a:pt x="3066" y="10088"/>
                  <a:pt x="3052" y="10131"/>
                  <a:pt x="3052" y="10183"/>
                </a:cubicBezTo>
                <a:cubicBezTo>
                  <a:pt x="3052" y="10265"/>
                  <a:pt x="3085" y="10331"/>
                  <a:pt x="3126" y="10331"/>
                </a:cubicBezTo>
                <a:cubicBezTo>
                  <a:pt x="3133" y="10331"/>
                  <a:pt x="3140" y="10327"/>
                  <a:pt x="3146" y="10323"/>
                </a:cubicBezTo>
                <a:cubicBezTo>
                  <a:pt x="3176" y="10370"/>
                  <a:pt x="3206" y="10443"/>
                  <a:pt x="3232" y="10515"/>
                </a:cubicBezTo>
                <a:cubicBezTo>
                  <a:pt x="3226" y="10516"/>
                  <a:pt x="3218" y="10515"/>
                  <a:pt x="3212" y="10514"/>
                </a:cubicBezTo>
                <a:cubicBezTo>
                  <a:pt x="3209" y="10514"/>
                  <a:pt x="3206" y="10513"/>
                  <a:pt x="3204" y="10513"/>
                </a:cubicBezTo>
                <a:cubicBezTo>
                  <a:pt x="3199" y="10513"/>
                  <a:pt x="3194" y="10519"/>
                  <a:pt x="3191" y="10529"/>
                </a:cubicBezTo>
                <a:cubicBezTo>
                  <a:pt x="3188" y="10539"/>
                  <a:pt x="3189" y="10550"/>
                  <a:pt x="3192" y="10560"/>
                </a:cubicBezTo>
                <a:cubicBezTo>
                  <a:pt x="3206" y="10602"/>
                  <a:pt x="3227" y="10616"/>
                  <a:pt x="3248" y="10629"/>
                </a:cubicBezTo>
                <a:cubicBezTo>
                  <a:pt x="3264" y="10640"/>
                  <a:pt x="3280" y="10652"/>
                  <a:pt x="3292" y="10675"/>
                </a:cubicBezTo>
                <a:cubicBezTo>
                  <a:pt x="3302" y="10695"/>
                  <a:pt x="3310" y="10717"/>
                  <a:pt x="3320" y="10739"/>
                </a:cubicBezTo>
                <a:cubicBezTo>
                  <a:pt x="3329" y="10760"/>
                  <a:pt x="3338" y="10781"/>
                  <a:pt x="3349" y="10802"/>
                </a:cubicBezTo>
                <a:lnTo>
                  <a:pt x="3349" y="10900"/>
                </a:lnTo>
                <a:cubicBezTo>
                  <a:pt x="3349" y="10905"/>
                  <a:pt x="3349" y="10910"/>
                  <a:pt x="3350" y="10915"/>
                </a:cubicBezTo>
                <a:cubicBezTo>
                  <a:pt x="3357" y="10937"/>
                  <a:pt x="3361" y="10943"/>
                  <a:pt x="3370" y="10955"/>
                </a:cubicBezTo>
                <a:lnTo>
                  <a:pt x="3376" y="10964"/>
                </a:lnTo>
                <a:cubicBezTo>
                  <a:pt x="3383" y="10972"/>
                  <a:pt x="3390" y="10989"/>
                  <a:pt x="3397" y="11007"/>
                </a:cubicBezTo>
                <a:cubicBezTo>
                  <a:pt x="3412" y="11044"/>
                  <a:pt x="3431" y="11088"/>
                  <a:pt x="3457" y="11097"/>
                </a:cubicBezTo>
                <a:cubicBezTo>
                  <a:pt x="3467" y="11130"/>
                  <a:pt x="3488" y="11189"/>
                  <a:pt x="3501" y="11189"/>
                </a:cubicBezTo>
                <a:cubicBezTo>
                  <a:pt x="3522" y="11189"/>
                  <a:pt x="3531" y="11118"/>
                  <a:pt x="3531" y="11096"/>
                </a:cubicBezTo>
                <a:cubicBezTo>
                  <a:pt x="3531" y="11064"/>
                  <a:pt x="3519" y="11018"/>
                  <a:pt x="3502" y="10997"/>
                </a:cubicBezTo>
                <a:cubicBezTo>
                  <a:pt x="3507" y="10999"/>
                  <a:pt x="3512" y="11003"/>
                  <a:pt x="3517" y="11003"/>
                </a:cubicBezTo>
                <a:cubicBezTo>
                  <a:pt x="3549" y="11003"/>
                  <a:pt x="3575" y="10961"/>
                  <a:pt x="3585" y="10903"/>
                </a:cubicBezTo>
                <a:cubicBezTo>
                  <a:pt x="3595" y="10914"/>
                  <a:pt x="3605" y="10925"/>
                  <a:pt x="3611" y="10938"/>
                </a:cubicBezTo>
                <a:cubicBezTo>
                  <a:pt x="3618" y="10951"/>
                  <a:pt x="3625" y="10965"/>
                  <a:pt x="3632" y="10979"/>
                </a:cubicBezTo>
                <a:cubicBezTo>
                  <a:pt x="3676" y="11065"/>
                  <a:pt x="3732" y="11171"/>
                  <a:pt x="3752" y="11295"/>
                </a:cubicBezTo>
                <a:cubicBezTo>
                  <a:pt x="3754" y="11311"/>
                  <a:pt x="3759" y="11323"/>
                  <a:pt x="3763" y="11334"/>
                </a:cubicBezTo>
                <a:cubicBezTo>
                  <a:pt x="3768" y="11348"/>
                  <a:pt x="3772" y="11360"/>
                  <a:pt x="3772" y="11385"/>
                </a:cubicBezTo>
                <a:cubicBezTo>
                  <a:pt x="3772" y="11400"/>
                  <a:pt x="3769" y="11413"/>
                  <a:pt x="3764" y="11429"/>
                </a:cubicBezTo>
                <a:cubicBezTo>
                  <a:pt x="3759" y="11449"/>
                  <a:pt x="3752" y="11472"/>
                  <a:pt x="3752" y="11504"/>
                </a:cubicBezTo>
                <a:cubicBezTo>
                  <a:pt x="3752" y="11552"/>
                  <a:pt x="3766" y="11603"/>
                  <a:pt x="3788" y="11616"/>
                </a:cubicBezTo>
                <a:cubicBezTo>
                  <a:pt x="3797" y="11649"/>
                  <a:pt x="3820" y="11672"/>
                  <a:pt x="3843" y="11695"/>
                </a:cubicBezTo>
                <a:cubicBezTo>
                  <a:pt x="3859" y="11711"/>
                  <a:pt x="3876" y="11728"/>
                  <a:pt x="3885" y="11746"/>
                </a:cubicBezTo>
                <a:cubicBezTo>
                  <a:pt x="3889" y="11754"/>
                  <a:pt x="3893" y="11758"/>
                  <a:pt x="3897" y="11763"/>
                </a:cubicBezTo>
                <a:cubicBezTo>
                  <a:pt x="3893" y="11787"/>
                  <a:pt x="3889" y="11813"/>
                  <a:pt x="3889" y="11841"/>
                </a:cubicBezTo>
                <a:cubicBezTo>
                  <a:pt x="3889" y="11973"/>
                  <a:pt x="3943" y="12080"/>
                  <a:pt x="4009" y="12080"/>
                </a:cubicBezTo>
                <a:cubicBezTo>
                  <a:pt x="4057" y="12080"/>
                  <a:pt x="4098" y="12022"/>
                  <a:pt x="4117" y="11939"/>
                </a:cubicBezTo>
                <a:cubicBezTo>
                  <a:pt x="4122" y="11945"/>
                  <a:pt x="4128" y="11951"/>
                  <a:pt x="4136" y="11961"/>
                </a:cubicBezTo>
                <a:lnTo>
                  <a:pt x="4146" y="11975"/>
                </a:lnTo>
                <a:cubicBezTo>
                  <a:pt x="4187" y="12025"/>
                  <a:pt x="4216" y="12056"/>
                  <a:pt x="4235" y="12056"/>
                </a:cubicBezTo>
                <a:cubicBezTo>
                  <a:pt x="4239" y="12056"/>
                  <a:pt x="4244" y="12056"/>
                  <a:pt x="4248" y="12055"/>
                </a:cubicBezTo>
                <a:cubicBezTo>
                  <a:pt x="4252" y="12055"/>
                  <a:pt x="4256" y="12054"/>
                  <a:pt x="4259" y="12054"/>
                </a:cubicBezTo>
                <a:cubicBezTo>
                  <a:pt x="4267" y="12054"/>
                  <a:pt x="4271" y="12057"/>
                  <a:pt x="4277" y="12062"/>
                </a:cubicBezTo>
                <a:cubicBezTo>
                  <a:pt x="4278" y="12064"/>
                  <a:pt x="4281" y="12067"/>
                  <a:pt x="4284" y="12070"/>
                </a:cubicBezTo>
                <a:cubicBezTo>
                  <a:pt x="4294" y="12084"/>
                  <a:pt x="4309" y="12103"/>
                  <a:pt x="4326" y="12103"/>
                </a:cubicBezTo>
                <a:cubicBezTo>
                  <a:pt x="4350" y="12103"/>
                  <a:pt x="4364" y="12075"/>
                  <a:pt x="4375" y="12053"/>
                </a:cubicBezTo>
                <a:cubicBezTo>
                  <a:pt x="4387" y="12031"/>
                  <a:pt x="4394" y="12018"/>
                  <a:pt x="4407" y="12018"/>
                </a:cubicBezTo>
                <a:cubicBezTo>
                  <a:pt x="4420" y="12018"/>
                  <a:pt x="4429" y="12028"/>
                  <a:pt x="4445" y="12048"/>
                </a:cubicBezTo>
                <a:cubicBezTo>
                  <a:pt x="4448" y="12051"/>
                  <a:pt x="4451" y="12052"/>
                  <a:pt x="4453" y="12052"/>
                </a:cubicBezTo>
                <a:lnTo>
                  <a:pt x="4463" y="12052"/>
                </a:lnTo>
                <a:cubicBezTo>
                  <a:pt x="4486" y="12076"/>
                  <a:pt x="4500" y="12108"/>
                  <a:pt x="4516" y="12144"/>
                </a:cubicBezTo>
                <a:cubicBezTo>
                  <a:pt x="4534" y="12185"/>
                  <a:pt x="4554" y="12230"/>
                  <a:pt x="4591" y="12266"/>
                </a:cubicBezTo>
                <a:cubicBezTo>
                  <a:pt x="4602" y="12277"/>
                  <a:pt x="4610" y="12277"/>
                  <a:pt x="4620" y="12283"/>
                </a:cubicBezTo>
                <a:cubicBezTo>
                  <a:pt x="4625" y="12325"/>
                  <a:pt x="4642" y="12358"/>
                  <a:pt x="4664" y="12358"/>
                </a:cubicBezTo>
                <a:cubicBezTo>
                  <a:pt x="4679" y="12358"/>
                  <a:pt x="4691" y="12345"/>
                  <a:pt x="4700" y="12325"/>
                </a:cubicBezTo>
                <a:cubicBezTo>
                  <a:pt x="4701" y="12326"/>
                  <a:pt x="4702" y="12325"/>
                  <a:pt x="4703" y="12326"/>
                </a:cubicBezTo>
                <a:cubicBezTo>
                  <a:pt x="4710" y="12331"/>
                  <a:pt x="4716" y="12339"/>
                  <a:pt x="4723" y="12347"/>
                </a:cubicBezTo>
                <a:lnTo>
                  <a:pt x="4724" y="12349"/>
                </a:lnTo>
                <a:lnTo>
                  <a:pt x="4727" y="12351"/>
                </a:lnTo>
                <a:cubicBezTo>
                  <a:pt x="4727" y="12351"/>
                  <a:pt x="4727" y="12352"/>
                  <a:pt x="4727" y="12352"/>
                </a:cubicBezTo>
                <a:cubicBezTo>
                  <a:pt x="4745" y="12374"/>
                  <a:pt x="4766" y="12400"/>
                  <a:pt x="4799" y="12400"/>
                </a:cubicBezTo>
                <a:cubicBezTo>
                  <a:pt x="4809" y="12400"/>
                  <a:pt x="4818" y="12393"/>
                  <a:pt x="4825" y="12387"/>
                </a:cubicBezTo>
                <a:cubicBezTo>
                  <a:pt x="4830" y="12383"/>
                  <a:pt x="4835" y="12379"/>
                  <a:pt x="4840" y="12379"/>
                </a:cubicBezTo>
                <a:lnTo>
                  <a:pt x="4841" y="12379"/>
                </a:lnTo>
                <a:cubicBezTo>
                  <a:pt x="4853" y="12451"/>
                  <a:pt x="4876" y="12492"/>
                  <a:pt x="4900" y="12534"/>
                </a:cubicBezTo>
                <a:cubicBezTo>
                  <a:pt x="4908" y="12548"/>
                  <a:pt x="4916" y="12563"/>
                  <a:pt x="4924" y="12580"/>
                </a:cubicBezTo>
                <a:cubicBezTo>
                  <a:pt x="4927" y="12585"/>
                  <a:pt x="4929" y="12589"/>
                  <a:pt x="4932" y="12594"/>
                </a:cubicBezTo>
                <a:cubicBezTo>
                  <a:pt x="4939" y="12607"/>
                  <a:pt x="4944" y="12615"/>
                  <a:pt x="4948" y="12640"/>
                </a:cubicBezTo>
                <a:cubicBezTo>
                  <a:pt x="4951" y="12659"/>
                  <a:pt x="4951" y="12678"/>
                  <a:pt x="4951" y="12699"/>
                </a:cubicBezTo>
                <a:cubicBezTo>
                  <a:pt x="4950" y="12737"/>
                  <a:pt x="4948" y="12785"/>
                  <a:pt x="4975" y="12821"/>
                </a:cubicBezTo>
                <a:cubicBezTo>
                  <a:pt x="4977" y="12824"/>
                  <a:pt x="4981" y="12826"/>
                  <a:pt x="4984" y="12826"/>
                </a:cubicBezTo>
                <a:lnTo>
                  <a:pt x="5005" y="12826"/>
                </a:lnTo>
                <a:cubicBezTo>
                  <a:pt x="5011" y="12826"/>
                  <a:pt x="5016" y="12820"/>
                  <a:pt x="5019" y="12809"/>
                </a:cubicBezTo>
                <a:cubicBezTo>
                  <a:pt x="5039" y="12835"/>
                  <a:pt x="5068" y="12873"/>
                  <a:pt x="5072" y="12885"/>
                </a:cubicBezTo>
                <a:cubicBezTo>
                  <a:pt x="5074" y="12892"/>
                  <a:pt x="5075" y="12899"/>
                  <a:pt x="5076" y="12906"/>
                </a:cubicBezTo>
                <a:cubicBezTo>
                  <a:pt x="5081" y="12934"/>
                  <a:pt x="5088" y="12970"/>
                  <a:pt x="5112" y="12987"/>
                </a:cubicBezTo>
                <a:cubicBezTo>
                  <a:pt x="5117" y="13003"/>
                  <a:pt x="5125" y="13017"/>
                  <a:pt x="5134" y="13017"/>
                </a:cubicBezTo>
                <a:cubicBezTo>
                  <a:pt x="5137" y="13017"/>
                  <a:pt x="5142" y="13015"/>
                  <a:pt x="5147" y="13013"/>
                </a:cubicBezTo>
                <a:cubicBezTo>
                  <a:pt x="5153" y="13020"/>
                  <a:pt x="5159" y="13030"/>
                  <a:pt x="5167" y="13030"/>
                </a:cubicBezTo>
                <a:cubicBezTo>
                  <a:pt x="5175" y="13030"/>
                  <a:pt x="5180" y="13020"/>
                  <a:pt x="5187" y="13013"/>
                </a:cubicBezTo>
                <a:cubicBezTo>
                  <a:pt x="5187" y="13014"/>
                  <a:pt x="5187" y="13013"/>
                  <a:pt x="5187" y="13013"/>
                </a:cubicBezTo>
                <a:cubicBezTo>
                  <a:pt x="5191" y="13021"/>
                  <a:pt x="5195" y="13030"/>
                  <a:pt x="5199" y="13041"/>
                </a:cubicBezTo>
                <a:cubicBezTo>
                  <a:pt x="5215" y="13081"/>
                  <a:pt x="5237" y="13136"/>
                  <a:pt x="5270" y="13136"/>
                </a:cubicBezTo>
                <a:cubicBezTo>
                  <a:pt x="5284" y="13136"/>
                  <a:pt x="5309" y="13125"/>
                  <a:pt x="5316" y="13048"/>
                </a:cubicBezTo>
                <a:cubicBezTo>
                  <a:pt x="5318" y="13035"/>
                  <a:pt x="5314" y="13021"/>
                  <a:pt x="5308" y="13015"/>
                </a:cubicBezTo>
                <a:cubicBezTo>
                  <a:pt x="5306" y="13013"/>
                  <a:pt x="5302" y="13008"/>
                  <a:pt x="5301" y="13005"/>
                </a:cubicBezTo>
                <a:cubicBezTo>
                  <a:pt x="5310" y="12981"/>
                  <a:pt x="5348" y="12927"/>
                  <a:pt x="5359" y="12924"/>
                </a:cubicBezTo>
                <a:cubicBezTo>
                  <a:pt x="5365" y="12924"/>
                  <a:pt x="5369" y="12932"/>
                  <a:pt x="5377" y="12951"/>
                </a:cubicBezTo>
                <a:cubicBezTo>
                  <a:pt x="5381" y="12959"/>
                  <a:pt x="5385" y="12968"/>
                  <a:pt x="5390" y="12977"/>
                </a:cubicBezTo>
                <a:cubicBezTo>
                  <a:pt x="5387" y="12986"/>
                  <a:pt x="5384" y="12997"/>
                  <a:pt x="5384" y="13012"/>
                </a:cubicBezTo>
                <a:cubicBezTo>
                  <a:pt x="5384" y="13039"/>
                  <a:pt x="5397" y="13052"/>
                  <a:pt x="5407" y="13062"/>
                </a:cubicBezTo>
                <a:cubicBezTo>
                  <a:pt x="5408" y="13063"/>
                  <a:pt x="5409" y="13064"/>
                  <a:pt x="5410" y="13065"/>
                </a:cubicBezTo>
                <a:cubicBezTo>
                  <a:pt x="5410" y="13066"/>
                  <a:pt x="5410" y="13067"/>
                  <a:pt x="5410" y="13068"/>
                </a:cubicBezTo>
                <a:cubicBezTo>
                  <a:pt x="5410" y="13118"/>
                  <a:pt x="5423" y="13142"/>
                  <a:pt x="5433" y="13159"/>
                </a:cubicBezTo>
                <a:cubicBezTo>
                  <a:pt x="5442" y="13176"/>
                  <a:pt x="5448" y="13189"/>
                  <a:pt x="5448" y="13222"/>
                </a:cubicBezTo>
                <a:cubicBezTo>
                  <a:pt x="5448" y="13237"/>
                  <a:pt x="5446" y="13248"/>
                  <a:pt x="5444" y="13262"/>
                </a:cubicBezTo>
                <a:cubicBezTo>
                  <a:pt x="5441" y="13279"/>
                  <a:pt x="5437" y="13300"/>
                  <a:pt x="5437" y="13332"/>
                </a:cubicBezTo>
                <a:cubicBezTo>
                  <a:pt x="5437" y="13355"/>
                  <a:pt x="5441" y="13373"/>
                  <a:pt x="5445" y="13390"/>
                </a:cubicBezTo>
                <a:cubicBezTo>
                  <a:pt x="5448" y="13403"/>
                  <a:pt x="5450" y="13414"/>
                  <a:pt x="5450" y="13425"/>
                </a:cubicBezTo>
                <a:lnTo>
                  <a:pt x="5450" y="13439"/>
                </a:lnTo>
                <a:lnTo>
                  <a:pt x="5443" y="13467"/>
                </a:lnTo>
                <a:cubicBezTo>
                  <a:pt x="5442" y="13471"/>
                  <a:pt x="5441" y="13476"/>
                  <a:pt x="5441" y="13481"/>
                </a:cubicBezTo>
                <a:cubicBezTo>
                  <a:pt x="5441" y="13503"/>
                  <a:pt x="5450" y="13523"/>
                  <a:pt x="5460" y="13537"/>
                </a:cubicBezTo>
                <a:cubicBezTo>
                  <a:pt x="5453" y="13570"/>
                  <a:pt x="5440" y="13582"/>
                  <a:pt x="5424" y="13599"/>
                </a:cubicBezTo>
                <a:cubicBezTo>
                  <a:pt x="5408" y="13615"/>
                  <a:pt x="5390" y="13636"/>
                  <a:pt x="5377" y="13677"/>
                </a:cubicBezTo>
                <a:cubicBezTo>
                  <a:pt x="5366" y="13663"/>
                  <a:pt x="5354" y="13653"/>
                  <a:pt x="5340" y="13653"/>
                </a:cubicBezTo>
                <a:cubicBezTo>
                  <a:pt x="5299" y="13653"/>
                  <a:pt x="5266" y="13720"/>
                  <a:pt x="5266" y="13802"/>
                </a:cubicBezTo>
                <a:cubicBezTo>
                  <a:pt x="5266" y="13835"/>
                  <a:pt x="5273" y="13865"/>
                  <a:pt x="5283" y="13890"/>
                </a:cubicBezTo>
                <a:cubicBezTo>
                  <a:pt x="5283" y="13909"/>
                  <a:pt x="5284" y="13927"/>
                  <a:pt x="5283" y="13943"/>
                </a:cubicBezTo>
                <a:cubicBezTo>
                  <a:pt x="5281" y="14000"/>
                  <a:pt x="5271" y="14023"/>
                  <a:pt x="5260" y="14049"/>
                </a:cubicBezTo>
                <a:cubicBezTo>
                  <a:pt x="5249" y="14073"/>
                  <a:pt x="5238" y="14102"/>
                  <a:pt x="5238" y="14152"/>
                </a:cubicBezTo>
                <a:cubicBezTo>
                  <a:pt x="5238" y="14239"/>
                  <a:pt x="5248" y="14282"/>
                  <a:pt x="5261" y="14304"/>
                </a:cubicBezTo>
                <a:cubicBezTo>
                  <a:pt x="5251" y="14294"/>
                  <a:pt x="5240" y="14288"/>
                  <a:pt x="5229" y="14288"/>
                </a:cubicBezTo>
                <a:cubicBezTo>
                  <a:pt x="5188" y="14288"/>
                  <a:pt x="5155" y="14354"/>
                  <a:pt x="5155" y="14436"/>
                </a:cubicBezTo>
                <a:cubicBezTo>
                  <a:pt x="5155" y="14508"/>
                  <a:pt x="5181" y="14565"/>
                  <a:pt x="5215" y="14578"/>
                </a:cubicBezTo>
                <a:cubicBezTo>
                  <a:pt x="5215" y="14662"/>
                  <a:pt x="5246" y="14754"/>
                  <a:pt x="5272" y="14808"/>
                </a:cubicBezTo>
                <a:cubicBezTo>
                  <a:pt x="5279" y="14821"/>
                  <a:pt x="5287" y="14824"/>
                  <a:pt x="5293" y="14827"/>
                </a:cubicBezTo>
                <a:cubicBezTo>
                  <a:pt x="5297" y="14829"/>
                  <a:pt x="5301" y="14831"/>
                  <a:pt x="5301" y="14831"/>
                </a:cubicBezTo>
                <a:cubicBezTo>
                  <a:pt x="5302" y="14839"/>
                  <a:pt x="5304" y="14850"/>
                  <a:pt x="5305" y="14861"/>
                </a:cubicBezTo>
                <a:cubicBezTo>
                  <a:pt x="5310" y="14893"/>
                  <a:pt x="5316" y="14933"/>
                  <a:pt x="5330" y="14960"/>
                </a:cubicBezTo>
                <a:cubicBezTo>
                  <a:pt x="5335" y="14971"/>
                  <a:pt x="5342" y="14974"/>
                  <a:pt x="5347" y="14977"/>
                </a:cubicBezTo>
                <a:cubicBezTo>
                  <a:pt x="5353" y="14979"/>
                  <a:pt x="5353" y="14980"/>
                  <a:pt x="5354" y="14981"/>
                </a:cubicBezTo>
                <a:cubicBezTo>
                  <a:pt x="5373" y="15062"/>
                  <a:pt x="5385" y="15116"/>
                  <a:pt x="5400" y="15211"/>
                </a:cubicBezTo>
                <a:cubicBezTo>
                  <a:pt x="5407" y="15261"/>
                  <a:pt x="5423" y="15306"/>
                  <a:pt x="5437" y="15350"/>
                </a:cubicBezTo>
                <a:cubicBezTo>
                  <a:pt x="5451" y="15392"/>
                  <a:pt x="5466" y="15436"/>
                  <a:pt x="5474" y="15483"/>
                </a:cubicBezTo>
                <a:cubicBezTo>
                  <a:pt x="5478" y="15513"/>
                  <a:pt x="5487" y="15537"/>
                  <a:pt x="5495" y="15558"/>
                </a:cubicBezTo>
                <a:cubicBezTo>
                  <a:pt x="5505" y="15584"/>
                  <a:pt x="5513" y="15606"/>
                  <a:pt x="5513" y="15635"/>
                </a:cubicBezTo>
                <a:cubicBezTo>
                  <a:pt x="5513" y="15647"/>
                  <a:pt x="5513" y="15660"/>
                  <a:pt x="5512" y="15671"/>
                </a:cubicBezTo>
                <a:cubicBezTo>
                  <a:pt x="5511" y="15710"/>
                  <a:pt x="5509" y="15753"/>
                  <a:pt x="5526" y="15788"/>
                </a:cubicBezTo>
                <a:cubicBezTo>
                  <a:pt x="5533" y="15802"/>
                  <a:pt x="5541" y="15815"/>
                  <a:pt x="5548" y="15829"/>
                </a:cubicBezTo>
                <a:cubicBezTo>
                  <a:pt x="5547" y="15834"/>
                  <a:pt x="5545" y="15837"/>
                  <a:pt x="5545" y="15842"/>
                </a:cubicBezTo>
                <a:cubicBezTo>
                  <a:pt x="5545" y="15896"/>
                  <a:pt x="5568" y="15940"/>
                  <a:pt x="5595" y="15940"/>
                </a:cubicBezTo>
                <a:cubicBezTo>
                  <a:pt x="5601" y="15940"/>
                  <a:pt x="5605" y="15931"/>
                  <a:pt x="5610" y="15927"/>
                </a:cubicBezTo>
                <a:cubicBezTo>
                  <a:pt x="5626" y="15945"/>
                  <a:pt x="5642" y="15959"/>
                  <a:pt x="5660" y="15971"/>
                </a:cubicBezTo>
                <a:cubicBezTo>
                  <a:pt x="5687" y="15986"/>
                  <a:pt x="5697" y="15999"/>
                  <a:pt x="5722" y="16048"/>
                </a:cubicBezTo>
                <a:cubicBezTo>
                  <a:pt x="5739" y="16082"/>
                  <a:pt x="5756" y="16092"/>
                  <a:pt x="5773" y="16102"/>
                </a:cubicBezTo>
                <a:cubicBezTo>
                  <a:pt x="5783" y="16107"/>
                  <a:pt x="5793" y="16112"/>
                  <a:pt x="5804" y="16121"/>
                </a:cubicBezTo>
                <a:cubicBezTo>
                  <a:pt x="5813" y="16131"/>
                  <a:pt x="5822" y="16143"/>
                  <a:pt x="5831" y="16155"/>
                </a:cubicBezTo>
                <a:cubicBezTo>
                  <a:pt x="5857" y="16194"/>
                  <a:pt x="5876" y="16246"/>
                  <a:pt x="5887" y="16307"/>
                </a:cubicBezTo>
                <a:cubicBezTo>
                  <a:pt x="5893" y="16349"/>
                  <a:pt x="5904" y="16596"/>
                  <a:pt x="5904" y="16639"/>
                </a:cubicBezTo>
                <a:cubicBezTo>
                  <a:pt x="5904" y="16671"/>
                  <a:pt x="5899" y="16717"/>
                  <a:pt x="5894" y="16761"/>
                </a:cubicBezTo>
                <a:cubicBezTo>
                  <a:pt x="5890" y="16807"/>
                  <a:pt x="5884" y="16849"/>
                  <a:pt x="5884" y="16881"/>
                </a:cubicBezTo>
                <a:lnTo>
                  <a:pt x="5884" y="17066"/>
                </a:lnTo>
                <a:cubicBezTo>
                  <a:pt x="5884" y="17074"/>
                  <a:pt x="5883" y="17083"/>
                  <a:pt x="5882" y="17092"/>
                </a:cubicBezTo>
                <a:cubicBezTo>
                  <a:pt x="5879" y="17091"/>
                  <a:pt x="5877" y="17085"/>
                  <a:pt x="5874" y="17085"/>
                </a:cubicBezTo>
                <a:cubicBezTo>
                  <a:pt x="5847" y="17085"/>
                  <a:pt x="5825" y="17130"/>
                  <a:pt x="5825" y="17185"/>
                </a:cubicBezTo>
                <a:cubicBezTo>
                  <a:pt x="5825" y="17235"/>
                  <a:pt x="5844" y="17271"/>
                  <a:pt x="5868" y="17278"/>
                </a:cubicBezTo>
                <a:cubicBezTo>
                  <a:pt x="5866" y="17334"/>
                  <a:pt x="5857" y="17386"/>
                  <a:pt x="5847" y="17440"/>
                </a:cubicBezTo>
                <a:cubicBezTo>
                  <a:pt x="5834" y="17509"/>
                  <a:pt x="5821" y="17580"/>
                  <a:pt x="5821" y="17668"/>
                </a:cubicBezTo>
                <a:cubicBezTo>
                  <a:pt x="5821" y="17691"/>
                  <a:pt x="5818" y="17713"/>
                  <a:pt x="5815" y="17737"/>
                </a:cubicBezTo>
                <a:cubicBezTo>
                  <a:pt x="5809" y="17778"/>
                  <a:pt x="5803" y="17824"/>
                  <a:pt x="5811" y="17877"/>
                </a:cubicBezTo>
                <a:lnTo>
                  <a:pt x="5812" y="18108"/>
                </a:lnTo>
                <a:lnTo>
                  <a:pt x="5812" y="18187"/>
                </a:lnTo>
                <a:cubicBezTo>
                  <a:pt x="5807" y="18233"/>
                  <a:pt x="5804" y="18273"/>
                  <a:pt x="5801" y="18311"/>
                </a:cubicBezTo>
                <a:cubicBezTo>
                  <a:pt x="5797" y="18356"/>
                  <a:pt x="5794" y="18399"/>
                  <a:pt x="5786" y="18451"/>
                </a:cubicBezTo>
                <a:cubicBezTo>
                  <a:pt x="5786" y="18451"/>
                  <a:pt x="5785" y="18450"/>
                  <a:pt x="5785" y="18451"/>
                </a:cubicBezTo>
                <a:cubicBezTo>
                  <a:pt x="5781" y="18454"/>
                  <a:pt x="5774" y="18461"/>
                  <a:pt x="5769" y="18475"/>
                </a:cubicBezTo>
                <a:cubicBezTo>
                  <a:pt x="5762" y="18494"/>
                  <a:pt x="5758" y="18519"/>
                  <a:pt x="5754" y="18546"/>
                </a:cubicBezTo>
                <a:cubicBezTo>
                  <a:pt x="5752" y="18545"/>
                  <a:pt x="5750" y="18540"/>
                  <a:pt x="5747" y="18540"/>
                </a:cubicBezTo>
                <a:cubicBezTo>
                  <a:pt x="5728" y="18540"/>
                  <a:pt x="5713" y="18571"/>
                  <a:pt x="5713" y="18609"/>
                </a:cubicBezTo>
                <a:cubicBezTo>
                  <a:pt x="5713" y="18631"/>
                  <a:pt x="5719" y="18648"/>
                  <a:pt x="5727" y="18660"/>
                </a:cubicBezTo>
                <a:cubicBezTo>
                  <a:pt x="5711" y="18718"/>
                  <a:pt x="5694" y="18787"/>
                  <a:pt x="5694" y="18867"/>
                </a:cubicBezTo>
                <a:cubicBezTo>
                  <a:pt x="5694" y="19006"/>
                  <a:pt x="5704" y="19037"/>
                  <a:pt x="5712" y="19044"/>
                </a:cubicBezTo>
                <a:cubicBezTo>
                  <a:pt x="5714" y="19048"/>
                  <a:pt x="5716" y="19052"/>
                  <a:pt x="5716" y="19057"/>
                </a:cubicBezTo>
                <a:cubicBezTo>
                  <a:pt x="5715" y="19057"/>
                  <a:pt x="5713" y="19058"/>
                  <a:pt x="5711" y="19058"/>
                </a:cubicBezTo>
                <a:cubicBezTo>
                  <a:pt x="5703" y="19058"/>
                  <a:pt x="5697" y="19068"/>
                  <a:pt x="5696" y="19082"/>
                </a:cubicBezTo>
                <a:cubicBezTo>
                  <a:pt x="5694" y="19111"/>
                  <a:pt x="5690" y="19135"/>
                  <a:pt x="5686" y="19157"/>
                </a:cubicBezTo>
                <a:cubicBezTo>
                  <a:pt x="5681" y="19191"/>
                  <a:pt x="5675" y="19227"/>
                  <a:pt x="5675" y="19279"/>
                </a:cubicBezTo>
                <a:cubicBezTo>
                  <a:pt x="5675" y="19300"/>
                  <a:pt x="5678" y="19349"/>
                  <a:pt x="5686" y="19390"/>
                </a:cubicBezTo>
                <a:cubicBezTo>
                  <a:pt x="5677" y="19392"/>
                  <a:pt x="5663" y="19409"/>
                  <a:pt x="5650" y="19541"/>
                </a:cubicBezTo>
                <a:cubicBezTo>
                  <a:pt x="5649" y="19542"/>
                  <a:pt x="5650" y="19544"/>
                  <a:pt x="5650" y="19546"/>
                </a:cubicBezTo>
                <a:lnTo>
                  <a:pt x="5650" y="19594"/>
                </a:lnTo>
                <a:cubicBezTo>
                  <a:pt x="5644" y="19611"/>
                  <a:pt x="5638" y="19628"/>
                  <a:pt x="5638" y="19649"/>
                </a:cubicBezTo>
                <a:cubicBezTo>
                  <a:pt x="5638" y="19705"/>
                  <a:pt x="5661" y="19750"/>
                  <a:pt x="5689" y="19750"/>
                </a:cubicBezTo>
                <a:cubicBezTo>
                  <a:pt x="5703" y="19750"/>
                  <a:pt x="5715" y="19740"/>
                  <a:pt x="5724" y="19722"/>
                </a:cubicBezTo>
                <a:lnTo>
                  <a:pt x="5690" y="20024"/>
                </a:lnTo>
                <a:cubicBezTo>
                  <a:pt x="5690" y="20023"/>
                  <a:pt x="5689" y="20022"/>
                  <a:pt x="5689" y="20021"/>
                </a:cubicBezTo>
                <a:cubicBezTo>
                  <a:pt x="5684" y="20000"/>
                  <a:pt x="5674" y="19964"/>
                  <a:pt x="5645" y="19964"/>
                </a:cubicBezTo>
                <a:cubicBezTo>
                  <a:pt x="5629" y="19964"/>
                  <a:pt x="5616" y="19989"/>
                  <a:pt x="5612" y="20022"/>
                </a:cubicBezTo>
                <a:cubicBezTo>
                  <a:pt x="5610" y="20027"/>
                  <a:pt x="5609" y="20033"/>
                  <a:pt x="5609" y="20040"/>
                </a:cubicBezTo>
                <a:lnTo>
                  <a:pt x="5609" y="20083"/>
                </a:lnTo>
                <a:cubicBezTo>
                  <a:pt x="5609" y="20084"/>
                  <a:pt x="5609" y="20087"/>
                  <a:pt x="5609" y="20089"/>
                </a:cubicBezTo>
                <a:cubicBezTo>
                  <a:pt x="5612" y="20115"/>
                  <a:pt x="5619" y="20145"/>
                  <a:pt x="5626" y="20174"/>
                </a:cubicBezTo>
                <a:cubicBezTo>
                  <a:pt x="5631" y="20194"/>
                  <a:pt x="5638" y="20222"/>
                  <a:pt x="5638" y="20232"/>
                </a:cubicBezTo>
                <a:cubicBezTo>
                  <a:pt x="5638" y="20253"/>
                  <a:pt x="5630" y="20271"/>
                  <a:pt x="5619" y="20293"/>
                </a:cubicBezTo>
                <a:cubicBezTo>
                  <a:pt x="5619" y="20294"/>
                  <a:pt x="5618" y="20297"/>
                  <a:pt x="5617" y="20298"/>
                </a:cubicBezTo>
                <a:cubicBezTo>
                  <a:pt x="5556" y="20309"/>
                  <a:pt x="5508" y="20408"/>
                  <a:pt x="5508" y="20533"/>
                </a:cubicBezTo>
                <a:cubicBezTo>
                  <a:pt x="5508" y="20660"/>
                  <a:pt x="5559" y="20763"/>
                  <a:pt x="5622" y="20769"/>
                </a:cubicBezTo>
                <a:lnTo>
                  <a:pt x="5622" y="20780"/>
                </a:lnTo>
                <a:cubicBezTo>
                  <a:pt x="5622" y="20839"/>
                  <a:pt x="5641" y="20865"/>
                  <a:pt x="5655" y="20885"/>
                </a:cubicBezTo>
                <a:cubicBezTo>
                  <a:pt x="5671" y="20906"/>
                  <a:pt x="5679" y="20919"/>
                  <a:pt x="5679" y="20955"/>
                </a:cubicBezTo>
                <a:cubicBezTo>
                  <a:pt x="5679" y="20969"/>
                  <a:pt x="5673" y="20989"/>
                  <a:pt x="5668" y="21006"/>
                </a:cubicBezTo>
                <a:lnTo>
                  <a:pt x="5666" y="21011"/>
                </a:lnTo>
                <a:cubicBezTo>
                  <a:pt x="5662" y="21024"/>
                  <a:pt x="5664" y="21042"/>
                  <a:pt x="5670" y="21051"/>
                </a:cubicBezTo>
                <a:cubicBezTo>
                  <a:pt x="5671" y="21052"/>
                  <a:pt x="5672" y="21053"/>
                  <a:pt x="5672" y="21054"/>
                </a:cubicBezTo>
                <a:cubicBezTo>
                  <a:pt x="5671" y="21055"/>
                  <a:pt x="5670" y="21055"/>
                  <a:pt x="5669" y="21056"/>
                </a:cubicBezTo>
                <a:cubicBezTo>
                  <a:pt x="5658" y="21066"/>
                  <a:pt x="5641" y="21081"/>
                  <a:pt x="5641" y="21120"/>
                </a:cubicBezTo>
                <a:cubicBezTo>
                  <a:pt x="5641" y="21139"/>
                  <a:pt x="5649" y="21153"/>
                  <a:pt x="5659" y="21173"/>
                </a:cubicBezTo>
                <a:cubicBezTo>
                  <a:pt x="5661" y="21177"/>
                  <a:pt x="5662" y="21181"/>
                  <a:pt x="5664" y="21184"/>
                </a:cubicBezTo>
                <a:cubicBezTo>
                  <a:pt x="5668" y="21192"/>
                  <a:pt x="5672" y="21200"/>
                  <a:pt x="5676" y="21208"/>
                </a:cubicBezTo>
                <a:cubicBezTo>
                  <a:pt x="5683" y="21224"/>
                  <a:pt x="5693" y="21239"/>
                  <a:pt x="5702" y="21254"/>
                </a:cubicBezTo>
                <a:cubicBezTo>
                  <a:pt x="5710" y="21289"/>
                  <a:pt x="5724" y="21317"/>
                  <a:pt x="5745" y="21317"/>
                </a:cubicBezTo>
                <a:cubicBezTo>
                  <a:pt x="5752" y="21317"/>
                  <a:pt x="5756" y="21308"/>
                  <a:pt x="5762" y="21303"/>
                </a:cubicBezTo>
                <a:cubicBezTo>
                  <a:pt x="5764" y="21304"/>
                  <a:pt x="5765" y="21306"/>
                  <a:pt x="5768" y="21307"/>
                </a:cubicBezTo>
                <a:cubicBezTo>
                  <a:pt x="5776" y="21355"/>
                  <a:pt x="5792" y="21363"/>
                  <a:pt x="5802" y="21363"/>
                </a:cubicBezTo>
                <a:lnTo>
                  <a:pt x="5829" y="21363"/>
                </a:lnTo>
                <a:cubicBezTo>
                  <a:pt x="5837" y="21420"/>
                  <a:pt x="5870" y="21436"/>
                  <a:pt x="5894" y="21448"/>
                </a:cubicBezTo>
                <a:cubicBezTo>
                  <a:pt x="5902" y="21451"/>
                  <a:pt x="5910" y="21454"/>
                  <a:pt x="5916" y="21458"/>
                </a:cubicBezTo>
                <a:cubicBezTo>
                  <a:pt x="5924" y="21463"/>
                  <a:pt x="5927" y="21476"/>
                  <a:pt x="5932" y="21505"/>
                </a:cubicBezTo>
                <a:cubicBezTo>
                  <a:pt x="5939" y="21541"/>
                  <a:pt x="5949" y="21597"/>
                  <a:pt x="5987" y="21597"/>
                </a:cubicBezTo>
                <a:lnTo>
                  <a:pt x="6046" y="21597"/>
                </a:lnTo>
                <a:cubicBezTo>
                  <a:pt x="6053" y="21597"/>
                  <a:pt x="6059" y="21589"/>
                  <a:pt x="6064" y="21583"/>
                </a:cubicBezTo>
                <a:cubicBezTo>
                  <a:pt x="6066" y="21581"/>
                  <a:pt x="6068" y="21580"/>
                  <a:pt x="6067" y="21580"/>
                </a:cubicBezTo>
                <a:lnTo>
                  <a:pt x="6090" y="21580"/>
                </a:lnTo>
                <a:cubicBezTo>
                  <a:pt x="6102" y="21580"/>
                  <a:pt x="6116" y="21566"/>
                  <a:pt x="6137" y="21543"/>
                </a:cubicBezTo>
                <a:cubicBezTo>
                  <a:pt x="6157" y="21524"/>
                  <a:pt x="6180" y="21498"/>
                  <a:pt x="6194" y="21498"/>
                </a:cubicBezTo>
                <a:cubicBezTo>
                  <a:pt x="6197" y="21498"/>
                  <a:pt x="6199" y="21500"/>
                  <a:pt x="6202" y="21500"/>
                </a:cubicBezTo>
                <a:cubicBezTo>
                  <a:pt x="6218" y="21504"/>
                  <a:pt x="6232" y="21498"/>
                  <a:pt x="6240" y="21473"/>
                </a:cubicBezTo>
                <a:cubicBezTo>
                  <a:pt x="6243" y="21466"/>
                  <a:pt x="6244" y="21456"/>
                  <a:pt x="6243" y="21448"/>
                </a:cubicBezTo>
                <a:cubicBezTo>
                  <a:pt x="6242" y="21439"/>
                  <a:pt x="6238" y="21433"/>
                  <a:pt x="6235" y="21429"/>
                </a:cubicBezTo>
                <a:cubicBezTo>
                  <a:pt x="6223" y="21418"/>
                  <a:pt x="6211" y="21407"/>
                  <a:pt x="6200" y="21396"/>
                </a:cubicBezTo>
                <a:cubicBezTo>
                  <a:pt x="6155" y="21356"/>
                  <a:pt x="6113" y="21318"/>
                  <a:pt x="6078" y="21247"/>
                </a:cubicBezTo>
                <a:cubicBezTo>
                  <a:pt x="6075" y="21243"/>
                  <a:pt x="6074" y="21226"/>
                  <a:pt x="6072" y="21218"/>
                </a:cubicBezTo>
                <a:cubicBezTo>
                  <a:pt x="6084" y="21200"/>
                  <a:pt x="6093" y="21174"/>
                  <a:pt x="6093" y="21141"/>
                </a:cubicBezTo>
                <a:cubicBezTo>
                  <a:pt x="6093" y="21085"/>
                  <a:pt x="6071" y="21040"/>
                  <a:pt x="6043" y="21040"/>
                </a:cubicBezTo>
                <a:cubicBezTo>
                  <a:pt x="6042" y="21040"/>
                  <a:pt x="6042" y="21041"/>
                  <a:pt x="6041" y="21041"/>
                </a:cubicBezTo>
                <a:cubicBezTo>
                  <a:pt x="6039" y="21028"/>
                  <a:pt x="6038" y="21013"/>
                  <a:pt x="6035" y="21001"/>
                </a:cubicBezTo>
                <a:cubicBezTo>
                  <a:pt x="6028" y="20977"/>
                  <a:pt x="6020" y="20959"/>
                  <a:pt x="6011" y="20949"/>
                </a:cubicBezTo>
                <a:cubicBezTo>
                  <a:pt x="6009" y="20947"/>
                  <a:pt x="6008" y="20946"/>
                  <a:pt x="6006" y="20945"/>
                </a:cubicBezTo>
                <a:cubicBezTo>
                  <a:pt x="6001" y="20942"/>
                  <a:pt x="5987" y="20907"/>
                  <a:pt x="5987" y="20878"/>
                </a:cubicBezTo>
                <a:cubicBezTo>
                  <a:pt x="5987" y="20804"/>
                  <a:pt x="5996" y="20752"/>
                  <a:pt x="6018" y="20708"/>
                </a:cubicBezTo>
                <a:cubicBezTo>
                  <a:pt x="6023" y="20697"/>
                  <a:pt x="6031" y="20694"/>
                  <a:pt x="6041" y="20690"/>
                </a:cubicBezTo>
                <a:cubicBezTo>
                  <a:pt x="6056" y="20684"/>
                  <a:pt x="6077" y="20675"/>
                  <a:pt x="6089" y="20627"/>
                </a:cubicBezTo>
                <a:cubicBezTo>
                  <a:pt x="6096" y="20599"/>
                  <a:pt x="6098" y="20572"/>
                  <a:pt x="6100" y="20549"/>
                </a:cubicBezTo>
                <a:cubicBezTo>
                  <a:pt x="6102" y="20521"/>
                  <a:pt x="6104" y="20503"/>
                  <a:pt x="6110" y="20491"/>
                </a:cubicBezTo>
                <a:cubicBezTo>
                  <a:pt x="6117" y="20475"/>
                  <a:pt x="6128" y="20463"/>
                  <a:pt x="6139" y="20450"/>
                </a:cubicBezTo>
                <a:cubicBezTo>
                  <a:pt x="6164" y="20418"/>
                  <a:pt x="6197" y="20378"/>
                  <a:pt x="6197" y="20279"/>
                </a:cubicBezTo>
                <a:cubicBezTo>
                  <a:pt x="6197" y="20203"/>
                  <a:pt x="6172" y="20177"/>
                  <a:pt x="6150" y="20156"/>
                </a:cubicBezTo>
                <a:cubicBezTo>
                  <a:pt x="6148" y="20154"/>
                  <a:pt x="6146" y="20151"/>
                  <a:pt x="6144" y="20149"/>
                </a:cubicBezTo>
                <a:cubicBezTo>
                  <a:pt x="6120" y="20127"/>
                  <a:pt x="6101" y="20108"/>
                  <a:pt x="6101" y="20040"/>
                </a:cubicBezTo>
                <a:cubicBezTo>
                  <a:pt x="6101" y="19979"/>
                  <a:pt x="6128" y="19933"/>
                  <a:pt x="6152" y="19921"/>
                </a:cubicBezTo>
                <a:lnTo>
                  <a:pt x="6157" y="19919"/>
                </a:lnTo>
                <a:cubicBezTo>
                  <a:pt x="6176" y="19915"/>
                  <a:pt x="6216" y="19905"/>
                  <a:pt x="6222" y="19843"/>
                </a:cubicBezTo>
                <a:cubicBezTo>
                  <a:pt x="6224" y="19821"/>
                  <a:pt x="6226" y="19800"/>
                  <a:pt x="6228" y="19781"/>
                </a:cubicBezTo>
                <a:cubicBezTo>
                  <a:pt x="6236" y="19706"/>
                  <a:pt x="6241" y="19652"/>
                  <a:pt x="6268" y="19598"/>
                </a:cubicBezTo>
                <a:cubicBezTo>
                  <a:pt x="6271" y="19592"/>
                  <a:pt x="6273" y="19584"/>
                  <a:pt x="6272" y="19576"/>
                </a:cubicBezTo>
                <a:cubicBezTo>
                  <a:pt x="6277" y="19579"/>
                  <a:pt x="6283" y="19581"/>
                  <a:pt x="6290" y="19581"/>
                </a:cubicBezTo>
                <a:cubicBezTo>
                  <a:pt x="6304" y="19581"/>
                  <a:pt x="6326" y="19535"/>
                  <a:pt x="6326" y="19496"/>
                </a:cubicBezTo>
                <a:cubicBezTo>
                  <a:pt x="6326" y="19467"/>
                  <a:pt x="6316" y="19452"/>
                  <a:pt x="6309" y="19443"/>
                </a:cubicBezTo>
                <a:cubicBezTo>
                  <a:pt x="6307" y="19440"/>
                  <a:pt x="6305" y="19436"/>
                  <a:pt x="6303" y="19432"/>
                </a:cubicBezTo>
                <a:cubicBezTo>
                  <a:pt x="6299" y="19425"/>
                  <a:pt x="6293" y="19422"/>
                  <a:pt x="6288" y="19425"/>
                </a:cubicBezTo>
                <a:cubicBezTo>
                  <a:pt x="6283" y="19428"/>
                  <a:pt x="6279" y="19434"/>
                  <a:pt x="6274" y="19440"/>
                </a:cubicBezTo>
                <a:cubicBezTo>
                  <a:pt x="6271" y="19445"/>
                  <a:pt x="6264" y="19452"/>
                  <a:pt x="6263" y="19453"/>
                </a:cubicBezTo>
                <a:cubicBezTo>
                  <a:pt x="6253" y="19446"/>
                  <a:pt x="6233" y="19364"/>
                  <a:pt x="6233" y="19313"/>
                </a:cubicBezTo>
                <a:cubicBezTo>
                  <a:pt x="6233" y="19310"/>
                  <a:pt x="6234" y="19292"/>
                  <a:pt x="6239" y="19292"/>
                </a:cubicBezTo>
                <a:cubicBezTo>
                  <a:pt x="6256" y="19292"/>
                  <a:pt x="6266" y="19304"/>
                  <a:pt x="6278" y="19318"/>
                </a:cubicBezTo>
                <a:cubicBezTo>
                  <a:pt x="6280" y="19320"/>
                  <a:pt x="6283" y="19323"/>
                  <a:pt x="6285" y="19325"/>
                </a:cubicBezTo>
                <a:cubicBezTo>
                  <a:pt x="6287" y="19327"/>
                  <a:pt x="6289" y="19329"/>
                  <a:pt x="6291" y="19331"/>
                </a:cubicBezTo>
                <a:cubicBezTo>
                  <a:pt x="6302" y="19342"/>
                  <a:pt x="6315" y="19352"/>
                  <a:pt x="6335" y="19352"/>
                </a:cubicBezTo>
                <a:cubicBezTo>
                  <a:pt x="6351" y="19352"/>
                  <a:pt x="6398" y="19320"/>
                  <a:pt x="6398" y="19271"/>
                </a:cubicBezTo>
                <a:lnTo>
                  <a:pt x="6398" y="19235"/>
                </a:lnTo>
                <a:cubicBezTo>
                  <a:pt x="6404" y="19204"/>
                  <a:pt x="6404" y="19166"/>
                  <a:pt x="6404" y="19126"/>
                </a:cubicBezTo>
                <a:cubicBezTo>
                  <a:pt x="6404" y="19115"/>
                  <a:pt x="6404" y="19103"/>
                  <a:pt x="6404" y="19092"/>
                </a:cubicBezTo>
                <a:cubicBezTo>
                  <a:pt x="6404" y="19091"/>
                  <a:pt x="6404" y="19091"/>
                  <a:pt x="6404" y="19091"/>
                </a:cubicBezTo>
                <a:cubicBezTo>
                  <a:pt x="6404" y="19090"/>
                  <a:pt x="6404" y="19088"/>
                  <a:pt x="6404" y="19087"/>
                </a:cubicBezTo>
                <a:cubicBezTo>
                  <a:pt x="6405" y="19045"/>
                  <a:pt x="6408" y="19021"/>
                  <a:pt x="6415" y="19007"/>
                </a:cubicBezTo>
                <a:cubicBezTo>
                  <a:pt x="6415" y="19006"/>
                  <a:pt x="6419" y="19000"/>
                  <a:pt x="6435" y="19000"/>
                </a:cubicBezTo>
                <a:cubicBezTo>
                  <a:pt x="6445" y="19000"/>
                  <a:pt x="6455" y="19002"/>
                  <a:pt x="6467" y="19004"/>
                </a:cubicBezTo>
                <a:cubicBezTo>
                  <a:pt x="6491" y="19009"/>
                  <a:pt x="6516" y="19012"/>
                  <a:pt x="6532" y="19002"/>
                </a:cubicBezTo>
                <a:cubicBezTo>
                  <a:pt x="6549" y="18991"/>
                  <a:pt x="6566" y="18986"/>
                  <a:pt x="6582" y="18981"/>
                </a:cubicBezTo>
                <a:cubicBezTo>
                  <a:pt x="6612" y="18972"/>
                  <a:pt x="6643" y="18962"/>
                  <a:pt x="6669" y="18909"/>
                </a:cubicBezTo>
                <a:lnTo>
                  <a:pt x="6677" y="18894"/>
                </a:lnTo>
                <a:cubicBezTo>
                  <a:pt x="6695" y="18858"/>
                  <a:pt x="6709" y="18830"/>
                  <a:pt x="6726" y="18775"/>
                </a:cubicBezTo>
                <a:cubicBezTo>
                  <a:pt x="6739" y="18734"/>
                  <a:pt x="6739" y="18699"/>
                  <a:pt x="6739" y="18645"/>
                </a:cubicBezTo>
                <a:cubicBezTo>
                  <a:pt x="6739" y="18605"/>
                  <a:pt x="6725" y="18586"/>
                  <a:pt x="6714" y="18572"/>
                </a:cubicBezTo>
                <a:cubicBezTo>
                  <a:pt x="6705" y="18561"/>
                  <a:pt x="6700" y="18555"/>
                  <a:pt x="6699" y="18543"/>
                </a:cubicBezTo>
                <a:cubicBezTo>
                  <a:pt x="6696" y="18528"/>
                  <a:pt x="6694" y="18513"/>
                  <a:pt x="6693" y="18500"/>
                </a:cubicBezTo>
                <a:cubicBezTo>
                  <a:pt x="6689" y="18465"/>
                  <a:pt x="6684" y="18429"/>
                  <a:pt x="6669" y="18399"/>
                </a:cubicBezTo>
                <a:cubicBezTo>
                  <a:pt x="6666" y="18393"/>
                  <a:pt x="6662" y="18388"/>
                  <a:pt x="6656" y="18382"/>
                </a:cubicBezTo>
                <a:cubicBezTo>
                  <a:pt x="6650" y="18375"/>
                  <a:pt x="6642" y="18367"/>
                  <a:pt x="6638" y="18357"/>
                </a:cubicBezTo>
                <a:cubicBezTo>
                  <a:pt x="6643" y="18357"/>
                  <a:pt x="6649" y="18359"/>
                  <a:pt x="6656" y="18363"/>
                </a:cubicBezTo>
                <a:cubicBezTo>
                  <a:pt x="6663" y="18368"/>
                  <a:pt x="6670" y="18374"/>
                  <a:pt x="6678" y="18381"/>
                </a:cubicBezTo>
                <a:cubicBezTo>
                  <a:pt x="6689" y="18390"/>
                  <a:pt x="6701" y="18395"/>
                  <a:pt x="6713" y="18399"/>
                </a:cubicBezTo>
                <a:cubicBezTo>
                  <a:pt x="6732" y="18478"/>
                  <a:pt x="6772" y="18533"/>
                  <a:pt x="6818" y="18533"/>
                </a:cubicBezTo>
                <a:cubicBezTo>
                  <a:pt x="6881" y="18533"/>
                  <a:pt x="6931" y="18435"/>
                  <a:pt x="6936" y="18312"/>
                </a:cubicBezTo>
                <a:cubicBezTo>
                  <a:pt x="6946" y="18278"/>
                  <a:pt x="6955" y="18243"/>
                  <a:pt x="6963" y="18208"/>
                </a:cubicBezTo>
                <a:cubicBezTo>
                  <a:pt x="6972" y="18169"/>
                  <a:pt x="6981" y="18132"/>
                  <a:pt x="6992" y="18101"/>
                </a:cubicBezTo>
                <a:cubicBezTo>
                  <a:pt x="7008" y="18050"/>
                  <a:pt x="7027" y="18022"/>
                  <a:pt x="7046" y="17991"/>
                </a:cubicBezTo>
                <a:cubicBezTo>
                  <a:pt x="7066" y="17959"/>
                  <a:pt x="7088" y="17924"/>
                  <a:pt x="7109" y="17862"/>
                </a:cubicBezTo>
                <a:cubicBezTo>
                  <a:pt x="7118" y="17832"/>
                  <a:pt x="7122" y="17809"/>
                  <a:pt x="7125" y="17787"/>
                </a:cubicBezTo>
                <a:lnTo>
                  <a:pt x="7127" y="17780"/>
                </a:lnTo>
                <a:cubicBezTo>
                  <a:pt x="7129" y="17765"/>
                  <a:pt x="7131" y="17750"/>
                  <a:pt x="7135" y="17732"/>
                </a:cubicBezTo>
                <a:cubicBezTo>
                  <a:pt x="7137" y="17730"/>
                  <a:pt x="7138" y="17727"/>
                  <a:pt x="7139" y="17723"/>
                </a:cubicBezTo>
                <a:cubicBezTo>
                  <a:pt x="7159" y="17638"/>
                  <a:pt x="7177" y="17582"/>
                  <a:pt x="7209" y="17544"/>
                </a:cubicBezTo>
                <a:lnTo>
                  <a:pt x="7211" y="17540"/>
                </a:lnTo>
                <a:cubicBezTo>
                  <a:pt x="7213" y="17538"/>
                  <a:pt x="7215" y="17535"/>
                  <a:pt x="7217" y="17533"/>
                </a:cubicBezTo>
                <a:cubicBezTo>
                  <a:pt x="7222" y="17528"/>
                  <a:pt x="7225" y="17518"/>
                  <a:pt x="7225" y="17506"/>
                </a:cubicBezTo>
                <a:lnTo>
                  <a:pt x="7225" y="17279"/>
                </a:lnTo>
                <a:cubicBezTo>
                  <a:pt x="7225" y="17244"/>
                  <a:pt x="7225" y="17213"/>
                  <a:pt x="7228" y="17187"/>
                </a:cubicBezTo>
                <a:cubicBezTo>
                  <a:pt x="7231" y="17165"/>
                  <a:pt x="7236" y="17149"/>
                  <a:pt x="7244" y="17132"/>
                </a:cubicBezTo>
                <a:cubicBezTo>
                  <a:pt x="7249" y="17122"/>
                  <a:pt x="7256" y="17115"/>
                  <a:pt x="7264" y="17108"/>
                </a:cubicBezTo>
                <a:cubicBezTo>
                  <a:pt x="7278" y="17094"/>
                  <a:pt x="7295" y="17078"/>
                  <a:pt x="7307" y="17038"/>
                </a:cubicBezTo>
                <a:cubicBezTo>
                  <a:pt x="7325" y="16984"/>
                  <a:pt x="7344" y="16974"/>
                  <a:pt x="7370" y="16961"/>
                </a:cubicBezTo>
                <a:cubicBezTo>
                  <a:pt x="7394" y="16948"/>
                  <a:pt x="7421" y="16935"/>
                  <a:pt x="7448" y="16881"/>
                </a:cubicBezTo>
                <a:cubicBezTo>
                  <a:pt x="7451" y="16875"/>
                  <a:pt x="7454" y="16867"/>
                  <a:pt x="7456" y="16860"/>
                </a:cubicBezTo>
                <a:cubicBezTo>
                  <a:pt x="7459" y="16851"/>
                  <a:pt x="7460" y="16845"/>
                  <a:pt x="7464" y="16841"/>
                </a:cubicBezTo>
                <a:cubicBezTo>
                  <a:pt x="7478" y="16828"/>
                  <a:pt x="7493" y="16822"/>
                  <a:pt x="7513" y="16820"/>
                </a:cubicBezTo>
                <a:cubicBezTo>
                  <a:pt x="7522" y="16819"/>
                  <a:pt x="7531" y="16817"/>
                  <a:pt x="7541" y="16817"/>
                </a:cubicBezTo>
                <a:lnTo>
                  <a:pt x="7562" y="16819"/>
                </a:lnTo>
                <a:cubicBezTo>
                  <a:pt x="7604" y="16819"/>
                  <a:pt x="7654" y="16750"/>
                  <a:pt x="7669" y="16691"/>
                </a:cubicBezTo>
                <a:cubicBezTo>
                  <a:pt x="7672" y="16680"/>
                  <a:pt x="7672" y="16665"/>
                  <a:pt x="7673" y="16647"/>
                </a:cubicBezTo>
                <a:cubicBezTo>
                  <a:pt x="7674" y="16631"/>
                  <a:pt x="7675" y="16609"/>
                  <a:pt x="7678" y="16602"/>
                </a:cubicBezTo>
                <a:cubicBezTo>
                  <a:pt x="7699" y="16544"/>
                  <a:pt x="7711" y="16506"/>
                  <a:pt x="7727" y="16457"/>
                </a:cubicBezTo>
                <a:cubicBezTo>
                  <a:pt x="7734" y="16433"/>
                  <a:pt x="7742" y="16407"/>
                  <a:pt x="7753" y="16372"/>
                </a:cubicBezTo>
                <a:cubicBezTo>
                  <a:pt x="7760" y="16348"/>
                  <a:pt x="7766" y="16254"/>
                  <a:pt x="7766" y="16213"/>
                </a:cubicBezTo>
                <a:cubicBezTo>
                  <a:pt x="7766" y="16194"/>
                  <a:pt x="7780" y="16160"/>
                  <a:pt x="7787" y="16144"/>
                </a:cubicBezTo>
                <a:lnTo>
                  <a:pt x="7790" y="16134"/>
                </a:lnTo>
                <a:cubicBezTo>
                  <a:pt x="7791" y="16132"/>
                  <a:pt x="7792" y="16128"/>
                  <a:pt x="7793" y="16125"/>
                </a:cubicBezTo>
                <a:cubicBezTo>
                  <a:pt x="7793" y="16122"/>
                  <a:pt x="7794" y="16120"/>
                  <a:pt x="7795" y="16117"/>
                </a:cubicBezTo>
                <a:cubicBezTo>
                  <a:pt x="7799" y="16105"/>
                  <a:pt x="7804" y="16088"/>
                  <a:pt x="7804" y="16065"/>
                </a:cubicBezTo>
                <a:cubicBezTo>
                  <a:pt x="7804" y="16043"/>
                  <a:pt x="7807" y="16015"/>
                  <a:pt x="7810" y="15986"/>
                </a:cubicBezTo>
                <a:cubicBezTo>
                  <a:pt x="7814" y="15949"/>
                  <a:pt x="7819" y="15907"/>
                  <a:pt x="7819" y="15863"/>
                </a:cubicBezTo>
                <a:cubicBezTo>
                  <a:pt x="7819" y="15826"/>
                  <a:pt x="7815" y="15786"/>
                  <a:pt x="7812" y="15747"/>
                </a:cubicBezTo>
                <a:cubicBezTo>
                  <a:pt x="7805" y="15680"/>
                  <a:pt x="7799" y="15612"/>
                  <a:pt x="7814" y="15580"/>
                </a:cubicBezTo>
                <a:cubicBezTo>
                  <a:pt x="7822" y="15566"/>
                  <a:pt x="7830" y="15555"/>
                  <a:pt x="7838" y="15544"/>
                </a:cubicBezTo>
                <a:cubicBezTo>
                  <a:pt x="7847" y="15531"/>
                  <a:pt x="7859" y="15517"/>
                  <a:pt x="7869" y="15494"/>
                </a:cubicBezTo>
                <a:cubicBezTo>
                  <a:pt x="7869" y="15494"/>
                  <a:pt x="7869" y="15493"/>
                  <a:pt x="7869" y="15493"/>
                </a:cubicBezTo>
                <a:cubicBezTo>
                  <a:pt x="7869" y="15493"/>
                  <a:pt x="7870" y="15493"/>
                  <a:pt x="7870" y="15493"/>
                </a:cubicBezTo>
                <a:cubicBezTo>
                  <a:pt x="7870" y="15493"/>
                  <a:pt x="7870" y="15492"/>
                  <a:pt x="7870" y="15492"/>
                </a:cubicBezTo>
                <a:cubicBezTo>
                  <a:pt x="7873" y="15484"/>
                  <a:pt x="7878" y="15475"/>
                  <a:pt x="7882" y="15462"/>
                </a:cubicBezTo>
                <a:cubicBezTo>
                  <a:pt x="7888" y="15444"/>
                  <a:pt x="7893" y="15433"/>
                  <a:pt x="7898" y="15421"/>
                </a:cubicBezTo>
                <a:cubicBezTo>
                  <a:pt x="7904" y="15408"/>
                  <a:pt x="7910" y="15395"/>
                  <a:pt x="7917" y="15374"/>
                </a:cubicBezTo>
                <a:cubicBezTo>
                  <a:pt x="7921" y="15361"/>
                  <a:pt x="7926" y="15348"/>
                  <a:pt x="7930" y="15336"/>
                </a:cubicBezTo>
                <a:cubicBezTo>
                  <a:pt x="7941" y="15306"/>
                  <a:pt x="7954" y="15278"/>
                  <a:pt x="7966" y="15251"/>
                </a:cubicBezTo>
                <a:cubicBezTo>
                  <a:pt x="7984" y="15209"/>
                  <a:pt x="8002" y="15166"/>
                  <a:pt x="8018" y="15117"/>
                </a:cubicBezTo>
                <a:cubicBezTo>
                  <a:pt x="8018" y="15116"/>
                  <a:pt x="8018" y="15116"/>
                  <a:pt x="8018" y="15115"/>
                </a:cubicBezTo>
                <a:cubicBezTo>
                  <a:pt x="8018" y="15115"/>
                  <a:pt x="8018" y="15115"/>
                  <a:pt x="8019" y="15114"/>
                </a:cubicBezTo>
                <a:cubicBezTo>
                  <a:pt x="8049" y="15019"/>
                  <a:pt x="8063" y="14914"/>
                  <a:pt x="8063" y="14785"/>
                </a:cubicBezTo>
                <a:cubicBezTo>
                  <a:pt x="8063" y="14657"/>
                  <a:pt x="8041" y="14579"/>
                  <a:pt x="7999" y="14552"/>
                </a:cubicBezTo>
                <a:cubicBezTo>
                  <a:pt x="7985" y="14544"/>
                  <a:pt x="7969" y="14545"/>
                  <a:pt x="7954" y="14548"/>
                </a:cubicBezTo>
                <a:cubicBezTo>
                  <a:pt x="7943" y="14550"/>
                  <a:pt x="7931" y="14550"/>
                  <a:pt x="7921" y="14544"/>
                </a:cubicBezTo>
                <a:cubicBezTo>
                  <a:pt x="7912" y="14539"/>
                  <a:pt x="7899" y="14524"/>
                  <a:pt x="7884" y="14501"/>
                </a:cubicBezTo>
                <a:cubicBezTo>
                  <a:pt x="7854" y="14456"/>
                  <a:pt x="7822" y="14392"/>
                  <a:pt x="7810" y="14354"/>
                </a:cubicBezTo>
                <a:cubicBezTo>
                  <a:pt x="7809" y="14349"/>
                  <a:pt x="7807" y="14345"/>
                  <a:pt x="7804" y="14342"/>
                </a:cubicBezTo>
                <a:cubicBezTo>
                  <a:pt x="7769" y="14310"/>
                  <a:pt x="7734" y="14286"/>
                  <a:pt x="7701" y="14271"/>
                </a:cubicBezTo>
                <a:cubicBezTo>
                  <a:pt x="7699" y="14271"/>
                  <a:pt x="7698" y="14271"/>
                  <a:pt x="7696" y="14271"/>
                </a:cubicBezTo>
                <a:lnTo>
                  <a:pt x="7616" y="14292"/>
                </a:lnTo>
                <a:cubicBezTo>
                  <a:pt x="7600" y="14292"/>
                  <a:pt x="7591" y="14280"/>
                  <a:pt x="7579" y="14264"/>
                </a:cubicBezTo>
                <a:cubicBezTo>
                  <a:pt x="7573" y="14256"/>
                  <a:pt x="7562" y="14252"/>
                  <a:pt x="7554" y="14245"/>
                </a:cubicBezTo>
                <a:cubicBezTo>
                  <a:pt x="7547" y="14207"/>
                  <a:pt x="7533" y="14176"/>
                  <a:pt x="7512" y="14176"/>
                </a:cubicBezTo>
                <a:cubicBezTo>
                  <a:pt x="7495" y="14176"/>
                  <a:pt x="7482" y="14196"/>
                  <a:pt x="7473" y="14222"/>
                </a:cubicBezTo>
                <a:cubicBezTo>
                  <a:pt x="7472" y="14211"/>
                  <a:pt x="7473" y="14200"/>
                  <a:pt x="7471" y="14187"/>
                </a:cubicBezTo>
                <a:cubicBezTo>
                  <a:pt x="7466" y="14149"/>
                  <a:pt x="7450" y="14140"/>
                  <a:pt x="7439" y="14134"/>
                </a:cubicBezTo>
                <a:cubicBezTo>
                  <a:pt x="7434" y="14131"/>
                  <a:pt x="7428" y="14128"/>
                  <a:pt x="7424" y="14122"/>
                </a:cubicBezTo>
                <a:cubicBezTo>
                  <a:pt x="7399" y="14091"/>
                  <a:pt x="7317" y="14003"/>
                  <a:pt x="7274" y="14003"/>
                </a:cubicBezTo>
                <a:cubicBezTo>
                  <a:pt x="7259" y="14003"/>
                  <a:pt x="7247" y="14015"/>
                  <a:pt x="7236" y="14032"/>
                </a:cubicBezTo>
                <a:cubicBezTo>
                  <a:pt x="7236" y="14012"/>
                  <a:pt x="7225" y="13965"/>
                  <a:pt x="7206" y="13965"/>
                </a:cubicBezTo>
                <a:cubicBezTo>
                  <a:pt x="7199" y="13965"/>
                  <a:pt x="7193" y="13972"/>
                  <a:pt x="7188" y="13978"/>
                </a:cubicBezTo>
                <a:cubicBezTo>
                  <a:pt x="7187" y="13978"/>
                  <a:pt x="7187" y="13978"/>
                  <a:pt x="7186" y="13979"/>
                </a:cubicBezTo>
                <a:cubicBezTo>
                  <a:pt x="7185" y="13966"/>
                  <a:pt x="7179" y="13957"/>
                  <a:pt x="7172" y="13957"/>
                </a:cubicBezTo>
                <a:cubicBezTo>
                  <a:pt x="7160" y="13957"/>
                  <a:pt x="7148" y="13941"/>
                  <a:pt x="7138" y="13926"/>
                </a:cubicBezTo>
                <a:lnTo>
                  <a:pt x="7136" y="13923"/>
                </a:lnTo>
                <a:cubicBezTo>
                  <a:pt x="7132" y="13918"/>
                  <a:pt x="7128" y="13917"/>
                  <a:pt x="7124" y="13919"/>
                </a:cubicBezTo>
                <a:cubicBezTo>
                  <a:pt x="7122" y="13919"/>
                  <a:pt x="7120" y="13918"/>
                  <a:pt x="7119" y="13918"/>
                </a:cubicBezTo>
                <a:cubicBezTo>
                  <a:pt x="7094" y="13918"/>
                  <a:pt x="7074" y="13950"/>
                  <a:pt x="7066" y="14000"/>
                </a:cubicBezTo>
                <a:cubicBezTo>
                  <a:pt x="7063" y="14016"/>
                  <a:pt x="7061" y="14034"/>
                  <a:pt x="7061" y="14055"/>
                </a:cubicBezTo>
                <a:cubicBezTo>
                  <a:pt x="7061" y="14056"/>
                  <a:pt x="7062" y="14058"/>
                  <a:pt x="7062" y="14060"/>
                </a:cubicBezTo>
                <a:cubicBezTo>
                  <a:pt x="7060" y="14059"/>
                  <a:pt x="7058" y="14058"/>
                  <a:pt x="7058" y="14057"/>
                </a:cubicBezTo>
                <a:cubicBezTo>
                  <a:pt x="7058" y="14056"/>
                  <a:pt x="7057" y="14054"/>
                  <a:pt x="7057" y="14050"/>
                </a:cubicBezTo>
                <a:cubicBezTo>
                  <a:pt x="7057" y="14030"/>
                  <a:pt x="7063" y="14016"/>
                  <a:pt x="7066" y="14000"/>
                </a:cubicBezTo>
                <a:cubicBezTo>
                  <a:pt x="7075" y="13958"/>
                  <a:pt x="7090" y="13925"/>
                  <a:pt x="7110" y="13891"/>
                </a:cubicBezTo>
                <a:cubicBezTo>
                  <a:pt x="7124" y="13868"/>
                  <a:pt x="7138" y="13843"/>
                  <a:pt x="7150" y="13813"/>
                </a:cubicBezTo>
                <a:cubicBezTo>
                  <a:pt x="7152" y="13808"/>
                  <a:pt x="7153" y="13801"/>
                  <a:pt x="7153" y="13795"/>
                </a:cubicBezTo>
                <a:cubicBezTo>
                  <a:pt x="7153" y="13755"/>
                  <a:pt x="7139" y="13737"/>
                  <a:pt x="7128" y="13723"/>
                </a:cubicBezTo>
                <a:cubicBezTo>
                  <a:pt x="7122" y="13715"/>
                  <a:pt x="7116" y="13708"/>
                  <a:pt x="7113" y="13698"/>
                </a:cubicBezTo>
                <a:cubicBezTo>
                  <a:pt x="7098" y="13631"/>
                  <a:pt x="7077" y="13514"/>
                  <a:pt x="7077" y="13476"/>
                </a:cubicBezTo>
                <a:cubicBezTo>
                  <a:pt x="7077" y="13463"/>
                  <a:pt x="7072" y="13450"/>
                  <a:pt x="7065" y="13447"/>
                </a:cubicBezTo>
                <a:cubicBezTo>
                  <a:pt x="7052" y="13441"/>
                  <a:pt x="7033" y="13406"/>
                  <a:pt x="7017" y="13376"/>
                </a:cubicBezTo>
                <a:cubicBezTo>
                  <a:pt x="6993" y="13331"/>
                  <a:pt x="6971" y="13289"/>
                  <a:pt x="6947" y="13289"/>
                </a:cubicBezTo>
                <a:lnTo>
                  <a:pt x="6945" y="13289"/>
                </a:lnTo>
                <a:cubicBezTo>
                  <a:pt x="6942" y="13283"/>
                  <a:pt x="6939" y="13280"/>
                  <a:pt x="6935" y="13280"/>
                </a:cubicBezTo>
                <a:cubicBezTo>
                  <a:pt x="6920" y="13280"/>
                  <a:pt x="6895" y="13258"/>
                  <a:pt x="6880" y="13244"/>
                </a:cubicBezTo>
                <a:cubicBezTo>
                  <a:pt x="6876" y="13241"/>
                  <a:pt x="6873" y="13238"/>
                  <a:pt x="6870" y="13236"/>
                </a:cubicBezTo>
                <a:cubicBezTo>
                  <a:pt x="6868" y="13235"/>
                  <a:pt x="6866" y="13234"/>
                  <a:pt x="6864" y="13234"/>
                </a:cubicBezTo>
                <a:lnTo>
                  <a:pt x="6811" y="13234"/>
                </a:lnTo>
                <a:cubicBezTo>
                  <a:pt x="6798" y="13229"/>
                  <a:pt x="6784" y="13226"/>
                  <a:pt x="6770" y="13223"/>
                </a:cubicBezTo>
                <a:cubicBezTo>
                  <a:pt x="6755" y="13220"/>
                  <a:pt x="6740" y="13217"/>
                  <a:pt x="6726" y="13212"/>
                </a:cubicBezTo>
                <a:cubicBezTo>
                  <a:pt x="6714" y="13166"/>
                  <a:pt x="6691" y="13134"/>
                  <a:pt x="6664" y="13132"/>
                </a:cubicBezTo>
                <a:cubicBezTo>
                  <a:pt x="6663" y="13131"/>
                  <a:pt x="6663" y="13130"/>
                  <a:pt x="6663" y="13129"/>
                </a:cubicBezTo>
                <a:cubicBezTo>
                  <a:pt x="6661" y="13116"/>
                  <a:pt x="6655" y="13106"/>
                  <a:pt x="6648" y="13106"/>
                </a:cubicBezTo>
                <a:cubicBezTo>
                  <a:pt x="6640" y="13106"/>
                  <a:pt x="6631" y="13100"/>
                  <a:pt x="6630" y="13097"/>
                </a:cubicBezTo>
                <a:cubicBezTo>
                  <a:pt x="6612" y="13023"/>
                  <a:pt x="6596" y="13000"/>
                  <a:pt x="6578" y="12974"/>
                </a:cubicBezTo>
                <a:cubicBezTo>
                  <a:pt x="6568" y="12960"/>
                  <a:pt x="6556" y="12943"/>
                  <a:pt x="6542" y="12916"/>
                </a:cubicBezTo>
                <a:cubicBezTo>
                  <a:pt x="6539" y="12910"/>
                  <a:pt x="6536" y="12906"/>
                  <a:pt x="6532" y="12906"/>
                </a:cubicBezTo>
                <a:lnTo>
                  <a:pt x="6484" y="12906"/>
                </a:lnTo>
                <a:cubicBezTo>
                  <a:pt x="6483" y="12898"/>
                  <a:pt x="6483" y="12891"/>
                  <a:pt x="6482" y="12883"/>
                </a:cubicBezTo>
                <a:cubicBezTo>
                  <a:pt x="6481" y="12865"/>
                  <a:pt x="6479" y="12846"/>
                  <a:pt x="6476" y="12829"/>
                </a:cubicBezTo>
                <a:cubicBezTo>
                  <a:pt x="6471" y="12801"/>
                  <a:pt x="6462" y="12782"/>
                  <a:pt x="6449" y="12773"/>
                </a:cubicBezTo>
                <a:cubicBezTo>
                  <a:pt x="6462" y="12760"/>
                  <a:pt x="6470" y="12726"/>
                  <a:pt x="6475" y="12707"/>
                </a:cubicBezTo>
                <a:cubicBezTo>
                  <a:pt x="6476" y="12703"/>
                  <a:pt x="6476" y="12698"/>
                  <a:pt x="6476" y="12694"/>
                </a:cubicBezTo>
                <a:lnTo>
                  <a:pt x="6476" y="12664"/>
                </a:lnTo>
                <a:cubicBezTo>
                  <a:pt x="6476" y="12647"/>
                  <a:pt x="6470" y="12635"/>
                  <a:pt x="6461" y="12635"/>
                </a:cubicBezTo>
                <a:lnTo>
                  <a:pt x="6443" y="12635"/>
                </a:lnTo>
                <a:cubicBezTo>
                  <a:pt x="6420" y="12635"/>
                  <a:pt x="6403" y="12691"/>
                  <a:pt x="6402" y="12744"/>
                </a:cubicBezTo>
                <a:cubicBezTo>
                  <a:pt x="6388" y="12735"/>
                  <a:pt x="6376" y="12723"/>
                  <a:pt x="6369" y="12706"/>
                </a:cubicBezTo>
                <a:cubicBezTo>
                  <a:pt x="6377" y="12704"/>
                  <a:pt x="6385" y="12699"/>
                  <a:pt x="6392" y="12688"/>
                </a:cubicBezTo>
                <a:cubicBezTo>
                  <a:pt x="6397" y="12681"/>
                  <a:pt x="6399" y="12668"/>
                  <a:pt x="6397" y="12657"/>
                </a:cubicBezTo>
                <a:cubicBezTo>
                  <a:pt x="6396" y="12645"/>
                  <a:pt x="6392" y="12637"/>
                  <a:pt x="6386" y="12635"/>
                </a:cubicBezTo>
                <a:cubicBezTo>
                  <a:pt x="6384" y="12634"/>
                  <a:pt x="6346" y="12621"/>
                  <a:pt x="6324" y="12621"/>
                </a:cubicBezTo>
                <a:cubicBezTo>
                  <a:pt x="6321" y="12621"/>
                  <a:pt x="6319" y="12622"/>
                  <a:pt x="6317" y="12624"/>
                </a:cubicBezTo>
                <a:cubicBezTo>
                  <a:pt x="6314" y="12626"/>
                  <a:pt x="6305" y="12629"/>
                  <a:pt x="6299" y="12630"/>
                </a:cubicBezTo>
                <a:cubicBezTo>
                  <a:pt x="6276" y="12635"/>
                  <a:pt x="6262" y="12637"/>
                  <a:pt x="6257" y="12660"/>
                </a:cubicBezTo>
                <a:cubicBezTo>
                  <a:pt x="6250" y="12690"/>
                  <a:pt x="6240" y="12693"/>
                  <a:pt x="6212" y="12700"/>
                </a:cubicBezTo>
                <a:lnTo>
                  <a:pt x="6204" y="12702"/>
                </a:lnTo>
                <a:cubicBezTo>
                  <a:pt x="6190" y="12702"/>
                  <a:pt x="6178" y="12695"/>
                  <a:pt x="6178" y="12686"/>
                </a:cubicBezTo>
                <a:cubicBezTo>
                  <a:pt x="6178" y="12669"/>
                  <a:pt x="6171" y="12656"/>
                  <a:pt x="6162" y="12656"/>
                </a:cubicBezTo>
                <a:lnTo>
                  <a:pt x="6050" y="12656"/>
                </a:lnTo>
                <a:cubicBezTo>
                  <a:pt x="6045" y="12653"/>
                  <a:pt x="6037" y="12637"/>
                  <a:pt x="6037" y="12609"/>
                </a:cubicBezTo>
                <a:cubicBezTo>
                  <a:pt x="6037" y="12595"/>
                  <a:pt x="6033" y="12583"/>
                  <a:pt x="6026" y="12580"/>
                </a:cubicBezTo>
                <a:cubicBezTo>
                  <a:pt x="6005" y="12571"/>
                  <a:pt x="5956" y="12551"/>
                  <a:pt x="5949" y="12497"/>
                </a:cubicBezTo>
                <a:cubicBezTo>
                  <a:pt x="5947" y="12484"/>
                  <a:pt x="5942" y="12474"/>
                  <a:pt x="5935" y="12474"/>
                </a:cubicBezTo>
                <a:lnTo>
                  <a:pt x="5898" y="12473"/>
                </a:lnTo>
                <a:cubicBezTo>
                  <a:pt x="5894" y="12472"/>
                  <a:pt x="5890" y="12476"/>
                  <a:pt x="5887" y="12482"/>
                </a:cubicBezTo>
                <a:cubicBezTo>
                  <a:pt x="5884" y="12488"/>
                  <a:pt x="5883" y="12495"/>
                  <a:pt x="5883" y="12503"/>
                </a:cubicBezTo>
                <a:cubicBezTo>
                  <a:pt x="5883" y="12528"/>
                  <a:pt x="5887" y="12543"/>
                  <a:pt x="5893" y="12553"/>
                </a:cubicBezTo>
                <a:lnTo>
                  <a:pt x="5887" y="12553"/>
                </a:lnTo>
                <a:cubicBezTo>
                  <a:pt x="5884" y="12553"/>
                  <a:pt x="5881" y="12556"/>
                  <a:pt x="5879" y="12559"/>
                </a:cubicBezTo>
                <a:cubicBezTo>
                  <a:pt x="5874" y="12565"/>
                  <a:pt x="5868" y="12569"/>
                  <a:pt x="5861" y="12573"/>
                </a:cubicBezTo>
                <a:cubicBezTo>
                  <a:pt x="5853" y="12578"/>
                  <a:pt x="5843" y="12584"/>
                  <a:pt x="5835" y="12596"/>
                </a:cubicBezTo>
                <a:cubicBezTo>
                  <a:pt x="5835" y="12593"/>
                  <a:pt x="5836" y="12590"/>
                  <a:pt x="5836" y="12587"/>
                </a:cubicBezTo>
                <a:cubicBezTo>
                  <a:pt x="5849" y="12576"/>
                  <a:pt x="5859" y="12548"/>
                  <a:pt x="5859" y="12511"/>
                </a:cubicBezTo>
                <a:cubicBezTo>
                  <a:pt x="5859" y="12497"/>
                  <a:pt x="5848" y="12431"/>
                  <a:pt x="5825" y="12431"/>
                </a:cubicBezTo>
                <a:cubicBezTo>
                  <a:pt x="5804" y="12431"/>
                  <a:pt x="5791" y="12457"/>
                  <a:pt x="5782" y="12478"/>
                </a:cubicBezTo>
                <a:cubicBezTo>
                  <a:pt x="5779" y="12484"/>
                  <a:pt x="5776" y="12486"/>
                  <a:pt x="5773" y="12491"/>
                </a:cubicBezTo>
                <a:cubicBezTo>
                  <a:pt x="5760" y="12451"/>
                  <a:pt x="5738" y="12422"/>
                  <a:pt x="5712" y="12422"/>
                </a:cubicBezTo>
                <a:cubicBezTo>
                  <a:pt x="5672" y="12422"/>
                  <a:pt x="5639" y="12489"/>
                  <a:pt x="5638" y="12570"/>
                </a:cubicBezTo>
                <a:cubicBezTo>
                  <a:pt x="5638" y="12576"/>
                  <a:pt x="5640" y="12580"/>
                  <a:pt x="5640" y="12586"/>
                </a:cubicBezTo>
                <a:cubicBezTo>
                  <a:pt x="5634" y="12590"/>
                  <a:pt x="5629" y="12593"/>
                  <a:pt x="5622" y="12597"/>
                </a:cubicBezTo>
                <a:cubicBezTo>
                  <a:pt x="5594" y="12615"/>
                  <a:pt x="5567" y="12631"/>
                  <a:pt x="5554" y="12716"/>
                </a:cubicBezTo>
                <a:cubicBezTo>
                  <a:pt x="5553" y="12725"/>
                  <a:pt x="5552" y="12734"/>
                  <a:pt x="5551" y="12744"/>
                </a:cubicBezTo>
                <a:cubicBezTo>
                  <a:pt x="5549" y="12763"/>
                  <a:pt x="5546" y="12799"/>
                  <a:pt x="5541" y="12805"/>
                </a:cubicBezTo>
                <a:cubicBezTo>
                  <a:pt x="5539" y="12808"/>
                  <a:pt x="5537" y="12811"/>
                  <a:pt x="5534" y="12814"/>
                </a:cubicBezTo>
                <a:cubicBezTo>
                  <a:pt x="5523" y="12826"/>
                  <a:pt x="5507" y="12845"/>
                  <a:pt x="5502" y="12882"/>
                </a:cubicBezTo>
                <a:cubicBezTo>
                  <a:pt x="5494" y="12891"/>
                  <a:pt x="5488" y="12906"/>
                  <a:pt x="5488" y="12924"/>
                </a:cubicBezTo>
                <a:lnTo>
                  <a:pt x="5486" y="12923"/>
                </a:lnTo>
                <a:cubicBezTo>
                  <a:pt x="5485" y="12922"/>
                  <a:pt x="5485" y="12922"/>
                  <a:pt x="5485" y="12921"/>
                </a:cubicBezTo>
                <a:cubicBezTo>
                  <a:pt x="5477" y="12910"/>
                  <a:pt x="5470" y="12895"/>
                  <a:pt x="5462" y="12881"/>
                </a:cubicBezTo>
                <a:cubicBezTo>
                  <a:pt x="5436" y="12833"/>
                  <a:pt x="5407" y="12779"/>
                  <a:pt x="5356" y="12779"/>
                </a:cubicBezTo>
                <a:cubicBezTo>
                  <a:pt x="5328" y="12779"/>
                  <a:pt x="5306" y="12802"/>
                  <a:pt x="5286" y="12823"/>
                </a:cubicBezTo>
                <a:cubicBezTo>
                  <a:pt x="5266" y="12844"/>
                  <a:pt x="5248" y="12864"/>
                  <a:pt x="5223" y="12864"/>
                </a:cubicBezTo>
                <a:cubicBezTo>
                  <a:pt x="5211" y="12864"/>
                  <a:pt x="5206" y="12851"/>
                  <a:pt x="5197" y="12822"/>
                </a:cubicBezTo>
                <a:cubicBezTo>
                  <a:pt x="5191" y="12801"/>
                  <a:pt x="5183" y="12777"/>
                  <a:pt x="5170" y="12765"/>
                </a:cubicBezTo>
                <a:lnTo>
                  <a:pt x="5165" y="12759"/>
                </a:lnTo>
                <a:cubicBezTo>
                  <a:pt x="5127" y="12722"/>
                  <a:pt x="5100" y="12691"/>
                  <a:pt x="5100" y="12626"/>
                </a:cubicBezTo>
                <a:lnTo>
                  <a:pt x="5100" y="12375"/>
                </a:lnTo>
                <a:cubicBezTo>
                  <a:pt x="5114" y="12317"/>
                  <a:pt x="5115" y="12203"/>
                  <a:pt x="5115" y="12180"/>
                </a:cubicBezTo>
                <a:lnTo>
                  <a:pt x="5115" y="12116"/>
                </a:lnTo>
                <a:cubicBezTo>
                  <a:pt x="5115" y="12102"/>
                  <a:pt x="5110" y="12090"/>
                  <a:pt x="5103" y="12087"/>
                </a:cubicBezTo>
                <a:cubicBezTo>
                  <a:pt x="5090" y="12081"/>
                  <a:pt x="5081" y="12067"/>
                  <a:pt x="5070" y="12051"/>
                </a:cubicBezTo>
                <a:cubicBezTo>
                  <a:pt x="5053" y="12025"/>
                  <a:pt x="5033" y="11996"/>
                  <a:pt x="4998" y="11996"/>
                </a:cubicBezTo>
                <a:cubicBezTo>
                  <a:pt x="4960" y="11996"/>
                  <a:pt x="4926" y="12003"/>
                  <a:pt x="4893" y="12010"/>
                </a:cubicBezTo>
                <a:cubicBezTo>
                  <a:pt x="4861" y="12016"/>
                  <a:pt x="4831" y="12021"/>
                  <a:pt x="4797" y="12021"/>
                </a:cubicBezTo>
                <a:cubicBezTo>
                  <a:pt x="4794" y="12021"/>
                  <a:pt x="4787" y="12018"/>
                  <a:pt x="4787" y="12005"/>
                </a:cubicBezTo>
                <a:lnTo>
                  <a:pt x="4787" y="11998"/>
                </a:lnTo>
                <a:cubicBezTo>
                  <a:pt x="4789" y="11995"/>
                  <a:pt x="4791" y="11991"/>
                  <a:pt x="4794" y="11988"/>
                </a:cubicBezTo>
                <a:cubicBezTo>
                  <a:pt x="4807" y="11970"/>
                  <a:pt x="4824" y="11944"/>
                  <a:pt x="4824" y="11899"/>
                </a:cubicBezTo>
                <a:lnTo>
                  <a:pt x="4824" y="11754"/>
                </a:lnTo>
                <a:cubicBezTo>
                  <a:pt x="4830" y="11756"/>
                  <a:pt x="4836" y="11751"/>
                  <a:pt x="4840" y="11740"/>
                </a:cubicBezTo>
                <a:lnTo>
                  <a:pt x="4844" y="11724"/>
                </a:lnTo>
                <a:cubicBezTo>
                  <a:pt x="4855" y="11689"/>
                  <a:pt x="4867" y="11652"/>
                  <a:pt x="4867" y="11584"/>
                </a:cubicBezTo>
                <a:cubicBezTo>
                  <a:pt x="4867" y="11548"/>
                  <a:pt x="4876" y="11510"/>
                  <a:pt x="4885" y="11473"/>
                </a:cubicBezTo>
                <a:cubicBezTo>
                  <a:pt x="4894" y="11437"/>
                  <a:pt x="4903" y="11402"/>
                  <a:pt x="4903" y="11367"/>
                </a:cubicBezTo>
                <a:lnTo>
                  <a:pt x="4903" y="11329"/>
                </a:lnTo>
                <a:cubicBezTo>
                  <a:pt x="4903" y="11312"/>
                  <a:pt x="4897" y="11300"/>
                  <a:pt x="4888" y="11300"/>
                </a:cubicBezTo>
                <a:cubicBezTo>
                  <a:pt x="4876" y="11300"/>
                  <a:pt x="4852" y="11296"/>
                  <a:pt x="4844" y="11293"/>
                </a:cubicBezTo>
                <a:cubicBezTo>
                  <a:pt x="4833" y="11283"/>
                  <a:pt x="4818" y="11278"/>
                  <a:pt x="4797" y="11278"/>
                </a:cubicBezTo>
                <a:cubicBezTo>
                  <a:pt x="4755" y="11278"/>
                  <a:pt x="4711" y="11303"/>
                  <a:pt x="4683" y="11356"/>
                </a:cubicBezTo>
                <a:cubicBezTo>
                  <a:pt x="4676" y="11350"/>
                  <a:pt x="4672" y="11341"/>
                  <a:pt x="4664" y="11341"/>
                </a:cubicBezTo>
                <a:cubicBezTo>
                  <a:pt x="4637" y="11341"/>
                  <a:pt x="4615" y="11385"/>
                  <a:pt x="4615" y="11440"/>
                </a:cubicBezTo>
                <a:cubicBezTo>
                  <a:pt x="4615" y="11480"/>
                  <a:pt x="4629" y="11509"/>
                  <a:pt x="4646" y="11524"/>
                </a:cubicBezTo>
                <a:cubicBezTo>
                  <a:pt x="4643" y="11537"/>
                  <a:pt x="4637" y="11549"/>
                  <a:pt x="4633" y="11562"/>
                </a:cubicBezTo>
                <a:cubicBezTo>
                  <a:pt x="4624" y="11586"/>
                  <a:pt x="4616" y="11609"/>
                  <a:pt x="4612" y="11633"/>
                </a:cubicBezTo>
                <a:cubicBezTo>
                  <a:pt x="4611" y="11634"/>
                  <a:pt x="4611" y="11636"/>
                  <a:pt x="4611" y="11637"/>
                </a:cubicBezTo>
                <a:cubicBezTo>
                  <a:pt x="4611" y="11638"/>
                  <a:pt x="4610" y="11639"/>
                  <a:pt x="4610" y="11641"/>
                </a:cubicBezTo>
                <a:cubicBezTo>
                  <a:pt x="4606" y="11664"/>
                  <a:pt x="4599" y="11682"/>
                  <a:pt x="4597" y="11682"/>
                </a:cubicBezTo>
                <a:cubicBezTo>
                  <a:pt x="4596" y="11681"/>
                  <a:pt x="4594" y="11679"/>
                  <a:pt x="4592" y="11678"/>
                </a:cubicBezTo>
                <a:cubicBezTo>
                  <a:pt x="4585" y="11669"/>
                  <a:pt x="4574" y="11657"/>
                  <a:pt x="4555" y="11657"/>
                </a:cubicBezTo>
                <a:cubicBezTo>
                  <a:pt x="4531" y="11657"/>
                  <a:pt x="4510" y="11673"/>
                  <a:pt x="4490" y="11689"/>
                </a:cubicBezTo>
                <a:cubicBezTo>
                  <a:pt x="4472" y="11703"/>
                  <a:pt x="4455" y="11716"/>
                  <a:pt x="4438" y="11716"/>
                </a:cubicBezTo>
                <a:cubicBezTo>
                  <a:pt x="4437" y="11716"/>
                  <a:pt x="4437" y="11717"/>
                  <a:pt x="4432" y="11705"/>
                </a:cubicBezTo>
                <a:cubicBezTo>
                  <a:pt x="4427" y="11693"/>
                  <a:pt x="4420" y="11676"/>
                  <a:pt x="4407" y="11667"/>
                </a:cubicBezTo>
                <a:cubicBezTo>
                  <a:pt x="4376" y="11648"/>
                  <a:pt x="4366" y="11617"/>
                  <a:pt x="4352" y="11574"/>
                </a:cubicBezTo>
                <a:cubicBezTo>
                  <a:pt x="4347" y="11560"/>
                  <a:pt x="4340" y="11545"/>
                  <a:pt x="4334" y="11529"/>
                </a:cubicBezTo>
                <a:cubicBezTo>
                  <a:pt x="4334" y="11528"/>
                  <a:pt x="4335" y="11527"/>
                  <a:pt x="4335" y="11526"/>
                </a:cubicBezTo>
                <a:cubicBezTo>
                  <a:pt x="4335" y="11454"/>
                  <a:pt x="4309" y="11397"/>
                  <a:pt x="4275" y="11384"/>
                </a:cubicBezTo>
                <a:cubicBezTo>
                  <a:pt x="4274" y="11382"/>
                  <a:pt x="4272" y="11378"/>
                  <a:pt x="4272" y="11377"/>
                </a:cubicBezTo>
                <a:cubicBezTo>
                  <a:pt x="4272" y="11375"/>
                  <a:pt x="4271" y="11373"/>
                  <a:pt x="4271" y="11371"/>
                </a:cubicBezTo>
                <a:cubicBezTo>
                  <a:pt x="4271" y="11371"/>
                  <a:pt x="4271" y="11370"/>
                  <a:pt x="4271" y="11370"/>
                </a:cubicBezTo>
                <a:cubicBezTo>
                  <a:pt x="4269" y="11360"/>
                  <a:pt x="4270" y="11351"/>
                  <a:pt x="4270" y="11339"/>
                </a:cubicBezTo>
                <a:cubicBezTo>
                  <a:pt x="4271" y="11322"/>
                  <a:pt x="4271" y="11300"/>
                  <a:pt x="4265" y="11273"/>
                </a:cubicBezTo>
                <a:cubicBezTo>
                  <a:pt x="4264" y="11268"/>
                  <a:pt x="4262" y="11263"/>
                  <a:pt x="4259" y="11256"/>
                </a:cubicBezTo>
                <a:cubicBezTo>
                  <a:pt x="4255" y="11242"/>
                  <a:pt x="4248" y="11221"/>
                  <a:pt x="4249" y="11209"/>
                </a:cubicBezTo>
                <a:cubicBezTo>
                  <a:pt x="4250" y="11206"/>
                  <a:pt x="4250" y="11204"/>
                  <a:pt x="4250" y="11202"/>
                </a:cubicBezTo>
                <a:lnTo>
                  <a:pt x="4250" y="10966"/>
                </a:lnTo>
                <a:cubicBezTo>
                  <a:pt x="4252" y="10946"/>
                  <a:pt x="4255" y="10929"/>
                  <a:pt x="4259" y="10912"/>
                </a:cubicBezTo>
                <a:cubicBezTo>
                  <a:pt x="4265" y="10880"/>
                  <a:pt x="4271" y="10846"/>
                  <a:pt x="4271" y="10794"/>
                </a:cubicBezTo>
                <a:cubicBezTo>
                  <a:pt x="4271" y="10770"/>
                  <a:pt x="4268" y="10752"/>
                  <a:pt x="4265" y="10733"/>
                </a:cubicBezTo>
                <a:cubicBezTo>
                  <a:pt x="4267" y="10729"/>
                  <a:pt x="4267" y="10723"/>
                  <a:pt x="4267" y="10717"/>
                </a:cubicBezTo>
                <a:cubicBezTo>
                  <a:pt x="4267" y="10713"/>
                  <a:pt x="4267" y="10709"/>
                  <a:pt x="4266" y="10705"/>
                </a:cubicBezTo>
                <a:cubicBezTo>
                  <a:pt x="4265" y="10695"/>
                  <a:pt x="4261" y="10686"/>
                  <a:pt x="4259" y="10678"/>
                </a:cubicBezTo>
                <a:cubicBezTo>
                  <a:pt x="4258" y="10676"/>
                  <a:pt x="4257" y="10673"/>
                  <a:pt x="4256" y="10671"/>
                </a:cubicBezTo>
                <a:cubicBezTo>
                  <a:pt x="4257" y="10568"/>
                  <a:pt x="4276" y="10480"/>
                  <a:pt x="4306" y="10441"/>
                </a:cubicBezTo>
                <a:cubicBezTo>
                  <a:pt x="4311" y="10435"/>
                  <a:pt x="4316" y="10431"/>
                  <a:pt x="4321" y="10427"/>
                </a:cubicBezTo>
                <a:cubicBezTo>
                  <a:pt x="4326" y="10422"/>
                  <a:pt x="4333" y="10422"/>
                  <a:pt x="4341" y="10423"/>
                </a:cubicBezTo>
                <a:cubicBezTo>
                  <a:pt x="4350" y="10424"/>
                  <a:pt x="4359" y="10424"/>
                  <a:pt x="4366" y="10420"/>
                </a:cubicBezTo>
                <a:cubicBezTo>
                  <a:pt x="4373" y="10415"/>
                  <a:pt x="4379" y="10408"/>
                  <a:pt x="4384" y="10399"/>
                </a:cubicBezTo>
                <a:cubicBezTo>
                  <a:pt x="4389" y="10388"/>
                  <a:pt x="4394" y="10375"/>
                  <a:pt x="4400" y="10361"/>
                </a:cubicBezTo>
                <a:cubicBezTo>
                  <a:pt x="4406" y="10348"/>
                  <a:pt x="4412" y="10332"/>
                  <a:pt x="4419" y="10318"/>
                </a:cubicBezTo>
                <a:cubicBezTo>
                  <a:pt x="4419" y="10318"/>
                  <a:pt x="4420" y="10317"/>
                  <a:pt x="4420" y="10317"/>
                </a:cubicBezTo>
                <a:cubicBezTo>
                  <a:pt x="4435" y="10285"/>
                  <a:pt x="4457" y="10249"/>
                  <a:pt x="4489" y="10249"/>
                </a:cubicBezTo>
                <a:cubicBezTo>
                  <a:pt x="4491" y="10249"/>
                  <a:pt x="4493" y="10250"/>
                  <a:pt x="4495" y="10251"/>
                </a:cubicBezTo>
                <a:cubicBezTo>
                  <a:pt x="4500" y="10253"/>
                  <a:pt x="4506" y="10260"/>
                  <a:pt x="4512" y="10267"/>
                </a:cubicBezTo>
                <a:cubicBezTo>
                  <a:pt x="4521" y="10278"/>
                  <a:pt x="4533" y="10293"/>
                  <a:pt x="4549" y="10293"/>
                </a:cubicBezTo>
                <a:cubicBezTo>
                  <a:pt x="4561" y="10293"/>
                  <a:pt x="4569" y="10278"/>
                  <a:pt x="4574" y="10268"/>
                </a:cubicBezTo>
                <a:cubicBezTo>
                  <a:pt x="4576" y="10265"/>
                  <a:pt x="4580" y="10259"/>
                  <a:pt x="4581" y="10259"/>
                </a:cubicBezTo>
                <a:cubicBezTo>
                  <a:pt x="4593" y="10259"/>
                  <a:pt x="4609" y="10278"/>
                  <a:pt x="4626" y="10298"/>
                </a:cubicBezTo>
                <a:cubicBezTo>
                  <a:pt x="4648" y="10326"/>
                  <a:pt x="4675" y="10358"/>
                  <a:pt x="4704" y="10358"/>
                </a:cubicBezTo>
                <a:cubicBezTo>
                  <a:pt x="4717" y="10358"/>
                  <a:pt x="4729" y="10352"/>
                  <a:pt x="4740" y="10340"/>
                </a:cubicBezTo>
                <a:cubicBezTo>
                  <a:pt x="4745" y="10336"/>
                  <a:pt x="4748" y="10325"/>
                  <a:pt x="4748" y="10315"/>
                </a:cubicBezTo>
                <a:cubicBezTo>
                  <a:pt x="4749" y="10304"/>
                  <a:pt x="4746" y="10295"/>
                  <a:pt x="4742" y="10289"/>
                </a:cubicBezTo>
                <a:cubicBezTo>
                  <a:pt x="4734" y="10279"/>
                  <a:pt x="4734" y="10274"/>
                  <a:pt x="4738" y="10239"/>
                </a:cubicBezTo>
                <a:cubicBezTo>
                  <a:pt x="4740" y="10225"/>
                  <a:pt x="4742" y="10209"/>
                  <a:pt x="4744" y="10190"/>
                </a:cubicBezTo>
                <a:cubicBezTo>
                  <a:pt x="4751" y="10188"/>
                  <a:pt x="4758" y="10188"/>
                  <a:pt x="4766" y="10186"/>
                </a:cubicBezTo>
                <a:cubicBezTo>
                  <a:pt x="4778" y="10185"/>
                  <a:pt x="4790" y="10182"/>
                  <a:pt x="4802" y="10178"/>
                </a:cubicBezTo>
                <a:cubicBezTo>
                  <a:pt x="4804" y="10229"/>
                  <a:pt x="4825" y="10269"/>
                  <a:pt x="4851" y="10269"/>
                </a:cubicBezTo>
                <a:cubicBezTo>
                  <a:pt x="4876" y="10269"/>
                  <a:pt x="4894" y="10230"/>
                  <a:pt x="4897" y="10182"/>
                </a:cubicBezTo>
                <a:cubicBezTo>
                  <a:pt x="4912" y="10189"/>
                  <a:pt x="4925" y="10203"/>
                  <a:pt x="4938" y="10221"/>
                </a:cubicBezTo>
                <a:cubicBezTo>
                  <a:pt x="4955" y="10246"/>
                  <a:pt x="4972" y="10272"/>
                  <a:pt x="4994" y="10272"/>
                </a:cubicBezTo>
                <a:cubicBezTo>
                  <a:pt x="5010" y="10272"/>
                  <a:pt x="5020" y="10250"/>
                  <a:pt x="5028" y="10234"/>
                </a:cubicBezTo>
                <a:cubicBezTo>
                  <a:pt x="5033" y="10225"/>
                  <a:pt x="5037" y="10216"/>
                  <a:pt x="5041" y="10216"/>
                </a:cubicBezTo>
                <a:cubicBezTo>
                  <a:pt x="5088" y="10216"/>
                  <a:pt x="5097" y="10294"/>
                  <a:pt x="5107" y="10423"/>
                </a:cubicBezTo>
                <a:lnTo>
                  <a:pt x="5109" y="10450"/>
                </a:lnTo>
                <a:cubicBezTo>
                  <a:pt x="5113" y="10497"/>
                  <a:pt x="5118" y="10551"/>
                  <a:pt x="5129" y="10595"/>
                </a:cubicBezTo>
                <a:cubicBezTo>
                  <a:pt x="5140" y="10639"/>
                  <a:pt x="5153" y="10666"/>
                  <a:pt x="5166" y="10694"/>
                </a:cubicBezTo>
                <a:cubicBezTo>
                  <a:pt x="5175" y="10712"/>
                  <a:pt x="5184" y="10731"/>
                  <a:pt x="5194" y="10755"/>
                </a:cubicBezTo>
                <a:cubicBezTo>
                  <a:pt x="5196" y="10764"/>
                  <a:pt x="5198" y="10775"/>
                  <a:pt x="5201" y="10788"/>
                </a:cubicBezTo>
                <a:cubicBezTo>
                  <a:pt x="5206" y="10817"/>
                  <a:pt x="5214" y="10857"/>
                  <a:pt x="5236" y="10870"/>
                </a:cubicBezTo>
                <a:cubicBezTo>
                  <a:pt x="5232" y="10888"/>
                  <a:pt x="5229" y="10908"/>
                  <a:pt x="5229" y="10929"/>
                </a:cubicBezTo>
                <a:cubicBezTo>
                  <a:pt x="5229" y="11011"/>
                  <a:pt x="5262" y="11077"/>
                  <a:pt x="5303" y="11077"/>
                </a:cubicBezTo>
                <a:cubicBezTo>
                  <a:pt x="5344" y="11077"/>
                  <a:pt x="5377" y="11011"/>
                  <a:pt x="5377" y="10929"/>
                </a:cubicBezTo>
                <a:cubicBezTo>
                  <a:pt x="5377" y="10848"/>
                  <a:pt x="5344" y="10782"/>
                  <a:pt x="5304" y="10781"/>
                </a:cubicBezTo>
                <a:cubicBezTo>
                  <a:pt x="5308" y="10754"/>
                  <a:pt x="5310" y="10719"/>
                  <a:pt x="5310" y="10675"/>
                </a:cubicBezTo>
                <a:cubicBezTo>
                  <a:pt x="5310" y="10618"/>
                  <a:pt x="5301" y="10579"/>
                  <a:pt x="5293" y="10544"/>
                </a:cubicBezTo>
                <a:cubicBezTo>
                  <a:pt x="5290" y="10529"/>
                  <a:pt x="5287" y="10514"/>
                  <a:pt x="5285" y="10500"/>
                </a:cubicBezTo>
                <a:lnTo>
                  <a:pt x="5285" y="10484"/>
                </a:lnTo>
                <a:cubicBezTo>
                  <a:pt x="5285" y="10466"/>
                  <a:pt x="5283" y="10451"/>
                  <a:pt x="5282" y="10438"/>
                </a:cubicBezTo>
                <a:cubicBezTo>
                  <a:pt x="5277" y="10386"/>
                  <a:pt x="5265" y="10347"/>
                  <a:pt x="5253" y="10310"/>
                </a:cubicBezTo>
                <a:cubicBezTo>
                  <a:pt x="5239" y="10267"/>
                  <a:pt x="5225" y="10226"/>
                  <a:pt x="5225" y="10164"/>
                </a:cubicBezTo>
                <a:cubicBezTo>
                  <a:pt x="5225" y="9965"/>
                  <a:pt x="5281" y="9870"/>
                  <a:pt x="5350" y="9791"/>
                </a:cubicBezTo>
                <a:cubicBezTo>
                  <a:pt x="5346" y="9805"/>
                  <a:pt x="5341" y="9818"/>
                  <a:pt x="5341" y="9836"/>
                </a:cubicBezTo>
                <a:cubicBezTo>
                  <a:pt x="5341" y="9890"/>
                  <a:pt x="5363" y="9934"/>
                  <a:pt x="5390" y="9934"/>
                </a:cubicBezTo>
                <a:cubicBezTo>
                  <a:pt x="5417" y="9934"/>
                  <a:pt x="5439" y="9890"/>
                  <a:pt x="5439" y="9836"/>
                </a:cubicBezTo>
                <a:cubicBezTo>
                  <a:pt x="5439" y="9785"/>
                  <a:pt x="5420" y="9747"/>
                  <a:pt x="5395" y="9741"/>
                </a:cubicBezTo>
                <a:cubicBezTo>
                  <a:pt x="5397" y="9739"/>
                  <a:pt x="5398" y="9737"/>
                  <a:pt x="5400" y="9735"/>
                </a:cubicBezTo>
                <a:cubicBezTo>
                  <a:pt x="5412" y="9722"/>
                  <a:pt x="5425" y="9710"/>
                  <a:pt x="5437" y="9697"/>
                </a:cubicBezTo>
                <a:lnTo>
                  <a:pt x="5444" y="9689"/>
                </a:lnTo>
                <a:cubicBezTo>
                  <a:pt x="5449" y="9684"/>
                  <a:pt x="5452" y="9674"/>
                  <a:pt x="5452" y="9664"/>
                </a:cubicBezTo>
                <a:cubicBezTo>
                  <a:pt x="5452" y="9661"/>
                  <a:pt x="5452" y="9657"/>
                  <a:pt x="5451" y="9654"/>
                </a:cubicBezTo>
                <a:cubicBezTo>
                  <a:pt x="5456" y="9642"/>
                  <a:pt x="5458" y="9637"/>
                  <a:pt x="5471" y="9628"/>
                </a:cubicBezTo>
                <a:cubicBezTo>
                  <a:pt x="5481" y="9623"/>
                  <a:pt x="5488" y="9612"/>
                  <a:pt x="5495" y="9602"/>
                </a:cubicBezTo>
                <a:cubicBezTo>
                  <a:pt x="5504" y="9591"/>
                  <a:pt x="5512" y="9582"/>
                  <a:pt x="5523" y="9578"/>
                </a:cubicBezTo>
                <a:cubicBezTo>
                  <a:pt x="5538" y="9572"/>
                  <a:pt x="5547" y="9546"/>
                  <a:pt x="5554" y="9528"/>
                </a:cubicBezTo>
                <a:lnTo>
                  <a:pt x="5557" y="9520"/>
                </a:lnTo>
                <a:cubicBezTo>
                  <a:pt x="5559" y="9513"/>
                  <a:pt x="5560" y="9504"/>
                  <a:pt x="5559" y="9495"/>
                </a:cubicBezTo>
                <a:cubicBezTo>
                  <a:pt x="5559" y="9487"/>
                  <a:pt x="5556" y="9480"/>
                  <a:pt x="5552" y="9475"/>
                </a:cubicBezTo>
                <a:lnTo>
                  <a:pt x="5543" y="9465"/>
                </a:lnTo>
                <a:cubicBezTo>
                  <a:pt x="5554" y="9459"/>
                  <a:pt x="5564" y="9442"/>
                  <a:pt x="5568" y="9400"/>
                </a:cubicBezTo>
                <a:cubicBezTo>
                  <a:pt x="5569" y="9383"/>
                  <a:pt x="5563" y="9368"/>
                  <a:pt x="5555" y="9365"/>
                </a:cubicBezTo>
                <a:cubicBezTo>
                  <a:pt x="5555" y="9364"/>
                  <a:pt x="5554" y="9365"/>
                  <a:pt x="5553" y="9365"/>
                </a:cubicBezTo>
                <a:cubicBezTo>
                  <a:pt x="5561" y="9351"/>
                  <a:pt x="5566" y="9330"/>
                  <a:pt x="5566" y="9305"/>
                </a:cubicBezTo>
                <a:lnTo>
                  <a:pt x="5566" y="9264"/>
                </a:lnTo>
                <a:cubicBezTo>
                  <a:pt x="5580" y="9275"/>
                  <a:pt x="5594" y="9282"/>
                  <a:pt x="5609" y="9282"/>
                </a:cubicBezTo>
                <a:cubicBezTo>
                  <a:pt x="5675" y="9282"/>
                  <a:pt x="5728" y="9175"/>
                  <a:pt x="5728" y="9043"/>
                </a:cubicBezTo>
                <a:cubicBezTo>
                  <a:pt x="5728" y="8961"/>
                  <a:pt x="5706" y="8892"/>
                  <a:pt x="5675" y="8849"/>
                </a:cubicBezTo>
                <a:cubicBezTo>
                  <a:pt x="5681" y="8826"/>
                  <a:pt x="5688" y="8795"/>
                  <a:pt x="5689" y="8790"/>
                </a:cubicBezTo>
                <a:cubicBezTo>
                  <a:pt x="5691" y="8778"/>
                  <a:pt x="5689" y="8767"/>
                  <a:pt x="5684" y="8760"/>
                </a:cubicBezTo>
                <a:cubicBezTo>
                  <a:pt x="5679" y="8752"/>
                  <a:pt x="5674" y="8740"/>
                  <a:pt x="5672" y="8733"/>
                </a:cubicBezTo>
                <a:cubicBezTo>
                  <a:pt x="5673" y="8733"/>
                  <a:pt x="5674" y="8733"/>
                  <a:pt x="5675" y="8734"/>
                </a:cubicBezTo>
                <a:cubicBezTo>
                  <a:pt x="5679" y="8735"/>
                  <a:pt x="5683" y="8736"/>
                  <a:pt x="5687" y="8736"/>
                </a:cubicBezTo>
                <a:cubicBezTo>
                  <a:pt x="5717" y="8736"/>
                  <a:pt x="5741" y="8736"/>
                  <a:pt x="5773" y="8713"/>
                </a:cubicBezTo>
                <a:cubicBezTo>
                  <a:pt x="5779" y="8709"/>
                  <a:pt x="5782" y="8701"/>
                  <a:pt x="5783" y="8690"/>
                </a:cubicBezTo>
                <a:cubicBezTo>
                  <a:pt x="5783" y="8682"/>
                  <a:pt x="5783" y="8676"/>
                  <a:pt x="5781" y="8670"/>
                </a:cubicBezTo>
                <a:cubicBezTo>
                  <a:pt x="5806" y="8662"/>
                  <a:pt x="5831" y="8651"/>
                  <a:pt x="5852" y="8626"/>
                </a:cubicBezTo>
                <a:cubicBezTo>
                  <a:pt x="5857" y="8628"/>
                  <a:pt x="5861" y="8629"/>
                  <a:pt x="5865" y="8629"/>
                </a:cubicBezTo>
                <a:cubicBezTo>
                  <a:pt x="5881" y="8629"/>
                  <a:pt x="5903" y="8619"/>
                  <a:pt x="5925" y="8608"/>
                </a:cubicBezTo>
                <a:cubicBezTo>
                  <a:pt x="5931" y="8605"/>
                  <a:pt x="5936" y="8593"/>
                  <a:pt x="5936" y="8579"/>
                </a:cubicBezTo>
                <a:lnTo>
                  <a:pt x="5936" y="8550"/>
                </a:lnTo>
                <a:cubicBezTo>
                  <a:pt x="5936" y="8538"/>
                  <a:pt x="5933" y="8528"/>
                  <a:pt x="5928" y="8523"/>
                </a:cubicBezTo>
                <a:cubicBezTo>
                  <a:pt x="5922" y="8518"/>
                  <a:pt x="5916" y="8518"/>
                  <a:pt x="5912" y="8525"/>
                </a:cubicBezTo>
                <a:cubicBezTo>
                  <a:pt x="5907" y="8533"/>
                  <a:pt x="5902" y="8540"/>
                  <a:pt x="5898" y="8545"/>
                </a:cubicBezTo>
                <a:cubicBezTo>
                  <a:pt x="5895" y="8535"/>
                  <a:pt x="5891" y="8513"/>
                  <a:pt x="5891" y="8502"/>
                </a:cubicBezTo>
                <a:cubicBezTo>
                  <a:pt x="5891" y="8491"/>
                  <a:pt x="5888" y="8482"/>
                  <a:pt x="5884" y="8476"/>
                </a:cubicBezTo>
                <a:cubicBezTo>
                  <a:pt x="5883" y="8474"/>
                  <a:pt x="5883" y="8468"/>
                  <a:pt x="5883" y="8463"/>
                </a:cubicBezTo>
                <a:cubicBezTo>
                  <a:pt x="5883" y="8360"/>
                  <a:pt x="5917" y="8311"/>
                  <a:pt x="5950" y="8263"/>
                </a:cubicBezTo>
                <a:cubicBezTo>
                  <a:pt x="5962" y="8246"/>
                  <a:pt x="5973" y="8231"/>
                  <a:pt x="5983" y="8213"/>
                </a:cubicBezTo>
                <a:cubicBezTo>
                  <a:pt x="5987" y="8209"/>
                  <a:pt x="5989" y="8208"/>
                  <a:pt x="5990" y="8208"/>
                </a:cubicBezTo>
                <a:cubicBezTo>
                  <a:pt x="5992" y="8208"/>
                  <a:pt x="5994" y="8209"/>
                  <a:pt x="5997" y="8211"/>
                </a:cubicBezTo>
                <a:cubicBezTo>
                  <a:pt x="6003" y="8213"/>
                  <a:pt x="6011" y="8218"/>
                  <a:pt x="6022" y="8218"/>
                </a:cubicBezTo>
                <a:cubicBezTo>
                  <a:pt x="6057" y="8218"/>
                  <a:pt x="6085" y="8188"/>
                  <a:pt x="6103" y="8131"/>
                </a:cubicBezTo>
                <a:cubicBezTo>
                  <a:pt x="6107" y="8120"/>
                  <a:pt x="6106" y="8106"/>
                  <a:pt x="6102" y="8096"/>
                </a:cubicBezTo>
                <a:cubicBezTo>
                  <a:pt x="6101" y="8094"/>
                  <a:pt x="6100" y="8092"/>
                  <a:pt x="6100" y="8089"/>
                </a:cubicBezTo>
                <a:cubicBezTo>
                  <a:pt x="6103" y="8089"/>
                  <a:pt x="6107" y="8091"/>
                  <a:pt x="6113" y="8092"/>
                </a:cubicBezTo>
                <a:cubicBezTo>
                  <a:pt x="6123" y="8093"/>
                  <a:pt x="6136" y="8095"/>
                  <a:pt x="6149" y="8095"/>
                </a:cubicBezTo>
                <a:cubicBezTo>
                  <a:pt x="6151" y="8095"/>
                  <a:pt x="6153" y="8095"/>
                  <a:pt x="6155" y="8095"/>
                </a:cubicBezTo>
                <a:cubicBezTo>
                  <a:pt x="6139" y="8125"/>
                  <a:pt x="6129" y="8160"/>
                  <a:pt x="6129" y="8200"/>
                </a:cubicBezTo>
                <a:cubicBezTo>
                  <a:pt x="6129" y="8252"/>
                  <a:pt x="6164" y="8336"/>
                  <a:pt x="6186" y="8336"/>
                </a:cubicBezTo>
                <a:cubicBezTo>
                  <a:pt x="6199" y="8336"/>
                  <a:pt x="6211" y="8314"/>
                  <a:pt x="6229" y="8280"/>
                </a:cubicBezTo>
                <a:cubicBezTo>
                  <a:pt x="6247" y="8248"/>
                  <a:pt x="6268" y="8208"/>
                  <a:pt x="6287" y="8197"/>
                </a:cubicBezTo>
                <a:cubicBezTo>
                  <a:pt x="6295" y="8193"/>
                  <a:pt x="6341" y="8159"/>
                  <a:pt x="6380" y="8124"/>
                </a:cubicBezTo>
                <a:cubicBezTo>
                  <a:pt x="6450" y="8062"/>
                  <a:pt x="6456" y="8040"/>
                  <a:pt x="6456" y="8017"/>
                </a:cubicBezTo>
                <a:cubicBezTo>
                  <a:pt x="6458" y="8018"/>
                  <a:pt x="6461" y="8018"/>
                  <a:pt x="6464" y="8018"/>
                </a:cubicBezTo>
                <a:cubicBezTo>
                  <a:pt x="6475" y="8018"/>
                  <a:pt x="6486" y="8011"/>
                  <a:pt x="6496" y="8002"/>
                </a:cubicBezTo>
                <a:cubicBezTo>
                  <a:pt x="6501" y="8074"/>
                  <a:pt x="6531" y="8130"/>
                  <a:pt x="6568" y="8130"/>
                </a:cubicBezTo>
                <a:cubicBezTo>
                  <a:pt x="6609" y="8130"/>
                  <a:pt x="6642" y="8064"/>
                  <a:pt x="6642" y="7982"/>
                </a:cubicBezTo>
                <a:cubicBezTo>
                  <a:pt x="6642" y="7900"/>
                  <a:pt x="6609" y="7834"/>
                  <a:pt x="6568" y="7834"/>
                </a:cubicBezTo>
                <a:cubicBezTo>
                  <a:pt x="6547" y="7834"/>
                  <a:pt x="6528" y="7853"/>
                  <a:pt x="6515" y="7882"/>
                </a:cubicBezTo>
                <a:cubicBezTo>
                  <a:pt x="6513" y="7879"/>
                  <a:pt x="6513" y="7872"/>
                  <a:pt x="6510" y="7872"/>
                </a:cubicBezTo>
                <a:lnTo>
                  <a:pt x="6507" y="7872"/>
                </a:lnTo>
                <a:cubicBezTo>
                  <a:pt x="6506" y="7872"/>
                  <a:pt x="6506" y="7874"/>
                  <a:pt x="6506" y="7874"/>
                </a:cubicBezTo>
                <a:cubicBezTo>
                  <a:pt x="6505" y="7874"/>
                  <a:pt x="6505" y="7872"/>
                  <a:pt x="6505" y="7872"/>
                </a:cubicBezTo>
                <a:cubicBezTo>
                  <a:pt x="6505" y="7872"/>
                  <a:pt x="6505" y="7872"/>
                  <a:pt x="6504" y="7872"/>
                </a:cubicBezTo>
                <a:cubicBezTo>
                  <a:pt x="6506" y="7865"/>
                  <a:pt x="6507" y="7857"/>
                  <a:pt x="6508" y="7847"/>
                </a:cubicBezTo>
                <a:cubicBezTo>
                  <a:pt x="6508" y="7847"/>
                  <a:pt x="6508" y="7846"/>
                  <a:pt x="6508" y="7846"/>
                </a:cubicBezTo>
                <a:cubicBezTo>
                  <a:pt x="6508" y="7844"/>
                  <a:pt x="6508" y="7840"/>
                  <a:pt x="6508" y="7839"/>
                </a:cubicBezTo>
                <a:cubicBezTo>
                  <a:pt x="6508" y="7822"/>
                  <a:pt x="6504" y="7811"/>
                  <a:pt x="6501" y="7804"/>
                </a:cubicBezTo>
                <a:cubicBezTo>
                  <a:pt x="6500" y="7800"/>
                  <a:pt x="6498" y="7798"/>
                  <a:pt x="6497" y="7794"/>
                </a:cubicBezTo>
                <a:cubicBezTo>
                  <a:pt x="6495" y="7791"/>
                  <a:pt x="6493" y="7787"/>
                  <a:pt x="6492" y="7784"/>
                </a:cubicBezTo>
                <a:cubicBezTo>
                  <a:pt x="6489" y="7771"/>
                  <a:pt x="6481" y="7764"/>
                  <a:pt x="6474" y="7769"/>
                </a:cubicBezTo>
                <a:cubicBezTo>
                  <a:pt x="6448" y="7786"/>
                  <a:pt x="6415" y="7904"/>
                  <a:pt x="6415" y="7941"/>
                </a:cubicBezTo>
                <a:cubicBezTo>
                  <a:pt x="6415" y="7943"/>
                  <a:pt x="6415" y="7944"/>
                  <a:pt x="6415" y="7946"/>
                </a:cubicBezTo>
                <a:cubicBezTo>
                  <a:pt x="6402" y="7940"/>
                  <a:pt x="6388" y="7937"/>
                  <a:pt x="6378" y="7937"/>
                </a:cubicBezTo>
                <a:cubicBezTo>
                  <a:pt x="6385" y="7926"/>
                  <a:pt x="6388" y="7910"/>
                  <a:pt x="6389" y="7893"/>
                </a:cubicBezTo>
                <a:cubicBezTo>
                  <a:pt x="6399" y="7876"/>
                  <a:pt x="6407" y="7851"/>
                  <a:pt x="6407" y="7821"/>
                </a:cubicBezTo>
                <a:cubicBezTo>
                  <a:pt x="6407" y="7767"/>
                  <a:pt x="6385" y="7722"/>
                  <a:pt x="6358" y="7722"/>
                </a:cubicBezTo>
                <a:cubicBezTo>
                  <a:pt x="6331" y="7722"/>
                  <a:pt x="6308" y="7767"/>
                  <a:pt x="6308" y="7821"/>
                </a:cubicBezTo>
                <a:cubicBezTo>
                  <a:pt x="6308" y="7823"/>
                  <a:pt x="6309" y="7824"/>
                  <a:pt x="6310" y="7826"/>
                </a:cubicBezTo>
                <a:cubicBezTo>
                  <a:pt x="6296" y="7818"/>
                  <a:pt x="6286" y="7805"/>
                  <a:pt x="6280" y="7779"/>
                </a:cubicBezTo>
                <a:cubicBezTo>
                  <a:pt x="6278" y="7772"/>
                  <a:pt x="6275" y="7767"/>
                  <a:pt x="6271" y="7764"/>
                </a:cubicBezTo>
                <a:cubicBezTo>
                  <a:pt x="6267" y="7762"/>
                  <a:pt x="6263" y="7761"/>
                  <a:pt x="6260" y="7765"/>
                </a:cubicBezTo>
                <a:cubicBezTo>
                  <a:pt x="6252" y="7774"/>
                  <a:pt x="6246" y="7791"/>
                  <a:pt x="6244" y="7809"/>
                </a:cubicBezTo>
                <a:cubicBezTo>
                  <a:pt x="6234" y="7787"/>
                  <a:pt x="6228" y="7763"/>
                  <a:pt x="6228" y="7741"/>
                </a:cubicBezTo>
                <a:cubicBezTo>
                  <a:pt x="6228" y="7736"/>
                  <a:pt x="6232" y="7722"/>
                  <a:pt x="6235" y="7713"/>
                </a:cubicBezTo>
                <a:cubicBezTo>
                  <a:pt x="6240" y="7695"/>
                  <a:pt x="6246" y="7672"/>
                  <a:pt x="6249" y="7645"/>
                </a:cubicBezTo>
                <a:cubicBezTo>
                  <a:pt x="6250" y="7636"/>
                  <a:pt x="6249" y="7628"/>
                  <a:pt x="6246" y="7621"/>
                </a:cubicBezTo>
                <a:cubicBezTo>
                  <a:pt x="6243" y="7614"/>
                  <a:pt x="6239" y="7609"/>
                  <a:pt x="6235" y="7609"/>
                </a:cubicBezTo>
                <a:cubicBezTo>
                  <a:pt x="6234" y="7609"/>
                  <a:pt x="6233" y="7609"/>
                  <a:pt x="6231" y="7609"/>
                </a:cubicBezTo>
                <a:cubicBezTo>
                  <a:pt x="6257" y="7585"/>
                  <a:pt x="6286" y="7551"/>
                  <a:pt x="6286" y="7487"/>
                </a:cubicBezTo>
                <a:cubicBezTo>
                  <a:pt x="6286" y="7392"/>
                  <a:pt x="6226" y="7391"/>
                  <a:pt x="6204" y="7391"/>
                </a:cubicBezTo>
                <a:cubicBezTo>
                  <a:pt x="6196" y="7391"/>
                  <a:pt x="6188" y="7392"/>
                  <a:pt x="6180" y="7392"/>
                </a:cubicBezTo>
                <a:cubicBezTo>
                  <a:pt x="6173" y="7393"/>
                  <a:pt x="6166" y="7392"/>
                  <a:pt x="6160" y="7392"/>
                </a:cubicBezTo>
                <a:cubicBezTo>
                  <a:pt x="6135" y="7392"/>
                  <a:pt x="6113" y="7402"/>
                  <a:pt x="6094" y="7415"/>
                </a:cubicBezTo>
                <a:cubicBezTo>
                  <a:pt x="6106" y="7389"/>
                  <a:pt x="6110" y="7364"/>
                  <a:pt x="6113" y="7347"/>
                </a:cubicBezTo>
                <a:cubicBezTo>
                  <a:pt x="6117" y="7324"/>
                  <a:pt x="6119" y="7315"/>
                  <a:pt x="6137" y="7302"/>
                </a:cubicBezTo>
                <a:cubicBezTo>
                  <a:pt x="6147" y="7296"/>
                  <a:pt x="6157" y="7297"/>
                  <a:pt x="6166" y="7293"/>
                </a:cubicBezTo>
                <a:cubicBezTo>
                  <a:pt x="6173" y="7330"/>
                  <a:pt x="6188" y="7360"/>
                  <a:pt x="6209" y="7360"/>
                </a:cubicBezTo>
                <a:cubicBezTo>
                  <a:pt x="6214" y="7360"/>
                  <a:pt x="6216" y="7353"/>
                  <a:pt x="6221" y="7350"/>
                </a:cubicBezTo>
                <a:cubicBezTo>
                  <a:pt x="6221" y="7351"/>
                  <a:pt x="6221" y="7351"/>
                  <a:pt x="6221" y="7351"/>
                </a:cubicBezTo>
                <a:cubicBezTo>
                  <a:pt x="6281" y="7441"/>
                  <a:pt x="6323" y="7485"/>
                  <a:pt x="6351" y="7485"/>
                </a:cubicBezTo>
                <a:cubicBezTo>
                  <a:pt x="6368" y="7485"/>
                  <a:pt x="6382" y="7482"/>
                  <a:pt x="6393" y="7445"/>
                </a:cubicBezTo>
                <a:cubicBezTo>
                  <a:pt x="6395" y="7438"/>
                  <a:pt x="6396" y="7429"/>
                  <a:pt x="6395" y="7421"/>
                </a:cubicBezTo>
                <a:cubicBezTo>
                  <a:pt x="6394" y="7414"/>
                  <a:pt x="6392" y="7408"/>
                  <a:pt x="6388" y="7404"/>
                </a:cubicBezTo>
                <a:cubicBezTo>
                  <a:pt x="6380" y="7394"/>
                  <a:pt x="6371" y="7382"/>
                  <a:pt x="6362" y="7371"/>
                </a:cubicBezTo>
                <a:cubicBezTo>
                  <a:pt x="6333" y="7334"/>
                  <a:pt x="6301" y="7292"/>
                  <a:pt x="6258" y="7292"/>
                </a:cubicBezTo>
                <a:cubicBezTo>
                  <a:pt x="6256" y="7292"/>
                  <a:pt x="6254" y="7293"/>
                  <a:pt x="6251" y="7293"/>
                </a:cubicBezTo>
                <a:cubicBezTo>
                  <a:pt x="6253" y="7287"/>
                  <a:pt x="6254" y="7282"/>
                  <a:pt x="6255" y="7276"/>
                </a:cubicBezTo>
                <a:cubicBezTo>
                  <a:pt x="6262" y="7276"/>
                  <a:pt x="6270" y="7277"/>
                  <a:pt x="6278" y="7278"/>
                </a:cubicBezTo>
                <a:cubicBezTo>
                  <a:pt x="6297" y="7280"/>
                  <a:pt x="6317" y="7283"/>
                  <a:pt x="6340" y="7283"/>
                </a:cubicBezTo>
                <a:cubicBezTo>
                  <a:pt x="6358" y="7283"/>
                  <a:pt x="6374" y="7284"/>
                  <a:pt x="6385" y="7286"/>
                </a:cubicBezTo>
                <a:cubicBezTo>
                  <a:pt x="6385" y="7286"/>
                  <a:pt x="6385" y="7286"/>
                  <a:pt x="6386" y="7286"/>
                </a:cubicBezTo>
                <a:cubicBezTo>
                  <a:pt x="6394" y="7287"/>
                  <a:pt x="6402" y="7289"/>
                  <a:pt x="6410" y="7291"/>
                </a:cubicBezTo>
                <a:cubicBezTo>
                  <a:pt x="6428" y="7294"/>
                  <a:pt x="6445" y="7298"/>
                  <a:pt x="6461" y="7298"/>
                </a:cubicBezTo>
                <a:cubicBezTo>
                  <a:pt x="6471" y="7298"/>
                  <a:pt x="6479" y="7296"/>
                  <a:pt x="6486" y="7294"/>
                </a:cubicBezTo>
                <a:cubicBezTo>
                  <a:pt x="6486" y="7294"/>
                  <a:pt x="6487" y="7294"/>
                  <a:pt x="6487" y="7294"/>
                </a:cubicBezTo>
                <a:cubicBezTo>
                  <a:pt x="6524" y="7284"/>
                  <a:pt x="6552" y="7248"/>
                  <a:pt x="6579" y="7178"/>
                </a:cubicBezTo>
                <a:cubicBezTo>
                  <a:pt x="6580" y="7175"/>
                  <a:pt x="6582" y="7170"/>
                  <a:pt x="6588" y="7164"/>
                </a:cubicBezTo>
                <a:lnTo>
                  <a:pt x="6590" y="7161"/>
                </a:lnTo>
                <a:cubicBezTo>
                  <a:pt x="6590" y="7160"/>
                  <a:pt x="6591" y="7159"/>
                  <a:pt x="6592" y="7158"/>
                </a:cubicBezTo>
                <a:cubicBezTo>
                  <a:pt x="6607" y="7141"/>
                  <a:pt x="6631" y="7126"/>
                  <a:pt x="6656" y="7110"/>
                </a:cubicBezTo>
                <a:cubicBezTo>
                  <a:pt x="6672" y="7100"/>
                  <a:pt x="6689" y="7088"/>
                  <a:pt x="6705" y="7076"/>
                </a:cubicBezTo>
                <a:cubicBezTo>
                  <a:pt x="6698" y="7094"/>
                  <a:pt x="6693" y="7113"/>
                  <a:pt x="6688" y="7131"/>
                </a:cubicBezTo>
                <a:cubicBezTo>
                  <a:pt x="6685" y="7141"/>
                  <a:pt x="6683" y="7151"/>
                  <a:pt x="6680" y="7160"/>
                </a:cubicBezTo>
                <a:cubicBezTo>
                  <a:pt x="6678" y="7165"/>
                  <a:pt x="6677" y="7171"/>
                  <a:pt x="6675" y="7176"/>
                </a:cubicBezTo>
                <a:lnTo>
                  <a:pt x="6674" y="7182"/>
                </a:lnTo>
                <a:lnTo>
                  <a:pt x="6671" y="7192"/>
                </a:lnTo>
                <a:cubicBezTo>
                  <a:pt x="6671" y="7192"/>
                  <a:pt x="6671" y="7192"/>
                  <a:pt x="6671" y="7192"/>
                </a:cubicBezTo>
                <a:cubicBezTo>
                  <a:pt x="6666" y="7209"/>
                  <a:pt x="6661" y="7230"/>
                  <a:pt x="6657" y="7250"/>
                </a:cubicBezTo>
                <a:cubicBezTo>
                  <a:pt x="6648" y="7222"/>
                  <a:pt x="6636" y="7200"/>
                  <a:pt x="6618" y="7200"/>
                </a:cubicBezTo>
                <a:cubicBezTo>
                  <a:pt x="6591" y="7200"/>
                  <a:pt x="6569" y="7244"/>
                  <a:pt x="6569" y="7299"/>
                </a:cubicBezTo>
                <a:cubicBezTo>
                  <a:pt x="6569" y="7353"/>
                  <a:pt x="6591" y="7397"/>
                  <a:pt x="6618" y="7397"/>
                </a:cubicBezTo>
                <a:cubicBezTo>
                  <a:pt x="6619" y="7397"/>
                  <a:pt x="6619" y="7396"/>
                  <a:pt x="6619" y="7396"/>
                </a:cubicBezTo>
                <a:cubicBezTo>
                  <a:pt x="6611" y="7424"/>
                  <a:pt x="6602" y="7451"/>
                  <a:pt x="6591" y="7470"/>
                </a:cubicBezTo>
                <a:cubicBezTo>
                  <a:pt x="6584" y="7483"/>
                  <a:pt x="6578" y="7491"/>
                  <a:pt x="6572" y="7497"/>
                </a:cubicBezTo>
                <a:cubicBezTo>
                  <a:pt x="6565" y="7504"/>
                  <a:pt x="6562" y="7519"/>
                  <a:pt x="6564" y="7533"/>
                </a:cubicBezTo>
                <a:cubicBezTo>
                  <a:pt x="6566" y="7547"/>
                  <a:pt x="6571" y="7558"/>
                  <a:pt x="6577" y="7565"/>
                </a:cubicBezTo>
                <a:cubicBezTo>
                  <a:pt x="6576" y="7566"/>
                  <a:pt x="6576" y="7567"/>
                  <a:pt x="6575" y="7568"/>
                </a:cubicBezTo>
                <a:cubicBezTo>
                  <a:pt x="6551" y="7613"/>
                  <a:pt x="6542" y="7631"/>
                  <a:pt x="6542" y="7652"/>
                </a:cubicBezTo>
                <a:cubicBezTo>
                  <a:pt x="6542" y="7680"/>
                  <a:pt x="6559" y="7724"/>
                  <a:pt x="6578" y="7724"/>
                </a:cubicBezTo>
                <a:cubicBezTo>
                  <a:pt x="6593" y="7724"/>
                  <a:pt x="6603" y="7718"/>
                  <a:pt x="6612" y="7712"/>
                </a:cubicBezTo>
                <a:cubicBezTo>
                  <a:pt x="6621" y="7705"/>
                  <a:pt x="6630" y="7699"/>
                  <a:pt x="6644" y="7699"/>
                </a:cubicBezTo>
                <a:cubicBezTo>
                  <a:pt x="6652" y="7699"/>
                  <a:pt x="6659" y="7704"/>
                  <a:pt x="6668" y="7710"/>
                </a:cubicBezTo>
                <a:cubicBezTo>
                  <a:pt x="6678" y="7718"/>
                  <a:pt x="6689" y="7727"/>
                  <a:pt x="6705" y="7728"/>
                </a:cubicBezTo>
                <a:cubicBezTo>
                  <a:pt x="6706" y="7728"/>
                  <a:pt x="6707" y="7729"/>
                  <a:pt x="6708" y="7729"/>
                </a:cubicBezTo>
                <a:cubicBezTo>
                  <a:pt x="6722" y="7729"/>
                  <a:pt x="6734" y="7722"/>
                  <a:pt x="6745" y="7714"/>
                </a:cubicBezTo>
                <a:cubicBezTo>
                  <a:pt x="6752" y="7726"/>
                  <a:pt x="6762" y="7733"/>
                  <a:pt x="6774" y="7733"/>
                </a:cubicBezTo>
                <a:cubicBezTo>
                  <a:pt x="6772" y="7741"/>
                  <a:pt x="6771" y="7751"/>
                  <a:pt x="6771" y="7763"/>
                </a:cubicBezTo>
                <a:cubicBezTo>
                  <a:pt x="6771" y="7782"/>
                  <a:pt x="6778" y="7797"/>
                  <a:pt x="6788" y="7797"/>
                </a:cubicBezTo>
                <a:cubicBezTo>
                  <a:pt x="6791" y="7797"/>
                  <a:pt x="6794" y="7794"/>
                  <a:pt x="6797" y="7793"/>
                </a:cubicBezTo>
                <a:cubicBezTo>
                  <a:pt x="6798" y="7793"/>
                  <a:pt x="6799" y="7792"/>
                  <a:pt x="6799" y="7792"/>
                </a:cubicBezTo>
                <a:cubicBezTo>
                  <a:pt x="6820" y="7792"/>
                  <a:pt x="6836" y="7760"/>
                  <a:pt x="6850" y="7724"/>
                </a:cubicBezTo>
                <a:cubicBezTo>
                  <a:pt x="6853" y="7726"/>
                  <a:pt x="6855" y="7730"/>
                  <a:pt x="6857" y="7730"/>
                </a:cubicBezTo>
                <a:cubicBezTo>
                  <a:pt x="6859" y="7757"/>
                  <a:pt x="6862" y="7792"/>
                  <a:pt x="6881" y="7792"/>
                </a:cubicBezTo>
                <a:cubicBezTo>
                  <a:pt x="6882" y="7792"/>
                  <a:pt x="6884" y="7794"/>
                  <a:pt x="6885" y="7794"/>
                </a:cubicBezTo>
                <a:cubicBezTo>
                  <a:pt x="6885" y="7794"/>
                  <a:pt x="6885" y="7795"/>
                  <a:pt x="6885" y="7796"/>
                </a:cubicBezTo>
                <a:cubicBezTo>
                  <a:pt x="6888" y="7826"/>
                  <a:pt x="6900" y="7851"/>
                  <a:pt x="6918" y="7851"/>
                </a:cubicBezTo>
                <a:cubicBezTo>
                  <a:pt x="6949" y="7851"/>
                  <a:pt x="6966" y="7784"/>
                  <a:pt x="6966" y="7720"/>
                </a:cubicBezTo>
                <a:cubicBezTo>
                  <a:pt x="6966" y="7690"/>
                  <a:pt x="6961" y="7674"/>
                  <a:pt x="6957" y="7663"/>
                </a:cubicBezTo>
                <a:cubicBezTo>
                  <a:pt x="6954" y="7653"/>
                  <a:pt x="6952" y="7648"/>
                  <a:pt x="6952" y="7631"/>
                </a:cubicBezTo>
                <a:cubicBezTo>
                  <a:pt x="6952" y="7620"/>
                  <a:pt x="6949" y="7610"/>
                  <a:pt x="6944" y="7604"/>
                </a:cubicBezTo>
                <a:cubicBezTo>
                  <a:pt x="6939" y="7599"/>
                  <a:pt x="6933" y="7600"/>
                  <a:pt x="6928" y="7605"/>
                </a:cubicBezTo>
                <a:cubicBezTo>
                  <a:pt x="6924" y="7611"/>
                  <a:pt x="6921" y="7616"/>
                  <a:pt x="6920" y="7621"/>
                </a:cubicBezTo>
                <a:cubicBezTo>
                  <a:pt x="6917" y="7612"/>
                  <a:pt x="6915" y="7606"/>
                  <a:pt x="6913" y="7600"/>
                </a:cubicBezTo>
                <a:cubicBezTo>
                  <a:pt x="6912" y="7598"/>
                  <a:pt x="6911" y="7595"/>
                  <a:pt x="6910" y="7593"/>
                </a:cubicBezTo>
                <a:cubicBezTo>
                  <a:pt x="6910" y="7592"/>
                  <a:pt x="6911" y="7592"/>
                  <a:pt x="6911" y="7592"/>
                </a:cubicBezTo>
                <a:cubicBezTo>
                  <a:pt x="6917" y="7580"/>
                  <a:pt x="6928" y="7562"/>
                  <a:pt x="6930" y="7527"/>
                </a:cubicBezTo>
                <a:cubicBezTo>
                  <a:pt x="6930" y="7519"/>
                  <a:pt x="6929" y="7510"/>
                  <a:pt x="6927" y="7504"/>
                </a:cubicBezTo>
                <a:cubicBezTo>
                  <a:pt x="6924" y="7498"/>
                  <a:pt x="6920" y="7495"/>
                  <a:pt x="6915" y="7495"/>
                </a:cubicBezTo>
                <a:cubicBezTo>
                  <a:pt x="6914" y="7495"/>
                  <a:pt x="6911" y="7494"/>
                  <a:pt x="6907" y="7495"/>
                </a:cubicBezTo>
                <a:cubicBezTo>
                  <a:pt x="6908" y="7478"/>
                  <a:pt x="6908" y="7464"/>
                  <a:pt x="6908" y="7450"/>
                </a:cubicBezTo>
                <a:cubicBezTo>
                  <a:pt x="6909" y="7431"/>
                  <a:pt x="6909" y="7414"/>
                  <a:pt x="6909" y="7397"/>
                </a:cubicBezTo>
                <a:cubicBezTo>
                  <a:pt x="6909" y="7386"/>
                  <a:pt x="6906" y="7376"/>
                  <a:pt x="6902" y="7371"/>
                </a:cubicBezTo>
                <a:cubicBezTo>
                  <a:pt x="6897" y="7366"/>
                  <a:pt x="6891" y="7366"/>
                  <a:pt x="6886" y="7371"/>
                </a:cubicBezTo>
                <a:cubicBezTo>
                  <a:pt x="6885" y="7373"/>
                  <a:pt x="6880" y="7377"/>
                  <a:pt x="6868" y="7377"/>
                </a:cubicBezTo>
                <a:cubicBezTo>
                  <a:pt x="6858" y="7377"/>
                  <a:pt x="6846" y="7373"/>
                  <a:pt x="6836" y="7368"/>
                </a:cubicBezTo>
                <a:cubicBezTo>
                  <a:pt x="6834" y="7366"/>
                  <a:pt x="6830" y="7367"/>
                  <a:pt x="6828" y="7369"/>
                </a:cubicBezTo>
                <a:lnTo>
                  <a:pt x="6819" y="7375"/>
                </a:lnTo>
                <a:cubicBezTo>
                  <a:pt x="6816" y="7368"/>
                  <a:pt x="6812" y="7363"/>
                  <a:pt x="6807" y="7363"/>
                </a:cubicBezTo>
                <a:lnTo>
                  <a:pt x="6786" y="7363"/>
                </a:lnTo>
                <a:lnTo>
                  <a:pt x="6790" y="7355"/>
                </a:lnTo>
                <a:cubicBezTo>
                  <a:pt x="6793" y="7349"/>
                  <a:pt x="6794" y="7342"/>
                  <a:pt x="6795" y="7334"/>
                </a:cubicBezTo>
                <a:cubicBezTo>
                  <a:pt x="6795" y="7326"/>
                  <a:pt x="6793" y="7319"/>
                  <a:pt x="6790" y="7313"/>
                </a:cubicBezTo>
                <a:cubicBezTo>
                  <a:pt x="6780" y="7292"/>
                  <a:pt x="6766" y="7281"/>
                  <a:pt x="6746" y="7281"/>
                </a:cubicBezTo>
                <a:cubicBezTo>
                  <a:pt x="6742" y="7281"/>
                  <a:pt x="6739" y="7283"/>
                  <a:pt x="6736" y="7285"/>
                </a:cubicBezTo>
                <a:cubicBezTo>
                  <a:pt x="6739" y="7276"/>
                  <a:pt x="6743" y="7267"/>
                  <a:pt x="6746" y="7257"/>
                </a:cubicBezTo>
                <a:cubicBezTo>
                  <a:pt x="6746" y="7257"/>
                  <a:pt x="6746" y="7256"/>
                  <a:pt x="6746" y="7256"/>
                </a:cubicBezTo>
                <a:cubicBezTo>
                  <a:pt x="6747" y="7255"/>
                  <a:pt x="6747" y="7254"/>
                  <a:pt x="6747" y="7253"/>
                </a:cubicBezTo>
                <a:lnTo>
                  <a:pt x="6749" y="7250"/>
                </a:lnTo>
                <a:lnTo>
                  <a:pt x="6752" y="7242"/>
                </a:lnTo>
                <a:cubicBezTo>
                  <a:pt x="6768" y="7202"/>
                  <a:pt x="6786" y="7157"/>
                  <a:pt x="6786" y="7091"/>
                </a:cubicBezTo>
                <a:cubicBezTo>
                  <a:pt x="6786" y="7063"/>
                  <a:pt x="6776" y="7023"/>
                  <a:pt x="6759" y="7019"/>
                </a:cubicBezTo>
                <a:cubicBezTo>
                  <a:pt x="6774" y="6994"/>
                  <a:pt x="6784" y="6964"/>
                  <a:pt x="6784" y="6925"/>
                </a:cubicBezTo>
                <a:lnTo>
                  <a:pt x="6784" y="6919"/>
                </a:lnTo>
                <a:cubicBezTo>
                  <a:pt x="6784" y="6918"/>
                  <a:pt x="6783" y="6918"/>
                  <a:pt x="6783" y="6918"/>
                </a:cubicBezTo>
                <a:cubicBezTo>
                  <a:pt x="6783" y="6917"/>
                  <a:pt x="6784" y="6917"/>
                  <a:pt x="6784" y="6917"/>
                </a:cubicBezTo>
                <a:cubicBezTo>
                  <a:pt x="6784" y="6916"/>
                  <a:pt x="6783" y="6916"/>
                  <a:pt x="6783" y="6915"/>
                </a:cubicBezTo>
                <a:cubicBezTo>
                  <a:pt x="6782" y="6825"/>
                  <a:pt x="6768" y="6779"/>
                  <a:pt x="6751" y="6724"/>
                </a:cubicBezTo>
                <a:lnTo>
                  <a:pt x="6746" y="6706"/>
                </a:lnTo>
                <a:cubicBezTo>
                  <a:pt x="6746" y="6705"/>
                  <a:pt x="6745" y="6705"/>
                  <a:pt x="6745" y="6704"/>
                </a:cubicBezTo>
                <a:cubicBezTo>
                  <a:pt x="6750" y="6684"/>
                  <a:pt x="6754" y="6663"/>
                  <a:pt x="6754" y="6639"/>
                </a:cubicBezTo>
                <a:cubicBezTo>
                  <a:pt x="6754" y="6557"/>
                  <a:pt x="6721" y="6491"/>
                  <a:pt x="6680" y="6491"/>
                </a:cubicBezTo>
                <a:cubicBezTo>
                  <a:pt x="6673" y="6491"/>
                  <a:pt x="6667" y="6496"/>
                  <a:pt x="6660" y="6499"/>
                </a:cubicBezTo>
                <a:cubicBezTo>
                  <a:pt x="6658" y="6487"/>
                  <a:pt x="6653" y="6477"/>
                  <a:pt x="6646" y="6478"/>
                </a:cubicBezTo>
                <a:cubicBezTo>
                  <a:pt x="6642" y="6479"/>
                  <a:pt x="6637" y="6481"/>
                  <a:pt x="6631" y="6481"/>
                </a:cubicBezTo>
                <a:cubicBezTo>
                  <a:pt x="6590" y="6481"/>
                  <a:pt x="6536" y="6449"/>
                  <a:pt x="6515" y="6384"/>
                </a:cubicBezTo>
                <a:cubicBezTo>
                  <a:pt x="6537" y="6375"/>
                  <a:pt x="6556" y="6340"/>
                  <a:pt x="6556" y="6292"/>
                </a:cubicBezTo>
                <a:cubicBezTo>
                  <a:pt x="6556" y="6237"/>
                  <a:pt x="6534" y="6193"/>
                  <a:pt x="6507" y="6193"/>
                </a:cubicBezTo>
                <a:cubicBezTo>
                  <a:pt x="6483" y="6193"/>
                  <a:pt x="6466" y="6229"/>
                  <a:pt x="6461" y="6273"/>
                </a:cubicBezTo>
                <a:cubicBezTo>
                  <a:pt x="6444" y="6261"/>
                  <a:pt x="6428" y="6242"/>
                  <a:pt x="6414" y="6219"/>
                </a:cubicBezTo>
                <a:cubicBezTo>
                  <a:pt x="6424" y="6204"/>
                  <a:pt x="6434" y="6180"/>
                  <a:pt x="6434" y="6139"/>
                </a:cubicBezTo>
                <a:cubicBezTo>
                  <a:pt x="6434" y="6113"/>
                  <a:pt x="6429" y="6090"/>
                  <a:pt x="6425" y="6071"/>
                </a:cubicBezTo>
                <a:cubicBezTo>
                  <a:pt x="6421" y="6054"/>
                  <a:pt x="6418" y="6040"/>
                  <a:pt x="6419" y="6026"/>
                </a:cubicBezTo>
                <a:cubicBezTo>
                  <a:pt x="6420" y="6011"/>
                  <a:pt x="6416" y="5996"/>
                  <a:pt x="6409" y="5991"/>
                </a:cubicBezTo>
                <a:cubicBezTo>
                  <a:pt x="6398" y="5983"/>
                  <a:pt x="6359" y="5937"/>
                  <a:pt x="6349" y="5888"/>
                </a:cubicBezTo>
                <a:cubicBezTo>
                  <a:pt x="6345" y="5871"/>
                  <a:pt x="6346" y="5860"/>
                  <a:pt x="6348" y="5853"/>
                </a:cubicBezTo>
                <a:cubicBezTo>
                  <a:pt x="6365" y="5781"/>
                  <a:pt x="6336" y="5737"/>
                  <a:pt x="6314" y="5702"/>
                </a:cubicBezTo>
                <a:cubicBezTo>
                  <a:pt x="6295" y="5673"/>
                  <a:pt x="6278" y="5645"/>
                  <a:pt x="6275" y="5604"/>
                </a:cubicBezTo>
                <a:cubicBezTo>
                  <a:pt x="6275" y="5590"/>
                  <a:pt x="6269" y="5580"/>
                  <a:pt x="6262" y="5578"/>
                </a:cubicBezTo>
                <a:cubicBezTo>
                  <a:pt x="6258" y="5573"/>
                  <a:pt x="6244" y="5550"/>
                  <a:pt x="6235" y="5530"/>
                </a:cubicBezTo>
                <a:cubicBezTo>
                  <a:pt x="6229" y="5520"/>
                  <a:pt x="6221" y="5520"/>
                  <a:pt x="6215" y="5528"/>
                </a:cubicBezTo>
                <a:lnTo>
                  <a:pt x="6210" y="5535"/>
                </a:lnTo>
                <a:cubicBezTo>
                  <a:pt x="6191" y="5560"/>
                  <a:pt x="6160" y="5603"/>
                  <a:pt x="6160" y="5671"/>
                </a:cubicBezTo>
                <a:cubicBezTo>
                  <a:pt x="6160" y="5706"/>
                  <a:pt x="6122" y="5804"/>
                  <a:pt x="6083" y="5843"/>
                </a:cubicBezTo>
                <a:cubicBezTo>
                  <a:pt x="6079" y="5767"/>
                  <a:pt x="6049" y="5708"/>
                  <a:pt x="6010" y="5708"/>
                </a:cubicBezTo>
                <a:cubicBezTo>
                  <a:pt x="5995" y="5708"/>
                  <a:pt x="5982" y="5718"/>
                  <a:pt x="5971" y="5733"/>
                </a:cubicBezTo>
                <a:cubicBezTo>
                  <a:pt x="5962" y="5701"/>
                  <a:pt x="5952" y="5641"/>
                  <a:pt x="5942" y="5497"/>
                </a:cubicBezTo>
                <a:cubicBezTo>
                  <a:pt x="5937" y="5421"/>
                  <a:pt x="5901" y="5405"/>
                  <a:pt x="5872" y="5393"/>
                </a:cubicBezTo>
                <a:cubicBezTo>
                  <a:pt x="5861" y="5388"/>
                  <a:pt x="5849" y="5383"/>
                  <a:pt x="5840" y="5375"/>
                </a:cubicBezTo>
                <a:cubicBezTo>
                  <a:pt x="5827" y="5364"/>
                  <a:pt x="5819" y="5348"/>
                  <a:pt x="5819" y="5309"/>
                </a:cubicBezTo>
                <a:cubicBezTo>
                  <a:pt x="5819" y="5294"/>
                  <a:pt x="5813" y="5282"/>
                  <a:pt x="5806" y="5280"/>
                </a:cubicBezTo>
                <a:cubicBezTo>
                  <a:pt x="5783" y="5273"/>
                  <a:pt x="5768" y="5241"/>
                  <a:pt x="5751" y="5206"/>
                </a:cubicBezTo>
                <a:cubicBezTo>
                  <a:pt x="5732" y="5165"/>
                  <a:pt x="5710" y="5118"/>
                  <a:pt x="5673" y="5118"/>
                </a:cubicBezTo>
                <a:cubicBezTo>
                  <a:pt x="5655" y="5118"/>
                  <a:pt x="5645" y="5132"/>
                  <a:pt x="5637" y="5143"/>
                </a:cubicBezTo>
                <a:cubicBezTo>
                  <a:pt x="5630" y="5153"/>
                  <a:pt x="5625" y="5161"/>
                  <a:pt x="5613" y="5161"/>
                </a:cubicBezTo>
                <a:cubicBezTo>
                  <a:pt x="5584" y="5161"/>
                  <a:pt x="5562" y="5144"/>
                  <a:pt x="5537" y="5126"/>
                </a:cubicBezTo>
                <a:cubicBezTo>
                  <a:pt x="5521" y="5114"/>
                  <a:pt x="5504" y="5101"/>
                  <a:pt x="5486" y="5094"/>
                </a:cubicBezTo>
                <a:cubicBezTo>
                  <a:pt x="5477" y="5091"/>
                  <a:pt x="5466" y="5089"/>
                  <a:pt x="5454" y="5089"/>
                </a:cubicBezTo>
                <a:cubicBezTo>
                  <a:pt x="5407" y="5089"/>
                  <a:pt x="5376" y="5144"/>
                  <a:pt x="5376" y="5225"/>
                </a:cubicBezTo>
                <a:cubicBezTo>
                  <a:pt x="5376" y="5249"/>
                  <a:pt x="5384" y="5268"/>
                  <a:pt x="5394" y="5288"/>
                </a:cubicBezTo>
                <a:cubicBezTo>
                  <a:pt x="5402" y="5306"/>
                  <a:pt x="5411" y="5327"/>
                  <a:pt x="5411" y="5344"/>
                </a:cubicBezTo>
                <a:cubicBezTo>
                  <a:pt x="5410" y="5356"/>
                  <a:pt x="5403" y="5370"/>
                  <a:pt x="5392" y="5386"/>
                </a:cubicBezTo>
                <a:lnTo>
                  <a:pt x="5389" y="5391"/>
                </a:lnTo>
                <a:cubicBezTo>
                  <a:pt x="5380" y="5402"/>
                  <a:pt x="5377" y="5417"/>
                  <a:pt x="5376" y="5428"/>
                </a:cubicBezTo>
                <a:cubicBezTo>
                  <a:pt x="5373" y="5463"/>
                  <a:pt x="5386" y="5497"/>
                  <a:pt x="5402" y="5536"/>
                </a:cubicBezTo>
                <a:cubicBezTo>
                  <a:pt x="5412" y="5561"/>
                  <a:pt x="5423" y="5593"/>
                  <a:pt x="5425" y="5611"/>
                </a:cubicBezTo>
                <a:cubicBezTo>
                  <a:pt x="5430" y="5695"/>
                  <a:pt x="5398" y="5726"/>
                  <a:pt x="5362" y="5752"/>
                </a:cubicBezTo>
                <a:lnTo>
                  <a:pt x="5354" y="5758"/>
                </a:lnTo>
                <a:cubicBezTo>
                  <a:pt x="5350" y="5761"/>
                  <a:pt x="5347" y="5768"/>
                  <a:pt x="5345" y="5776"/>
                </a:cubicBezTo>
                <a:cubicBezTo>
                  <a:pt x="5344" y="5785"/>
                  <a:pt x="5344" y="5793"/>
                  <a:pt x="5347" y="5801"/>
                </a:cubicBezTo>
                <a:cubicBezTo>
                  <a:pt x="5362" y="5853"/>
                  <a:pt x="5379" y="5894"/>
                  <a:pt x="5395" y="5934"/>
                </a:cubicBezTo>
                <a:cubicBezTo>
                  <a:pt x="5406" y="5959"/>
                  <a:pt x="5416" y="5984"/>
                  <a:pt x="5426" y="6010"/>
                </a:cubicBezTo>
                <a:cubicBezTo>
                  <a:pt x="5389" y="6017"/>
                  <a:pt x="5359" y="6078"/>
                  <a:pt x="5359" y="6154"/>
                </a:cubicBezTo>
                <a:cubicBezTo>
                  <a:pt x="5359" y="6236"/>
                  <a:pt x="5392" y="6302"/>
                  <a:pt x="5433" y="6302"/>
                </a:cubicBezTo>
                <a:cubicBezTo>
                  <a:pt x="5446" y="6302"/>
                  <a:pt x="5457" y="6294"/>
                  <a:pt x="5467" y="6284"/>
                </a:cubicBezTo>
                <a:cubicBezTo>
                  <a:pt x="5467" y="6285"/>
                  <a:pt x="5467" y="6286"/>
                  <a:pt x="5467" y="6287"/>
                </a:cubicBezTo>
                <a:cubicBezTo>
                  <a:pt x="5467" y="6288"/>
                  <a:pt x="5467" y="6306"/>
                  <a:pt x="5447" y="6350"/>
                </a:cubicBezTo>
                <a:cubicBezTo>
                  <a:pt x="5408" y="6435"/>
                  <a:pt x="5335" y="6532"/>
                  <a:pt x="5309" y="6542"/>
                </a:cubicBezTo>
                <a:cubicBezTo>
                  <a:pt x="5303" y="6545"/>
                  <a:pt x="5298" y="6555"/>
                  <a:pt x="5297" y="6568"/>
                </a:cubicBezTo>
                <a:cubicBezTo>
                  <a:pt x="5296" y="6581"/>
                  <a:pt x="5300" y="6594"/>
                  <a:pt x="5305" y="6599"/>
                </a:cubicBezTo>
                <a:cubicBezTo>
                  <a:pt x="5344" y="6639"/>
                  <a:pt x="5349" y="6731"/>
                  <a:pt x="5354" y="6821"/>
                </a:cubicBezTo>
                <a:cubicBezTo>
                  <a:pt x="5357" y="6870"/>
                  <a:pt x="5359" y="6915"/>
                  <a:pt x="5368" y="6948"/>
                </a:cubicBezTo>
                <a:cubicBezTo>
                  <a:pt x="5366" y="6951"/>
                  <a:pt x="5365" y="6952"/>
                  <a:pt x="5363" y="6955"/>
                </a:cubicBezTo>
                <a:cubicBezTo>
                  <a:pt x="5354" y="6973"/>
                  <a:pt x="5342" y="6995"/>
                  <a:pt x="5336" y="7026"/>
                </a:cubicBezTo>
                <a:cubicBezTo>
                  <a:pt x="5325" y="7033"/>
                  <a:pt x="5316" y="7048"/>
                  <a:pt x="5308" y="7061"/>
                </a:cubicBezTo>
                <a:cubicBezTo>
                  <a:pt x="5304" y="7068"/>
                  <a:pt x="5296" y="7080"/>
                  <a:pt x="5294" y="7080"/>
                </a:cubicBezTo>
                <a:cubicBezTo>
                  <a:pt x="5274" y="7048"/>
                  <a:pt x="5227" y="6972"/>
                  <a:pt x="5198" y="6890"/>
                </a:cubicBezTo>
                <a:cubicBezTo>
                  <a:pt x="5213" y="6901"/>
                  <a:pt x="5230" y="6908"/>
                  <a:pt x="5243" y="6908"/>
                </a:cubicBezTo>
                <a:cubicBezTo>
                  <a:pt x="5245" y="6909"/>
                  <a:pt x="5249" y="6911"/>
                  <a:pt x="5251" y="6911"/>
                </a:cubicBezTo>
                <a:cubicBezTo>
                  <a:pt x="5252" y="6911"/>
                  <a:pt x="5255" y="6909"/>
                  <a:pt x="5256" y="6908"/>
                </a:cubicBezTo>
                <a:cubicBezTo>
                  <a:pt x="5263" y="6904"/>
                  <a:pt x="5268" y="6891"/>
                  <a:pt x="5268" y="6878"/>
                </a:cubicBezTo>
                <a:cubicBezTo>
                  <a:pt x="5268" y="6842"/>
                  <a:pt x="5259" y="6818"/>
                  <a:pt x="5242" y="6801"/>
                </a:cubicBezTo>
                <a:cubicBezTo>
                  <a:pt x="5242" y="6774"/>
                  <a:pt x="5231" y="6752"/>
                  <a:pt x="5217" y="6752"/>
                </a:cubicBezTo>
                <a:cubicBezTo>
                  <a:pt x="5207" y="6752"/>
                  <a:pt x="5200" y="6765"/>
                  <a:pt x="5196" y="6782"/>
                </a:cubicBezTo>
                <a:cubicBezTo>
                  <a:pt x="5190" y="6782"/>
                  <a:pt x="5188" y="6777"/>
                  <a:pt x="5181" y="6777"/>
                </a:cubicBezTo>
                <a:cubicBezTo>
                  <a:pt x="5178" y="6777"/>
                  <a:pt x="5176" y="6778"/>
                  <a:pt x="5173" y="6781"/>
                </a:cubicBezTo>
                <a:cubicBezTo>
                  <a:pt x="5173" y="6775"/>
                  <a:pt x="5172" y="6770"/>
                  <a:pt x="5172" y="6764"/>
                </a:cubicBezTo>
                <a:cubicBezTo>
                  <a:pt x="5172" y="6743"/>
                  <a:pt x="5172" y="6722"/>
                  <a:pt x="5173" y="6703"/>
                </a:cubicBezTo>
                <a:cubicBezTo>
                  <a:pt x="5174" y="6639"/>
                  <a:pt x="5173" y="6579"/>
                  <a:pt x="5162" y="6524"/>
                </a:cubicBezTo>
                <a:cubicBezTo>
                  <a:pt x="5168" y="6502"/>
                  <a:pt x="5172" y="6479"/>
                  <a:pt x="5172" y="6453"/>
                </a:cubicBezTo>
                <a:cubicBezTo>
                  <a:pt x="5172" y="6371"/>
                  <a:pt x="5139" y="6305"/>
                  <a:pt x="5098" y="6304"/>
                </a:cubicBezTo>
                <a:cubicBezTo>
                  <a:pt x="5064" y="6304"/>
                  <a:pt x="5037" y="6352"/>
                  <a:pt x="5029" y="6415"/>
                </a:cubicBezTo>
                <a:lnTo>
                  <a:pt x="4978" y="6415"/>
                </a:lnTo>
                <a:cubicBezTo>
                  <a:pt x="4915" y="6325"/>
                  <a:pt x="4847" y="6264"/>
                  <a:pt x="4783" y="6212"/>
                </a:cubicBezTo>
                <a:lnTo>
                  <a:pt x="4774" y="6207"/>
                </a:lnTo>
                <a:cubicBezTo>
                  <a:pt x="4756" y="6191"/>
                  <a:pt x="4737" y="6176"/>
                  <a:pt x="4717" y="6161"/>
                </a:cubicBezTo>
                <a:cubicBezTo>
                  <a:pt x="4714" y="6158"/>
                  <a:pt x="4706" y="6150"/>
                  <a:pt x="4699" y="6142"/>
                </a:cubicBezTo>
                <a:lnTo>
                  <a:pt x="4698" y="6140"/>
                </a:lnTo>
                <a:cubicBezTo>
                  <a:pt x="4690" y="6131"/>
                  <a:pt x="4681" y="6121"/>
                  <a:pt x="4671" y="6111"/>
                </a:cubicBezTo>
                <a:cubicBezTo>
                  <a:pt x="4660" y="6099"/>
                  <a:pt x="4649" y="6089"/>
                  <a:pt x="4639" y="6083"/>
                </a:cubicBezTo>
                <a:cubicBezTo>
                  <a:pt x="4630" y="6077"/>
                  <a:pt x="4623" y="6075"/>
                  <a:pt x="4617" y="6075"/>
                </a:cubicBezTo>
                <a:cubicBezTo>
                  <a:pt x="4596" y="6075"/>
                  <a:pt x="4582" y="6095"/>
                  <a:pt x="4569" y="6112"/>
                </a:cubicBezTo>
                <a:cubicBezTo>
                  <a:pt x="4563" y="6120"/>
                  <a:pt x="4558" y="6127"/>
                  <a:pt x="4552" y="6132"/>
                </a:cubicBezTo>
                <a:cubicBezTo>
                  <a:pt x="4550" y="6098"/>
                  <a:pt x="4546" y="6057"/>
                  <a:pt x="4541" y="6017"/>
                </a:cubicBezTo>
                <a:cubicBezTo>
                  <a:pt x="4531" y="5951"/>
                  <a:pt x="4505" y="5799"/>
                  <a:pt x="4457" y="5799"/>
                </a:cubicBezTo>
                <a:cubicBezTo>
                  <a:pt x="4443" y="5799"/>
                  <a:pt x="4432" y="5810"/>
                  <a:pt x="4423" y="5821"/>
                </a:cubicBezTo>
                <a:cubicBezTo>
                  <a:pt x="4423" y="5810"/>
                  <a:pt x="4423" y="5799"/>
                  <a:pt x="4422" y="5786"/>
                </a:cubicBezTo>
                <a:cubicBezTo>
                  <a:pt x="4421" y="5762"/>
                  <a:pt x="4420" y="5730"/>
                  <a:pt x="4420" y="5680"/>
                </a:cubicBezTo>
                <a:cubicBezTo>
                  <a:pt x="4420" y="5673"/>
                  <a:pt x="4420" y="5665"/>
                  <a:pt x="4420" y="5657"/>
                </a:cubicBezTo>
                <a:cubicBezTo>
                  <a:pt x="4425" y="5638"/>
                  <a:pt x="4428" y="5617"/>
                  <a:pt x="4428" y="5595"/>
                </a:cubicBezTo>
                <a:cubicBezTo>
                  <a:pt x="4428" y="5588"/>
                  <a:pt x="4427" y="5582"/>
                  <a:pt x="4426" y="5575"/>
                </a:cubicBezTo>
                <a:cubicBezTo>
                  <a:pt x="4434" y="5481"/>
                  <a:pt x="4452" y="5406"/>
                  <a:pt x="4489" y="5331"/>
                </a:cubicBezTo>
                <a:cubicBezTo>
                  <a:pt x="4498" y="5314"/>
                  <a:pt x="4508" y="5275"/>
                  <a:pt x="4521" y="5231"/>
                </a:cubicBezTo>
                <a:cubicBezTo>
                  <a:pt x="4531" y="5195"/>
                  <a:pt x="4548" y="5134"/>
                  <a:pt x="4555" y="5125"/>
                </a:cubicBezTo>
                <a:cubicBezTo>
                  <a:pt x="4564" y="5119"/>
                  <a:pt x="4577" y="5118"/>
                  <a:pt x="4589" y="5117"/>
                </a:cubicBezTo>
                <a:cubicBezTo>
                  <a:pt x="4619" y="5114"/>
                  <a:pt x="4663" y="5110"/>
                  <a:pt x="4663" y="5012"/>
                </a:cubicBezTo>
                <a:cubicBezTo>
                  <a:pt x="4663" y="4993"/>
                  <a:pt x="4660" y="4979"/>
                  <a:pt x="4654" y="4966"/>
                </a:cubicBezTo>
                <a:cubicBezTo>
                  <a:pt x="4656" y="4967"/>
                  <a:pt x="4658" y="4968"/>
                  <a:pt x="4660" y="4970"/>
                </a:cubicBezTo>
                <a:cubicBezTo>
                  <a:pt x="4666" y="4973"/>
                  <a:pt x="4672" y="4976"/>
                  <a:pt x="4677" y="4976"/>
                </a:cubicBezTo>
                <a:cubicBezTo>
                  <a:pt x="4704" y="4976"/>
                  <a:pt x="4708" y="4921"/>
                  <a:pt x="4709" y="4897"/>
                </a:cubicBezTo>
                <a:cubicBezTo>
                  <a:pt x="4710" y="4892"/>
                  <a:pt x="4710" y="4885"/>
                  <a:pt x="4710" y="4880"/>
                </a:cubicBezTo>
                <a:lnTo>
                  <a:pt x="4755" y="4880"/>
                </a:lnTo>
                <a:cubicBezTo>
                  <a:pt x="4796" y="4880"/>
                  <a:pt x="4824" y="4823"/>
                  <a:pt x="4848" y="4772"/>
                </a:cubicBezTo>
                <a:cubicBezTo>
                  <a:pt x="4857" y="4752"/>
                  <a:pt x="4865" y="4734"/>
                  <a:pt x="4874" y="4720"/>
                </a:cubicBezTo>
                <a:cubicBezTo>
                  <a:pt x="4874" y="4727"/>
                  <a:pt x="4873" y="4734"/>
                  <a:pt x="4873" y="4741"/>
                </a:cubicBezTo>
                <a:lnTo>
                  <a:pt x="4873" y="4805"/>
                </a:lnTo>
                <a:cubicBezTo>
                  <a:pt x="4873" y="4812"/>
                  <a:pt x="4869" y="4818"/>
                  <a:pt x="4861" y="4831"/>
                </a:cubicBezTo>
                <a:lnTo>
                  <a:pt x="4857" y="4837"/>
                </a:lnTo>
                <a:cubicBezTo>
                  <a:pt x="4856" y="4839"/>
                  <a:pt x="4854" y="4842"/>
                  <a:pt x="4853" y="4845"/>
                </a:cubicBezTo>
                <a:cubicBezTo>
                  <a:pt x="4853" y="4846"/>
                  <a:pt x="4851" y="4847"/>
                  <a:pt x="4850" y="4848"/>
                </a:cubicBezTo>
                <a:cubicBezTo>
                  <a:pt x="4840" y="4859"/>
                  <a:pt x="4822" y="4878"/>
                  <a:pt x="4820" y="4944"/>
                </a:cubicBezTo>
                <a:cubicBezTo>
                  <a:pt x="4819" y="4953"/>
                  <a:pt x="4821" y="4961"/>
                  <a:pt x="4824" y="4967"/>
                </a:cubicBezTo>
                <a:cubicBezTo>
                  <a:pt x="4827" y="4973"/>
                  <a:pt x="4831" y="4976"/>
                  <a:pt x="4834" y="4976"/>
                </a:cubicBezTo>
                <a:cubicBezTo>
                  <a:pt x="4835" y="4976"/>
                  <a:pt x="4835" y="4976"/>
                  <a:pt x="4836" y="4976"/>
                </a:cubicBezTo>
                <a:lnTo>
                  <a:pt x="4842" y="4973"/>
                </a:lnTo>
                <a:cubicBezTo>
                  <a:pt x="4850" y="4971"/>
                  <a:pt x="4862" y="4969"/>
                  <a:pt x="4875" y="4967"/>
                </a:cubicBezTo>
                <a:cubicBezTo>
                  <a:pt x="4881" y="4967"/>
                  <a:pt x="4886" y="4968"/>
                  <a:pt x="4892" y="4969"/>
                </a:cubicBezTo>
                <a:cubicBezTo>
                  <a:pt x="4883" y="4976"/>
                  <a:pt x="4876" y="4990"/>
                  <a:pt x="4876" y="5010"/>
                </a:cubicBezTo>
                <a:cubicBezTo>
                  <a:pt x="4876" y="5038"/>
                  <a:pt x="4886" y="5061"/>
                  <a:pt x="4900" y="5061"/>
                </a:cubicBezTo>
                <a:cubicBezTo>
                  <a:pt x="4907" y="5061"/>
                  <a:pt x="4913" y="5053"/>
                  <a:pt x="4918" y="5042"/>
                </a:cubicBezTo>
                <a:cubicBezTo>
                  <a:pt x="4924" y="5052"/>
                  <a:pt x="4930" y="5061"/>
                  <a:pt x="4940" y="5061"/>
                </a:cubicBezTo>
                <a:cubicBezTo>
                  <a:pt x="4955" y="5061"/>
                  <a:pt x="4961" y="5044"/>
                  <a:pt x="4965" y="5030"/>
                </a:cubicBezTo>
                <a:cubicBezTo>
                  <a:pt x="4998" y="5035"/>
                  <a:pt x="5051" y="4973"/>
                  <a:pt x="5067" y="4889"/>
                </a:cubicBezTo>
                <a:cubicBezTo>
                  <a:pt x="5071" y="4902"/>
                  <a:pt x="5078" y="4911"/>
                  <a:pt x="5086" y="4911"/>
                </a:cubicBezTo>
                <a:cubicBezTo>
                  <a:pt x="5086" y="4912"/>
                  <a:pt x="5087" y="4911"/>
                  <a:pt x="5087" y="4911"/>
                </a:cubicBezTo>
                <a:cubicBezTo>
                  <a:pt x="5100" y="4930"/>
                  <a:pt x="5114" y="4949"/>
                  <a:pt x="5129" y="4970"/>
                </a:cubicBezTo>
                <a:cubicBezTo>
                  <a:pt x="5132" y="4973"/>
                  <a:pt x="5135" y="4976"/>
                  <a:pt x="5138" y="4976"/>
                </a:cubicBezTo>
                <a:lnTo>
                  <a:pt x="5195" y="4976"/>
                </a:lnTo>
                <a:cubicBezTo>
                  <a:pt x="5226" y="4976"/>
                  <a:pt x="5248" y="4956"/>
                  <a:pt x="5273" y="4924"/>
                </a:cubicBezTo>
                <a:cubicBezTo>
                  <a:pt x="5276" y="4920"/>
                  <a:pt x="5279" y="4913"/>
                  <a:pt x="5280" y="4904"/>
                </a:cubicBezTo>
                <a:cubicBezTo>
                  <a:pt x="5280" y="4896"/>
                  <a:pt x="5279" y="4888"/>
                  <a:pt x="5277" y="4881"/>
                </a:cubicBezTo>
                <a:cubicBezTo>
                  <a:pt x="5264" y="4845"/>
                  <a:pt x="5245" y="4836"/>
                  <a:pt x="5226" y="4827"/>
                </a:cubicBezTo>
                <a:cubicBezTo>
                  <a:pt x="5212" y="4821"/>
                  <a:pt x="5196" y="4815"/>
                  <a:pt x="5183" y="4795"/>
                </a:cubicBezTo>
                <a:cubicBezTo>
                  <a:pt x="5182" y="4793"/>
                  <a:pt x="5182" y="4788"/>
                  <a:pt x="5181" y="4779"/>
                </a:cubicBezTo>
                <a:cubicBezTo>
                  <a:pt x="5180" y="4764"/>
                  <a:pt x="5178" y="4744"/>
                  <a:pt x="5171" y="4724"/>
                </a:cubicBezTo>
                <a:cubicBezTo>
                  <a:pt x="5161" y="4696"/>
                  <a:pt x="5149" y="4679"/>
                  <a:pt x="5136" y="4665"/>
                </a:cubicBezTo>
                <a:cubicBezTo>
                  <a:pt x="5139" y="4661"/>
                  <a:pt x="5143" y="4659"/>
                  <a:pt x="5143" y="4651"/>
                </a:cubicBezTo>
                <a:cubicBezTo>
                  <a:pt x="5143" y="4637"/>
                  <a:pt x="5137" y="4626"/>
                  <a:pt x="5130" y="4626"/>
                </a:cubicBezTo>
                <a:cubicBezTo>
                  <a:pt x="5124" y="4626"/>
                  <a:pt x="5119" y="4637"/>
                  <a:pt x="5118" y="4650"/>
                </a:cubicBezTo>
                <a:cubicBezTo>
                  <a:pt x="5109" y="4644"/>
                  <a:pt x="5100" y="4637"/>
                  <a:pt x="5091" y="4632"/>
                </a:cubicBezTo>
                <a:cubicBezTo>
                  <a:pt x="5065" y="4616"/>
                  <a:pt x="5039" y="4601"/>
                  <a:pt x="5020" y="4552"/>
                </a:cubicBezTo>
                <a:cubicBezTo>
                  <a:pt x="5015" y="4541"/>
                  <a:pt x="5007" y="4537"/>
                  <a:pt x="5001" y="4545"/>
                </a:cubicBezTo>
                <a:cubicBezTo>
                  <a:pt x="4998" y="4549"/>
                  <a:pt x="4995" y="4553"/>
                  <a:pt x="4992" y="4557"/>
                </a:cubicBezTo>
                <a:cubicBezTo>
                  <a:pt x="4992" y="4555"/>
                  <a:pt x="4991" y="4552"/>
                  <a:pt x="4990" y="4550"/>
                </a:cubicBezTo>
                <a:cubicBezTo>
                  <a:pt x="4984" y="4530"/>
                  <a:pt x="4978" y="4513"/>
                  <a:pt x="4972" y="4477"/>
                </a:cubicBezTo>
                <a:cubicBezTo>
                  <a:pt x="4969" y="4464"/>
                  <a:pt x="4963" y="4456"/>
                  <a:pt x="4956" y="4457"/>
                </a:cubicBezTo>
                <a:cubicBezTo>
                  <a:pt x="4956" y="4457"/>
                  <a:pt x="4955" y="4457"/>
                  <a:pt x="4955" y="4457"/>
                </a:cubicBezTo>
                <a:cubicBezTo>
                  <a:pt x="4955" y="4457"/>
                  <a:pt x="4954" y="4457"/>
                  <a:pt x="4954" y="4457"/>
                </a:cubicBezTo>
                <a:cubicBezTo>
                  <a:pt x="4944" y="4459"/>
                  <a:pt x="4937" y="4470"/>
                  <a:pt x="4930" y="4479"/>
                </a:cubicBezTo>
                <a:cubicBezTo>
                  <a:pt x="4932" y="4468"/>
                  <a:pt x="4935" y="4457"/>
                  <a:pt x="4935" y="4446"/>
                </a:cubicBezTo>
                <a:cubicBezTo>
                  <a:pt x="4935" y="4433"/>
                  <a:pt x="4931" y="4420"/>
                  <a:pt x="4924" y="4397"/>
                </a:cubicBezTo>
                <a:cubicBezTo>
                  <a:pt x="4924" y="4395"/>
                  <a:pt x="4923" y="4391"/>
                  <a:pt x="4922" y="4388"/>
                </a:cubicBezTo>
                <a:cubicBezTo>
                  <a:pt x="4934" y="4396"/>
                  <a:pt x="4943" y="4411"/>
                  <a:pt x="4953" y="4426"/>
                </a:cubicBezTo>
                <a:cubicBezTo>
                  <a:pt x="4961" y="4438"/>
                  <a:pt x="4968" y="4449"/>
                  <a:pt x="4976" y="4457"/>
                </a:cubicBezTo>
                <a:cubicBezTo>
                  <a:pt x="4982" y="4462"/>
                  <a:pt x="4989" y="4468"/>
                  <a:pt x="4998" y="4468"/>
                </a:cubicBezTo>
                <a:cubicBezTo>
                  <a:pt x="5008" y="4468"/>
                  <a:pt x="5016" y="4462"/>
                  <a:pt x="5023" y="4456"/>
                </a:cubicBezTo>
                <a:cubicBezTo>
                  <a:pt x="5023" y="4458"/>
                  <a:pt x="5022" y="4461"/>
                  <a:pt x="5022" y="4464"/>
                </a:cubicBezTo>
                <a:cubicBezTo>
                  <a:pt x="5020" y="4483"/>
                  <a:pt x="5023" y="4502"/>
                  <a:pt x="5030" y="4520"/>
                </a:cubicBezTo>
                <a:cubicBezTo>
                  <a:pt x="5040" y="4545"/>
                  <a:pt x="5058" y="4562"/>
                  <a:pt x="5078" y="4565"/>
                </a:cubicBezTo>
                <a:cubicBezTo>
                  <a:pt x="5078" y="4565"/>
                  <a:pt x="5079" y="4565"/>
                  <a:pt x="5079" y="4565"/>
                </a:cubicBezTo>
                <a:cubicBezTo>
                  <a:pt x="5085" y="4565"/>
                  <a:pt x="5089" y="4560"/>
                  <a:pt x="5092" y="4550"/>
                </a:cubicBezTo>
                <a:cubicBezTo>
                  <a:pt x="5095" y="4540"/>
                  <a:pt x="5094" y="4527"/>
                  <a:pt x="5091" y="4517"/>
                </a:cubicBezTo>
                <a:cubicBezTo>
                  <a:pt x="5087" y="4509"/>
                  <a:pt x="5085" y="4499"/>
                  <a:pt x="5082" y="4488"/>
                </a:cubicBezTo>
                <a:cubicBezTo>
                  <a:pt x="5077" y="4469"/>
                  <a:pt x="5071" y="4445"/>
                  <a:pt x="5059" y="4436"/>
                </a:cubicBezTo>
                <a:cubicBezTo>
                  <a:pt x="5062" y="4435"/>
                  <a:pt x="5065" y="4433"/>
                  <a:pt x="5068" y="4433"/>
                </a:cubicBezTo>
                <a:cubicBezTo>
                  <a:pt x="5074" y="4433"/>
                  <a:pt x="5080" y="4428"/>
                  <a:pt x="5082" y="4417"/>
                </a:cubicBezTo>
                <a:cubicBezTo>
                  <a:pt x="5083" y="4413"/>
                  <a:pt x="5083" y="4409"/>
                  <a:pt x="5083" y="4404"/>
                </a:cubicBezTo>
                <a:cubicBezTo>
                  <a:pt x="5087" y="4414"/>
                  <a:pt x="5093" y="4419"/>
                  <a:pt x="5101" y="4419"/>
                </a:cubicBezTo>
                <a:cubicBezTo>
                  <a:pt x="5134" y="4419"/>
                  <a:pt x="5231" y="4255"/>
                  <a:pt x="5231" y="4183"/>
                </a:cubicBezTo>
                <a:cubicBezTo>
                  <a:pt x="5231" y="4147"/>
                  <a:pt x="5214" y="4121"/>
                  <a:pt x="5198" y="4095"/>
                </a:cubicBezTo>
                <a:cubicBezTo>
                  <a:pt x="5193" y="4088"/>
                  <a:pt x="5185" y="4077"/>
                  <a:pt x="5183" y="4071"/>
                </a:cubicBezTo>
                <a:cubicBezTo>
                  <a:pt x="5182" y="4063"/>
                  <a:pt x="5182" y="4055"/>
                  <a:pt x="5180" y="4046"/>
                </a:cubicBezTo>
                <a:cubicBezTo>
                  <a:pt x="5176" y="4015"/>
                  <a:pt x="5171" y="3982"/>
                  <a:pt x="5213" y="3941"/>
                </a:cubicBezTo>
                <a:cubicBezTo>
                  <a:pt x="5216" y="3938"/>
                  <a:pt x="5218" y="3934"/>
                  <a:pt x="5220" y="3928"/>
                </a:cubicBezTo>
                <a:cubicBezTo>
                  <a:pt x="5226" y="3899"/>
                  <a:pt x="5225" y="3884"/>
                  <a:pt x="5223" y="3863"/>
                </a:cubicBezTo>
                <a:cubicBezTo>
                  <a:pt x="5222" y="3852"/>
                  <a:pt x="5221" y="3837"/>
                  <a:pt x="5221" y="3809"/>
                </a:cubicBezTo>
                <a:cubicBezTo>
                  <a:pt x="5221" y="3792"/>
                  <a:pt x="5215" y="3779"/>
                  <a:pt x="5206" y="3779"/>
                </a:cubicBezTo>
                <a:cubicBezTo>
                  <a:pt x="5180" y="3779"/>
                  <a:pt x="5170" y="3762"/>
                  <a:pt x="5157" y="3739"/>
                </a:cubicBezTo>
                <a:cubicBezTo>
                  <a:pt x="5151" y="3729"/>
                  <a:pt x="5142" y="3719"/>
                  <a:pt x="5135" y="3710"/>
                </a:cubicBezTo>
                <a:cubicBezTo>
                  <a:pt x="5137" y="3699"/>
                  <a:pt x="5141" y="3692"/>
                  <a:pt x="5141" y="3680"/>
                </a:cubicBezTo>
                <a:cubicBezTo>
                  <a:pt x="5141" y="3674"/>
                  <a:pt x="5138" y="3670"/>
                  <a:pt x="5138" y="3664"/>
                </a:cubicBezTo>
                <a:cubicBezTo>
                  <a:pt x="5149" y="3664"/>
                  <a:pt x="5161" y="3663"/>
                  <a:pt x="5172" y="3663"/>
                </a:cubicBezTo>
                <a:cubicBezTo>
                  <a:pt x="5189" y="3663"/>
                  <a:pt x="5200" y="3664"/>
                  <a:pt x="5214" y="3665"/>
                </a:cubicBezTo>
                <a:cubicBezTo>
                  <a:pt x="5213" y="3671"/>
                  <a:pt x="5211" y="3674"/>
                  <a:pt x="5211" y="3680"/>
                </a:cubicBezTo>
                <a:cubicBezTo>
                  <a:pt x="5211" y="3735"/>
                  <a:pt x="5233" y="3778"/>
                  <a:pt x="5260" y="3778"/>
                </a:cubicBezTo>
                <a:cubicBezTo>
                  <a:pt x="5267" y="3778"/>
                  <a:pt x="5271" y="3769"/>
                  <a:pt x="5277" y="3764"/>
                </a:cubicBezTo>
                <a:cubicBezTo>
                  <a:pt x="5278" y="3765"/>
                  <a:pt x="5279" y="3767"/>
                  <a:pt x="5280" y="3767"/>
                </a:cubicBezTo>
                <a:cubicBezTo>
                  <a:pt x="5308" y="3767"/>
                  <a:pt x="5331" y="3713"/>
                  <a:pt x="5350" y="3665"/>
                </a:cubicBezTo>
                <a:cubicBezTo>
                  <a:pt x="5359" y="3643"/>
                  <a:pt x="5374" y="3606"/>
                  <a:pt x="5380" y="3605"/>
                </a:cubicBezTo>
                <a:cubicBezTo>
                  <a:pt x="5380" y="3605"/>
                  <a:pt x="5395" y="3626"/>
                  <a:pt x="5397" y="3628"/>
                </a:cubicBezTo>
                <a:cubicBezTo>
                  <a:pt x="5376" y="3639"/>
                  <a:pt x="5359" y="3672"/>
                  <a:pt x="5359" y="3718"/>
                </a:cubicBezTo>
                <a:cubicBezTo>
                  <a:pt x="5359" y="3732"/>
                  <a:pt x="5364" y="3742"/>
                  <a:pt x="5367" y="3754"/>
                </a:cubicBezTo>
                <a:cubicBezTo>
                  <a:pt x="5340" y="3763"/>
                  <a:pt x="5304" y="3824"/>
                  <a:pt x="5304" y="3866"/>
                </a:cubicBezTo>
                <a:cubicBezTo>
                  <a:pt x="5304" y="3878"/>
                  <a:pt x="5306" y="3889"/>
                  <a:pt x="5311" y="3896"/>
                </a:cubicBezTo>
                <a:cubicBezTo>
                  <a:pt x="5315" y="3902"/>
                  <a:pt x="5319" y="3905"/>
                  <a:pt x="5325" y="3905"/>
                </a:cubicBezTo>
                <a:cubicBezTo>
                  <a:pt x="5352" y="3905"/>
                  <a:pt x="5375" y="3861"/>
                  <a:pt x="5385" y="3797"/>
                </a:cubicBezTo>
                <a:cubicBezTo>
                  <a:pt x="5392" y="3806"/>
                  <a:pt x="5400" y="3816"/>
                  <a:pt x="5409" y="3816"/>
                </a:cubicBezTo>
                <a:cubicBezTo>
                  <a:pt x="5436" y="3816"/>
                  <a:pt x="5458" y="3772"/>
                  <a:pt x="5458" y="3718"/>
                </a:cubicBezTo>
                <a:cubicBezTo>
                  <a:pt x="5458" y="3715"/>
                  <a:pt x="5457" y="3713"/>
                  <a:pt x="5456" y="3711"/>
                </a:cubicBezTo>
                <a:cubicBezTo>
                  <a:pt x="5474" y="3739"/>
                  <a:pt x="5492" y="3769"/>
                  <a:pt x="5505" y="3792"/>
                </a:cubicBezTo>
                <a:cubicBezTo>
                  <a:pt x="5488" y="3803"/>
                  <a:pt x="5471" y="3823"/>
                  <a:pt x="5471" y="3865"/>
                </a:cubicBezTo>
                <a:cubicBezTo>
                  <a:pt x="5471" y="3880"/>
                  <a:pt x="5482" y="3945"/>
                  <a:pt x="5503" y="3945"/>
                </a:cubicBezTo>
                <a:cubicBezTo>
                  <a:pt x="5508" y="3945"/>
                  <a:pt x="5510" y="3939"/>
                  <a:pt x="5515" y="3937"/>
                </a:cubicBezTo>
                <a:cubicBezTo>
                  <a:pt x="5519" y="3958"/>
                  <a:pt x="5525" y="3974"/>
                  <a:pt x="5536" y="3985"/>
                </a:cubicBezTo>
                <a:cubicBezTo>
                  <a:pt x="5527" y="3980"/>
                  <a:pt x="5519" y="3972"/>
                  <a:pt x="5510" y="3972"/>
                </a:cubicBezTo>
                <a:cubicBezTo>
                  <a:pt x="5475" y="3972"/>
                  <a:pt x="5448" y="4008"/>
                  <a:pt x="5438" y="4067"/>
                </a:cubicBezTo>
                <a:cubicBezTo>
                  <a:pt x="5435" y="4085"/>
                  <a:pt x="5434" y="4100"/>
                  <a:pt x="5434" y="4118"/>
                </a:cubicBezTo>
                <a:cubicBezTo>
                  <a:pt x="5434" y="4136"/>
                  <a:pt x="5436" y="4154"/>
                  <a:pt x="5440" y="4171"/>
                </a:cubicBezTo>
                <a:cubicBezTo>
                  <a:pt x="5451" y="4215"/>
                  <a:pt x="5474" y="4241"/>
                  <a:pt x="5501" y="4241"/>
                </a:cubicBezTo>
                <a:cubicBezTo>
                  <a:pt x="5529" y="4241"/>
                  <a:pt x="5595" y="4199"/>
                  <a:pt x="5595" y="4118"/>
                </a:cubicBezTo>
                <a:cubicBezTo>
                  <a:pt x="5595" y="4112"/>
                  <a:pt x="5594" y="4106"/>
                  <a:pt x="5594" y="4101"/>
                </a:cubicBezTo>
                <a:cubicBezTo>
                  <a:pt x="5600" y="4115"/>
                  <a:pt x="5611" y="4126"/>
                  <a:pt x="5629" y="4126"/>
                </a:cubicBezTo>
                <a:cubicBezTo>
                  <a:pt x="5633" y="4126"/>
                  <a:pt x="5637" y="4127"/>
                  <a:pt x="5640" y="4127"/>
                </a:cubicBezTo>
                <a:cubicBezTo>
                  <a:pt x="5642" y="4127"/>
                  <a:pt x="5643" y="4127"/>
                  <a:pt x="5645" y="4127"/>
                </a:cubicBezTo>
                <a:cubicBezTo>
                  <a:pt x="5651" y="4127"/>
                  <a:pt x="5658" y="4123"/>
                  <a:pt x="5670" y="4118"/>
                </a:cubicBezTo>
                <a:cubicBezTo>
                  <a:pt x="5680" y="4137"/>
                  <a:pt x="5692" y="4151"/>
                  <a:pt x="5707" y="4151"/>
                </a:cubicBezTo>
                <a:cubicBezTo>
                  <a:pt x="5714" y="4151"/>
                  <a:pt x="5718" y="4142"/>
                  <a:pt x="5725" y="4136"/>
                </a:cubicBezTo>
                <a:cubicBezTo>
                  <a:pt x="5729" y="4152"/>
                  <a:pt x="5736" y="4170"/>
                  <a:pt x="5736" y="4183"/>
                </a:cubicBezTo>
                <a:cubicBezTo>
                  <a:pt x="5736" y="4195"/>
                  <a:pt x="5732" y="4243"/>
                  <a:pt x="5677" y="4353"/>
                </a:cubicBezTo>
                <a:cubicBezTo>
                  <a:pt x="5675" y="4357"/>
                  <a:pt x="5667" y="4358"/>
                  <a:pt x="5662" y="4359"/>
                </a:cubicBezTo>
                <a:cubicBezTo>
                  <a:pt x="5649" y="4361"/>
                  <a:pt x="5625" y="4367"/>
                  <a:pt x="5621" y="4426"/>
                </a:cubicBezTo>
                <a:cubicBezTo>
                  <a:pt x="5610" y="4445"/>
                  <a:pt x="5601" y="4470"/>
                  <a:pt x="5601" y="4501"/>
                </a:cubicBezTo>
                <a:cubicBezTo>
                  <a:pt x="5601" y="4516"/>
                  <a:pt x="5606" y="4528"/>
                  <a:pt x="5609" y="4541"/>
                </a:cubicBezTo>
                <a:cubicBezTo>
                  <a:pt x="5598" y="4546"/>
                  <a:pt x="5583" y="4557"/>
                  <a:pt x="5577" y="4557"/>
                </a:cubicBezTo>
                <a:lnTo>
                  <a:pt x="5486" y="4557"/>
                </a:lnTo>
                <a:cubicBezTo>
                  <a:pt x="5481" y="4557"/>
                  <a:pt x="5476" y="4559"/>
                  <a:pt x="5470" y="4562"/>
                </a:cubicBezTo>
                <a:cubicBezTo>
                  <a:pt x="5470" y="4562"/>
                  <a:pt x="5469" y="4562"/>
                  <a:pt x="5469" y="4562"/>
                </a:cubicBezTo>
                <a:cubicBezTo>
                  <a:pt x="5440" y="4576"/>
                  <a:pt x="5386" y="4640"/>
                  <a:pt x="5386" y="4702"/>
                </a:cubicBezTo>
                <a:cubicBezTo>
                  <a:pt x="5386" y="4781"/>
                  <a:pt x="5451" y="4833"/>
                  <a:pt x="5473" y="4845"/>
                </a:cubicBezTo>
                <a:cubicBezTo>
                  <a:pt x="5482" y="4849"/>
                  <a:pt x="5488" y="4851"/>
                  <a:pt x="5493" y="4851"/>
                </a:cubicBezTo>
                <a:cubicBezTo>
                  <a:pt x="5511" y="4851"/>
                  <a:pt x="5523" y="4830"/>
                  <a:pt x="5534" y="4812"/>
                </a:cubicBezTo>
                <a:cubicBezTo>
                  <a:pt x="5542" y="4799"/>
                  <a:pt x="5549" y="4787"/>
                  <a:pt x="5556" y="4787"/>
                </a:cubicBezTo>
                <a:cubicBezTo>
                  <a:pt x="5559" y="4787"/>
                  <a:pt x="5560" y="4787"/>
                  <a:pt x="5563" y="4793"/>
                </a:cubicBezTo>
                <a:cubicBezTo>
                  <a:pt x="5568" y="4801"/>
                  <a:pt x="5575" y="4817"/>
                  <a:pt x="5592" y="4817"/>
                </a:cubicBezTo>
                <a:cubicBezTo>
                  <a:pt x="5613" y="4817"/>
                  <a:pt x="5628" y="4789"/>
                  <a:pt x="5638" y="4762"/>
                </a:cubicBezTo>
                <a:cubicBezTo>
                  <a:pt x="5651" y="4778"/>
                  <a:pt x="5662" y="4795"/>
                  <a:pt x="5673" y="4811"/>
                </a:cubicBezTo>
                <a:cubicBezTo>
                  <a:pt x="5659" y="4843"/>
                  <a:pt x="5653" y="4886"/>
                  <a:pt x="5664" y="4924"/>
                </a:cubicBezTo>
                <a:cubicBezTo>
                  <a:pt x="5678" y="4971"/>
                  <a:pt x="5708" y="4986"/>
                  <a:pt x="5732" y="4958"/>
                </a:cubicBezTo>
                <a:cubicBezTo>
                  <a:pt x="5741" y="4947"/>
                  <a:pt x="5745" y="4929"/>
                  <a:pt x="5749" y="4910"/>
                </a:cubicBezTo>
                <a:cubicBezTo>
                  <a:pt x="5760" y="4924"/>
                  <a:pt x="5768" y="4939"/>
                  <a:pt x="5781" y="4951"/>
                </a:cubicBezTo>
                <a:cubicBezTo>
                  <a:pt x="5779" y="4965"/>
                  <a:pt x="5778" y="4978"/>
                  <a:pt x="5779" y="4992"/>
                </a:cubicBezTo>
                <a:cubicBezTo>
                  <a:pt x="5784" y="5060"/>
                  <a:pt x="5826" y="5085"/>
                  <a:pt x="5868" y="5107"/>
                </a:cubicBezTo>
                <a:cubicBezTo>
                  <a:pt x="5866" y="5117"/>
                  <a:pt x="5862" y="5124"/>
                  <a:pt x="5862" y="5135"/>
                </a:cubicBezTo>
                <a:cubicBezTo>
                  <a:pt x="5862" y="5190"/>
                  <a:pt x="5884" y="5233"/>
                  <a:pt x="5911" y="5233"/>
                </a:cubicBezTo>
                <a:cubicBezTo>
                  <a:pt x="5932" y="5233"/>
                  <a:pt x="5946" y="5205"/>
                  <a:pt x="5953" y="5169"/>
                </a:cubicBezTo>
                <a:cubicBezTo>
                  <a:pt x="5976" y="5189"/>
                  <a:pt x="5997" y="5200"/>
                  <a:pt x="6017" y="5208"/>
                </a:cubicBezTo>
                <a:cubicBezTo>
                  <a:pt x="6022" y="5209"/>
                  <a:pt x="6028" y="5215"/>
                  <a:pt x="6033" y="5217"/>
                </a:cubicBezTo>
                <a:cubicBezTo>
                  <a:pt x="6037" y="5236"/>
                  <a:pt x="6044" y="5251"/>
                  <a:pt x="6055" y="5251"/>
                </a:cubicBezTo>
                <a:cubicBezTo>
                  <a:pt x="6061" y="5251"/>
                  <a:pt x="6065" y="5244"/>
                  <a:pt x="6069" y="5238"/>
                </a:cubicBezTo>
                <a:cubicBezTo>
                  <a:pt x="6076" y="5243"/>
                  <a:pt x="6081" y="5243"/>
                  <a:pt x="6089" y="5249"/>
                </a:cubicBezTo>
                <a:cubicBezTo>
                  <a:pt x="6089" y="5252"/>
                  <a:pt x="6090" y="5255"/>
                  <a:pt x="6091" y="5259"/>
                </a:cubicBezTo>
                <a:cubicBezTo>
                  <a:pt x="6095" y="5276"/>
                  <a:pt x="6103" y="5305"/>
                  <a:pt x="6118" y="5305"/>
                </a:cubicBezTo>
                <a:cubicBezTo>
                  <a:pt x="6135" y="5305"/>
                  <a:pt x="6154" y="5270"/>
                  <a:pt x="6154" y="5224"/>
                </a:cubicBezTo>
                <a:cubicBezTo>
                  <a:pt x="6154" y="5153"/>
                  <a:pt x="6124" y="5097"/>
                  <a:pt x="6087" y="5045"/>
                </a:cubicBezTo>
                <a:cubicBezTo>
                  <a:pt x="6136" y="5087"/>
                  <a:pt x="6191" y="5122"/>
                  <a:pt x="6212" y="5127"/>
                </a:cubicBezTo>
                <a:cubicBezTo>
                  <a:pt x="6219" y="5129"/>
                  <a:pt x="6225" y="5120"/>
                  <a:pt x="6228" y="5107"/>
                </a:cubicBezTo>
                <a:cubicBezTo>
                  <a:pt x="6230" y="5093"/>
                  <a:pt x="6235" y="5074"/>
                  <a:pt x="6239" y="5054"/>
                </a:cubicBezTo>
                <a:cubicBezTo>
                  <a:pt x="6250" y="5008"/>
                  <a:pt x="6260" y="4962"/>
                  <a:pt x="6260" y="4927"/>
                </a:cubicBezTo>
                <a:cubicBezTo>
                  <a:pt x="6260" y="4886"/>
                  <a:pt x="6244" y="4861"/>
                  <a:pt x="6232" y="4843"/>
                </a:cubicBezTo>
                <a:cubicBezTo>
                  <a:pt x="6229" y="4837"/>
                  <a:pt x="6223" y="4831"/>
                  <a:pt x="6222" y="4826"/>
                </a:cubicBezTo>
                <a:cubicBezTo>
                  <a:pt x="6222" y="4825"/>
                  <a:pt x="6222" y="4823"/>
                  <a:pt x="6222" y="4822"/>
                </a:cubicBezTo>
                <a:cubicBezTo>
                  <a:pt x="6220" y="4810"/>
                  <a:pt x="6220" y="4809"/>
                  <a:pt x="6222" y="4746"/>
                </a:cubicBezTo>
                <a:cubicBezTo>
                  <a:pt x="6222" y="4738"/>
                  <a:pt x="6221" y="4730"/>
                  <a:pt x="6218" y="4724"/>
                </a:cubicBezTo>
                <a:cubicBezTo>
                  <a:pt x="6215" y="4718"/>
                  <a:pt x="6211" y="4714"/>
                  <a:pt x="6207" y="4714"/>
                </a:cubicBezTo>
                <a:lnTo>
                  <a:pt x="6183" y="4714"/>
                </a:lnTo>
                <a:cubicBezTo>
                  <a:pt x="6180" y="4692"/>
                  <a:pt x="6172" y="4672"/>
                  <a:pt x="6155" y="4672"/>
                </a:cubicBezTo>
                <a:cubicBezTo>
                  <a:pt x="6153" y="4672"/>
                  <a:pt x="6151" y="4673"/>
                  <a:pt x="6148" y="4674"/>
                </a:cubicBezTo>
                <a:cubicBezTo>
                  <a:pt x="6142" y="4674"/>
                  <a:pt x="6133" y="4675"/>
                  <a:pt x="6119" y="4667"/>
                </a:cubicBezTo>
                <a:cubicBezTo>
                  <a:pt x="6118" y="4666"/>
                  <a:pt x="6117" y="4663"/>
                  <a:pt x="6116" y="4663"/>
                </a:cubicBezTo>
                <a:cubicBezTo>
                  <a:pt x="6114" y="4661"/>
                  <a:pt x="6111" y="4655"/>
                  <a:pt x="6104" y="4637"/>
                </a:cubicBezTo>
                <a:cubicBezTo>
                  <a:pt x="6093" y="4604"/>
                  <a:pt x="6082" y="4557"/>
                  <a:pt x="6080" y="4527"/>
                </a:cubicBezTo>
                <a:cubicBezTo>
                  <a:pt x="6079" y="4512"/>
                  <a:pt x="6073" y="4501"/>
                  <a:pt x="6065" y="4501"/>
                </a:cubicBezTo>
                <a:cubicBezTo>
                  <a:pt x="6068" y="4499"/>
                  <a:pt x="6071" y="4498"/>
                  <a:pt x="6074" y="4496"/>
                </a:cubicBezTo>
                <a:cubicBezTo>
                  <a:pt x="6080" y="4492"/>
                  <a:pt x="6084" y="4481"/>
                  <a:pt x="6084" y="4468"/>
                </a:cubicBezTo>
                <a:lnTo>
                  <a:pt x="6084" y="4417"/>
                </a:lnTo>
                <a:cubicBezTo>
                  <a:pt x="6084" y="4408"/>
                  <a:pt x="6082" y="4399"/>
                  <a:pt x="6079" y="4394"/>
                </a:cubicBezTo>
                <a:cubicBezTo>
                  <a:pt x="6116" y="4402"/>
                  <a:pt x="6137" y="4457"/>
                  <a:pt x="6161" y="4522"/>
                </a:cubicBezTo>
                <a:cubicBezTo>
                  <a:pt x="6167" y="4537"/>
                  <a:pt x="6172" y="4551"/>
                  <a:pt x="6178" y="4565"/>
                </a:cubicBezTo>
                <a:cubicBezTo>
                  <a:pt x="6200" y="4622"/>
                  <a:pt x="6231" y="4681"/>
                  <a:pt x="6281" y="4681"/>
                </a:cubicBezTo>
                <a:cubicBezTo>
                  <a:pt x="6296" y="4681"/>
                  <a:pt x="6320" y="4664"/>
                  <a:pt x="6324" y="4559"/>
                </a:cubicBezTo>
                <a:cubicBezTo>
                  <a:pt x="6359" y="4551"/>
                  <a:pt x="6369" y="4509"/>
                  <a:pt x="6370" y="4482"/>
                </a:cubicBezTo>
                <a:cubicBezTo>
                  <a:pt x="6372" y="4483"/>
                  <a:pt x="6374" y="4487"/>
                  <a:pt x="6376" y="4487"/>
                </a:cubicBezTo>
                <a:cubicBezTo>
                  <a:pt x="6404" y="4487"/>
                  <a:pt x="6425" y="4444"/>
                  <a:pt x="6425" y="4389"/>
                </a:cubicBezTo>
                <a:cubicBezTo>
                  <a:pt x="6425" y="4389"/>
                  <a:pt x="6425" y="4388"/>
                  <a:pt x="6425" y="4388"/>
                </a:cubicBezTo>
                <a:cubicBezTo>
                  <a:pt x="6428" y="4376"/>
                  <a:pt x="6434" y="4367"/>
                  <a:pt x="6434" y="4353"/>
                </a:cubicBezTo>
                <a:cubicBezTo>
                  <a:pt x="6434" y="4325"/>
                  <a:pt x="6431" y="4302"/>
                  <a:pt x="6426" y="4283"/>
                </a:cubicBezTo>
                <a:cubicBezTo>
                  <a:pt x="6415" y="4244"/>
                  <a:pt x="6394" y="4225"/>
                  <a:pt x="6362" y="4225"/>
                </a:cubicBezTo>
                <a:cubicBezTo>
                  <a:pt x="6355" y="4225"/>
                  <a:pt x="6343" y="4225"/>
                  <a:pt x="6336" y="4215"/>
                </a:cubicBezTo>
                <a:cubicBezTo>
                  <a:pt x="6329" y="4188"/>
                  <a:pt x="6320" y="4162"/>
                  <a:pt x="6303" y="4162"/>
                </a:cubicBezTo>
                <a:cubicBezTo>
                  <a:pt x="6296" y="4162"/>
                  <a:pt x="6290" y="4166"/>
                  <a:pt x="6283" y="4170"/>
                </a:cubicBezTo>
                <a:cubicBezTo>
                  <a:pt x="6280" y="4172"/>
                  <a:pt x="6274" y="4173"/>
                  <a:pt x="6271" y="4175"/>
                </a:cubicBezTo>
                <a:cubicBezTo>
                  <a:pt x="6264" y="4135"/>
                  <a:pt x="6249" y="4104"/>
                  <a:pt x="6228" y="4104"/>
                </a:cubicBezTo>
                <a:cubicBezTo>
                  <a:pt x="6226" y="4104"/>
                  <a:pt x="6226" y="4106"/>
                  <a:pt x="6225" y="4106"/>
                </a:cubicBezTo>
                <a:cubicBezTo>
                  <a:pt x="6222" y="4090"/>
                  <a:pt x="6219" y="4086"/>
                  <a:pt x="6218" y="4060"/>
                </a:cubicBezTo>
                <a:cubicBezTo>
                  <a:pt x="6217" y="4046"/>
                  <a:pt x="6211" y="4035"/>
                  <a:pt x="6204" y="4034"/>
                </a:cubicBezTo>
                <a:cubicBezTo>
                  <a:pt x="6164" y="4026"/>
                  <a:pt x="6115" y="3990"/>
                  <a:pt x="6112" y="3912"/>
                </a:cubicBezTo>
                <a:cubicBezTo>
                  <a:pt x="6111" y="3897"/>
                  <a:pt x="6104" y="3886"/>
                  <a:pt x="6097" y="3886"/>
                </a:cubicBezTo>
                <a:cubicBezTo>
                  <a:pt x="6088" y="3886"/>
                  <a:pt x="6083" y="3880"/>
                  <a:pt x="6076" y="3877"/>
                </a:cubicBezTo>
                <a:cubicBezTo>
                  <a:pt x="6090" y="3867"/>
                  <a:pt x="6099" y="3848"/>
                  <a:pt x="6103" y="3820"/>
                </a:cubicBezTo>
                <a:cubicBezTo>
                  <a:pt x="6107" y="3817"/>
                  <a:pt x="6110" y="3814"/>
                  <a:pt x="6114" y="3810"/>
                </a:cubicBezTo>
                <a:cubicBezTo>
                  <a:pt x="6121" y="3802"/>
                  <a:pt x="6124" y="3785"/>
                  <a:pt x="6121" y="3770"/>
                </a:cubicBezTo>
                <a:cubicBezTo>
                  <a:pt x="6115" y="3747"/>
                  <a:pt x="6105" y="3734"/>
                  <a:pt x="6095" y="3726"/>
                </a:cubicBezTo>
                <a:cubicBezTo>
                  <a:pt x="6091" y="3717"/>
                  <a:pt x="6085" y="3715"/>
                  <a:pt x="6079" y="3710"/>
                </a:cubicBezTo>
                <a:cubicBezTo>
                  <a:pt x="6083" y="3708"/>
                  <a:pt x="6086" y="3707"/>
                  <a:pt x="6089" y="3706"/>
                </a:cubicBezTo>
                <a:cubicBezTo>
                  <a:pt x="6094" y="3704"/>
                  <a:pt x="6098" y="3699"/>
                  <a:pt x="6100" y="3691"/>
                </a:cubicBezTo>
                <a:cubicBezTo>
                  <a:pt x="6102" y="3683"/>
                  <a:pt x="6102" y="3673"/>
                  <a:pt x="6100" y="3665"/>
                </a:cubicBezTo>
                <a:cubicBezTo>
                  <a:pt x="6089" y="3614"/>
                  <a:pt x="6069" y="3545"/>
                  <a:pt x="6027" y="3545"/>
                </a:cubicBezTo>
                <a:lnTo>
                  <a:pt x="6005" y="3545"/>
                </a:lnTo>
                <a:lnTo>
                  <a:pt x="6005" y="3503"/>
                </a:lnTo>
                <a:cubicBezTo>
                  <a:pt x="6005" y="3488"/>
                  <a:pt x="6000" y="3474"/>
                  <a:pt x="5993" y="3473"/>
                </a:cubicBezTo>
                <a:cubicBezTo>
                  <a:pt x="5963" y="3466"/>
                  <a:pt x="5940" y="3444"/>
                  <a:pt x="5915" y="3418"/>
                </a:cubicBezTo>
                <a:cubicBezTo>
                  <a:pt x="5918" y="3406"/>
                  <a:pt x="5923" y="3396"/>
                  <a:pt x="5923" y="3382"/>
                </a:cubicBezTo>
                <a:cubicBezTo>
                  <a:pt x="5923" y="3327"/>
                  <a:pt x="5901" y="3283"/>
                  <a:pt x="5874" y="3283"/>
                </a:cubicBezTo>
                <a:cubicBezTo>
                  <a:pt x="5861" y="3283"/>
                  <a:pt x="5849" y="3294"/>
                  <a:pt x="5840" y="3311"/>
                </a:cubicBezTo>
                <a:cubicBezTo>
                  <a:pt x="5819" y="3276"/>
                  <a:pt x="5784" y="3269"/>
                  <a:pt x="5773" y="3269"/>
                </a:cubicBezTo>
                <a:lnTo>
                  <a:pt x="5721" y="3269"/>
                </a:lnTo>
                <a:cubicBezTo>
                  <a:pt x="5716" y="3256"/>
                  <a:pt x="5710" y="3246"/>
                  <a:pt x="5701" y="3246"/>
                </a:cubicBezTo>
                <a:cubicBezTo>
                  <a:pt x="5697" y="3246"/>
                  <a:pt x="5694" y="3251"/>
                  <a:pt x="5690" y="3255"/>
                </a:cubicBezTo>
                <a:cubicBezTo>
                  <a:pt x="5671" y="3236"/>
                  <a:pt x="5656" y="3201"/>
                  <a:pt x="5641" y="3160"/>
                </a:cubicBezTo>
                <a:cubicBezTo>
                  <a:pt x="5628" y="3125"/>
                  <a:pt x="5615" y="3088"/>
                  <a:pt x="5597" y="3061"/>
                </a:cubicBezTo>
                <a:cubicBezTo>
                  <a:pt x="5581" y="3039"/>
                  <a:pt x="5549" y="3023"/>
                  <a:pt x="5518" y="3011"/>
                </a:cubicBezTo>
                <a:cubicBezTo>
                  <a:pt x="5519" y="3006"/>
                  <a:pt x="5520" y="3001"/>
                  <a:pt x="5520" y="2996"/>
                </a:cubicBezTo>
                <a:cubicBezTo>
                  <a:pt x="5528" y="2982"/>
                  <a:pt x="5535" y="2966"/>
                  <a:pt x="5538" y="2942"/>
                </a:cubicBezTo>
                <a:cubicBezTo>
                  <a:pt x="5541" y="2928"/>
                  <a:pt x="5538" y="2913"/>
                  <a:pt x="5531" y="2906"/>
                </a:cubicBezTo>
                <a:cubicBezTo>
                  <a:pt x="5528" y="2903"/>
                  <a:pt x="5524" y="2898"/>
                  <a:pt x="5520" y="2893"/>
                </a:cubicBezTo>
                <a:cubicBezTo>
                  <a:pt x="5510" y="2838"/>
                  <a:pt x="5483" y="2798"/>
                  <a:pt x="5452" y="2798"/>
                </a:cubicBezTo>
                <a:cubicBezTo>
                  <a:pt x="5448" y="2798"/>
                  <a:pt x="5444" y="2801"/>
                  <a:pt x="5440" y="2803"/>
                </a:cubicBezTo>
                <a:cubicBezTo>
                  <a:pt x="5419" y="2784"/>
                  <a:pt x="5399" y="2771"/>
                  <a:pt x="5380" y="2771"/>
                </a:cubicBezTo>
                <a:cubicBezTo>
                  <a:pt x="5360" y="2771"/>
                  <a:pt x="5346" y="2764"/>
                  <a:pt x="5332" y="2756"/>
                </a:cubicBezTo>
                <a:cubicBezTo>
                  <a:pt x="5319" y="2749"/>
                  <a:pt x="5306" y="2741"/>
                  <a:pt x="5288" y="2738"/>
                </a:cubicBezTo>
                <a:cubicBezTo>
                  <a:pt x="5288" y="2738"/>
                  <a:pt x="5287" y="2738"/>
                  <a:pt x="5287" y="2738"/>
                </a:cubicBezTo>
                <a:cubicBezTo>
                  <a:pt x="5283" y="2738"/>
                  <a:pt x="5279" y="2737"/>
                  <a:pt x="5274" y="2737"/>
                </a:cubicBezTo>
                <a:cubicBezTo>
                  <a:pt x="5251" y="2737"/>
                  <a:pt x="5227" y="2767"/>
                  <a:pt x="5224" y="2820"/>
                </a:cubicBezTo>
                <a:cubicBezTo>
                  <a:pt x="5209" y="2791"/>
                  <a:pt x="5190" y="2771"/>
                  <a:pt x="5168" y="2771"/>
                </a:cubicBezTo>
                <a:cubicBezTo>
                  <a:pt x="5084" y="2771"/>
                  <a:pt x="4926" y="2822"/>
                  <a:pt x="4926" y="3014"/>
                </a:cubicBezTo>
                <a:cubicBezTo>
                  <a:pt x="4926" y="3043"/>
                  <a:pt x="4933" y="3067"/>
                  <a:pt x="4939" y="3087"/>
                </a:cubicBezTo>
                <a:cubicBezTo>
                  <a:pt x="4944" y="3103"/>
                  <a:pt x="4947" y="3116"/>
                  <a:pt x="4947" y="3129"/>
                </a:cubicBezTo>
                <a:cubicBezTo>
                  <a:pt x="4947" y="3144"/>
                  <a:pt x="4927" y="3181"/>
                  <a:pt x="4920" y="3184"/>
                </a:cubicBezTo>
                <a:cubicBezTo>
                  <a:pt x="4916" y="3184"/>
                  <a:pt x="4914" y="3182"/>
                  <a:pt x="4914" y="3183"/>
                </a:cubicBezTo>
                <a:cubicBezTo>
                  <a:pt x="4913" y="3179"/>
                  <a:pt x="4913" y="3165"/>
                  <a:pt x="4913" y="3156"/>
                </a:cubicBezTo>
                <a:cubicBezTo>
                  <a:pt x="4913" y="3151"/>
                  <a:pt x="4913" y="3146"/>
                  <a:pt x="4913" y="3142"/>
                </a:cubicBezTo>
                <a:cubicBezTo>
                  <a:pt x="4913" y="3140"/>
                  <a:pt x="4914" y="3138"/>
                  <a:pt x="4913" y="3136"/>
                </a:cubicBezTo>
                <a:cubicBezTo>
                  <a:pt x="4912" y="3126"/>
                  <a:pt x="4911" y="3092"/>
                  <a:pt x="4913" y="3073"/>
                </a:cubicBezTo>
                <a:cubicBezTo>
                  <a:pt x="4915" y="3064"/>
                  <a:pt x="4913" y="3054"/>
                  <a:pt x="4910" y="3046"/>
                </a:cubicBezTo>
                <a:cubicBezTo>
                  <a:pt x="4908" y="3039"/>
                  <a:pt x="4903" y="3035"/>
                  <a:pt x="4898" y="3035"/>
                </a:cubicBezTo>
                <a:cubicBezTo>
                  <a:pt x="4898" y="3034"/>
                  <a:pt x="4897" y="3031"/>
                  <a:pt x="4897" y="3023"/>
                </a:cubicBezTo>
                <a:cubicBezTo>
                  <a:pt x="4897" y="3019"/>
                  <a:pt x="4897" y="3015"/>
                  <a:pt x="4898" y="3010"/>
                </a:cubicBezTo>
                <a:lnTo>
                  <a:pt x="4898" y="3003"/>
                </a:lnTo>
                <a:cubicBezTo>
                  <a:pt x="4902" y="2960"/>
                  <a:pt x="4919" y="2937"/>
                  <a:pt x="4939" y="2910"/>
                </a:cubicBezTo>
                <a:cubicBezTo>
                  <a:pt x="4957" y="2885"/>
                  <a:pt x="4976" y="2858"/>
                  <a:pt x="4987" y="2814"/>
                </a:cubicBezTo>
                <a:cubicBezTo>
                  <a:pt x="4989" y="2805"/>
                  <a:pt x="4988" y="2794"/>
                  <a:pt x="4985" y="2785"/>
                </a:cubicBezTo>
                <a:cubicBezTo>
                  <a:pt x="4983" y="2778"/>
                  <a:pt x="4980" y="2774"/>
                  <a:pt x="4976" y="2772"/>
                </a:cubicBezTo>
                <a:cubicBezTo>
                  <a:pt x="4970" y="2770"/>
                  <a:pt x="4937" y="2749"/>
                  <a:pt x="4908" y="2730"/>
                </a:cubicBezTo>
                <a:cubicBezTo>
                  <a:pt x="4906" y="2729"/>
                  <a:pt x="4904" y="2729"/>
                  <a:pt x="4903" y="2729"/>
                </a:cubicBezTo>
                <a:cubicBezTo>
                  <a:pt x="4898" y="2729"/>
                  <a:pt x="4893" y="2732"/>
                  <a:pt x="4888" y="2733"/>
                </a:cubicBezTo>
                <a:cubicBezTo>
                  <a:pt x="4891" y="2717"/>
                  <a:pt x="4893" y="2702"/>
                  <a:pt x="4893" y="2685"/>
                </a:cubicBezTo>
                <a:cubicBezTo>
                  <a:pt x="4893" y="2660"/>
                  <a:pt x="4889" y="2638"/>
                  <a:pt x="4884" y="2617"/>
                </a:cubicBezTo>
                <a:lnTo>
                  <a:pt x="5025" y="2617"/>
                </a:lnTo>
                <a:cubicBezTo>
                  <a:pt x="5028" y="2617"/>
                  <a:pt x="5031" y="2616"/>
                  <a:pt x="5034" y="2613"/>
                </a:cubicBezTo>
                <a:cubicBezTo>
                  <a:pt x="5039" y="2605"/>
                  <a:pt x="5044" y="2598"/>
                  <a:pt x="5048" y="2592"/>
                </a:cubicBezTo>
                <a:cubicBezTo>
                  <a:pt x="5050" y="2589"/>
                  <a:pt x="5051" y="2585"/>
                  <a:pt x="5053" y="2582"/>
                </a:cubicBezTo>
                <a:cubicBezTo>
                  <a:pt x="5057" y="2576"/>
                  <a:pt x="5062" y="2570"/>
                  <a:pt x="5069" y="2566"/>
                </a:cubicBezTo>
                <a:cubicBezTo>
                  <a:pt x="5073" y="2578"/>
                  <a:pt x="5078" y="2592"/>
                  <a:pt x="5085" y="2603"/>
                </a:cubicBezTo>
                <a:cubicBezTo>
                  <a:pt x="5095" y="2618"/>
                  <a:pt x="5107" y="2625"/>
                  <a:pt x="5121" y="2625"/>
                </a:cubicBezTo>
                <a:cubicBezTo>
                  <a:pt x="5198" y="2625"/>
                  <a:pt x="5304" y="2626"/>
                  <a:pt x="5312" y="2449"/>
                </a:cubicBezTo>
                <a:cubicBezTo>
                  <a:pt x="5312" y="2440"/>
                  <a:pt x="5310" y="2431"/>
                  <a:pt x="5307" y="2425"/>
                </a:cubicBezTo>
                <a:cubicBezTo>
                  <a:pt x="5306" y="2424"/>
                  <a:pt x="5306" y="2422"/>
                  <a:pt x="5305" y="2421"/>
                </a:cubicBezTo>
                <a:cubicBezTo>
                  <a:pt x="5308" y="2418"/>
                  <a:pt x="5310" y="2412"/>
                  <a:pt x="5311" y="2405"/>
                </a:cubicBezTo>
                <a:cubicBezTo>
                  <a:pt x="5312" y="2397"/>
                  <a:pt x="5312" y="2389"/>
                  <a:pt x="5310" y="2382"/>
                </a:cubicBezTo>
                <a:cubicBezTo>
                  <a:pt x="5296" y="2332"/>
                  <a:pt x="5277" y="2297"/>
                  <a:pt x="5249" y="2276"/>
                </a:cubicBezTo>
                <a:cubicBezTo>
                  <a:pt x="5218" y="2252"/>
                  <a:pt x="5181" y="2246"/>
                  <a:pt x="5127" y="2246"/>
                </a:cubicBezTo>
                <a:cubicBezTo>
                  <a:pt x="5070" y="2246"/>
                  <a:pt x="5031" y="2274"/>
                  <a:pt x="4994" y="2300"/>
                </a:cubicBezTo>
                <a:cubicBezTo>
                  <a:pt x="4955" y="2327"/>
                  <a:pt x="4919" y="2354"/>
                  <a:pt x="4862" y="2354"/>
                </a:cubicBezTo>
                <a:cubicBezTo>
                  <a:pt x="4818" y="2354"/>
                  <a:pt x="4781" y="2334"/>
                  <a:pt x="4739" y="2313"/>
                </a:cubicBezTo>
                <a:lnTo>
                  <a:pt x="4719" y="2304"/>
                </a:lnTo>
                <a:cubicBezTo>
                  <a:pt x="4716" y="2302"/>
                  <a:pt x="4712" y="2302"/>
                  <a:pt x="4709" y="2305"/>
                </a:cubicBezTo>
                <a:cubicBezTo>
                  <a:pt x="4711" y="2299"/>
                  <a:pt x="4712" y="2294"/>
                  <a:pt x="4712" y="2287"/>
                </a:cubicBezTo>
                <a:cubicBezTo>
                  <a:pt x="4711" y="2279"/>
                  <a:pt x="4709" y="2272"/>
                  <a:pt x="4706" y="2266"/>
                </a:cubicBezTo>
                <a:cubicBezTo>
                  <a:pt x="4691" y="2243"/>
                  <a:pt x="4673" y="2240"/>
                  <a:pt x="4657" y="2238"/>
                </a:cubicBezTo>
                <a:cubicBezTo>
                  <a:pt x="4641" y="2236"/>
                  <a:pt x="4631" y="2235"/>
                  <a:pt x="4624" y="2222"/>
                </a:cubicBezTo>
                <a:lnTo>
                  <a:pt x="4686" y="2222"/>
                </a:lnTo>
                <a:cubicBezTo>
                  <a:pt x="4695" y="2222"/>
                  <a:pt x="4701" y="2208"/>
                  <a:pt x="4701" y="2192"/>
                </a:cubicBezTo>
                <a:cubicBezTo>
                  <a:pt x="4701" y="2183"/>
                  <a:pt x="4699" y="2175"/>
                  <a:pt x="4696" y="2170"/>
                </a:cubicBezTo>
                <a:cubicBezTo>
                  <a:pt x="4684" y="2142"/>
                  <a:pt x="4663" y="2132"/>
                  <a:pt x="4641" y="2122"/>
                </a:cubicBezTo>
                <a:cubicBezTo>
                  <a:pt x="4625" y="2115"/>
                  <a:pt x="4604" y="2105"/>
                  <a:pt x="4600" y="2090"/>
                </a:cubicBezTo>
                <a:cubicBezTo>
                  <a:pt x="4599" y="2087"/>
                  <a:pt x="4599" y="2081"/>
                  <a:pt x="4601" y="2074"/>
                </a:cubicBezTo>
                <a:cubicBezTo>
                  <a:pt x="4602" y="2065"/>
                  <a:pt x="4601" y="2055"/>
                  <a:pt x="4598" y="2047"/>
                </a:cubicBezTo>
                <a:cubicBezTo>
                  <a:pt x="4595" y="2039"/>
                  <a:pt x="4591" y="2034"/>
                  <a:pt x="4587" y="2034"/>
                </a:cubicBezTo>
                <a:lnTo>
                  <a:pt x="4569" y="2034"/>
                </a:lnTo>
                <a:cubicBezTo>
                  <a:pt x="4577" y="2017"/>
                  <a:pt x="4583" y="1992"/>
                  <a:pt x="4583" y="1964"/>
                </a:cubicBezTo>
                <a:cubicBezTo>
                  <a:pt x="4583" y="1910"/>
                  <a:pt x="4561" y="1865"/>
                  <a:pt x="4534" y="1865"/>
                </a:cubicBezTo>
                <a:close/>
                <a:moveTo>
                  <a:pt x="7593" y="1875"/>
                </a:moveTo>
                <a:cubicBezTo>
                  <a:pt x="7595" y="1880"/>
                  <a:pt x="7597" y="1886"/>
                  <a:pt x="7599" y="1891"/>
                </a:cubicBezTo>
                <a:cubicBezTo>
                  <a:pt x="7604" y="1906"/>
                  <a:pt x="7608" y="1920"/>
                  <a:pt x="7613" y="1935"/>
                </a:cubicBezTo>
                <a:cubicBezTo>
                  <a:pt x="7620" y="1955"/>
                  <a:pt x="7627" y="1975"/>
                  <a:pt x="7634" y="1996"/>
                </a:cubicBezTo>
                <a:cubicBezTo>
                  <a:pt x="7639" y="2010"/>
                  <a:pt x="7644" y="2024"/>
                  <a:pt x="7649" y="2038"/>
                </a:cubicBezTo>
                <a:cubicBezTo>
                  <a:pt x="7654" y="2052"/>
                  <a:pt x="7658" y="2066"/>
                  <a:pt x="7663" y="2081"/>
                </a:cubicBezTo>
                <a:cubicBezTo>
                  <a:pt x="7669" y="2096"/>
                  <a:pt x="7674" y="2113"/>
                  <a:pt x="7680" y="2129"/>
                </a:cubicBezTo>
                <a:cubicBezTo>
                  <a:pt x="7684" y="2141"/>
                  <a:pt x="7688" y="2153"/>
                  <a:pt x="7692" y="2166"/>
                </a:cubicBezTo>
                <a:cubicBezTo>
                  <a:pt x="7698" y="2184"/>
                  <a:pt x="7704" y="2202"/>
                  <a:pt x="7710" y="2220"/>
                </a:cubicBezTo>
                <a:cubicBezTo>
                  <a:pt x="7712" y="2224"/>
                  <a:pt x="7713" y="2227"/>
                  <a:pt x="7714" y="2231"/>
                </a:cubicBezTo>
                <a:cubicBezTo>
                  <a:pt x="7728" y="2271"/>
                  <a:pt x="7742" y="2311"/>
                  <a:pt x="7756" y="2351"/>
                </a:cubicBezTo>
                <a:cubicBezTo>
                  <a:pt x="7760" y="2364"/>
                  <a:pt x="7765" y="2377"/>
                  <a:pt x="7769" y="2390"/>
                </a:cubicBezTo>
                <a:cubicBezTo>
                  <a:pt x="7772" y="2398"/>
                  <a:pt x="7775" y="2406"/>
                  <a:pt x="7777" y="2414"/>
                </a:cubicBezTo>
                <a:cubicBezTo>
                  <a:pt x="7767" y="2433"/>
                  <a:pt x="7760" y="2457"/>
                  <a:pt x="7760" y="2487"/>
                </a:cubicBezTo>
                <a:cubicBezTo>
                  <a:pt x="7760" y="2541"/>
                  <a:pt x="7782" y="2585"/>
                  <a:pt x="7809" y="2585"/>
                </a:cubicBezTo>
                <a:cubicBezTo>
                  <a:pt x="7817" y="2585"/>
                  <a:pt x="7823" y="2575"/>
                  <a:pt x="7830" y="2568"/>
                </a:cubicBezTo>
                <a:cubicBezTo>
                  <a:pt x="7831" y="2571"/>
                  <a:pt x="7832" y="2574"/>
                  <a:pt x="7833" y="2578"/>
                </a:cubicBezTo>
                <a:cubicBezTo>
                  <a:pt x="7856" y="2645"/>
                  <a:pt x="7880" y="2713"/>
                  <a:pt x="7903" y="2782"/>
                </a:cubicBezTo>
                <a:cubicBezTo>
                  <a:pt x="7907" y="2792"/>
                  <a:pt x="7911" y="2803"/>
                  <a:pt x="7914" y="2814"/>
                </a:cubicBezTo>
                <a:cubicBezTo>
                  <a:pt x="7921" y="2834"/>
                  <a:pt x="7929" y="2855"/>
                  <a:pt x="7935" y="2875"/>
                </a:cubicBezTo>
                <a:cubicBezTo>
                  <a:pt x="7939" y="2886"/>
                  <a:pt x="7943" y="2897"/>
                  <a:pt x="7947" y="2909"/>
                </a:cubicBezTo>
                <a:cubicBezTo>
                  <a:pt x="7973" y="2982"/>
                  <a:pt x="7998" y="3057"/>
                  <a:pt x="8023" y="3130"/>
                </a:cubicBezTo>
                <a:cubicBezTo>
                  <a:pt x="8025" y="3136"/>
                  <a:pt x="8027" y="3143"/>
                  <a:pt x="8030" y="3149"/>
                </a:cubicBezTo>
                <a:cubicBezTo>
                  <a:pt x="8037" y="3169"/>
                  <a:pt x="8044" y="3189"/>
                  <a:pt x="8051" y="3209"/>
                </a:cubicBezTo>
                <a:cubicBezTo>
                  <a:pt x="8056" y="3222"/>
                  <a:pt x="8060" y="3235"/>
                  <a:pt x="8064" y="3248"/>
                </a:cubicBezTo>
                <a:cubicBezTo>
                  <a:pt x="8071" y="3268"/>
                  <a:pt x="8078" y="3287"/>
                  <a:pt x="8085" y="3307"/>
                </a:cubicBezTo>
                <a:cubicBezTo>
                  <a:pt x="8088" y="3316"/>
                  <a:pt x="8091" y="3325"/>
                  <a:pt x="8094" y="3334"/>
                </a:cubicBezTo>
                <a:cubicBezTo>
                  <a:pt x="8109" y="3378"/>
                  <a:pt x="8124" y="3420"/>
                  <a:pt x="8138" y="3462"/>
                </a:cubicBezTo>
                <a:cubicBezTo>
                  <a:pt x="8136" y="3473"/>
                  <a:pt x="8132" y="3482"/>
                  <a:pt x="8132" y="3494"/>
                </a:cubicBezTo>
                <a:cubicBezTo>
                  <a:pt x="8132" y="3548"/>
                  <a:pt x="8154" y="3592"/>
                  <a:pt x="8181" y="3592"/>
                </a:cubicBezTo>
                <a:cubicBezTo>
                  <a:pt x="8182" y="3592"/>
                  <a:pt x="8182" y="3591"/>
                  <a:pt x="8183" y="3591"/>
                </a:cubicBezTo>
                <a:cubicBezTo>
                  <a:pt x="8188" y="3606"/>
                  <a:pt x="8194" y="3622"/>
                  <a:pt x="8199" y="3637"/>
                </a:cubicBezTo>
                <a:cubicBezTo>
                  <a:pt x="8200" y="3639"/>
                  <a:pt x="8200" y="3642"/>
                  <a:pt x="8201" y="3644"/>
                </a:cubicBezTo>
                <a:cubicBezTo>
                  <a:pt x="8226" y="3716"/>
                  <a:pt x="8251" y="3786"/>
                  <a:pt x="8274" y="3853"/>
                </a:cubicBezTo>
                <a:cubicBezTo>
                  <a:pt x="8276" y="3859"/>
                  <a:pt x="8279" y="3865"/>
                  <a:pt x="8281" y="3872"/>
                </a:cubicBezTo>
                <a:cubicBezTo>
                  <a:pt x="8288" y="3893"/>
                  <a:pt x="8295" y="3914"/>
                  <a:pt x="8302" y="3934"/>
                </a:cubicBezTo>
                <a:cubicBezTo>
                  <a:pt x="8303" y="3937"/>
                  <a:pt x="8304" y="3939"/>
                  <a:pt x="8305" y="3941"/>
                </a:cubicBezTo>
                <a:cubicBezTo>
                  <a:pt x="8305" y="3941"/>
                  <a:pt x="8219" y="3941"/>
                  <a:pt x="8219" y="3941"/>
                </a:cubicBezTo>
                <a:cubicBezTo>
                  <a:pt x="8217" y="3941"/>
                  <a:pt x="8214" y="3942"/>
                  <a:pt x="8212" y="3945"/>
                </a:cubicBezTo>
                <a:cubicBezTo>
                  <a:pt x="8207" y="3950"/>
                  <a:pt x="8203" y="3956"/>
                  <a:pt x="8198" y="3960"/>
                </a:cubicBezTo>
                <a:cubicBezTo>
                  <a:pt x="8184" y="3976"/>
                  <a:pt x="8168" y="3993"/>
                  <a:pt x="8163" y="4027"/>
                </a:cubicBezTo>
                <a:lnTo>
                  <a:pt x="8115" y="4097"/>
                </a:lnTo>
                <a:cubicBezTo>
                  <a:pt x="8105" y="4112"/>
                  <a:pt x="8097" y="4130"/>
                  <a:pt x="8089" y="4151"/>
                </a:cubicBezTo>
                <a:lnTo>
                  <a:pt x="8088" y="4151"/>
                </a:lnTo>
                <a:lnTo>
                  <a:pt x="7992" y="4078"/>
                </a:lnTo>
                <a:lnTo>
                  <a:pt x="7990" y="4065"/>
                </a:lnTo>
                <a:lnTo>
                  <a:pt x="7546" y="1897"/>
                </a:lnTo>
                <a:cubicBezTo>
                  <a:pt x="7549" y="1897"/>
                  <a:pt x="7552" y="1900"/>
                  <a:pt x="7555" y="1900"/>
                </a:cubicBezTo>
                <a:cubicBezTo>
                  <a:pt x="7569" y="1900"/>
                  <a:pt x="7582" y="1889"/>
                  <a:pt x="7593" y="1875"/>
                </a:cubicBezTo>
                <a:close/>
                <a:moveTo>
                  <a:pt x="14184" y="1883"/>
                </a:moveTo>
                <a:cubicBezTo>
                  <a:pt x="14163" y="1883"/>
                  <a:pt x="14141" y="1891"/>
                  <a:pt x="14117" y="1908"/>
                </a:cubicBezTo>
                <a:cubicBezTo>
                  <a:pt x="14084" y="1932"/>
                  <a:pt x="14052" y="1969"/>
                  <a:pt x="14021" y="2005"/>
                </a:cubicBezTo>
                <a:cubicBezTo>
                  <a:pt x="14003" y="2026"/>
                  <a:pt x="13984" y="2047"/>
                  <a:pt x="13966" y="2066"/>
                </a:cubicBezTo>
                <a:cubicBezTo>
                  <a:pt x="13960" y="2061"/>
                  <a:pt x="13956" y="2052"/>
                  <a:pt x="13950" y="2052"/>
                </a:cubicBezTo>
                <a:cubicBezTo>
                  <a:pt x="13930" y="2052"/>
                  <a:pt x="13917" y="2079"/>
                  <a:pt x="13909" y="2112"/>
                </a:cubicBezTo>
                <a:cubicBezTo>
                  <a:pt x="13894" y="2120"/>
                  <a:pt x="13879" y="2124"/>
                  <a:pt x="13866" y="2124"/>
                </a:cubicBezTo>
                <a:cubicBezTo>
                  <a:pt x="13858" y="2124"/>
                  <a:pt x="13851" y="2117"/>
                  <a:pt x="13842" y="2104"/>
                </a:cubicBezTo>
                <a:cubicBezTo>
                  <a:pt x="13832" y="2091"/>
                  <a:pt x="13819" y="2074"/>
                  <a:pt x="13802" y="2074"/>
                </a:cubicBezTo>
                <a:cubicBezTo>
                  <a:pt x="13774" y="2074"/>
                  <a:pt x="13761" y="2094"/>
                  <a:pt x="13752" y="2109"/>
                </a:cubicBezTo>
                <a:cubicBezTo>
                  <a:pt x="13744" y="2120"/>
                  <a:pt x="13741" y="2124"/>
                  <a:pt x="13734" y="2124"/>
                </a:cubicBezTo>
                <a:cubicBezTo>
                  <a:pt x="13686" y="2124"/>
                  <a:pt x="13645" y="2190"/>
                  <a:pt x="13610" y="2248"/>
                </a:cubicBezTo>
                <a:cubicBezTo>
                  <a:pt x="13602" y="2261"/>
                  <a:pt x="13595" y="2272"/>
                  <a:pt x="13587" y="2284"/>
                </a:cubicBezTo>
                <a:cubicBezTo>
                  <a:pt x="13584" y="2282"/>
                  <a:pt x="13581" y="2276"/>
                  <a:pt x="13578" y="2276"/>
                </a:cubicBezTo>
                <a:cubicBezTo>
                  <a:pt x="13559" y="2276"/>
                  <a:pt x="13546" y="2300"/>
                  <a:pt x="13538" y="2330"/>
                </a:cubicBezTo>
                <a:cubicBezTo>
                  <a:pt x="13522" y="2332"/>
                  <a:pt x="13509" y="2337"/>
                  <a:pt x="13496" y="2344"/>
                </a:cubicBezTo>
                <a:cubicBezTo>
                  <a:pt x="13484" y="2352"/>
                  <a:pt x="13472" y="2358"/>
                  <a:pt x="13458" y="2358"/>
                </a:cubicBezTo>
                <a:cubicBezTo>
                  <a:pt x="13436" y="2358"/>
                  <a:pt x="13422" y="2395"/>
                  <a:pt x="13422" y="2431"/>
                </a:cubicBezTo>
                <a:cubicBezTo>
                  <a:pt x="13422" y="2451"/>
                  <a:pt x="13427" y="2467"/>
                  <a:pt x="13431" y="2480"/>
                </a:cubicBezTo>
                <a:cubicBezTo>
                  <a:pt x="13435" y="2491"/>
                  <a:pt x="13437" y="2499"/>
                  <a:pt x="13437" y="2508"/>
                </a:cubicBezTo>
                <a:cubicBezTo>
                  <a:pt x="13437" y="2550"/>
                  <a:pt x="13415" y="2587"/>
                  <a:pt x="13392" y="2621"/>
                </a:cubicBezTo>
                <a:cubicBezTo>
                  <a:pt x="13383" y="2594"/>
                  <a:pt x="13371" y="2574"/>
                  <a:pt x="13354" y="2574"/>
                </a:cubicBezTo>
                <a:cubicBezTo>
                  <a:pt x="13327" y="2574"/>
                  <a:pt x="13305" y="2619"/>
                  <a:pt x="13305" y="2673"/>
                </a:cubicBezTo>
                <a:cubicBezTo>
                  <a:pt x="13305" y="2708"/>
                  <a:pt x="13316" y="2734"/>
                  <a:pt x="13329" y="2751"/>
                </a:cubicBezTo>
                <a:cubicBezTo>
                  <a:pt x="13329" y="2755"/>
                  <a:pt x="13326" y="2758"/>
                  <a:pt x="13326" y="2763"/>
                </a:cubicBezTo>
                <a:cubicBezTo>
                  <a:pt x="13326" y="2793"/>
                  <a:pt x="13338" y="2809"/>
                  <a:pt x="13346" y="2822"/>
                </a:cubicBezTo>
                <a:cubicBezTo>
                  <a:pt x="13349" y="2827"/>
                  <a:pt x="13351" y="2831"/>
                  <a:pt x="13353" y="2835"/>
                </a:cubicBezTo>
                <a:cubicBezTo>
                  <a:pt x="13312" y="2856"/>
                  <a:pt x="13257" y="2891"/>
                  <a:pt x="13257" y="2975"/>
                </a:cubicBezTo>
                <a:lnTo>
                  <a:pt x="13257" y="3039"/>
                </a:lnTo>
                <a:cubicBezTo>
                  <a:pt x="13257" y="3056"/>
                  <a:pt x="13250" y="3066"/>
                  <a:pt x="13235" y="3085"/>
                </a:cubicBezTo>
                <a:cubicBezTo>
                  <a:pt x="13232" y="3089"/>
                  <a:pt x="13228" y="3097"/>
                  <a:pt x="13224" y="3102"/>
                </a:cubicBezTo>
                <a:cubicBezTo>
                  <a:pt x="13215" y="3078"/>
                  <a:pt x="13203" y="3059"/>
                  <a:pt x="13187" y="3059"/>
                </a:cubicBezTo>
                <a:cubicBezTo>
                  <a:pt x="13160" y="3059"/>
                  <a:pt x="13138" y="3104"/>
                  <a:pt x="13138" y="3158"/>
                </a:cubicBezTo>
                <a:cubicBezTo>
                  <a:pt x="13138" y="3213"/>
                  <a:pt x="13160" y="3256"/>
                  <a:pt x="13187" y="3256"/>
                </a:cubicBezTo>
                <a:cubicBezTo>
                  <a:pt x="13192" y="3256"/>
                  <a:pt x="13195" y="3249"/>
                  <a:pt x="13199" y="3247"/>
                </a:cubicBezTo>
                <a:cubicBezTo>
                  <a:pt x="13210" y="3292"/>
                  <a:pt x="13237" y="3318"/>
                  <a:pt x="13240" y="3321"/>
                </a:cubicBezTo>
                <a:cubicBezTo>
                  <a:pt x="13243" y="3323"/>
                  <a:pt x="13245" y="3324"/>
                  <a:pt x="13247" y="3324"/>
                </a:cubicBezTo>
                <a:cubicBezTo>
                  <a:pt x="13247" y="3324"/>
                  <a:pt x="13272" y="3322"/>
                  <a:pt x="13290" y="3322"/>
                </a:cubicBezTo>
                <a:cubicBezTo>
                  <a:pt x="13303" y="3322"/>
                  <a:pt x="13306" y="3323"/>
                  <a:pt x="13306" y="3322"/>
                </a:cubicBezTo>
                <a:cubicBezTo>
                  <a:pt x="13317" y="3329"/>
                  <a:pt x="13318" y="3338"/>
                  <a:pt x="13320" y="3377"/>
                </a:cubicBezTo>
                <a:cubicBezTo>
                  <a:pt x="13320" y="3387"/>
                  <a:pt x="13321" y="3397"/>
                  <a:pt x="13321" y="3406"/>
                </a:cubicBezTo>
                <a:cubicBezTo>
                  <a:pt x="13322" y="3419"/>
                  <a:pt x="13326" y="3428"/>
                  <a:pt x="13332" y="3431"/>
                </a:cubicBezTo>
                <a:lnTo>
                  <a:pt x="13340" y="3434"/>
                </a:lnTo>
                <a:cubicBezTo>
                  <a:pt x="13341" y="3437"/>
                  <a:pt x="13341" y="3440"/>
                  <a:pt x="13342" y="3443"/>
                </a:cubicBezTo>
                <a:cubicBezTo>
                  <a:pt x="13342" y="3444"/>
                  <a:pt x="13345" y="3443"/>
                  <a:pt x="13345" y="3444"/>
                </a:cubicBezTo>
                <a:cubicBezTo>
                  <a:pt x="13345" y="3449"/>
                  <a:pt x="13342" y="3451"/>
                  <a:pt x="13342" y="3457"/>
                </a:cubicBezTo>
                <a:cubicBezTo>
                  <a:pt x="13342" y="3511"/>
                  <a:pt x="13364" y="3554"/>
                  <a:pt x="13392" y="3554"/>
                </a:cubicBezTo>
                <a:cubicBezTo>
                  <a:pt x="13414" y="3554"/>
                  <a:pt x="13430" y="3521"/>
                  <a:pt x="13436" y="3479"/>
                </a:cubicBezTo>
                <a:lnTo>
                  <a:pt x="13486" y="3502"/>
                </a:lnTo>
                <a:cubicBezTo>
                  <a:pt x="13487" y="3502"/>
                  <a:pt x="13488" y="3502"/>
                  <a:pt x="13489" y="3502"/>
                </a:cubicBezTo>
                <a:lnTo>
                  <a:pt x="13575" y="3502"/>
                </a:lnTo>
                <a:cubicBezTo>
                  <a:pt x="13575" y="3502"/>
                  <a:pt x="13575" y="3502"/>
                  <a:pt x="13575" y="3502"/>
                </a:cubicBezTo>
                <a:cubicBezTo>
                  <a:pt x="13584" y="3502"/>
                  <a:pt x="13590" y="3489"/>
                  <a:pt x="13590" y="3473"/>
                </a:cubicBezTo>
                <a:cubicBezTo>
                  <a:pt x="13590" y="3465"/>
                  <a:pt x="13589" y="3458"/>
                  <a:pt x="13586" y="3453"/>
                </a:cubicBezTo>
                <a:cubicBezTo>
                  <a:pt x="13585" y="3447"/>
                  <a:pt x="13583" y="3441"/>
                  <a:pt x="13581" y="3437"/>
                </a:cubicBezTo>
                <a:lnTo>
                  <a:pt x="13580" y="3434"/>
                </a:lnTo>
                <a:cubicBezTo>
                  <a:pt x="13579" y="3433"/>
                  <a:pt x="13578" y="3431"/>
                  <a:pt x="13578" y="3430"/>
                </a:cubicBezTo>
                <a:cubicBezTo>
                  <a:pt x="13564" y="3406"/>
                  <a:pt x="13550" y="3386"/>
                  <a:pt x="13536" y="3367"/>
                </a:cubicBezTo>
                <a:cubicBezTo>
                  <a:pt x="13510" y="3331"/>
                  <a:pt x="13487" y="3298"/>
                  <a:pt x="13475" y="3248"/>
                </a:cubicBezTo>
                <a:cubicBezTo>
                  <a:pt x="13497" y="3238"/>
                  <a:pt x="13515" y="3205"/>
                  <a:pt x="13515" y="3158"/>
                </a:cubicBezTo>
                <a:cubicBezTo>
                  <a:pt x="13515" y="3111"/>
                  <a:pt x="13497" y="3077"/>
                  <a:pt x="13475" y="3067"/>
                </a:cubicBezTo>
                <a:cubicBezTo>
                  <a:pt x="13487" y="2987"/>
                  <a:pt x="13508" y="2916"/>
                  <a:pt x="13527" y="2864"/>
                </a:cubicBezTo>
                <a:cubicBezTo>
                  <a:pt x="13546" y="2813"/>
                  <a:pt x="13569" y="2764"/>
                  <a:pt x="13594" y="2722"/>
                </a:cubicBezTo>
                <a:cubicBezTo>
                  <a:pt x="13603" y="2750"/>
                  <a:pt x="13616" y="2771"/>
                  <a:pt x="13634" y="2771"/>
                </a:cubicBezTo>
                <a:cubicBezTo>
                  <a:pt x="13661" y="2771"/>
                  <a:pt x="13682" y="2728"/>
                  <a:pt x="13682" y="2673"/>
                </a:cubicBezTo>
                <a:cubicBezTo>
                  <a:pt x="13682" y="2652"/>
                  <a:pt x="13676" y="2635"/>
                  <a:pt x="13671" y="2618"/>
                </a:cubicBezTo>
                <a:cubicBezTo>
                  <a:pt x="13685" y="2605"/>
                  <a:pt x="13698" y="2594"/>
                  <a:pt x="13710" y="2587"/>
                </a:cubicBezTo>
                <a:cubicBezTo>
                  <a:pt x="13730" y="2576"/>
                  <a:pt x="13743" y="2550"/>
                  <a:pt x="13755" y="2527"/>
                </a:cubicBezTo>
                <a:cubicBezTo>
                  <a:pt x="13770" y="2498"/>
                  <a:pt x="13783" y="2474"/>
                  <a:pt x="13808" y="2474"/>
                </a:cubicBezTo>
                <a:cubicBezTo>
                  <a:pt x="13822" y="2474"/>
                  <a:pt x="13832" y="2459"/>
                  <a:pt x="13839" y="2440"/>
                </a:cubicBezTo>
                <a:cubicBezTo>
                  <a:pt x="13848" y="2460"/>
                  <a:pt x="13861" y="2473"/>
                  <a:pt x="13875" y="2473"/>
                </a:cubicBezTo>
                <a:cubicBezTo>
                  <a:pt x="13903" y="2473"/>
                  <a:pt x="13924" y="2429"/>
                  <a:pt x="13924" y="2375"/>
                </a:cubicBezTo>
                <a:cubicBezTo>
                  <a:pt x="13924" y="2360"/>
                  <a:pt x="13919" y="2350"/>
                  <a:pt x="13916" y="2337"/>
                </a:cubicBezTo>
                <a:cubicBezTo>
                  <a:pt x="13928" y="2332"/>
                  <a:pt x="13940" y="2328"/>
                  <a:pt x="13953" y="2325"/>
                </a:cubicBezTo>
                <a:cubicBezTo>
                  <a:pt x="13985" y="2315"/>
                  <a:pt x="14019" y="2305"/>
                  <a:pt x="14059" y="2266"/>
                </a:cubicBezTo>
                <a:cubicBezTo>
                  <a:pt x="14073" y="2253"/>
                  <a:pt x="14097" y="2241"/>
                  <a:pt x="14123" y="2228"/>
                </a:cubicBezTo>
                <a:cubicBezTo>
                  <a:pt x="14134" y="2222"/>
                  <a:pt x="14146" y="2216"/>
                  <a:pt x="14158" y="2209"/>
                </a:cubicBezTo>
                <a:cubicBezTo>
                  <a:pt x="14220" y="2175"/>
                  <a:pt x="14283" y="2124"/>
                  <a:pt x="14283" y="2018"/>
                </a:cubicBezTo>
                <a:cubicBezTo>
                  <a:pt x="14283" y="1971"/>
                  <a:pt x="14254" y="1934"/>
                  <a:pt x="14237" y="1915"/>
                </a:cubicBezTo>
                <a:cubicBezTo>
                  <a:pt x="14217" y="1895"/>
                  <a:pt x="14197" y="1883"/>
                  <a:pt x="14184" y="1883"/>
                </a:cubicBezTo>
                <a:close/>
                <a:moveTo>
                  <a:pt x="3062" y="1905"/>
                </a:moveTo>
                <a:cubicBezTo>
                  <a:pt x="3080" y="1905"/>
                  <a:pt x="3085" y="1911"/>
                  <a:pt x="3085" y="1911"/>
                </a:cubicBezTo>
                <a:cubicBezTo>
                  <a:pt x="3085" y="1927"/>
                  <a:pt x="3077" y="1945"/>
                  <a:pt x="3068" y="1950"/>
                </a:cubicBezTo>
                <a:cubicBezTo>
                  <a:pt x="3061" y="1954"/>
                  <a:pt x="3057" y="1967"/>
                  <a:pt x="3058" y="1982"/>
                </a:cubicBezTo>
                <a:cubicBezTo>
                  <a:pt x="3059" y="2011"/>
                  <a:pt x="3065" y="2029"/>
                  <a:pt x="3069" y="2042"/>
                </a:cubicBezTo>
                <a:cubicBezTo>
                  <a:pt x="3071" y="2046"/>
                  <a:pt x="3072" y="2049"/>
                  <a:pt x="3073" y="2052"/>
                </a:cubicBezTo>
                <a:lnTo>
                  <a:pt x="2994" y="2170"/>
                </a:lnTo>
                <a:cubicBezTo>
                  <a:pt x="2986" y="2166"/>
                  <a:pt x="2982" y="2149"/>
                  <a:pt x="2975" y="2118"/>
                </a:cubicBezTo>
                <a:cubicBezTo>
                  <a:pt x="2971" y="2096"/>
                  <a:pt x="2966" y="2073"/>
                  <a:pt x="2956" y="2059"/>
                </a:cubicBezTo>
                <a:lnTo>
                  <a:pt x="2955" y="1928"/>
                </a:lnTo>
                <a:cubicBezTo>
                  <a:pt x="2957" y="1929"/>
                  <a:pt x="2960" y="1930"/>
                  <a:pt x="2962" y="1931"/>
                </a:cubicBezTo>
                <a:cubicBezTo>
                  <a:pt x="2965" y="1951"/>
                  <a:pt x="2973" y="1968"/>
                  <a:pt x="2985" y="1968"/>
                </a:cubicBezTo>
                <a:cubicBezTo>
                  <a:pt x="2998" y="1968"/>
                  <a:pt x="3008" y="1947"/>
                  <a:pt x="3009" y="1921"/>
                </a:cubicBezTo>
                <a:cubicBezTo>
                  <a:pt x="3027" y="1913"/>
                  <a:pt x="3041" y="1905"/>
                  <a:pt x="3062" y="1905"/>
                </a:cubicBezTo>
                <a:close/>
                <a:moveTo>
                  <a:pt x="15887" y="1905"/>
                </a:moveTo>
                <a:lnTo>
                  <a:pt x="15895" y="1905"/>
                </a:lnTo>
                <a:cubicBezTo>
                  <a:pt x="15890" y="1925"/>
                  <a:pt x="15883" y="1929"/>
                  <a:pt x="15872" y="1929"/>
                </a:cubicBezTo>
                <a:cubicBezTo>
                  <a:pt x="15871" y="1929"/>
                  <a:pt x="15871" y="1929"/>
                  <a:pt x="15871" y="1928"/>
                </a:cubicBezTo>
                <a:cubicBezTo>
                  <a:pt x="15877" y="1920"/>
                  <a:pt x="15883" y="1912"/>
                  <a:pt x="15887" y="1905"/>
                </a:cubicBezTo>
                <a:close/>
                <a:moveTo>
                  <a:pt x="2925" y="1925"/>
                </a:moveTo>
                <a:lnTo>
                  <a:pt x="2926" y="2108"/>
                </a:lnTo>
                <a:cubicBezTo>
                  <a:pt x="2917" y="2155"/>
                  <a:pt x="2896" y="2188"/>
                  <a:pt x="2875" y="2184"/>
                </a:cubicBezTo>
                <a:cubicBezTo>
                  <a:pt x="2869" y="2182"/>
                  <a:pt x="2864" y="2188"/>
                  <a:pt x="2861" y="2198"/>
                </a:cubicBezTo>
                <a:lnTo>
                  <a:pt x="2850" y="2194"/>
                </a:lnTo>
                <a:lnTo>
                  <a:pt x="2738" y="2156"/>
                </a:lnTo>
                <a:cubicBezTo>
                  <a:pt x="2749" y="2146"/>
                  <a:pt x="2760" y="2138"/>
                  <a:pt x="2772" y="2130"/>
                </a:cubicBezTo>
                <a:cubicBezTo>
                  <a:pt x="2791" y="2117"/>
                  <a:pt x="2811" y="2103"/>
                  <a:pt x="2832" y="2077"/>
                </a:cubicBezTo>
                <a:cubicBezTo>
                  <a:pt x="2849" y="2057"/>
                  <a:pt x="2861" y="2028"/>
                  <a:pt x="2872" y="2000"/>
                </a:cubicBezTo>
                <a:cubicBezTo>
                  <a:pt x="2888" y="1962"/>
                  <a:pt x="2901" y="1931"/>
                  <a:pt x="2925" y="1925"/>
                </a:cubicBezTo>
                <a:close/>
                <a:moveTo>
                  <a:pt x="14124" y="1967"/>
                </a:moveTo>
                <a:lnTo>
                  <a:pt x="14225" y="1971"/>
                </a:lnTo>
                <a:cubicBezTo>
                  <a:pt x="14245" y="1993"/>
                  <a:pt x="14253" y="2012"/>
                  <a:pt x="14253" y="2018"/>
                </a:cubicBezTo>
                <a:cubicBezTo>
                  <a:pt x="14253" y="2038"/>
                  <a:pt x="14248" y="2055"/>
                  <a:pt x="14239" y="2070"/>
                </a:cubicBezTo>
                <a:cubicBezTo>
                  <a:pt x="14238" y="2019"/>
                  <a:pt x="14218" y="1977"/>
                  <a:pt x="14192" y="1977"/>
                </a:cubicBezTo>
                <a:cubicBezTo>
                  <a:pt x="14165" y="1977"/>
                  <a:pt x="14142" y="2022"/>
                  <a:pt x="14142" y="2076"/>
                </a:cubicBezTo>
                <a:cubicBezTo>
                  <a:pt x="14142" y="2104"/>
                  <a:pt x="14148" y="2129"/>
                  <a:pt x="14157" y="2146"/>
                </a:cubicBezTo>
                <a:cubicBezTo>
                  <a:pt x="14156" y="2147"/>
                  <a:pt x="14155" y="2148"/>
                  <a:pt x="14153" y="2149"/>
                </a:cubicBezTo>
                <a:lnTo>
                  <a:pt x="14007" y="2090"/>
                </a:lnTo>
                <a:cubicBezTo>
                  <a:pt x="14017" y="2079"/>
                  <a:pt x="14027" y="2067"/>
                  <a:pt x="14037" y="2056"/>
                </a:cubicBezTo>
                <a:cubicBezTo>
                  <a:pt x="14067" y="2021"/>
                  <a:pt x="14095" y="1989"/>
                  <a:pt x="14124" y="1967"/>
                </a:cubicBezTo>
                <a:close/>
                <a:moveTo>
                  <a:pt x="4321" y="1980"/>
                </a:moveTo>
                <a:cubicBezTo>
                  <a:pt x="4368" y="1980"/>
                  <a:pt x="4392" y="2016"/>
                  <a:pt x="4419" y="2055"/>
                </a:cubicBezTo>
                <a:cubicBezTo>
                  <a:pt x="4427" y="2068"/>
                  <a:pt x="4436" y="2082"/>
                  <a:pt x="4446" y="2094"/>
                </a:cubicBezTo>
                <a:cubicBezTo>
                  <a:pt x="4445" y="2095"/>
                  <a:pt x="4443" y="2096"/>
                  <a:pt x="4442" y="2098"/>
                </a:cubicBezTo>
                <a:cubicBezTo>
                  <a:pt x="4430" y="2123"/>
                  <a:pt x="4421" y="2132"/>
                  <a:pt x="4410" y="2132"/>
                </a:cubicBezTo>
                <a:cubicBezTo>
                  <a:pt x="4392" y="2132"/>
                  <a:pt x="4288" y="2042"/>
                  <a:pt x="4273" y="2007"/>
                </a:cubicBezTo>
                <a:cubicBezTo>
                  <a:pt x="4274" y="1986"/>
                  <a:pt x="4288" y="1980"/>
                  <a:pt x="4321" y="1980"/>
                </a:cubicBezTo>
                <a:close/>
                <a:moveTo>
                  <a:pt x="4758" y="1999"/>
                </a:moveTo>
                <a:lnTo>
                  <a:pt x="5250" y="2023"/>
                </a:lnTo>
                <a:cubicBezTo>
                  <a:pt x="5228" y="2033"/>
                  <a:pt x="5211" y="2067"/>
                  <a:pt x="5211" y="2114"/>
                </a:cubicBezTo>
                <a:cubicBezTo>
                  <a:pt x="5211" y="2122"/>
                  <a:pt x="5214" y="2128"/>
                  <a:pt x="5215" y="2136"/>
                </a:cubicBezTo>
                <a:cubicBezTo>
                  <a:pt x="5207" y="2115"/>
                  <a:pt x="5197" y="2095"/>
                  <a:pt x="5172" y="2095"/>
                </a:cubicBezTo>
                <a:lnTo>
                  <a:pt x="5013" y="2095"/>
                </a:lnTo>
                <a:cubicBezTo>
                  <a:pt x="5001" y="2095"/>
                  <a:pt x="4992" y="2106"/>
                  <a:pt x="4983" y="2116"/>
                </a:cubicBezTo>
                <a:cubicBezTo>
                  <a:pt x="4973" y="2127"/>
                  <a:pt x="4963" y="2138"/>
                  <a:pt x="4949" y="2138"/>
                </a:cubicBezTo>
                <a:cubicBezTo>
                  <a:pt x="4884" y="2138"/>
                  <a:pt x="4830" y="2104"/>
                  <a:pt x="4760" y="2060"/>
                </a:cubicBezTo>
                <a:lnTo>
                  <a:pt x="4753" y="2054"/>
                </a:lnTo>
                <a:cubicBezTo>
                  <a:pt x="4746" y="2050"/>
                  <a:pt x="4739" y="2055"/>
                  <a:pt x="4735" y="2067"/>
                </a:cubicBezTo>
                <a:cubicBezTo>
                  <a:pt x="4727" y="2095"/>
                  <a:pt x="4723" y="2095"/>
                  <a:pt x="4723" y="2095"/>
                </a:cubicBezTo>
                <a:cubicBezTo>
                  <a:pt x="4717" y="2095"/>
                  <a:pt x="4716" y="2091"/>
                  <a:pt x="4716" y="2091"/>
                </a:cubicBezTo>
                <a:cubicBezTo>
                  <a:pt x="4716" y="2040"/>
                  <a:pt x="4728" y="2014"/>
                  <a:pt x="4758" y="1999"/>
                </a:cubicBezTo>
                <a:close/>
                <a:moveTo>
                  <a:pt x="4199" y="2014"/>
                </a:moveTo>
                <a:cubicBezTo>
                  <a:pt x="4185" y="2014"/>
                  <a:pt x="4173" y="2028"/>
                  <a:pt x="4164" y="2047"/>
                </a:cubicBezTo>
                <a:cubicBezTo>
                  <a:pt x="4160" y="2046"/>
                  <a:pt x="4157" y="2042"/>
                  <a:pt x="4153" y="2042"/>
                </a:cubicBezTo>
                <a:cubicBezTo>
                  <a:pt x="4140" y="2042"/>
                  <a:pt x="4131" y="2055"/>
                  <a:pt x="4124" y="2065"/>
                </a:cubicBezTo>
                <a:cubicBezTo>
                  <a:pt x="4118" y="2072"/>
                  <a:pt x="4114" y="2076"/>
                  <a:pt x="4110" y="2076"/>
                </a:cubicBezTo>
                <a:cubicBezTo>
                  <a:pt x="4092" y="2076"/>
                  <a:pt x="4078" y="2066"/>
                  <a:pt x="4064" y="2055"/>
                </a:cubicBezTo>
                <a:cubicBezTo>
                  <a:pt x="4049" y="2045"/>
                  <a:pt x="4034" y="2034"/>
                  <a:pt x="4015" y="2034"/>
                </a:cubicBezTo>
                <a:cubicBezTo>
                  <a:pt x="4011" y="2034"/>
                  <a:pt x="4008" y="2033"/>
                  <a:pt x="4004" y="2032"/>
                </a:cubicBezTo>
                <a:cubicBezTo>
                  <a:pt x="3993" y="2030"/>
                  <a:pt x="3982" y="2031"/>
                  <a:pt x="3971" y="2040"/>
                </a:cubicBezTo>
                <a:cubicBezTo>
                  <a:pt x="3964" y="2046"/>
                  <a:pt x="3961" y="2062"/>
                  <a:pt x="3963" y="2076"/>
                </a:cubicBezTo>
                <a:cubicBezTo>
                  <a:pt x="3965" y="2093"/>
                  <a:pt x="3968" y="2106"/>
                  <a:pt x="3973" y="2117"/>
                </a:cubicBezTo>
                <a:cubicBezTo>
                  <a:pt x="3962" y="2106"/>
                  <a:pt x="3950" y="2098"/>
                  <a:pt x="3935" y="2098"/>
                </a:cubicBezTo>
                <a:cubicBezTo>
                  <a:pt x="3926" y="2098"/>
                  <a:pt x="3920" y="2111"/>
                  <a:pt x="3920" y="2128"/>
                </a:cubicBezTo>
                <a:lnTo>
                  <a:pt x="3920" y="2179"/>
                </a:lnTo>
                <a:cubicBezTo>
                  <a:pt x="3920" y="2180"/>
                  <a:pt x="3920" y="2180"/>
                  <a:pt x="3920" y="2181"/>
                </a:cubicBezTo>
                <a:cubicBezTo>
                  <a:pt x="3913" y="2170"/>
                  <a:pt x="3907" y="2157"/>
                  <a:pt x="3901" y="2144"/>
                </a:cubicBezTo>
                <a:cubicBezTo>
                  <a:pt x="3878" y="2096"/>
                  <a:pt x="3853" y="2042"/>
                  <a:pt x="3818" y="2042"/>
                </a:cubicBezTo>
                <a:lnTo>
                  <a:pt x="3792" y="2042"/>
                </a:lnTo>
                <a:cubicBezTo>
                  <a:pt x="3784" y="2042"/>
                  <a:pt x="3778" y="2056"/>
                  <a:pt x="3778" y="2073"/>
                </a:cubicBezTo>
                <a:cubicBezTo>
                  <a:pt x="3778" y="2087"/>
                  <a:pt x="3779" y="2100"/>
                  <a:pt x="3781" y="2112"/>
                </a:cubicBezTo>
                <a:cubicBezTo>
                  <a:pt x="3769" y="2130"/>
                  <a:pt x="3759" y="2155"/>
                  <a:pt x="3759" y="2188"/>
                </a:cubicBezTo>
                <a:cubicBezTo>
                  <a:pt x="3759" y="2243"/>
                  <a:pt x="3781" y="2286"/>
                  <a:pt x="3809" y="2286"/>
                </a:cubicBezTo>
                <a:cubicBezTo>
                  <a:pt x="3819" y="2286"/>
                  <a:pt x="3827" y="2276"/>
                  <a:pt x="3835" y="2265"/>
                </a:cubicBezTo>
                <a:cubicBezTo>
                  <a:pt x="3836" y="2265"/>
                  <a:pt x="3837" y="2267"/>
                  <a:pt x="3839" y="2267"/>
                </a:cubicBezTo>
                <a:lnTo>
                  <a:pt x="3842" y="2285"/>
                </a:lnTo>
                <a:cubicBezTo>
                  <a:pt x="3844" y="2298"/>
                  <a:pt x="3850" y="2306"/>
                  <a:pt x="3856" y="2306"/>
                </a:cubicBezTo>
                <a:lnTo>
                  <a:pt x="3876" y="2306"/>
                </a:lnTo>
                <a:cubicBezTo>
                  <a:pt x="3882" y="2336"/>
                  <a:pt x="3896" y="2357"/>
                  <a:pt x="3913" y="2357"/>
                </a:cubicBezTo>
                <a:cubicBezTo>
                  <a:pt x="3936" y="2357"/>
                  <a:pt x="3968" y="2346"/>
                  <a:pt x="3998" y="2335"/>
                </a:cubicBezTo>
                <a:cubicBezTo>
                  <a:pt x="4010" y="2330"/>
                  <a:pt x="4022" y="2326"/>
                  <a:pt x="4034" y="2322"/>
                </a:cubicBezTo>
                <a:cubicBezTo>
                  <a:pt x="4030" y="2331"/>
                  <a:pt x="4026" y="2342"/>
                  <a:pt x="4025" y="2357"/>
                </a:cubicBezTo>
                <a:cubicBezTo>
                  <a:pt x="4024" y="2368"/>
                  <a:pt x="4024" y="2378"/>
                  <a:pt x="4024" y="2390"/>
                </a:cubicBezTo>
                <a:cubicBezTo>
                  <a:pt x="4016" y="2405"/>
                  <a:pt x="4011" y="2425"/>
                  <a:pt x="4011" y="2446"/>
                </a:cubicBezTo>
                <a:cubicBezTo>
                  <a:pt x="4011" y="2482"/>
                  <a:pt x="4027" y="2502"/>
                  <a:pt x="4058" y="2502"/>
                </a:cubicBezTo>
                <a:cubicBezTo>
                  <a:pt x="4067" y="2502"/>
                  <a:pt x="4077" y="2501"/>
                  <a:pt x="4084" y="2499"/>
                </a:cubicBezTo>
                <a:cubicBezTo>
                  <a:pt x="4088" y="2499"/>
                  <a:pt x="4091" y="2498"/>
                  <a:pt x="4093" y="2498"/>
                </a:cubicBezTo>
                <a:cubicBezTo>
                  <a:pt x="4110" y="2498"/>
                  <a:pt x="4152" y="2496"/>
                  <a:pt x="4183" y="2475"/>
                </a:cubicBezTo>
                <a:cubicBezTo>
                  <a:pt x="4190" y="2470"/>
                  <a:pt x="4194" y="2457"/>
                  <a:pt x="4193" y="2442"/>
                </a:cubicBezTo>
                <a:cubicBezTo>
                  <a:pt x="4188" y="2380"/>
                  <a:pt x="4194" y="2338"/>
                  <a:pt x="4200" y="2294"/>
                </a:cubicBezTo>
                <a:cubicBezTo>
                  <a:pt x="4203" y="2273"/>
                  <a:pt x="4207" y="2250"/>
                  <a:pt x="4209" y="2225"/>
                </a:cubicBezTo>
                <a:cubicBezTo>
                  <a:pt x="4209" y="2217"/>
                  <a:pt x="4209" y="2211"/>
                  <a:pt x="4209" y="2203"/>
                </a:cubicBezTo>
                <a:cubicBezTo>
                  <a:pt x="4231" y="2193"/>
                  <a:pt x="4248" y="2160"/>
                  <a:pt x="4248" y="2114"/>
                </a:cubicBezTo>
                <a:cubicBezTo>
                  <a:pt x="4248" y="2059"/>
                  <a:pt x="4226" y="2014"/>
                  <a:pt x="4199" y="2014"/>
                </a:cubicBezTo>
                <a:close/>
                <a:moveTo>
                  <a:pt x="3508" y="2023"/>
                </a:moveTo>
                <a:cubicBezTo>
                  <a:pt x="3515" y="2031"/>
                  <a:pt x="3523" y="2038"/>
                  <a:pt x="3532" y="2042"/>
                </a:cubicBezTo>
                <a:cubicBezTo>
                  <a:pt x="3532" y="2054"/>
                  <a:pt x="3533" y="2061"/>
                  <a:pt x="3533" y="2067"/>
                </a:cubicBezTo>
                <a:cubicBezTo>
                  <a:pt x="3533" y="2069"/>
                  <a:pt x="3533" y="2070"/>
                  <a:pt x="3533" y="2072"/>
                </a:cubicBezTo>
                <a:cubicBezTo>
                  <a:pt x="3533" y="2152"/>
                  <a:pt x="3580" y="2259"/>
                  <a:pt x="3628" y="2259"/>
                </a:cubicBezTo>
                <a:cubicBezTo>
                  <a:pt x="3642" y="2259"/>
                  <a:pt x="3652" y="2244"/>
                  <a:pt x="3661" y="2231"/>
                </a:cubicBezTo>
                <a:cubicBezTo>
                  <a:pt x="3669" y="2219"/>
                  <a:pt x="3676" y="2208"/>
                  <a:pt x="3686" y="2208"/>
                </a:cubicBezTo>
                <a:cubicBezTo>
                  <a:pt x="3702" y="2208"/>
                  <a:pt x="3720" y="2249"/>
                  <a:pt x="3720" y="2285"/>
                </a:cubicBezTo>
                <a:cubicBezTo>
                  <a:pt x="3720" y="2330"/>
                  <a:pt x="3675" y="2445"/>
                  <a:pt x="3661" y="2455"/>
                </a:cubicBezTo>
                <a:cubicBezTo>
                  <a:pt x="3653" y="2458"/>
                  <a:pt x="3624" y="2453"/>
                  <a:pt x="3597" y="2449"/>
                </a:cubicBezTo>
                <a:lnTo>
                  <a:pt x="3595" y="2449"/>
                </a:lnTo>
                <a:lnTo>
                  <a:pt x="3488" y="2046"/>
                </a:lnTo>
                <a:cubicBezTo>
                  <a:pt x="3488" y="2045"/>
                  <a:pt x="3490" y="2043"/>
                  <a:pt x="3490" y="2042"/>
                </a:cubicBezTo>
                <a:cubicBezTo>
                  <a:pt x="3497" y="2036"/>
                  <a:pt x="3503" y="2029"/>
                  <a:pt x="3508" y="2023"/>
                </a:cubicBezTo>
                <a:close/>
                <a:moveTo>
                  <a:pt x="5271" y="2024"/>
                </a:moveTo>
                <a:lnTo>
                  <a:pt x="5316" y="2026"/>
                </a:lnTo>
                <a:cubicBezTo>
                  <a:pt x="5319" y="2032"/>
                  <a:pt x="5322" y="2037"/>
                  <a:pt x="5327" y="2037"/>
                </a:cubicBezTo>
                <a:cubicBezTo>
                  <a:pt x="5327" y="2037"/>
                  <a:pt x="5380" y="2037"/>
                  <a:pt x="5380" y="2037"/>
                </a:cubicBezTo>
                <a:lnTo>
                  <a:pt x="5336" y="2117"/>
                </a:lnTo>
                <a:cubicBezTo>
                  <a:pt x="5325" y="2125"/>
                  <a:pt x="5317" y="2125"/>
                  <a:pt x="5305" y="2131"/>
                </a:cubicBezTo>
                <a:cubicBezTo>
                  <a:pt x="5306" y="2125"/>
                  <a:pt x="5309" y="2120"/>
                  <a:pt x="5309" y="2114"/>
                </a:cubicBezTo>
                <a:cubicBezTo>
                  <a:pt x="5309" y="2068"/>
                  <a:pt x="5292" y="2035"/>
                  <a:pt x="5271" y="2024"/>
                </a:cubicBezTo>
                <a:close/>
                <a:moveTo>
                  <a:pt x="16684" y="2026"/>
                </a:moveTo>
                <a:lnTo>
                  <a:pt x="16694" y="2026"/>
                </a:lnTo>
                <a:lnTo>
                  <a:pt x="16690" y="2031"/>
                </a:lnTo>
                <a:cubicBezTo>
                  <a:pt x="16688" y="2028"/>
                  <a:pt x="16686" y="2028"/>
                  <a:pt x="16684" y="2026"/>
                </a:cubicBezTo>
                <a:close/>
                <a:moveTo>
                  <a:pt x="16751" y="2026"/>
                </a:moveTo>
                <a:lnTo>
                  <a:pt x="16777" y="2026"/>
                </a:lnTo>
                <a:cubicBezTo>
                  <a:pt x="16931" y="2101"/>
                  <a:pt x="16967" y="2175"/>
                  <a:pt x="16970" y="2224"/>
                </a:cubicBezTo>
                <a:cubicBezTo>
                  <a:pt x="16971" y="2248"/>
                  <a:pt x="16965" y="2273"/>
                  <a:pt x="16955" y="2298"/>
                </a:cubicBezTo>
                <a:cubicBezTo>
                  <a:pt x="16949" y="2284"/>
                  <a:pt x="16940" y="2276"/>
                  <a:pt x="16931" y="2276"/>
                </a:cubicBezTo>
                <a:cubicBezTo>
                  <a:pt x="16912" y="2276"/>
                  <a:pt x="16896" y="2307"/>
                  <a:pt x="16896" y="2344"/>
                </a:cubicBezTo>
                <a:cubicBezTo>
                  <a:pt x="16896" y="2360"/>
                  <a:pt x="16900" y="2372"/>
                  <a:pt x="16904" y="2383"/>
                </a:cubicBezTo>
                <a:cubicBezTo>
                  <a:pt x="16887" y="2407"/>
                  <a:pt x="16866" y="2428"/>
                  <a:pt x="16845" y="2452"/>
                </a:cubicBezTo>
                <a:cubicBezTo>
                  <a:pt x="16845" y="2451"/>
                  <a:pt x="16846" y="2450"/>
                  <a:pt x="16846" y="2449"/>
                </a:cubicBezTo>
                <a:cubicBezTo>
                  <a:pt x="16846" y="2395"/>
                  <a:pt x="16824" y="2350"/>
                  <a:pt x="16797" y="2350"/>
                </a:cubicBezTo>
                <a:cubicBezTo>
                  <a:pt x="16770" y="2350"/>
                  <a:pt x="16747" y="2395"/>
                  <a:pt x="16747" y="2449"/>
                </a:cubicBezTo>
                <a:cubicBezTo>
                  <a:pt x="16747" y="2485"/>
                  <a:pt x="16759" y="2512"/>
                  <a:pt x="16773" y="2529"/>
                </a:cubicBezTo>
                <a:cubicBezTo>
                  <a:pt x="16760" y="2542"/>
                  <a:pt x="16747" y="2557"/>
                  <a:pt x="16735" y="2569"/>
                </a:cubicBezTo>
                <a:cubicBezTo>
                  <a:pt x="16734" y="2570"/>
                  <a:pt x="16734" y="2570"/>
                  <a:pt x="16734" y="2571"/>
                </a:cubicBezTo>
                <a:cubicBezTo>
                  <a:pt x="16728" y="2551"/>
                  <a:pt x="16719" y="2537"/>
                  <a:pt x="16707" y="2537"/>
                </a:cubicBezTo>
                <a:cubicBezTo>
                  <a:pt x="16688" y="2537"/>
                  <a:pt x="16673" y="2568"/>
                  <a:pt x="16673" y="2606"/>
                </a:cubicBezTo>
                <a:cubicBezTo>
                  <a:pt x="16673" y="2614"/>
                  <a:pt x="16676" y="2620"/>
                  <a:pt x="16678" y="2628"/>
                </a:cubicBezTo>
                <a:cubicBezTo>
                  <a:pt x="16636" y="2670"/>
                  <a:pt x="16601" y="2709"/>
                  <a:pt x="16587" y="2743"/>
                </a:cubicBezTo>
                <a:cubicBezTo>
                  <a:pt x="16586" y="2745"/>
                  <a:pt x="16586" y="2748"/>
                  <a:pt x="16585" y="2750"/>
                </a:cubicBezTo>
                <a:cubicBezTo>
                  <a:pt x="16583" y="2761"/>
                  <a:pt x="16572" y="2818"/>
                  <a:pt x="16583" y="2854"/>
                </a:cubicBezTo>
                <a:cubicBezTo>
                  <a:pt x="16587" y="2864"/>
                  <a:pt x="16594" y="2881"/>
                  <a:pt x="16610" y="2881"/>
                </a:cubicBezTo>
                <a:cubicBezTo>
                  <a:pt x="16644" y="2881"/>
                  <a:pt x="16711" y="2799"/>
                  <a:pt x="16813" y="2634"/>
                </a:cubicBezTo>
                <a:cubicBezTo>
                  <a:pt x="16841" y="2687"/>
                  <a:pt x="16901" y="2731"/>
                  <a:pt x="16975" y="2769"/>
                </a:cubicBezTo>
                <a:cubicBezTo>
                  <a:pt x="16980" y="2812"/>
                  <a:pt x="16997" y="2846"/>
                  <a:pt x="17020" y="2846"/>
                </a:cubicBezTo>
                <a:cubicBezTo>
                  <a:pt x="17037" y="2846"/>
                  <a:pt x="17049" y="2828"/>
                  <a:pt x="17058" y="2803"/>
                </a:cubicBezTo>
                <a:cubicBezTo>
                  <a:pt x="17103" y="2822"/>
                  <a:pt x="17146" y="2842"/>
                  <a:pt x="17194" y="2858"/>
                </a:cubicBezTo>
                <a:cubicBezTo>
                  <a:pt x="17194" y="2859"/>
                  <a:pt x="17194" y="2859"/>
                  <a:pt x="17194" y="2860"/>
                </a:cubicBezTo>
                <a:cubicBezTo>
                  <a:pt x="17194" y="2906"/>
                  <a:pt x="17212" y="2939"/>
                  <a:pt x="17234" y="2949"/>
                </a:cubicBezTo>
                <a:lnTo>
                  <a:pt x="17188" y="3424"/>
                </a:lnTo>
                <a:lnTo>
                  <a:pt x="16260" y="2634"/>
                </a:lnTo>
                <a:cubicBezTo>
                  <a:pt x="16260" y="2634"/>
                  <a:pt x="16310" y="2572"/>
                  <a:pt x="16324" y="2554"/>
                </a:cubicBezTo>
                <a:cubicBezTo>
                  <a:pt x="16329" y="2579"/>
                  <a:pt x="16340" y="2599"/>
                  <a:pt x="16354" y="2599"/>
                </a:cubicBezTo>
                <a:cubicBezTo>
                  <a:pt x="16373" y="2599"/>
                  <a:pt x="16388" y="2569"/>
                  <a:pt x="16388" y="2531"/>
                </a:cubicBezTo>
                <a:cubicBezTo>
                  <a:pt x="16388" y="2514"/>
                  <a:pt x="16384" y="2499"/>
                  <a:pt x="16379" y="2487"/>
                </a:cubicBezTo>
                <a:cubicBezTo>
                  <a:pt x="16420" y="2435"/>
                  <a:pt x="16436" y="2417"/>
                  <a:pt x="16492" y="2347"/>
                </a:cubicBezTo>
                <a:cubicBezTo>
                  <a:pt x="16497" y="2352"/>
                  <a:pt x="16502" y="2360"/>
                  <a:pt x="16508" y="2360"/>
                </a:cubicBezTo>
                <a:cubicBezTo>
                  <a:pt x="16530" y="2360"/>
                  <a:pt x="16547" y="2324"/>
                  <a:pt x="16547" y="2280"/>
                </a:cubicBezTo>
                <a:cubicBezTo>
                  <a:pt x="16547" y="2279"/>
                  <a:pt x="16547" y="2279"/>
                  <a:pt x="16547" y="2278"/>
                </a:cubicBezTo>
                <a:cubicBezTo>
                  <a:pt x="16601" y="2211"/>
                  <a:pt x="16624" y="2184"/>
                  <a:pt x="16658" y="2142"/>
                </a:cubicBezTo>
                <a:cubicBezTo>
                  <a:pt x="16662" y="2145"/>
                  <a:pt x="16665" y="2151"/>
                  <a:pt x="16670" y="2151"/>
                </a:cubicBezTo>
                <a:cubicBezTo>
                  <a:pt x="16689" y="2151"/>
                  <a:pt x="16703" y="2121"/>
                  <a:pt x="16703" y="2084"/>
                </a:cubicBezTo>
                <a:cubicBezTo>
                  <a:pt x="16712" y="2074"/>
                  <a:pt x="16751" y="2026"/>
                  <a:pt x="16751" y="2026"/>
                </a:cubicBezTo>
                <a:close/>
                <a:moveTo>
                  <a:pt x="18459" y="2052"/>
                </a:moveTo>
                <a:cubicBezTo>
                  <a:pt x="18426" y="2052"/>
                  <a:pt x="18398" y="2097"/>
                  <a:pt x="18389" y="2157"/>
                </a:cubicBezTo>
                <a:cubicBezTo>
                  <a:pt x="18376" y="2189"/>
                  <a:pt x="18366" y="2225"/>
                  <a:pt x="18366" y="2269"/>
                </a:cubicBezTo>
                <a:cubicBezTo>
                  <a:pt x="18366" y="2387"/>
                  <a:pt x="18423" y="2490"/>
                  <a:pt x="18487" y="2490"/>
                </a:cubicBezTo>
                <a:cubicBezTo>
                  <a:pt x="18509" y="2490"/>
                  <a:pt x="18522" y="2462"/>
                  <a:pt x="18533" y="2439"/>
                </a:cubicBezTo>
                <a:cubicBezTo>
                  <a:pt x="18543" y="2456"/>
                  <a:pt x="18554" y="2468"/>
                  <a:pt x="18572" y="2468"/>
                </a:cubicBezTo>
                <a:cubicBezTo>
                  <a:pt x="18588" y="2468"/>
                  <a:pt x="18600" y="2455"/>
                  <a:pt x="18609" y="2445"/>
                </a:cubicBezTo>
                <a:cubicBezTo>
                  <a:pt x="18612" y="2441"/>
                  <a:pt x="18617" y="2434"/>
                  <a:pt x="18619" y="2434"/>
                </a:cubicBezTo>
                <a:cubicBezTo>
                  <a:pt x="18631" y="2434"/>
                  <a:pt x="18640" y="2424"/>
                  <a:pt x="18647" y="2416"/>
                </a:cubicBezTo>
                <a:cubicBezTo>
                  <a:pt x="18653" y="2409"/>
                  <a:pt x="18657" y="2405"/>
                  <a:pt x="18661" y="2405"/>
                </a:cubicBezTo>
                <a:cubicBezTo>
                  <a:pt x="18663" y="2405"/>
                  <a:pt x="18667" y="2413"/>
                  <a:pt x="18670" y="2418"/>
                </a:cubicBezTo>
                <a:cubicBezTo>
                  <a:pt x="18677" y="2430"/>
                  <a:pt x="18686" y="2447"/>
                  <a:pt x="18700" y="2447"/>
                </a:cubicBezTo>
                <a:cubicBezTo>
                  <a:pt x="18718" y="2447"/>
                  <a:pt x="18730" y="2430"/>
                  <a:pt x="18740" y="2418"/>
                </a:cubicBezTo>
                <a:cubicBezTo>
                  <a:pt x="18745" y="2411"/>
                  <a:pt x="18749" y="2405"/>
                  <a:pt x="18752" y="2405"/>
                </a:cubicBezTo>
                <a:lnTo>
                  <a:pt x="18809" y="2405"/>
                </a:lnTo>
                <a:cubicBezTo>
                  <a:pt x="18818" y="2405"/>
                  <a:pt x="18824" y="2391"/>
                  <a:pt x="18825" y="2375"/>
                </a:cubicBezTo>
                <a:cubicBezTo>
                  <a:pt x="18825" y="2368"/>
                  <a:pt x="18832" y="2348"/>
                  <a:pt x="18837" y="2334"/>
                </a:cubicBezTo>
                <a:cubicBezTo>
                  <a:pt x="18846" y="2309"/>
                  <a:pt x="18857" y="2278"/>
                  <a:pt x="18862" y="2243"/>
                </a:cubicBezTo>
                <a:cubicBezTo>
                  <a:pt x="18864" y="2227"/>
                  <a:pt x="18859" y="2210"/>
                  <a:pt x="18851" y="2206"/>
                </a:cubicBezTo>
                <a:cubicBezTo>
                  <a:pt x="18840" y="2199"/>
                  <a:pt x="18823" y="2188"/>
                  <a:pt x="18803" y="2175"/>
                </a:cubicBezTo>
                <a:cubicBezTo>
                  <a:pt x="18730" y="2129"/>
                  <a:pt x="18668" y="2090"/>
                  <a:pt x="18640" y="2090"/>
                </a:cubicBezTo>
                <a:cubicBezTo>
                  <a:pt x="18613" y="2090"/>
                  <a:pt x="18595" y="2132"/>
                  <a:pt x="18590" y="2201"/>
                </a:cubicBezTo>
                <a:cubicBezTo>
                  <a:pt x="18577" y="2193"/>
                  <a:pt x="18567" y="2173"/>
                  <a:pt x="18556" y="2150"/>
                </a:cubicBezTo>
                <a:cubicBezTo>
                  <a:pt x="18543" y="2124"/>
                  <a:pt x="18526" y="2098"/>
                  <a:pt x="18503" y="2083"/>
                </a:cubicBezTo>
                <a:cubicBezTo>
                  <a:pt x="18491" y="2064"/>
                  <a:pt x="18476" y="2052"/>
                  <a:pt x="18459" y="2052"/>
                </a:cubicBezTo>
                <a:close/>
                <a:moveTo>
                  <a:pt x="3462" y="2077"/>
                </a:moveTo>
                <a:lnTo>
                  <a:pt x="3469" y="2102"/>
                </a:lnTo>
                <a:lnTo>
                  <a:pt x="3483" y="2156"/>
                </a:lnTo>
                <a:cubicBezTo>
                  <a:pt x="3465" y="2149"/>
                  <a:pt x="3448" y="2132"/>
                  <a:pt x="3446" y="2123"/>
                </a:cubicBezTo>
                <a:cubicBezTo>
                  <a:pt x="3446" y="2108"/>
                  <a:pt x="3451" y="2094"/>
                  <a:pt x="3462" y="2077"/>
                </a:cubicBezTo>
                <a:close/>
                <a:moveTo>
                  <a:pt x="3192" y="2081"/>
                </a:moveTo>
                <a:lnTo>
                  <a:pt x="3204" y="2081"/>
                </a:lnTo>
                <a:cubicBezTo>
                  <a:pt x="3204" y="2086"/>
                  <a:pt x="3205" y="2092"/>
                  <a:pt x="3206" y="2097"/>
                </a:cubicBezTo>
                <a:cubicBezTo>
                  <a:pt x="3201" y="2091"/>
                  <a:pt x="3197" y="2085"/>
                  <a:pt x="3192" y="2081"/>
                </a:cubicBezTo>
                <a:close/>
                <a:moveTo>
                  <a:pt x="4555" y="2094"/>
                </a:moveTo>
                <a:lnTo>
                  <a:pt x="4570" y="2094"/>
                </a:lnTo>
                <a:cubicBezTo>
                  <a:pt x="4570" y="2103"/>
                  <a:pt x="4572" y="2111"/>
                  <a:pt x="4574" y="2119"/>
                </a:cubicBezTo>
                <a:cubicBezTo>
                  <a:pt x="4579" y="2140"/>
                  <a:pt x="4589" y="2152"/>
                  <a:pt x="4601" y="2161"/>
                </a:cubicBezTo>
                <a:cubicBezTo>
                  <a:pt x="4596" y="2161"/>
                  <a:pt x="4592" y="2166"/>
                  <a:pt x="4589" y="2173"/>
                </a:cubicBezTo>
                <a:cubicBezTo>
                  <a:pt x="4587" y="2180"/>
                  <a:pt x="4586" y="2190"/>
                  <a:pt x="4587" y="2199"/>
                </a:cubicBezTo>
                <a:cubicBezTo>
                  <a:pt x="4597" y="2292"/>
                  <a:pt x="4631" y="2295"/>
                  <a:pt x="4655" y="2298"/>
                </a:cubicBezTo>
                <a:cubicBezTo>
                  <a:pt x="4659" y="2298"/>
                  <a:pt x="4663" y="2299"/>
                  <a:pt x="4667" y="2300"/>
                </a:cubicBezTo>
                <a:cubicBezTo>
                  <a:pt x="4667" y="2303"/>
                  <a:pt x="4667" y="2307"/>
                  <a:pt x="4667" y="2311"/>
                </a:cubicBezTo>
                <a:cubicBezTo>
                  <a:pt x="4667" y="2331"/>
                  <a:pt x="4669" y="2348"/>
                  <a:pt x="4674" y="2360"/>
                </a:cubicBezTo>
                <a:cubicBezTo>
                  <a:pt x="4679" y="2372"/>
                  <a:pt x="4686" y="2378"/>
                  <a:pt x="4695" y="2378"/>
                </a:cubicBezTo>
                <a:cubicBezTo>
                  <a:pt x="4704" y="2378"/>
                  <a:pt x="4712" y="2371"/>
                  <a:pt x="4718" y="2364"/>
                </a:cubicBezTo>
                <a:lnTo>
                  <a:pt x="4732" y="2371"/>
                </a:lnTo>
                <a:cubicBezTo>
                  <a:pt x="4774" y="2393"/>
                  <a:pt x="4814" y="2413"/>
                  <a:pt x="4862" y="2413"/>
                </a:cubicBezTo>
                <a:cubicBezTo>
                  <a:pt x="4924" y="2413"/>
                  <a:pt x="4964" y="2385"/>
                  <a:pt x="5004" y="2357"/>
                </a:cubicBezTo>
                <a:cubicBezTo>
                  <a:pt x="5040" y="2331"/>
                  <a:pt x="5076" y="2307"/>
                  <a:pt x="5127" y="2307"/>
                </a:cubicBezTo>
                <a:cubicBezTo>
                  <a:pt x="5163" y="2307"/>
                  <a:pt x="5191" y="2309"/>
                  <a:pt x="5214" y="2318"/>
                </a:cubicBezTo>
                <a:lnTo>
                  <a:pt x="5095" y="2537"/>
                </a:lnTo>
                <a:cubicBezTo>
                  <a:pt x="5094" y="2532"/>
                  <a:pt x="5093" y="2528"/>
                  <a:pt x="5092" y="2524"/>
                </a:cubicBezTo>
                <a:cubicBezTo>
                  <a:pt x="5091" y="2511"/>
                  <a:pt x="5085" y="2502"/>
                  <a:pt x="5079" y="2502"/>
                </a:cubicBezTo>
                <a:cubicBezTo>
                  <a:pt x="5078" y="2502"/>
                  <a:pt x="5077" y="2502"/>
                  <a:pt x="5076" y="2502"/>
                </a:cubicBezTo>
                <a:cubicBezTo>
                  <a:pt x="5060" y="2507"/>
                  <a:pt x="5049" y="2515"/>
                  <a:pt x="5041" y="2526"/>
                </a:cubicBezTo>
                <a:lnTo>
                  <a:pt x="4552" y="2328"/>
                </a:lnTo>
                <a:cubicBezTo>
                  <a:pt x="4552" y="2323"/>
                  <a:pt x="4550" y="2319"/>
                  <a:pt x="4548" y="2315"/>
                </a:cubicBezTo>
                <a:cubicBezTo>
                  <a:pt x="4530" y="2279"/>
                  <a:pt x="4518" y="2244"/>
                  <a:pt x="4506" y="2208"/>
                </a:cubicBezTo>
                <a:cubicBezTo>
                  <a:pt x="4497" y="2179"/>
                  <a:pt x="4486" y="2149"/>
                  <a:pt x="4473" y="2118"/>
                </a:cubicBezTo>
                <a:cubicBezTo>
                  <a:pt x="4483" y="2125"/>
                  <a:pt x="4493" y="2128"/>
                  <a:pt x="4506" y="2128"/>
                </a:cubicBezTo>
                <a:cubicBezTo>
                  <a:pt x="4523" y="2128"/>
                  <a:pt x="4541" y="2123"/>
                  <a:pt x="4555" y="2094"/>
                </a:cubicBezTo>
                <a:close/>
                <a:moveTo>
                  <a:pt x="4152" y="2103"/>
                </a:moveTo>
                <a:cubicBezTo>
                  <a:pt x="4152" y="2107"/>
                  <a:pt x="4150" y="2109"/>
                  <a:pt x="4150" y="2114"/>
                </a:cubicBezTo>
                <a:cubicBezTo>
                  <a:pt x="4150" y="2139"/>
                  <a:pt x="4156" y="2160"/>
                  <a:pt x="4163" y="2178"/>
                </a:cubicBezTo>
                <a:lnTo>
                  <a:pt x="4066" y="2138"/>
                </a:lnTo>
                <a:lnTo>
                  <a:pt x="4066" y="2128"/>
                </a:lnTo>
                <a:cubicBezTo>
                  <a:pt x="4066" y="2125"/>
                  <a:pt x="4066" y="2123"/>
                  <a:pt x="4066" y="2121"/>
                </a:cubicBezTo>
                <a:cubicBezTo>
                  <a:pt x="4078" y="2129"/>
                  <a:pt x="4093" y="2136"/>
                  <a:pt x="4110" y="2136"/>
                </a:cubicBezTo>
                <a:cubicBezTo>
                  <a:pt x="4123" y="2136"/>
                  <a:pt x="4133" y="2125"/>
                  <a:pt x="4140" y="2115"/>
                </a:cubicBezTo>
                <a:cubicBezTo>
                  <a:pt x="4145" y="2107"/>
                  <a:pt x="4149" y="2104"/>
                  <a:pt x="4152" y="2103"/>
                </a:cubicBezTo>
                <a:close/>
                <a:moveTo>
                  <a:pt x="3087" y="2104"/>
                </a:moveTo>
                <a:cubicBezTo>
                  <a:pt x="3088" y="2110"/>
                  <a:pt x="3088" y="2116"/>
                  <a:pt x="3089" y="2124"/>
                </a:cubicBezTo>
                <a:cubicBezTo>
                  <a:pt x="3076" y="2135"/>
                  <a:pt x="3065" y="2155"/>
                  <a:pt x="3058" y="2174"/>
                </a:cubicBezTo>
                <a:cubicBezTo>
                  <a:pt x="3058" y="2175"/>
                  <a:pt x="3058" y="2176"/>
                  <a:pt x="3058" y="2177"/>
                </a:cubicBezTo>
                <a:cubicBezTo>
                  <a:pt x="3053" y="2177"/>
                  <a:pt x="3048" y="2177"/>
                  <a:pt x="3043" y="2178"/>
                </a:cubicBezTo>
                <a:cubicBezTo>
                  <a:pt x="3036" y="2179"/>
                  <a:pt x="3030" y="2193"/>
                  <a:pt x="3030" y="2208"/>
                </a:cubicBezTo>
                <a:lnTo>
                  <a:pt x="3030" y="2258"/>
                </a:lnTo>
                <a:cubicBezTo>
                  <a:pt x="3022" y="2263"/>
                  <a:pt x="3014" y="2272"/>
                  <a:pt x="3007" y="2281"/>
                </a:cubicBezTo>
                <a:cubicBezTo>
                  <a:pt x="3007" y="2282"/>
                  <a:pt x="3007" y="2282"/>
                  <a:pt x="3007" y="2283"/>
                </a:cubicBezTo>
                <a:cubicBezTo>
                  <a:pt x="3007" y="2283"/>
                  <a:pt x="3006" y="2282"/>
                  <a:pt x="3006" y="2283"/>
                </a:cubicBezTo>
                <a:cubicBezTo>
                  <a:pt x="3002" y="2287"/>
                  <a:pt x="2998" y="2290"/>
                  <a:pt x="2994" y="2293"/>
                </a:cubicBezTo>
                <a:cubicBezTo>
                  <a:pt x="2998" y="2277"/>
                  <a:pt x="3002" y="2260"/>
                  <a:pt x="3003" y="2246"/>
                </a:cubicBezTo>
                <a:cubicBezTo>
                  <a:pt x="3003" y="2240"/>
                  <a:pt x="3002" y="2236"/>
                  <a:pt x="3001" y="2230"/>
                </a:cubicBezTo>
                <a:cubicBezTo>
                  <a:pt x="3003" y="2229"/>
                  <a:pt x="3005" y="2227"/>
                  <a:pt x="3007" y="2224"/>
                </a:cubicBezTo>
                <a:lnTo>
                  <a:pt x="3087" y="2104"/>
                </a:lnTo>
                <a:close/>
                <a:moveTo>
                  <a:pt x="3844" y="2123"/>
                </a:moveTo>
                <a:cubicBezTo>
                  <a:pt x="3856" y="2139"/>
                  <a:pt x="3867" y="2159"/>
                  <a:pt x="3879" y="2185"/>
                </a:cubicBezTo>
                <a:cubicBezTo>
                  <a:pt x="3904" y="2236"/>
                  <a:pt x="3931" y="2290"/>
                  <a:pt x="3967" y="2285"/>
                </a:cubicBezTo>
                <a:cubicBezTo>
                  <a:pt x="3947" y="2292"/>
                  <a:pt x="3928" y="2298"/>
                  <a:pt x="3913" y="2298"/>
                </a:cubicBezTo>
                <a:cubicBezTo>
                  <a:pt x="3906" y="2298"/>
                  <a:pt x="3903" y="2284"/>
                  <a:pt x="3903" y="2276"/>
                </a:cubicBezTo>
                <a:cubicBezTo>
                  <a:pt x="3903" y="2259"/>
                  <a:pt x="3896" y="2246"/>
                  <a:pt x="3888" y="2246"/>
                </a:cubicBezTo>
                <a:lnTo>
                  <a:pt x="3867" y="2246"/>
                </a:lnTo>
                <a:lnTo>
                  <a:pt x="3864" y="2225"/>
                </a:lnTo>
                <a:cubicBezTo>
                  <a:pt x="3862" y="2216"/>
                  <a:pt x="3857" y="2215"/>
                  <a:pt x="3852" y="2213"/>
                </a:cubicBezTo>
                <a:cubicBezTo>
                  <a:pt x="3853" y="2204"/>
                  <a:pt x="3857" y="2198"/>
                  <a:pt x="3857" y="2188"/>
                </a:cubicBezTo>
                <a:cubicBezTo>
                  <a:pt x="3857" y="2163"/>
                  <a:pt x="3852" y="2140"/>
                  <a:pt x="3844" y="2123"/>
                </a:cubicBezTo>
                <a:close/>
                <a:moveTo>
                  <a:pt x="3130" y="2126"/>
                </a:moveTo>
                <a:cubicBezTo>
                  <a:pt x="3139" y="2126"/>
                  <a:pt x="3147" y="2127"/>
                  <a:pt x="3154" y="2129"/>
                </a:cubicBezTo>
                <a:cubicBezTo>
                  <a:pt x="3160" y="2130"/>
                  <a:pt x="3166" y="2131"/>
                  <a:pt x="3172" y="2131"/>
                </a:cubicBezTo>
                <a:cubicBezTo>
                  <a:pt x="3173" y="2131"/>
                  <a:pt x="3193" y="2135"/>
                  <a:pt x="3194" y="2168"/>
                </a:cubicBezTo>
                <a:cubicBezTo>
                  <a:pt x="3195" y="2184"/>
                  <a:pt x="3201" y="2195"/>
                  <a:pt x="3208" y="2195"/>
                </a:cubicBezTo>
                <a:lnTo>
                  <a:pt x="3257" y="2195"/>
                </a:lnTo>
                <a:cubicBezTo>
                  <a:pt x="3282" y="2195"/>
                  <a:pt x="3304" y="2225"/>
                  <a:pt x="3330" y="2259"/>
                </a:cubicBezTo>
                <a:cubicBezTo>
                  <a:pt x="3364" y="2305"/>
                  <a:pt x="3403" y="2357"/>
                  <a:pt x="3458" y="2357"/>
                </a:cubicBezTo>
                <a:cubicBezTo>
                  <a:pt x="3489" y="2357"/>
                  <a:pt x="3507" y="2337"/>
                  <a:pt x="3518" y="2287"/>
                </a:cubicBezTo>
                <a:lnTo>
                  <a:pt x="3560" y="2445"/>
                </a:lnTo>
                <a:cubicBezTo>
                  <a:pt x="3551" y="2444"/>
                  <a:pt x="3544" y="2442"/>
                  <a:pt x="3538" y="2442"/>
                </a:cubicBezTo>
                <a:cubicBezTo>
                  <a:pt x="3533" y="2442"/>
                  <a:pt x="3523" y="2442"/>
                  <a:pt x="3517" y="2452"/>
                </a:cubicBezTo>
                <a:cubicBezTo>
                  <a:pt x="3503" y="2462"/>
                  <a:pt x="3438" y="2492"/>
                  <a:pt x="3410" y="2505"/>
                </a:cubicBezTo>
                <a:cubicBezTo>
                  <a:pt x="3408" y="2506"/>
                  <a:pt x="3409" y="2507"/>
                  <a:pt x="3407" y="2508"/>
                </a:cubicBezTo>
                <a:cubicBezTo>
                  <a:pt x="3408" y="2500"/>
                  <a:pt x="3411" y="2495"/>
                  <a:pt x="3411" y="2487"/>
                </a:cubicBezTo>
                <a:cubicBezTo>
                  <a:pt x="3411" y="2432"/>
                  <a:pt x="3389" y="2388"/>
                  <a:pt x="3362" y="2388"/>
                </a:cubicBezTo>
                <a:cubicBezTo>
                  <a:pt x="3335" y="2388"/>
                  <a:pt x="3313" y="2432"/>
                  <a:pt x="3313" y="2487"/>
                </a:cubicBezTo>
                <a:cubicBezTo>
                  <a:pt x="3313" y="2511"/>
                  <a:pt x="3318" y="2532"/>
                  <a:pt x="3326" y="2550"/>
                </a:cubicBezTo>
                <a:cubicBezTo>
                  <a:pt x="3309" y="2559"/>
                  <a:pt x="3294" y="2573"/>
                  <a:pt x="3275" y="2578"/>
                </a:cubicBezTo>
                <a:lnTo>
                  <a:pt x="3231" y="2526"/>
                </a:lnTo>
                <a:cubicBezTo>
                  <a:pt x="3232" y="2526"/>
                  <a:pt x="3233" y="2526"/>
                  <a:pt x="3235" y="2526"/>
                </a:cubicBezTo>
                <a:cubicBezTo>
                  <a:pt x="3239" y="2527"/>
                  <a:pt x="3243" y="2527"/>
                  <a:pt x="3247" y="2527"/>
                </a:cubicBezTo>
                <a:cubicBezTo>
                  <a:pt x="3252" y="2527"/>
                  <a:pt x="3258" y="2520"/>
                  <a:pt x="3260" y="2510"/>
                </a:cubicBezTo>
                <a:cubicBezTo>
                  <a:pt x="3263" y="2500"/>
                  <a:pt x="3262" y="2489"/>
                  <a:pt x="3259" y="2480"/>
                </a:cubicBezTo>
                <a:cubicBezTo>
                  <a:pt x="3254" y="2466"/>
                  <a:pt x="3249" y="2455"/>
                  <a:pt x="3243" y="2445"/>
                </a:cubicBezTo>
                <a:cubicBezTo>
                  <a:pt x="3234" y="2427"/>
                  <a:pt x="3227" y="2413"/>
                  <a:pt x="3225" y="2393"/>
                </a:cubicBezTo>
                <a:cubicBezTo>
                  <a:pt x="3224" y="2377"/>
                  <a:pt x="3216" y="2367"/>
                  <a:pt x="3208" y="2370"/>
                </a:cubicBezTo>
                <a:cubicBezTo>
                  <a:pt x="3193" y="2375"/>
                  <a:pt x="3180" y="2399"/>
                  <a:pt x="3175" y="2428"/>
                </a:cubicBezTo>
                <a:cubicBezTo>
                  <a:pt x="3167" y="2431"/>
                  <a:pt x="3160" y="2433"/>
                  <a:pt x="3154" y="2435"/>
                </a:cubicBezTo>
                <a:lnTo>
                  <a:pt x="3132" y="2410"/>
                </a:lnTo>
                <a:cubicBezTo>
                  <a:pt x="3143" y="2392"/>
                  <a:pt x="3150" y="2367"/>
                  <a:pt x="3150" y="2337"/>
                </a:cubicBezTo>
                <a:cubicBezTo>
                  <a:pt x="3150" y="2312"/>
                  <a:pt x="3144" y="2291"/>
                  <a:pt x="3137" y="2273"/>
                </a:cubicBezTo>
                <a:cubicBezTo>
                  <a:pt x="3138" y="2274"/>
                  <a:pt x="3138" y="2278"/>
                  <a:pt x="3139" y="2278"/>
                </a:cubicBezTo>
                <a:cubicBezTo>
                  <a:pt x="3152" y="2283"/>
                  <a:pt x="3165" y="2286"/>
                  <a:pt x="3172" y="2287"/>
                </a:cubicBezTo>
                <a:cubicBezTo>
                  <a:pt x="3173" y="2287"/>
                  <a:pt x="3174" y="2287"/>
                  <a:pt x="3174" y="2287"/>
                </a:cubicBezTo>
                <a:cubicBezTo>
                  <a:pt x="3181" y="2287"/>
                  <a:pt x="3188" y="2277"/>
                  <a:pt x="3189" y="2263"/>
                </a:cubicBezTo>
                <a:cubicBezTo>
                  <a:pt x="3190" y="2247"/>
                  <a:pt x="3185" y="2232"/>
                  <a:pt x="3177" y="2229"/>
                </a:cubicBezTo>
                <a:cubicBezTo>
                  <a:pt x="3165" y="2224"/>
                  <a:pt x="3153" y="2221"/>
                  <a:pt x="3143" y="2218"/>
                </a:cubicBezTo>
                <a:cubicBezTo>
                  <a:pt x="3135" y="2217"/>
                  <a:pt x="3128" y="2228"/>
                  <a:pt x="3126" y="2244"/>
                </a:cubicBezTo>
                <a:cubicBezTo>
                  <a:pt x="3126" y="2255"/>
                  <a:pt x="3131" y="2260"/>
                  <a:pt x="3135" y="2266"/>
                </a:cubicBezTo>
                <a:cubicBezTo>
                  <a:pt x="3126" y="2249"/>
                  <a:pt x="3115" y="2238"/>
                  <a:pt x="3101" y="2238"/>
                </a:cubicBezTo>
                <a:cubicBezTo>
                  <a:pt x="3091" y="2238"/>
                  <a:pt x="3082" y="2250"/>
                  <a:pt x="3074" y="2262"/>
                </a:cubicBezTo>
                <a:cubicBezTo>
                  <a:pt x="3074" y="2261"/>
                  <a:pt x="3074" y="2262"/>
                  <a:pt x="3074" y="2262"/>
                </a:cubicBezTo>
                <a:cubicBezTo>
                  <a:pt x="3069" y="2258"/>
                  <a:pt x="3064" y="2254"/>
                  <a:pt x="3060" y="2251"/>
                </a:cubicBezTo>
                <a:lnTo>
                  <a:pt x="3060" y="2236"/>
                </a:lnTo>
                <a:cubicBezTo>
                  <a:pt x="3071" y="2236"/>
                  <a:pt x="3079" y="2238"/>
                  <a:pt x="3081" y="2238"/>
                </a:cubicBezTo>
                <a:cubicBezTo>
                  <a:pt x="3083" y="2238"/>
                  <a:pt x="3087" y="2239"/>
                  <a:pt x="3091" y="2241"/>
                </a:cubicBezTo>
                <a:cubicBezTo>
                  <a:pt x="3099" y="2243"/>
                  <a:pt x="3106" y="2233"/>
                  <a:pt x="3107" y="2217"/>
                </a:cubicBezTo>
                <a:cubicBezTo>
                  <a:pt x="3109" y="2202"/>
                  <a:pt x="3105" y="2187"/>
                  <a:pt x="3097" y="2182"/>
                </a:cubicBezTo>
                <a:cubicBezTo>
                  <a:pt x="3103" y="2177"/>
                  <a:pt x="3110" y="2173"/>
                  <a:pt x="3115" y="2174"/>
                </a:cubicBezTo>
                <a:cubicBezTo>
                  <a:pt x="3115" y="2174"/>
                  <a:pt x="3117" y="2174"/>
                  <a:pt x="3117" y="2174"/>
                </a:cubicBezTo>
                <a:cubicBezTo>
                  <a:pt x="3124" y="2175"/>
                  <a:pt x="3131" y="2166"/>
                  <a:pt x="3133" y="2152"/>
                </a:cubicBezTo>
                <a:cubicBezTo>
                  <a:pt x="3134" y="2143"/>
                  <a:pt x="3133" y="2134"/>
                  <a:pt x="3130" y="2126"/>
                </a:cubicBezTo>
                <a:close/>
                <a:moveTo>
                  <a:pt x="16115" y="2126"/>
                </a:moveTo>
                <a:cubicBezTo>
                  <a:pt x="16104" y="2126"/>
                  <a:pt x="16096" y="2143"/>
                  <a:pt x="16096" y="2164"/>
                </a:cubicBezTo>
                <a:cubicBezTo>
                  <a:pt x="16096" y="2185"/>
                  <a:pt x="16104" y="2202"/>
                  <a:pt x="16115" y="2202"/>
                </a:cubicBezTo>
                <a:cubicBezTo>
                  <a:pt x="16125" y="2202"/>
                  <a:pt x="16134" y="2185"/>
                  <a:pt x="16134" y="2164"/>
                </a:cubicBezTo>
                <a:cubicBezTo>
                  <a:pt x="16134" y="2143"/>
                  <a:pt x="16125" y="2126"/>
                  <a:pt x="16115" y="2126"/>
                </a:cubicBezTo>
                <a:close/>
                <a:moveTo>
                  <a:pt x="13802" y="2133"/>
                </a:moveTo>
                <a:cubicBezTo>
                  <a:pt x="13809" y="2133"/>
                  <a:pt x="13816" y="2142"/>
                  <a:pt x="13825" y="2154"/>
                </a:cubicBezTo>
                <a:cubicBezTo>
                  <a:pt x="13836" y="2168"/>
                  <a:pt x="13848" y="2185"/>
                  <a:pt x="13866" y="2185"/>
                </a:cubicBezTo>
                <a:cubicBezTo>
                  <a:pt x="13878" y="2185"/>
                  <a:pt x="13892" y="2180"/>
                  <a:pt x="13905" y="2174"/>
                </a:cubicBezTo>
                <a:cubicBezTo>
                  <a:pt x="13911" y="2216"/>
                  <a:pt x="13927" y="2249"/>
                  <a:pt x="13950" y="2249"/>
                </a:cubicBezTo>
                <a:cubicBezTo>
                  <a:pt x="13977" y="2249"/>
                  <a:pt x="13999" y="2205"/>
                  <a:pt x="13999" y="2151"/>
                </a:cubicBezTo>
                <a:cubicBezTo>
                  <a:pt x="13999" y="2149"/>
                  <a:pt x="13998" y="2148"/>
                  <a:pt x="13998" y="2146"/>
                </a:cubicBezTo>
                <a:lnTo>
                  <a:pt x="14088" y="2184"/>
                </a:lnTo>
                <a:cubicBezTo>
                  <a:pt x="14071" y="2193"/>
                  <a:pt x="14057" y="2202"/>
                  <a:pt x="14046" y="2213"/>
                </a:cubicBezTo>
                <a:cubicBezTo>
                  <a:pt x="14010" y="2247"/>
                  <a:pt x="13980" y="2256"/>
                  <a:pt x="13948" y="2265"/>
                </a:cubicBezTo>
                <a:cubicBezTo>
                  <a:pt x="13930" y="2270"/>
                  <a:pt x="13911" y="2278"/>
                  <a:pt x="13891" y="2288"/>
                </a:cubicBezTo>
                <a:cubicBezTo>
                  <a:pt x="13886" y="2284"/>
                  <a:pt x="13882" y="2276"/>
                  <a:pt x="13875" y="2276"/>
                </a:cubicBezTo>
                <a:cubicBezTo>
                  <a:pt x="13849" y="2276"/>
                  <a:pt x="13828" y="2319"/>
                  <a:pt x="13827" y="2371"/>
                </a:cubicBezTo>
                <a:cubicBezTo>
                  <a:pt x="13821" y="2390"/>
                  <a:pt x="13815" y="2413"/>
                  <a:pt x="13808" y="2413"/>
                </a:cubicBezTo>
                <a:cubicBezTo>
                  <a:pt x="13771" y="2413"/>
                  <a:pt x="13751" y="2453"/>
                  <a:pt x="13734" y="2484"/>
                </a:cubicBezTo>
                <a:cubicBezTo>
                  <a:pt x="13724" y="2505"/>
                  <a:pt x="13715" y="2523"/>
                  <a:pt x="13703" y="2530"/>
                </a:cubicBezTo>
                <a:cubicBezTo>
                  <a:pt x="13692" y="2536"/>
                  <a:pt x="13681" y="2544"/>
                  <a:pt x="13669" y="2554"/>
                </a:cubicBezTo>
                <a:lnTo>
                  <a:pt x="13624" y="2386"/>
                </a:lnTo>
                <a:cubicBezTo>
                  <a:pt x="13625" y="2382"/>
                  <a:pt x="13627" y="2379"/>
                  <a:pt x="13627" y="2375"/>
                </a:cubicBezTo>
                <a:cubicBezTo>
                  <a:pt x="13627" y="2353"/>
                  <a:pt x="13621" y="2334"/>
                  <a:pt x="13615" y="2318"/>
                </a:cubicBezTo>
                <a:cubicBezTo>
                  <a:pt x="13620" y="2310"/>
                  <a:pt x="13625" y="2302"/>
                  <a:pt x="13629" y="2294"/>
                </a:cubicBezTo>
                <a:cubicBezTo>
                  <a:pt x="13662" y="2240"/>
                  <a:pt x="13696" y="2185"/>
                  <a:pt x="13734" y="2185"/>
                </a:cubicBezTo>
                <a:cubicBezTo>
                  <a:pt x="13752" y="2185"/>
                  <a:pt x="13761" y="2169"/>
                  <a:pt x="13770" y="2157"/>
                </a:cubicBezTo>
                <a:cubicBezTo>
                  <a:pt x="13778" y="2144"/>
                  <a:pt x="13784" y="2133"/>
                  <a:pt x="13802" y="2133"/>
                </a:cubicBezTo>
                <a:close/>
                <a:moveTo>
                  <a:pt x="3998" y="2147"/>
                </a:moveTo>
                <a:cubicBezTo>
                  <a:pt x="4009" y="2155"/>
                  <a:pt x="4022" y="2157"/>
                  <a:pt x="4036" y="2158"/>
                </a:cubicBezTo>
                <a:lnTo>
                  <a:pt x="4036" y="2163"/>
                </a:lnTo>
                <a:lnTo>
                  <a:pt x="4036" y="2188"/>
                </a:lnTo>
                <a:cubicBezTo>
                  <a:pt x="4021" y="2182"/>
                  <a:pt x="4010" y="2165"/>
                  <a:pt x="3998" y="2147"/>
                </a:cubicBezTo>
                <a:close/>
                <a:moveTo>
                  <a:pt x="18640" y="2150"/>
                </a:moveTo>
                <a:cubicBezTo>
                  <a:pt x="18665" y="2150"/>
                  <a:pt x="18743" y="2200"/>
                  <a:pt x="18794" y="2232"/>
                </a:cubicBezTo>
                <a:cubicBezTo>
                  <a:pt x="18806" y="2240"/>
                  <a:pt x="18818" y="2247"/>
                  <a:pt x="18827" y="2253"/>
                </a:cubicBezTo>
                <a:cubicBezTo>
                  <a:pt x="18823" y="2269"/>
                  <a:pt x="18818" y="2284"/>
                  <a:pt x="18813" y="2298"/>
                </a:cubicBezTo>
                <a:cubicBezTo>
                  <a:pt x="18808" y="2311"/>
                  <a:pt x="18804" y="2324"/>
                  <a:pt x="18801" y="2336"/>
                </a:cubicBezTo>
                <a:cubicBezTo>
                  <a:pt x="18803" y="2327"/>
                  <a:pt x="18807" y="2319"/>
                  <a:pt x="18807" y="2307"/>
                </a:cubicBezTo>
                <a:cubicBezTo>
                  <a:pt x="18807" y="2269"/>
                  <a:pt x="18792" y="2238"/>
                  <a:pt x="18773" y="2238"/>
                </a:cubicBezTo>
                <a:cubicBezTo>
                  <a:pt x="18754" y="2238"/>
                  <a:pt x="18739" y="2269"/>
                  <a:pt x="18739" y="2307"/>
                </a:cubicBezTo>
                <a:cubicBezTo>
                  <a:pt x="18739" y="2323"/>
                  <a:pt x="18742" y="2336"/>
                  <a:pt x="18747" y="2348"/>
                </a:cubicBezTo>
                <a:cubicBezTo>
                  <a:pt x="18738" y="2351"/>
                  <a:pt x="18730" y="2359"/>
                  <a:pt x="18723" y="2368"/>
                </a:cubicBezTo>
                <a:cubicBezTo>
                  <a:pt x="18715" y="2378"/>
                  <a:pt x="18709" y="2388"/>
                  <a:pt x="18700" y="2388"/>
                </a:cubicBezTo>
                <a:cubicBezTo>
                  <a:pt x="18698" y="2388"/>
                  <a:pt x="18693" y="2379"/>
                  <a:pt x="18690" y="2374"/>
                </a:cubicBezTo>
                <a:cubicBezTo>
                  <a:pt x="18684" y="2361"/>
                  <a:pt x="18674" y="2344"/>
                  <a:pt x="18661" y="2344"/>
                </a:cubicBezTo>
                <a:cubicBezTo>
                  <a:pt x="18656" y="2344"/>
                  <a:pt x="18653" y="2349"/>
                  <a:pt x="18648" y="2353"/>
                </a:cubicBezTo>
                <a:cubicBezTo>
                  <a:pt x="18670" y="2343"/>
                  <a:pt x="18688" y="2310"/>
                  <a:pt x="18688" y="2263"/>
                </a:cubicBezTo>
                <a:cubicBezTo>
                  <a:pt x="18688" y="2208"/>
                  <a:pt x="18666" y="2164"/>
                  <a:pt x="18639" y="2164"/>
                </a:cubicBezTo>
                <a:cubicBezTo>
                  <a:pt x="18633" y="2164"/>
                  <a:pt x="18630" y="2173"/>
                  <a:pt x="18625" y="2177"/>
                </a:cubicBezTo>
                <a:cubicBezTo>
                  <a:pt x="18628" y="2162"/>
                  <a:pt x="18632" y="2150"/>
                  <a:pt x="18640" y="2150"/>
                </a:cubicBezTo>
                <a:close/>
                <a:moveTo>
                  <a:pt x="2950" y="2151"/>
                </a:moveTo>
                <a:cubicBezTo>
                  <a:pt x="2954" y="2173"/>
                  <a:pt x="2961" y="2197"/>
                  <a:pt x="2972" y="2214"/>
                </a:cubicBezTo>
                <a:cubicBezTo>
                  <a:pt x="2962" y="2216"/>
                  <a:pt x="2951" y="2220"/>
                  <a:pt x="2940" y="2227"/>
                </a:cubicBezTo>
                <a:cubicBezTo>
                  <a:pt x="2939" y="2227"/>
                  <a:pt x="2939" y="2228"/>
                  <a:pt x="2939" y="2228"/>
                </a:cubicBezTo>
                <a:cubicBezTo>
                  <a:pt x="2939" y="2228"/>
                  <a:pt x="2939" y="2228"/>
                  <a:pt x="2939" y="2228"/>
                </a:cubicBezTo>
                <a:cubicBezTo>
                  <a:pt x="2938" y="2228"/>
                  <a:pt x="2938" y="2229"/>
                  <a:pt x="2937" y="2229"/>
                </a:cubicBezTo>
                <a:cubicBezTo>
                  <a:pt x="2937" y="2229"/>
                  <a:pt x="2937" y="2229"/>
                  <a:pt x="2936" y="2229"/>
                </a:cubicBezTo>
                <a:cubicBezTo>
                  <a:pt x="2936" y="2229"/>
                  <a:pt x="2936" y="2229"/>
                  <a:pt x="2936" y="2229"/>
                </a:cubicBezTo>
                <a:cubicBezTo>
                  <a:pt x="2928" y="2234"/>
                  <a:pt x="2922" y="2240"/>
                  <a:pt x="2916" y="2246"/>
                </a:cubicBezTo>
                <a:cubicBezTo>
                  <a:pt x="2913" y="2238"/>
                  <a:pt x="2911" y="2232"/>
                  <a:pt x="2907" y="2225"/>
                </a:cubicBezTo>
                <a:cubicBezTo>
                  <a:pt x="2924" y="2210"/>
                  <a:pt x="2940" y="2187"/>
                  <a:pt x="2950" y="2151"/>
                </a:cubicBezTo>
                <a:close/>
                <a:moveTo>
                  <a:pt x="3949" y="2163"/>
                </a:moveTo>
                <a:cubicBezTo>
                  <a:pt x="3960" y="2169"/>
                  <a:pt x="3970" y="2182"/>
                  <a:pt x="3980" y="2196"/>
                </a:cubicBezTo>
                <a:cubicBezTo>
                  <a:pt x="3998" y="2222"/>
                  <a:pt x="4019" y="2251"/>
                  <a:pt x="4051" y="2251"/>
                </a:cubicBezTo>
                <a:cubicBezTo>
                  <a:pt x="4059" y="2251"/>
                  <a:pt x="4066" y="2237"/>
                  <a:pt x="4066" y="2221"/>
                </a:cubicBezTo>
                <a:lnTo>
                  <a:pt x="4066" y="2200"/>
                </a:lnTo>
                <a:lnTo>
                  <a:pt x="4176" y="2244"/>
                </a:lnTo>
                <a:cubicBezTo>
                  <a:pt x="4175" y="2255"/>
                  <a:pt x="4174" y="2267"/>
                  <a:pt x="4172" y="2278"/>
                </a:cubicBezTo>
                <a:cubicBezTo>
                  <a:pt x="4166" y="2318"/>
                  <a:pt x="4160" y="2364"/>
                  <a:pt x="4162" y="2425"/>
                </a:cubicBezTo>
                <a:cubicBezTo>
                  <a:pt x="4136" y="2437"/>
                  <a:pt x="4104" y="2438"/>
                  <a:pt x="4093" y="2438"/>
                </a:cubicBezTo>
                <a:cubicBezTo>
                  <a:pt x="4091" y="2438"/>
                  <a:pt x="4087" y="2438"/>
                  <a:pt x="4082" y="2439"/>
                </a:cubicBezTo>
                <a:cubicBezTo>
                  <a:pt x="4075" y="2440"/>
                  <a:pt x="4066" y="2441"/>
                  <a:pt x="4058" y="2441"/>
                </a:cubicBezTo>
                <a:cubicBezTo>
                  <a:pt x="4050" y="2441"/>
                  <a:pt x="4045" y="2440"/>
                  <a:pt x="4042" y="2439"/>
                </a:cubicBezTo>
                <a:cubicBezTo>
                  <a:pt x="4043" y="2436"/>
                  <a:pt x="4045" y="2433"/>
                  <a:pt x="4047" y="2431"/>
                </a:cubicBezTo>
                <a:cubicBezTo>
                  <a:pt x="4053" y="2424"/>
                  <a:pt x="4057" y="2409"/>
                  <a:pt x="4054" y="2395"/>
                </a:cubicBezTo>
                <a:cubicBezTo>
                  <a:pt x="4053" y="2388"/>
                  <a:pt x="4053" y="2377"/>
                  <a:pt x="4054" y="2370"/>
                </a:cubicBezTo>
                <a:cubicBezTo>
                  <a:pt x="4055" y="2367"/>
                  <a:pt x="4055" y="2367"/>
                  <a:pt x="4055" y="2364"/>
                </a:cubicBezTo>
                <a:cubicBezTo>
                  <a:pt x="4057" y="2359"/>
                  <a:pt x="4067" y="2353"/>
                  <a:pt x="4074" y="2349"/>
                </a:cubicBezTo>
                <a:cubicBezTo>
                  <a:pt x="4085" y="2342"/>
                  <a:pt x="4096" y="2334"/>
                  <a:pt x="4104" y="2319"/>
                </a:cubicBezTo>
                <a:cubicBezTo>
                  <a:pt x="4107" y="2312"/>
                  <a:pt x="4109" y="2303"/>
                  <a:pt x="4109" y="2294"/>
                </a:cubicBezTo>
                <a:cubicBezTo>
                  <a:pt x="4108" y="2285"/>
                  <a:pt x="4105" y="2278"/>
                  <a:pt x="4102" y="2273"/>
                </a:cubicBezTo>
                <a:cubicBezTo>
                  <a:pt x="4092" y="2260"/>
                  <a:pt x="4078" y="2255"/>
                  <a:pt x="4068" y="2255"/>
                </a:cubicBezTo>
                <a:cubicBezTo>
                  <a:pt x="4048" y="2255"/>
                  <a:pt x="4021" y="2265"/>
                  <a:pt x="3992" y="2276"/>
                </a:cubicBezTo>
                <a:cubicBezTo>
                  <a:pt x="3988" y="2277"/>
                  <a:pt x="3985" y="2279"/>
                  <a:pt x="3981" y="2280"/>
                </a:cubicBezTo>
                <a:cubicBezTo>
                  <a:pt x="3987" y="2277"/>
                  <a:pt x="3991" y="2266"/>
                  <a:pt x="3992" y="2255"/>
                </a:cubicBezTo>
                <a:cubicBezTo>
                  <a:pt x="3993" y="2243"/>
                  <a:pt x="3990" y="2232"/>
                  <a:pt x="3985" y="2225"/>
                </a:cubicBezTo>
                <a:cubicBezTo>
                  <a:pt x="3971" y="2208"/>
                  <a:pt x="3957" y="2185"/>
                  <a:pt x="3949" y="2168"/>
                </a:cubicBezTo>
                <a:cubicBezTo>
                  <a:pt x="3949" y="2168"/>
                  <a:pt x="3949" y="2163"/>
                  <a:pt x="3949" y="2163"/>
                </a:cubicBezTo>
                <a:close/>
                <a:moveTo>
                  <a:pt x="18286" y="2181"/>
                </a:moveTo>
                <a:cubicBezTo>
                  <a:pt x="18281" y="2182"/>
                  <a:pt x="18278" y="2185"/>
                  <a:pt x="18275" y="2192"/>
                </a:cubicBezTo>
                <a:lnTo>
                  <a:pt x="18273" y="2198"/>
                </a:lnTo>
                <a:cubicBezTo>
                  <a:pt x="18271" y="2202"/>
                  <a:pt x="18269" y="2206"/>
                  <a:pt x="18267" y="2210"/>
                </a:cubicBezTo>
                <a:cubicBezTo>
                  <a:pt x="18267" y="2211"/>
                  <a:pt x="18267" y="2211"/>
                  <a:pt x="18267" y="2211"/>
                </a:cubicBezTo>
                <a:cubicBezTo>
                  <a:pt x="18267" y="2212"/>
                  <a:pt x="18266" y="2212"/>
                  <a:pt x="18266" y="2213"/>
                </a:cubicBezTo>
                <a:cubicBezTo>
                  <a:pt x="18265" y="2217"/>
                  <a:pt x="18263" y="2220"/>
                  <a:pt x="18262" y="2224"/>
                </a:cubicBezTo>
                <a:cubicBezTo>
                  <a:pt x="18262" y="2225"/>
                  <a:pt x="18262" y="2225"/>
                  <a:pt x="18262" y="2225"/>
                </a:cubicBezTo>
                <a:cubicBezTo>
                  <a:pt x="18260" y="2232"/>
                  <a:pt x="18261" y="2238"/>
                  <a:pt x="18259" y="2244"/>
                </a:cubicBezTo>
                <a:cubicBezTo>
                  <a:pt x="18257" y="2243"/>
                  <a:pt x="18255" y="2238"/>
                  <a:pt x="18252" y="2238"/>
                </a:cubicBezTo>
                <a:cubicBezTo>
                  <a:pt x="18233" y="2238"/>
                  <a:pt x="18217" y="2269"/>
                  <a:pt x="18217" y="2307"/>
                </a:cubicBezTo>
                <a:cubicBezTo>
                  <a:pt x="18217" y="2345"/>
                  <a:pt x="18233" y="2375"/>
                  <a:pt x="18252" y="2375"/>
                </a:cubicBezTo>
                <a:cubicBezTo>
                  <a:pt x="18265" y="2375"/>
                  <a:pt x="18274" y="2357"/>
                  <a:pt x="18280" y="2335"/>
                </a:cubicBezTo>
                <a:cubicBezTo>
                  <a:pt x="18281" y="2335"/>
                  <a:pt x="18281" y="2337"/>
                  <a:pt x="18282" y="2337"/>
                </a:cubicBezTo>
                <a:cubicBezTo>
                  <a:pt x="18284" y="2338"/>
                  <a:pt x="18285" y="2339"/>
                  <a:pt x="18287" y="2339"/>
                </a:cubicBezTo>
                <a:cubicBezTo>
                  <a:pt x="18289" y="2339"/>
                  <a:pt x="18291" y="2337"/>
                  <a:pt x="18292" y="2336"/>
                </a:cubicBezTo>
                <a:cubicBezTo>
                  <a:pt x="18293" y="2336"/>
                  <a:pt x="18293" y="2336"/>
                  <a:pt x="18293" y="2336"/>
                </a:cubicBezTo>
                <a:cubicBezTo>
                  <a:pt x="18312" y="2329"/>
                  <a:pt x="18318" y="2293"/>
                  <a:pt x="18320" y="2270"/>
                </a:cubicBezTo>
                <a:cubicBezTo>
                  <a:pt x="18322" y="2265"/>
                  <a:pt x="18323" y="2260"/>
                  <a:pt x="18323" y="2253"/>
                </a:cubicBezTo>
                <a:cubicBezTo>
                  <a:pt x="18323" y="2251"/>
                  <a:pt x="18323" y="2249"/>
                  <a:pt x="18323" y="2246"/>
                </a:cubicBezTo>
                <a:cubicBezTo>
                  <a:pt x="18323" y="2239"/>
                  <a:pt x="18322" y="2231"/>
                  <a:pt x="18319" y="2225"/>
                </a:cubicBezTo>
                <a:cubicBezTo>
                  <a:pt x="18317" y="2220"/>
                  <a:pt x="18314" y="2216"/>
                  <a:pt x="18310" y="2215"/>
                </a:cubicBezTo>
                <a:lnTo>
                  <a:pt x="18297" y="2189"/>
                </a:lnTo>
                <a:cubicBezTo>
                  <a:pt x="18294" y="2183"/>
                  <a:pt x="18290" y="2181"/>
                  <a:pt x="18286" y="2181"/>
                </a:cubicBezTo>
                <a:close/>
                <a:moveTo>
                  <a:pt x="18531" y="2185"/>
                </a:moveTo>
                <a:cubicBezTo>
                  <a:pt x="18532" y="2187"/>
                  <a:pt x="18533" y="2188"/>
                  <a:pt x="18534" y="2191"/>
                </a:cubicBezTo>
                <a:cubicBezTo>
                  <a:pt x="18548" y="2220"/>
                  <a:pt x="18566" y="2247"/>
                  <a:pt x="18591" y="2257"/>
                </a:cubicBezTo>
                <a:cubicBezTo>
                  <a:pt x="18591" y="2259"/>
                  <a:pt x="18590" y="2261"/>
                  <a:pt x="18590" y="2263"/>
                </a:cubicBezTo>
                <a:cubicBezTo>
                  <a:pt x="18590" y="2317"/>
                  <a:pt x="18612" y="2359"/>
                  <a:pt x="18638" y="2360"/>
                </a:cubicBezTo>
                <a:cubicBezTo>
                  <a:pt x="18637" y="2362"/>
                  <a:pt x="18634" y="2362"/>
                  <a:pt x="18632" y="2364"/>
                </a:cubicBezTo>
                <a:cubicBezTo>
                  <a:pt x="18626" y="2371"/>
                  <a:pt x="18623" y="2375"/>
                  <a:pt x="18619" y="2375"/>
                </a:cubicBezTo>
                <a:cubicBezTo>
                  <a:pt x="18609" y="2375"/>
                  <a:pt x="18601" y="2383"/>
                  <a:pt x="18594" y="2392"/>
                </a:cubicBezTo>
                <a:cubicBezTo>
                  <a:pt x="18587" y="2400"/>
                  <a:pt x="18580" y="2409"/>
                  <a:pt x="18572" y="2409"/>
                </a:cubicBezTo>
                <a:cubicBezTo>
                  <a:pt x="18559" y="2409"/>
                  <a:pt x="18554" y="2400"/>
                  <a:pt x="18545" y="2377"/>
                </a:cubicBezTo>
                <a:cubicBezTo>
                  <a:pt x="18542" y="2371"/>
                  <a:pt x="18539" y="2367"/>
                  <a:pt x="18535" y="2367"/>
                </a:cubicBezTo>
                <a:cubicBezTo>
                  <a:pt x="18531" y="2366"/>
                  <a:pt x="18527" y="2368"/>
                  <a:pt x="18524" y="2374"/>
                </a:cubicBezTo>
                <a:cubicBezTo>
                  <a:pt x="18520" y="2381"/>
                  <a:pt x="18516" y="2389"/>
                  <a:pt x="18512" y="2397"/>
                </a:cubicBezTo>
                <a:cubicBezTo>
                  <a:pt x="18502" y="2417"/>
                  <a:pt x="18496" y="2431"/>
                  <a:pt x="18487" y="2431"/>
                </a:cubicBezTo>
                <a:cubicBezTo>
                  <a:pt x="18441" y="2431"/>
                  <a:pt x="18399" y="2358"/>
                  <a:pt x="18397" y="2276"/>
                </a:cubicBezTo>
                <a:cubicBezTo>
                  <a:pt x="18410" y="2318"/>
                  <a:pt x="18432" y="2348"/>
                  <a:pt x="18459" y="2348"/>
                </a:cubicBezTo>
                <a:cubicBezTo>
                  <a:pt x="18500" y="2348"/>
                  <a:pt x="18533" y="2282"/>
                  <a:pt x="18533" y="2200"/>
                </a:cubicBezTo>
                <a:cubicBezTo>
                  <a:pt x="18533" y="2194"/>
                  <a:pt x="18531" y="2190"/>
                  <a:pt x="18531" y="2185"/>
                </a:cubicBezTo>
                <a:close/>
                <a:moveTo>
                  <a:pt x="2701" y="2205"/>
                </a:moveTo>
                <a:lnTo>
                  <a:pt x="2728" y="2214"/>
                </a:lnTo>
                <a:cubicBezTo>
                  <a:pt x="2719" y="2217"/>
                  <a:pt x="2713" y="2226"/>
                  <a:pt x="2708" y="2234"/>
                </a:cubicBezTo>
                <a:cubicBezTo>
                  <a:pt x="2707" y="2236"/>
                  <a:pt x="2705" y="2238"/>
                  <a:pt x="2704" y="2239"/>
                </a:cubicBezTo>
                <a:cubicBezTo>
                  <a:pt x="2701" y="2230"/>
                  <a:pt x="2698" y="2223"/>
                  <a:pt x="2695" y="2216"/>
                </a:cubicBezTo>
                <a:cubicBezTo>
                  <a:pt x="2697" y="2213"/>
                  <a:pt x="2699" y="2209"/>
                  <a:pt x="2701" y="2205"/>
                </a:cubicBezTo>
                <a:close/>
                <a:moveTo>
                  <a:pt x="15683" y="2216"/>
                </a:moveTo>
                <a:lnTo>
                  <a:pt x="15782" y="2300"/>
                </a:lnTo>
                <a:cubicBezTo>
                  <a:pt x="15781" y="2304"/>
                  <a:pt x="15780" y="2308"/>
                  <a:pt x="15780" y="2313"/>
                </a:cubicBezTo>
                <a:cubicBezTo>
                  <a:pt x="15780" y="2334"/>
                  <a:pt x="15788" y="2351"/>
                  <a:pt x="15798" y="2351"/>
                </a:cubicBezTo>
                <a:cubicBezTo>
                  <a:pt x="15806" y="2351"/>
                  <a:pt x="15812" y="2341"/>
                  <a:pt x="15815" y="2328"/>
                </a:cubicBezTo>
                <a:lnTo>
                  <a:pt x="15875" y="2378"/>
                </a:lnTo>
                <a:cubicBezTo>
                  <a:pt x="15874" y="2381"/>
                  <a:pt x="15873" y="2384"/>
                  <a:pt x="15873" y="2388"/>
                </a:cubicBezTo>
                <a:cubicBezTo>
                  <a:pt x="15873" y="2408"/>
                  <a:pt x="15881" y="2426"/>
                  <a:pt x="15891" y="2426"/>
                </a:cubicBezTo>
                <a:cubicBezTo>
                  <a:pt x="15898" y="2426"/>
                  <a:pt x="15903" y="2417"/>
                  <a:pt x="15907" y="2406"/>
                </a:cubicBezTo>
                <a:lnTo>
                  <a:pt x="15926" y="2423"/>
                </a:lnTo>
                <a:lnTo>
                  <a:pt x="15957" y="2448"/>
                </a:lnTo>
                <a:cubicBezTo>
                  <a:pt x="15951" y="2460"/>
                  <a:pt x="15947" y="2476"/>
                  <a:pt x="15947" y="2494"/>
                </a:cubicBezTo>
                <a:cubicBezTo>
                  <a:pt x="15947" y="2531"/>
                  <a:pt x="15963" y="2561"/>
                  <a:pt x="15982" y="2561"/>
                </a:cubicBezTo>
                <a:cubicBezTo>
                  <a:pt x="16000" y="2561"/>
                  <a:pt x="16014" y="2533"/>
                  <a:pt x="16015" y="2497"/>
                </a:cubicBezTo>
                <a:lnTo>
                  <a:pt x="16556" y="2954"/>
                </a:lnTo>
                <a:cubicBezTo>
                  <a:pt x="16538" y="2962"/>
                  <a:pt x="16524" y="2989"/>
                  <a:pt x="16524" y="3026"/>
                </a:cubicBezTo>
                <a:cubicBezTo>
                  <a:pt x="16524" y="3070"/>
                  <a:pt x="16542" y="3106"/>
                  <a:pt x="16564" y="3106"/>
                </a:cubicBezTo>
                <a:cubicBezTo>
                  <a:pt x="16585" y="3106"/>
                  <a:pt x="16603" y="3070"/>
                  <a:pt x="16603" y="3026"/>
                </a:cubicBezTo>
                <a:cubicBezTo>
                  <a:pt x="16603" y="3011"/>
                  <a:pt x="16599" y="3000"/>
                  <a:pt x="16595" y="2988"/>
                </a:cubicBezTo>
                <a:lnTo>
                  <a:pt x="16712" y="3087"/>
                </a:lnTo>
                <a:cubicBezTo>
                  <a:pt x="16712" y="3090"/>
                  <a:pt x="16710" y="3092"/>
                  <a:pt x="16710" y="3095"/>
                </a:cubicBezTo>
                <a:cubicBezTo>
                  <a:pt x="16710" y="3115"/>
                  <a:pt x="16718" y="3132"/>
                  <a:pt x="16728" y="3132"/>
                </a:cubicBezTo>
                <a:cubicBezTo>
                  <a:pt x="16735" y="3132"/>
                  <a:pt x="16740" y="3124"/>
                  <a:pt x="16743" y="3113"/>
                </a:cubicBezTo>
                <a:lnTo>
                  <a:pt x="17042" y="3366"/>
                </a:lnTo>
                <a:cubicBezTo>
                  <a:pt x="17033" y="3374"/>
                  <a:pt x="17027" y="3389"/>
                  <a:pt x="17027" y="3410"/>
                </a:cubicBezTo>
                <a:cubicBezTo>
                  <a:pt x="17027" y="3439"/>
                  <a:pt x="17038" y="3464"/>
                  <a:pt x="17053" y="3464"/>
                </a:cubicBezTo>
                <a:cubicBezTo>
                  <a:pt x="17067" y="3464"/>
                  <a:pt x="17079" y="3439"/>
                  <a:pt x="17079" y="3410"/>
                </a:cubicBezTo>
                <a:cubicBezTo>
                  <a:pt x="17079" y="3404"/>
                  <a:pt x="17077" y="3400"/>
                  <a:pt x="17076" y="3395"/>
                </a:cubicBezTo>
                <a:lnTo>
                  <a:pt x="17165" y="3469"/>
                </a:lnTo>
                <a:lnTo>
                  <a:pt x="16997" y="3656"/>
                </a:lnTo>
                <a:lnTo>
                  <a:pt x="16997" y="3656"/>
                </a:lnTo>
                <a:cubicBezTo>
                  <a:pt x="16988" y="3656"/>
                  <a:pt x="16981" y="3666"/>
                  <a:pt x="16977" y="3679"/>
                </a:cubicBezTo>
                <a:lnTo>
                  <a:pt x="16530" y="4178"/>
                </a:lnTo>
                <a:cubicBezTo>
                  <a:pt x="16524" y="4157"/>
                  <a:pt x="16515" y="4141"/>
                  <a:pt x="16503" y="4141"/>
                </a:cubicBezTo>
                <a:cubicBezTo>
                  <a:pt x="16484" y="4141"/>
                  <a:pt x="16468" y="4172"/>
                  <a:pt x="16468" y="4210"/>
                </a:cubicBezTo>
                <a:cubicBezTo>
                  <a:pt x="16468" y="4222"/>
                  <a:pt x="16472" y="4230"/>
                  <a:pt x="16475" y="4240"/>
                </a:cubicBezTo>
                <a:lnTo>
                  <a:pt x="16386" y="4338"/>
                </a:lnTo>
                <a:cubicBezTo>
                  <a:pt x="16381" y="4334"/>
                  <a:pt x="16378" y="4327"/>
                  <a:pt x="16372" y="4327"/>
                </a:cubicBezTo>
                <a:cubicBezTo>
                  <a:pt x="16355" y="4327"/>
                  <a:pt x="16341" y="4356"/>
                  <a:pt x="16339" y="4390"/>
                </a:cubicBezTo>
                <a:lnTo>
                  <a:pt x="16287" y="4449"/>
                </a:lnTo>
                <a:lnTo>
                  <a:pt x="16218" y="4526"/>
                </a:lnTo>
                <a:cubicBezTo>
                  <a:pt x="16214" y="4521"/>
                  <a:pt x="16210" y="4514"/>
                  <a:pt x="16205" y="4514"/>
                </a:cubicBezTo>
                <a:cubicBezTo>
                  <a:pt x="16187" y="4514"/>
                  <a:pt x="16173" y="4542"/>
                  <a:pt x="16172" y="4577"/>
                </a:cubicBezTo>
                <a:lnTo>
                  <a:pt x="16040" y="4724"/>
                </a:lnTo>
                <a:cubicBezTo>
                  <a:pt x="16029" y="4710"/>
                  <a:pt x="16017" y="4700"/>
                  <a:pt x="16003" y="4700"/>
                </a:cubicBezTo>
                <a:cubicBezTo>
                  <a:pt x="15962" y="4700"/>
                  <a:pt x="15929" y="4767"/>
                  <a:pt x="15929" y="4848"/>
                </a:cubicBezTo>
                <a:lnTo>
                  <a:pt x="15766" y="5029"/>
                </a:lnTo>
                <a:cubicBezTo>
                  <a:pt x="15754" y="5011"/>
                  <a:pt x="15740" y="4999"/>
                  <a:pt x="15723" y="4999"/>
                </a:cubicBezTo>
                <a:cubicBezTo>
                  <a:pt x="15683" y="4999"/>
                  <a:pt x="15650" y="5065"/>
                  <a:pt x="15650" y="5147"/>
                </a:cubicBezTo>
                <a:cubicBezTo>
                  <a:pt x="15650" y="5151"/>
                  <a:pt x="15651" y="5154"/>
                  <a:pt x="15651" y="5159"/>
                </a:cubicBezTo>
                <a:lnTo>
                  <a:pt x="15538" y="5284"/>
                </a:lnTo>
                <a:lnTo>
                  <a:pt x="15529" y="4781"/>
                </a:lnTo>
                <a:cubicBezTo>
                  <a:pt x="15530" y="4777"/>
                  <a:pt x="15532" y="4774"/>
                  <a:pt x="15532" y="4769"/>
                </a:cubicBezTo>
                <a:cubicBezTo>
                  <a:pt x="15532" y="4764"/>
                  <a:pt x="15529" y="4760"/>
                  <a:pt x="15529" y="4755"/>
                </a:cubicBezTo>
                <a:lnTo>
                  <a:pt x="15520" y="4280"/>
                </a:lnTo>
                <a:cubicBezTo>
                  <a:pt x="15533" y="4262"/>
                  <a:pt x="15543" y="4236"/>
                  <a:pt x="15543" y="4203"/>
                </a:cubicBezTo>
                <a:cubicBezTo>
                  <a:pt x="15543" y="4167"/>
                  <a:pt x="15532" y="4141"/>
                  <a:pt x="15518" y="4123"/>
                </a:cubicBezTo>
                <a:lnTo>
                  <a:pt x="15511" y="3739"/>
                </a:lnTo>
                <a:cubicBezTo>
                  <a:pt x="15530" y="3731"/>
                  <a:pt x="15545" y="3702"/>
                  <a:pt x="15545" y="3663"/>
                </a:cubicBezTo>
                <a:cubicBezTo>
                  <a:pt x="15545" y="3621"/>
                  <a:pt x="15529" y="3590"/>
                  <a:pt x="15508" y="3585"/>
                </a:cubicBezTo>
                <a:lnTo>
                  <a:pt x="15502" y="3233"/>
                </a:lnTo>
                <a:cubicBezTo>
                  <a:pt x="15511" y="3223"/>
                  <a:pt x="15518" y="3209"/>
                  <a:pt x="15518" y="3188"/>
                </a:cubicBezTo>
                <a:cubicBezTo>
                  <a:pt x="15518" y="3166"/>
                  <a:pt x="15510" y="3150"/>
                  <a:pt x="15501" y="3142"/>
                </a:cubicBezTo>
                <a:lnTo>
                  <a:pt x="15496" y="2896"/>
                </a:lnTo>
                <a:cubicBezTo>
                  <a:pt x="15497" y="2896"/>
                  <a:pt x="15497" y="2897"/>
                  <a:pt x="15498" y="2897"/>
                </a:cubicBezTo>
                <a:cubicBezTo>
                  <a:pt x="15517" y="2897"/>
                  <a:pt x="15532" y="2867"/>
                  <a:pt x="15532" y="2829"/>
                </a:cubicBezTo>
                <a:cubicBezTo>
                  <a:pt x="15532" y="2792"/>
                  <a:pt x="15517" y="2761"/>
                  <a:pt x="15498" y="2761"/>
                </a:cubicBezTo>
                <a:cubicBezTo>
                  <a:pt x="15496" y="2761"/>
                  <a:pt x="15495" y="2764"/>
                  <a:pt x="15494" y="2764"/>
                </a:cubicBezTo>
                <a:lnTo>
                  <a:pt x="15491" y="2585"/>
                </a:lnTo>
                <a:cubicBezTo>
                  <a:pt x="15492" y="2579"/>
                  <a:pt x="15494" y="2575"/>
                  <a:pt x="15494" y="2568"/>
                </a:cubicBezTo>
                <a:cubicBezTo>
                  <a:pt x="15494" y="2561"/>
                  <a:pt x="15491" y="2555"/>
                  <a:pt x="15490" y="2548"/>
                </a:cubicBezTo>
                <a:lnTo>
                  <a:pt x="15487" y="2348"/>
                </a:lnTo>
                <a:cubicBezTo>
                  <a:pt x="15504" y="2332"/>
                  <a:pt x="15524" y="2318"/>
                  <a:pt x="15543" y="2304"/>
                </a:cubicBezTo>
                <a:cubicBezTo>
                  <a:pt x="15548" y="2335"/>
                  <a:pt x="15560" y="2360"/>
                  <a:pt x="15577" y="2360"/>
                </a:cubicBezTo>
                <a:cubicBezTo>
                  <a:pt x="15599" y="2360"/>
                  <a:pt x="15617" y="2324"/>
                  <a:pt x="15617" y="2280"/>
                </a:cubicBezTo>
                <a:cubicBezTo>
                  <a:pt x="15617" y="2271"/>
                  <a:pt x="15614" y="2265"/>
                  <a:pt x="15612" y="2257"/>
                </a:cubicBezTo>
                <a:cubicBezTo>
                  <a:pt x="15635" y="2243"/>
                  <a:pt x="15657" y="2228"/>
                  <a:pt x="15683" y="2216"/>
                </a:cubicBezTo>
                <a:close/>
                <a:moveTo>
                  <a:pt x="3499" y="2217"/>
                </a:moveTo>
                <a:lnTo>
                  <a:pt x="3506" y="2242"/>
                </a:lnTo>
                <a:cubicBezTo>
                  <a:pt x="3504" y="2242"/>
                  <a:pt x="3501" y="2242"/>
                  <a:pt x="3499" y="2242"/>
                </a:cubicBezTo>
                <a:lnTo>
                  <a:pt x="3499" y="2217"/>
                </a:lnTo>
                <a:close/>
                <a:moveTo>
                  <a:pt x="2810" y="2242"/>
                </a:moveTo>
                <a:lnTo>
                  <a:pt x="2839" y="2251"/>
                </a:lnTo>
                <a:cubicBezTo>
                  <a:pt x="2837" y="2257"/>
                  <a:pt x="2836" y="2263"/>
                  <a:pt x="2835" y="2270"/>
                </a:cubicBezTo>
                <a:cubicBezTo>
                  <a:pt x="2833" y="2272"/>
                  <a:pt x="2831" y="2277"/>
                  <a:pt x="2829" y="2277"/>
                </a:cubicBezTo>
                <a:cubicBezTo>
                  <a:pt x="2824" y="2277"/>
                  <a:pt x="2815" y="2260"/>
                  <a:pt x="2810" y="2242"/>
                </a:cubicBezTo>
                <a:close/>
                <a:moveTo>
                  <a:pt x="18967" y="2262"/>
                </a:moveTo>
                <a:cubicBezTo>
                  <a:pt x="18961" y="2252"/>
                  <a:pt x="18951" y="2253"/>
                  <a:pt x="18946" y="2266"/>
                </a:cubicBezTo>
                <a:cubicBezTo>
                  <a:pt x="18941" y="2279"/>
                  <a:pt x="18942" y="2298"/>
                  <a:pt x="18948" y="2308"/>
                </a:cubicBezTo>
                <a:cubicBezTo>
                  <a:pt x="18948" y="2308"/>
                  <a:pt x="18965" y="2334"/>
                  <a:pt x="18965" y="2334"/>
                </a:cubicBezTo>
                <a:cubicBezTo>
                  <a:pt x="18965" y="2338"/>
                  <a:pt x="18967" y="2343"/>
                  <a:pt x="18968" y="2347"/>
                </a:cubicBezTo>
                <a:cubicBezTo>
                  <a:pt x="18966" y="2357"/>
                  <a:pt x="18962" y="2364"/>
                  <a:pt x="18962" y="2375"/>
                </a:cubicBezTo>
                <a:cubicBezTo>
                  <a:pt x="18962" y="2429"/>
                  <a:pt x="18984" y="2473"/>
                  <a:pt x="19011" y="2473"/>
                </a:cubicBezTo>
                <a:cubicBezTo>
                  <a:pt x="19017" y="2473"/>
                  <a:pt x="19021" y="2464"/>
                  <a:pt x="19027" y="2460"/>
                </a:cubicBezTo>
                <a:cubicBezTo>
                  <a:pt x="19058" y="2487"/>
                  <a:pt x="19093" y="2501"/>
                  <a:pt x="19122" y="2504"/>
                </a:cubicBezTo>
                <a:cubicBezTo>
                  <a:pt x="19131" y="2529"/>
                  <a:pt x="19144" y="2547"/>
                  <a:pt x="19160" y="2547"/>
                </a:cubicBezTo>
                <a:cubicBezTo>
                  <a:pt x="19180" y="2547"/>
                  <a:pt x="19193" y="2521"/>
                  <a:pt x="19201" y="2488"/>
                </a:cubicBezTo>
                <a:cubicBezTo>
                  <a:pt x="19224" y="2475"/>
                  <a:pt x="19244" y="2454"/>
                  <a:pt x="19244" y="2413"/>
                </a:cubicBezTo>
                <a:cubicBezTo>
                  <a:pt x="19244" y="2373"/>
                  <a:pt x="19228" y="2340"/>
                  <a:pt x="19208" y="2340"/>
                </a:cubicBezTo>
                <a:cubicBezTo>
                  <a:pt x="19202" y="2339"/>
                  <a:pt x="19115" y="2319"/>
                  <a:pt x="19044" y="2295"/>
                </a:cubicBezTo>
                <a:cubicBezTo>
                  <a:pt x="19027" y="2290"/>
                  <a:pt x="19034" y="2290"/>
                  <a:pt x="19024" y="2286"/>
                </a:cubicBezTo>
                <a:cubicBezTo>
                  <a:pt x="19019" y="2283"/>
                  <a:pt x="19016" y="2276"/>
                  <a:pt x="19011" y="2276"/>
                </a:cubicBezTo>
                <a:cubicBezTo>
                  <a:pt x="19010" y="2276"/>
                  <a:pt x="19009" y="2279"/>
                  <a:pt x="19007" y="2279"/>
                </a:cubicBezTo>
                <a:cubicBezTo>
                  <a:pt x="18995" y="2273"/>
                  <a:pt x="18968" y="2262"/>
                  <a:pt x="18967" y="2262"/>
                </a:cubicBezTo>
                <a:close/>
                <a:moveTo>
                  <a:pt x="4367" y="2293"/>
                </a:moveTo>
                <a:cubicBezTo>
                  <a:pt x="4329" y="2293"/>
                  <a:pt x="4317" y="2341"/>
                  <a:pt x="4309" y="2370"/>
                </a:cubicBezTo>
                <a:cubicBezTo>
                  <a:pt x="4307" y="2377"/>
                  <a:pt x="4305" y="2388"/>
                  <a:pt x="4304" y="2390"/>
                </a:cubicBezTo>
                <a:cubicBezTo>
                  <a:pt x="4293" y="2390"/>
                  <a:pt x="4262" y="2423"/>
                  <a:pt x="4262" y="2484"/>
                </a:cubicBezTo>
                <a:cubicBezTo>
                  <a:pt x="4262" y="2496"/>
                  <a:pt x="4265" y="2506"/>
                  <a:pt x="4270" y="2511"/>
                </a:cubicBezTo>
                <a:cubicBezTo>
                  <a:pt x="4328" y="2565"/>
                  <a:pt x="4399" y="2629"/>
                  <a:pt x="4414" y="2629"/>
                </a:cubicBezTo>
                <a:cubicBezTo>
                  <a:pt x="4449" y="2629"/>
                  <a:pt x="4471" y="2565"/>
                  <a:pt x="4471" y="2462"/>
                </a:cubicBezTo>
                <a:cubicBezTo>
                  <a:pt x="4471" y="2388"/>
                  <a:pt x="4413" y="2293"/>
                  <a:pt x="4367" y="2293"/>
                </a:cubicBezTo>
                <a:close/>
                <a:moveTo>
                  <a:pt x="2954" y="2305"/>
                </a:moveTo>
                <a:cubicBezTo>
                  <a:pt x="2955" y="2306"/>
                  <a:pt x="2956" y="2308"/>
                  <a:pt x="2957" y="2309"/>
                </a:cubicBezTo>
                <a:cubicBezTo>
                  <a:pt x="2956" y="2314"/>
                  <a:pt x="2954" y="2317"/>
                  <a:pt x="2953" y="2321"/>
                </a:cubicBezTo>
                <a:lnTo>
                  <a:pt x="2954" y="2305"/>
                </a:lnTo>
                <a:close/>
                <a:moveTo>
                  <a:pt x="16652" y="2313"/>
                </a:moveTo>
                <a:cubicBezTo>
                  <a:pt x="16633" y="2313"/>
                  <a:pt x="16617" y="2344"/>
                  <a:pt x="16617" y="2382"/>
                </a:cubicBezTo>
                <a:cubicBezTo>
                  <a:pt x="16617" y="2419"/>
                  <a:pt x="16633" y="2449"/>
                  <a:pt x="16652" y="2449"/>
                </a:cubicBezTo>
                <a:cubicBezTo>
                  <a:pt x="16670" y="2449"/>
                  <a:pt x="16685" y="2419"/>
                  <a:pt x="16685" y="2382"/>
                </a:cubicBezTo>
                <a:cubicBezTo>
                  <a:pt x="16685" y="2344"/>
                  <a:pt x="16670" y="2313"/>
                  <a:pt x="16652" y="2313"/>
                </a:cubicBezTo>
                <a:close/>
                <a:moveTo>
                  <a:pt x="3050" y="2314"/>
                </a:moveTo>
                <a:cubicBezTo>
                  <a:pt x="3052" y="2314"/>
                  <a:pt x="3055" y="2316"/>
                  <a:pt x="3057" y="2316"/>
                </a:cubicBezTo>
                <a:cubicBezTo>
                  <a:pt x="3056" y="2318"/>
                  <a:pt x="3056" y="2319"/>
                  <a:pt x="3055" y="2320"/>
                </a:cubicBezTo>
                <a:lnTo>
                  <a:pt x="3050" y="2314"/>
                </a:lnTo>
                <a:close/>
                <a:moveTo>
                  <a:pt x="2922" y="2323"/>
                </a:moveTo>
                <a:cubicBezTo>
                  <a:pt x="2922" y="2325"/>
                  <a:pt x="2922" y="2328"/>
                  <a:pt x="2922" y="2328"/>
                </a:cubicBezTo>
                <a:lnTo>
                  <a:pt x="2919" y="2361"/>
                </a:lnTo>
                <a:cubicBezTo>
                  <a:pt x="2917" y="2360"/>
                  <a:pt x="2917" y="2357"/>
                  <a:pt x="2915" y="2356"/>
                </a:cubicBezTo>
                <a:cubicBezTo>
                  <a:pt x="2919" y="2347"/>
                  <a:pt x="2921" y="2335"/>
                  <a:pt x="2922" y="2323"/>
                </a:cubicBezTo>
                <a:close/>
                <a:moveTo>
                  <a:pt x="9005" y="2330"/>
                </a:moveTo>
                <a:cubicBezTo>
                  <a:pt x="9001" y="2330"/>
                  <a:pt x="8997" y="2333"/>
                  <a:pt x="8994" y="2339"/>
                </a:cubicBezTo>
                <a:cubicBezTo>
                  <a:pt x="8993" y="2341"/>
                  <a:pt x="8992" y="2344"/>
                  <a:pt x="8990" y="2347"/>
                </a:cubicBezTo>
                <a:cubicBezTo>
                  <a:pt x="8982" y="2361"/>
                  <a:pt x="8969" y="2382"/>
                  <a:pt x="8969" y="2416"/>
                </a:cubicBezTo>
                <a:cubicBezTo>
                  <a:pt x="8969" y="2453"/>
                  <a:pt x="8987" y="2509"/>
                  <a:pt x="9012" y="2509"/>
                </a:cubicBezTo>
                <a:cubicBezTo>
                  <a:pt x="9033" y="2509"/>
                  <a:pt x="9059" y="2478"/>
                  <a:pt x="9082" y="2448"/>
                </a:cubicBezTo>
                <a:cubicBezTo>
                  <a:pt x="9084" y="2445"/>
                  <a:pt x="9086" y="2443"/>
                  <a:pt x="9087" y="2441"/>
                </a:cubicBezTo>
                <a:cubicBezTo>
                  <a:pt x="9093" y="2434"/>
                  <a:pt x="9096" y="2420"/>
                  <a:pt x="9094" y="2407"/>
                </a:cubicBezTo>
                <a:cubicBezTo>
                  <a:pt x="9092" y="2394"/>
                  <a:pt x="9087" y="2385"/>
                  <a:pt x="9080" y="2385"/>
                </a:cubicBezTo>
                <a:lnTo>
                  <a:pt x="9058" y="2385"/>
                </a:lnTo>
                <a:lnTo>
                  <a:pt x="9058" y="2360"/>
                </a:lnTo>
                <a:cubicBezTo>
                  <a:pt x="9058" y="2343"/>
                  <a:pt x="9052" y="2330"/>
                  <a:pt x="9044" y="2330"/>
                </a:cubicBezTo>
                <a:lnTo>
                  <a:pt x="9005" y="2330"/>
                </a:lnTo>
                <a:close/>
                <a:moveTo>
                  <a:pt x="3810" y="2332"/>
                </a:moveTo>
                <a:cubicBezTo>
                  <a:pt x="3778" y="2355"/>
                  <a:pt x="3751" y="2381"/>
                  <a:pt x="3740" y="2468"/>
                </a:cubicBezTo>
                <a:cubicBezTo>
                  <a:pt x="3739" y="2477"/>
                  <a:pt x="3741" y="2488"/>
                  <a:pt x="3744" y="2495"/>
                </a:cubicBezTo>
                <a:cubicBezTo>
                  <a:pt x="3747" y="2502"/>
                  <a:pt x="3752" y="2505"/>
                  <a:pt x="3757" y="2504"/>
                </a:cubicBezTo>
                <a:cubicBezTo>
                  <a:pt x="3764" y="2502"/>
                  <a:pt x="3769" y="2504"/>
                  <a:pt x="3774" y="2505"/>
                </a:cubicBezTo>
                <a:cubicBezTo>
                  <a:pt x="3780" y="2507"/>
                  <a:pt x="3787" y="2509"/>
                  <a:pt x="3797" y="2509"/>
                </a:cubicBezTo>
                <a:cubicBezTo>
                  <a:pt x="3840" y="2509"/>
                  <a:pt x="3845" y="2449"/>
                  <a:pt x="3845" y="2424"/>
                </a:cubicBezTo>
                <a:cubicBezTo>
                  <a:pt x="3845" y="2395"/>
                  <a:pt x="3838" y="2376"/>
                  <a:pt x="3833" y="2363"/>
                </a:cubicBezTo>
                <a:cubicBezTo>
                  <a:pt x="3831" y="2358"/>
                  <a:pt x="3829" y="2353"/>
                  <a:pt x="3828" y="2349"/>
                </a:cubicBezTo>
                <a:cubicBezTo>
                  <a:pt x="3825" y="2334"/>
                  <a:pt x="3817" y="2326"/>
                  <a:pt x="3810" y="2332"/>
                </a:cubicBezTo>
                <a:close/>
                <a:moveTo>
                  <a:pt x="5247" y="2339"/>
                </a:moveTo>
                <a:cubicBezTo>
                  <a:pt x="5257" y="2348"/>
                  <a:pt x="5265" y="2361"/>
                  <a:pt x="5272" y="2377"/>
                </a:cubicBezTo>
                <a:cubicBezTo>
                  <a:pt x="5271" y="2379"/>
                  <a:pt x="5270" y="2381"/>
                  <a:pt x="5269" y="2384"/>
                </a:cubicBezTo>
                <a:cubicBezTo>
                  <a:pt x="5262" y="2400"/>
                  <a:pt x="5257" y="2415"/>
                  <a:pt x="5255" y="2434"/>
                </a:cubicBezTo>
                <a:cubicBezTo>
                  <a:pt x="5252" y="2450"/>
                  <a:pt x="5257" y="2467"/>
                  <a:pt x="5265" y="2471"/>
                </a:cubicBezTo>
                <a:cubicBezTo>
                  <a:pt x="5269" y="2474"/>
                  <a:pt x="5273" y="2476"/>
                  <a:pt x="5278" y="2477"/>
                </a:cubicBezTo>
                <a:cubicBezTo>
                  <a:pt x="5262" y="2558"/>
                  <a:pt x="5198" y="2566"/>
                  <a:pt x="5123" y="2566"/>
                </a:cubicBezTo>
                <a:lnTo>
                  <a:pt x="5167" y="2484"/>
                </a:lnTo>
                <a:lnTo>
                  <a:pt x="5179" y="2464"/>
                </a:lnTo>
                <a:cubicBezTo>
                  <a:pt x="5183" y="2479"/>
                  <a:pt x="5190" y="2490"/>
                  <a:pt x="5199" y="2490"/>
                </a:cubicBezTo>
                <a:cubicBezTo>
                  <a:pt x="5213" y="2490"/>
                  <a:pt x="5224" y="2467"/>
                  <a:pt x="5224" y="2439"/>
                </a:cubicBezTo>
                <a:cubicBezTo>
                  <a:pt x="5224" y="2422"/>
                  <a:pt x="5220" y="2410"/>
                  <a:pt x="5213" y="2400"/>
                </a:cubicBezTo>
                <a:lnTo>
                  <a:pt x="5247" y="2339"/>
                </a:lnTo>
                <a:close/>
                <a:moveTo>
                  <a:pt x="3014" y="2343"/>
                </a:moveTo>
                <a:cubicBezTo>
                  <a:pt x="3026" y="2358"/>
                  <a:pt x="3041" y="2374"/>
                  <a:pt x="3056" y="2392"/>
                </a:cubicBezTo>
                <a:cubicBezTo>
                  <a:pt x="3057" y="2393"/>
                  <a:pt x="3058" y="2396"/>
                  <a:pt x="3060" y="2397"/>
                </a:cubicBezTo>
                <a:cubicBezTo>
                  <a:pt x="3062" y="2399"/>
                  <a:pt x="3064" y="2401"/>
                  <a:pt x="3066" y="2404"/>
                </a:cubicBezTo>
                <a:cubicBezTo>
                  <a:pt x="3068" y="2407"/>
                  <a:pt x="3070" y="2408"/>
                  <a:pt x="3072" y="2411"/>
                </a:cubicBezTo>
                <a:cubicBezTo>
                  <a:pt x="3072" y="2412"/>
                  <a:pt x="3073" y="2412"/>
                  <a:pt x="3074" y="2413"/>
                </a:cubicBezTo>
                <a:cubicBezTo>
                  <a:pt x="3084" y="2426"/>
                  <a:pt x="3095" y="2439"/>
                  <a:pt x="3107" y="2453"/>
                </a:cubicBezTo>
                <a:cubicBezTo>
                  <a:pt x="3104" y="2453"/>
                  <a:pt x="3101" y="2454"/>
                  <a:pt x="3098" y="2454"/>
                </a:cubicBezTo>
                <a:cubicBezTo>
                  <a:pt x="3084" y="2454"/>
                  <a:pt x="3068" y="2446"/>
                  <a:pt x="3054" y="2438"/>
                </a:cubicBezTo>
                <a:cubicBezTo>
                  <a:pt x="3042" y="2431"/>
                  <a:pt x="3032" y="2425"/>
                  <a:pt x="3024" y="2425"/>
                </a:cubicBezTo>
                <a:cubicBezTo>
                  <a:pt x="3015" y="2425"/>
                  <a:pt x="3007" y="2409"/>
                  <a:pt x="3007" y="2391"/>
                </a:cubicBezTo>
                <a:cubicBezTo>
                  <a:pt x="3007" y="2378"/>
                  <a:pt x="3008" y="2372"/>
                  <a:pt x="3009" y="2367"/>
                </a:cubicBezTo>
                <a:cubicBezTo>
                  <a:pt x="3010" y="2359"/>
                  <a:pt x="3011" y="2353"/>
                  <a:pt x="3011" y="2346"/>
                </a:cubicBezTo>
                <a:cubicBezTo>
                  <a:pt x="3012" y="2345"/>
                  <a:pt x="3013" y="2344"/>
                  <a:pt x="3014" y="2343"/>
                </a:cubicBezTo>
                <a:close/>
                <a:moveTo>
                  <a:pt x="4367" y="2353"/>
                </a:moveTo>
                <a:cubicBezTo>
                  <a:pt x="4399" y="2353"/>
                  <a:pt x="4442" y="2428"/>
                  <a:pt x="4442" y="2462"/>
                </a:cubicBezTo>
                <a:cubicBezTo>
                  <a:pt x="4442" y="2480"/>
                  <a:pt x="4440" y="2567"/>
                  <a:pt x="4414" y="2568"/>
                </a:cubicBezTo>
                <a:cubicBezTo>
                  <a:pt x="4404" y="2565"/>
                  <a:pt x="4347" y="2517"/>
                  <a:pt x="4294" y="2468"/>
                </a:cubicBezTo>
                <a:cubicBezTo>
                  <a:pt x="4298" y="2458"/>
                  <a:pt x="4304" y="2451"/>
                  <a:pt x="4306" y="2449"/>
                </a:cubicBezTo>
                <a:cubicBezTo>
                  <a:pt x="4323" y="2448"/>
                  <a:pt x="4330" y="2419"/>
                  <a:pt x="4336" y="2398"/>
                </a:cubicBezTo>
                <a:cubicBezTo>
                  <a:pt x="4343" y="2371"/>
                  <a:pt x="4348" y="2353"/>
                  <a:pt x="4367" y="2353"/>
                </a:cubicBezTo>
                <a:close/>
                <a:moveTo>
                  <a:pt x="19057" y="2360"/>
                </a:moveTo>
                <a:cubicBezTo>
                  <a:pt x="19087" y="2369"/>
                  <a:pt x="19099" y="2371"/>
                  <a:pt x="19126" y="2378"/>
                </a:cubicBezTo>
                <a:cubicBezTo>
                  <a:pt x="19118" y="2394"/>
                  <a:pt x="19113" y="2417"/>
                  <a:pt x="19112" y="2442"/>
                </a:cubicBezTo>
                <a:cubicBezTo>
                  <a:pt x="19093" y="2439"/>
                  <a:pt x="19073" y="2430"/>
                  <a:pt x="19052" y="2416"/>
                </a:cubicBezTo>
                <a:cubicBezTo>
                  <a:pt x="19055" y="2402"/>
                  <a:pt x="19060" y="2391"/>
                  <a:pt x="19060" y="2375"/>
                </a:cubicBezTo>
                <a:cubicBezTo>
                  <a:pt x="19060" y="2369"/>
                  <a:pt x="19058" y="2365"/>
                  <a:pt x="19057" y="2360"/>
                </a:cubicBezTo>
                <a:close/>
                <a:moveTo>
                  <a:pt x="15457" y="2378"/>
                </a:moveTo>
                <a:lnTo>
                  <a:pt x="15459" y="2501"/>
                </a:lnTo>
                <a:cubicBezTo>
                  <a:pt x="15441" y="2502"/>
                  <a:pt x="15426" y="2531"/>
                  <a:pt x="15426" y="2568"/>
                </a:cubicBezTo>
                <a:cubicBezTo>
                  <a:pt x="15426" y="2606"/>
                  <a:pt x="15442" y="2636"/>
                  <a:pt x="15461" y="2636"/>
                </a:cubicBezTo>
                <a:cubicBezTo>
                  <a:pt x="15461" y="2636"/>
                  <a:pt x="15461" y="2635"/>
                  <a:pt x="15462" y="2635"/>
                </a:cubicBezTo>
                <a:lnTo>
                  <a:pt x="15465" y="2822"/>
                </a:lnTo>
                <a:cubicBezTo>
                  <a:pt x="15465" y="2825"/>
                  <a:pt x="15463" y="2827"/>
                  <a:pt x="15464" y="2829"/>
                </a:cubicBezTo>
                <a:cubicBezTo>
                  <a:pt x="15464" y="2833"/>
                  <a:pt x="15465" y="2834"/>
                  <a:pt x="15465" y="2838"/>
                </a:cubicBezTo>
                <a:lnTo>
                  <a:pt x="15471" y="3155"/>
                </a:lnTo>
                <a:cubicBezTo>
                  <a:pt x="15467" y="3164"/>
                  <a:pt x="15464" y="3175"/>
                  <a:pt x="15464" y="3188"/>
                </a:cubicBezTo>
                <a:cubicBezTo>
                  <a:pt x="15464" y="3204"/>
                  <a:pt x="15467" y="3217"/>
                  <a:pt x="15472" y="3227"/>
                </a:cubicBezTo>
                <a:lnTo>
                  <a:pt x="15479" y="3602"/>
                </a:lnTo>
                <a:cubicBezTo>
                  <a:pt x="15470" y="3617"/>
                  <a:pt x="15464" y="3638"/>
                  <a:pt x="15464" y="3663"/>
                </a:cubicBezTo>
                <a:cubicBezTo>
                  <a:pt x="15464" y="3690"/>
                  <a:pt x="15471" y="3711"/>
                  <a:pt x="15481" y="3726"/>
                </a:cubicBezTo>
                <a:lnTo>
                  <a:pt x="15487" y="4109"/>
                </a:lnTo>
                <a:cubicBezTo>
                  <a:pt x="15464" y="4117"/>
                  <a:pt x="15445" y="4154"/>
                  <a:pt x="15445" y="4203"/>
                </a:cubicBezTo>
                <a:cubicBezTo>
                  <a:pt x="15445" y="4254"/>
                  <a:pt x="15465" y="4294"/>
                  <a:pt x="15491" y="4298"/>
                </a:cubicBezTo>
                <a:lnTo>
                  <a:pt x="15498" y="4700"/>
                </a:lnTo>
                <a:cubicBezTo>
                  <a:pt x="15479" y="4700"/>
                  <a:pt x="15463" y="4731"/>
                  <a:pt x="15464" y="4769"/>
                </a:cubicBezTo>
                <a:cubicBezTo>
                  <a:pt x="15464" y="4807"/>
                  <a:pt x="15479" y="4837"/>
                  <a:pt x="15498" y="4837"/>
                </a:cubicBezTo>
                <a:cubicBezTo>
                  <a:pt x="15499" y="4837"/>
                  <a:pt x="15499" y="4835"/>
                  <a:pt x="15500" y="4834"/>
                </a:cubicBezTo>
                <a:lnTo>
                  <a:pt x="15509" y="5316"/>
                </a:lnTo>
                <a:lnTo>
                  <a:pt x="15338" y="5473"/>
                </a:lnTo>
                <a:cubicBezTo>
                  <a:pt x="15338" y="5472"/>
                  <a:pt x="15338" y="5472"/>
                  <a:pt x="15338" y="5471"/>
                </a:cubicBezTo>
                <a:cubicBezTo>
                  <a:pt x="15338" y="5416"/>
                  <a:pt x="15317" y="5372"/>
                  <a:pt x="15290" y="5372"/>
                </a:cubicBezTo>
                <a:cubicBezTo>
                  <a:pt x="15262" y="5372"/>
                  <a:pt x="15240" y="5416"/>
                  <a:pt x="15240" y="5471"/>
                </a:cubicBezTo>
                <a:cubicBezTo>
                  <a:pt x="15240" y="5503"/>
                  <a:pt x="15249" y="5528"/>
                  <a:pt x="15261" y="5546"/>
                </a:cubicBezTo>
                <a:lnTo>
                  <a:pt x="15042" y="5746"/>
                </a:lnTo>
                <a:cubicBezTo>
                  <a:pt x="15030" y="5702"/>
                  <a:pt x="15006" y="5670"/>
                  <a:pt x="14979" y="5670"/>
                </a:cubicBezTo>
                <a:cubicBezTo>
                  <a:pt x="14938" y="5670"/>
                  <a:pt x="14905" y="5737"/>
                  <a:pt x="14905" y="5818"/>
                </a:cubicBezTo>
                <a:cubicBezTo>
                  <a:pt x="14905" y="5836"/>
                  <a:pt x="14908" y="5853"/>
                  <a:pt x="14910" y="5869"/>
                </a:cubicBezTo>
                <a:lnTo>
                  <a:pt x="14838" y="5936"/>
                </a:lnTo>
                <a:cubicBezTo>
                  <a:pt x="14832" y="5913"/>
                  <a:pt x="14823" y="5894"/>
                  <a:pt x="14809" y="5894"/>
                </a:cubicBezTo>
                <a:cubicBezTo>
                  <a:pt x="14790" y="5894"/>
                  <a:pt x="14775" y="5925"/>
                  <a:pt x="14775" y="5963"/>
                </a:cubicBezTo>
                <a:cubicBezTo>
                  <a:pt x="14775" y="5973"/>
                  <a:pt x="14778" y="5980"/>
                  <a:pt x="14780" y="5989"/>
                </a:cubicBezTo>
                <a:lnTo>
                  <a:pt x="14747" y="6020"/>
                </a:lnTo>
                <a:cubicBezTo>
                  <a:pt x="14747" y="6020"/>
                  <a:pt x="14870" y="5344"/>
                  <a:pt x="14972" y="4784"/>
                </a:cubicBezTo>
                <a:cubicBezTo>
                  <a:pt x="14973" y="4784"/>
                  <a:pt x="14973" y="4786"/>
                  <a:pt x="14973" y="4786"/>
                </a:cubicBezTo>
                <a:cubicBezTo>
                  <a:pt x="15000" y="4786"/>
                  <a:pt x="15022" y="4742"/>
                  <a:pt x="15022" y="4688"/>
                </a:cubicBezTo>
                <a:cubicBezTo>
                  <a:pt x="15022" y="4657"/>
                  <a:pt x="15014" y="4632"/>
                  <a:pt x="15004" y="4614"/>
                </a:cubicBezTo>
                <a:cubicBezTo>
                  <a:pt x="15082" y="4187"/>
                  <a:pt x="15092" y="4129"/>
                  <a:pt x="15167" y="3720"/>
                </a:cubicBezTo>
                <a:cubicBezTo>
                  <a:pt x="15198" y="3702"/>
                  <a:pt x="15220" y="3647"/>
                  <a:pt x="15220" y="3580"/>
                </a:cubicBezTo>
                <a:cubicBezTo>
                  <a:pt x="15220" y="3550"/>
                  <a:pt x="15215" y="3523"/>
                  <a:pt x="15207" y="3500"/>
                </a:cubicBezTo>
                <a:cubicBezTo>
                  <a:pt x="15251" y="3258"/>
                  <a:pt x="15290" y="3047"/>
                  <a:pt x="15314" y="2916"/>
                </a:cubicBezTo>
                <a:cubicBezTo>
                  <a:pt x="15338" y="2909"/>
                  <a:pt x="15357" y="2872"/>
                  <a:pt x="15357" y="2822"/>
                </a:cubicBezTo>
                <a:cubicBezTo>
                  <a:pt x="15357" y="2796"/>
                  <a:pt x="15351" y="2773"/>
                  <a:pt x="15343" y="2755"/>
                </a:cubicBezTo>
                <a:cubicBezTo>
                  <a:pt x="15352" y="2709"/>
                  <a:pt x="15398" y="2456"/>
                  <a:pt x="15398" y="2456"/>
                </a:cubicBezTo>
                <a:cubicBezTo>
                  <a:pt x="15398" y="2456"/>
                  <a:pt x="15398" y="2455"/>
                  <a:pt x="15398" y="2455"/>
                </a:cubicBezTo>
                <a:cubicBezTo>
                  <a:pt x="15401" y="2459"/>
                  <a:pt x="15404" y="2463"/>
                  <a:pt x="15408" y="2463"/>
                </a:cubicBezTo>
                <a:cubicBezTo>
                  <a:pt x="15418" y="2463"/>
                  <a:pt x="15427" y="2446"/>
                  <a:pt x="15427" y="2425"/>
                </a:cubicBezTo>
                <a:cubicBezTo>
                  <a:pt x="15427" y="2423"/>
                  <a:pt x="15426" y="2421"/>
                  <a:pt x="15426" y="2419"/>
                </a:cubicBezTo>
                <a:cubicBezTo>
                  <a:pt x="15436" y="2405"/>
                  <a:pt x="15446" y="2391"/>
                  <a:pt x="15457" y="2378"/>
                </a:cubicBezTo>
                <a:close/>
                <a:moveTo>
                  <a:pt x="4533" y="2382"/>
                </a:moveTo>
                <a:lnTo>
                  <a:pt x="4965" y="2558"/>
                </a:lnTo>
                <a:cubicBezTo>
                  <a:pt x="4965" y="2558"/>
                  <a:pt x="4856" y="2558"/>
                  <a:pt x="4856" y="2558"/>
                </a:cubicBezTo>
                <a:cubicBezTo>
                  <a:pt x="4855" y="2558"/>
                  <a:pt x="4855" y="2558"/>
                  <a:pt x="4855" y="2558"/>
                </a:cubicBezTo>
                <a:cubicBezTo>
                  <a:pt x="4844" y="2546"/>
                  <a:pt x="4832" y="2537"/>
                  <a:pt x="4819" y="2537"/>
                </a:cubicBezTo>
                <a:cubicBezTo>
                  <a:pt x="4808" y="2537"/>
                  <a:pt x="4797" y="2543"/>
                  <a:pt x="4788" y="2552"/>
                </a:cubicBezTo>
                <a:cubicBezTo>
                  <a:pt x="4781" y="2548"/>
                  <a:pt x="4770" y="2548"/>
                  <a:pt x="4767" y="2541"/>
                </a:cubicBezTo>
                <a:cubicBezTo>
                  <a:pt x="4765" y="2537"/>
                  <a:pt x="4764" y="2534"/>
                  <a:pt x="4765" y="2527"/>
                </a:cubicBezTo>
                <a:cubicBezTo>
                  <a:pt x="4765" y="2519"/>
                  <a:pt x="4763" y="2510"/>
                  <a:pt x="4760" y="2504"/>
                </a:cubicBezTo>
                <a:cubicBezTo>
                  <a:pt x="4758" y="2498"/>
                  <a:pt x="4754" y="2494"/>
                  <a:pt x="4749" y="2494"/>
                </a:cubicBezTo>
                <a:lnTo>
                  <a:pt x="4724" y="2494"/>
                </a:lnTo>
                <a:cubicBezTo>
                  <a:pt x="4720" y="2494"/>
                  <a:pt x="4716" y="2498"/>
                  <a:pt x="4713" y="2505"/>
                </a:cubicBezTo>
                <a:cubicBezTo>
                  <a:pt x="4705" y="2524"/>
                  <a:pt x="4677" y="2566"/>
                  <a:pt x="4665" y="2566"/>
                </a:cubicBezTo>
                <a:cubicBezTo>
                  <a:pt x="4621" y="2566"/>
                  <a:pt x="4527" y="2464"/>
                  <a:pt x="4527" y="2404"/>
                </a:cubicBezTo>
                <a:cubicBezTo>
                  <a:pt x="4527" y="2399"/>
                  <a:pt x="4529" y="2391"/>
                  <a:pt x="4533" y="2382"/>
                </a:cubicBezTo>
                <a:close/>
                <a:moveTo>
                  <a:pt x="9011" y="2390"/>
                </a:moveTo>
                <a:lnTo>
                  <a:pt x="9029" y="2390"/>
                </a:lnTo>
                <a:lnTo>
                  <a:pt x="9029" y="2416"/>
                </a:lnTo>
                <a:cubicBezTo>
                  <a:pt x="9029" y="2424"/>
                  <a:pt x="9030" y="2430"/>
                  <a:pt x="9033" y="2435"/>
                </a:cubicBezTo>
                <a:cubicBezTo>
                  <a:pt x="9025" y="2443"/>
                  <a:pt x="9017" y="2449"/>
                  <a:pt x="9012" y="2449"/>
                </a:cubicBezTo>
                <a:cubicBezTo>
                  <a:pt x="9007" y="2449"/>
                  <a:pt x="8999" y="2426"/>
                  <a:pt x="8999" y="2416"/>
                </a:cubicBezTo>
                <a:cubicBezTo>
                  <a:pt x="8999" y="2410"/>
                  <a:pt x="9006" y="2397"/>
                  <a:pt x="9009" y="2392"/>
                </a:cubicBezTo>
                <a:cubicBezTo>
                  <a:pt x="9010" y="2391"/>
                  <a:pt x="9011" y="2391"/>
                  <a:pt x="9011" y="2390"/>
                </a:cubicBezTo>
                <a:close/>
                <a:moveTo>
                  <a:pt x="13532" y="2392"/>
                </a:moveTo>
                <a:cubicBezTo>
                  <a:pt x="13536" y="2437"/>
                  <a:pt x="13554" y="2473"/>
                  <a:pt x="13578" y="2473"/>
                </a:cubicBezTo>
                <a:cubicBezTo>
                  <a:pt x="13589" y="2473"/>
                  <a:pt x="13599" y="2462"/>
                  <a:pt x="13607" y="2448"/>
                </a:cubicBezTo>
                <a:lnTo>
                  <a:pt x="13642" y="2581"/>
                </a:lnTo>
                <a:cubicBezTo>
                  <a:pt x="13639" y="2580"/>
                  <a:pt x="13637" y="2574"/>
                  <a:pt x="13634" y="2574"/>
                </a:cubicBezTo>
                <a:cubicBezTo>
                  <a:pt x="13609" y="2574"/>
                  <a:pt x="13591" y="2612"/>
                  <a:pt x="13587" y="2658"/>
                </a:cubicBezTo>
                <a:cubicBezTo>
                  <a:pt x="13559" y="2702"/>
                  <a:pt x="13533" y="2751"/>
                  <a:pt x="13511" y="2807"/>
                </a:cubicBezTo>
                <a:lnTo>
                  <a:pt x="13441" y="2726"/>
                </a:lnTo>
                <a:lnTo>
                  <a:pt x="13403" y="2681"/>
                </a:lnTo>
                <a:cubicBezTo>
                  <a:pt x="13433" y="2638"/>
                  <a:pt x="13467" y="2584"/>
                  <a:pt x="13467" y="2508"/>
                </a:cubicBezTo>
                <a:cubicBezTo>
                  <a:pt x="13467" y="2481"/>
                  <a:pt x="13461" y="2461"/>
                  <a:pt x="13456" y="2447"/>
                </a:cubicBezTo>
                <a:cubicBezTo>
                  <a:pt x="13454" y="2441"/>
                  <a:pt x="13452" y="2434"/>
                  <a:pt x="13452" y="2431"/>
                </a:cubicBezTo>
                <a:cubicBezTo>
                  <a:pt x="13452" y="2431"/>
                  <a:pt x="13452" y="2418"/>
                  <a:pt x="13458" y="2418"/>
                </a:cubicBezTo>
                <a:cubicBezTo>
                  <a:pt x="13476" y="2418"/>
                  <a:pt x="13490" y="2411"/>
                  <a:pt x="13504" y="2403"/>
                </a:cubicBezTo>
                <a:cubicBezTo>
                  <a:pt x="13513" y="2398"/>
                  <a:pt x="13523" y="2395"/>
                  <a:pt x="13532" y="2392"/>
                </a:cubicBezTo>
                <a:close/>
                <a:moveTo>
                  <a:pt x="3808" y="2397"/>
                </a:moveTo>
                <a:cubicBezTo>
                  <a:pt x="3808" y="2398"/>
                  <a:pt x="3809" y="2399"/>
                  <a:pt x="3809" y="2399"/>
                </a:cubicBezTo>
                <a:cubicBezTo>
                  <a:pt x="3813" y="2410"/>
                  <a:pt x="3814" y="2415"/>
                  <a:pt x="3814" y="2424"/>
                </a:cubicBezTo>
                <a:cubicBezTo>
                  <a:pt x="3814" y="2442"/>
                  <a:pt x="3813" y="2449"/>
                  <a:pt x="3797" y="2449"/>
                </a:cubicBezTo>
                <a:cubicBezTo>
                  <a:pt x="3789" y="2449"/>
                  <a:pt x="3784" y="2447"/>
                  <a:pt x="3779" y="2446"/>
                </a:cubicBezTo>
                <a:cubicBezTo>
                  <a:pt x="3778" y="2446"/>
                  <a:pt x="3777" y="2446"/>
                  <a:pt x="3777" y="2446"/>
                </a:cubicBezTo>
                <a:cubicBezTo>
                  <a:pt x="3783" y="2422"/>
                  <a:pt x="3793" y="2409"/>
                  <a:pt x="3808" y="2397"/>
                </a:cubicBezTo>
                <a:close/>
                <a:moveTo>
                  <a:pt x="19198" y="2398"/>
                </a:moveTo>
                <a:cubicBezTo>
                  <a:pt x="19199" y="2398"/>
                  <a:pt x="19208" y="2400"/>
                  <a:pt x="19208" y="2400"/>
                </a:cubicBezTo>
                <a:cubicBezTo>
                  <a:pt x="19213" y="2400"/>
                  <a:pt x="19215" y="2408"/>
                  <a:pt x="19215" y="2411"/>
                </a:cubicBezTo>
                <a:cubicBezTo>
                  <a:pt x="19214" y="2414"/>
                  <a:pt x="19207" y="2418"/>
                  <a:pt x="19203" y="2421"/>
                </a:cubicBezTo>
                <a:cubicBezTo>
                  <a:pt x="19202" y="2413"/>
                  <a:pt x="19201" y="2405"/>
                  <a:pt x="19198" y="2398"/>
                </a:cubicBezTo>
                <a:close/>
                <a:moveTo>
                  <a:pt x="3204" y="2443"/>
                </a:moveTo>
                <a:cubicBezTo>
                  <a:pt x="3206" y="2452"/>
                  <a:pt x="3209" y="2460"/>
                  <a:pt x="3212" y="2467"/>
                </a:cubicBezTo>
                <a:cubicBezTo>
                  <a:pt x="3208" y="2468"/>
                  <a:pt x="3204" y="2469"/>
                  <a:pt x="3200" y="2471"/>
                </a:cubicBezTo>
                <a:cubicBezTo>
                  <a:pt x="3201" y="2467"/>
                  <a:pt x="3202" y="2461"/>
                  <a:pt x="3202" y="2455"/>
                </a:cubicBezTo>
                <a:cubicBezTo>
                  <a:pt x="3202" y="2451"/>
                  <a:pt x="3203" y="2447"/>
                  <a:pt x="3204" y="2443"/>
                </a:cubicBezTo>
                <a:close/>
                <a:moveTo>
                  <a:pt x="3920" y="2499"/>
                </a:moveTo>
                <a:cubicBezTo>
                  <a:pt x="3893" y="2499"/>
                  <a:pt x="3871" y="2544"/>
                  <a:pt x="3871" y="2599"/>
                </a:cubicBezTo>
                <a:cubicBezTo>
                  <a:pt x="3871" y="2653"/>
                  <a:pt x="3893" y="2696"/>
                  <a:pt x="3920" y="2696"/>
                </a:cubicBezTo>
                <a:cubicBezTo>
                  <a:pt x="3947" y="2696"/>
                  <a:pt x="3969" y="2653"/>
                  <a:pt x="3969" y="2599"/>
                </a:cubicBezTo>
                <a:cubicBezTo>
                  <a:pt x="3969" y="2544"/>
                  <a:pt x="3947" y="2499"/>
                  <a:pt x="3920" y="2499"/>
                </a:cubicBezTo>
                <a:close/>
                <a:moveTo>
                  <a:pt x="6916" y="2499"/>
                </a:moveTo>
                <a:cubicBezTo>
                  <a:pt x="6889" y="2499"/>
                  <a:pt x="6867" y="2544"/>
                  <a:pt x="6867" y="2599"/>
                </a:cubicBezTo>
                <a:cubicBezTo>
                  <a:pt x="6867" y="2653"/>
                  <a:pt x="6889" y="2696"/>
                  <a:pt x="6916" y="2696"/>
                </a:cubicBezTo>
                <a:cubicBezTo>
                  <a:pt x="6943" y="2696"/>
                  <a:pt x="6965" y="2653"/>
                  <a:pt x="6965" y="2599"/>
                </a:cubicBezTo>
                <a:cubicBezTo>
                  <a:pt x="6965" y="2544"/>
                  <a:pt x="6943" y="2499"/>
                  <a:pt x="6916" y="2499"/>
                </a:cubicBezTo>
                <a:close/>
                <a:moveTo>
                  <a:pt x="18594" y="2517"/>
                </a:moveTo>
                <a:cubicBezTo>
                  <a:pt x="18570" y="2517"/>
                  <a:pt x="18552" y="2549"/>
                  <a:pt x="18552" y="2594"/>
                </a:cubicBezTo>
                <a:cubicBezTo>
                  <a:pt x="18552" y="2629"/>
                  <a:pt x="18556" y="2664"/>
                  <a:pt x="18580" y="2674"/>
                </a:cubicBezTo>
                <a:cubicBezTo>
                  <a:pt x="18575" y="2686"/>
                  <a:pt x="18571" y="2701"/>
                  <a:pt x="18571" y="2717"/>
                </a:cubicBezTo>
                <a:cubicBezTo>
                  <a:pt x="18571" y="2722"/>
                  <a:pt x="18573" y="2724"/>
                  <a:pt x="18573" y="2728"/>
                </a:cubicBezTo>
                <a:cubicBezTo>
                  <a:pt x="18569" y="2738"/>
                  <a:pt x="18563" y="2748"/>
                  <a:pt x="18559" y="2758"/>
                </a:cubicBezTo>
                <a:cubicBezTo>
                  <a:pt x="18555" y="2771"/>
                  <a:pt x="18555" y="2789"/>
                  <a:pt x="18561" y="2799"/>
                </a:cubicBezTo>
                <a:cubicBezTo>
                  <a:pt x="18567" y="2809"/>
                  <a:pt x="18576" y="2809"/>
                  <a:pt x="18581" y="2798"/>
                </a:cubicBezTo>
                <a:lnTo>
                  <a:pt x="18586" y="2790"/>
                </a:lnTo>
                <a:cubicBezTo>
                  <a:pt x="18602" y="2799"/>
                  <a:pt x="18619" y="2805"/>
                  <a:pt x="18635" y="2810"/>
                </a:cubicBezTo>
                <a:cubicBezTo>
                  <a:pt x="18657" y="2816"/>
                  <a:pt x="18676" y="2826"/>
                  <a:pt x="18694" y="2842"/>
                </a:cubicBezTo>
                <a:cubicBezTo>
                  <a:pt x="18703" y="2866"/>
                  <a:pt x="18716" y="2883"/>
                  <a:pt x="18732" y="2883"/>
                </a:cubicBezTo>
                <a:cubicBezTo>
                  <a:pt x="18747" y="2883"/>
                  <a:pt x="18759" y="2870"/>
                  <a:pt x="18768" y="2849"/>
                </a:cubicBezTo>
                <a:lnTo>
                  <a:pt x="18773" y="2849"/>
                </a:lnTo>
                <a:cubicBezTo>
                  <a:pt x="18777" y="2849"/>
                  <a:pt x="18780" y="2846"/>
                  <a:pt x="18783" y="2840"/>
                </a:cubicBezTo>
                <a:cubicBezTo>
                  <a:pt x="18786" y="2834"/>
                  <a:pt x="18788" y="2826"/>
                  <a:pt x="18787" y="2818"/>
                </a:cubicBezTo>
                <a:cubicBezTo>
                  <a:pt x="18785" y="2705"/>
                  <a:pt x="18736" y="2620"/>
                  <a:pt x="18673" y="2620"/>
                </a:cubicBezTo>
                <a:cubicBezTo>
                  <a:pt x="18659" y="2620"/>
                  <a:pt x="18645" y="2624"/>
                  <a:pt x="18634" y="2632"/>
                </a:cubicBezTo>
                <a:cubicBezTo>
                  <a:pt x="18637" y="2621"/>
                  <a:pt x="18639" y="2608"/>
                  <a:pt x="18639" y="2594"/>
                </a:cubicBezTo>
                <a:cubicBezTo>
                  <a:pt x="18639" y="2550"/>
                  <a:pt x="18620" y="2517"/>
                  <a:pt x="18594" y="2517"/>
                </a:cubicBezTo>
                <a:close/>
                <a:moveTo>
                  <a:pt x="16839" y="2531"/>
                </a:moveTo>
                <a:cubicBezTo>
                  <a:pt x="16836" y="2542"/>
                  <a:pt x="16834" y="2556"/>
                  <a:pt x="16834" y="2571"/>
                </a:cubicBezTo>
                <a:cubicBezTo>
                  <a:pt x="16834" y="2580"/>
                  <a:pt x="16835" y="2589"/>
                  <a:pt x="16837" y="2597"/>
                </a:cubicBezTo>
                <a:cubicBezTo>
                  <a:pt x="16833" y="2590"/>
                  <a:pt x="16830" y="2584"/>
                  <a:pt x="16828" y="2576"/>
                </a:cubicBezTo>
                <a:cubicBezTo>
                  <a:pt x="16825" y="2569"/>
                  <a:pt x="16822" y="2564"/>
                  <a:pt x="16818" y="2562"/>
                </a:cubicBezTo>
                <a:cubicBezTo>
                  <a:pt x="16814" y="2561"/>
                  <a:pt x="16809" y="2563"/>
                  <a:pt x="16806" y="2568"/>
                </a:cubicBezTo>
                <a:cubicBezTo>
                  <a:pt x="16667" y="2795"/>
                  <a:pt x="16623" y="2820"/>
                  <a:pt x="16610" y="2820"/>
                </a:cubicBezTo>
                <a:cubicBezTo>
                  <a:pt x="16609" y="2820"/>
                  <a:pt x="16608" y="2820"/>
                  <a:pt x="16608" y="2820"/>
                </a:cubicBezTo>
                <a:cubicBezTo>
                  <a:pt x="16607" y="2814"/>
                  <a:pt x="16609" y="2794"/>
                  <a:pt x="16612" y="2778"/>
                </a:cubicBezTo>
                <a:cubicBezTo>
                  <a:pt x="16624" y="2750"/>
                  <a:pt x="16661" y="2710"/>
                  <a:pt x="16702" y="2668"/>
                </a:cubicBezTo>
                <a:cubicBezTo>
                  <a:pt x="16704" y="2669"/>
                  <a:pt x="16705" y="2673"/>
                  <a:pt x="16707" y="2673"/>
                </a:cubicBezTo>
                <a:cubicBezTo>
                  <a:pt x="16720" y="2673"/>
                  <a:pt x="16729" y="2657"/>
                  <a:pt x="16735" y="2636"/>
                </a:cubicBezTo>
                <a:cubicBezTo>
                  <a:pt x="16739" y="2631"/>
                  <a:pt x="16743" y="2628"/>
                  <a:pt x="16747" y="2623"/>
                </a:cubicBezTo>
                <a:cubicBezTo>
                  <a:pt x="16778" y="2593"/>
                  <a:pt x="16809" y="2563"/>
                  <a:pt x="16839" y="2531"/>
                </a:cubicBezTo>
                <a:close/>
                <a:moveTo>
                  <a:pt x="2506" y="2537"/>
                </a:moveTo>
                <a:cubicBezTo>
                  <a:pt x="2479" y="2537"/>
                  <a:pt x="2457" y="2581"/>
                  <a:pt x="2457" y="2636"/>
                </a:cubicBezTo>
                <a:cubicBezTo>
                  <a:pt x="2457" y="2690"/>
                  <a:pt x="2479" y="2734"/>
                  <a:pt x="2506" y="2734"/>
                </a:cubicBezTo>
                <a:cubicBezTo>
                  <a:pt x="2533" y="2734"/>
                  <a:pt x="2555" y="2690"/>
                  <a:pt x="2555" y="2636"/>
                </a:cubicBezTo>
                <a:cubicBezTo>
                  <a:pt x="2555" y="2581"/>
                  <a:pt x="2533" y="2537"/>
                  <a:pt x="2506" y="2537"/>
                </a:cubicBezTo>
                <a:close/>
                <a:moveTo>
                  <a:pt x="16896" y="2537"/>
                </a:moveTo>
                <a:cubicBezTo>
                  <a:pt x="16930" y="2537"/>
                  <a:pt x="16929" y="2555"/>
                  <a:pt x="16929" y="2571"/>
                </a:cubicBezTo>
                <a:cubicBezTo>
                  <a:pt x="16929" y="2571"/>
                  <a:pt x="16930" y="2572"/>
                  <a:pt x="16929" y="2573"/>
                </a:cubicBezTo>
                <a:cubicBezTo>
                  <a:pt x="16918" y="2584"/>
                  <a:pt x="16908" y="2592"/>
                  <a:pt x="16896" y="2592"/>
                </a:cubicBezTo>
                <a:cubicBezTo>
                  <a:pt x="16878" y="2592"/>
                  <a:pt x="16864" y="2583"/>
                  <a:pt x="16864" y="2571"/>
                </a:cubicBezTo>
                <a:cubicBezTo>
                  <a:pt x="16864" y="2551"/>
                  <a:pt x="16881" y="2537"/>
                  <a:pt x="16896" y="2537"/>
                </a:cubicBezTo>
                <a:close/>
                <a:moveTo>
                  <a:pt x="18161" y="2574"/>
                </a:moveTo>
                <a:cubicBezTo>
                  <a:pt x="18120" y="2574"/>
                  <a:pt x="18087" y="2640"/>
                  <a:pt x="18087" y="2722"/>
                </a:cubicBezTo>
                <a:cubicBezTo>
                  <a:pt x="18087" y="2804"/>
                  <a:pt x="18120" y="2870"/>
                  <a:pt x="18161" y="2870"/>
                </a:cubicBezTo>
                <a:cubicBezTo>
                  <a:pt x="18202" y="2870"/>
                  <a:pt x="18235" y="2804"/>
                  <a:pt x="18235" y="2722"/>
                </a:cubicBezTo>
                <a:cubicBezTo>
                  <a:pt x="18235" y="2640"/>
                  <a:pt x="18202" y="2574"/>
                  <a:pt x="18161" y="2574"/>
                </a:cubicBezTo>
                <a:close/>
                <a:moveTo>
                  <a:pt x="18594" y="2576"/>
                </a:moveTo>
                <a:cubicBezTo>
                  <a:pt x="18600" y="2576"/>
                  <a:pt x="18609" y="2582"/>
                  <a:pt x="18609" y="2594"/>
                </a:cubicBezTo>
                <a:cubicBezTo>
                  <a:pt x="18609" y="2610"/>
                  <a:pt x="18599" y="2620"/>
                  <a:pt x="18593" y="2620"/>
                </a:cubicBezTo>
                <a:cubicBezTo>
                  <a:pt x="18586" y="2620"/>
                  <a:pt x="18584" y="2618"/>
                  <a:pt x="18583" y="2618"/>
                </a:cubicBezTo>
                <a:cubicBezTo>
                  <a:pt x="18583" y="2615"/>
                  <a:pt x="18582" y="2607"/>
                  <a:pt x="18582" y="2594"/>
                </a:cubicBezTo>
                <a:cubicBezTo>
                  <a:pt x="18582" y="2579"/>
                  <a:pt x="18589" y="2576"/>
                  <a:pt x="18594" y="2576"/>
                </a:cubicBezTo>
                <a:close/>
                <a:moveTo>
                  <a:pt x="7127" y="2611"/>
                </a:moveTo>
                <a:cubicBezTo>
                  <a:pt x="7086" y="2611"/>
                  <a:pt x="7053" y="2678"/>
                  <a:pt x="7053" y="2759"/>
                </a:cubicBezTo>
                <a:cubicBezTo>
                  <a:pt x="7053" y="2841"/>
                  <a:pt x="7086" y="2907"/>
                  <a:pt x="7127" y="2907"/>
                </a:cubicBezTo>
                <a:cubicBezTo>
                  <a:pt x="7167" y="2907"/>
                  <a:pt x="7200" y="2841"/>
                  <a:pt x="7200" y="2759"/>
                </a:cubicBezTo>
                <a:cubicBezTo>
                  <a:pt x="7200" y="2678"/>
                  <a:pt x="7167" y="2611"/>
                  <a:pt x="7127" y="2611"/>
                </a:cubicBezTo>
                <a:close/>
                <a:moveTo>
                  <a:pt x="2765" y="2616"/>
                </a:moveTo>
                <a:cubicBezTo>
                  <a:pt x="2773" y="2613"/>
                  <a:pt x="2781" y="2612"/>
                  <a:pt x="2789" y="2617"/>
                </a:cubicBezTo>
                <a:cubicBezTo>
                  <a:pt x="2808" y="2627"/>
                  <a:pt x="2822" y="2643"/>
                  <a:pt x="2836" y="2657"/>
                </a:cubicBezTo>
                <a:cubicBezTo>
                  <a:pt x="2854" y="2675"/>
                  <a:pt x="2872" y="2693"/>
                  <a:pt x="2896" y="2701"/>
                </a:cubicBezTo>
                <a:cubicBezTo>
                  <a:pt x="2896" y="2701"/>
                  <a:pt x="2865" y="3085"/>
                  <a:pt x="2865" y="3085"/>
                </a:cubicBezTo>
                <a:cubicBezTo>
                  <a:pt x="2852" y="3114"/>
                  <a:pt x="2837" y="3160"/>
                  <a:pt x="2829" y="3206"/>
                </a:cubicBezTo>
                <a:cubicBezTo>
                  <a:pt x="2822" y="3166"/>
                  <a:pt x="2807" y="3134"/>
                  <a:pt x="2785" y="3134"/>
                </a:cubicBezTo>
                <a:cubicBezTo>
                  <a:pt x="2758" y="3134"/>
                  <a:pt x="2736" y="3178"/>
                  <a:pt x="2736" y="3233"/>
                </a:cubicBezTo>
                <a:cubicBezTo>
                  <a:pt x="2736" y="3265"/>
                  <a:pt x="2745" y="3291"/>
                  <a:pt x="2757" y="3308"/>
                </a:cubicBezTo>
                <a:cubicBezTo>
                  <a:pt x="2720" y="3338"/>
                  <a:pt x="2682" y="3365"/>
                  <a:pt x="2672" y="3367"/>
                </a:cubicBezTo>
                <a:cubicBezTo>
                  <a:pt x="2670" y="3366"/>
                  <a:pt x="2666" y="3356"/>
                  <a:pt x="2665" y="3353"/>
                </a:cubicBezTo>
                <a:cubicBezTo>
                  <a:pt x="2660" y="3342"/>
                  <a:pt x="2653" y="3327"/>
                  <a:pt x="2643" y="3325"/>
                </a:cubicBezTo>
                <a:cubicBezTo>
                  <a:pt x="2638" y="3316"/>
                  <a:pt x="2629" y="3283"/>
                  <a:pt x="2626" y="3270"/>
                </a:cubicBezTo>
                <a:cubicBezTo>
                  <a:pt x="2624" y="3263"/>
                  <a:pt x="2623" y="3258"/>
                  <a:pt x="2621" y="3251"/>
                </a:cubicBezTo>
                <a:cubicBezTo>
                  <a:pt x="2610" y="3222"/>
                  <a:pt x="2587" y="3212"/>
                  <a:pt x="2563" y="3202"/>
                </a:cubicBezTo>
                <a:cubicBezTo>
                  <a:pt x="2579" y="3186"/>
                  <a:pt x="2592" y="3160"/>
                  <a:pt x="2592" y="3121"/>
                </a:cubicBezTo>
                <a:cubicBezTo>
                  <a:pt x="2592" y="3078"/>
                  <a:pt x="2577" y="3048"/>
                  <a:pt x="2558" y="3035"/>
                </a:cubicBezTo>
                <a:cubicBezTo>
                  <a:pt x="2562" y="3023"/>
                  <a:pt x="2565" y="3012"/>
                  <a:pt x="2570" y="3001"/>
                </a:cubicBezTo>
                <a:cubicBezTo>
                  <a:pt x="2597" y="2932"/>
                  <a:pt x="2625" y="2861"/>
                  <a:pt x="2627" y="2777"/>
                </a:cubicBezTo>
                <a:cubicBezTo>
                  <a:pt x="2637" y="2788"/>
                  <a:pt x="2648" y="2796"/>
                  <a:pt x="2661" y="2796"/>
                </a:cubicBezTo>
                <a:cubicBezTo>
                  <a:pt x="2701" y="2796"/>
                  <a:pt x="2734" y="2729"/>
                  <a:pt x="2734" y="2647"/>
                </a:cubicBezTo>
                <a:cubicBezTo>
                  <a:pt x="2734" y="2643"/>
                  <a:pt x="2734" y="2639"/>
                  <a:pt x="2733" y="2635"/>
                </a:cubicBezTo>
                <a:cubicBezTo>
                  <a:pt x="2736" y="2632"/>
                  <a:pt x="2740" y="2632"/>
                  <a:pt x="2743" y="2630"/>
                </a:cubicBezTo>
                <a:cubicBezTo>
                  <a:pt x="2750" y="2624"/>
                  <a:pt x="2758" y="2619"/>
                  <a:pt x="2765" y="2616"/>
                </a:cubicBezTo>
                <a:close/>
                <a:moveTo>
                  <a:pt x="15327" y="2671"/>
                </a:moveTo>
                <a:lnTo>
                  <a:pt x="15316" y="2730"/>
                </a:lnTo>
                <a:cubicBezTo>
                  <a:pt x="15313" y="2729"/>
                  <a:pt x="15311" y="2723"/>
                  <a:pt x="15308" y="2723"/>
                </a:cubicBezTo>
                <a:cubicBezTo>
                  <a:pt x="15281" y="2723"/>
                  <a:pt x="15259" y="2768"/>
                  <a:pt x="15259" y="2822"/>
                </a:cubicBezTo>
                <a:cubicBezTo>
                  <a:pt x="15259" y="2859"/>
                  <a:pt x="15270" y="2885"/>
                  <a:pt x="15285" y="2902"/>
                </a:cubicBezTo>
                <a:lnTo>
                  <a:pt x="15184" y="3455"/>
                </a:lnTo>
                <a:cubicBezTo>
                  <a:pt x="15173" y="3442"/>
                  <a:pt x="15161" y="3432"/>
                  <a:pt x="15147" y="3432"/>
                </a:cubicBezTo>
                <a:cubicBezTo>
                  <a:pt x="15106" y="3432"/>
                  <a:pt x="15073" y="3498"/>
                  <a:pt x="15073" y="3580"/>
                </a:cubicBezTo>
                <a:cubicBezTo>
                  <a:pt x="15073" y="3653"/>
                  <a:pt x="15100" y="3712"/>
                  <a:pt x="15134" y="3723"/>
                </a:cubicBezTo>
                <a:lnTo>
                  <a:pt x="15044" y="4221"/>
                </a:lnTo>
                <a:lnTo>
                  <a:pt x="14976" y="4591"/>
                </a:lnTo>
                <a:cubicBezTo>
                  <a:pt x="14975" y="4591"/>
                  <a:pt x="14974" y="4588"/>
                  <a:pt x="14973" y="4588"/>
                </a:cubicBezTo>
                <a:cubicBezTo>
                  <a:pt x="14946" y="4588"/>
                  <a:pt x="14924" y="4633"/>
                  <a:pt x="14924" y="4688"/>
                </a:cubicBezTo>
                <a:cubicBezTo>
                  <a:pt x="14924" y="4720"/>
                  <a:pt x="14933" y="4744"/>
                  <a:pt x="14945" y="4762"/>
                </a:cubicBezTo>
                <a:lnTo>
                  <a:pt x="14722" y="5979"/>
                </a:lnTo>
                <a:lnTo>
                  <a:pt x="14660" y="5529"/>
                </a:lnTo>
                <a:cubicBezTo>
                  <a:pt x="14685" y="5526"/>
                  <a:pt x="14706" y="5486"/>
                  <a:pt x="14706" y="5434"/>
                </a:cubicBezTo>
                <a:cubicBezTo>
                  <a:pt x="14706" y="5379"/>
                  <a:pt x="14684" y="5335"/>
                  <a:pt x="14657" y="5335"/>
                </a:cubicBezTo>
                <a:cubicBezTo>
                  <a:pt x="14649" y="5335"/>
                  <a:pt x="14642" y="5345"/>
                  <a:pt x="14635" y="5352"/>
                </a:cubicBezTo>
                <a:lnTo>
                  <a:pt x="14499" y="4367"/>
                </a:lnTo>
                <a:cubicBezTo>
                  <a:pt x="14521" y="4357"/>
                  <a:pt x="14538" y="4324"/>
                  <a:pt x="14538" y="4277"/>
                </a:cubicBezTo>
                <a:cubicBezTo>
                  <a:pt x="14538" y="4223"/>
                  <a:pt x="14517" y="4178"/>
                  <a:pt x="14489" y="4178"/>
                </a:cubicBezTo>
                <a:cubicBezTo>
                  <a:pt x="14484" y="4178"/>
                  <a:pt x="14480" y="4187"/>
                  <a:pt x="14474" y="4191"/>
                </a:cubicBezTo>
                <a:lnTo>
                  <a:pt x="14438" y="3929"/>
                </a:lnTo>
                <a:cubicBezTo>
                  <a:pt x="14439" y="3928"/>
                  <a:pt x="14440" y="3928"/>
                  <a:pt x="14440" y="3928"/>
                </a:cubicBezTo>
                <a:cubicBezTo>
                  <a:pt x="14441" y="3927"/>
                  <a:pt x="14441" y="3928"/>
                  <a:pt x="14441" y="3928"/>
                </a:cubicBezTo>
                <a:cubicBezTo>
                  <a:pt x="14443" y="3926"/>
                  <a:pt x="14445" y="3924"/>
                  <a:pt x="14446" y="3922"/>
                </a:cubicBezTo>
                <a:lnTo>
                  <a:pt x="14477" y="3863"/>
                </a:lnTo>
                <a:cubicBezTo>
                  <a:pt x="14486" y="3882"/>
                  <a:pt x="14496" y="3897"/>
                  <a:pt x="14508" y="3905"/>
                </a:cubicBezTo>
                <a:cubicBezTo>
                  <a:pt x="14526" y="3970"/>
                  <a:pt x="14545" y="4013"/>
                  <a:pt x="14570" y="4013"/>
                </a:cubicBezTo>
                <a:cubicBezTo>
                  <a:pt x="14587" y="4013"/>
                  <a:pt x="14595" y="3997"/>
                  <a:pt x="14599" y="3985"/>
                </a:cubicBezTo>
                <a:cubicBezTo>
                  <a:pt x="14610" y="3954"/>
                  <a:pt x="14603" y="3905"/>
                  <a:pt x="14592" y="3848"/>
                </a:cubicBezTo>
                <a:cubicBezTo>
                  <a:pt x="14601" y="3824"/>
                  <a:pt x="14606" y="3798"/>
                  <a:pt x="14606" y="3767"/>
                </a:cubicBezTo>
                <a:cubicBezTo>
                  <a:pt x="14606" y="3727"/>
                  <a:pt x="14598" y="3691"/>
                  <a:pt x="14585" y="3664"/>
                </a:cubicBezTo>
                <a:lnTo>
                  <a:pt x="14705" y="3443"/>
                </a:lnTo>
                <a:cubicBezTo>
                  <a:pt x="14703" y="3450"/>
                  <a:pt x="14701" y="3455"/>
                  <a:pt x="14701" y="3464"/>
                </a:cubicBezTo>
                <a:cubicBezTo>
                  <a:pt x="14701" y="3501"/>
                  <a:pt x="14716" y="3531"/>
                  <a:pt x="14735" y="3531"/>
                </a:cubicBezTo>
                <a:cubicBezTo>
                  <a:pt x="14754" y="3531"/>
                  <a:pt x="14769" y="3501"/>
                  <a:pt x="14769" y="3464"/>
                </a:cubicBezTo>
                <a:cubicBezTo>
                  <a:pt x="14769" y="3426"/>
                  <a:pt x="14754" y="3395"/>
                  <a:pt x="14735" y="3395"/>
                </a:cubicBezTo>
                <a:cubicBezTo>
                  <a:pt x="14732" y="3395"/>
                  <a:pt x="14730" y="3399"/>
                  <a:pt x="14727" y="3401"/>
                </a:cubicBezTo>
                <a:lnTo>
                  <a:pt x="14887" y="3106"/>
                </a:lnTo>
                <a:lnTo>
                  <a:pt x="14889" y="3107"/>
                </a:lnTo>
                <a:cubicBezTo>
                  <a:pt x="14892" y="3121"/>
                  <a:pt x="14897" y="3132"/>
                  <a:pt x="14905" y="3132"/>
                </a:cubicBezTo>
                <a:cubicBezTo>
                  <a:pt x="14912" y="3132"/>
                  <a:pt x="14917" y="3123"/>
                  <a:pt x="14920" y="3111"/>
                </a:cubicBezTo>
                <a:cubicBezTo>
                  <a:pt x="14944" y="3115"/>
                  <a:pt x="14964" y="3111"/>
                  <a:pt x="14984" y="3085"/>
                </a:cubicBezTo>
                <a:cubicBezTo>
                  <a:pt x="14990" y="3078"/>
                  <a:pt x="14992" y="3066"/>
                  <a:pt x="14991" y="3053"/>
                </a:cubicBezTo>
                <a:cubicBezTo>
                  <a:pt x="14987" y="3019"/>
                  <a:pt x="14979" y="2988"/>
                  <a:pt x="14973" y="2962"/>
                </a:cubicBezTo>
                <a:cubicBezTo>
                  <a:pt x="14972" y="2959"/>
                  <a:pt x="14971" y="2955"/>
                  <a:pt x="14970" y="2952"/>
                </a:cubicBezTo>
                <a:lnTo>
                  <a:pt x="15022" y="2856"/>
                </a:lnTo>
                <a:lnTo>
                  <a:pt x="15089" y="2733"/>
                </a:lnTo>
                <a:cubicBezTo>
                  <a:pt x="15114" y="2727"/>
                  <a:pt x="15143" y="2724"/>
                  <a:pt x="15177" y="2724"/>
                </a:cubicBezTo>
                <a:cubicBezTo>
                  <a:pt x="15202" y="2724"/>
                  <a:pt x="15225" y="2726"/>
                  <a:pt x="15244" y="2727"/>
                </a:cubicBezTo>
                <a:cubicBezTo>
                  <a:pt x="15258" y="2728"/>
                  <a:pt x="15269" y="2728"/>
                  <a:pt x="15277" y="2728"/>
                </a:cubicBezTo>
                <a:cubicBezTo>
                  <a:pt x="15299" y="2728"/>
                  <a:pt x="15315" y="2704"/>
                  <a:pt x="15327" y="2671"/>
                </a:cubicBezTo>
                <a:close/>
                <a:moveTo>
                  <a:pt x="18673" y="2679"/>
                </a:moveTo>
                <a:cubicBezTo>
                  <a:pt x="18689" y="2679"/>
                  <a:pt x="18701" y="2691"/>
                  <a:pt x="18713" y="2702"/>
                </a:cubicBezTo>
                <a:cubicBezTo>
                  <a:pt x="18698" y="2717"/>
                  <a:pt x="18687" y="2740"/>
                  <a:pt x="18685" y="2775"/>
                </a:cubicBezTo>
                <a:cubicBezTo>
                  <a:pt x="18670" y="2766"/>
                  <a:pt x="18654" y="2755"/>
                  <a:pt x="18639" y="2750"/>
                </a:cubicBezTo>
                <a:cubicBezTo>
                  <a:pt x="18637" y="2749"/>
                  <a:pt x="18635" y="2748"/>
                  <a:pt x="18633" y="2748"/>
                </a:cubicBezTo>
                <a:cubicBezTo>
                  <a:pt x="18635" y="2738"/>
                  <a:pt x="18639" y="2729"/>
                  <a:pt x="18639" y="2717"/>
                </a:cubicBezTo>
                <a:cubicBezTo>
                  <a:pt x="18639" y="2710"/>
                  <a:pt x="18636" y="2705"/>
                  <a:pt x="18635" y="2698"/>
                </a:cubicBezTo>
                <a:cubicBezTo>
                  <a:pt x="18646" y="2686"/>
                  <a:pt x="18659" y="2679"/>
                  <a:pt x="18673" y="2679"/>
                </a:cubicBezTo>
                <a:close/>
                <a:moveTo>
                  <a:pt x="18345" y="2686"/>
                </a:moveTo>
                <a:cubicBezTo>
                  <a:pt x="18326" y="2686"/>
                  <a:pt x="18311" y="2717"/>
                  <a:pt x="18311" y="2755"/>
                </a:cubicBezTo>
                <a:cubicBezTo>
                  <a:pt x="18311" y="2792"/>
                  <a:pt x="18326" y="2822"/>
                  <a:pt x="18345" y="2822"/>
                </a:cubicBezTo>
                <a:cubicBezTo>
                  <a:pt x="18364" y="2822"/>
                  <a:pt x="18379" y="2792"/>
                  <a:pt x="18379" y="2755"/>
                </a:cubicBezTo>
                <a:cubicBezTo>
                  <a:pt x="18379" y="2717"/>
                  <a:pt x="18364" y="2686"/>
                  <a:pt x="18345" y="2686"/>
                </a:cubicBezTo>
                <a:close/>
                <a:moveTo>
                  <a:pt x="2979" y="2691"/>
                </a:moveTo>
                <a:cubicBezTo>
                  <a:pt x="2990" y="2691"/>
                  <a:pt x="3007" y="2707"/>
                  <a:pt x="3021" y="2716"/>
                </a:cubicBezTo>
                <a:cubicBezTo>
                  <a:pt x="3019" y="2727"/>
                  <a:pt x="3015" y="2736"/>
                  <a:pt x="3015" y="2748"/>
                </a:cubicBezTo>
                <a:cubicBezTo>
                  <a:pt x="3015" y="2802"/>
                  <a:pt x="3037" y="2846"/>
                  <a:pt x="3064" y="2846"/>
                </a:cubicBezTo>
                <a:cubicBezTo>
                  <a:pt x="3081" y="2846"/>
                  <a:pt x="3093" y="2828"/>
                  <a:pt x="3101" y="2804"/>
                </a:cubicBezTo>
                <a:cubicBezTo>
                  <a:pt x="3107" y="2816"/>
                  <a:pt x="3112" y="2828"/>
                  <a:pt x="3113" y="2840"/>
                </a:cubicBezTo>
                <a:cubicBezTo>
                  <a:pt x="3101" y="2862"/>
                  <a:pt x="3038" y="2888"/>
                  <a:pt x="3017" y="2897"/>
                </a:cubicBezTo>
                <a:cubicBezTo>
                  <a:pt x="3005" y="2902"/>
                  <a:pt x="2995" y="2905"/>
                  <a:pt x="2990" y="2909"/>
                </a:cubicBezTo>
                <a:cubicBezTo>
                  <a:pt x="2963" y="2926"/>
                  <a:pt x="2933" y="2963"/>
                  <a:pt x="2904" y="3011"/>
                </a:cubicBezTo>
                <a:lnTo>
                  <a:pt x="2926" y="2717"/>
                </a:lnTo>
                <a:cubicBezTo>
                  <a:pt x="2936" y="2717"/>
                  <a:pt x="2945" y="2710"/>
                  <a:pt x="2954" y="2703"/>
                </a:cubicBezTo>
                <a:cubicBezTo>
                  <a:pt x="2963" y="2697"/>
                  <a:pt x="2971" y="2691"/>
                  <a:pt x="2979" y="2691"/>
                </a:cubicBezTo>
                <a:close/>
                <a:moveTo>
                  <a:pt x="4447" y="2703"/>
                </a:moveTo>
                <a:cubicBezTo>
                  <a:pt x="4481" y="2703"/>
                  <a:pt x="4512" y="2715"/>
                  <a:pt x="4545" y="2728"/>
                </a:cubicBezTo>
                <a:cubicBezTo>
                  <a:pt x="4574" y="2739"/>
                  <a:pt x="4605" y="2752"/>
                  <a:pt x="4639" y="2755"/>
                </a:cubicBezTo>
                <a:cubicBezTo>
                  <a:pt x="4639" y="2758"/>
                  <a:pt x="4639" y="2760"/>
                  <a:pt x="4639" y="2763"/>
                </a:cubicBezTo>
                <a:cubicBezTo>
                  <a:pt x="4640" y="2765"/>
                  <a:pt x="4639" y="2767"/>
                  <a:pt x="4639" y="2770"/>
                </a:cubicBezTo>
                <a:cubicBezTo>
                  <a:pt x="4639" y="2771"/>
                  <a:pt x="4639" y="2771"/>
                  <a:pt x="4638" y="2772"/>
                </a:cubicBezTo>
                <a:lnTo>
                  <a:pt x="4362" y="2903"/>
                </a:lnTo>
                <a:cubicBezTo>
                  <a:pt x="4361" y="2886"/>
                  <a:pt x="4360" y="2867"/>
                  <a:pt x="4356" y="2847"/>
                </a:cubicBezTo>
                <a:lnTo>
                  <a:pt x="4356" y="2810"/>
                </a:lnTo>
                <a:lnTo>
                  <a:pt x="4389" y="2810"/>
                </a:lnTo>
                <a:cubicBezTo>
                  <a:pt x="4396" y="2810"/>
                  <a:pt x="4402" y="2800"/>
                  <a:pt x="4404" y="2786"/>
                </a:cubicBezTo>
                <a:cubicBezTo>
                  <a:pt x="4405" y="2781"/>
                  <a:pt x="4404" y="2776"/>
                  <a:pt x="4403" y="2771"/>
                </a:cubicBezTo>
                <a:cubicBezTo>
                  <a:pt x="4408" y="2759"/>
                  <a:pt x="4410" y="2744"/>
                  <a:pt x="4412" y="2729"/>
                </a:cubicBezTo>
                <a:cubicBezTo>
                  <a:pt x="4417" y="2717"/>
                  <a:pt x="4427" y="2703"/>
                  <a:pt x="4447" y="2703"/>
                </a:cubicBezTo>
                <a:close/>
                <a:moveTo>
                  <a:pt x="16266" y="2723"/>
                </a:moveTo>
                <a:cubicBezTo>
                  <a:pt x="16244" y="2723"/>
                  <a:pt x="16226" y="2759"/>
                  <a:pt x="16226" y="2803"/>
                </a:cubicBezTo>
                <a:cubicBezTo>
                  <a:pt x="16226" y="2846"/>
                  <a:pt x="16244" y="2882"/>
                  <a:pt x="16266" y="2882"/>
                </a:cubicBezTo>
                <a:cubicBezTo>
                  <a:pt x="16288" y="2882"/>
                  <a:pt x="16306" y="2846"/>
                  <a:pt x="16306" y="2803"/>
                </a:cubicBezTo>
                <a:cubicBezTo>
                  <a:pt x="16306" y="2759"/>
                  <a:pt x="16288" y="2723"/>
                  <a:pt x="16266" y="2723"/>
                </a:cubicBezTo>
                <a:close/>
                <a:moveTo>
                  <a:pt x="17603" y="2727"/>
                </a:moveTo>
                <a:cubicBezTo>
                  <a:pt x="17607" y="2727"/>
                  <a:pt x="17612" y="2727"/>
                  <a:pt x="17616" y="2728"/>
                </a:cubicBezTo>
                <a:cubicBezTo>
                  <a:pt x="17661" y="2735"/>
                  <a:pt x="17701" y="2745"/>
                  <a:pt x="17735" y="2756"/>
                </a:cubicBezTo>
                <a:lnTo>
                  <a:pt x="17738" y="2765"/>
                </a:lnTo>
                <a:lnTo>
                  <a:pt x="17821" y="3173"/>
                </a:lnTo>
                <a:cubicBezTo>
                  <a:pt x="17783" y="3179"/>
                  <a:pt x="17752" y="3241"/>
                  <a:pt x="17752" y="3319"/>
                </a:cubicBezTo>
                <a:cubicBezTo>
                  <a:pt x="17752" y="3401"/>
                  <a:pt x="17785" y="3467"/>
                  <a:pt x="17826" y="3467"/>
                </a:cubicBezTo>
                <a:cubicBezTo>
                  <a:pt x="17845" y="3467"/>
                  <a:pt x="17861" y="3452"/>
                  <a:pt x="17874" y="3430"/>
                </a:cubicBezTo>
                <a:lnTo>
                  <a:pt x="17997" y="4035"/>
                </a:lnTo>
                <a:cubicBezTo>
                  <a:pt x="17996" y="4038"/>
                  <a:pt x="17995" y="4042"/>
                  <a:pt x="17994" y="4045"/>
                </a:cubicBezTo>
                <a:lnTo>
                  <a:pt x="17216" y="3447"/>
                </a:lnTo>
                <a:cubicBezTo>
                  <a:pt x="17216" y="3447"/>
                  <a:pt x="17257" y="3028"/>
                  <a:pt x="17266" y="2940"/>
                </a:cubicBezTo>
                <a:cubicBezTo>
                  <a:pt x="17275" y="2929"/>
                  <a:pt x="17281" y="2914"/>
                  <a:pt x="17285" y="2893"/>
                </a:cubicBezTo>
                <a:cubicBezTo>
                  <a:pt x="17288" y="2895"/>
                  <a:pt x="17292" y="2896"/>
                  <a:pt x="17295" y="2897"/>
                </a:cubicBezTo>
                <a:cubicBezTo>
                  <a:pt x="17296" y="2898"/>
                  <a:pt x="17297" y="2898"/>
                  <a:pt x="17299" y="2898"/>
                </a:cubicBezTo>
                <a:lnTo>
                  <a:pt x="17495" y="2898"/>
                </a:lnTo>
                <a:cubicBezTo>
                  <a:pt x="17503" y="2910"/>
                  <a:pt x="17512" y="2920"/>
                  <a:pt x="17523" y="2920"/>
                </a:cubicBezTo>
                <a:cubicBezTo>
                  <a:pt x="17550" y="2920"/>
                  <a:pt x="17571" y="2877"/>
                  <a:pt x="17571" y="2822"/>
                </a:cubicBezTo>
                <a:cubicBezTo>
                  <a:pt x="17571" y="2801"/>
                  <a:pt x="17566" y="2783"/>
                  <a:pt x="17560" y="2766"/>
                </a:cubicBezTo>
                <a:cubicBezTo>
                  <a:pt x="17571" y="2736"/>
                  <a:pt x="17587" y="2727"/>
                  <a:pt x="17603" y="2727"/>
                </a:cubicBezTo>
                <a:close/>
                <a:moveTo>
                  <a:pt x="13390" y="2736"/>
                </a:moveTo>
                <a:lnTo>
                  <a:pt x="13440" y="2796"/>
                </a:lnTo>
                <a:lnTo>
                  <a:pt x="13493" y="2856"/>
                </a:lnTo>
                <a:cubicBezTo>
                  <a:pt x="13468" y="2930"/>
                  <a:pt x="13454" y="3003"/>
                  <a:pt x="13446" y="3075"/>
                </a:cubicBezTo>
                <a:cubicBezTo>
                  <a:pt x="13430" y="3091"/>
                  <a:pt x="13417" y="3119"/>
                  <a:pt x="13417" y="3158"/>
                </a:cubicBezTo>
                <a:cubicBezTo>
                  <a:pt x="13417" y="3194"/>
                  <a:pt x="13428" y="3220"/>
                  <a:pt x="13443" y="3237"/>
                </a:cubicBezTo>
                <a:cubicBezTo>
                  <a:pt x="13455" y="3323"/>
                  <a:pt x="13488" y="3373"/>
                  <a:pt x="13519" y="3416"/>
                </a:cubicBezTo>
                <a:cubicBezTo>
                  <a:pt x="13525" y="3424"/>
                  <a:pt x="13532" y="3433"/>
                  <a:pt x="13538" y="3443"/>
                </a:cubicBezTo>
                <a:lnTo>
                  <a:pt x="13491" y="3443"/>
                </a:lnTo>
                <a:lnTo>
                  <a:pt x="13432" y="3416"/>
                </a:lnTo>
                <a:cubicBezTo>
                  <a:pt x="13424" y="3383"/>
                  <a:pt x="13411" y="3357"/>
                  <a:pt x="13392" y="3357"/>
                </a:cubicBezTo>
                <a:cubicBezTo>
                  <a:pt x="13380" y="3357"/>
                  <a:pt x="13370" y="3369"/>
                  <a:pt x="13361" y="3383"/>
                </a:cubicBezTo>
                <a:lnTo>
                  <a:pt x="13350" y="3377"/>
                </a:lnTo>
                <a:cubicBezTo>
                  <a:pt x="13350" y="3376"/>
                  <a:pt x="13350" y="3374"/>
                  <a:pt x="13350" y="3373"/>
                </a:cubicBezTo>
                <a:cubicBezTo>
                  <a:pt x="13348" y="3335"/>
                  <a:pt x="13346" y="3284"/>
                  <a:pt x="13314" y="3265"/>
                </a:cubicBezTo>
                <a:cubicBezTo>
                  <a:pt x="13311" y="3264"/>
                  <a:pt x="13308" y="3262"/>
                  <a:pt x="13290" y="3262"/>
                </a:cubicBezTo>
                <a:cubicBezTo>
                  <a:pt x="13276" y="3262"/>
                  <a:pt x="13257" y="3264"/>
                  <a:pt x="13249" y="3264"/>
                </a:cubicBezTo>
                <a:cubicBezTo>
                  <a:pt x="13240" y="3255"/>
                  <a:pt x="13226" y="3234"/>
                  <a:pt x="13224" y="3214"/>
                </a:cubicBezTo>
                <a:cubicBezTo>
                  <a:pt x="13230" y="3199"/>
                  <a:pt x="13235" y="3181"/>
                  <a:pt x="13235" y="3160"/>
                </a:cubicBezTo>
                <a:cubicBezTo>
                  <a:pt x="13240" y="3152"/>
                  <a:pt x="13245" y="3144"/>
                  <a:pt x="13251" y="3135"/>
                </a:cubicBezTo>
                <a:cubicBezTo>
                  <a:pt x="13267" y="3115"/>
                  <a:pt x="13286" y="3091"/>
                  <a:pt x="13286" y="3039"/>
                </a:cubicBezTo>
                <a:lnTo>
                  <a:pt x="13286" y="2975"/>
                </a:lnTo>
                <a:cubicBezTo>
                  <a:pt x="13286" y="2930"/>
                  <a:pt x="13346" y="2900"/>
                  <a:pt x="13372" y="2888"/>
                </a:cubicBezTo>
                <a:lnTo>
                  <a:pt x="13377" y="2885"/>
                </a:lnTo>
                <a:cubicBezTo>
                  <a:pt x="13384" y="2882"/>
                  <a:pt x="13389" y="2868"/>
                  <a:pt x="13388" y="2854"/>
                </a:cubicBezTo>
                <a:cubicBezTo>
                  <a:pt x="13387" y="2814"/>
                  <a:pt x="13373" y="2792"/>
                  <a:pt x="13364" y="2777"/>
                </a:cubicBezTo>
                <a:cubicBezTo>
                  <a:pt x="13362" y="2774"/>
                  <a:pt x="13361" y="2771"/>
                  <a:pt x="13359" y="2768"/>
                </a:cubicBezTo>
                <a:cubicBezTo>
                  <a:pt x="13372" y="2765"/>
                  <a:pt x="13382" y="2754"/>
                  <a:pt x="13390" y="2736"/>
                </a:cubicBezTo>
                <a:close/>
                <a:moveTo>
                  <a:pt x="4078" y="2741"/>
                </a:moveTo>
                <a:cubicBezTo>
                  <a:pt x="4047" y="2741"/>
                  <a:pt x="4014" y="2747"/>
                  <a:pt x="3986" y="2801"/>
                </a:cubicBezTo>
                <a:cubicBezTo>
                  <a:pt x="3985" y="2804"/>
                  <a:pt x="3984" y="2808"/>
                  <a:pt x="3984" y="2811"/>
                </a:cubicBezTo>
                <a:cubicBezTo>
                  <a:pt x="3983" y="2812"/>
                  <a:pt x="3981" y="2814"/>
                  <a:pt x="3980" y="2815"/>
                </a:cubicBezTo>
                <a:cubicBezTo>
                  <a:pt x="3975" y="2823"/>
                  <a:pt x="3967" y="2836"/>
                  <a:pt x="3967" y="2857"/>
                </a:cubicBezTo>
                <a:cubicBezTo>
                  <a:pt x="3967" y="2928"/>
                  <a:pt x="4005" y="2935"/>
                  <a:pt x="4030" y="2939"/>
                </a:cubicBezTo>
                <a:cubicBezTo>
                  <a:pt x="4032" y="2939"/>
                  <a:pt x="4033" y="2939"/>
                  <a:pt x="4035" y="2939"/>
                </a:cubicBezTo>
                <a:lnTo>
                  <a:pt x="4035" y="2997"/>
                </a:lnTo>
                <a:lnTo>
                  <a:pt x="4018" y="2997"/>
                </a:lnTo>
                <a:cubicBezTo>
                  <a:pt x="4002" y="2997"/>
                  <a:pt x="3987" y="2985"/>
                  <a:pt x="3973" y="2973"/>
                </a:cubicBezTo>
                <a:cubicBezTo>
                  <a:pt x="3968" y="2958"/>
                  <a:pt x="3961" y="2947"/>
                  <a:pt x="3952" y="2947"/>
                </a:cubicBezTo>
                <a:cubicBezTo>
                  <a:pt x="3948" y="2947"/>
                  <a:pt x="3945" y="2953"/>
                  <a:pt x="3941" y="2956"/>
                </a:cubicBezTo>
                <a:cubicBezTo>
                  <a:pt x="3935" y="2953"/>
                  <a:pt x="3929" y="2947"/>
                  <a:pt x="3922" y="2947"/>
                </a:cubicBezTo>
                <a:cubicBezTo>
                  <a:pt x="3914" y="2947"/>
                  <a:pt x="3908" y="2960"/>
                  <a:pt x="3908" y="2976"/>
                </a:cubicBezTo>
                <a:lnTo>
                  <a:pt x="3908" y="3049"/>
                </a:lnTo>
                <a:cubicBezTo>
                  <a:pt x="3908" y="3056"/>
                  <a:pt x="3909" y="3064"/>
                  <a:pt x="3912" y="3069"/>
                </a:cubicBezTo>
                <a:cubicBezTo>
                  <a:pt x="3926" y="3098"/>
                  <a:pt x="3942" y="3122"/>
                  <a:pt x="3960" y="3143"/>
                </a:cubicBezTo>
                <a:cubicBezTo>
                  <a:pt x="3978" y="3163"/>
                  <a:pt x="3995" y="3177"/>
                  <a:pt x="4012" y="3191"/>
                </a:cubicBezTo>
                <a:cubicBezTo>
                  <a:pt x="4043" y="3216"/>
                  <a:pt x="4071" y="3240"/>
                  <a:pt x="4099" y="3294"/>
                </a:cubicBezTo>
                <a:cubicBezTo>
                  <a:pt x="4101" y="3299"/>
                  <a:pt x="4104" y="3307"/>
                  <a:pt x="4106" y="3314"/>
                </a:cubicBezTo>
                <a:cubicBezTo>
                  <a:pt x="4114" y="3339"/>
                  <a:pt x="4127" y="3376"/>
                  <a:pt x="4156" y="3376"/>
                </a:cubicBezTo>
                <a:cubicBezTo>
                  <a:pt x="4174" y="3376"/>
                  <a:pt x="4183" y="3352"/>
                  <a:pt x="4190" y="3334"/>
                </a:cubicBezTo>
                <a:cubicBezTo>
                  <a:pt x="4194" y="3323"/>
                  <a:pt x="4198" y="3314"/>
                  <a:pt x="4203" y="3311"/>
                </a:cubicBezTo>
                <a:cubicBezTo>
                  <a:pt x="4218" y="3300"/>
                  <a:pt x="4229" y="3294"/>
                  <a:pt x="4239" y="3290"/>
                </a:cubicBezTo>
                <a:cubicBezTo>
                  <a:pt x="4241" y="3289"/>
                  <a:pt x="4243" y="3286"/>
                  <a:pt x="4245" y="3285"/>
                </a:cubicBezTo>
                <a:cubicBezTo>
                  <a:pt x="4249" y="3287"/>
                  <a:pt x="4251" y="3293"/>
                  <a:pt x="4255" y="3293"/>
                </a:cubicBezTo>
                <a:cubicBezTo>
                  <a:pt x="4282" y="3293"/>
                  <a:pt x="4304" y="3250"/>
                  <a:pt x="4304" y="3195"/>
                </a:cubicBezTo>
                <a:cubicBezTo>
                  <a:pt x="4304" y="3172"/>
                  <a:pt x="4298" y="3153"/>
                  <a:pt x="4292" y="3136"/>
                </a:cubicBezTo>
                <a:cubicBezTo>
                  <a:pt x="4294" y="3111"/>
                  <a:pt x="4296" y="3101"/>
                  <a:pt x="4298" y="3064"/>
                </a:cubicBezTo>
                <a:cubicBezTo>
                  <a:pt x="4299" y="3050"/>
                  <a:pt x="4294" y="3037"/>
                  <a:pt x="4288" y="3032"/>
                </a:cubicBezTo>
                <a:cubicBezTo>
                  <a:pt x="4279" y="3026"/>
                  <a:pt x="4265" y="3021"/>
                  <a:pt x="4253" y="3017"/>
                </a:cubicBezTo>
                <a:cubicBezTo>
                  <a:pt x="4255" y="3010"/>
                  <a:pt x="4255" y="3001"/>
                  <a:pt x="4256" y="2989"/>
                </a:cubicBezTo>
                <a:cubicBezTo>
                  <a:pt x="4256" y="2989"/>
                  <a:pt x="4255" y="2988"/>
                  <a:pt x="4255" y="2988"/>
                </a:cubicBezTo>
                <a:cubicBezTo>
                  <a:pt x="4255" y="2987"/>
                  <a:pt x="4256" y="2986"/>
                  <a:pt x="4256" y="2986"/>
                </a:cubicBezTo>
                <a:cubicBezTo>
                  <a:pt x="4256" y="2983"/>
                  <a:pt x="4256" y="2980"/>
                  <a:pt x="4256" y="2976"/>
                </a:cubicBezTo>
                <a:cubicBezTo>
                  <a:pt x="4256" y="2963"/>
                  <a:pt x="4253" y="2922"/>
                  <a:pt x="4218" y="2924"/>
                </a:cubicBezTo>
                <a:cubicBezTo>
                  <a:pt x="4233" y="2897"/>
                  <a:pt x="4245" y="2863"/>
                  <a:pt x="4245" y="2815"/>
                </a:cubicBezTo>
                <a:cubicBezTo>
                  <a:pt x="4245" y="2776"/>
                  <a:pt x="4223" y="2742"/>
                  <a:pt x="4209" y="2742"/>
                </a:cubicBezTo>
                <a:lnTo>
                  <a:pt x="4124" y="2742"/>
                </a:lnTo>
                <a:cubicBezTo>
                  <a:pt x="4117" y="2742"/>
                  <a:pt x="4109" y="2741"/>
                  <a:pt x="4101" y="2741"/>
                </a:cubicBezTo>
                <a:cubicBezTo>
                  <a:pt x="4093" y="2740"/>
                  <a:pt x="4086" y="2741"/>
                  <a:pt x="4078" y="2741"/>
                </a:cubicBezTo>
                <a:close/>
                <a:moveTo>
                  <a:pt x="15034" y="2752"/>
                </a:moveTo>
                <a:lnTo>
                  <a:pt x="14974" y="2863"/>
                </a:lnTo>
                <a:lnTo>
                  <a:pt x="14960" y="2890"/>
                </a:lnTo>
                <a:cubicBezTo>
                  <a:pt x="14960" y="2826"/>
                  <a:pt x="14984" y="2779"/>
                  <a:pt x="15034" y="2752"/>
                </a:cubicBezTo>
                <a:close/>
                <a:moveTo>
                  <a:pt x="15184" y="2761"/>
                </a:moveTo>
                <a:cubicBezTo>
                  <a:pt x="15174" y="2761"/>
                  <a:pt x="15166" y="2777"/>
                  <a:pt x="15166" y="2798"/>
                </a:cubicBezTo>
                <a:cubicBezTo>
                  <a:pt x="15166" y="2819"/>
                  <a:pt x="15174" y="2836"/>
                  <a:pt x="15184" y="2836"/>
                </a:cubicBezTo>
                <a:cubicBezTo>
                  <a:pt x="15195" y="2836"/>
                  <a:pt x="15204" y="2819"/>
                  <a:pt x="15204" y="2798"/>
                </a:cubicBezTo>
                <a:cubicBezTo>
                  <a:pt x="15204" y="2777"/>
                  <a:pt x="15195" y="2761"/>
                  <a:pt x="15184" y="2761"/>
                </a:cubicBezTo>
                <a:close/>
                <a:moveTo>
                  <a:pt x="17770" y="2769"/>
                </a:moveTo>
                <a:cubicBezTo>
                  <a:pt x="17784" y="2774"/>
                  <a:pt x="17787" y="2780"/>
                  <a:pt x="17798" y="2786"/>
                </a:cubicBezTo>
                <a:cubicBezTo>
                  <a:pt x="17793" y="2798"/>
                  <a:pt x="17789" y="2813"/>
                  <a:pt x="17789" y="2829"/>
                </a:cubicBezTo>
                <a:cubicBezTo>
                  <a:pt x="17789" y="2867"/>
                  <a:pt x="17805" y="2897"/>
                  <a:pt x="17824" y="2897"/>
                </a:cubicBezTo>
                <a:cubicBezTo>
                  <a:pt x="17843" y="2897"/>
                  <a:pt x="17858" y="2867"/>
                  <a:pt x="17858" y="2829"/>
                </a:cubicBezTo>
                <a:cubicBezTo>
                  <a:pt x="17858" y="2826"/>
                  <a:pt x="17856" y="2824"/>
                  <a:pt x="17856" y="2821"/>
                </a:cubicBezTo>
                <a:cubicBezTo>
                  <a:pt x="17882" y="2845"/>
                  <a:pt x="17896" y="2868"/>
                  <a:pt x="17899" y="2883"/>
                </a:cubicBezTo>
                <a:cubicBezTo>
                  <a:pt x="17904" y="2912"/>
                  <a:pt x="17891" y="2944"/>
                  <a:pt x="17878" y="2974"/>
                </a:cubicBezTo>
                <a:cubicBezTo>
                  <a:pt x="17871" y="2990"/>
                  <a:pt x="17867" y="3002"/>
                  <a:pt x="17867" y="3017"/>
                </a:cubicBezTo>
                <a:cubicBezTo>
                  <a:pt x="17867" y="3146"/>
                  <a:pt x="17908" y="3387"/>
                  <a:pt x="18009" y="3387"/>
                </a:cubicBezTo>
                <a:cubicBezTo>
                  <a:pt x="18050" y="3387"/>
                  <a:pt x="18066" y="3273"/>
                  <a:pt x="18074" y="3199"/>
                </a:cubicBezTo>
                <a:cubicBezTo>
                  <a:pt x="18082" y="3202"/>
                  <a:pt x="18090" y="3206"/>
                  <a:pt x="18098" y="3213"/>
                </a:cubicBezTo>
                <a:cubicBezTo>
                  <a:pt x="18215" y="3553"/>
                  <a:pt x="18327" y="3874"/>
                  <a:pt x="18411" y="4115"/>
                </a:cubicBezTo>
                <a:cubicBezTo>
                  <a:pt x="18412" y="4121"/>
                  <a:pt x="18414" y="4126"/>
                  <a:pt x="18416" y="4132"/>
                </a:cubicBezTo>
                <a:cubicBezTo>
                  <a:pt x="18422" y="4149"/>
                  <a:pt x="18428" y="4166"/>
                  <a:pt x="18434" y="4183"/>
                </a:cubicBezTo>
                <a:cubicBezTo>
                  <a:pt x="18436" y="4190"/>
                  <a:pt x="18439" y="4198"/>
                  <a:pt x="18441" y="4205"/>
                </a:cubicBezTo>
                <a:cubicBezTo>
                  <a:pt x="18447" y="4221"/>
                  <a:pt x="18453" y="4237"/>
                  <a:pt x="18458" y="4253"/>
                </a:cubicBezTo>
                <a:cubicBezTo>
                  <a:pt x="18467" y="4279"/>
                  <a:pt x="18475" y="4302"/>
                  <a:pt x="18483" y="4325"/>
                </a:cubicBezTo>
                <a:cubicBezTo>
                  <a:pt x="18468" y="4342"/>
                  <a:pt x="18456" y="4366"/>
                  <a:pt x="18446" y="4394"/>
                </a:cubicBezTo>
                <a:lnTo>
                  <a:pt x="18344" y="4315"/>
                </a:lnTo>
                <a:cubicBezTo>
                  <a:pt x="18344" y="4306"/>
                  <a:pt x="18347" y="4298"/>
                  <a:pt x="18347" y="4289"/>
                </a:cubicBezTo>
                <a:cubicBezTo>
                  <a:pt x="18347" y="4207"/>
                  <a:pt x="18313" y="4141"/>
                  <a:pt x="18273" y="4141"/>
                </a:cubicBezTo>
                <a:cubicBezTo>
                  <a:pt x="18246" y="4141"/>
                  <a:pt x="18224" y="4171"/>
                  <a:pt x="18211" y="4213"/>
                </a:cubicBezTo>
                <a:lnTo>
                  <a:pt x="18123" y="4144"/>
                </a:lnTo>
                <a:cubicBezTo>
                  <a:pt x="18123" y="4143"/>
                  <a:pt x="18123" y="4141"/>
                  <a:pt x="18123" y="4140"/>
                </a:cubicBezTo>
                <a:cubicBezTo>
                  <a:pt x="18123" y="4058"/>
                  <a:pt x="18090" y="3992"/>
                  <a:pt x="18049" y="3992"/>
                </a:cubicBezTo>
                <a:cubicBezTo>
                  <a:pt x="18040" y="3992"/>
                  <a:pt x="18031" y="3996"/>
                  <a:pt x="18023" y="4002"/>
                </a:cubicBezTo>
                <a:lnTo>
                  <a:pt x="17906" y="3433"/>
                </a:lnTo>
                <a:lnTo>
                  <a:pt x="17894" y="3375"/>
                </a:lnTo>
                <a:cubicBezTo>
                  <a:pt x="17898" y="3358"/>
                  <a:pt x="17900" y="3339"/>
                  <a:pt x="17900" y="3319"/>
                </a:cubicBezTo>
                <a:cubicBezTo>
                  <a:pt x="17900" y="3258"/>
                  <a:pt x="17881" y="3207"/>
                  <a:pt x="17855" y="3184"/>
                </a:cubicBezTo>
                <a:lnTo>
                  <a:pt x="17770" y="2769"/>
                </a:lnTo>
                <a:close/>
                <a:moveTo>
                  <a:pt x="3726" y="2789"/>
                </a:moveTo>
                <a:cubicBezTo>
                  <a:pt x="3748" y="2789"/>
                  <a:pt x="3785" y="2802"/>
                  <a:pt x="3785" y="2853"/>
                </a:cubicBezTo>
                <a:cubicBezTo>
                  <a:pt x="3785" y="2876"/>
                  <a:pt x="3773" y="2897"/>
                  <a:pt x="3762" y="2918"/>
                </a:cubicBezTo>
                <a:cubicBezTo>
                  <a:pt x="3753" y="2935"/>
                  <a:pt x="3745" y="2951"/>
                  <a:pt x="3741" y="2970"/>
                </a:cubicBezTo>
                <a:lnTo>
                  <a:pt x="3695" y="2799"/>
                </a:lnTo>
                <a:cubicBezTo>
                  <a:pt x="3704" y="2792"/>
                  <a:pt x="3715" y="2789"/>
                  <a:pt x="3726" y="2789"/>
                </a:cubicBezTo>
                <a:close/>
                <a:moveTo>
                  <a:pt x="4901" y="2789"/>
                </a:moveTo>
                <a:cubicBezTo>
                  <a:pt x="4923" y="2803"/>
                  <a:pt x="4938" y="2813"/>
                  <a:pt x="4948" y="2819"/>
                </a:cubicBezTo>
                <a:cubicBezTo>
                  <a:pt x="4941" y="2834"/>
                  <a:pt x="4932" y="2846"/>
                  <a:pt x="4922" y="2860"/>
                </a:cubicBezTo>
                <a:cubicBezTo>
                  <a:pt x="4901" y="2889"/>
                  <a:pt x="4877" y="2922"/>
                  <a:pt x="4870" y="2983"/>
                </a:cubicBezTo>
                <a:cubicBezTo>
                  <a:pt x="4870" y="2983"/>
                  <a:pt x="4706" y="3286"/>
                  <a:pt x="4706" y="3286"/>
                </a:cubicBezTo>
                <a:cubicBezTo>
                  <a:pt x="4696" y="3258"/>
                  <a:pt x="4691" y="3235"/>
                  <a:pt x="4691" y="3226"/>
                </a:cubicBezTo>
                <a:cubicBezTo>
                  <a:pt x="4691" y="3117"/>
                  <a:pt x="4699" y="3101"/>
                  <a:pt x="4727" y="3059"/>
                </a:cubicBezTo>
                <a:cubicBezTo>
                  <a:pt x="4743" y="3035"/>
                  <a:pt x="4744" y="2993"/>
                  <a:pt x="4744" y="2961"/>
                </a:cubicBezTo>
                <a:cubicBezTo>
                  <a:pt x="4744" y="2953"/>
                  <a:pt x="4744" y="2940"/>
                  <a:pt x="4745" y="2934"/>
                </a:cubicBezTo>
                <a:cubicBezTo>
                  <a:pt x="4768" y="2888"/>
                  <a:pt x="4792" y="2856"/>
                  <a:pt x="4816" y="2832"/>
                </a:cubicBezTo>
                <a:cubicBezTo>
                  <a:pt x="4817" y="2832"/>
                  <a:pt x="4818" y="2833"/>
                  <a:pt x="4819" y="2833"/>
                </a:cubicBezTo>
                <a:cubicBezTo>
                  <a:pt x="4833" y="2833"/>
                  <a:pt x="4846" y="2822"/>
                  <a:pt x="4857" y="2808"/>
                </a:cubicBezTo>
                <a:cubicBezTo>
                  <a:pt x="4871" y="2801"/>
                  <a:pt x="4885" y="2789"/>
                  <a:pt x="4901" y="2789"/>
                </a:cubicBezTo>
                <a:close/>
                <a:moveTo>
                  <a:pt x="3413" y="2798"/>
                </a:moveTo>
                <a:cubicBezTo>
                  <a:pt x="3398" y="2798"/>
                  <a:pt x="3387" y="2821"/>
                  <a:pt x="3387" y="2849"/>
                </a:cubicBezTo>
                <a:cubicBezTo>
                  <a:pt x="3387" y="2877"/>
                  <a:pt x="3398" y="2900"/>
                  <a:pt x="3413" y="2900"/>
                </a:cubicBezTo>
                <a:cubicBezTo>
                  <a:pt x="3427" y="2900"/>
                  <a:pt x="3438" y="2877"/>
                  <a:pt x="3438" y="2849"/>
                </a:cubicBezTo>
                <a:cubicBezTo>
                  <a:pt x="3438" y="2821"/>
                  <a:pt x="3427" y="2798"/>
                  <a:pt x="3413" y="2798"/>
                </a:cubicBezTo>
                <a:close/>
                <a:moveTo>
                  <a:pt x="4078" y="2800"/>
                </a:moveTo>
                <a:cubicBezTo>
                  <a:pt x="4086" y="2800"/>
                  <a:pt x="4093" y="2801"/>
                  <a:pt x="4100" y="2801"/>
                </a:cubicBezTo>
                <a:cubicBezTo>
                  <a:pt x="4108" y="2802"/>
                  <a:pt x="4116" y="2801"/>
                  <a:pt x="4124" y="2801"/>
                </a:cubicBezTo>
                <a:lnTo>
                  <a:pt x="4207" y="2801"/>
                </a:lnTo>
                <a:cubicBezTo>
                  <a:pt x="4210" y="2803"/>
                  <a:pt x="4214" y="2812"/>
                  <a:pt x="4215" y="2815"/>
                </a:cubicBezTo>
                <a:cubicBezTo>
                  <a:pt x="4215" y="2855"/>
                  <a:pt x="4199" y="2879"/>
                  <a:pt x="4176" y="2911"/>
                </a:cubicBezTo>
                <a:cubicBezTo>
                  <a:pt x="4166" y="2925"/>
                  <a:pt x="4157" y="2939"/>
                  <a:pt x="4150" y="2954"/>
                </a:cubicBezTo>
                <a:cubicBezTo>
                  <a:pt x="4147" y="2964"/>
                  <a:pt x="4146" y="2976"/>
                  <a:pt x="4149" y="2987"/>
                </a:cubicBezTo>
                <a:cubicBezTo>
                  <a:pt x="4151" y="2991"/>
                  <a:pt x="4152" y="2996"/>
                  <a:pt x="4155" y="2998"/>
                </a:cubicBezTo>
                <a:lnTo>
                  <a:pt x="4063" y="3042"/>
                </a:lnTo>
                <a:cubicBezTo>
                  <a:pt x="4064" y="3037"/>
                  <a:pt x="4065" y="3032"/>
                  <a:pt x="4065" y="3028"/>
                </a:cubicBezTo>
                <a:lnTo>
                  <a:pt x="4065" y="2912"/>
                </a:lnTo>
                <a:cubicBezTo>
                  <a:pt x="4065" y="2897"/>
                  <a:pt x="4059" y="2885"/>
                  <a:pt x="4052" y="2883"/>
                </a:cubicBezTo>
                <a:cubicBezTo>
                  <a:pt x="4046" y="2881"/>
                  <a:pt x="4039" y="2879"/>
                  <a:pt x="4032" y="2878"/>
                </a:cubicBezTo>
                <a:cubicBezTo>
                  <a:pt x="4013" y="2875"/>
                  <a:pt x="4002" y="2872"/>
                  <a:pt x="3999" y="2863"/>
                </a:cubicBezTo>
                <a:cubicBezTo>
                  <a:pt x="4002" y="2858"/>
                  <a:pt x="4006" y="2851"/>
                  <a:pt x="4009" y="2841"/>
                </a:cubicBezTo>
                <a:cubicBezTo>
                  <a:pt x="4027" y="2807"/>
                  <a:pt x="4050" y="2800"/>
                  <a:pt x="4078" y="2800"/>
                </a:cubicBezTo>
                <a:close/>
                <a:moveTo>
                  <a:pt x="5265" y="2800"/>
                </a:moveTo>
                <a:lnTo>
                  <a:pt x="5256" y="2850"/>
                </a:lnTo>
                <a:cubicBezTo>
                  <a:pt x="5254" y="2844"/>
                  <a:pt x="5253" y="2838"/>
                  <a:pt x="5253" y="2832"/>
                </a:cubicBezTo>
                <a:cubicBezTo>
                  <a:pt x="5253" y="2814"/>
                  <a:pt x="5259" y="2804"/>
                  <a:pt x="5265" y="2800"/>
                </a:cubicBezTo>
                <a:close/>
                <a:moveTo>
                  <a:pt x="5297" y="2801"/>
                </a:moveTo>
                <a:cubicBezTo>
                  <a:pt x="5307" y="2804"/>
                  <a:pt x="5316" y="2809"/>
                  <a:pt x="5324" y="2814"/>
                </a:cubicBezTo>
                <a:cubicBezTo>
                  <a:pt x="5340" y="2823"/>
                  <a:pt x="5356" y="2832"/>
                  <a:pt x="5380" y="2832"/>
                </a:cubicBezTo>
                <a:cubicBezTo>
                  <a:pt x="5386" y="2832"/>
                  <a:pt x="5393" y="2839"/>
                  <a:pt x="5400" y="2841"/>
                </a:cubicBezTo>
                <a:cubicBezTo>
                  <a:pt x="5386" y="2868"/>
                  <a:pt x="5378" y="2905"/>
                  <a:pt x="5378" y="2946"/>
                </a:cubicBezTo>
                <a:cubicBezTo>
                  <a:pt x="5378" y="2953"/>
                  <a:pt x="5379" y="2959"/>
                  <a:pt x="5380" y="2966"/>
                </a:cubicBezTo>
                <a:cubicBezTo>
                  <a:pt x="5369" y="2975"/>
                  <a:pt x="5359" y="2984"/>
                  <a:pt x="5344" y="2984"/>
                </a:cubicBezTo>
                <a:cubicBezTo>
                  <a:pt x="5313" y="2984"/>
                  <a:pt x="5297" y="2972"/>
                  <a:pt x="5293" y="2960"/>
                </a:cubicBezTo>
                <a:cubicBezTo>
                  <a:pt x="5291" y="2954"/>
                  <a:pt x="5292" y="2945"/>
                  <a:pt x="5294" y="2932"/>
                </a:cubicBezTo>
                <a:cubicBezTo>
                  <a:pt x="5297" y="2918"/>
                  <a:pt x="5294" y="2902"/>
                  <a:pt x="5288" y="2895"/>
                </a:cubicBezTo>
                <a:lnTo>
                  <a:pt x="5283" y="2889"/>
                </a:lnTo>
                <a:cubicBezTo>
                  <a:pt x="5283" y="2888"/>
                  <a:pt x="5282" y="2887"/>
                  <a:pt x="5281" y="2886"/>
                </a:cubicBezTo>
                <a:cubicBezTo>
                  <a:pt x="5281" y="2886"/>
                  <a:pt x="5294" y="2813"/>
                  <a:pt x="5294" y="2813"/>
                </a:cubicBezTo>
                <a:lnTo>
                  <a:pt x="5297" y="2801"/>
                </a:lnTo>
                <a:close/>
                <a:moveTo>
                  <a:pt x="14357" y="2813"/>
                </a:moveTo>
                <a:cubicBezTo>
                  <a:pt x="14366" y="2813"/>
                  <a:pt x="14371" y="2821"/>
                  <a:pt x="14381" y="2846"/>
                </a:cubicBezTo>
                <a:cubicBezTo>
                  <a:pt x="14382" y="2849"/>
                  <a:pt x="14383" y="2852"/>
                  <a:pt x="14385" y="2855"/>
                </a:cubicBezTo>
                <a:cubicBezTo>
                  <a:pt x="14372" y="2864"/>
                  <a:pt x="14355" y="2874"/>
                  <a:pt x="14340" y="2878"/>
                </a:cubicBezTo>
                <a:cubicBezTo>
                  <a:pt x="14340" y="2875"/>
                  <a:pt x="14341" y="2871"/>
                  <a:pt x="14341" y="2868"/>
                </a:cubicBezTo>
                <a:cubicBezTo>
                  <a:pt x="14341" y="2841"/>
                  <a:pt x="14349" y="2813"/>
                  <a:pt x="14357" y="2813"/>
                </a:cubicBezTo>
                <a:close/>
                <a:moveTo>
                  <a:pt x="5168" y="2832"/>
                </a:moveTo>
                <a:cubicBezTo>
                  <a:pt x="5185" y="2832"/>
                  <a:pt x="5199" y="2852"/>
                  <a:pt x="5211" y="2881"/>
                </a:cubicBezTo>
                <a:cubicBezTo>
                  <a:pt x="5204" y="2877"/>
                  <a:pt x="5198" y="2872"/>
                  <a:pt x="5191" y="2872"/>
                </a:cubicBezTo>
                <a:cubicBezTo>
                  <a:pt x="5151" y="2872"/>
                  <a:pt x="5117" y="2939"/>
                  <a:pt x="5117" y="3021"/>
                </a:cubicBezTo>
                <a:cubicBezTo>
                  <a:pt x="5117" y="3102"/>
                  <a:pt x="5151" y="3169"/>
                  <a:pt x="5191" y="3169"/>
                </a:cubicBezTo>
                <a:cubicBezTo>
                  <a:pt x="5194" y="3169"/>
                  <a:pt x="5196" y="3167"/>
                  <a:pt x="5198" y="3166"/>
                </a:cubicBezTo>
                <a:lnTo>
                  <a:pt x="5118" y="3603"/>
                </a:lnTo>
                <a:cubicBezTo>
                  <a:pt x="5110" y="3593"/>
                  <a:pt x="5103" y="3581"/>
                  <a:pt x="5092" y="3581"/>
                </a:cubicBezTo>
                <a:cubicBezTo>
                  <a:pt x="5081" y="3581"/>
                  <a:pt x="5071" y="3593"/>
                  <a:pt x="5062" y="3607"/>
                </a:cubicBezTo>
                <a:cubicBezTo>
                  <a:pt x="5057" y="3607"/>
                  <a:pt x="5052" y="3607"/>
                  <a:pt x="5047" y="3607"/>
                </a:cubicBezTo>
                <a:cubicBezTo>
                  <a:pt x="5008" y="3608"/>
                  <a:pt x="4972" y="3609"/>
                  <a:pt x="4941" y="3609"/>
                </a:cubicBezTo>
                <a:cubicBezTo>
                  <a:pt x="4932" y="3609"/>
                  <a:pt x="4902" y="3569"/>
                  <a:pt x="4890" y="3536"/>
                </a:cubicBezTo>
                <a:cubicBezTo>
                  <a:pt x="4887" y="3528"/>
                  <a:pt x="4882" y="3524"/>
                  <a:pt x="4877" y="3524"/>
                </a:cubicBezTo>
                <a:lnTo>
                  <a:pt x="4785" y="3524"/>
                </a:lnTo>
                <a:cubicBezTo>
                  <a:pt x="4779" y="3500"/>
                  <a:pt x="4769" y="3484"/>
                  <a:pt x="4762" y="3471"/>
                </a:cubicBezTo>
                <a:cubicBezTo>
                  <a:pt x="4757" y="3462"/>
                  <a:pt x="4753" y="3455"/>
                  <a:pt x="4750" y="3448"/>
                </a:cubicBezTo>
                <a:cubicBezTo>
                  <a:pt x="4762" y="3447"/>
                  <a:pt x="4776" y="3452"/>
                  <a:pt x="4791" y="3458"/>
                </a:cubicBezTo>
                <a:cubicBezTo>
                  <a:pt x="4801" y="3462"/>
                  <a:pt x="4812" y="3466"/>
                  <a:pt x="4823" y="3468"/>
                </a:cubicBezTo>
                <a:cubicBezTo>
                  <a:pt x="4827" y="3469"/>
                  <a:pt x="4831" y="3467"/>
                  <a:pt x="4834" y="3461"/>
                </a:cubicBezTo>
                <a:cubicBezTo>
                  <a:pt x="4837" y="3456"/>
                  <a:pt x="4840" y="3448"/>
                  <a:pt x="4840" y="3439"/>
                </a:cubicBezTo>
                <a:lnTo>
                  <a:pt x="4840" y="3384"/>
                </a:lnTo>
                <a:cubicBezTo>
                  <a:pt x="4840" y="3374"/>
                  <a:pt x="4837" y="3364"/>
                  <a:pt x="4833" y="3359"/>
                </a:cubicBezTo>
                <a:cubicBezTo>
                  <a:pt x="4817" y="3338"/>
                  <a:pt x="4767" y="3324"/>
                  <a:pt x="4734" y="3317"/>
                </a:cubicBezTo>
                <a:lnTo>
                  <a:pt x="4781" y="3228"/>
                </a:lnTo>
                <a:lnTo>
                  <a:pt x="4872" y="3061"/>
                </a:lnTo>
                <a:cubicBezTo>
                  <a:pt x="4874" y="3071"/>
                  <a:pt x="4877" y="3080"/>
                  <a:pt x="4882" y="3086"/>
                </a:cubicBezTo>
                <a:cubicBezTo>
                  <a:pt x="4881" y="3111"/>
                  <a:pt x="4883" y="3135"/>
                  <a:pt x="4884" y="3144"/>
                </a:cubicBezTo>
                <a:lnTo>
                  <a:pt x="4884" y="3153"/>
                </a:lnTo>
                <a:cubicBezTo>
                  <a:pt x="4883" y="3176"/>
                  <a:pt x="4883" y="3204"/>
                  <a:pt x="4892" y="3225"/>
                </a:cubicBezTo>
                <a:cubicBezTo>
                  <a:pt x="4899" y="3238"/>
                  <a:pt x="4908" y="3243"/>
                  <a:pt x="4920" y="3243"/>
                </a:cubicBezTo>
                <a:cubicBezTo>
                  <a:pt x="4941" y="3243"/>
                  <a:pt x="4977" y="3179"/>
                  <a:pt x="4977" y="3129"/>
                </a:cubicBezTo>
                <a:cubicBezTo>
                  <a:pt x="4977" y="3100"/>
                  <a:pt x="4970" y="3077"/>
                  <a:pt x="4965" y="3057"/>
                </a:cubicBezTo>
                <a:cubicBezTo>
                  <a:pt x="4960" y="3041"/>
                  <a:pt x="4956" y="3026"/>
                  <a:pt x="4956" y="3014"/>
                </a:cubicBezTo>
                <a:cubicBezTo>
                  <a:pt x="4956" y="2880"/>
                  <a:pt x="5086" y="2832"/>
                  <a:pt x="5168" y="2832"/>
                </a:cubicBezTo>
                <a:close/>
                <a:moveTo>
                  <a:pt x="4595" y="2854"/>
                </a:moveTo>
                <a:cubicBezTo>
                  <a:pt x="4571" y="2920"/>
                  <a:pt x="4545" y="2984"/>
                  <a:pt x="4496" y="2984"/>
                </a:cubicBezTo>
                <a:cubicBezTo>
                  <a:pt x="4481" y="2984"/>
                  <a:pt x="4472" y="2978"/>
                  <a:pt x="4465" y="2973"/>
                </a:cubicBezTo>
                <a:cubicBezTo>
                  <a:pt x="4460" y="2969"/>
                  <a:pt x="4456" y="2967"/>
                  <a:pt x="4450" y="2967"/>
                </a:cubicBezTo>
                <a:cubicBezTo>
                  <a:pt x="4432" y="2967"/>
                  <a:pt x="4427" y="3003"/>
                  <a:pt x="4422" y="3036"/>
                </a:cubicBezTo>
                <a:cubicBezTo>
                  <a:pt x="4421" y="3045"/>
                  <a:pt x="4422" y="3054"/>
                  <a:pt x="4424" y="3061"/>
                </a:cubicBezTo>
                <a:cubicBezTo>
                  <a:pt x="4427" y="3069"/>
                  <a:pt x="4432" y="3074"/>
                  <a:pt x="4437" y="3074"/>
                </a:cubicBezTo>
                <a:lnTo>
                  <a:pt x="4445" y="3074"/>
                </a:lnTo>
                <a:cubicBezTo>
                  <a:pt x="4440" y="3099"/>
                  <a:pt x="4432" y="3112"/>
                  <a:pt x="4420" y="3134"/>
                </a:cubicBezTo>
                <a:cubicBezTo>
                  <a:pt x="4417" y="3140"/>
                  <a:pt x="4413" y="3146"/>
                  <a:pt x="4409" y="3153"/>
                </a:cubicBezTo>
                <a:lnTo>
                  <a:pt x="4388" y="3153"/>
                </a:lnTo>
                <a:cubicBezTo>
                  <a:pt x="4388" y="3113"/>
                  <a:pt x="4388" y="3077"/>
                  <a:pt x="4389" y="3063"/>
                </a:cubicBezTo>
                <a:cubicBezTo>
                  <a:pt x="4390" y="3053"/>
                  <a:pt x="4389" y="3043"/>
                  <a:pt x="4385" y="3036"/>
                </a:cubicBezTo>
                <a:cubicBezTo>
                  <a:pt x="4373" y="3010"/>
                  <a:pt x="4368" y="2988"/>
                  <a:pt x="4366" y="2962"/>
                </a:cubicBezTo>
                <a:lnTo>
                  <a:pt x="4595" y="2854"/>
                </a:lnTo>
                <a:close/>
                <a:moveTo>
                  <a:pt x="3679" y="2864"/>
                </a:moveTo>
                <a:lnTo>
                  <a:pt x="3715" y="3000"/>
                </a:lnTo>
                <a:cubicBezTo>
                  <a:pt x="3709" y="2994"/>
                  <a:pt x="3704" y="2984"/>
                  <a:pt x="3697" y="2984"/>
                </a:cubicBezTo>
                <a:cubicBezTo>
                  <a:pt x="3681" y="2984"/>
                  <a:pt x="3669" y="3002"/>
                  <a:pt x="3660" y="3025"/>
                </a:cubicBezTo>
                <a:lnTo>
                  <a:pt x="3582" y="2934"/>
                </a:lnTo>
                <a:cubicBezTo>
                  <a:pt x="3582" y="2931"/>
                  <a:pt x="3582" y="2930"/>
                  <a:pt x="3582" y="2930"/>
                </a:cubicBezTo>
                <a:cubicBezTo>
                  <a:pt x="3582" y="2917"/>
                  <a:pt x="3594" y="2903"/>
                  <a:pt x="3605" y="2903"/>
                </a:cubicBezTo>
                <a:cubicBezTo>
                  <a:pt x="3618" y="2903"/>
                  <a:pt x="3623" y="2907"/>
                  <a:pt x="3628" y="2911"/>
                </a:cubicBezTo>
                <a:cubicBezTo>
                  <a:pt x="3631" y="2914"/>
                  <a:pt x="3636" y="2919"/>
                  <a:pt x="3643" y="2919"/>
                </a:cubicBezTo>
                <a:cubicBezTo>
                  <a:pt x="3650" y="2919"/>
                  <a:pt x="3658" y="2914"/>
                  <a:pt x="3671" y="2900"/>
                </a:cubicBezTo>
                <a:cubicBezTo>
                  <a:pt x="3678" y="2894"/>
                  <a:pt x="3681" y="2878"/>
                  <a:pt x="3679" y="2864"/>
                </a:cubicBezTo>
                <a:close/>
                <a:moveTo>
                  <a:pt x="16449" y="2872"/>
                </a:moveTo>
                <a:cubicBezTo>
                  <a:pt x="16439" y="2872"/>
                  <a:pt x="16431" y="2888"/>
                  <a:pt x="16431" y="2909"/>
                </a:cubicBezTo>
                <a:cubicBezTo>
                  <a:pt x="16431" y="2929"/>
                  <a:pt x="16439" y="2946"/>
                  <a:pt x="16449" y="2946"/>
                </a:cubicBezTo>
                <a:cubicBezTo>
                  <a:pt x="16459" y="2946"/>
                  <a:pt x="16468" y="2929"/>
                  <a:pt x="16468" y="2909"/>
                </a:cubicBezTo>
                <a:cubicBezTo>
                  <a:pt x="16468" y="2888"/>
                  <a:pt x="16459" y="2872"/>
                  <a:pt x="16449" y="2872"/>
                </a:cubicBezTo>
                <a:close/>
                <a:moveTo>
                  <a:pt x="3185" y="2917"/>
                </a:moveTo>
                <a:cubicBezTo>
                  <a:pt x="3193" y="2917"/>
                  <a:pt x="3198" y="2969"/>
                  <a:pt x="3200" y="2995"/>
                </a:cubicBezTo>
                <a:cubicBezTo>
                  <a:pt x="3203" y="3019"/>
                  <a:pt x="3205" y="3039"/>
                  <a:pt x="3209" y="3052"/>
                </a:cubicBezTo>
                <a:cubicBezTo>
                  <a:pt x="3213" y="3065"/>
                  <a:pt x="3223" y="3069"/>
                  <a:pt x="3229" y="3060"/>
                </a:cubicBezTo>
                <a:cubicBezTo>
                  <a:pt x="3236" y="3052"/>
                  <a:pt x="3241" y="3042"/>
                  <a:pt x="3247" y="3031"/>
                </a:cubicBezTo>
                <a:cubicBezTo>
                  <a:pt x="3258" y="3009"/>
                  <a:pt x="3269" y="2989"/>
                  <a:pt x="3287" y="2989"/>
                </a:cubicBezTo>
                <a:cubicBezTo>
                  <a:pt x="3338" y="2989"/>
                  <a:pt x="3355" y="3027"/>
                  <a:pt x="3368" y="3097"/>
                </a:cubicBezTo>
                <a:cubicBezTo>
                  <a:pt x="3371" y="3111"/>
                  <a:pt x="3378" y="3119"/>
                  <a:pt x="3385" y="3116"/>
                </a:cubicBezTo>
                <a:cubicBezTo>
                  <a:pt x="3410" y="3107"/>
                  <a:pt x="3428" y="3098"/>
                  <a:pt x="3450" y="3086"/>
                </a:cubicBezTo>
                <a:cubicBezTo>
                  <a:pt x="3457" y="3082"/>
                  <a:pt x="3462" y="3068"/>
                  <a:pt x="3461" y="3053"/>
                </a:cubicBezTo>
                <a:cubicBezTo>
                  <a:pt x="3460" y="3035"/>
                  <a:pt x="3458" y="3021"/>
                  <a:pt x="3457" y="3010"/>
                </a:cubicBezTo>
                <a:lnTo>
                  <a:pt x="3480" y="3010"/>
                </a:lnTo>
                <a:cubicBezTo>
                  <a:pt x="3506" y="3026"/>
                  <a:pt x="3530" y="3075"/>
                  <a:pt x="3539" y="3113"/>
                </a:cubicBezTo>
                <a:cubicBezTo>
                  <a:pt x="3542" y="3125"/>
                  <a:pt x="3543" y="3147"/>
                  <a:pt x="3544" y="3167"/>
                </a:cubicBezTo>
                <a:cubicBezTo>
                  <a:pt x="3546" y="3212"/>
                  <a:pt x="3549" y="3286"/>
                  <a:pt x="3588" y="3286"/>
                </a:cubicBezTo>
                <a:cubicBezTo>
                  <a:pt x="3607" y="3286"/>
                  <a:pt x="3614" y="3269"/>
                  <a:pt x="3620" y="3257"/>
                </a:cubicBezTo>
                <a:cubicBezTo>
                  <a:pt x="3621" y="3254"/>
                  <a:pt x="3622" y="3249"/>
                  <a:pt x="3625" y="3246"/>
                </a:cubicBezTo>
                <a:cubicBezTo>
                  <a:pt x="3631" y="3236"/>
                  <a:pt x="3632" y="3220"/>
                  <a:pt x="3628" y="3207"/>
                </a:cubicBezTo>
                <a:cubicBezTo>
                  <a:pt x="3619" y="3176"/>
                  <a:pt x="3603" y="3087"/>
                  <a:pt x="3592" y="3016"/>
                </a:cubicBezTo>
                <a:lnTo>
                  <a:pt x="3648" y="3081"/>
                </a:lnTo>
                <a:cubicBezTo>
                  <a:pt x="3648" y="3082"/>
                  <a:pt x="3647" y="3083"/>
                  <a:pt x="3647" y="3083"/>
                </a:cubicBezTo>
                <a:cubicBezTo>
                  <a:pt x="3647" y="3138"/>
                  <a:pt x="3670" y="3181"/>
                  <a:pt x="3697" y="3181"/>
                </a:cubicBezTo>
                <a:cubicBezTo>
                  <a:pt x="3705" y="3181"/>
                  <a:pt x="3711" y="3171"/>
                  <a:pt x="3718" y="3164"/>
                </a:cubicBezTo>
                <a:lnTo>
                  <a:pt x="3763" y="3215"/>
                </a:lnTo>
                <a:lnTo>
                  <a:pt x="3776" y="3230"/>
                </a:lnTo>
                <a:cubicBezTo>
                  <a:pt x="3788" y="3278"/>
                  <a:pt x="3796" y="3316"/>
                  <a:pt x="3796" y="3354"/>
                </a:cubicBezTo>
                <a:cubicBezTo>
                  <a:pt x="3796" y="3467"/>
                  <a:pt x="3884" y="3544"/>
                  <a:pt x="3954" y="3606"/>
                </a:cubicBezTo>
                <a:cubicBezTo>
                  <a:pt x="3971" y="3620"/>
                  <a:pt x="3987" y="3634"/>
                  <a:pt x="3999" y="3647"/>
                </a:cubicBezTo>
                <a:cubicBezTo>
                  <a:pt x="3985" y="3658"/>
                  <a:pt x="3978" y="3655"/>
                  <a:pt x="3967" y="3654"/>
                </a:cubicBezTo>
                <a:cubicBezTo>
                  <a:pt x="3956" y="3652"/>
                  <a:pt x="3940" y="3648"/>
                  <a:pt x="3927" y="3657"/>
                </a:cubicBezTo>
                <a:lnTo>
                  <a:pt x="3247" y="3346"/>
                </a:lnTo>
                <a:cubicBezTo>
                  <a:pt x="3242" y="3331"/>
                  <a:pt x="3236" y="3320"/>
                  <a:pt x="3226" y="3320"/>
                </a:cubicBezTo>
                <a:cubicBezTo>
                  <a:pt x="3222" y="3320"/>
                  <a:pt x="3218" y="3326"/>
                  <a:pt x="3214" y="3331"/>
                </a:cubicBezTo>
                <a:lnTo>
                  <a:pt x="2935" y="3202"/>
                </a:lnTo>
                <a:cubicBezTo>
                  <a:pt x="2962" y="3039"/>
                  <a:pt x="3121" y="2917"/>
                  <a:pt x="3185" y="2917"/>
                </a:cubicBezTo>
                <a:close/>
                <a:moveTo>
                  <a:pt x="5257" y="2928"/>
                </a:moveTo>
                <a:cubicBezTo>
                  <a:pt x="5259" y="2931"/>
                  <a:pt x="5261" y="2933"/>
                  <a:pt x="5263" y="2935"/>
                </a:cubicBezTo>
                <a:cubicBezTo>
                  <a:pt x="5261" y="2962"/>
                  <a:pt x="5264" y="2980"/>
                  <a:pt x="5268" y="2993"/>
                </a:cubicBezTo>
                <a:cubicBezTo>
                  <a:pt x="5279" y="3026"/>
                  <a:pt x="5305" y="3044"/>
                  <a:pt x="5344" y="3044"/>
                </a:cubicBezTo>
                <a:cubicBezTo>
                  <a:pt x="5363" y="3044"/>
                  <a:pt x="5378" y="3033"/>
                  <a:pt x="5390" y="3023"/>
                </a:cubicBezTo>
                <a:cubicBezTo>
                  <a:pt x="5384" y="3033"/>
                  <a:pt x="5379" y="3046"/>
                  <a:pt x="5374" y="3057"/>
                </a:cubicBezTo>
                <a:cubicBezTo>
                  <a:pt x="5362" y="3083"/>
                  <a:pt x="5355" y="3099"/>
                  <a:pt x="5344" y="3099"/>
                </a:cubicBezTo>
                <a:cubicBezTo>
                  <a:pt x="5341" y="3099"/>
                  <a:pt x="5338" y="3095"/>
                  <a:pt x="5331" y="3086"/>
                </a:cubicBezTo>
                <a:cubicBezTo>
                  <a:pt x="5324" y="3074"/>
                  <a:pt x="5313" y="3057"/>
                  <a:pt x="5295" y="3057"/>
                </a:cubicBezTo>
                <a:cubicBezTo>
                  <a:pt x="5282" y="3057"/>
                  <a:pt x="5272" y="3068"/>
                  <a:pt x="5265" y="3079"/>
                </a:cubicBezTo>
                <a:cubicBezTo>
                  <a:pt x="5265" y="3077"/>
                  <a:pt x="5266" y="3075"/>
                  <a:pt x="5266" y="3073"/>
                </a:cubicBezTo>
                <a:cubicBezTo>
                  <a:pt x="5267" y="3059"/>
                  <a:pt x="5268" y="3051"/>
                  <a:pt x="5268" y="3044"/>
                </a:cubicBezTo>
                <a:cubicBezTo>
                  <a:pt x="5268" y="3021"/>
                  <a:pt x="5266" y="2996"/>
                  <a:pt x="5263" y="2970"/>
                </a:cubicBezTo>
                <a:cubicBezTo>
                  <a:pt x="5261" y="2957"/>
                  <a:pt x="5260" y="2942"/>
                  <a:pt x="5257" y="2928"/>
                </a:cubicBezTo>
                <a:close/>
                <a:moveTo>
                  <a:pt x="8631" y="2940"/>
                </a:moveTo>
                <a:cubicBezTo>
                  <a:pt x="8632" y="2940"/>
                  <a:pt x="8633" y="2940"/>
                  <a:pt x="8634" y="2940"/>
                </a:cubicBezTo>
                <a:cubicBezTo>
                  <a:pt x="8638" y="2959"/>
                  <a:pt x="8645" y="2979"/>
                  <a:pt x="8653" y="2998"/>
                </a:cubicBezTo>
                <a:cubicBezTo>
                  <a:pt x="8645" y="2986"/>
                  <a:pt x="8638" y="2973"/>
                  <a:pt x="8631" y="2960"/>
                </a:cubicBezTo>
                <a:lnTo>
                  <a:pt x="8631" y="2940"/>
                </a:lnTo>
                <a:close/>
                <a:moveTo>
                  <a:pt x="18740" y="2962"/>
                </a:moveTo>
                <a:cubicBezTo>
                  <a:pt x="18786" y="2962"/>
                  <a:pt x="18832" y="2967"/>
                  <a:pt x="18878" y="2977"/>
                </a:cubicBezTo>
                <a:lnTo>
                  <a:pt x="18596" y="4319"/>
                </a:lnTo>
                <a:cubicBezTo>
                  <a:pt x="18584" y="4307"/>
                  <a:pt x="18571" y="4300"/>
                  <a:pt x="18557" y="4296"/>
                </a:cubicBezTo>
                <a:lnTo>
                  <a:pt x="18481" y="3685"/>
                </a:lnTo>
                <a:lnTo>
                  <a:pt x="18434" y="3303"/>
                </a:lnTo>
                <a:cubicBezTo>
                  <a:pt x="18434" y="3303"/>
                  <a:pt x="18539" y="3303"/>
                  <a:pt x="18539" y="3303"/>
                </a:cubicBezTo>
                <a:cubicBezTo>
                  <a:pt x="18546" y="3303"/>
                  <a:pt x="18552" y="3292"/>
                  <a:pt x="18554" y="3277"/>
                </a:cubicBezTo>
                <a:cubicBezTo>
                  <a:pt x="18557" y="3239"/>
                  <a:pt x="18561" y="3205"/>
                  <a:pt x="18566" y="3171"/>
                </a:cubicBezTo>
                <a:cubicBezTo>
                  <a:pt x="18569" y="3161"/>
                  <a:pt x="18572" y="3150"/>
                  <a:pt x="18573" y="3137"/>
                </a:cubicBezTo>
                <a:cubicBezTo>
                  <a:pt x="18594" y="3035"/>
                  <a:pt x="18635" y="2962"/>
                  <a:pt x="18740" y="2962"/>
                </a:cubicBezTo>
                <a:close/>
                <a:moveTo>
                  <a:pt x="4622" y="2984"/>
                </a:moveTo>
                <a:cubicBezTo>
                  <a:pt x="4608" y="2984"/>
                  <a:pt x="4596" y="3007"/>
                  <a:pt x="4596" y="3036"/>
                </a:cubicBezTo>
                <a:cubicBezTo>
                  <a:pt x="4596" y="3064"/>
                  <a:pt x="4608" y="3087"/>
                  <a:pt x="4622" y="3087"/>
                </a:cubicBezTo>
                <a:cubicBezTo>
                  <a:pt x="4636" y="3087"/>
                  <a:pt x="4648" y="3064"/>
                  <a:pt x="4648" y="3036"/>
                </a:cubicBezTo>
                <a:cubicBezTo>
                  <a:pt x="4648" y="3007"/>
                  <a:pt x="4636" y="2984"/>
                  <a:pt x="4622" y="2984"/>
                </a:cubicBezTo>
                <a:close/>
                <a:moveTo>
                  <a:pt x="18047" y="2984"/>
                </a:moveTo>
                <a:cubicBezTo>
                  <a:pt x="18028" y="2984"/>
                  <a:pt x="18013" y="3015"/>
                  <a:pt x="18013" y="3053"/>
                </a:cubicBezTo>
                <a:cubicBezTo>
                  <a:pt x="18013" y="3091"/>
                  <a:pt x="18028" y="3121"/>
                  <a:pt x="18047" y="3121"/>
                </a:cubicBezTo>
                <a:cubicBezTo>
                  <a:pt x="18066" y="3121"/>
                  <a:pt x="18081" y="3091"/>
                  <a:pt x="18081" y="3053"/>
                </a:cubicBezTo>
                <a:cubicBezTo>
                  <a:pt x="18081" y="3015"/>
                  <a:pt x="18066" y="2984"/>
                  <a:pt x="18047" y="2984"/>
                </a:cubicBezTo>
                <a:close/>
                <a:moveTo>
                  <a:pt x="18909" y="2986"/>
                </a:moveTo>
                <a:cubicBezTo>
                  <a:pt x="18959" y="2999"/>
                  <a:pt x="19010" y="3021"/>
                  <a:pt x="19062" y="3047"/>
                </a:cubicBezTo>
                <a:cubicBezTo>
                  <a:pt x="19060" y="3060"/>
                  <a:pt x="19055" y="3069"/>
                  <a:pt x="19055" y="3083"/>
                </a:cubicBezTo>
                <a:cubicBezTo>
                  <a:pt x="19055" y="3138"/>
                  <a:pt x="19077" y="3181"/>
                  <a:pt x="19104" y="3181"/>
                </a:cubicBezTo>
                <a:cubicBezTo>
                  <a:pt x="19129" y="3181"/>
                  <a:pt x="19146" y="3144"/>
                  <a:pt x="19150" y="3097"/>
                </a:cubicBezTo>
                <a:cubicBezTo>
                  <a:pt x="19157" y="3102"/>
                  <a:pt x="19164" y="3105"/>
                  <a:pt x="19171" y="3109"/>
                </a:cubicBezTo>
                <a:cubicBezTo>
                  <a:pt x="19203" y="3130"/>
                  <a:pt x="19217" y="3171"/>
                  <a:pt x="19232" y="3219"/>
                </a:cubicBezTo>
                <a:cubicBezTo>
                  <a:pt x="19243" y="3252"/>
                  <a:pt x="19254" y="3286"/>
                  <a:pt x="19272" y="3317"/>
                </a:cubicBezTo>
                <a:cubicBezTo>
                  <a:pt x="19291" y="3351"/>
                  <a:pt x="19321" y="3366"/>
                  <a:pt x="19366" y="3366"/>
                </a:cubicBezTo>
                <a:cubicBezTo>
                  <a:pt x="19387" y="3366"/>
                  <a:pt x="19408" y="3361"/>
                  <a:pt x="19430" y="3357"/>
                </a:cubicBezTo>
                <a:cubicBezTo>
                  <a:pt x="19430" y="3359"/>
                  <a:pt x="19430" y="3360"/>
                  <a:pt x="19430" y="3361"/>
                </a:cubicBezTo>
                <a:lnTo>
                  <a:pt x="19228" y="3626"/>
                </a:lnTo>
                <a:cubicBezTo>
                  <a:pt x="19225" y="3624"/>
                  <a:pt x="19223" y="3619"/>
                  <a:pt x="19219" y="3619"/>
                </a:cubicBezTo>
                <a:cubicBezTo>
                  <a:pt x="19202" y="3619"/>
                  <a:pt x="19189" y="3645"/>
                  <a:pt x="19187" y="3678"/>
                </a:cubicBezTo>
                <a:lnTo>
                  <a:pt x="19001" y="3922"/>
                </a:lnTo>
                <a:cubicBezTo>
                  <a:pt x="18999" y="3921"/>
                  <a:pt x="18998" y="3917"/>
                  <a:pt x="18996" y="3917"/>
                </a:cubicBezTo>
                <a:cubicBezTo>
                  <a:pt x="18981" y="3917"/>
                  <a:pt x="18970" y="3939"/>
                  <a:pt x="18965" y="3967"/>
                </a:cubicBezTo>
                <a:lnTo>
                  <a:pt x="18638" y="4396"/>
                </a:lnTo>
                <a:cubicBezTo>
                  <a:pt x="18633" y="4381"/>
                  <a:pt x="18628" y="4366"/>
                  <a:pt x="18621" y="4354"/>
                </a:cubicBezTo>
                <a:lnTo>
                  <a:pt x="18657" y="4186"/>
                </a:lnTo>
                <a:cubicBezTo>
                  <a:pt x="18657" y="4186"/>
                  <a:pt x="18719" y="3892"/>
                  <a:pt x="18780" y="3598"/>
                </a:cubicBezTo>
                <a:cubicBezTo>
                  <a:pt x="18785" y="3623"/>
                  <a:pt x="18796" y="3643"/>
                  <a:pt x="18810" y="3643"/>
                </a:cubicBezTo>
                <a:cubicBezTo>
                  <a:pt x="18829" y="3643"/>
                  <a:pt x="18844" y="3613"/>
                  <a:pt x="18844" y="3575"/>
                </a:cubicBezTo>
                <a:cubicBezTo>
                  <a:pt x="18844" y="3538"/>
                  <a:pt x="18829" y="3507"/>
                  <a:pt x="18810" y="3507"/>
                </a:cubicBezTo>
                <a:cubicBezTo>
                  <a:pt x="18805" y="3507"/>
                  <a:pt x="18801" y="3513"/>
                  <a:pt x="18797" y="3517"/>
                </a:cubicBezTo>
                <a:cubicBezTo>
                  <a:pt x="18852" y="3255"/>
                  <a:pt x="18909" y="2986"/>
                  <a:pt x="18909" y="2986"/>
                </a:cubicBezTo>
                <a:close/>
                <a:moveTo>
                  <a:pt x="14357" y="2987"/>
                </a:moveTo>
                <a:cubicBezTo>
                  <a:pt x="14351" y="3008"/>
                  <a:pt x="14347" y="3031"/>
                  <a:pt x="14347" y="3058"/>
                </a:cubicBezTo>
                <a:cubicBezTo>
                  <a:pt x="14347" y="3140"/>
                  <a:pt x="14380" y="3206"/>
                  <a:pt x="14421" y="3206"/>
                </a:cubicBezTo>
                <a:cubicBezTo>
                  <a:pt x="14429" y="3206"/>
                  <a:pt x="14436" y="3201"/>
                  <a:pt x="14443" y="3197"/>
                </a:cubicBezTo>
                <a:cubicBezTo>
                  <a:pt x="14443" y="3201"/>
                  <a:pt x="14442" y="3204"/>
                  <a:pt x="14442" y="3208"/>
                </a:cubicBezTo>
                <a:cubicBezTo>
                  <a:pt x="14442" y="3279"/>
                  <a:pt x="14452" y="3496"/>
                  <a:pt x="14472" y="3686"/>
                </a:cubicBezTo>
                <a:cubicBezTo>
                  <a:pt x="14464" y="3710"/>
                  <a:pt x="14459" y="3736"/>
                  <a:pt x="14459" y="3767"/>
                </a:cubicBezTo>
                <a:cubicBezTo>
                  <a:pt x="14459" y="3782"/>
                  <a:pt x="14461" y="3795"/>
                  <a:pt x="14463" y="3809"/>
                </a:cubicBezTo>
                <a:lnTo>
                  <a:pt x="14434" y="3863"/>
                </a:lnTo>
                <a:lnTo>
                  <a:pt x="14433" y="3862"/>
                </a:lnTo>
                <a:lnTo>
                  <a:pt x="14163" y="3557"/>
                </a:lnTo>
                <a:cubicBezTo>
                  <a:pt x="14150" y="3496"/>
                  <a:pt x="14144" y="3432"/>
                  <a:pt x="14143" y="3363"/>
                </a:cubicBezTo>
                <a:cubicBezTo>
                  <a:pt x="14150" y="3351"/>
                  <a:pt x="14155" y="3334"/>
                  <a:pt x="14155" y="3314"/>
                </a:cubicBezTo>
                <a:cubicBezTo>
                  <a:pt x="14155" y="3310"/>
                  <a:pt x="14153" y="3307"/>
                  <a:pt x="14152" y="3303"/>
                </a:cubicBezTo>
                <a:cubicBezTo>
                  <a:pt x="14171" y="3213"/>
                  <a:pt x="14226" y="3093"/>
                  <a:pt x="14289" y="3019"/>
                </a:cubicBezTo>
                <a:lnTo>
                  <a:pt x="14357" y="2987"/>
                </a:lnTo>
                <a:close/>
                <a:moveTo>
                  <a:pt x="14621" y="3026"/>
                </a:moveTo>
                <a:cubicBezTo>
                  <a:pt x="14622" y="3032"/>
                  <a:pt x="14623" y="3038"/>
                  <a:pt x="14624" y="3044"/>
                </a:cubicBezTo>
                <a:cubicBezTo>
                  <a:pt x="14634" y="3129"/>
                  <a:pt x="14646" y="3226"/>
                  <a:pt x="14684" y="3226"/>
                </a:cubicBezTo>
                <a:cubicBezTo>
                  <a:pt x="14708" y="3226"/>
                  <a:pt x="14737" y="3182"/>
                  <a:pt x="14772" y="3089"/>
                </a:cubicBezTo>
                <a:cubicBezTo>
                  <a:pt x="14803" y="3090"/>
                  <a:pt x="14827" y="3094"/>
                  <a:pt x="14848" y="3097"/>
                </a:cubicBezTo>
                <a:lnTo>
                  <a:pt x="14560" y="3630"/>
                </a:lnTo>
                <a:cubicBezTo>
                  <a:pt x="14559" y="3630"/>
                  <a:pt x="14559" y="3629"/>
                  <a:pt x="14559" y="3629"/>
                </a:cubicBezTo>
                <a:cubicBezTo>
                  <a:pt x="14559" y="3612"/>
                  <a:pt x="14560" y="3599"/>
                  <a:pt x="14563" y="3591"/>
                </a:cubicBezTo>
                <a:cubicBezTo>
                  <a:pt x="14616" y="3477"/>
                  <a:pt x="14581" y="3369"/>
                  <a:pt x="14553" y="3283"/>
                </a:cubicBezTo>
                <a:cubicBezTo>
                  <a:pt x="14543" y="3254"/>
                  <a:pt x="14534" y="3227"/>
                  <a:pt x="14528" y="3201"/>
                </a:cubicBezTo>
                <a:cubicBezTo>
                  <a:pt x="14567" y="3158"/>
                  <a:pt x="14602" y="3109"/>
                  <a:pt x="14621" y="3026"/>
                </a:cubicBezTo>
                <a:close/>
                <a:moveTo>
                  <a:pt x="4220" y="3029"/>
                </a:moveTo>
                <a:cubicBezTo>
                  <a:pt x="4220" y="3032"/>
                  <a:pt x="4220" y="3036"/>
                  <a:pt x="4220" y="3040"/>
                </a:cubicBezTo>
                <a:cubicBezTo>
                  <a:pt x="4220" y="3054"/>
                  <a:pt x="4224" y="3066"/>
                  <a:pt x="4231" y="3069"/>
                </a:cubicBezTo>
                <a:cubicBezTo>
                  <a:pt x="4234" y="3071"/>
                  <a:pt x="4239" y="3073"/>
                  <a:pt x="4246" y="3075"/>
                </a:cubicBezTo>
                <a:cubicBezTo>
                  <a:pt x="4252" y="3078"/>
                  <a:pt x="4260" y="3080"/>
                  <a:pt x="4267" y="3083"/>
                </a:cubicBezTo>
                <a:cubicBezTo>
                  <a:pt x="4267" y="3096"/>
                  <a:pt x="4266" y="3095"/>
                  <a:pt x="4266" y="3106"/>
                </a:cubicBezTo>
                <a:cubicBezTo>
                  <a:pt x="4262" y="3104"/>
                  <a:pt x="4259" y="3096"/>
                  <a:pt x="4255" y="3096"/>
                </a:cubicBezTo>
                <a:cubicBezTo>
                  <a:pt x="4228" y="3096"/>
                  <a:pt x="4206" y="3141"/>
                  <a:pt x="4206" y="3195"/>
                </a:cubicBezTo>
                <a:cubicBezTo>
                  <a:pt x="4206" y="3213"/>
                  <a:pt x="4211" y="3227"/>
                  <a:pt x="4215" y="3241"/>
                </a:cubicBezTo>
                <a:cubicBezTo>
                  <a:pt x="4208" y="3245"/>
                  <a:pt x="4202" y="3247"/>
                  <a:pt x="4193" y="3254"/>
                </a:cubicBezTo>
                <a:cubicBezTo>
                  <a:pt x="4180" y="3262"/>
                  <a:pt x="4173" y="3282"/>
                  <a:pt x="4167" y="3297"/>
                </a:cubicBezTo>
                <a:cubicBezTo>
                  <a:pt x="4161" y="3310"/>
                  <a:pt x="4159" y="3317"/>
                  <a:pt x="4156" y="3317"/>
                </a:cubicBezTo>
                <a:cubicBezTo>
                  <a:pt x="4143" y="3317"/>
                  <a:pt x="4139" y="3305"/>
                  <a:pt x="4131" y="3282"/>
                </a:cubicBezTo>
                <a:cubicBezTo>
                  <a:pt x="4128" y="3272"/>
                  <a:pt x="4124" y="3262"/>
                  <a:pt x="4120" y="3253"/>
                </a:cubicBezTo>
                <a:cubicBezTo>
                  <a:pt x="4088" y="3189"/>
                  <a:pt x="4055" y="3162"/>
                  <a:pt x="4023" y="3136"/>
                </a:cubicBezTo>
                <a:cubicBezTo>
                  <a:pt x="4019" y="3133"/>
                  <a:pt x="4016" y="3130"/>
                  <a:pt x="4013" y="3127"/>
                </a:cubicBezTo>
                <a:cubicBezTo>
                  <a:pt x="4013" y="3127"/>
                  <a:pt x="4220" y="3029"/>
                  <a:pt x="4220" y="3029"/>
                </a:cubicBezTo>
                <a:close/>
                <a:moveTo>
                  <a:pt x="3970" y="3033"/>
                </a:moveTo>
                <a:cubicBezTo>
                  <a:pt x="3985" y="3045"/>
                  <a:pt x="4000" y="3057"/>
                  <a:pt x="4018" y="3057"/>
                </a:cubicBezTo>
                <a:lnTo>
                  <a:pt x="4029" y="3057"/>
                </a:lnTo>
                <a:lnTo>
                  <a:pt x="3970" y="3085"/>
                </a:lnTo>
                <a:cubicBezTo>
                  <a:pt x="3959" y="3071"/>
                  <a:pt x="3950" y="3056"/>
                  <a:pt x="3941" y="3039"/>
                </a:cubicBezTo>
                <a:cubicBezTo>
                  <a:pt x="3944" y="3043"/>
                  <a:pt x="3948" y="3050"/>
                  <a:pt x="3952" y="3050"/>
                </a:cubicBezTo>
                <a:cubicBezTo>
                  <a:pt x="3959" y="3050"/>
                  <a:pt x="3966" y="3043"/>
                  <a:pt x="3970" y="3033"/>
                </a:cubicBezTo>
                <a:close/>
                <a:moveTo>
                  <a:pt x="5493" y="3066"/>
                </a:moveTo>
                <a:cubicBezTo>
                  <a:pt x="5530" y="3077"/>
                  <a:pt x="5566" y="3092"/>
                  <a:pt x="5579" y="3110"/>
                </a:cubicBezTo>
                <a:cubicBezTo>
                  <a:pt x="5586" y="3121"/>
                  <a:pt x="5592" y="3138"/>
                  <a:pt x="5598" y="3152"/>
                </a:cubicBezTo>
                <a:cubicBezTo>
                  <a:pt x="5591" y="3145"/>
                  <a:pt x="5585" y="3134"/>
                  <a:pt x="5576" y="3134"/>
                </a:cubicBezTo>
                <a:cubicBezTo>
                  <a:pt x="5549" y="3134"/>
                  <a:pt x="5527" y="3178"/>
                  <a:pt x="5527" y="3233"/>
                </a:cubicBezTo>
                <a:cubicBezTo>
                  <a:pt x="5527" y="3287"/>
                  <a:pt x="5549" y="3331"/>
                  <a:pt x="5576" y="3331"/>
                </a:cubicBezTo>
                <a:cubicBezTo>
                  <a:pt x="5603" y="3331"/>
                  <a:pt x="5625" y="3287"/>
                  <a:pt x="5625" y="3233"/>
                </a:cubicBezTo>
                <a:cubicBezTo>
                  <a:pt x="5625" y="3219"/>
                  <a:pt x="5620" y="3209"/>
                  <a:pt x="5618" y="3197"/>
                </a:cubicBezTo>
                <a:cubicBezTo>
                  <a:pt x="5633" y="3239"/>
                  <a:pt x="5652" y="3285"/>
                  <a:pt x="5678" y="3310"/>
                </a:cubicBezTo>
                <a:cubicBezTo>
                  <a:pt x="5681" y="3331"/>
                  <a:pt x="5690" y="3348"/>
                  <a:pt x="5701" y="3348"/>
                </a:cubicBezTo>
                <a:cubicBezTo>
                  <a:pt x="5709" y="3348"/>
                  <a:pt x="5716" y="3340"/>
                  <a:pt x="5720" y="3328"/>
                </a:cubicBezTo>
                <a:lnTo>
                  <a:pt x="5773" y="3328"/>
                </a:lnTo>
                <a:cubicBezTo>
                  <a:pt x="5792" y="3328"/>
                  <a:pt x="5817" y="3338"/>
                  <a:pt x="5825" y="3357"/>
                </a:cubicBezTo>
                <a:cubicBezTo>
                  <a:pt x="5826" y="3360"/>
                  <a:pt x="5827" y="3366"/>
                  <a:pt x="5827" y="3371"/>
                </a:cubicBezTo>
                <a:cubicBezTo>
                  <a:pt x="5827" y="3375"/>
                  <a:pt x="5825" y="3378"/>
                  <a:pt x="5825" y="3382"/>
                </a:cubicBezTo>
                <a:cubicBezTo>
                  <a:pt x="5825" y="3436"/>
                  <a:pt x="5847" y="3480"/>
                  <a:pt x="5874" y="3480"/>
                </a:cubicBezTo>
                <a:cubicBezTo>
                  <a:pt x="5882" y="3480"/>
                  <a:pt x="5887" y="3470"/>
                  <a:pt x="5893" y="3464"/>
                </a:cubicBezTo>
                <a:cubicBezTo>
                  <a:pt x="5894" y="3464"/>
                  <a:pt x="5895" y="3465"/>
                  <a:pt x="5896" y="3466"/>
                </a:cubicBezTo>
                <a:cubicBezTo>
                  <a:pt x="5919" y="3491"/>
                  <a:pt x="5944" y="3517"/>
                  <a:pt x="5976" y="3529"/>
                </a:cubicBezTo>
                <a:lnTo>
                  <a:pt x="5976" y="3575"/>
                </a:lnTo>
                <a:cubicBezTo>
                  <a:pt x="5976" y="3592"/>
                  <a:pt x="5983" y="3605"/>
                  <a:pt x="5991" y="3605"/>
                </a:cubicBezTo>
                <a:lnTo>
                  <a:pt x="6027" y="3605"/>
                </a:lnTo>
                <a:cubicBezTo>
                  <a:pt x="6042" y="3605"/>
                  <a:pt x="6054" y="3620"/>
                  <a:pt x="6064" y="3655"/>
                </a:cubicBezTo>
                <a:cubicBezTo>
                  <a:pt x="6041" y="3662"/>
                  <a:pt x="6016" y="3670"/>
                  <a:pt x="6000" y="3720"/>
                </a:cubicBezTo>
                <a:cubicBezTo>
                  <a:pt x="5997" y="3729"/>
                  <a:pt x="5996" y="3740"/>
                  <a:pt x="5998" y="3749"/>
                </a:cubicBezTo>
                <a:cubicBezTo>
                  <a:pt x="6001" y="3759"/>
                  <a:pt x="6005" y="3765"/>
                  <a:pt x="6010" y="3767"/>
                </a:cubicBezTo>
                <a:cubicBezTo>
                  <a:pt x="6013" y="3767"/>
                  <a:pt x="6013" y="3767"/>
                  <a:pt x="6016" y="3768"/>
                </a:cubicBezTo>
                <a:cubicBezTo>
                  <a:pt x="6015" y="3777"/>
                  <a:pt x="6011" y="3783"/>
                  <a:pt x="6011" y="3792"/>
                </a:cubicBezTo>
                <a:cubicBezTo>
                  <a:pt x="6011" y="3820"/>
                  <a:pt x="6017" y="3846"/>
                  <a:pt x="6026" y="3863"/>
                </a:cubicBezTo>
                <a:cubicBezTo>
                  <a:pt x="6025" y="3865"/>
                  <a:pt x="6025" y="3865"/>
                  <a:pt x="6025" y="3866"/>
                </a:cubicBezTo>
                <a:cubicBezTo>
                  <a:pt x="6023" y="3873"/>
                  <a:pt x="6022" y="3881"/>
                  <a:pt x="6023" y="3889"/>
                </a:cubicBezTo>
                <a:cubicBezTo>
                  <a:pt x="6024" y="3897"/>
                  <a:pt x="6027" y="3904"/>
                  <a:pt x="6030" y="3908"/>
                </a:cubicBezTo>
                <a:cubicBezTo>
                  <a:pt x="6048" y="3928"/>
                  <a:pt x="6062" y="3940"/>
                  <a:pt x="6085" y="3944"/>
                </a:cubicBezTo>
                <a:cubicBezTo>
                  <a:pt x="6096" y="4032"/>
                  <a:pt x="6144" y="4077"/>
                  <a:pt x="6189" y="4091"/>
                </a:cubicBezTo>
                <a:cubicBezTo>
                  <a:pt x="6190" y="4102"/>
                  <a:pt x="6194" y="4117"/>
                  <a:pt x="6196" y="4130"/>
                </a:cubicBezTo>
                <a:cubicBezTo>
                  <a:pt x="6185" y="4149"/>
                  <a:pt x="6178" y="4173"/>
                  <a:pt x="6178" y="4203"/>
                </a:cubicBezTo>
                <a:cubicBezTo>
                  <a:pt x="6178" y="4257"/>
                  <a:pt x="6200" y="4301"/>
                  <a:pt x="6228" y="4301"/>
                </a:cubicBezTo>
                <a:cubicBezTo>
                  <a:pt x="6248" y="4301"/>
                  <a:pt x="6262" y="4272"/>
                  <a:pt x="6269" y="4235"/>
                </a:cubicBezTo>
                <a:cubicBezTo>
                  <a:pt x="6277" y="4232"/>
                  <a:pt x="6287" y="4231"/>
                  <a:pt x="6293" y="4227"/>
                </a:cubicBezTo>
                <a:cubicBezTo>
                  <a:pt x="6297" y="4224"/>
                  <a:pt x="6302" y="4222"/>
                  <a:pt x="6303" y="4221"/>
                </a:cubicBezTo>
                <a:cubicBezTo>
                  <a:pt x="6303" y="4221"/>
                  <a:pt x="6306" y="4225"/>
                  <a:pt x="6310" y="4246"/>
                </a:cubicBezTo>
                <a:cubicBezTo>
                  <a:pt x="6311" y="4249"/>
                  <a:pt x="6312" y="4252"/>
                  <a:pt x="6313" y="4255"/>
                </a:cubicBezTo>
                <a:cubicBezTo>
                  <a:pt x="6328" y="4285"/>
                  <a:pt x="6350" y="4285"/>
                  <a:pt x="6362" y="4285"/>
                </a:cubicBezTo>
                <a:cubicBezTo>
                  <a:pt x="6369" y="4285"/>
                  <a:pt x="6372" y="4288"/>
                  <a:pt x="6376" y="4290"/>
                </a:cubicBezTo>
                <a:cubicBezTo>
                  <a:pt x="6380" y="4291"/>
                  <a:pt x="6385" y="4291"/>
                  <a:pt x="6387" y="4292"/>
                </a:cubicBezTo>
                <a:lnTo>
                  <a:pt x="6383" y="4296"/>
                </a:lnTo>
                <a:cubicBezTo>
                  <a:pt x="6381" y="4295"/>
                  <a:pt x="6379" y="4290"/>
                  <a:pt x="6376" y="4290"/>
                </a:cubicBezTo>
                <a:cubicBezTo>
                  <a:pt x="6357" y="4290"/>
                  <a:pt x="6343" y="4316"/>
                  <a:pt x="6335" y="4350"/>
                </a:cubicBezTo>
                <a:lnTo>
                  <a:pt x="6193" y="4508"/>
                </a:lnTo>
                <a:cubicBezTo>
                  <a:pt x="6190" y="4501"/>
                  <a:pt x="6188" y="4493"/>
                  <a:pt x="6185" y="4486"/>
                </a:cubicBezTo>
                <a:cubicBezTo>
                  <a:pt x="6158" y="4414"/>
                  <a:pt x="6127" y="4332"/>
                  <a:pt x="6069" y="4332"/>
                </a:cubicBezTo>
                <a:cubicBezTo>
                  <a:pt x="6057" y="4332"/>
                  <a:pt x="6041" y="4352"/>
                  <a:pt x="6025" y="4375"/>
                </a:cubicBezTo>
                <a:cubicBezTo>
                  <a:pt x="6023" y="4378"/>
                  <a:pt x="6022" y="4380"/>
                  <a:pt x="6021" y="4381"/>
                </a:cubicBezTo>
                <a:cubicBezTo>
                  <a:pt x="6017" y="4385"/>
                  <a:pt x="6014" y="4392"/>
                  <a:pt x="6012" y="4401"/>
                </a:cubicBezTo>
                <a:cubicBezTo>
                  <a:pt x="6011" y="4414"/>
                  <a:pt x="6013" y="4428"/>
                  <a:pt x="6019" y="4435"/>
                </a:cubicBezTo>
                <a:cubicBezTo>
                  <a:pt x="6023" y="4438"/>
                  <a:pt x="6026" y="4441"/>
                  <a:pt x="6029" y="4444"/>
                </a:cubicBezTo>
                <a:cubicBezTo>
                  <a:pt x="6025" y="4450"/>
                  <a:pt x="6022" y="4459"/>
                  <a:pt x="6022" y="4468"/>
                </a:cubicBezTo>
                <a:lnTo>
                  <a:pt x="6022" y="4531"/>
                </a:lnTo>
                <a:cubicBezTo>
                  <a:pt x="6022" y="4548"/>
                  <a:pt x="6029" y="4562"/>
                  <a:pt x="6037" y="4562"/>
                </a:cubicBezTo>
                <a:lnTo>
                  <a:pt x="6053" y="4562"/>
                </a:lnTo>
                <a:cubicBezTo>
                  <a:pt x="6057" y="4588"/>
                  <a:pt x="6063" y="4618"/>
                  <a:pt x="6071" y="4644"/>
                </a:cubicBezTo>
                <a:lnTo>
                  <a:pt x="5815" y="4930"/>
                </a:lnTo>
                <a:cubicBezTo>
                  <a:pt x="5815" y="4928"/>
                  <a:pt x="5814" y="4927"/>
                  <a:pt x="5814" y="4925"/>
                </a:cubicBezTo>
                <a:cubicBezTo>
                  <a:pt x="5813" y="4917"/>
                  <a:pt x="5810" y="4911"/>
                  <a:pt x="5806" y="4908"/>
                </a:cubicBezTo>
                <a:cubicBezTo>
                  <a:pt x="5784" y="4890"/>
                  <a:pt x="5767" y="4869"/>
                  <a:pt x="5750" y="4847"/>
                </a:cubicBezTo>
                <a:cubicBezTo>
                  <a:pt x="5749" y="4839"/>
                  <a:pt x="5751" y="4830"/>
                  <a:pt x="5748" y="4823"/>
                </a:cubicBezTo>
                <a:cubicBezTo>
                  <a:pt x="5741" y="4800"/>
                  <a:pt x="5730" y="4783"/>
                  <a:pt x="5718" y="4777"/>
                </a:cubicBezTo>
                <a:cubicBezTo>
                  <a:pt x="5713" y="4775"/>
                  <a:pt x="5709" y="4781"/>
                  <a:pt x="5704" y="4782"/>
                </a:cubicBezTo>
                <a:cubicBezTo>
                  <a:pt x="5685" y="4754"/>
                  <a:pt x="5666" y="4725"/>
                  <a:pt x="5642" y="4697"/>
                </a:cubicBezTo>
                <a:cubicBezTo>
                  <a:pt x="5640" y="4694"/>
                  <a:pt x="5637" y="4693"/>
                  <a:pt x="5634" y="4693"/>
                </a:cubicBezTo>
                <a:cubicBezTo>
                  <a:pt x="5630" y="4693"/>
                  <a:pt x="5625" y="4697"/>
                  <a:pt x="5622" y="4705"/>
                </a:cubicBezTo>
                <a:cubicBezTo>
                  <a:pt x="5613" y="4732"/>
                  <a:pt x="5603" y="4756"/>
                  <a:pt x="5592" y="4756"/>
                </a:cubicBezTo>
                <a:cubicBezTo>
                  <a:pt x="5587" y="4756"/>
                  <a:pt x="5586" y="4755"/>
                  <a:pt x="5583" y="4749"/>
                </a:cubicBezTo>
                <a:cubicBezTo>
                  <a:pt x="5579" y="4741"/>
                  <a:pt x="5571" y="4727"/>
                  <a:pt x="5556" y="4727"/>
                </a:cubicBezTo>
                <a:cubicBezTo>
                  <a:pt x="5538" y="4727"/>
                  <a:pt x="5525" y="4748"/>
                  <a:pt x="5515" y="4766"/>
                </a:cubicBezTo>
                <a:cubicBezTo>
                  <a:pt x="5507" y="4779"/>
                  <a:pt x="5500" y="4791"/>
                  <a:pt x="5493" y="4791"/>
                </a:cubicBezTo>
                <a:cubicBezTo>
                  <a:pt x="5492" y="4791"/>
                  <a:pt x="5492" y="4791"/>
                  <a:pt x="5491" y="4791"/>
                </a:cubicBezTo>
                <a:lnTo>
                  <a:pt x="5488" y="4616"/>
                </a:lnTo>
                <a:lnTo>
                  <a:pt x="5577" y="4616"/>
                </a:lnTo>
                <a:cubicBezTo>
                  <a:pt x="5591" y="4616"/>
                  <a:pt x="5615" y="4606"/>
                  <a:pt x="5638" y="4590"/>
                </a:cubicBezTo>
                <a:cubicBezTo>
                  <a:pt x="5643" y="4592"/>
                  <a:pt x="5646" y="4599"/>
                  <a:pt x="5651" y="4599"/>
                </a:cubicBezTo>
                <a:cubicBezTo>
                  <a:pt x="5678" y="4599"/>
                  <a:pt x="5700" y="4556"/>
                  <a:pt x="5700" y="4501"/>
                </a:cubicBezTo>
                <a:cubicBezTo>
                  <a:pt x="5700" y="4460"/>
                  <a:pt x="5685" y="4431"/>
                  <a:pt x="5668" y="4416"/>
                </a:cubicBezTo>
                <a:cubicBezTo>
                  <a:pt x="5678" y="4414"/>
                  <a:pt x="5690" y="4413"/>
                  <a:pt x="5698" y="4395"/>
                </a:cubicBezTo>
                <a:cubicBezTo>
                  <a:pt x="5713" y="4365"/>
                  <a:pt x="5722" y="4341"/>
                  <a:pt x="5732" y="4316"/>
                </a:cubicBezTo>
                <a:cubicBezTo>
                  <a:pt x="5732" y="4370"/>
                  <a:pt x="5754" y="4412"/>
                  <a:pt x="5781" y="4412"/>
                </a:cubicBezTo>
                <a:cubicBezTo>
                  <a:pt x="5808" y="4412"/>
                  <a:pt x="5830" y="4369"/>
                  <a:pt x="5830" y="4315"/>
                </a:cubicBezTo>
                <a:cubicBezTo>
                  <a:pt x="5830" y="4260"/>
                  <a:pt x="5808" y="4215"/>
                  <a:pt x="5781" y="4215"/>
                </a:cubicBezTo>
                <a:cubicBezTo>
                  <a:pt x="5771" y="4215"/>
                  <a:pt x="5764" y="4227"/>
                  <a:pt x="5757" y="4236"/>
                </a:cubicBezTo>
                <a:cubicBezTo>
                  <a:pt x="5760" y="4218"/>
                  <a:pt x="5766" y="4198"/>
                  <a:pt x="5766" y="4183"/>
                </a:cubicBezTo>
                <a:cubicBezTo>
                  <a:pt x="5766" y="4155"/>
                  <a:pt x="5759" y="4123"/>
                  <a:pt x="5748" y="4090"/>
                </a:cubicBezTo>
                <a:cubicBezTo>
                  <a:pt x="5751" y="4077"/>
                  <a:pt x="5755" y="4068"/>
                  <a:pt x="5755" y="4053"/>
                </a:cubicBezTo>
                <a:cubicBezTo>
                  <a:pt x="5755" y="3999"/>
                  <a:pt x="5734" y="3954"/>
                  <a:pt x="5707" y="3954"/>
                </a:cubicBezTo>
                <a:cubicBezTo>
                  <a:pt x="5701" y="3954"/>
                  <a:pt x="5697" y="3963"/>
                  <a:pt x="5691" y="3967"/>
                </a:cubicBezTo>
                <a:cubicBezTo>
                  <a:pt x="5658" y="3910"/>
                  <a:pt x="5623" y="3869"/>
                  <a:pt x="5595" y="3851"/>
                </a:cubicBezTo>
                <a:cubicBezTo>
                  <a:pt x="5587" y="3825"/>
                  <a:pt x="5574" y="3805"/>
                  <a:pt x="5558" y="3805"/>
                </a:cubicBezTo>
                <a:cubicBezTo>
                  <a:pt x="5555" y="3805"/>
                  <a:pt x="5553" y="3810"/>
                  <a:pt x="5551" y="3811"/>
                </a:cubicBezTo>
                <a:cubicBezTo>
                  <a:pt x="5551" y="3803"/>
                  <a:pt x="5551" y="3794"/>
                  <a:pt x="5548" y="3788"/>
                </a:cubicBezTo>
                <a:cubicBezTo>
                  <a:pt x="5538" y="3768"/>
                  <a:pt x="5505" y="3711"/>
                  <a:pt x="5472" y="3658"/>
                </a:cubicBezTo>
                <a:lnTo>
                  <a:pt x="5465" y="3286"/>
                </a:lnTo>
                <a:lnTo>
                  <a:pt x="5462" y="3090"/>
                </a:lnTo>
                <a:cubicBezTo>
                  <a:pt x="5473" y="3087"/>
                  <a:pt x="5484" y="3079"/>
                  <a:pt x="5493" y="3066"/>
                </a:cubicBezTo>
                <a:close/>
                <a:moveTo>
                  <a:pt x="5412" y="3067"/>
                </a:moveTo>
                <a:cubicBezTo>
                  <a:pt x="5418" y="3075"/>
                  <a:pt x="5424" y="3082"/>
                  <a:pt x="5431" y="3086"/>
                </a:cubicBezTo>
                <a:lnTo>
                  <a:pt x="5434" y="3216"/>
                </a:lnTo>
                <a:lnTo>
                  <a:pt x="5441" y="3610"/>
                </a:lnTo>
                <a:cubicBezTo>
                  <a:pt x="5396" y="3545"/>
                  <a:pt x="5386" y="3545"/>
                  <a:pt x="5380" y="3545"/>
                </a:cubicBezTo>
                <a:cubicBezTo>
                  <a:pt x="5361" y="3545"/>
                  <a:pt x="5345" y="3583"/>
                  <a:pt x="5327" y="3627"/>
                </a:cubicBezTo>
                <a:cubicBezTo>
                  <a:pt x="5321" y="3642"/>
                  <a:pt x="5314" y="3658"/>
                  <a:pt x="5307" y="3672"/>
                </a:cubicBezTo>
                <a:cubicBezTo>
                  <a:pt x="5305" y="3622"/>
                  <a:pt x="5286" y="3581"/>
                  <a:pt x="5260" y="3581"/>
                </a:cubicBezTo>
                <a:cubicBezTo>
                  <a:pt x="5248" y="3581"/>
                  <a:pt x="5238" y="3593"/>
                  <a:pt x="5229" y="3607"/>
                </a:cubicBezTo>
                <a:cubicBezTo>
                  <a:pt x="5212" y="3605"/>
                  <a:pt x="5198" y="3603"/>
                  <a:pt x="5172" y="3603"/>
                </a:cubicBezTo>
                <a:cubicBezTo>
                  <a:pt x="5164" y="3603"/>
                  <a:pt x="5157" y="3603"/>
                  <a:pt x="5150" y="3603"/>
                </a:cubicBezTo>
                <a:cubicBezTo>
                  <a:pt x="5150" y="3603"/>
                  <a:pt x="5236" y="3136"/>
                  <a:pt x="5236" y="3136"/>
                </a:cubicBezTo>
                <a:cubicBezTo>
                  <a:pt x="5236" y="3139"/>
                  <a:pt x="5237" y="3142"/>
                  <a:pt x="5238" y="3145"/>
                </a:cubicBezTo>
                <a:cubicBezTo>
                  <a:pt x="5242" y="3154"/>
                  <a:pt x="5247" y="3158"/>
                  <a:pt x="5253" y="3158"/>
                </a:cubicBezTo>
                <a:cubicBezTo>
                  <a:pt x="5264" y="3158"/>
                  <a:pt x="5272" y="3146"/>
                  <a:pt x="5278" y="3135"/>
                </a:cubicBezTo>
                <a:cubicBezTo>
                  <a:pt x="5285" y="3124"/>
                  <a:pt x="5289" y="3116"/>
                  <a:pt x="5295" y="3116"/>
                </a:cubicBezTo>
                <a:cubicBezTo>
                  <a:pt x="5302" y="3116"/>
                  <a:pt x="5306" y="3122"/>
                  <a:pt x="5313" y="3132"/>
                </a:cubicBezTo>
                <a:cubicBezTo>
                  <a:pt x="5320" y="3144"/>
                  <a:pt x="5330" y="3158"/>
                  <a:pt x="5344" y="3158"/>
                </a:cubicBezTo>
                <a:cubicBezTo>
                  <a:pt x="5369" y="3158"/>
                  <a:pt x="5384" y="3124"/>
                  <a:pt x="5396" y="3096"/>
                </a:cubicBezTo>
                <a:cubicBezTo>
                  <a:pt x="5402" y="3083"/>
                  <a:pt x="5407" y="3075"/>
                  <a:pt x="5412" y="3067"/>
                </a:cubicBezTo>
                <a:close/>
                <a:moveTo>
                  <a:pt x="7958" y="3096"/>
                </a:moveTo>
                <a:cubicBezTo>
                  <a:pt x="7931" y="3096"/>
                  <a:pt x="7909" y="3141"/>
                  <a:pt x="7909" y="3195"/>
                </a:cubicBezTo>
                <a:cubicBezTo>
                  <a:pt x="7909" y="3250"/>
                  <a:pt x="7931" y="3293"/>
                  <a:pt x="7958" y="3293"/>
                </a:cubicBezTo>
                <a:cubicBezTo>
                  <a:pt x="7985" y="3293"/>
                  <a:pt x="8007" y="3250"/>
                  <a:pt x="8007" y="3195"/>
                </a:cubicBezTo>
                <a:cubicBezTo>
                  <a:pt x="8007" y="3141"/>
                  <a:pt x="7985" y="3096"/>
                  <a:pt x="7958" y="3096"/>
                </a:cubicBezTo>
                <a:close/>
                <a:moveTo>
                  <a:pt x="15312" y="3096"/>
                </a:moveTo>
                <a:cubicBezTo>
                  <a:pt x="15293" y="3096"/>
                  <a:pt x="15277" y="3127"/>
                  <a:pt x="15277" y="3165"/>
                </a:cubicBezTo>
                <a:cubicBezTo>
                  <a:pt x="15277" y="3203"/>
                  <a:pt x="15293" y="3233"/>
                  <a:pt x="15312" y="3233"/>
                </a:cubicBezTo>
                <a:cubicBezTo>
                  <a:pt x="15331" y="3233"/>
                  <a:pt x="15345" y="3203"/>
                  <a:pt x="15345" y="3165"/>
                </a:cubicBezTo>
                <a:cubicBezTo>
                  <a:pt x="15345" y="3127"/>
                  <a:pt x="15331" y="3096"/>
                  <a:pt x="15312" y="3096"/>
                </a:cubicBezTo>
                <a:close/>
                <a:moveTo>
                  <a:pt x="3742" y="3102"/>
                </a:moveTo>
                <a:lnTo>
                  <a:pt x="3750" y="3131"/>
                </a:lnTo>
                <a:lnTo>
                  <a:pt x="3739" y="3118"/>
                </a:lnTo>
                <a:cubicBezTo>
                  <a:pt x="3740" y="3113"/>
                  <a:pt x="3741" y="3108"/>
                  <a:pt x="3742" y="3102"/>
                </a:cubicBezTo>
                <a:close/>
                <a:moveTo>
                  <a:pt x="3492" y="3134"/>
                </a:moveTo>
                <a:cubicBezTo>
                  <a:pt x="3465" y="3134"/>
                  <a:pt x="3443" y="3178"/>
                  <a:pt x="3443" y="3233"/>
                </a:cubicBezTo>
                <a:cubicBezTo>
                  <a:pt x="3443" y="3287"/>
                  <a:pt x="3465" y="3331"/>
                  <a:pt x="3492" y="3331"/>
                </a:cubicBezTo>
                <a:cubicBezTo>
                  <a:pt x="3519" y="3331"/>
                  <a:pt x="3541" y="3287"/>
                  <a:pt x="3541" y="3233"/>
                </a:cubicBezTo>
                <a:cubicBezTo>
                  <a:pt x="3541" y="3178"/>
                  <a:pt x="3519" y="3134"/>
                  <a:pt x="3492" y="3134"/>
                </a:cubicBezTo>
                <a:close/>
                <a:moveTo>
                  <a:pt x="21008" y="3134"/>
                </a:moveTo>
                <a:cubicBezTo>
                  <a:pt x="20979" y="3134"/>
                  <a:pt x="20954" y="3170"/>
                  <a:pt x="20942" y="3220"/>
                </a:cubicBezTo>
                <a:cubicBezTo>
                  <a:pt x="20909" y="3251"/>
                  <a:pt x="20878" y="3302"/>
                  <a:pt x="20878" y="3357"/>
                </a:cubicBezTo>
                <a:cubicBezTo>
                  <a:pt x="20878" y="3397"/>
                  <a:pt x="20895" y="3431"/>
                  <a:pt x="20914" y="3431"/>
                </a:cubicBezTo>
                <a:cubicBezTo>
                  <a:pt x="20915" y="3431"/>
                  <a:pt x="20954" y="3425"/>
                  <a:pt x="20985" y="3420"/>
                </a:cubicBezTo>
                <a:cubicBezTo>
                  <a:pt x="20993" y="3425"/>
                  <a:pt x="21000" y="3430"/>
                  <a:pt x="21008" y="3430"/>
                </a:cubicBezTo>
                <a:cubicBezTo>
                  <a:pt x="21024" y="3430"/>
                  <a:pt x="21037" y="3418"/>
                  <a:pt x="21049" y="3402"/>
                </a:cubicBezTo>
                <a:cubicBezTo>
                  <a:pt x="21087" y="3386"/>
                  <a:pt x="21120" y="3363"/>
                  <a:pt x="21120" y="3324"/>
                </a:cubicBezTo>
                <a:cubicBezTo>
                  <a:pt x="21120" y="3282"/>
                  <a:pt x="21100" y="3253"/>
                  <a:pt x="21077" y="3232"/>
                </a:cubicBezTo>
                <a:cubicBezTo>
                  <a:pt x="21066" y="3175"/>
                  <a:pt x="21040" y="3134"/>
                  <a:pt x="21008" y="3134"/>
                </a:cubicBezTo>
                <a:close/>
                <a:moveTo>
                  <a:pt x="14644" y="3208"/>
                </a:moveTo>
                <a:cubicBezTo>
                  <a:pt x="14634" y="3208"/>
                  <a:pt x="14626" y="3224"/>
                  <a:pt x="14626" y="3244"/>
                </a:cubicBezTo>
                <a:cubicBezTo>
                  <a:pt x="14626" y="3265"/>
                  <a:pt x="14634" y="3282"/>
                  <a:pt x="14644" y="3282"/>
                </a:cubicBezTo>
                <a:cubicBezTo>
                  <a:pt x="14654" y="3282"/>
                  <a:pt x="14663" y="3265"/>
                  <a:pt x="14663" y="3244"/>
                </a:cubicBezTo>
                <a:cubicBezTo>
                  <a:pt x="14663" y="3224"/>
                  <a:pt x="14654" y="3208"/>
                  <a:pt x="14644" y="3208"/>
                </a:cubicBezTo>
                <a:close/>
                <a:moveTo>
                  <a:pt x="6813" y="3209"/>
                </a:moveTo>
                <a:lnTo>
                  <a:pt x="6839" y="3230"/>
                </a:lnTo>
                <a:cubicBezTo>
                  <a:pt x="6834" y="3241"/>
                  <a:pt x="6830" y="3248"/>
                  <a:pt x="6824" y="3248"/>
                </a:cubicBezTo>
                <a:cubicBezTo>
                  <a:pt x="6814" y="3248"/>
                  <a:pt x="6812" y="3245"/>
                  <a:pt x="6806" y="3243"/>
                </a:cubicBezTo>
                <a:cubicBezTo>
                  <a:pt x="6809" y="3233"/>
                  <a:pt x="6812" y="3222"/>
                  <a:pt x="6813" y="3209"/>
                </a:cubicBezTo>
                <a:close/>
                <a:moveTo>
                  <a:pt x="4032" y="3246"/>
                </a:moveTo>
                <a:cubicBezTo>
                  <a:pt x="4005" y="3246"/>
                  <a:pt x="3982" y="3290"/>
                  <a:pt x="3982" y="3345"/>
                </a:cubicBezTo>
                <a:cubicBezTo>
                  <a:pt x="3982" y="3399"/>
                  <a:pt x="4005" y="3443"/>
                  <a:pt x="4032" y="3443"/>
                </a:cubicBezTo>
                <a:cubicBezTo>
                  <a:pt x="4059" y="3443"/>
                  <a:pt x="4081" y="3399"/>
                  <a:pt x="4081" y="3345"/>
                </a:cubicBezTo>
                <a:cubicBezTo>
                  <a:pt x="4081" y="3290"/>
                  <a:pt x="4059" y="3246"/>
                  <a:pt x="4032" y="3246"/>
                </a:cubicBezTo>
                <a:close/>
                <a:moveTo>
                  <a:pt x="16875" y="3246"/>
                </a:moveTo>
                <a:cubicBezTo>
                  <a:pt x="16856" y="3246"/>
                  <a:pt x="16840" y="3277"/>
                  <a:pt x="16840" y="3314"/>
                </a:cubicBezTo>
                <a:cubicBezTo>
                  <a:pt x="16840" y="3352"/>
                  <a:pt x="16856" y="3382"/>
                  <a:pt x="16875" y="3382"/>
                </a:cubicBezTo>
                <a:cubicBezTo>
                  <a:pt x="16894" y="3382"/>
                  <a:pt x="16909" y="3352"/>
                  <a:pt x="16909" y="3314"/>
                </a:cubicBezTo>
                <a:cubicBezTo>
                  <a:pt x="16909" y="3277"/>
                  <a:pt x="16894" y="3246"/>
                  <a:pt x="16875" y="3246"/>
                </a:cubicBezTo>
                <a:close/>
                <a:moveTo>
                  <a:pt x="4378" y="3256"/>
                </a:moveTo>
                <a:cubicBezTo>
                  <a:pt x="4378" y="3256"/>
                  <a:pt x="4379" y="3256"/>
                  <a:pt x="4379" y="3256"/>
                </a:cubicBezTo>
                <a:cubicBezTo>
                  <a:pt x="4451" y="3260"/>
                  <a:pt x="4494" y="3330"/>
                  <a:pt x="4496" y="3448"/>
                </a:cubicBezTo>
                <a:cubicBezTo>
                  <a:pt x="4497" y="3495"/>
                  <a:pt x="4516" y="3517"/>
                  <a:pt x="4532" y="3535"/>
                </a:cubicBezTo>
                <a:cubicBezTo>
                  <a:pt x="4540" y="3543"/>
                  <a:pt x="4546" y="3552"/>
                  <a:pt x="4551" y="3561"/>
                </a:cubicBezTo>
                <a:cubicBezTo>
                  <a:pt x="4539" y="3573"/>
                  <a:pt x="4532" y="3591"/>
                  <a:pt x="4528" y="3616"/>
                </a:cubicBezTo>
                <a:lnTo>
                  <a:pt x="4446" y="3767"/>
                </a:lnTo>
                <a:cubicBezTo>
                  <a:pt x="4440" y="3688"/>
                  <a:pt x="4397" y="3671"/>
                  <a:pt x="4362" y="3657"/>
                </a:cubicBezTo>
                <a:cubicBezTo>
                  <a:pt x="4322" y="3641"/>
                  <a:pt x="4303" y="3629"/>
                  <a:pt x="4303" y="3588"/>
                </a:cubicBezTo>
                <a:cubicBezTo>
                  <a:pt x="4303" y="3570"/>
                  <a:pt x="4307" y="3563"/>
                  <a:pt x="4313" y="3552"/>
                </a:cubicBezTo>
                <a:cubicBezTo>
                  <a:pt x="4320" y="3540"/>
                  <a:pt x="4331" y="3524"/>
                  <a:pt x="4331" y="3490"/>
                </a:cubicBezTo>
                <a:cubicBezTo>
                  <a:pt x="4331" y="3462"/>
                  <a:pt x="4325" y="3440"/>
                  <a:pt x="4320" y="3423"/>
                </a:cubicBezTo>
                <a:cubicBezTo>
                  <a:pt x="4316" y="3409"/>
                  <a:pt x="4313" y="3398"/>
                  <a:pt x="4313" y="3384"/>
                </a:cubicBezTo>
                <a:cubicBezTo>
                  <a:pt x="4313" y="3367"/>
                  <a:pt x="4315" y="3362"/>
                  <a:pt x="4340" y="3356"/>
                </a:cubicBezTo>
                <a:cubicBezTo>
                  <a:pt x="4347" y="3355"/>
                  <a:pt x="4354" y="3353"/>
                  <a:pt x="4362" y="3349"/>
                </a:cubicBezTo>
                <a:cubicBezTo>
                  <a:pt x="4369" y="3346"/>
                  <a:pt x="4373" y="3331"/>
                  <a:pt x="4373" y="3317"/>
                </a:cubicBezTo>
                <a:cubicBezTo>
                  <a:pt x="4372" y="3306"/>
                  <a:pt x="4371" y="3296"/>
                  <a:pt x="4370" y="3285"/>
                </a:cubicBezTo>
                <a:cubicBezTo>
                  <a:pt x="4369" y="3276"/>
                  <a:pt x="4367" y="3262"/>
                  <a:pt x="4367" y="3260"/>
                </a:cubicBezTo>
                <a:cubicBezTo>
                  <a:pt x="4367" y="3259"/>
                  <a:pt x="4369" y="3256"/>
                  <a:pt x="4378" y="3256"/>
                </a:cubicBezTo>
                <a:close/>
                <a:moveTo>
                  <a:pt x="2943" y="3268"/>
                </a:moveTo>
                <a:lnTo>
                  <a:pt x="2944" y="3268"/>
                </a:lnTo>
                <a:cubicBezTo>
                  <a:pt x="2944" y="3268"/>
                  <a:pt x="2944" y="3269"/>
                  <a:pt x="2944" y="3269"/>
                </a:cubicBezTo>
                <a:cubicBezTo>
                  <a:pt x="2944" y="3269"/>
                  <a:pt x="2943" y="3268"/>
                  <a:pt x="2943" y="3268"/>
                </a:cubicBezTo>
                <a:close/>
                <a:moveTo>
                  <a:pt x="18620" y="3283"/>
                </a:moveTo>
                <a:cubicBezTo>
                  <a:pt x="18593" y="3283"/>
                  <a:pt x="18571" y="3327"/>
                  <a:pt x="18571" y="3382"/>
                </a:cubicBezTo>
                <a:cubicBezTo>
                  <a:pt x="18571" y="3436"/>
                  <a:pt x="18593" y="3480"/>
                  <a:pt x="18620" y="3480"/>
                </a:cubicBezTo>
                <a:cubicBezTo>
                  <a:pt x="18648" y="3480"/>
                  <a:pt x="18669" y="3436"/>
                  <a:pt x="18669" y="3382"/>
                </a:cubicBezTo>
                <a:cubicBezTo>
                  <a:pt x="18669" y="3327"/>
                  <a:pt x="18648" y="3283"/>
                  <a:pt x="18620" y="3283"/>
                </a:cubicBezTo>
                <a:close/>
                <a:moveTo>
                  <a:pt x="18170" y="3294"/>
                </a:moveTo>
                <a:cubicBezTo>
                  <a:pt x="18179" y="3300"/>
                  <a:pt x="18189" y="3303"/>
                  <a:pt x="18200" y="3303"/>
                </a:cubicBezTo>
                <a:lnTo>
                  <a:pt x="18376" y="3303"/>
                </a:lnTo>
                <a:cubicBezTo>
                  <a:pt x="18378" y="3303"/>
                  <a:pt x="18380" y="3307"/>
                  <a:pt x="18382" y="3307"/>
                </a:cubicBezTo>
                <a:cubicBezTo>
                  <a:pt x="18384" y="3307"/>
                  <a:pt x="18386" y="3303"/>
                  <a:pt x="18388" y="3303"/>
                </a:cubicBezTo>
                <a:lnTo>
                  <a:pt x="18400" y="3303"/>
                </a:lnTo>
                <a:lnTo>
                  <a:pt x="18508" y="4150"/>
                </a:lnTo>
                <a:lnTo>
                  <a:pt x="18526" y="4296"/>
                </a:lnTo>
                <a:cubicBezTo>
                  <a:pt x="18521" y="4297"/>
                  <a:pt x="18518" y="4300"/>
                  <a:pt x="18513" y="4302"/>
                </a:cubicBezTo>
                <a:lnTo>
                  <a:pt x="18245" y="3515"/>
                </a:lnTo>
                <a:cubicBezTo>
                  <a:pt x="18247" y="3515"/>
                  <a:pt x="18247" y="3517"/>
                  <a:pt x="18248" y="3517"/>
                </a:cubicBezTo>
                <a:cubicBezTo>
                  <a:pt x="18275" y="3517"/>
                  <a:pt x="18297" y="3474"/>
                  <a:pt x="18297" y="3419"/>
                </a:cubicBezTo>
                <a:cubicBezTo>
                  <a:pt x="18297" y="3365"/>
                  <a:pt x="18275" y="3320"/>
                  <a:pt x="18248" y="3320"/>
                </a:cubicBezTo>
                <a:cubicBezTo>
                  <a:pt x="18226" y="3320"/>
                  <a:pt x="18210" y="3353"/>
                  <a:pt x="18204" y="3394"/>
                </a:cubicBezTo>
                <a:lnTo>
                  <a:pt x="18170" y="3294"/>
                </a:lnTo>
                <a:close/>
                <a:moveTo>
                  <a:pt x="20935" y="3294"/>
                </a:moveTo>
                <a:cubicBezTo>
                  <a:pt x="20937" y="3321"/>
                  <a:pt x="20942" y="3344"/>
                  <a:pt x="20949" y="3364"/>
                </a:cubicBezTo>
                <a:cubicBezTo>
                  <a:pt x="20938" y="3366"/>
                  <a:pt x="20922" y="3370"/>
                  <a:pt x="20914" y="3370"/>
                </a:cubicBezTo>
                <a:cubicBezTo>
                  <a:pt x="20910" y="3370"/>
                  <a:pt x="20908" y="3362"/>
                  <a:pt x="20908" y="3357"/>
                </a:cubicBezTo>
                <a:cubicBezTo>
                  <a:pt x="20908" y="3339"/>
                  <a:pt x="20920" y="3316"/>
                  <a:pt x="20935" y="3294"/>
                </a:cubicBezTo>
                <a:close/>
                <a:moveTo>
                  <a:pt x="8794" y="3306"/>
                </a:moveTo>
                <a:cubicBezTo>
                  <a:pt x="8807" y="3347"/>
                  <a:pt x="8813" y="3390"/>
                  <a:pt x="8813" y="3439"/>
                </a:cubicBezTo>
                <a:cubicBezTo>
                  <a:pt x="8813" y="3444"/>
                  <a:pt x="8810" y="3460"/>
                  <a:pt x="8771" y="3460"/>
                </a:cubicBezTo>
                <a:cubicBezTo>
                  <a:pt x="8768" y="3460"/>
                  <a:pt x="8765" y="3461"/>
                  <a:pt x="8762" y="3460"/>
                </a:cubicBezTo>
                <a:cubicBezTo>
                  <a:pt x="8762" y="3460"/>
                  <a:pt x="8794" y="3306"/>
                  <a:pt x="8794" y="3306"/>
                </a:cubicBezTo>
                <a:close/>
                <a:moveTo>
                  <a:pt x="21080" y="3306"/>
                </a:moveTo>
                <a:cubicBezTo>
                  <a:pt x="21082" y="3310"/>
                  <a:pt x="21089" y="3315"/>
                  <a:pt x="21089" y="3319"/>
                </a:cubicBezTo>
                <a:cubicBezTo>
                  <a:pt x="21088" y="3321"/>
                  <a:pt x="21080" y="3323"/>
                  <a:pt x="21078" y="3325"/>
                </a:cubicBezTo>
                <a:cubicBezTo>
                  <a:pt x="21079" y="3319"/>
                  <a:pt x="21079" y="3312"/>
                  <a:pt x="21080" y="3306"/>
                </a:cubicBezTo>
                <a:close/>
                <a:moveTo>
                  <a:pt x="4976" y="3320"/>
                </a:moveTo>
                <a:cubicBezTo>
                  <a:pt x="4961" y="3320"/>
                  <a:pt x="4950" y="3343"/>
                  <a:pt x="4950" y="3371"/>
                </a:cubicBezTo>
                <a:cubicBezTo>
                  <a:pt x="4950" y="3400"/>
                  <a:pt x="4961" y="3423"/>
                  <a:pt x="4976" y="3423"/>
                </a:cubicBezTo>
                <a:cubicBezTo>
                  <a:pt x="4990" y="3423"/>
                  <a:pt x="5001" y="3400"/>
                  <a:pt x="5001" y="3371"/>
                </a:cubicBezTo>
                <a:cubicBezTo>
                  <a:pt x="5001" y="3343"/>
                  <a:pt x="4990" y="3320"/>
                  <a:pt x="4976" y="3320"/>
                </a:cubicBezTo>
                <a:close/>
                <a:moveTo>
                  <a:pt x="3067" y="3324"/>
                </a:moveTo>
                <a:lnTo>
                  <a:pt x="3204" y="3387"/>
                </a:lnTo>
                <a:cubicBezTo>
                  <a:pt x="3207" y="3407"/>
                  <a:pt x="3215" y="3423"/>
                  <a:pt x="3226" y="3423"/>
                </a:cubicBezTo>
                <a:cubicBezTo>
                  <a:pt x="3234" y="3423"/>
                  <a:pt x="3240" y="3416"/>
                  <a:pt x="3245" y="3405"/>
                </a:cubicBezTo>
                <a:lnTo>
                  <a:pt x="3519" y="3531"/>
                </a:lnTo>
                <a:cubicBezTo>
                  <a:pt x="3507" y="3549"/>
                  <a:pt x="3499" y="3574"/>
                  <a:pt x="3499" y="3606"/>
                </a:cubicBezTo>
                <a:cubicBezTo>
                  <a:pt x="3499" y="3660"/>
                  <a:pt x="3521" y="3704"/>
                  <a:pt x="3548" y="3704"/>
                </a:cubicBezTo>
                <a:cubicBezTo>
                  <a:pt x="3575" y="3704"/>
                  <a:pt x="3597" y="3660"/>
                  <a:pt x="3597" y="3606"/>
                </a:cubicBezTo>
                <a:cubicBezTo>
                  <a:pt x="3597" y="3589"/>
                  <a:pt x="3592" y="3576"/>
                  <a:pt x="3588" y="3563"/>
                </a:cubicBezTo>
                <a:lnTo>
                  <a:pt x="3903" y="3707"/>
                </a:lnTo>
                <a:cubicBezTo>
                  <a:pt x="3902" y="3712"/>
                  <a:pt x="3902" y="3718"/>
                  <a:pt x="3902" y="3723"/>
                </a:cubicBezTo>
                <a:cubicBezTo>
                  <a:pt x="3902" y="3745"/>
                  <a:pt x="3907" y="3779"/>
                  <a:pt x="3937" y="3786"/>
                </a:cubicBezTo>
                <a:cubicBezTo>
                  <a:pt x="3940" y="3803"/>
                  <a:pt x="3945" y="3815"/>
                  <a:pt x="3950" y="3824"/>
                </a:cubicBezTo>
                <a:cubicBezTo>
                  <a:pt x="3934" y="3860"/>
                  <a:pt x="3904" y="3865"/>
                  <a:pt x="3864" y="3865"/>
                </a:cubicBezTo>
                <a:lnTo>
                  <a:pt x="3849" y="3863"/>
                </a:lnTo>
                <a:cubicBezTo>
                  <a:pt x="3809" y="3863"/>
                  <a:pt x="3782" y="3831"/>
                  <a:pt x="3756" y="3798"/>
                </a:cubicBezTo>
                <a:cubicBezTo>
                  <a:pt x="3732" y="3768"/>
                  <a:pt x="3708" y="3736"/>
                  <a:pt x="3675" y="3736"/>
                </a:cubicBezTo>
                <a:cubicBezTo>
                  <a:pt x="3647" y="3736"/>
                  <a:pt x="3639" y="3758"/>
                  <a:pt x="3631" y="3784"/>
                </a:cubicBezTo>
                <a:cubicBezTo>
                  <a:pt x="3627" y="3797"/>
                  <a:pt x="3623" y="3806"/>
                  <a:pt x="3613" y="3816"/>
                </a:cubicBezTo>
                <a:cubicBezTo>
                  <a:pt x="3590" y="3839"/>
                  <a:pt x="3565" y="3846"/>
                  <a:pt x="3542" y="3852"/>
                </a:cubicBezTo>
                <a:cubicBezTo>
                  <a:pt x="3516" y="3858"/>
                  <a:pt x="3488" y="3865"/>
                  <a:pt x="3463" y="3898"/>
                </a:cubicBezTo>
                <a:lnTo>
                  <a:pt x="3421" y="3898"/>
                </a:lnTo>
                <a:cubicBezTo>
                  <a:pt x="3417" y="3825"/>
                  <a:pt x="3387" y="3768"/>
                  <a:pt x="3349" y="3768"/>
                </a:cubicBezTo>
                <a:cubicBezTo>
                  <a:pt x="3311" y="3768"/>
                  <a:pt x="3282" y="3825"/>
                  <a:pt x="3277" y="3898"/>
                </a:cubicBezTo>
                <a:lnTo>
                  <a:pt x="3276" y="3898"/>
                </a:lnTo>
                <a:cubicBezTo>
                  <a:pt x="3271" y="3898"/>
                  <a:pt x="3270" y="3896"/>
                  <a:pt x="3269" y="3896"/>
                </a:cubicBezTo>
                <a:cubicBezTo>
                  <a:pt x="3269" y="3894"/>
                  <a:pt x="3268" y="3883"/>
                  <a:pt x="3268" y="3876"/>
                </a:cubicBezTo>
                <a:cubicBezTo>
                  <a:pt x="3266" y="3854"/>
                  <a:pt x="3263" y="3821"/>
                  <a:pt x="3247" y="3797"/>
                </a:cubicBezTo>
                <a:cubicBezTo>
                  <a:pt x="3233" y="3777"/>
                  <a:pt x="3211" y="3768"/>
                  <a:pt x="3174" y="3768"/>
                </a:cubicBezTo>
                <a:cubicBezTo>
                  <a:pt x="3163" y="3768"/>
                  <a:pt x="3152" y="3769"/>
                  <a:pt x="3142" y="3770"/>
                </a:cubicBezTo>
                <a:cubicBezTo>
                  <a:pt x="3134" y="3771"/>
                  <a:pt x="3127" y="3770"/>
                  <a:pt x="3122" y="3770"/>
                </a:cubicBezTo>
                <a:cubicBezTo>
                  <a:pt x="3089" y="3770"/>
                  <a:pt x="3059" y="3708"/>
                  <a:pt x="3042" y="3659"/>
                </a:cubicBezTo>
                <a:cubicBezTo>
                  <a:pt x="3084" y="3606"/>
                  <a:pt x="3139" y="3584"/>
                  <a:pt x="3228" y="3584"/>
                </a:cubicBezTo>
                <a:cubicBezTo>
                  <a:pt x="3252" y="3584"/>
                  <a:pt x="3265" y="3582"/>
                  <a:pt x="3281" y="3579"/>
                </a:cubicBezTo>
                <a:cubicBezTo>
                  <a:pt x="3286" y="3578"/>
                  <a:pt x="3292" y="3576"/>
                  <a:pt x="3299" y="3575"/>
                </a:cubicBezTo>
                <a:cubicBezTo>
                  <a:pt x="3305" y="3574"/>
                  <a:pt x="3311" y="3565"/>
                  <a:pt x="3313" y="3552"/>
                </a:cubicBezTo>
                <a:cubicBezTo>
                  <a:pt x="3314" y="3539"/>
                  <a:pt x="3311" y="3526"/>
                  <a:pt x="3305" y="3519"/>
                </a:cubicBezTo>
                <a:cubicBezTo>
                  <a:pt x="3303" y="3517"/>
                  <a:pt x="3300" y="3513"/>
                  <a:pt x="3297" y="3510"/>
                </a:cubicBezTo>
                <a:cubicBezTo>
                  <a:pt x="3283" y="3493"/>
                  <a:pt x="3266" y="3473"/>
                  <a:pt x="3244" y="3473"/>
                </a:cubicBezTo>
                <a:lnTo>
                  <a:pt x="3132" y="3473"/>
                </a:lnTo>
                <a:cubicBezTo>
                  <a:pt x="3123" y="3473"/>
                  <a:pt x="3112" y="3475"/>
                  <a:pt x="3099" y="3476"/>
                </a:cubicBezTo>
                <a:cubicBezTo>
                  <a:pt x="3084" y="3478"/>
                  <a:pt x="3067" y="3480"/>
                  <a:pt x="3051" y="3480"/>
                </a:cubicBezTo>
                <a:cubicBezTo>
                  <a:pt x="2989" y="3480"/>
                  <a:pt x="2985" y="3447"/>
                  <a:pt x="2985" y="3431"/>
                </a:cubicBezTo>
                <a:cubicBezTo>
                  <a:pt x="2997" y="3423"/>
                  <a:pt x="3006" y="3409"/>
                  <a:pt x="3011" y="3387"/>
                </a:cubicBezTo>
                <a:cubicBezTo>
                  <a:pt x="3015" y="3385"/>
                  <a:pt x="3017" y="3383"/>
                  <a:pt x="3022" y="3382"/>
                </a:cubicBezTo>
                <a:cubicBezTo>
                  <a:pt x="3036" y="3379"/>
                  <a:pt x="3051" y="3376"/>
                  <a:pt x="3062" y="3362"/>
                </a:cubicBezTo>
                <a:cubicBezTo>
                  <a:pt x="3067" y="3356"/>
                  <a:pt x="3069" y="3344"/>
                  <a:pt x="3068" y="3332"/>
                </a:cubicBezTo>
                <a:cubicBezTo>
                  <a:pt x="3068" y="3329"/>
                  <a:pt x="3068" y="3326"/>
                  <a:pt x="3067" y="3324"/>
                </a:cubicBezTo>
                <a:close/>
                <a:moveTo>
                  <a:pt x="19525" y="3345"/>
                </a:moveTo>
                <a:cubicBezTo>
                  <a:pt x="19574" y="3345"/>
                  <a:pt x="19613" y="3354"/>
                  <a:pt x="19644" y="3373"/>
                </a:cubicBezTo>
                <a:cubicBezTo>
                  <a:pt x="19641" y="3455"/>
                  <a:pt x="19637" y="3551"/>
                  <a:pt x="19633" y="3657"/>
                </a:cubicBezTo>
                <a:cubicBezTo>
                  <a:pt x="19633" y="3664"/>
                  <a:pt x="19633" y="3670"/>
                  <a:pt x="19632" y="3677"/>
                </a:cubicBezTo>
                <a:cubicBezTo>
                  <a:pt x="19631" y="3712"/>
                  <a:pt x="19630" y="3749"/>
                  <a:pt x="19628" y="3786"/>
                </a:cubicBezTo>
                <a:cubicBezTo>
                  <a:pt x="19621" y="3779"/>
                  <a:pt x="19615" y="3768"/>
                  <a:pt x="19607" y="3768"/>
                </a:cubicBezTo>
                <a:cubicBezTo>
                  <a:pt x="19579" y="3768"/>
                  <a:pt x="19557" y="3812"/>
                  <a:pt x="19557" y="3867"/>
                </a:cubicBezTo>
                <a:cubicBezTo>
                  <a:pt x="19557" y="3921"/>
                  <a:pt x="19579" y="3965"/>
                  <a:pt x="19607" y="3965"/>
                </a:cubicBezTo>
                <a:cubicBezTo>
                  <a:pt x="19613" y="3965"/>
                  <a:pt x="19617" y="3956"/>
                  <a:pt x="19622" y="3952"/>
                </a:cubicBezTo>
                <a:cubicBezTo>
                  <a:pt x="19620" y="4025"/>
                  <a:pt x="19617" y="4102"/>
                  <a:pt x="19614" y="4178"/>
                </a:cubicBezTo>
                <a:cubicBezTo>
                  <a:pt x="19613" y="4189"/>
                  <a:pt x="19613" y="4200"/>
                  <a:pt x="19612" y="4211"/>
                </a:cubicBezTo>
                <a:cubicBezTo>
                  <a:pt x="19610" y="4269"/>
                  <a:pt x="19608" y="4320"/>
                  <a:pt x="19606" y="4380"/>
                </a:cubicBezTo>
                <a:cubicBezTo>
                  <a:pt x="19600" y="4374"/>
                  <a:pt x="19595" y="4365"/>
                  <a:pt x="19588" y="4365"/>
                </a:cubicBezTo>
                <a:cubicBezTo>
                  <a:pt x="19561" y="4365"/>
                  <a:pt x="19539" y="4409"/>
                  <a:pt x="19539" y="4464"/>
                </a:cubicBezTo>
                <a:cubicBezTo>
                  <a:pt x="19539" y="4518"/>
                  <a:pt x="19561" y="4562"/>
                  <a:pt x="19588" y="4562"/>
                </a:cubicBezTo>
                <a:cubicBezTo>
                  <a:pt x="19593" y="4562"/>
                  <a:pt x="19595" y="4555"/>
                  <a:pt x="19600" y="4552"/>
                </a:cubicBezTo>
                <a:cubicBezTo>
                  <a:pt x="19591" y="4794"/>
                  <a:pt x="19581" y="5047"/>
                  <a:pt x="19574" y="5245"/>
                </a:cubicBezTo>
                <a:cubicBezTo>
                  <a:pt x="19511" y="5284"/>
                  <a:pt x="19467" y="5372"/>
                  <a:pt x="19435" y="5512"/>
                </a:cubicBezTo>
                <a:cubicBezTo>
                  <a:pt x="19426" y="5495"/>
                  <a:pt x="19415" y="5484"/>
                  <a:pt x="19402" y="5484"/>
                </a:cubicBezTo>
                <a:cubicBezTo>
                  <a:pt x="19394" y="5484"/>
                  <a:pt x="19388" y="5494"/>
                  <a:pt x="19381" y="5501"/>
                </a:cubicBezTo>
                <a:lnTo>
                  <a:pt x="19188" y="5260"/>
                </a:lnTo>
                <a:cubicBezTo>
                  <a:pt x="19188" y="5255"/>
                  <a:pt x="19190" y="5252"/>
                  <a:pt x="19190" y="5247"/>
                </a:cubicBezTo>
                <a:cubicBezTo>
                  <a:pt x="19190" y="5193"/>
                  <a:pt x="19169" y="5148"/>
                  <a:pt x="19141" y="5148"/>
                </a:cubicBezTo>
                <a:cubicBezTo>
                  <a:pt x="19132" y="5148"/>
                  <a:pt x="19124" y="5159"/>
                  <a:pt x="19116" y="5169"/>
                </a:cubicBezTo>
                <a:lnTo>
                  <a:pt x="18886" y="4882"/>
                </a:lnTo>
                <a:lnTo>
                  <a:pt x="18654" y="4591"/>
                </a:lnTo>
                <a:cubicBezTo>
                  <a:pt x="18657" y="4571"/>
                  <a:pt x="18661" y="4551"/>
                  <a:pt x="18661" y="4529"/>
                </a:cubicBezTo>
                <a:cubicBezTo>
                  <a:pt x="18661" y="4501"/>
                  <a:pt x="18657" y="4474"/>
                  <a:pt x="18652" y="4449"/>
                </a:cubicBezTo>
                <a:lnTo>
                  <a:pt x="18666" y="4431"/>
                </a:lnTo>
                <a:lnTo>
                  <a:pt x="18971" y="4032"/>
                </a:lnTo>
                <a:cubicBezTo>
                  <a:pt x="18977" y="4045"/>
                  <a:pt x="18986" y="4053"/>
                  <a:pt x="18996" y="4053"/>
                </a:cubicBezTo>
                <a:cubicBezTo>
                  <a:pt x="19015" y="4053"/>
                  <a:pt x="19030" y="4024"/>
                  <a:pt x="19030" y="3986"/>
                </a:cubicBezTo>
                <a:cubicBezTo>
                  <a:pt x="19030" y="3977"/>
                  <a:pt x="19027" y="3970"/>
                  <a:pt x="19025" y="3962"/>
                </a:cubicBezTo>
                <a:lnTo>
                  <a:pt x="19197" y="3737"/>
                </a:lnTo>
                <a:cubicBezTo>
                  <a:pt x="19203" y="3748"/>
                  <a:pt x="19211" y="3755"/>
                  <a:pt x="19219" y="3755"/>
                </a:cubicBezTo>
                <a:cubicBezTo>
                  <a:pt x="19238" y="3755"/>
                  <a:pt x="19253" y="3725"/>
                  <a:pt x="19253" y="3687"/>
                </a:cubicBezTo>
                <a:cubicBezTo>
                  <a:pt x="19253" y="3680"/>
                  <a:pt x="19251" y="3675"/>
                  <a:pt x="19250" y="3669"/>
                </a:cubicBezTo>
                <a:lnTo>
                  <a:pt x="19443" y="3416"/>
                </a:lnTo>
                <a:cubicBezTo>
                  <a:pt x="19452" y="3432"/>
                  <a:pt x="19463" y="3443"/>
                  <a:pt x="19476" y="3443"/>
                </a:cubicBezTo>
                <a:cubicBezTo>
                  <a:pt x="19504" y="3443"/>
                  <a:pt x="19525" y="3399"/>
                  <a:pt x="19525" y="3345"/>
                </a:cubicBezTo>
                <a:close/>
                <a:moveTo>
                  <a:pt x="8750" y="3363"/>
                </a:moveTo>
                <a:lnTo>
                  <a:pt x="8750" y="3366"/>
                </a:lnTo>
                <a:lnTo>
                  <a:pt x="8733" y="3444"/>
                </a:lnTo>
                <a:cubicBezTo>
                  <a:pt x="8721" y="3431"/>
                  <a:pt x="8712" y="3413"/>
                  <a:pt x="8704" y="3391"/>
                </a:cubicBezTo>
                <a:cubicBezTo>
                  <a:pt x="8706" y="3391"/>
                  <a:pt x="8707" y="3392"/>
                  <a:pt x="8708" y="3392"/>
                </a:cubicBezTo>
                <a:cubicBezTo>
                  <a:pt x="8724" y="3392"/>
                  <a:pt x="8738" y="3380"/>
                  <a:pt x="8750" y="3363"/>
                </a:cubicBezTo>
                <a:close/>
                <a:moveTo>
                  <a:pt x="6997" y="3364"/>
                </a:moveTo>
                <a:lnTo>
                  <a:pt x="7022" y="3385"/>
                </a:lnTo>
                <a:cubicBezTo>
                  <a:pt x="7021" y="3389"/>
                  <a:pt x="7021" y="3393"/>
                  <a:pt x="7021" y="3397"/>
                </a:cubicBezTo>
                <a:cubicBezTo>
                  <a:pt x="7013" y="3387"/>
                  <a:pt x="7004" y="3379"/>
                  <a:pt x="6997" y="3364"/>
                </a:cubicBezTo>
                <a:close/>
                <a:moveTo>
                  <a:pt x="668" y="3392"/>
                </a:moveTo>
                <a:cubicBezTo>
                  <a:pt x="677" y="3392"/>
                  <a:pt x="684" y="3402"/>
                  <a:pt x="693" y="3416"/>
                </a:cubicBezTo>
                <a:cubicBezTo>
                  <a:pt x="680" y="3433"/>
                  <a:pt x="670" y="3457"/>
                  <a:pt x="670" y="3490"/>
                </a:cubicBezTo>
                <a:cubicBezTo>
                  <a:pt x="670" y="3543"/>
                  <a:pt x="692" y="3586"/>
                  <a:pt x="718" y="3586"/>
                </a:cubicBezTo>
                <a:cubicBezTo>
                  <a:pt x="744" y="3586"/>
                  <a:pt x="766" y="3543"/>
                  <a:pt x="766" y="3490"/>
                </a:cubicBezTo>
                <a:cubicBezTo>
                  <a:pt x="766" y="3485"/>
                  <a:pt x="763" y="3482"/>
                  <a:pt x="763" y="3478"/>
                </a:cubicBezTo>
                <a:cubicBezTo>
                  <a:pt x="766" y="3472"/>
                  <a:pt x="770" y="3468"/>
                  <a:pt x="773" y="3462"/>
                </a:cubicBezTo>
                <a:cubicBezTo>
                  <a:pt x="778" y="3467"/>
                  <a:pt x="783" y="3472"/>
                  <a:pt x="787" y="3476"/>
                </a:cubicBezTo>
                <a:cubicBezTo>
                  <a:pt x="794" y="3483"/>
                  <a:pt x="802" y="3490"/>
                  <a:pt x="812" y="3497"/>
                </a:cubicBezTo>
                <a:cubicBezTo>
                  <a:pt x="814" y="3498"/>
                  <a:pt x="815" y="3499"/>
                  <a:pt x="817" y="3499"/>
                </a:cubicBezTo>
                <a:lnTo>
                  <a:pt x="838" y="3499"/>
                </a:lnTo>
                <a:cubicBezTo>
                  <a:pt x="838" y="3500"/>
                  <a:pt x="838" y="3501"/>
                  <a:pt x="838" y="3502"/>
                </a:cubicBezTo>
                <a:cubicBezTo>
                  <a:pt x="838" y="3520"/>
                  <a:pt x="845" y="3536"/>
                  <a:pt x="854" y="3536"/>
                </a:cubicBezTo>
                <a:cubicBezTo>
                  <a:pt x="863" y="3536"/>
                  <a:pt x="871" y="3520"/>
                  <a:pt x="871" y="3502"/>
                </a:cubicBezTo>
                <a:cubicBezTo>
                  <a:pt x="871" y="3501"/>
                  <a:pt x="870" y="3500"/>
                  <a:pt x="870" y="3499"/>
                </a:cubicBezTo>
                <a:lnTo>
                  <a:pt x="918" y="3499"/>
                </a:lnTo>
                <a:cubicBezTo>
                  <a:pt x="925" y="3508"/>
                  <a:pt x="931" y="3517"/>
                  <a:pt x="937" y="3525"/>
                </a:cubicBezTo>
                <a:cubicBezTo>
                  <a:pt x="948" y="3543"/>
                  <a:pt x="959" y="3560"/>
                  <a:pt x="980" y="3580"/>
                </a:cubicBezTo>
                <a:cubicBezTo>
                  <a:pt x="982" y="3582"/>
                  <a:pt x="984" y="3584"/>
                  <a:pt x="986" y="3584"/>
                </a:cubicBezTo>
                <a:lnTo>
                  <a:pt x="1139" y="3584"/>
                </a:lnTo>
                <a:cubicBezTo>
                  <a:pt x="1139" y="3590"/>
                  <a:pt x="1135" y="3595"/>
                  <a:pt x="1135" y="3602"/>
                </a:cubicBezTo>
                <a:cubicBezTo>
                  <a:pt x="1135" y="3655"/>
                  <a:pt x="1157" y="3698"/>
                  <a:pt x="1183" y="3698"/>
                </a:cubicBezTo>
                <a:cubicBezTo>
                  <a:pt x="1200" y="3698"/>
                  <a:pt x="1212" y="3678"/>
                  <a:pt x="1221" y="3651"/>
                </a:cubicBezTo>
                <a:cubicBezTo>
                  <a:pt x="1269" y="3676"/>
                  <a:pt x="1307" y="3681"/>
                  <a:pt x="1341" y="3684"/>
                </a:cubicBezTo>
                <a:cubicBezTo>
                  <a:pt x="1341" y="3686"/>
                  <a:pt x="1340" y="3687"/>
                  <a:pt x="1340" y="3689"/>
                </a:cubicBezTo>
                <a:cubicBezTo>
                  <a:pt x="1340" y="3707"/>
                  <a:pt x="1347" y="3722"/>
                  <a:pt x="1356" y="3722"/>
                </a:cubicBezTo>
                <a:cubicBezTo>
                  <a:pt x="1365" y="3722"/>
                  <a:pt x="1373" y="3707"/>
                  <a:pt x="1373" y="3689"/>
                </a:cubicBezTo>
                <a:cubicBezTo>
                  <a:pt x="1373" y="3688"/>
                  <a:pt x="1373" y="3688"/>
                  <a:pt x="1373" y="3687"/>
                </a:cubicBezTo>
                <a:cubicBezTo>
                  <a:pt x="1376" y="3687"/>
                  <a:pt x="1387" y="3690"/>
                  <a:pt x="1389" y="3690"/>
                </a:cubicBezTo>
                <a:cubicBezTo>
                  <a:pt x="1410" y="3690"/>
                  <a:pt x="1426" y="3682"/>
                  <a:pt x="1442" y="3675"/>
                </a:cubicBezTo>
                <a:cubicBezTo>
                  <a:pt x="1453" y="3670"/>
                  <a:pt x="1464" y="3668"/>
                  <a:pt x="1474" y="3665"/>
                </a:cubicBezTo>
                <a:cubicBezTo>
                  <a:pt x="1479" y="3689"/>
                  <a:pt x="1489" y="3708"/>
                  <a:pt x="1502" y="3708"/>
                </a:cubicBezTo>
                <a:cubicBezTo>
                  <a:pt x="1514" y="3708"/>
                  <a:pt x="1523" y="3692"/>
                  <a:pt x="1528" y="3672"/>
                </a:cubicBezTo>
                <a:cubicBezTo>
                  <a:pt x="1542" y="3680"/>
                  <a:pt x="1555" y="3690"/>
                  <a:pt x="1569" y="3704"/>
                </a:cubicBezTo>
                <a:cubicBezTo>
                  <a:pt x="1574" y="3709"/>
                  <a:pt x="1581" y="3714"/>
                  <a:pt x="1587" y="3719"/>
                </a:cubicBezTo>
                <a:cubicBezTo>
                  <a:pt x="1584" y="3734"/>
                  <a:pt x="1582" y="3750"/>
                  <a:pt x="1582" y="3767"/>
                </a:cubicBezTo>
                <a:cubicBezTo>
                  <a:pt x="1582" y="3811"/>
                  <a:pt x="1592" y="3850"/>
                  <a:pt x="1608" y="3877"/>
                </a:cubicBezTo>
                <a:lnTo>
                  <a:pt x="1608" y="3999"/>
                </a:lnTo>
                <a:cubicBezTo>
                  <a:pt x="1603" y="4005"/>
                  <a:pt x="1601" y="4013"/>
                  <a:pt x="1601" y="4024"/>
                </a:cubicBezTo>
                <a:cubicBezTo>
                  <a:pt x="1601" y="4035"/>
                  <a:pt x="1603" y="4044"/>
                  <a:pt x="1608" y="4050"/>
                </a:cubicBezTo>
                <a:lnTo>
                  <a:pt x="1608" y="4383"/>
                </a:lnTo>
                <a:cubicBezTo>
                  <a:pt x="1593" y="4400"/>
                  <a:pt x="1582" y="4425"/>
                  <a:pt x="1582" y="4460"/>
                </a:cubicBezTo>
                <a:cubicBezTo>
                  <a:pt x="1582" y="4496"/>
                  <a:pt x="1593" y="4521"/>
                  <a:pt x="1608" y="4537"/>
                </a:cubicBezTo>
                <a:lnTo>
                  <a:pt x="1608" y="5153"/>
                </a:lnTo>
                <a:lnTo>
                  <a:pt x="1496" y="5030"/>
                </a:lnTo>
                <a:cubicBezTo>
                  <a:pt x="1493" y="5023"/>
                  <a:pt x="1488" y="5022"/>
                  <a:pt x="1484" y="5017"/>
                </a:cubicBezTo>
                <a:lnTo>
                  <a:pt x="577" y="4018"/>
                </a:lnTo>
                <a:cubicBezTo>
                  <a:pt x="581" y="4008"/>
                  <a:pt x="585" y="3996"/>
                  <a:pt x="585" y="3981"/>
                </a:cubicBezTo>
                <a:cubicBezTo>
                  <a:pt x="585" y="3946"/>
                  <a:pt x="571" y="3917"/>
                  <a:pt x="553" y="3917"/>
                </a:cubicBezTo>
                <a:cubicBezTo>
                  <a:pt x="539" y="3917"/>
                  <a:pt x="530" y="3937"/>
                  <a:pt x="525" y="3962"/>
                </a:cubicBezTo>
                <a:lnTo>
                  <a:pt x="320" y="3736"/>
                </a:lnTo>
                <a:cubicBezTo>
                  <a:pt x="369" y="3648"/>
                  <a:pt x="423" y="3585"/>
                  <a:pt x="477" y="3542"/>
                </a:cubicBezTo>
                <a:cubicBezTo>
                  <a:pt x="483" y="3551"/>
                  <a:pt x="490" y="3559"/>
                  <a:pt x="497" y="3559"/>
                </a:cubicBezTo>
                <a:cubicBezTo>
                  <a:pt x="511" y="3559"/>
                  <a:pt x="520" y="3540"/>
                  <a:pt x="524" y="3517"/>
                </a:cubicBezTo>
                <a:cubicBezTo>
                  <a:pt x="528" y="3518"/>
                  <a:pt x="531" y="3516"/>
                  <a:pt x="534" y="3517"/>
                </a:cubicBezTo>
                <a:cubicBezTo>
                  <a:pt x="550" y="3521"/>
                  <a:pt x="567" y="3520"/>
                  <a:pt x="582" y="3509"/>
                </a:cubicBezTo>
                <a:cubicBezTo>
                  <a:pt x="600" y="3496"/>
                  <a:pt x="613" y="3470"/>
                  <a:pt x="626" y="3445"/>
                </a:cubicBezTo>
                <a:cubicBezTo>
                  <a:pt x="641" y="3417"/>
                  <a:pt x="653" y="3392"/>
                  <a:pt x="668" y="3392"/>
                </a:cubicBezTo>
                <a:close/>
                <a:moveTo>
                  <a:pt x="19673" y="3395"/>
                </a:moveTo>
                <a:cubicBezTo>
                  <a:pt x="19715" y="3437"/>
                  <a:pt x="19740" y="3508"/>
                  <a:pt x="19754" y="3620"/>
                </a:cubicBezTo>
                <a:cubicBezTo>
                  <a:pt x="19756" y="3633"/>
                  <a:pt x="19762" y="3642"/>
                  <a:pt x="19769" y="3642"/>
                </a:cubicBezTo>
                <a:lnTo>
                  <a:pt x="19787" y="3643"/>
                </a:lnTo>
                <a:cubicBezTo>
                  <a:pt x="19793" y="3664"/>
                  <a:pt x="19802" y="3680"/>
                  <a:pt x="19815" y="3680"/>
                </a:cubicBezTo>
                <a:cubicBezTo>
                  <a:pt x="19827" y="3680"/>
                  <a:pt x="19836" y="3665"/>
                  <a:pt x="19842" y="3645"/>
                </a:cubicBezTo>
                <a:lnTo>
                  <a:pt x="20257" y="3663"/>
                </a:lnTo>
                <a:cubicBezTo>
                  <a:pt x="20266" y="3664"/>
                  <a:pt x="20295" y="3712"/>
                  <a:pt x="20314" y="3743"/>
                </a:cubicBezTo>
                <a:cubicBezTo>
                  <a:pt x="20320" y="3754"/>
                  <a:pt x="20327" y="3764"/>
                  <a:pt x="20333" y="3775"/>
                </a:cubicBezTo>
                <a:cubicBezTo>
                  <a:pt x="20333" y="3775"/>
                  <a:pt x="20269" y="3938"/>
                  <a:pt x="20247" y="3995"/>
                </a:cubicBezTo>
                <a:cubicBezTo>
                  <a:pt x="20245" y="3995"/>
                  <a:pt x="20244" y="3992"/>
                  <a:pt x="20243" y="3992"/>
                </a:cubicBezTo>
                <a:cubicBezTo>
                  <a:pt x="20224" y="3992"/>
                  <a:pt x="20209" y="4023"/>
                  <a:pt x="20209" y="4060"/>
                </a:cubicBezTo>
                <a:cubicBezTo>
                  <a:pt x="20209" y="4069"/>
                  <a:pt x="20211" y="4074"/>
                  <a:pt x="20213" y="4081"/>
                </a:cubicBezTo>
                <a:cubicBezTo>
                  <a:pt x="20178" y="4168"/>
                  <a:pt x="20159" y="4217"/>
                  <a:pt x="20111" y="4341"/>
                </a:cubicBezTo>
                <a:cubicBezTo>
                  <a:pt x="20106" y="4335"/>
                  <a:pt x="20101" y="4327"/>
                  <a:pt x="20094" y="4327"/>
                </a:cubicBezTo>
                <a:cubicBezTo>
                  <a:pt x="20075" y="4327"/>
                  <a:pt x="20060" y="4358"/>
                  <a:pt x="20060" y="4396"/>
                </a:cubicBezTo>
                <a:cubicBezTo>
                  <a:pt x="20060" y="4415"/>
                  <a:pt x="20064" y="4432"/>
                  <a:pt x="20070" y="4444"/>
                </a:cubicBezTo>
                <a:cubicBezTo>
                  <a:pt x="20033" y="4539"/>
                  <a:pt x="20031" y="4544"/>
                  <a:pt x="19995" y="4636"/>
                </a:cubicBezTo>
                <a:cubicBezTo>
                  <a:pt x="19991" y="4632"/>
                  <a:pt x="19987" y="4626"/>
                  <a:pt x="19982" y="4626"/>
                </a:cubicBezTo>
                <a:cubicBezTo>
                  <a:pt x="19963" y="4626"/>
                  <a:pt x="19948" y="4657"/>
                  <a:pt x="19948" y="4695"/>
                </a:cubicBezTo>
                <a:cubicBezTo>
                  <a:pt x="19948" y="4710"/>
                  <a:pt x="19952" y="4723"/>
                  <a:pt x="19956" y="4734"/>
                </a:cubicBezTo>
                <a:cubicBezTo>
                  <a:pt x="19873" y="4947"/>
                  <a:pt x="19768" y="5213"/>
                  <a:pt x="19768" y="5213"/>
                </a:cubicBezTo>
                <a:cubicBezTo>
                  <a:pt x="19756" y="5211"/>
                  <a:pt x="19744" y="5210"/>
                  <a:pt x="19733" y="5210"/>
                </a:cubicBezTo>
                <a:cubicBezTo>
                  <a:pt x="19718" y="5210"/>
                  <a:pt x="19706" y="5212"/>
                  <a:pt x="19694" y="5215"/>
                </a:cubicBezTo>
                <a:cubicBezTo>
                  <a:pt x="19684" y="5217"/>
                  <a:pt x="19674" y="5219"/>
                  <a:pt x="19663" y="5219"/>
                </a:cubicBezTo>
                <a:cubicBezTo>
                  <a:pt x="19642" y="5219"/>
                  <a:pt x="19622" y="5223"/>
                  <a:pt x="19604" y="5230"/>
                </a:cubicBezTo>
                <a:cubicBezTo>
                  <a:pt x="19612" y="5017"/>
                  <a:pt x="19622" y="4747"/>
                  <a:pt x="19632" y="4488"/>
                </a:cubicBezTo>
                <a:cubicBezTo>
                  <a:pt x="19633" y="4480"/>
                  <a:pt x="19637" y="4473"/>
                  <a:pt x="19637" y="4464"/>
                </a:cubicBezTo>
                <a:cubicBezTo>
                  <a:pt x="19637" y="4457"/>
                  <a:pt x="19634" y="4453"/>
                  <a:pt x="19633" y="4446"/>
                </a:cubicBezTo>
                <a:cubicBezTo>
                  <a:pt x="19639" y="4302"/>
                  <a:pt x="19644" y="4170"/>
                  <a:pt x="19649" y="4031"/>
                </a:cubicBezTo>
                <a:cubicBezTo>
                  <a:pt x="19649" y="4028"/>
                  <a:pt x="19650" y="4024"/>
                  <a:pt x="19650" y="4021"/>
                </a:cubicBezTo>
                <a:cubicBezTo>
                  <a:pt x="19652" y="3966"/>
                  <a:pt x="19653" y="3920"/>
                  <a:pt x="19655" y="3868"/>
                </a:cubicBezTo>
                <a:cubicBezTo>
                  <a:pt x="19655" y="3868"/>
                  <a:pt x="19656" y="3867"/>
                  <a:pt x="19656" y="3867"/>
                </a:cubicBezTo>
                <a:cubicBezTo>
                  <a:pt x="19656" y="3866"/>
                  <a:pt x="19656" y="3866"/>
                  <a:pt x="19656" y="3866"/>
                </a:cubicBezTo>
                <a:cubicBezTo>
                  <a:pt x="19658" y="3787"/>
                  <a:pt x="19661" y="3706"/>
                  <a:pt x="19664" y="3635"/>
                </a:cubicBezTo>
                <a:cubicBezTo>
                  <a:pt x="19664" y="3628"/>
                  <a:pt x="19665" y="3620"/>
                  <a:pt x="19665" y="3613"/>
                </a:cubicBezTo>
                <a:cubicBezTo>
                  <a:pt x="19665" y="3603"/>
                  <a:pt x="19666" y="3594"/>
                  <a:pt x="19666" y="3585"/>
                </a:cubicBezTo>
                <a:cubicBezTo>
                  <a:pt x="19666" y="3582"/>
                  <a:pt x="19666" y="3579"/>
                  <a:pt x="19666" y="3577"/>
                </a:cubicBezTo>
                <a:cubicBezTo>
                  <a:pt x="19668" y="3511"/>
                  <a:pt x="19671" y="3450"/>
                  <a:pt x="19673" y="3395"/>
                </a:cubicBezTo>
                <a:close/>
                <a:moveTo>
                  <a:pt x="11778" y="3418"/>
                </a:moveTo>
                <a:cubicBezTo>
                  <a:pt x="11778" y="3424"/>
                  <a:pt x="11779" y="3429"/>
                  <a:pt x="11779" y="3434"/>
                </a:cubicBezTo>
                <a:lnTo>
                  <a:pt x="11771" y="3426"/>
                </a:lnTo>
                <a:cubicBezTo>
                  <a:pt x="11773" y="3423"/>
                  <a:pt x="11776" y="3421"/>
                  <a:pt x="11778" y="3418"/>
                </a:cubicBezTo>
                <a:close/>
                <a:moveTo>
                  <a:pt x="11495" y="3430"/>
                </a:moveTo>
                <a:cubicBezTo>
                  <a:pt x="11507" y="3455"/>
                  <a:pt x="11521" y="3480"/>
                  <a:pt x="11541" y="3480"/>
                </a:cubicBezTo>
                <a:cubicBezTo>
                  <a:pt x="11556" y="3480"/>
                  <a:pt x="11577" y="3463"/>
                  <a:pt x="11598" y="3445"/>
                </a:cubicBezTo>
                <a:cubicBezTo>
                  <a:pt x="11601" y="3461"/>
                  <a:pt x="11602" y="3478"/>
                  <a:pt x="11608" y="3489"/>
                </a:cubicBezTo>
                <a:cubicBezTo>
                  <a:pt x="11603" y="3502"/>
                  <a:pt x="11597" y="3510"/>
                  <a:pt x="11595" y="3528"/>
                </a:cubicBezTo>
                <a:cubicBezTo>
                  <a:pt x="11594" y="3536"/>
                  <a:pt x="11594" y="3545"/>
                  <a:pt x="11597" y="3552"/>
                </a:cubicBezTo>
                <a:cubicBezTo>
                  <a:pt x="11599" y="3560"/>
                  <a:pt x="11603" y="3564"/>
                  <a:pt x="11608" y="3565"/>
                </a:cubicBezTo>
                <a:cubicBezTo>
                  <a:pt x="11637" y="3571"/>
                  <a:pt x="11655" y="3540"/>
                  <a:pt x="11670" y="3507"/>
                </a:cubicBezTo>
                <a:lnTo>
                  <a:pt x="11679" y="3854"/>
                </a:lnTo>
                <a:lnTo>
                  <a:pt x="11713" y="5195"/>
                </a:lnTo>
                <a:cubicBezTo>
                  <a:pt x="11709" y="5191"/>
                  <a:pt x="11706" y="5185"/>
                  <a:pt x="11702" y="5185"/>
                </a:cubicBezTo>
                <a:cubicBezTo>
                  <a:pt x="11695" y="5185"/>
                  <a:pt x="11690" y="5193"/>
                  <a:pt x="11685" y="5199"/>
                </a:cubicBezTo>
                <a:lnTo>
                  <a:pt x="11598" y="5103"/>
                </a:lnTo>
                <a:lnTo>
                  <a:pt x="11499" y="4995"/>
                </a:lnTo>
                <a:cubicBezTo>
                  <a:pt x="11496" y="4972"/>
                  <a:pt x="11489" y="4955"/>
                  <a:pt x="11478" y="4943"/>
                </a:cubicBezTo>
                <a:cubicBezTo>
                  <a:pt x="11491" y="4917"/>
                  <a:pt x="11504" y="4890"/>
                  <a:pt x="11515" y="4862"/>
                </a:cubicBezTo>
                <a:cubicBezTo>
                  <a:pt x="11534" y="4816"/>
                  <a:pt x="11552" y="4772"/>
                  <a:pt x="11570" y="4752"/>
                </a:cubicBezTo>
                <a:cubicBezTo>
                  <a:pt x="11576" y="4744"/>
                  <a:pt x="11585" y="4737"/>
                  <a:pt x="11593" y="4730"/>
                </a:cubicBezTo>
                <a:cubicBezTo>
                  <a:pt x="11594" y="4729"/>
                  <a:pt x="11595" y="4727"/>
                  <a:pt x="11596" y="4726"/>
                </a:cubicBezTo>
                <a:cubicBezTo>
                  <a:pt x="11604" y="4738"/>
                  <a:pt x="11613" y="4748"/>
                  <a:pt x="11624" y="4748"/>
                </a:cubicBezTo>
                <a:cubicBezTo>
                  <a:pt x="11651" y="4748"/>
                  <a:pt x="11673" y="4705"/>
                  <a:pt x="11673" y="4650"/>
                </a:cubicBezTo>
                <a:cubicBezTo>
                  <a:pt x="11673" y="4622"/>
                  <a:pt x="11666" y="4597"/>
                  <a:pt x="11656" y="4579"/>
                </a:cubicBezTo>
                <a:cubicBezTo>
                  <a:pt x="11653" y="4520"/>
                  <a:pt x="11628" y="4442"/>
                  <a:pt x="11520" y="4442"/>
                </a:cubicBezTo>
                <a:cubicBezTo>
                  <a:pt x="11503" y="4442"/>
                  <a:pt x="11490" y="4447"/>
                  <a:pt x="11476" y="4452"/>
                </a:cubicBezTo>
                <a:cubicBezTo>
                  <a:pt x="11468" y="4424"/>
                  <a:pt x="11455" y="4402"/>
                  <a:pt x="11438" y="4402"/>
                </a:cubicBezTo>
                <a:cubicBezTo>
                  <a:pt x="11411" y="4402"/>
                  <a:pt x="11388" y="4447"/>
                  <a:pt x="11388" y="4501"/>
                </a:cubicBezTo>
                <a:cubicBezTo>
                  <a:pt x="11388" y="4516"/>
                  <a:pt x="11393" y="4526"/>
                  <a:pt x="11396" y="4538"/>
                </a:cubicBezTo>
                <a:cubicBezTo>
                  <a:pt x="11385" y="4567"/>
                  <a:pt x="11378" y="4600"/>
                  <a:pt x="11378" y="4641"/>
                </a:cubicBezTo>
                <a:cubicBezTo>
                  <a:pt x="11378" y="4663"/>
                  <a:pt x="11379" y="4679"/>
                  <a:pt x="11380" y="4692"/>
                </a:cubicBezTo>
                <a:cubicBezTo>
                  <a:pt x="11381" y="4711"/>
                  <a:pt x="11381" y="4719"/>
                  <a:pt x="11380" y="4726"/>
                </a:cubicBezTo>
                <a:cubicBezTo>
                  <a:pt x="11379" y="4730"/>
                  <a:pt x="11378" y="4734"/>
                  <a:pt x="11378" y="4739"/>
                </a:cubicBezTo>
                <a:cubicBezTo>
                  <a:pt x="11378" y="4764"/>
                  <a:pt x="11367" y="4793"/>
                  <a:pt x="11346" y="4826"/>
                </a:cubicBezTo>
                <a:lnTo>
                  <a:pt x="11166" y="4628"/>
                </a:lnTo>
                <a:cubicBezTo>
                  <a:pt x="11160" y="4586"/>
                  <a:pt x="11144" y="4551"/>
                  <a:pt x="11121" y="4551"/>
                </a:cubicBezTo>
                <a:cubicBezTo>
                  <a:pt x="11116" y="4551"/>
                  <a:pt x="11112" y="4559"/>
                  <a:pt x="11107" y="4563"/>
                </a:cubicBezTo>
                <a:lnTo>
                  <a:pt x="10903" y="4339"/>
                </a:lnTo>
                <a:cubicBezTo>
                  <a:pt x="10903" y="4337"/>
                  <a:pt x="10904" y="4336"/>
                  <a:pt x="10904" y="4334"/>
                </a:cubicBezTo>
                <a:cubicBezTo>
                  <a:pt x="10929" y="4251"/>
                  <a:pt x="10958" y="4200"/>
                  <a:pt x="10995" y="4171"/>
                </a:cubicBezTo>
                <a:cubicBezTo>
                  <a:pt x="11041" y="4136"/>
                  <a:pt x="11095" y="4006"/>
                  <a:pt x="11114" y="3912"/>
                </a:cubicBezTo>
                <a:cubicBezTo>
                  <a:pt x="11120" y="3916"/>
                  <a:pt x="11126" y="3918"/>
                  <a:pt x="11134" y="3918"/>
                </a:cubicBezTo>
                <a:cubicBezTo>
                  <a:pt x="11147" y="3918"/>
                  <a:pt x="11157" y="3890"/>
                  <a:pt x="11173" y="3834"/>
                </a:cubicBezTo>
                <a:cubicBezTo>
                  <a:pt x="11180" y="3842"/>
                  <a:pt x="11187" y="3853"/>
                  <a:pt x="11196" y="3853"/>
                </a:cubicBezTo>
                <a:cubicBezTo>
                  <a:pt x="11223" y="3853"/>
                  <a:pt x="11245" y="3809"/>
                  <a:pt x="11245" y="3755"/>
                </a:cubicBezTo>
                <a:cubicBezTo>
                  <a:pt x="11245" y="3742"/>
                  <a:pt x="11240" y="3733"/>
                  <a:pt x="11238" y="3721"/>
                </a:cubicBezTo>
                <a:cubicBezTo>
                  <a:pt x="11241" y="3716"/>
                  <a:pt x="11244" y="3709"/>
                  <a:pt x="11244" y="3701"/>
                </a:cubicBezTo>
                <a:cubicBezTo>
                  <a:pt x="11245" y="3692"/>
                  <a:pt x="11243" y="3684"/>
                  <a:pt x="11240" y="3677"/>
                </a:cubicBezTo>
                <a:lnTo>
                  <a:pt x="11236" y="3668"/>
                </a:lnTo>
                <a:cubicBezTo>
                  <a:pt x="11248" y="3657"/>
                  <a:pt x="11263" y="3654"/>
                  <a:pt x="11280" y="3650"/>
                </a:cubicBezTo>
                <a:cubicBezTo>
                  <a:pt x="11283" y="3649"/>
                  <a:pt x="11286" y="3649"/>
                  <a:pt x="11289" y="3648"/>
                </a:cubicBezTo>
                <a:lnTo>
                  <a:pt x="11289" y="3663"/>
                </a:lnTo>
                <a:cubicBezTo>
                  <a:pt x="11289" y="3672"/>
                  <a:pt x="11291" y="3681"/>
                  <a:pt x="11294" y="3686"/>
                </a:cubicBezTo>
                <a:cubicBezTo>
                  <a:pt x="11298" y="3692"/>
                  <a:pt x="11303" y="3694"/>
                  <a:pt x="11307" y="3692"/>
                </a:cubicBezTo>
                <a:cubicBezTo>
                  <a:pt x="11324" y="3684"/>
                  <a:pt x="11334" y="3659"/>
                  <a:pt x="11344" y="3634"/>
                </a:cubicBezTo>
                <a:cubicBezTo>
                  <a:pt x="11351" y="3614"/>
                  <a:pt x="11358" y="3597"/>
                  <a:pt x="11367" y="3587"/>
                </a:cubicBezTo>
                <a:lnTo>
                  <a:pt x="11367" y="3621"/>
                </a:lnTo>
                <a:cubicBezTo>
                  <a:pt x="11367" y="3635"/>
                  <a:pt x="11372" y="3647"/>
                  <a:pt x="11378" y="3650"/>
                </a:cubicBezTo>
                <a:cubicBezTo>
                  <a:pt x="11385" y="3653"/>
                  <a:pt x="11392" y="3647"/>
                  <a:pt x="11395" y="3635"/>
                </a:cubicBezTo>
                <a:cubicBezTo>
                  <a:pt x="11406" y="3596"/>
                  <a:pt x="11418" y="3582"/>
                  <a:pt x="11431" y="3572"/>
                </a:cubicBezTo>
                <a:cubicBezTo>
                  <a:pt x="11439" y="3582"/>
                  <a:pt x="11447" y="3592"/>
                  <a:pt x="11456" y="3592"/>
                </a:cubicBezTo>
                <a:cubicBezTo>
                  <a:pt x="11484" y="3592"/>
                  <a:pt x="11505" y="3548"/>
                  <a:pt x="11505" y="3494"/>
                </a:cubicBezTo>
                <a:cubicBezTo>
                  <a:pt x="11505" y="3470"/>
                  <a:pt x="11499" y="3450"/>
                  <a:pt x="11492" y="3433"/>
                </a:cubicBezTo>
                <a:cubicBezTo>
                  <a:pt x="11493" y="3432"/>
                  <a:pt x="11494" y="3431"/>
                  <a:pt x="11495" y="3430"/>
                </a:cubicBezTo>
                <a:close/>
                <a:moveTo>
                  <a:pt x="11844" y="3430"/>
                </a:moveTo>
                <a:cubicBezTo>
                  <a:pt x="11851" y="3432"/>
                  <a:pt x="11884" y="3466"/>
                  <a:pt x="11899" y="3482"/>
                </a:cubicBezTo>
                <a:cubicBezTo>
                  <a:pt x="11892" y="3515"/>
                  <a:pt x="11885" y="3517"/>
                  <a:pt x="11867" y="3523"/>
                </a:cubicBezTo>
                <a:cubicBezTo>
                  <a:pt x="11864" y="3524"/>
                  <a:pt x="11862" y="3525"/>
                  <a:pt x="11859" y="3526"/>
                </a:cubicBezTo>
                <a:lnTo>
                  <a:pt x="11835" y="3499"/>
                </a:lnTo>
                <a:lnTo>
                  <a:pt x="11823" y="3486"/>
                </a:lnTo>
                <a:cubicBezTo>
                  <a:pt x="11824" y="3483"/>
                  <a:pt x="11826" y="3478"/>
                  <a:pt x="11827" y="3474"/>
                </a:cubicBezTo>
                <a:cubicBezTo>
                  <a:pt x="11834" y="3435"/>
                  <a:pt x="11839" y="3430"/>
                  <a:pt x="11844" y="3430"/>
                </a:cubicBezTo>
                <a:close/>
                <a:moveTo>
                  <a:pt x="17582" y="3432"/>
                </a:moveTo>
                <a:cubicBezTo>
                  <a:pt x="17563" y="3432"/>
                  <a:pt x="17548" y="3463"/>
                  <a:pt x="17548" y="3501"/>
                </a:cubicBezTo>
                <a:cubicBezTo>
                  <a:pt x="17548" y="3539"/>
                  <a:pt x="17563" y="3568"/>
                  <a:pt x="17582" y="3568"/>
                </a:cubicBezTo>
                <a:cubicBezTo>
                  <a:pt x="17601" y="3568"/>
                  <a:pt x="17616" y="3539"/>
                  <a:pt x="17616" y="3501"/>
                </a:cubicBezTo>
                <a:cubicBezTo>
                  <a:pt x="17616" y="3463"/>
                  <a:pt x="17601" y="3432"/>
                  <a:pt x="17582" y="3432"/>
                </a:cubicBezTo>
                <a:close/>
                <a:moveTo>
                  <a:pt x="11744" y="3465"/>
                </a:moveTo>
                <a:lnTo>
                  <a:pt x="11822" y="3552"/>
                </a:lnTo>
                <a:cubicBezTo>
                  <a:pt x="11820" y="3556"/>
                  <a:pt x="11820" y="3561"/>
                  <a:pt x="11819" y="3565"/>
                </a:cubicBezTo>
                <a:cubicBezTo>
                  <a:pt x="11818" y="3576"/>
                  <a:pt x="11820" y="3586"/>
                  <a:pt x="11824" y="3593"/>
                </a:cubicBezTo>
                <a:cubicBezTo>
                  <a:pt x="11833" y="3606"/>
                  <a:pt x="11840" y="3616"/>
                  <a:pt x="11846" y="3623"/>
                </a:cubicBezTo>
                <a:cubicBezTo>
                  <a:pt x="11850" y="3628"/>
                  <a:pt x="11854" y="3634"/>
                  <a:pt x="11855" y="3634"/>
                </a:cubicBezTo>
                <a:cubicBezTo>
                  <a:pt x="11855" y="3649"/>
                  <a:pt x="11861" y="3661"/>
                  <a:pt x="11868" y="3663"/>
                </a:cubicBezTo>
                <a:cubicBezTo>
                  <a:pt x="11875" y="3664"/>
                  <a:pt x="11885" y="3667"/>
                  <a:pt x="11895" y="3670"/>
                </a:cubicBezTo>
                <a:cubicBezTo>
                  <a:pt x="11909" y="3674"/>
                  <a:pt x="11924" y="3677"/>
                  <a:pt x="11932" y="3679"/>
                </a:cubicBezTo>
                <a:lnTo>
                  <a:pt x="12524" y="4357"/>
                </a:lnTo>
                <a:cubicBezTo>
                  <a:pt x="12500" y="4380"/>
                  <a:pt x="12473" y="4390"/>
                  <a:pt x="12447" y="4391"/>
                </a:cubicBezTo>
                <a:cubicBezTo>
                  <a:pt x="12439" y="4356"/>
                  <a:pt x="12426" y="4327"/>
                  <a:pt x="12405" y="4327"/>
                </a:cubicBezTo>
                <a:cubicBezTo>
                  <a:pt x="12389" y="4327"/>
                  <a:pt x="12376" y="4347"/>
                  <a:pt x="12367" y="4373"/>
                </a:cubicBezTo>
                <a:cubicBezTo>
                  <a:pt x="12317" y="4354"/>
                  <a:pt x="12274" y="4347"/>
                  <a:pt x="12227" y="4347"/>
                </a:cubicBezTo>
                <a:lnTo>
                  <a:pt x="12177" y="4347"/>
                </a:lnTo>
                <a:cubicBezTo>
                  <a:pt x="12172" y="4347"/>
                  <a:pt x="12167" y="4354"/>
                  <a:pt x="12164" y="4363"/>
                </a:cubicBezTo>
                <a:cubicBezTo>
                  <a:pt x="12161" y="4373"/>
                  <a:pt x="12162" y="4385"/>
                  <a:pt x="12165" y="4394"/>
                </a:cubicBezTo>
                <a:cubicBezTo>
                  <a:pt x="12174" y="4419"/>
                  <a:pt x="12179" y="4455"/>
                  <a:pt x="12184" y="4491"/>
                </a:cubicBezTo>
                <a:cubicBezTo>
                  <a:pt x="12166" y="4505"/>
                  <a:pt x="12151" y="4534"/>
                  <a:pt x="12151" y="4576"/>
                </a:cubicBezTo>
                <a:cubicBezTo>
                  <a:pt x="12151" y="4630"/>
                  <a:pt x="12174" y="4674"/>
                  <a:pt x="12201" y="4674"/>
                </a:cubicBezTo>
                <a:cubicBezTo>
                  <a:pt x="12207" y="4674"/>
                  <a:pt x="12212" y="4664"/>
                  <a:pt x="12218" y="4660"/>
                </a:cubicBezTo>
                <a:cubicBezTo>
                  <a:pt x="12236" y="4735"/>
                  <a:pt x="12265" y="4800"/>
                  <a:pt x="12325" y="4811"/>
                </a:cubicBezTo>
                <a:cubicBezTo>
                  <a:pt x="12329" y="4812"/>
                  <a:pt x="12333" y="4810"/>
                  <a:pt x="12336" y="4804"/>
                </a:cubicBezTo>
                <a:cubicBezTo>
                  <a:pt x="12339" y="4798"/>
                  <a:pt x="12341" y="4790"/>
                  <a:pt x="12341" y="4782"/>
                </a:cubicBezTo>
                <a:lnTo>
                  <a:pt x="12341" y="4656"/>
                </a:lnTo>
                <a:cubicBezTo>
                  <a:pt x="12350" y="4663"/>
                  <a:pt x="12358" y="4667"/>
                  <a:pt x="12367" y="4672"/>
                </a:cubicBezTo>
                <a:cubicBezTo>
                  <a:pt x="12362" y="4688"/>
                  <a:pt x="12356" y="4704"/>
                  <a:pt x="12356" y="4725"/>
                </a:cubicBezTo>
                <a:cubicBezTo>
                  <a:pt x="12356" y="4779"/>
                  <a:pt x="12378" y="4823"/>
                  <a:pt x="12405" y="4823"/>
                </a:cubicBezTo>
                <a:cubicBezTo>
                  <a:pt x="12433" y="4823"/>
                  <a:pt x="12454" y="4779"/>
                  <a:pt x="12454" y="4725"/>
                </a:cubicBezTo>
                <a:cubicBezTo>
                  <a:pt x="12454" y="4715"/>
                  <a:pt x="12450" y="4709"/>
                  <a:pt x="12449" y="4700"/>
                </a:cubicBezTo>
                <a:cubicBezTo>
                  <a:pt x="12530" y="4696"/>
                  <a:pt x="12557" y="4580"/>
                  <a:pt x="12576" y="4494"/>
                </a:cubicBezTo>
                <a:cubicBezTo>
                  <a:pt x="12581" y="4472"/>
                  <a:pt x="12586" y="4451"/>
                  <a:pt x="12591" y="4435"/>
                </a:cubicBezTo>
                <a:lnTo>
                  <a:pt x="12674" y="4529"/>
                </a:lnTo>
                <a:lnTo>
                  <a:pt x="12787" y="4658"/>
                </a:lnTo>
                <a:lnTo>
                  <a:pt x="12793" y="4665"/>
                </a:lnTo>
                <a:cubicBezTo>
                  <a:pt x="12795" y="4669"/>
                  <a:pt x="12798" y="4671"/>
                  <a:pt x="12800" y="4674"/>
                </a:cubicBezTo>
                <a:lnTo>
                  <a:pt x="13309" y="5247"/>
                </a:lnTo>
                <a:cubicBezTo>
                  <a:pt x="13299" y="5259"/>
                  <a:pt x="13291" y="5273"/>
                  <a:pt x="13285" y="5291"/>
                </a:cubicBezTo>
                <a:lnTo>
                  <a:pt x="13136" y="5288"/>
                </a:lnTo>
                <a:cubicBezTo>
                  <a:pt x="13134" y="5210"/>
                  <a:pt x="13102" y="5148"/>
                  <a:pt x="13062" y="5148"/>
                </a:cubicBezTo>
                <a:cubicBezTo>
                  <a:pt x="13024" y="5148"/>
                  <a:pt x="12993" y="5209"/>
                  <a:pt x="12990" y="5284"/>
                </a:cubicBezTo>
                <a:lnTo>
                  <a:pt x="12974" y="5284"/>
                </a:lnTo>
                <a:lnTo>
                  <a:pt x="12782" y="5280"/>
                </a:lnTo>
                <a:cubicBezTo>
                  <a:pt x="12775" y="5271"/>
                  <a:pt x="12768" y="5260"/>
                  <a:pt x="12759" y="5260"/>
                </a:cubicBezTo>
                <a:cubicBezTo>
                  <a:pt x="12750" y="5260"/>
                  <a:pt x="12744" y="5271"/>
                  <a:pt x="12737" y="5279"/>
                </a:cubicBezTo>
                <a:lnTo>
                  <a:pt x="12365" y="5269"/>
                </a:lnTo>
                <a:cubicBezTo>
                  <a:pt x="12361" y="5266"/>
                  <a:pt x="12358" y="5260"/>
                  <a:pt x="12353" y="5260"/>
                </a:cubicBezTo>
                <a:cubicBezTo>
                  <a:pt x="12349" y="5260"/>
                  <a:pt x="12346" y="5266"/>
                  <a:pt x="12342" y="5269"/>
                </a:cubicBezTo>
                <a:lnTo>
                  <a:pt x="11971" y="5260"/>
                </a:lnTo>
                <a:cubicBezTo>
                  <a:pt x="11965" y="5239"/>
                  <a:pt x="11956" y="5223"/>
                  <a:pt x="11944" y="5223"/>
                </a:cubicBezTo>
                <a:cubicBezTo>
                  <a:pt x="11931" y="5223"/>
                  <a:pt x="11922" y="5238"/>
                  <a:pt x="11916" y="5259"/>
                </a:cubicBezTo>
                <a:lnTo>
                  <a:pt x="11745" y="5254"/>
                </a:lnTo>
                <a:lnTo>
                  <a:pt x="11705" y="3712"/>
                </a:lnTo>
                <a:lnTo>
                  <a:pt x="11700" y="3504"/>
                </a:lnTo>
                <a:cubicBezTo>
                  <a:pt x="11702" y="3508"/>
                  <a:pt x="11704" y="3511"/>
                  <a:pt x="11706" y="3512"/>
                </a:cubicBezTo>
                <a:cubicBezTo>
                  <a:pt x="11712" y="3516"/>
                  <a:pt x="11718" y="3513"/>
                  <a:pt x="11722" y="3505"/>
                </a:cubicBezTo>
                <a:cubicBezTo>
                  <a:pt x="11730" y="3489"/>
                  <a:pt x="11737" y="3477"/>
                  <a:pt x="11744" y="3465"/>
                </a:cubicBezTo>
                <a:close/>
                <a:moveTo>
                  <a:pt x="2687" y="3469"/>
                </a:moveTo>
                <a:cubicBezTo>
                  <a:pt x="2673" y="3469"/>
                  <a:pt x="2661" y="3492"/>
                  <a:pt x="2661" y="3521"/>
                </a:cubicBezTo>
                <a:cubicBezTo>
                  <a:pt x="2661" y="3549"/>
                  <a:pt x="2673" y="3572"/>
                  <a:pt x="2687" y="3572"/>
                </a:cubicBezTo>
                <a:cubicBezTo>
                  <a:pt x="2701" y="3572"/>
                  <a:pt x="2712" y="3549"/>
                  <a:pt x="2712" y="3521"/>
                </a:cubicBezTo>
                <a:cubicBezTo>
                  <a:pt x="2712" y="3492"/>
                  <a:pt x="2701" y="3469"/>
                  <a:pt x="2687" y="3469"/>
                </a:cubicBezTo>
                <a:close/>
                <a:moveTo>
                  <a:pt x="6869" y="3474"/>
                </a:moveTo>
                <a:cubicBezTo>
                  <a:pt x="6873" y="3476"/>
                  <a:pt x="6877" y="3478"/>
                  <a:pt x="6883" y="3478"/>
                </a:cubicBezTo>
                <a:cubicBezTo>
                  <a:pt x="6902" y="3478"/>
                  <a:pt x="6919" y="3491"/>
                  <a:pt x="6937" y="3505"/>
                </a:cubicBezTo>
                <a:cubicBezTo>
                  <a:pt x="6958" y="3522"/>
                  <a:pt x="6982" y="3542"/>
                  <a:pt x="7011" y="3542"/>
                </a:cubicBezTo>
                <a:cubicBezTo>
                  <a:pt x="7016" y="3542"/>
                  <a:pt x="7020" y="3539"/>
                  <a:pt x="7024" y="3536"/>
                </a:cubicBezTo>
                <a:cubicBezTo>
                  <a:pt x="7026" y="3546"/>
                  <a:pt x="7030" y="3553"/>
                  <a:pt x="7032" y="3563"/>
                </a:cubicBezTo>
                <a:cubicBezTo>
                  <a:pt x="7030" y="3565"/>
                  <a:pt x="7022" y="3574"/>
                  <a:pt x="7022" y="3574"/>
                </a:cubicBezTo>
                <a:lnTo>
                  <a:pt x="7010" y="3570"/>
                </a:lnTo>
                <a:cubicBezTo>
                  <a:pt x="6962" y="3550"/>
                  <a:pt x="6893" y="3521"/>
                  <a:pt x="6869" y="3474"/>
                </a:cubicBezTo>
                <a:close/>
                <a:moveTo>
                  <a:pt x="17202" y="3525"/>
                </a:moveTo>
                <a:lnTo>
                  <a:pt x="17215" y="3564"/>
                </a:lnTo>
                <a:lnTo>
                  <a:pt x="17328" y="3883"/>
                </a:lnTo>
                <a:cubicBezTo>
                  <a:pt x="17316" y="3888"/>
                  <a:pt x="17306" y="3906"/>
                  <a:pt x="17306" y="3932"/>
                </a:cubicBezTo>
                <a:cubicBezTo>
                  <a:pt x="17306" y="3961"/>
                  <a:pt x="17317" y="3986"/>
                  <a:pt x="17332" y="3986"/>
                </a:cubicBezTo>
                <a:cubicBezTo>
                  <a:pt x="17342" y="3986"/>
                  <a:pt x="17349" y="3972"/>
                  <a:pt x="17353" y="3955"/>
                </a:cubicBezTo>
                <a:lnTo>
                  <a:pt x="17449" y="4226"/>
                </a:lnTo>
                <a:cubicBezTo>
                  <a:pt x="17441" y="4235"/>
                  <a:pt x="17436" y="4249"/>
                  <a:pt x="17436" y="4268"/>
                </a:cubicBezTo>
                <a:cubicBezTo>
                  <a:pt x="17436" y="4297"/>
                  <a:pt x="17448" y="4322"/>
                  <a:pt x="17462" y="4322"/>
                </a:cubicBezTo>
                <a:cubicBezTo>
                  <a:pt x="17468" y="4322"/>
                  <a:pt x="17473" y="4315"/>
                  <a:pt x="17478" y="4308"/>
                </a:cubicBezTo>
                <a:lnTo>
                  <a:pt x="17568" y="4563"/>
                </a:lnTo>
                <a:cubicBezTo>
                  <a:pt x="17557" y="4574"/>
                  <a:pt x="17548" y="4593"/>
                  <a:pt x="17548" y="4620"/>
                </a:cubicBezTo>
                <a:cubicBezTo>
                  <a:pt x="17548" y="4658"/>
                  <a:pt x="17563" y="4688"/>
                  <a:pt x="17582" y="4688"/>
                </a:cubicBezTo>
                <a:cubicBezTo>
                  <a:pt x="17591" y="4688"/>
                  <a:pt x="17599" y="4680"/>
                  <a:pt x="17605" y="4669"/>
                </a:cubicBezTo>
                <a:lnTo>
                  <a:pt x="17751" y="5082"/>
                </a:lnTo>
                <a:cubicBezTo>
                  <a:pt x="17747" y="5079"/>
                  <a:pt x="17745" y="5073"/>
                  <a:pt x="17741" y="5073"/>
                </a:cubicBezTo>
                <a:cubicBezTo>
                  <a:pt x="17727" y="5073"/>
                  <a:pt x="17715" y="5097"/>
                  <a:pt x="17715" y="5126"/>
                </a:cubicBezTo>
                <a:cubicBezTo>
                  <a:pt x="17715" y="5155"/>
                  <a:pt x="17727" y="5180"/>
                  <a:pt x="17741" y="5180"/>
                </a:cubicBezTo>
                <a:cubicBezTo>
                  <a:pt x="17755" y="5180"/>
                  <a:pt x="17767" y="5156"/>
                  <a:pt x="17767" y="5128"/>
                </a:cubicBezTo>
                <a:lnTo>
                  <a:pt x="17896" y="5493"/>
                </a:lnTo>
                <a:cubicBezTo>
                  <a:pt x="17879" y="5504"/>
                  <a:pt x="17866" y="5528"/>
                  <a:pt x="17857" y="5558"/>
                </a:cubicBezTo>
                <a:cubicBezTo>
                  <a:pt x="17816" y="5558"/>
                  <a:pt x="17773" y="5557"/>
                  <a:pt x="17773" y="5557"/>
                </a:cubicBezTo>
                <a:lnTo>
                  <a:pt x="17484" y="5555"/>
                </a:lnTo>
                <a:cubicBezTo>
                  <a:pt x="17475" y="5535"/>
                  <a:pt x="17463" y="5521"/>
                  <a:pt x="17448" y="5521"/>
                </a:cubicBezTo>
                <a:cubicBezTo>
                  <a:pt x="17434" y="5521"/>
                  <a:pt x="17422" y="5535"/>
                  <a:pt x="17413" y="5555"/>
                </a:cubicBezTo>
                <a:lnTo>
                  <a:pt x="17111" y="5553"/>
                </a:lnTo>
                <a:cubicBezTo>
                  <a:pt x="17102" y="5534"/>
                  <a:pt x="17090" y="5521"/>
                  <a:pt x="17076" y="5521"/>
                </a:cubicBezTo>
                <a:cubicBezTo>
                  <a:pt x="17062" y="5521"/>
                  <a:pt x="17050" y="5533"/>
                  <a:pt x="17041" y="5551"/>
                </a:cubicBezTo>
                <a:lnTo>
                  <a:pt x="16783" y="5549"/>
                </a:lnTo>
                <a:cubicBezTo>
                  <a:pt x="16782" y="5512"/>
                  <a:pt x="16775" y="5478"/>
                  <a:pt x="16763" y="5453"/>
                </a:cubicBezTo>
                <a:lnTo>
                  <a:pt x="16861" y="5019"/>
                </a:lnTo>
                <a:cubicBezTo>
                  <a:pt x="16877" y="5013"/>
                  <a:pt x="16890" y="4990"/>
                  <a:pt x="16890" y="4956"/>
                </a:cubicBezTo>
                <a:cubicBezTo>
                  <a:pt x="16890" y="4943"/>
                  <a:pt x="16886" y="4932"/>
                  <a:pt x="16883" y="4922"/>
                </a:cubicBezTo>
                <a:lnTo>
                  <a:pt x="17046" y="4206"/>
                </a:lnTo>
                <a:cubicBezTo>
                  <a:pt x="17052" y="4209"/>
                  <a:pt x="17057" y="4213"/>
                  <a:pt x="17063" y="4213"/>
                </a:cubicBezTo>
                <a:cubicBezTo>
                  <a:pt x="17104" y="4213"/>
                  <a:pt x="17137" y="4147"/>
                  <a:pt x="17137" y="4065"/>
                </a:cubicBezTo>
                <a:cubicBezTo>
                  <a:pt x="17137" y="4016"/>
                  <a:pt x="17124" y="3974"/>
                  <a:pt x="17106" y="3947"/>
                </a:cubicBezTo>
                <a:lnTo>
                  <a:pt x="17170" y="3663"/>
                </a:lnTo>
                <a:cubicBezTo>
                  <a:pt x="17176" y="3672"/>
                  <a:pt x="17183" y="3680"/>
                  <a:pt x="17191" y="3680"/>
                </a:cubicBezTo>
                <a:cubicBezTo>
                  <a:pt x="17210" y="3680"/>
                  <a:pt x="17225" y="3650"/>
                  <a:pt x="17225" y="3613"/>
                </a:cubicBezTo>
                <a:cubicBezTo>
                  <a:pt x="17225" y="3594"/>
                  <a:pt x="17221" y="3576"/>
                  <a:pt x="17215" y="3564"/>
                </a:cubicBezTo>
                <a:cubicBezTo>
                  <a:pt x="17210" y="3554"/>
                  <a:pt x="17203" y="3551"/>
                  <a:pt x="17196" y="3549"/>
                </a:cubicBezTo>
                <a:lnTo>
                  <a:pt x="17202" y="3525"/>
                </a:lnTo>
                <a:close/>
                <a:moveTo>
                  <a:pt x="17239" y="3529"/>
                </a:moveTo>
                <a:lnTo>
                  <a:pt x="17429" y="3675"/>
                </a:lnTo>
                <a:cubicBezTo>
                  <a:pt x="17422" y="3687"/>
                  <a:pt x="17417" y="3704"/>
                  <a:pt x="17417" y="3725"/>
                </a:cubicBezTo>
                <a:cubicBezTo>
                  <a:pt x="17417" y="3762"/>
                  <a:pt x="17433" y="3792"/>
                  <a:pt x="17452" y="3792"/>
                </a:cubicBezTo>
                <a:cubicBezTo>
                  <a:pt x="17470" y="3792"/>
                  <a:pt x="17485" y="3762"/>
                  <a:pt x="17485" y="3725"/>
                </a:cubicBezTo>
                <a:cubicBezTo>
                  <a:pt x="17485" y="3721"/>
                  <a:pt x="17484" y="3720"/>
                  <a:pt x="17484" y="3716"/>
                </a:cubicBezTo>
                <a:lnTo>
                  <a:pt x="17809" y="3967"/>
                </a:lnTo>
                <a:cubicBezTo>
                  <a:pt x="17798" y="3979"/>
                  <a:pt x="17789" y="3997"/>
                  <a:pt x="17789" y="4023"/>
                </a:cubicBezTo>
                <a:cubicBezTo>
                  <a:pt x="17789" y="4061"/>
                  <a:pt x="17805" y="4091"/>
                  <a:pt x="17824" y="4091"/>
                </a:cubicBezTo>
                <a:cubicBezTo>
                  <a:pt x="17843" y="4091"/>
                  <a:pt x="17858" y="4061"/>
                  <a:pt x="17858" y="4023"/>
                </a:cubicBezTo>
                <a:cubicBezTo>
                  <a:pt x="17858" y="4015"/>
                  <a:pt x="17854" y="4009"/>
                  <a:pt x="17853" y="4001"/>
                </a:cubicBezTo>
                <a:lnTo>
                  <a:pt x="17980" y="4099"/>
                </a:lnTo>
                <a:cubicBezTo>
                  <a:pt x="17978" y="4112"/>
                  <a:pt x="17976" y="4125"/>
                  <a:pt x="17976" y="4140"/>
                </a:cubicBezTo>
                <a:cubicBezTo>
                  <a:pt x="17976" y="4221"/>
                  <a:pt x="18009" y="4288"/>
                  <a:pt x="18049" y="4288"/>
                </a:cubicBezTo>
                <a:cubicBezTo>
                  <a:pt x="18079" y="4288"/>
                  <a:pt x="18104" y="4252"/>
                  <a:pt x="18116" y="4203"/>
                </a:cubicBezTo>
                <a:lnTo>
                  <a:pt x="18201" y="4269"/>
                </a:lnTo>
                <a:cubicBezTo>
                  <a:pt x="18201" y="4276"/>
                  <a:pt x="18199" y="4282"/>
                  <a:pt x="18199" y="4289"/>
                </a:cubicBezTo>
                <a:cubicBezTo>
                  <a:pt x="18199" y="4371"/>
                  <a:pt x="18232" y="4437"/>
                  <a:pt x="18273" y="4437"/>
                </a:cubicBezTo>
                <a:cubicBezTo>
                  <a:pt x="18298" y="4437"/>
                  <a:pt x="18319" y="4410"/>
                  <a:pt x="18333" y="4370"/>
                </a:cubicBezTo>
                <a:lnTo>
                  <a:pt x="18430" y="4445"/>
                </a:lnTo>
                <a:cubicBezTo>
                  <a:pt x="18425" y="4471"/>
                  <a:pt x="18422" y="4499"/>
                  <a:pt x="18422" y="4529"/>
                </a:cubicBezTo>
                <a:cubicBezTo>
                  <a:pt x="18422" y="4588"/>
                  <a:pt x="18434" y="4641"/>
                  <a:pt x="18452" y="4683"/>
                </a:cubicBezTo>
                <a:cubicBezTo>
                  <a:pt x="18375" y="4816"/>
                  <a:pt x="18285" y="4970"/>
                  <a:pt x="18150" y="5202"/>
                </a:cubicBezTo>
                <a:cubicBezTo>
                  <a:pt x="18138" y="5170"/>
                  <a:pt x="18120" y="5148"/>
                  <a:pt x="18098" y="5148"/>
                </a:cubicBezTo>
                <a:cubicBezTo>
                  <a:pt x="18061" y="5148"/>
                  <a:pt x="18031" y="5208"/>
                  <a:pt x="18031" y="5282"/>
                </a:cubicBezTo>
                <a:cubicBezTo>
                  <a:pt x="18031" y="5318"/>
                  <a:pt x="18038" y="5350"/>
                  <a:pt x="18050" y="5374"/>
                </a:cubicBezTo>
                <a:cubicBezTo>
                  <a:pt x="18026" y="5415"/>
                  <a:pt x="17970" y="5512"/>
                  <a:pt x="17966" y="5519"/>
                </a:cubicBezTo>
                <a:cubicBezTo>
                  <a:pt x="17956" y="5503"/>
                  <a:pt x="17944" y="5493"/>
                  <a:pt x="17931" y="5488"/>
                </a:cubicBezTo>
                <a:lnTo>
                  <a:pt x="17652" y="4698"/>
                </a:lnTo>
                <a:lnTo>
                  <a:pt x="17239" y="3529"/>
                </a:lnTo>
                <a:close/>
                <a:moveTo>
                  <a:pt x="17166" y="3537"/>
                </a:moveTo>
                <a:cubicBezTo>
                  <a:pt x="17156" y="3581"/>
                  <a:pt x="17096" y="3845"/>
                  <a:pt x="17078" y="3923"/>
                </a:cubicBezTo>
                <a:cubicBezTo>
                  <a:pt x="17073" y="3921"/>
                  <a:pt x="17069" y="3917"/>
                  <a:pt x="17063" y="3917"/>
                </a:cubicBezTo>
                <a:cubicBezTo>
                  <a:pt x="17022" y="3917"/>
                  <a:pt x="16989" y="3983"/>
                  <a:pt x="16989" y="4065"/>
                </a:cubicBezTo>
                <a:cubicBezTo>
                  <a:pt x="16989" y="4114"/>
                  <a:pt x="17002" y="4155"/>
                  <a:pt x="17020" y="4182"/>
                </a:cubicBezTo>
                <a:cubicBezTo>
                  <a:pt x="17000" y="4268"/>
                  <a:pt x="16969" y="4401"/>
                  <a:pt x="16944" y="4512"/>
                </a:cubicBezTo>
                <a:cubicBezTo>
                  <a:pt x="16935" y="4491"/>
                  <a:pt x="16923" y="4477"/>
                  <a:pt x="16909" y="4477"/>
                </a:cubicBezTo>
                <a:cubicBezTo>
                  <a:pt x="16881" y="4477"/>
                  <a:pt x="16859" y="4521"/>
                  <a:pt x="16859" y="4576"/>
                </a:cubicBezTo>
                <a:cubicBezTo>
                  <a:pt x="16859" y="4629"/>
                  <a:pt x="16881" y="4671"/>
                  <a:pt x="16907" y="4672"/>
                </a:cubicBezTo>
                <a:cubicBezTo>
                  <a:pt x="16889" y="4753"/>
                  <a:pt x="16879" y="4797"/>
                  <a:pt x="16858" y="4888"/>
                </a:cubicBezTo>
                <a:cubicBezTo>
                  <a:pt x="16857" y="4888"/>
                  <a:pt x="16857" y="4887"/>
                  <a:pt x="16856" y="4887"/>
                </a:cubicBezTo>
                <a:cubicBezTo>
                  <a:pt x="16837" y="4887"/>
                  <a:pt x="16822" y="4918"/>
                  <a:pt x="16822" y="4956"/>
                </a:cubicBezTo>
                <a:cubicBezTo>
                  <a:pt x="16822" y="4975"/>
                  <a:pt x="16826" y="4991"/>
                  <a:pt x="16832" y="5004"/>
                </a:cubicBezTo>
                <a:cubicBezTo>
                  <a:pt x="16789" y="5189"/>
                  <a:pt x="16788" y="5196"/>
                  <a:pt x="16737" y="5421"/>
                </a:cubicBezTo>
                <a:cubicBezTo>
                  <a:pt x="16728" y="5414"/>
                  <a:pt x="16719" y="5409"/>
                  <a:pt x="16710" y="5409"/>
                </a:cubicBezTo>
                <a:cubicBezTo>
                  <a:pt x="16673" y="5409"/>
                  <a:pt x="16644" y="5463"/>
                  <a:pt x="16638" y="5533"/>
                </a:cubicBezTo>
                <a:lnTo>
                  <a:pt x="16463" y="5497"/>
                </a:lnTo>
                <a:cubicBezTo>
                  <a:pt x="16459" y="5489"/>
                  <a:pt x="16455" y="5484"/>
                  <a:pt x="16449" y="5484"/>
                </a:cubicBezTo>
                <a:cubicBezTo>
                  <a:pt x="16445" y="5484"/>
                  <a:pt x="16442" y="5488"/>
                  <a:pt x="16439" y="5492"/>
                </a:cubicBezTo>
                <a:lnTo>
                  <a:pt x="16324" y="5469"/>
                </a:lnTo>
                <a:lnTo>
                  <a:pt x="16315" y="5466"/>
                </a:lnTo>
                <a:cubicBezTo>
                  <a:pt x="16315" y="5464"/>
                  <a:pt x="16317" y="5464"/>
                  <a:pt x="16317" y="5462"/>
                </a:cubicBezTo>
                <a:cubicBezTo>
                  <a:pt x="16317" y="5432"/>
                  <a:pt x="16304" y="5409"/>
                  <a:pt x="16290" y="5409"/>
                </a:cubicBezTo>
                <a:cubicBezTo>
                  <a:pt x="16276" y="5409"/>
                  <a:pt x="16266" y="5430"/>
                  <a:pt x="16265" y="5457"/>
                </a:cubicBezTo>
                <a:lnTo>
                  <a:pt x="16155" y="5434"/>
                </a:lnTo>
                <a:cubicBezTo>
                  <a:pt x="16149" y="5419"/>
                  <a:pt x="16141" y="5409"/>
                  <a:pt x="16130" y="5409"/>
                </a:cubicBezTo>
                <a:cubicBezTo>
                  <a:pt x="16123" y="5409"/>
                  <a:pt x="16117" y="5417"/>
                  <a:pt x="16111" y="5426"/>
                </a:cubicBezTo>
                <a:lnTo>
                  <a:pt x="16073" y="5417"/>
                </a:lnTo>
                <a:cubicBezTo>
                  <a:pt x="16067" y="5350"/>
                  <a:pt x="16038" y="5297"/>
                  <a:pt x="16003" y="5297"/>
                </a:cubicBezTo>
                <a:cubicBezTo>
                  <a:pt x="15972" y="5297"/>
                  <a:pt x="15946" y="5335"/>
                  <a:pt x="15935" y="5388"/>
                </a:cubicBezTo>
                <a:lnTo>
                  <a:pt x="15573" y="5315"/>
                </a:lnTo>
                <a:lnTo>
                  <a:pt x="15660" y="5218"/>
                </a:lnTo>
                <a:cubicBezTo>
                  <a:pt x="15673" y="5263"/>
                  <a:pt x="15696" y="5295"/>
                  <a:pt x="15723" y="5295"/>
                </a:cubicBezTo>
                <a:cubicBezTo>
                  <a:pt x="15764" y="5295"/>
                  <a:pt x="15797" y="5229"/>
                  <a:pt x="15797" y="5147"/>
                </a:cubicBezTo>
                <a:cubicBezTo>
                  <a:pt x="15797" y="5120"/>
                  <a:pt x="15793" y="5097"/>
                  <a:pt x="15787" y="5076"/>
                </a:cubicBezTo>
                <a:lnTo>
                  <a:pt x="15936" y="4910"/>
                </a:lnTo>
                <a:cubicBezTo>
                  <a:pt x="15947" y="4961"/>
                  <a:pt x="15973" y="4997"/>
                  <a:pt x="16003" y="4997"/>
                </a:cubicBezTo>
                <a:cubicBezTo>
                  <a:pt x="16043" y="4997"/>
                  <a:pt x="16076" y="4930"/>
                  <a:pt x="16076" y="4848"/>
                </a:cubicBezTo>
                <a:cubicBezTo>
                  <a:pt x="16076" y="4818"/>
                  <a:pt x="16071" y="4792"/>
                  <a:pt x="16063" y="4768"/>
                </a:cubicBezTo>
                <a:lnTo>
                  <a:pt x="16184" y="4633"/>
                </a:lnTo>
                <a:cubicBezTo>
                  <a:pt x="16190" y="4642"/>
                  <a:pt x="16197" y="4650"/>
                  <a:pt x="16205" y="4650"/>
                </a:cubicBezTo>
                <a:cubicBezTo>
                  <a:pt x="16224" y="4650"/>
                  <a:pt x="16239" y="4620"/>
                  <a:pt x="16239" y="4583"/>
                </a:cubicBezTo>
                <a:cubicBezTo>
                  <a:pt x="16239" y="4579"/>
                  <a:pt x="16237" y="4577"/>
                  <a:pt x="16237" y="4573"/>
                </a:cubicBezTo>
                <a:lnTo>
                  <a:pt x="16351" y="4446"/>
                </a:lnTo>
                <a:cubicBezTo>
                  <a:pt x="16357" y="4456"/>
                  <a:pt x="16364" y="4464"/>
                  <a:pt x="16372" y="4464"/>
                </a:cubicBezTo>
                <a:cubicBezTo>
                  <a:pt x="16391" y="4464"/>
                  <a:pt x="16406" y="4434"/>
                  <a:pt x="16406" y="4396"/>
                </a:cubicBezTo>
                <a:cubicBezTo>
                  <a:pt x="16406" y="4393"/>
                  <a:pt x="16405" y="4390"/>
                  <a:pt x="16404" y="4387"/>
                </a:cubicBezTo>
                <a:lnTo>
                  <a:pt x="16503" y="4277"/>
                </a:lnTo>
                <a:cubicBezTo>
                  <a:pt x="16514" y="4277"/>
                  <a:pt x="16522" y="4265"/>
                  <a:pt x="16528" y="4248"/>
                </a:cubicBezTo>
                <a:lnTo>
                  <a:pt x="16978" y="3746"/>
                </a:lnTo>
                <a:lnTo>
                  <a:pt x="16979" y="3746"/>
                </a:lnTo>
                <a:cubicBezTo>
                  <a:pt x="16984" y="3755"/>
                  <a:pt x="16990" y="3762"/>
                  <a:pt x="16997" y="3762"/>
                </a:cubicBezTo>
                <a:cubicBezTo>
                  <a:pt x="17011" y="3762"/>
                  <a:pt x="17024" y="3737"/>
                  <a:pt x="17024" y="3708"/>
                </a:cubicBezTo>
                <a:cubicBezTo>
                  <a:pt x="17024" y="3704"/>
                  <a:pt x="17022" y="3702"/>
                  <a:pt x="17021" y="3698"/>
                </a:cubicBezTo>
                <a:lnTo>
                  <a:pt x="17166" y="3537"/>
                </a:lnTo>
                <a:close/>
                <a:moveTo>
                  <a:pt x="7238" y="3561"/>
                </a:moveTo>
                <a:lnTo>
                  <a:pt x="7449" y="3723"/>
                </a:lnTo>
                <a:lnTo>
                  <a:pt x="7466" y="3736"/>
                </a:lnTo>
                <a:cubicBezTo>
                  <a:pt x="7465" y="3743"/>
                  <a:pt x="7462" y="3748"/>
                  <a:pt x="7462" y="3755"/>
                </a:cubicBezTo>
                <a:cubicBezTo>
                  <a:pt x="7462" y="3809"/>
                  <a:pt x="7484" y="3853"/>
                  <a:pt x="7512" y="3853"/>
                </a:cubicBezTo>
                <a:cubicBezTo>
                  <a:pt x="7530" y="3853"/>
                  <a:pt x="7542" y="3831"/>
                  <a:pt x="7550" y="3802"/>
                </a:cubicBezTo>
                <a:lnTo>
                  <a:pt x="7880" y="4056"/>
                </a:lnTo>
                <a:cubicBezTo>
                  <a:pt x="7888" y="4088"/>
                  <a:pt x="7901" y="4114"/>
                  <a:pt x="7921" y="4114"/>
                </a:cubicBezTo>
                <a:cubicBezTo>
                  <a:pt x="7928" y="4114"/>
                  <a:pt x="7932" y="4105"/>
                  <a:pt x="7938" y="4100"/>
                </a:cubicBezTo>
                <a:lnTo>
                  <a:pt x="8073" y="4204"/>
                </a:lnTo>
                <a:cubicBezTo>
                  <a:pt x="8071" y="4211"/>
                  <a:pt x="8069" y="4217"/>
                  <a:pt x="8067" y="4224"/>
                </a:cubicBezTo>
                <a:cubicBezTo>
                  <a:pt x="8059" y="4255"/>
                  <a:pt x="8052" y="4286"/>
                  <a:pt x="8039" y="4311"/>
                </a:cubicBezTo>
                <a:cubicBezTo>
                  <a:pt x="8019" y="4352"/>
                  <a:pt x="7990" y="4365"/>
                  <a:pt x="7959" y="4379"/>
                </a:cubicBezTo>
                <a:cubicBezTo>
                  <a:pt x="7934" y="4390"/>
                  <a:pt x="7908" y="4402"/>
                  <a:pt x="7886" y="4430"/>
                </a:cubicBezTo>
                <a:lnTo>
                  <a:pt x="7874" y="4430"/>
                </a:lnTo>
                <a:lnTo>
                  <a:pt x="7874" y="4375"/>
                </a:lnTo>
                <a:cubicBezTo>
                  <a:pt x="7874" y="4365"/>
                  <a:pt x="7871" y="4355"/>
                  <a:pt x="7867" y="4350"/>
                </a:cubicBezTo>
                <a:cubicBezTo>
                  <a:pt x="7863" y="4344"/>
                  <a:pt x="7858" y="4343"/>
                  <a:pt x="7853" y="4347"/>
                </a:cubicBezTo>
                <a:cubicBezTo>
                  <a:pt x="7828" y="4367"/>
                  <a:pt x="7822" y="4399"/>
                  <a:pt x="7817" y="4424"/>
                </a:cubicBezTo>
                <a:cubicBezTo>
                  <a:pt x="7814" y="4438"/>
                  <a:pt x="7811" y="4449"/>
                  <a:pt x="7806" y="4460"/>
                </a:cubicBezTo>
                <a:cubicBezTo>
                  <a:pt x="7790" y="4491"/>
                  <a:pt x="7763" y="4505"/>
                  <a:pt x="7736" y="4519"/>
                </a:cubicBezTo>
                <a:cubicBezTo>
                  <a:pt x="7717" y="4528"/>
                  <a:pt x="7699" y="4541"/>
                  <a:pt x="7682" y="4558"/>
                </a:cubicBezTo>
                <a:cubicBezTo>
                  <a:pt x="7677" y="4556"/>
                  <a:pt x="7672" y="4551"/>
                  <a:pt x="7666" y="4551"/>
                </a:cubicBezTo>
                <a:cubicBezTo>
                  <a:pt x="7631" y="4551"/>
                  <a:pt x="7603" y="4602"/>
                  <a:pt x="7596" y="4668"/>
                </a:cubicBezTo>
                <a:lnTo>
                  <a:pt x="7222" y="3608"/>
                </a:lnTo>
                <a:cubicBezTo>
                  <a:pt x="7228" y="3594"/>
                  <a:pt x="7233" y="3578"/>
                  <a:pt x="7238" y="3561"/>
                </a:cubicBezTo>
                <a:close/>
                <a:moveTo>
                  <a:pt x="6856" y="3563"/>
                </a:moveTo>
                <a:cubicBezTo>
                  <a:pt x="6880" y="3563"/>
                  <a:pt x="6896" y="3591"/>
                  <a:pt x="6915" y="3627"/>
                </a:cubicBezTo>
                <a:cubicBezTo>
                  <a:pt x="6922" y="3640"/>
                  <a:pt x="6930" y="3654"/>
                  <a:pt x="6939" y="3668"/>
                </a:cubicBezTo>
                <a:cubicBezTo>
                  <a:pt x="6939" y="3668"/>
                  <a:pt x="6876" y="3737"/>
                  <a:pt x="6876" y="3737"/>
                </a:cubicBezTo>
                <a:lnTo>
                  <a:pt x="6853" y="3737"/>
                </a:lnTo>
                <a:cubicBezTo>
                  <a:pt x="6844" y="3733"/>
                  <a:pt x="6824" y="3662"/>
                  <a:pt x="6824" y="3619"/>
                </a:cubicBezTo>
                <a:cubicBezTo>
                  <a:pt x="6824" y="3565"/>
                  <a:pt x="6852" y="3563"/>
                  <a:pt x="6856" y="3563"/>
                </a:cubicBezTo>
                <a:close/>
                <a:moveTo>
                  <a:pt x="13654" y="3579"/>
                </a:moveTo>
                <a:lnTo>
                  <a:pt x="13689" y="3595"/>
                </a:lnTo>
                <a:cubicBezTo>
                  <a:pt x="13685" y="3599"/>
                  <a:pt x="13681" y="3605"/>
                  <a:pt x="13678" y="3610"/>
                </a:cubicBezTo>
                <a:cubicBezTo>
                  <a:pt x="13669" y="3602"/>
                  <a:pt x="13660" y="3590"/>
                  <a:pt x="13654" y="3579"/>
                </a:cubicBezTo>
                <a:close/>
                <a:moveTo>
                  <a:pt x="20274" y="3579"/>
                </a:moveTo>
                <a:cubicBezTo>
                  <a:pt x="20274" y="3579"/>
                  <a:pt x="20307" y="3579"/>
                  <a:pt x="20307" y="3579"/>
                </a:cubicBezTo>
                <a:cubicBezTo>
                  <a:pt x="20309" y="3582"/>
                  <a:pt x="20311" y="3586"/>
                  <a:pt x="20312" y="3588"/>
                </a:cubicBezTo>
                <a:cubicBezTo>
                  <a:pt x="20316" y="3595"/>
                  <a:pt x="20316" y="3597"/>
                  <a:pt x="20316" y="3600"/>
                </a:cubicBezTo>
                <a:cubicBezTo>
                  <a:pt x="20316" y="3604"/>
                  <a:pt x="20312" y="3612"/>
                  <a:pt x="20310" y="3612"/>
                </a:cubicBezTo>
                <a:cubicBezTo>
                  <a:pt x="20294" y="3612"/>
                  <a:pt x="20283" y="3597"/>
                  <a:pt x="20274" y="3579"/>
                </a:cubicBezTo>
                <a:close/>
                <a:moveTo>
                  <a:pt x="2393" y="3580"/>
                </a:moveTo>
                <a:cubicBezTo>
                  <a:pt x="2398" y="3588"/>
                  <a:pt x="2406" y="3609"/>
                  <a:pt x="2413" y="3626"/>
                </a:cubicBezTo>
                <a:cubicBezTo>
                  <a:pt x="2440" y="3690"/>
                  <a:pt x="2474" y="3771"/>
                  <a:pt x="2507" y="3771"/>
                </a:cubicBezTo>
                <a:cubicBezTo>
                  <a:pt x="2536" y="3771"/>
                  <a:pt x="2551" y="3735"/>
                  <a:pt x="2562" y="3706"/>
                </a:cubicBezTo>
                <a:cubicBezTo>
                  <a:pt x="2569" y="3691"/>
                  <a:pt x="2574" y="3677"/>
                  <a:pt x="2581" y="3669"/>
                </a:cubicBezTo>
                <a:cubicBezTo>
                  <a:pt x="2592" y="3714"/>
                  <a:pt x="2613" y="3775"/>
                  <a:pt x="2640" y="3775"/>
                </a:cubicBezTo>
                <a:cubicBezTo>
                  <a:pt x="2660" y="3775"/>
                  <a:pt x="2675" y="3759"/>
                  <a:pt x="2689" y="3746"/>
                </a:cubicBezTo>
                <a:cubicBezTo>
                  <a:pt x="2702" y="3732"/>
                  <a:pt x="2714" y="3720"/>
                  <a:pt x="2732" y="3720"/>
                </a:cubicBezTo>
                <a:cubicBezTo>
                  <a:pt x="2758" y="3720"/>
                  <a:pt x="2784" y="3730"/>
                  <a:pt x="2812" y="3750"/>
                </a:cubicBezTo>
                <a:lnTo>
                  <a:pt x="2746" y="4581"/>
                </a:lnTo>
                <a:lnTo>
                  <a:pt x="2625" y="4444"/>
                </a:lnTo>
                <a:cubicBezTo>
                  <a:pt x="2648" y="4436"/>
                  <a:pt x="2666" y="4400"/>
                  <a:pt x="2666" y="4352"/>
                </a:cubicBezTo>
                <a:cubicBezTo>
                  <a:pt x="2666" y="4297"/>
                  <a:pt x="2645" y="4253"/>
                  <a:pt x="2618" y="4253"/>
                </a:cubicBezTo>
                <a:cubicBezTo>
                  <a:pt x="2590" y="4253"/>
                  <a:pt x="2568" y="4297"/>
                  <a:pt x="2568" y="4352"/>
                </a:cubicBezTo>
                <a:cubicBezTo>
                  <a:pt x="2568" y="4366"/>
                  <a:pt x="2573" y="4375"/>
                  <a:pt x="2576" y="4387"/>
                </a:cubicBezTo>
                <a:lnTo>
                  <a:pt x="2329" y="4105"/>
                </a:lnTo>
                <a:cubicBezTo>
                  <a:pt x="2329" y="4100"/>
                  <a:pt x="2332" y="4096"/>
                  <a:pt x="2332" y="4091"/>
                </a:cubicBezTo>
                <a:cubicBezTo>
                  <a:pt x="2332" y="4036"/>
                  <a:pt x="2310" y="3992"/>
                  <a:pt x="2283" y="3992"/>
                </a:cubicBezTo>
                <a:cubicBezTo>
                  <a:pt x="2271" y="3992"/>
                  <a:pt x="2261" y="4003"/>
                  <a:pt x="2252" y="4017"/>
                </a:cubicBezTo>
                <a:lnTo>
                  <a:pt x="2056" y="3792"/>
                </a:lnTo>
                <a:cubicBezTo>
                  <a:pt x="2066" y="3791"/>
                  <a:pt x="2077" y="3779"/>
                  <a:pt x="2088" y="3769"/>
                </a:cubicBezTo>
                <a:cubicBezTo>
                  <a:pt x="2097" y="3831"/>
                  <a:pt x="2125" y="3877"/>
                  <a:pt x="2158" y="3877"/>
                </a:cubicBezTo>
                <a:cubicBezTo>
                  <a:pt x="2199" y="3877"/>
                  <a:pt x="2232" y="3811"/>
                  <a:pt x="2232" y="3729"/>
                </a:cubicBezTo>
                <a:cubicBezTo>
                  <a:pt x="2232" y="3711"/>
                  <a:pt x="2230" y="3693"/>
                  <a:pt x="2227" y="3677"/>
                </a:cubicBezTo>
                <a:cubicBezTo>
                  <a:pt x="2241" y="3670"/>
                  <a:pt x="2254" y="3659"/>
                  <a:pt x="2274" y="3650"/>
                </a:cubicBezTo>
                <a:lnTo>
                  <a:pt x="2277" y="3648"/>
                </a:lnTo>
                <a:cubicBezTo>
                  <a:pt x="2275" y="3659"/>
                  <a:pt x="2270" y="3668"/>
                  <a:pt x="2270" y="3680"/>
                </a:cubicBezTo>
                <a:cubicBezTo>
                  <a:pt x="2270" y="3735"/>
                  <a:pt x="2293" y="3778"/>
                  <a:pt x="2320" y="3778"/>
                </a:cubicBezTo>
                <a:cubicBezTo>
                  <a:pt x="2347" y="3778"/>
                  <a:pt x="2369" y="3735"/>
                  <a:pt x="2369" y="3680"/>
                </a:cubicBezTo>
                <a:cubicBezTo>
                  <a:pt x="2369" y="3672"/>
                  <a:pt x="2365" y="3666"/>
                  <a:pt x="2364" y="3658"/>
                </a:cubicBezTo>
                <a:cubicBezTo>
                  <a:pt x="2368" y="3646"/>
                  <a:pt x="2373" y="3633"/>
                  <a:pt x="2375" y="3622"/>
                </a:cubicBezTo>
                <a:cubicBezTo>
                  <a:pt x="2382" y="3593"/>
                  <a:pt x="2385" y="3582"/>
                  <a:pt x="2393" y="3580"/>
                </a:cubicBezTo>
                <a:close/>
                <a:moveTo>
                  <a:pt x="18512" y="3581"/>
                </a:moveTo>
                <a:cubicBezTo>
                  <a:pt x="18493" y="3581"/>
                  <a:pt x="18478" y="3612"/>
                  <a:pt x="18478" y="3650"/>
                </a:cubicBezTo>
                <a:cubicBezTo>
                  <a:pt x="18478" y="3688"/>
                  <a:pt x="18493" y="3718"/>
                  <a:pt x="18512" y="3718"/>
                </a:cubicBezTo>
                <a:cubicBezTo>
                  <a:pt x="18531" y="3718"/>
                  <a:pt x="18546" y="3688"/>
                  <a:pt x="18546" y="3650"/>
                </a:cubicBezTo>
                <a:cubicBezTo>
                  <a:pt x="18546" y="3612"/>
                  <a:pt x="18531" y="3581"/>
                  <a:pt x="18512" y="3581"/>
                </a:cubicBezTo>
                <a:close/>
                <a:moveTo>
                  <a:pt x="8734" y="3595"/>
                </a:moveTo>
                <a:cubicBezTo>
                  <a:pt x="8736" y="3596"/>
                  <a:pt x="8738" y="3596"/>
                  <a:pt x="8740" y="3596"/>
                </a:cubicBezTo>
                <a:cubicBezTo>
                  <a:pt x="8737" y="3599"/>
                  <a:pt x="8735" y="3600"/>
                  <a:pt x="8732" y="3602"/>
                </a:cubicBezTo>
                <a:cubicBezTo>
                  <a:pt x="8732" y="3602"/>
                  <a:pt x="8734" y="3595"/>
                  <a:pt x="8734" y="3595"/>
                </a:cubicBezTo>
                <a:close/>
                <a:moveTo>
                  <a:pt x="20611" y="3598"/>
                </a:moveTo>
                <a:cubicBezTo>
                  <a:pt x="20709" y="3622"/>
                  <a:pt x="20810" y="3679"/>
                  <a:pt x="20917" y="3768"/>
                </a:cubicBezTo>
                <a:cubicBezTo>
                  <a:pt x="20919" y="3802"/>
                  <a:pt x="20932" y="3830"/>
                  <a:pt x="20950" y="3830"/>
                </a:cubicBezTo>
                <a:cubicBezTo>
                  <a:pt x="20958" y="3830"/>
                  <a:pt x="20965" y="3822"/>
                  <a:pt x="20971" y="3812"/>
                </a:cubicBezTo>
                <a:cubicBezTo>
                  <a:pt x="21023" y="3860"/>
                  <a:pt x="21075" y="3915"/>
                  <a:pt x="21130" y="3979"/>
                </a:cubicBezTo>
                <a:cubicBezTo>
                  <a:pt x="21174" y="4030"/>
                  <a:pt x="21233" y="4076"/>
                  <a:pt x="21297" y="4126"/>
                </a:cubicBezTo>
                <a:cubicBezTo>
                  <a:pt x="21327" y="4150"/>
                  <a:pt x="21358" y="4177"/>
                  <a:pt x="21390" y="4204"/>
                </a:cubicBezTo>
                <a:cubicBezTo>
                  <a:pt x="21385" y="4216"/>
                  <a:pt x="21381" y="4230"/>
                  <a:pt x="21381" y="4247"/>
                </a:cubicBezTo>
                <a:cubicBezTo>
                  <a:pt x="21381" y="4285"/>
                  <a:pt x="21396" y="4315"/>
                  <a:pt x="21415" y="4315"/>
                </a:cubicBezTo>
                <a:cubicBezTo>
                  <a:pt x="21432" y="4315"/>
                  <a:pt x="21445" y="4288"/>
                  <a:pt x="21447" y="4255"/>
                </a:cubicBezTo>
                <a:cubicBezTo>
                  <a:pt x="21491" y="4298"/>
                  <a:pt x="21530" y="4344"/>
                  <a:pt x="21556" y="4396"/>
                </a:cubicBezTo>
                <a:cubicBezTo>
                  <a:pt x="21549" y="4400"/>
                  <a:pt x="21543" y="4403"/>
                  <a:pt x="21537" y="4407"/>
                </a:cubicBezTo>
                <a:cubicBezTo>
                  <a:pt x="21503" y="4424"/>
                  <a:pt x="21473" y="4438"/>
                  <a:pt x="21444" y="4507"/>
                </a:cubicBezTo>
                <a:cubicBezTo>
                  <a:pt x="21434" y="4530"/>
                  <a:pt x="21427" y="4564"/>
                  <a:pt x="21420" y="4600"/>
                </a:cubicBezTo>
                <a:cubicBezTo>
                  <a:pt x="21413" y="4632"/>
                  <a:pt x="21406" y="4662"/>
                  <a:pt x="21398" y="4683"/>
                </a:cubicBezTo>
                <a:cubicBezTo>
                  <a:pt x="21390" y="4674"/>
                  <a:pt x="21384" y="4663"/>
                  <a:pt x="21374" y="4663"/>
                </a:cubicBezTo>
                <a:cubicBezTo>
                  <a:pt x="21363" y="4663"/>
                  <a:pt x="21353" y="4675"/>
                  <a:pt x="21344" y="4689"/>
                </a:cubicBezTo>
                <a:cubicBezTo>
                  <a:pt x="21315" y="4662"/>
                  <a:pt x="21282" y="4611"/>
                  <a:pt x="21249" y="4557"/>
                </a:cubicBezTo>
                <a:cubicBezTo>
                  <a:pt x="21192" y="4464"/>
                  <a:pt x="21127" y="4364"/>
                  <a:pt x="21055" y="4352"/>
                </a:cubicBezTo>
                <a:cubicBezTo>
                  <a:pt x="21040" y="4252"/>
                  <a:pt x="20996" y="4178"/>
                  <a:pt x="20942" y="4178"/>
                </a:cubicBezTo>
                <a:cubicBezTo>
                  <a:pt x="20911" y="4178"/>
                  <a:pt x="20883" y="4203"/>
                  <a:pt x="20862" y="4241"/>
                </a:cubicBezTo>
                <a:lnTo>
                  <a:pt x="20669" y="4029"/>
                </a:lnTo>
                <a:cubicBezTo>
                  <a:pt x="20661" y="3965"/>
                  <a:pt x="20633" y="3917"/>
                  <a:pt x="20599" y="3917"/>
                </a:cubicBezTo>
                <a:cubicBezTo>
                  <a:pt x="20591" y="3917"/>
                  <a:pt x="20583" y="3921"/>
                  <a:pt x="20575" y="3926"/>
                </a:cubicBezTo>
                <a:lnTo>
                  <a:pt x="20425" y="3761"/>
                </a:lnTo>
                <a:cubicBezTo>
                  <a:pt x="20424" y="3745"/>
                  <a:pt x="20423" y="3726"/>
                  <a:pt x="20420" y="3705"/>
                </a:cubicBezTo>
                <a:lnTo>
                  <a:pt x="20471" y="3631"/>
                </a:lnTo>
                <a:cubicBezTo>
                  <a:pt x="20471" y="3639"/>
                  <a:pt x="20469" y="3646"/>
                  <a:pt x="20469" y="3655"/>
                </a:cubicBezTo>
                <a:cubicBezTo>
                  <a:pt x="20469" y="3736"/>
                  <a:pt x="20502" y="3803"/>
                  <a:pt x="20543" y="3803"/>
                </a:cubicBezTo>
                <a:cubicBezTo>
                  <a:pt x="20584" y="3803"/>
                  <a:pt x="20617" y="3736"/>
                  <a:pt x="20617" y="3655"/>
                </a:cubicBezTo>
                <a:cubicBezTo>
                  <a:pt x="20617" y="3634"/>
                  <a:pt x="20615" y="3615"/>
                  <a:pt x="20611" y="3598"/>
                </a:cubicBezTo>
                <a:close/>
                <a:moveTo>
                  <a:pt x="5874" y="3619"/>
                </a:moveTo>
                <a:cubicBezTo>
                  <a:pt x="5847" y="3619"/>
                  <a:pt x="5825" y="3663"/>
                  <a:pt x="5825" y="3718"/>
                </a:cubicBezTo>
                <a:cubicBezTo>
                  <a:pt x="5825" y="3772"/>
                  <a:pt x="5847" y="3816"/>
                  <a:pt x="5874" y="3816"/>
                </a:cubicBezTo>
                <a:cubicBezTo>
                  <a:pt x="5901" y="3816"/>
                  <a:pt x="5923" y="3772"/>
                  <a:pt x="5923" y="3718"/>
                </a:cubicBezTo>
                <a:cubicBezTo>
                  <a:pt x="5923" y="3663"/>
                  <a:pt x="5901" y="3619"/>
                  <a:pt x="5874" y="3619"/>
                </a:cubicBezTo>
                <a:close/>
                <a:moveTo>
                  <a:pt x="14867" y="3619"/>
                </a:moveTo>
                <a:cubicBezTo>
                  <a:pt x="14827" y="3619"/>
                  <a:pt x="14794" y="3685"/>
                  <a:pt x="14794" y="3767"/>
                </a:cubicBezTo>
                <a:cubicBezTo>
                  <a:pt x="14794" y="3848"/>
                  <a:pt x="14827" y="3915"/>
                  <a:pt x="14867" y="3915"/>
                </a:cubicBezTo>
                <a:cubicBezTo>
                  <a:pt x="14908" y="3915"/>
                  <a:pt x="14941" y="3848"/>
                  <a:pt x="14941" y="3767"/>
                </a:cubicBezTo>
                <a:cubicBezTo>
                  <a:pt x="14941" y="3685"/>
                  <a:pt x="14908" y="3619"/>
                  <a:pt x="14867" y="3619"/>
                </a:cubicBezTo>
                <a:close/>
                <a:moveTo>
                  <a:pt x="7198" y="3644"/>
                </a:moveTo>
                <a:lnTo>
                  <a:pt x="7350" y="4076"/>
                </a:lnTo>
                <a:lnTo>
                  <a:pt x="7400" y="4215"/>
                </a:lnTo>
                <a:cubicBezTo>
                  <a:pt x="7373" y="4215"/>
                  <a:pt x="7350" y="4260"/>
                  <a:pt x="7350" y="4315"/>
                </a:cubicBezTo>
                <a:cubicBezTo>
                  <a:pt x="7350" y="4369"/>
                  <a:pt x="7373" y="4412"/>
                  <a:pt x="7400" y="4412"/>
                </a:cubicBezTo>
                <a:cubicBezTo>
                  <a:pt x="7422" y="4412"/>
                  <a:pt x="7438" y="4380"/>
                  <a:pt x="7443" y="4339"/>
                </a:cubicBezTo>
                <a:lnTo>
                  <a:pt x="7648" y="4917"/>
                </a:lnTo>
                <a:cubicBezTo>
                  <a:pt x="7639" y="4934"/>
                  <a:pt x="7626" y="4945"/>
                  <a:pt x="7613" y="4957"/>
                </a:cubicBezTo>
                <a:cubicBezTo>
                  <a:pt x="7588" y="4979"/>
                  <a:pt x="7557" y="5006"/>
                  <a:pt x="7557" y="5085"/>
                </a:cubicBezTo>
                <a:cubicBezTo>
                  <a:pt x="7557" y="5110"/>
                  <a:pt x="7557" y="5139"/>
                  <a:pt x="7557" y="5168"/>
                </a:cubicBezTo>
                <a:cubicBezTo>
                  <a:pt x="7556" y="5219"/>
                  <a:pt x="7555" y="5268"/>
                  <a:pt x="7557" y="5303"/>
                </a:cubicBezTo>
                <a:cubicBezTo>
                  <a:pt x="7551" y="5312"/>
                  <a:pt x="7549" y="5327"/>
                  <a:pt x="7545" y="5339"/>
                </a:cubicBezTo>
                <a:cubicBezTo>
                  <a:pt x="7532" y="5293"/>
                  <a:pt x="7508" y="5260"/>
                  <a:pt x="7480" y="5260"/>
                </a:cubicBezTo>
                <a:cubicBezTo>
                  <a:pt x="7439" y="5260"/>
                  <a:pt x="7406" y="5326"/>
                  <a:pt x="7406" y="5408"/>
                </a:cubicBezTo>
                <a:cubicBezTo>
                  <a:pt x="7406" y="5460"/>
                  <a:pt x="7420" y="5504"/>
                  <a:pt x="7441" y="5530"/>
                </a:cubicBezTo>
                <a:cubicBezTo>
                  <a:pt x="7438" y="5533"/>
                  <a:pt x="7433" y="5535"/>
                  <a:pt x="7431" y="5537"/>
                </a:cubicBezTo>
                <a:cubicBezTo>
                  <a:pt x="7427" y="5542"/>
                  <a:pt x="7425" y="5544"/>
                  <a:pt x="7424" y="5544"/>
                </a:cubicBezTo>
                <a:cubicBezTo>
                  <a:pt x="7408" y="5544"/>
                  <a:pt x="7399" y="5513"/>
                  <a:pt x="7386" y="5464"/>
                </a:cubicBezTo>
                <a:cubicBezTo>
                  <a:pt x="7374" y="5414"/>
                  <a:pt x="7358" y="5352"/>
                  <a:pt x="7323" y="5352"/>
                </a:cubicBezTo>
                <a:cubicBezTo>
                  <a:pt x="7303" y="5352"/>
                  <a:pt x="7283" y="5370"/>
                  <a:pt x="7266" y="5385"/>
                </a:cubicBezTo>
                <a:cubicBezTo>
                  <a:pt x="7258" y="5392"/>
                  <a:pt x="7250" y="5399"/>
                  <a:pt x="7243" y="5403"/>
                </a:cubicBezTo>
                <a:cubicBezTo>
                  <a:pt x="7232" y="5353"/>
                  <a:pt x="7219" y="5338"/>
                  <a:pt x="7200" y="5323"/>
                </a:cubicBezTo>
                <a:cubicBezTo>
                  <a:pt x="7191" y="5316"/>
                  <a:pt x="7182" y="5310"/>
                  <a:pt x="7172" y="5294"/>
                </a:cubicBezTo>
                <a:cubicBezTo>
                  <a:pt x="7170" y="5289"/>
                  <a:pt x="7168" y="5270"/>
                  <a:pt x="7168" y="5260"/>
                </a:cubicBezTo>
                <a:cubicBezTo>
                  <a:pt x="7166" y="5239"/>
                  <a:pt x="7165" y="5219"/>
                  <a:pt x="7158" y="5210"/>
                </a:cubicBezTo>
                <a:cubicBezTo>
                  <a:pt x="7149" y="5195"/>
                  <a:pt x="7136" y="5161"/>
                  <a:pt x="7124" y="5136"/>
                </a:cubicBezTo>
                <a:cubicBezTo>
                  <a:pt x="7127" y="5124"/>
                  <a:pt x="7132" y="5113"/>
                  <a:pt x="7132" y="5098"/>
                </a:cubicBezTo>
                <a:cubicBezTo>
                  <a:pt x="7132" y="5043"/>
                  <a:pt x="7111" y="4999"/>
                  <a:pt x="7084" y="4999"/>
                </a:cubicBezTo>
                <a:cubicBezTo>
                  <a:pt x="7079" y="4999"/>
                  <a:pt x="7076" y="5006"/>
                  <a:pt x="7072" y="5008"/>
                </a:cubicBezTo>
                <a:cubicBezTo>
                  <a:pt x="7055" y="4952"/>
                  <a:pt x="7040" y="4895"/>
                  <a:pt x="7040" y="4851"/>
                </a:cubicBezTo>
                <a:cubicBezTo>
                  <a:pt x="7040" y="4830"/>
                  <a:pt x="7042" y="4828"/>
                  <a:pt x="7051" y="4817"/>
                </a:cubicBezTo>
                <a:cubicBezTo>
                  <a:pt x="7056" y="4811"/>
                  <a:pt x="7062" y="4803"/>
                  <a:pt x="7068" y="4791"/>
                </a:cubicBezTo>
                <a:cubicBezTo>
                  <a:pt x="7073" y="4781"/>
                  <a:pt x="7074" y="4764"/>
                  <a:pt x="7069" y="4752"/>
                </a:cubicBezTo>
                <a:cubicBezTo>
                  <a:pt x="7062" y="4733"/>
                  <a:pt x="7050" y="4709"/>
                  <a:pt x="7034" y="4709"/>
                </a:cubicBezTo>
                <a:cubicBezTo>
                  <a:pt x="7024" y="4709"/>
                  <a:pt x="7016" y="4717"/>
                  <a:pt x="7009" y="4725"/>
                </a:cubicBezTo>
                <a:cubicBezTo>
                  <a:pt x="7002" y="4733"/>
                  <a:pt x="6996" y="4740"/>
                  <a:pt x="6989" y="4734"/>
                </a:cubicBezTo>
                <a:cubicBezTo>
                  <a:pt x="6985" y="4720"/>
                  <a:pt x="6981" y="4681"/>
                  <a:pt x="6978" y="4657"/>
                </a:cubicBezTo>
                <a:cubicBezTo>
                  <a:pt x="6976" y="4639"/>
                  <a:pt x="6974" y="4623"/>
                  <a:pt x="6972" y="4608"/>
                </a:cubicBezTo>
                <a:cubicBezTo>
                  <a:pt x="6966" y="4569"/>
                  <a:pt x="6952" y="4538"/>
                  <a:pt x="6938" y="4508"/>
                </a:cubicBezTo>
                <a:cubicBezTo>
                  <a:pt x="6937" y="4504"/>
                  <a:pt x="6935" y="4501"/>
                  <a:pt x="6933" y="4498"/>
                </a:cubicBezTo>
                <a:lnTo>
                  <a:pt x="7119" y="3680"/>
                </a:lnTo>
                <a:cubicBezTo>
                  <a:pt x="7124" y="3682"/>
                  <a:pt x="7129" y="3686"/>
                  <a:pt x="7135" y="3686"/>
                </a:cubicBezTo>
                <a:cubicBezTo>
                  <a:pt x="7159" y="3686"/>
                  <a:pt x="7179" y="3668"/>
                  <a:pt x="7198" y="3644"/>
                </a:cubicBezTo>
                <a:close/>
                <a:moveTo>
                  <a:pt x="13794" y="3658"/>
                </a:moveTo>
                <a:cubicBezTo>
                  <a:pt x="13810" y="3658"/>
                  <a:pt x="13830" y="3662"/>
                  <a:pt x="13852" y="3670"/>
                </a:cubicBezTo>
                <a:lnTo>
                  <a:pt x="13963" y="3721"/>
                </a:lnTo>
                <a:cubicBezTo>
                  <a:pt x="13996" y="3743"/>
                  <a:pt x="14041" y="3791"/>
                  <a:pt x="14085" y="3838"/>
                </a:cubicBezTo>
                <a:cubicBezTo>
                  <a:pt x="14105" y="3859"/>
                  <a:pt x="14117" y="3866"/>
                  <a:pt x="14135" y="3883"/>
                </a:cubicBezTo>
                <a:cubicBezTo>
                  <a:pt x="14144" y="3909"/>
                  <a:pt x="14156" y="3928"/>
                  <a:pt x="14173" y="3928"/>
                </a:cubicBezTo>
                <a:cubicBezTo>
                  <a:pt x="14175" y="3928"/>
                  <a:pt x="14177" y="3923"/>
                  <a:pt x="14179" y="3923"/>
                </a:cubicBezTo>
                <a:cubicBezTo>
                  <a:pt x="14191" y="3933"/>
                  <a:pt x="14209" y="3954"/>
                  <a:pt x="14219" y="3959"/>
                </a:cubicBezTo>
                <a:lnTo>
                  <a:pt x="12844" y="4579"/>
                </a:lnTo>
                <a:cubicBezTo>
                  <a:pt x="12838" y="4563"/>
                  <a:pt x="12829" y="4551"/>
                  <a:pt x="12818" y="4551"/>
                </a:cubicBezTo>
                <a:cubicBezTo>
                  <a:pt x="12818" y="4551"/>
                  <a:pt x="12817" y="4552"/>
                  <a:pt x="12817" y="4552"/>
                </a:cubicBezTo>
                <a:lnTo>
                  <a:pt x="12844" y="4218"/>
                </a:lnTo>
                <a:cubicBezTo>
                  <a:pt x="12859" y="4244"/>
                  <a:pt x="12881" y="4259"/>
                  <a:pt x="12899" y="4259"/>
                </a:cubicBezTo>
                <a:cubicBezTo>
                  <a:pt x="12917" y="4259"/>
                  <a:pt x="12946" y="4232"/>
                  <a:pt x="12981" y="4193"/>
                </a:cubicBezTo>
                <a:cubicBezTo>
                  <a:pt x="12991" y="4203"/>
                  <a:pt x="13003" y="4208"/>
                  <a:pt x="13015" y="4208"/>
                </a:cubicBezTo>
                <a:cubicBezTo>
                  <a:pt x="13058" y="4208"/>
                  <a:pt x="13092" y="4141"/>
                  <a:pt x="13096" y="4057"/>
                </a:cubicBezTo>
                <a:cubicBezTo>
                  <a:pt x="13167" y="3969"/>
                  <a:pt x="13245" y="3879"/>
                  <a:pt x="13292" y="3877"/>
                </a:cubicBezTo>
                <a:cubicBezTo>
                  <a:pt x="13291" y="3887"/>
                  <a:pt x="13286" y="3894"/>
                  <a:pt x="13286" y="3904"/>
                </a:cubicBezTo>
                <a:cubicBezTo>
                  <a:pt x="13286" y="3959"/>
                  <a:pt x="13309" y="4002"/>
                  <a:pt x="13336" y="4002"/>
                </a:cubicBezTo>
                <a:cubicBezTo>
                  <a:pt x="13353" y="4002"/>
                  <a:pt x="13366" y="3981"/>
                  <a:pt x="13375" y="3953"/>
                </a:cubicBezTo>
                <a:cubicBezTo>
                  <a:pt x="13386" y="3958"/>
                  <a:pt x="13396" y="3967"/>
                  <a:pt x="13408" y="3967"/>
                </a:cubicBezTo>
                <a:cubicBezTo>
                  <a:pt x="13458" y="3967"/>
                  <a:pt x="13511" y="3931"/>
                  <a:pt x="13557" y="3900"/>
                </a:cubicBezTo>
                <a:cubicBezTo>
                  <a:pt x="13590" y="3877"/>
                  <a:pt x="13620" y="3855"/>
                  <a:pt x="13641" y="3855"/>
                </a:cubicBezTo>
                <a:cubicBezTo>
                  <a:pt x="13647" y="3855"/>
                  <a:pt x="13661" y="3880"/>
                  <a:pt x="13671" y="3896"/>
                </a:cubicBezTo>
                <a:cubicBezTo>
                  <a:pt x="13689" y="3925"/>
                  <a:pt x="13707" y="3955"/>
                  <a:pt x="13725" y="3955"/>
                </a:cubicBezTo>
                <a:cubicBezTo>
                  <a:pt x="13745" y="3955"/>
                  <a:pt x="13756" y="3926"/>
                  <a:pt x="13763" y="3886"/>
                </a:cubicBezTo>
                <a:cubicBezTo>
                  <a:pt x="13787" y="3857"/>
                  <a:pt x="13804" y="3806"/>
                  <a:pt x="13804" y="3746"/>
                </a:cubicBezTo>
                <a:cubicBezTo>
                  <a:pt x="13804" y="3713"/>
                  <a:pt x="13798" y="3685"/>
                  <a:pt x="13790" y="3659"/>
                </a:cubicBezTo>
                <a:cubicBezTo>
                  <a:pt x="13792" y="3659"/>
                  <a:pt x="13792" y="3658"/>
                  <a:pt x="13794" y="3658"/>
                </a:cubicBezTo>
                <a:close/>
                <a:moveTo>
                  <a:pt x="7084" y="3662"/>
                </a:moveTo>
                <a:cubicBezTo>
                  <a:pt x="7085" y="3663"/>
                  <a:pt x="7087" y="3666"/>
                  <a:pt x="7089" y="3668"/>
                </a:cubicBezTo>
                <a:cubicBezTo>
                  <a:pt x="7074" y="3732"/>
                  <a:pt x="7063" y="3784"/>
                  <a:pt x="7042" y="3873"/>
                </a:cubicBezTo>
                <a:cubicBezTo>
                  <a:pt x="7041" y="3877"/>
                  <a:pt x="7040" y="3882"/>
                  <a:pt x="7039" y="3887"/>
                </a:cubicBezTo>
                <a:cubicBezTo>
                  <a:pt x="7036" y="3897"/>
                  <a:pt x="7034" y="3908"/>
                  <a:pt x="7032" y="3918"/>
                </a:cubicBezTo>
                <a:cubicBezTo>
                  <a:pt x="7030" y="3926"/>
                  <a:pt x="7028" y="3933"/>
                  <a:pt x="7027" y="3940"/>
                </a:cubicBezTo>
                <a:cubicBezTo>
                  <a:pt x="7025" y="3945"/>
                  <a:pt x="7024" y="3950"/>
                  <a:pt x="7023" y="3955"/>
                </a:cubicBezTo>
                <a:cubicBezTo>
                  <a:pt x="7019" y="3973"/>
                  <a:pt x="7015" y="3990"/>
                  <a:pt x="7011" y="4008"/>
                </a:cubicBezTo>
                <a:cubicBezTo>
                  <a:pt x="7010" y="4014"/>
                  <a:pt x="7009" y="4020"/>
                  <a:pt x="7007" y="4027"/>
                </a:cubicBezTo>
                <a:cubicBezTo>
                  <a:pt x="6978" y="4153"/>
                  <a:pt x="6946" y="4294"/>
                  <a:pt x="6912" y="4443"/>
                </a:cubicBezTo>
                <a:cubicBezTo>
                  <a:pt x="6906" y="4422"/>
                  <a:pt x="6903" y="4401"/>
                  <a:pt x="6903" y="4375"/>
                </a:cubicBezTo>
                <a:cubicBezTo>
                  <a:pt x="6903" y="4358"/>
                  <a:pt x="6906" y="4346"/>
                  <a:pt x="6911" y="4329"/>
                </a:cubicBezTo>
                <a:cubicBezTo>
                  <a:pt x="6928" y="4301"/>
                  <a:pt x="6940" y="4261"/>
                  <a:pt x="6940" y="4214"/>
                </a:cubicBezTo>
                <a:cubicBezTo>
                  <a:pt x="6940" y="4164"/>
                  <a:pt x="6927" y="4122"/>
                  <a:pt x="6908" y="4095"/>
                </a:cubicBezTo>
                <a:cubicBezTo>
                  <a:pt x="6922" y="4046"/>
                  <a:pt x="6936" y="3999"/>
                  <a:pt x="6961" y="3960"/>
                </a:cubicBezTo>
                <a:cubicBezTo>
                  <a:pt x="6963" y="3957"/>
                  <a:pt x="6965" y="3953"/>
                  <a:pt x="6965" y="3948"/>
                </a:cubicBezTo>
                <a:cubicBezTo>
                  <a:pt x="6976" y="3938"/>
                  <a:pt x="6980" y="3933"/>
                  <a:pt x="6984" y="3933"/>
                </a:cubicBezTo>
                <a:cubicBezTo>
                  <a:pt x="6987" y="3933"/>
                  <a:pt x="6994" y="3938"/>
                  <a:pt x="7005" y="3947"/>
                </a:cubicBezTo>
                <a:cubicBezTo>
                  <a:pt x="7009" y="3951"/>
                  <a:pt x="7014" y="3950"/>
                  <a:pt x="7018" y="3946"/>
                </a:cubicBezTo>
                <a:cubicBezTo>
                  <a:pt x="7022" y="3942"/>
                  <a:pt x="7025" y="3934"/>
                  <a:pt x="7025" y="3925"/>
                </a:cubicBezTo>
                <a:cubicBezTo>
                  <a:pt x="7032" y="3859"/>
                  <a:pt x="7044" y="3818"/>
                  <a:pt x="7057" y="3774"/>
                </a:cubicBezTo>
                <a:cubicBezTo>
                  <a:pt x="7066" y="3742"/>
                  <a:pt x="7075" y="3704"/>
                  <a:pt x="7084" y="3662"/>
                </a:cubicBezTo>
                <a:close/>
                <a:moveTo>
                  <a:pt x="14198" y="3678"/>
                </a:moveTo>
                <a:lnTo>
                  <a:pt x="14326" y="3826"/>
                </a:lnTo>
                <a:lnTo>
                  <a:pt x="14244" y="3789"/>
                </a:lnTo>
                <a:cubicBezTo>
                  <a:pt x="14241" y="3782"/>
                  <a:pt x="14239" y="3774"/>
                  <a:pt x="14237" y="3767"/>
                </a:cubicBezTo>
                <a:cubicBezTo>
                  <a:pt x="14236" y="3765"/>
                  <a:pt x="14235" y="3762"/>
                  <a:pt x="14234" y="3761"/>
                </a:cubicBezTo>
                <a:cubicBezTo>
                  <a:pt x="14220" y="3733"/>
                  <a:pt x="14208" y="3706"/>
                  <a:pt x="14198" y="3678"/>
                </a:cubicBezTo>
                <a:close/>
                <a:moveTo>
                  <a:pt x="11997" y="3685"/>
                </a:moveTo>
                <a:cubicBezTo>
                  <a:pt x="12027" y="3685"/>
                  <a:pt x="12095" y="3738"/>
                  <a:pt x="12166" y="3797"/>
                </a:cubicBezTo>
                <a:cubicBezTo>
                  <a:pt x="12157" y="3814"/>
                  <a:pt x="12153" y="3837"/>
                  <a:pt x="12152" y="3862"/>
                </a:cubicBezTo>
                <a:lnTo>
                  <a:pt x="11997" y="3685"/>
                </a:lnTo>
                <a:close/>
                <a:moveTo>
                  <a:pt x="4869" y="3693"/>
                </a:moveTo>
                <a:cubicBezTo>
                  <a:pt x="4842" y="3693"/>
                  <a:pt x="4820" y="3738"/>
                  <a:pt x="4820" y="3792"/>
                </a:cubicBezTo>
                <a:cubicBezTo>
                  <a:pt x="4820" y="3847"/>
                  <a:pt x="4842" y="3890"/>
                  <a:pt x="4869" y="3890"/>
                </a:cubicBezTo>
                <a:cubicBezTo>
                  <a:pt x="4896" y="3890"/>
                  <a:pt x="4918" y="3847"/>
                  <a:pt x="4918" y="3792"/>
                </a:cubicBezTo>
                <a:cubicBezTo>
                  <a:pt x="4918" y="3738"/>
                  <a:pt x="4896" y="3693"/>
                  <a:pt x="4869" y="3693"/>
                </a:cubicBezTo>
                <a:close/>
                <a:moveTo>
                  <a:pt x="5015" y="3703"/>
                </a:moveTo>
                <a:cubicBezTo>
                  <a:pt x="5022" y="3703"/>
                  <a:pt x="5030" y="3708"/>
                  <a:pt x="5038" y="3715"/>
                </a:cubicBezTo>
                <a:cubicBezTo>
                  <a:pt x="5042" y="3718"/>
                  <a:pt x="5047" y="3721"/>
                  <a:pt x="5052" y="3723"/>
                </a:cubicBezTo>
                <a:cubicBezTo>
                  <a:pt x="5059" y="3751"/>
                  <a:pt x="5071" y="3769"/>
                  <a:pt x="5087" y="3774"/>
                </a:cubicBezTo>
                <a:lnTo>
                  <a:pt x="5073" y="3847"/>
                </a:lnTo>
                <a:lnTo>
                  <a:pt x="5022" y="4132"/>
                </a:lnTo>
                <a:cubicBezTo>
                  <a:pt x="5012" y="4150"/>
                  <a:pt x="5006" y="4174"/>
                  <a:pt x="5006" y="4203"/>
                </a:cubicBezTo>
                <a:cubicBezTo>
                  <a:pt x="5006" y="4205"/>
                  <a:pt x="5007" y="4207"/>
                  <a:pt x="5008" y="4210"/>
                </a:cubicBezTo>
                <a:lnTo>
                  <a:pt x="4976" y="4384"/>
                </a:lnTo>
                <a:cubicBezTo>
                  <a:pt x="4974" y="4383"/>
                  <a:pt x="4973" y="4380"/>
                  <a:pt x="4972" y="4379"/>
                </a:cubicBezTo>
                <a:cubicBezTo>
                  <a:pt x="4956" y="4354"/>
                  <a:pt x="4936" y="4323"/>
                  <a:pt x="4905" y="4323"/>
                </a:cubicBezTo>
                <a:cubicBezTo>
                  <a:pt x="4898" y="4323"/>
                  <a:pt x="4891" y="4330"/>
                  <a:pt x="4888" y="4343"/>
                </a:cubicBezTo>
                <a:cubicBezTo>
                  <a:pt x="4881" y="4367"/>
                  <a:pt x="4889" y="4395"/>
                  <a:pt x="4899" y="4428"/>
                </a:cubicBezTo>
                <a:cubicBezTo>
                  <a:pt x="4901" y="4434"/>
                  <a:pt x="4903" y="4445"/>
                  <a:pt x="4905" y="4450"/>
                </a:cubicBezTo>
                <a:cubicBezTo>
                  <a:pt x="4901" y="4480"/>
                  <a:pt x="4852" y="4557"/>
                  <a:pt x="4824" y="4557"/>
                </a:cubicBezTo>
                <a:cubicBezTo>
                  <a:pt x="4800" y="4557"/>
                  <a:pt x="4779" y="4526"/>
                  <a:pt x="4760" y="4496"/>
                </a:cubicBezTo>
                <a:cubicBezTo>
                  <a:pt x="4752" y="4485"/>
                  <a:pt x="4745" y="4473"/>
                  <a:pt x="4737" y="4464"/>
                </a:cubicBezTo>
                <a:cubicBezTo>
                  <a:pt x="4735" y="4461"/>
                  <a:pt x="4732" y="4459"/>
                  <a:pt x="4729" y="4459"/>
                </a:cubicBezTo>
                <a:lnTo>
                  <a:pt x="4691" y="4459"/>
                </a:lnTo>
                <a:cubicBezTo>
                  <a:pt x="4685" y="4459"/>
                  <a:pt x="4681" y="4464"/>
                  <a:pt x="4678" y="4473"/>
                </a:cubicBezTo>
                <a:cubicBezTo>
                  <a:pt x="4675" y="4482"/>
                  <a:pt x="4675" y="4493"/>
                  <a:pt x="4677" y="4502"/>
                </a:cubicBezTo>
                <a:cubicBezTo>
                  <a:pt x="4698" y="4587"/>
                  <a:pt x="4736" y="4611"/>
                  <a:pt x="4776" y="4626"/>
                </a:cubicBezTo>
                <a:cubicBezTo>
                  <a:pt x="4788" y="4630"/>
                  <a:pt x="4798" y="4637"/>
                  <a:pt x="4810" y="4640"/>
                </a:cubicBezTo>
                <a:cubicBezTo>
                  <a:pt x="4824" y="4644"/>
                  <a:pt x="4838" y="4648"/>
                  <a:pt x="4852" y="4654"/>
                </a:cubicBezTo>
                <a:lnTo>
                  <a:pt x="4852" y="4679"/>
                </a:lnTo>
                <a:cubicBezTo>
                  <a:pt x="4843" y="4695"/>
                  <a:pt x="4834" y="4713"/>
                  <a:pt x="4826" y="4731"/>
                </a:cubicBezTo>
                <a:cubicBezTo>
                  <a:pt x="4825" y="4733"/>
                  <a:pt x="4824" y="4734"/>
                  <a:pt x="4823" y="4737"/>
                </a:cubicBezTo>
                <a:cubicBezTo>
                  <a:pt x="4823" y="4732"/>
                  <a:pt x="4825" y="4729"/>
                  <a:pt x="4825" y="4725"/>
                </a:cubicBezTo>
                <a:cubicBezTo>
                  <a:pt x="4825" y="4670"/>
                  <a:pt x="4803" y="4626"/>
                  <a:pt x="4776" y="4626"/>
                </a:cubicBezTo>
                <a:cubicBezTo>
                  <a:pt x="4749" y="4626"/>
                  <a:pt x="4727" y="4670"/>
                  <a:pt x="4727" y="4725"/>
                </a:cubicBezTo>
                <a:cubicBezTo>
                  <a:pt x="4727" y="4770"/>
                  <a:pt x="4744" y="4802"/>
                  <a:pt x="4765" y="4813"/>
                </a:cubicBezTo>
                <a:cubicBezTo>
                  <a:pt x="4761" y="4815"/>
                  <a:pt x="4758" y="4820"/>
                  <a:pt x="4755" y="4820"/>
                </a:cubicBezTo>
                <a:lnTo>
                  <a:pt x="4708" y="4820"/>
                </a:lnTo>
                <a:cubicBezTo>
                  <a:pt x="4683" y="4820"/>
                  <a:pt x="4681" y="4868"/>
                  <a:pt x="4680" y="4890"/>
                </a:cubicBezTo>
                <a:cubicBezTo>
                  <a:pt x="4679" y="4899"/>
                  <a:pt x="4678" y="4912"/>
                  <a:pt x="4677" y="4915"/>
                </a:cubicBezTo>
                <a:cubicBezTo>
                  <a:pt x="4675" y="4915"/>
                  <a:pt x="4673" y="4915"/>
                  <a:pt x="4669" y="4913"/>
                </a:cubicBezTo>
                <a:cubicBezTo>
                  <a:pt x="4609" y="4876"/>
                  <a:pt x="4571" y="4858"/>
                  <a:pt x="4552" y="4858"/>
                </a:cubicBezTo>
                <a:cubicBezTo>
                  <a:pt x="4546" y="4858"/>
                  <a:pt x="4537" y="4860"/>
                  <a:pt x="4531" y="4872"/>
                </a:cubicBezTo>
                <a:lnTo>
                  <a:pt x="4416" y="4039"/>
                </a:lnTo>
                <a:cubicBezTo>
                  <a:pt x="4418" y="4038"/>
                  <a:pt x="4419" y="4037"/>
                  <a:pt x="4421" y="4036"/>
                </a:cubicBezTo>
                <a:cubicBezTo>
                  <a:pt x="4451" y="4011"/>
                  <a:pt x="4491" y="3976"/>
                  <a:pt x="4474" y="3863"/>
                </a:cubicBezTo>
                <a:cubicBezTo>
                  <a:pt x="4472" y="3855"/>
                  <a:pt x="4470" y="3848"/>
                  <a:pt x="4466" y="3845"/>
                </a:cubicBezTo>
                <a:cubicBezTo>
                  <a:pt x="4462" y="3841"/>
                  <a:pt x="4457" y="3842"/>
                  <a:pt x="4453" y="3846"/>
                </a:cubicBezTo>
                <a:cubicBezTo>
                  <a:pt x="4449" y="3850"/>
                  <a:pt x="4445" y="3854"/>
                  <a:pt x="4441" y="3858"/>
                </a:cubicBezTo>
                <a:lnTo>
                  <a:pt x="4476" y="3793"/>
                </a:lnTo>
                <a:lnTo>
                  <a:pt x="4515" y="3721"/>
                </a:lnTo>
                <a:cubicBezTo>
                  <a:pt x="4533" y="3756"/>
                  <a:pt x="4556" y="3758"/>
                  <a:pt x="4577" y="3761"/>
                </a:cubicBezTo>
                <a:cubicBezTo>
                  <a:pt x="4585" y="3762"/>
                  <a:pt x="4593" y="3762"/>
                  <a:pt x="4601" y="3765"/>
                </a:cubicBezTo>
                <a:cubicBezTo>
                  <a:pt x="4598" y="3773"/>
                  <a:pt x="4596" y="3781"/>
                  <a:pt x="4593" y="3790"/>
                </a:cubicBezTo>
                <a:cubicBezTo>
                  <a:pt x="4591" y="3797"/>
                  <a:pt x="4591" y="3805"/>
                  <a:pt x="4592" y="3813"/>
                </a:cubicBezTo>
                <a:cubicBezTo>
                  <a:pt x="4593" y="3821"/>
                  <a:pt x="4596" y="3828"/>
                  <a:pt x="4600" y="3832"/>
                </a:cubicBezTo>
                <a:cubicBezTo>
                  <a:pt x="4636" y="3866"/>
                  <a:pt x="4640" y="3902"/>
                  <a:pt x="4640" y="3971"/>
                </a:cubicBezTo>
                <a:cubicBezTo>
                  <a:pt x="4640" y="3987"/>
                  <a:pt x="4646" y="4001"/>
                  <a:pt x="4655" y="4001"/>
                </a:cubicBezTo>
                <a:cubicBezTo>
                  <a:pt x="4700" y="4001"/>
                  <a:pt x="4708" y="3930"/>
                  <a:pt x="4713" y="3883"/>
                </a:cubicBezTo>
                <a:cubicBezTo>
                  <a:pt x="4719" y="3833"/>
                  <a:pt x="4722" y="3817"/>
                  <a:pt x="4738" y="3817"/>
                </a:cubicBezTo>
                <a:cubicBezTo>
                  <a:pt x="4751" y="3823"/>
                  <a:pt x="4799" y="3914"/>
                  <a:pt x="4803" y="3937"/>
                </a:cubicBezTo>
                <a:cubicBezTo>
                  <a:pt x="4803" y="3953"/>
                  <a:pt x="4800" y="3956"/>
                  <a:pt x="4791" y="3968"/>
                </a:cubicBezTo>
                <a:cubicBezTo>
                  <a:pt x="4782" y="3981"/>
                  <a:pt x="4767" y="4000"/>
                  <a:pt x="4767" y="4043"/>
                </a:cubicBezTo>
                <a:cubicBezTo>
                  <a:pt x="4767" y="4074"/>
                  <a:pt x="4781" y="4123"/>
                  <a:pt x="4794" y="4156"/>
                </a:cubicBezTo>
                <a:cubicBezTo>
                  <a:pt x="4814" y="4207"/>
                  <a:pt x="4837" y="4234"/>
                  <a:pt x="4859" y="4234"/>
                </a:cubicBezTo>
                <a:cubicBezTo>
                  <a:pt x="4871" y="4234"/>
                  <a:pt x="4888" y="4226"/>
                  <a:pt x="4905" y="4184"/>
                </a:cubicBezTo>
                <a:cubicBezTo>
                  <a:pt x="4926" y="4130"/>
                  <a:pt x="4931" y="4086"/>
                  <a:pt x="4937" y="4043"/>
                </a:cubicBezTo>
                <a:cubicBezTo>
                  <a:pt x="4940" y="4019"/>
                  <a:pt x="4943" y="3995"/>
                  <a:pt x="4948" y="3971"/>
                </a:cubicBezTo>
                <a:cubicBezTo>
                  <a:pt x="4951" y="3961"/>
                  <a:pt x="4963" y="3952"/>
                  <a:pt x="4972" y="3945"/>
                </a:cubicBezTo>
                <a:cubicBezTo>
                  <a:pt x="4988" y="3932"/>
                  <a:pt x="5009" y="3916"/>
                  <a:pt x="5009" y="3873"/>
                </a:cubicBezTo>
                <a:cubicBezTo>
                  <a:pt x="5009" y="3843"/>
                  <a:pt x="5000" y="3823"/>
                  <a:pt x="4991" y="3805"/>
                </a:cubicBezTo>
                <a:cubicBezTo>
                  <a:pt x="4983" y="3787"/>
                  <a:pt x="4977" y="3775"/>
                  <a:pt x="4977" y="3758"/>
                </a:cubicBezTo>
                <a:cubicBezTo>
                  <a:pt x="4977" y="3727"/>
                  <a:pt x="4997" y="3703"/>
                  <a:pt x="5015" y="3703"/>
                </a:cubicBezTo>
                <a:close/>
                <a:moveTo>
                  <a:pt x="4203" y="3725"/>
                </a:moveTo>
                <a:lnTo>
                  <a:pt x="4288" y="3823"/>
                </a:lnTo>
                <a:lnTo>
                  <a:pt x="4192" y="3778"/>
                </a:lnTo>
                <a:cubicBezTo>
                  <a:pt x="4193" y="3772"/>
                  <a:pt x="4194" y="3767"/>
                  <a:pt x="4195" y="3761"/>
                </a:cubicBezTo>
                <a:cubicBezTo>
                  <a:pt x="4198" y="3748"/>
                  <a:pt x="4200" y="3735"/>
                  <a:pt x="4203" y="3725"/>
                </a:cubicBezTo>
                <a:close/>
                <a:moveTo>
                  <a:pt x="20059" y="3730"/>
                </a:moveTo>
                <a:cubicBezTo>
                  <a:pt x="20018" y="3730"/>
                  <a:pt x="19985" y="3797"/>
                  <a:pt x="19985" y="3879"/>
                </a:cubicBezTo>
                <a:cubicBezTo>
                  <a:pt x="19985" y="3960"/>
                  <a:pt x="20018" y="4027"/>
                  <a:pt x="20059" y="4027"/>
                </a:cubicBezTo>
                <a:cubicBezTo>
                  <a:pt x="20100" y="4027"/>
                  <a:pt x="20133" y="3960"/>
                  <a:pt x="20133" y="3879"/>
                </a:cubicBezTo>
                <a:cubicBezTo>
                  <a:pt x="20133" y="3797"/>
                  <a:pt x="20100" y="3730"/>
                  <a:pt x="20059" y="3730"/>
                </a:cubicBezTo>
                <a:close/>
                <a:moveTo>
                  <a:pt x="13059" y="3733"/>
                </a:moveTo>
                <a:cubicBezTo>
                  <a:pt x="13069" y="3734"/>
                  <a:pt x="13077" y="3745"/>
                  <a:pt x="13087" y="3758"/>
                </a:cubicBezTo>
                <a:cubicBezTo>
                  <a:pt x="13095" y="3770"/>
                  <a:pt x="13104" y="3782"/>
                  <a:pt x="13115" y="3790"/>
                </a:cubicBezTo>
                <a:cubicBezTo>
                  <a:pt x="13115" y="3790"/>
                  <a:pt x="13115" y="3804"/>
                  <a:pt x="13115" y="3804"/>
                </a:cubicBezTo>
                <a:cubicBezTo>
                  <a:pt x="13112" y="3808"/>
                  <a:pt x="13109" y="3812"/>
                  <a:pt x="13105" y="3817"/>
                </a:cubicBezTo>
                <a:cubicBezTo>
                  <a:pt x="13085" y="3841"/>
                  <a:pt x="13066" y="3863"/>
                  <a:pt x="13042" y="3863"/>
                </a:cubicBezTo>
                <a:cubicBezTo>
                  <a:pt x="13018" y="3863"/>
                  <a:pt x="13018" y="3859"/>
                  <a:pt x="13018" y="3846"/>
                </a:cubicBezTo>
                <a:cubicBezTo>
                  <a:pt x="13020" y="3834"/>
                  <a:pt x="13032" y="3790"/>
                  <a:pt x="13038" y="3774"/>
                </a:cubicBezTo>
                <a:cubicBezTo>
                  <a:pt x="13047" y="3768"/>
                  <a:pt x="13052" y="3752"/>
                  <a:pt x="13056" y="3741"/>
                </a:cubicBezTo>
                <a:cubicBezTo>
                  <a:pt x="13057" y="3739"/>
                  <a:pt x="13058" y="3735"/>
                  <a:pt x="13059" y="3733"/>
                </a:cubicBezTo>
                <a:close/>
                <a:moveTo>
                  <a:pt x="5122" y="3758"/>
                </a:moveTo>
                <a:cubicBezTo>
                  <a:pt x="5127" y="3766"/>
                  <a:pt x="5132" y="3774"/>
                  <a:pt x="5137" y="3783"/>
                </a:cubicBezTo>
                <a:cubicBezTo>
                  <a:pt x="5150" y="3805"/>
                  <a:pt x="5164" y="3831"/>
                  <a:pt x="5192" y="3838"/>
                </a:cubicBezTo>
                <a:cubicBezTo>
                  <a:pt x="5193" y="3855"/>
                  <a:pt x="5193" y="3865"/>
                  <a:pt x="5194" y="3874"/>
                </a:cubicBezTo>
                <a:cubicBezTo>
                  <a:pt x="5195" y="3884"/>
                  <a:pt x="5195" y="3888"/>
                  <a:pt x="5194" y="3894"/>
                </a:cubicBezTo>
                <a:cubicBezTo>
                  <a:pt x="5135" y="3956"/>
                  <a:pt x="5146" y="4028"/>
                  <a:pt x="5151" y="4064"/>
                </a:cubicBezTo>
                <a:cubicBezTo>
                  <a:pt x="5152" y="4068"/>
                  <a:pt x="5153" y="4075"/>
                  <a:pt x="5153" y="4077"/>
                </a:cubicBezTo>
                <a:cubicBezTo>
                  <a:pt x="5153" y="4103"/>
                  <a:pt x="5165" y="4120"/>
                  <a:pt x="5180" y="4143"/>
                </a:cubicBezTo>
                <a:cubicBezTo>
                  <a:pt x="5187" y="4154"/>
                  <a:pt x="5200" y="4176"/>
                  <a:pt x="5202" y="4183"/>
                </a:cubicBezTo>
                <a:cubicBezTo>
                  <a:pt x="5199" y="4221"/>
                  <a:pt x="5127" y="4348"/>
                  <a:pt x="5104" y="4359"/>
                </a:cubicBezTo>
                <a:cubicBezTo>
                  <a:pt x="5094" y="4331"/>
                  <a:pt x="5084" y="4317"/>
                  <a:pt x="5073" y="4317"/>
                </a:cubicBezTo>
                <a:cubicBezTo>
                  <a:pt x="5064" y="4317"/>
                  <a:pt x="5057" y="4328"/>
                  <a:pt x="5052" y="4346"/>
                </a:cubicBezTo>
                <a:cubicBezTo>
                  <a:pt x="5050" y="4356"/>
                  <a:pt x="5049" y="4367"/>
                  <a:pt x="5049" y="4377"/>
                </a:cubicBezTo>
                <a:cubicBezTo>
                  <a:pt x="5034" y="4382"/>
                  <a:pt x="5024" y="4391"/>
                  <a:pt x="5015" y="4398"/>
                </a:cubicBezTo>
                <a:cubicBezTo>
                  <a:pt x="5010" y="4403"/>
                  <a:pt x="5006" y="4405"/>
                  <a:pt x="5003" y="4407"/>
                </a:cubicBezTo>
                <a:lnTo>
                  <a:pt x="5027" y="4277"/>
                </a:lnTo>
                <a:cubicBezTo>
                  <a:pt x="5035" y="4290"/>
                  <a:pt x="5044" y="4301"/>
                  <a:pt x="5055" y="4301"/>
                </a:cubicBezTo>
                <a:cubicBezTo>
                  <a:pt x="5082" y="4301"/>
                  <a:pt x="5104" y="4257"/>
                  <a:pt x="5104" y="4203"/>
                </a:cubicBezTo>
                <a:cubicBezTo>
                  <a:pt x="5104" y="4150"/>
                  <a:pt x="5084" y="4109"/>
                  <a:pt x="5058" y="4106"/>
                </a:cubicBezTo>
                <a:lnTo>
                  <a:pt x="5101" y="3869"/>
                </a:lnTo>
                <a:cubicBezTo>
                  <a:pt x="5101" y="3869"/>
                  <a:pt x="5122" y="3758"/>
                  <a:pt x="5122" y="3758"/>
                </a:cubicBezTo>
                <a:close/>
                <a:moveTo>
                  <a:pt x="18812" y="3768"/>
                </a:moveTo>
                <a:cubicBezTo>
                  <a:pt x="18772" y="3768"/>
                  <a:pt x="18738" y="3834"/>
                  <a:pt x="18739" y="3916"/>
                </a:cubicBezTo>
                <a:cubicBezTo>
                  <a:pt x="18739" y="3998"/>
                  <a:pt x="18772" y="4064"/>
                  <a:pt x="18812" y="4064"/>
                </a:cubicBezTo>
                <a:cubicBezTo>
                  <a:pt x="18853" y="4064"/>
                  <a:pt x="18886" y="3998"/>
                  <a:pt x="18886" y="3916"/>
                </a:cubicBezTo>
                <a:cubicBezTo>
                  <a:pt x="18886" y="3834"/>
                  <a:pt x="18853" y="3768"/>
                  <a:pt x="18812" y="3768"/>
                </a:cubicBezTo>
                <a:close/>
                <a:moveTo>
                  <a:pt x="310" y="3793"/>
                </a:moveTo>
                <a:lnTo>
                  <a:pt x="820" y="4354"/>
                </a:lnTo>
                <a:cubicBezTo>
                  <a:pt x="820" y="4356"/>
                  <a:pt x="819" y="4358"/>
                  <a:pt x="819" y="4360"/>
                </a:cubicBezTo>
                <a:cubicBezTo>
                  <a:pt x="819" y="4378"/>
                  <a:pt x="826" y="4394"/>
                  <a:pt x="835" y="4394"/>
                </a:cubicBezTo>
                <a:cubicBezTo>
                  <a:pt x="840" y="4394"/>
                  <a:pt x="843" y="4389"/>
                  <a:pt x="846" y="4383"/>
                </a:cubicBezTo>
                <a:lnTo>
                  <a:pt x="849" y="4387"/>
                </a:lnTo>
                <a:lnTo>
                  <a:pt x="1015" y="4569"/>
                </a:lnTo>
                <a:cubicBezTo>
                  <a:pt x="1009" y="4580"/>
                  <a:pt x="1005" y="4597"/>
                  <a:pt x="1005" y="4615"/>
                </a:cubicBezTo>
                <a:cubicBezTo>
                  <a:pt x="1005" y="4650"/>
                  <a:pt x="1020" y="4678"/>
                  <a:pt x="1037" y="4678"/>
                </a:cubicBezTo>
                <a:cubicBezTo>
                  <a:pt x="1053" y="4678"/>
                  <a:pt x="1063" y="4655"/>
                  <a:pt x="1066" y="4626"/>
                </a:cubicBezTo>
                <a:lnTo>
                  <a:pt x="1430" y="5026"/>
                </a:lnTo>
                <a:cubicBezTo>
                  <a:pt x="1421" y="5043"/>
                  <a:pt x="1414" y="5067"/>
                  <a:pt x="1414" y="5094"/>
                </a:cubicBezTo>
                <a:cubicBezTo>
                  <a:pt x="1414" y="5147"/>
                  <a:pt x="1436" y="5190"/>
                  <a:pt x="1462" y="5190"/>
                </a:cubicBezTo>
                <a:cubicBezTo>
                  <a:pt x="1486" y="5190"/>
                  <a:pt x="1503" y="5154"/>
                  <a:pt x="1507" y="5110"/>
                </a:cubicBezTo>
                <a:lnTo>
                  <a:pt x="1608" y="5220"/>
                </a:lnTo>
                <a:lnTo>
                  <a:pt x="1608" y="5223"/>
                </a:lnTo>
                <a:cubicBezTo>
                  <a:pt x="1601" y="5235"/>
                  <a:pt x="1595" y="5250"/>
                  <a:pt x="1591" y="5267"/>
                </a:cubicBezTo>
                <a:cubicBezTo>
                  <a:pt x="1571" y="5270"/>
                  <a:pt x="1188" y="5333"/>
                  <a:pt x="819" y="5394"/>
                </a:cubicBezTo>
                <a:cubicBezTo>
                  <a:pt x="811" y="5383"/>
                  <a:pt x="803" y="5372"/>
                  <a:pt x="792" y="5372"/>
                </a:cubicBezTo>
                <a:cubicBezTo>
                  <a:pt x="778" y="5372"/>
                  <a:pt x="766" y="5385"/>
                  <a:pt x="757" y="5405"/>
                </a:cubicBezTo>
                <a:cubicBezTo>
                  <a:pt x="667" y="5419"/>
                  <a:pt x="621" y="5427"/>
                  <a:pt x="559" y="5437"/>
                </a:cubicBezTo>
                <a:cubicBezTo>
                  <a:pt x="553" y="5421"/>
                  <a:pt x="545" y="5409"/>
                  <a:pt x="535" y="5409"/>
                </a:cubicBezTo>
                <a:cubicBezTo>
                  <a:pt x="523" y="5409"/>
                  <a:pt x="514" y="5425"/>
                  <a:pt x="509" y="5445"/>
                </a:cubicBezTo>
                <a:cubicBezTo>
                  <a:pt x="453" y="5454"/>
                  <a:pt x="302" y="5479"/>
                  <a:pt x="302" y="5479"/>
                </a:cubicBezTo>
                <a:lnTo>
                  <a:pt x="302" y="5273"/>
                </a:lnTo>
                <a:cubicBezTo>
                  <a:pt x="304" y="5282"/>
                  <a:pt x="309" y="5289"/>
                  <a:pt x="314" y="5289"/>
                </a:cubicBezTo>
                <a:cubicBezTo>
                  <a:pt x="323" y="5289"/>
                  <a:pt x="331" y="5274"/>
                  <a:pt x="331" y="5255"/>
                </a:cubicBezTo>
                <a:cubicBezTo>
                  <a:pt x="331" y="5237"/>
                  <a:pt x="323" y="5223"/>
                  <a:pt x="314" y="5223"/>
                </a:cubicBezTo>
                <a:cubicBezTo>
                  <a:pt x="309" y="5223"/>
                  <a:pt x="304" y="5229"/>
                  <a:pt x="302" y="5238"/>
                </a:cubicBezTo>
                <a:lnTo>
                  <a:pt x="302" y="5108"/>
                </a:lnTo>
                <a:cubicBezTo>
                  <a:pt x="320" y="5095"/>
                  <a:pt x="360" y="5064"/>
                  <a:pt x="393" y="5027"/>
                </a:cubicBezTo>
                <a:cubicBezTo>
                  <a:pt x="395" y="5076"/>
                  <a:pt x="414" y="5115"/>
                  <a:pt x="439" y="5115"/>
                </a:cubicBezTo>
                <a:cubicBezTo>
                  <a:pt x="465" y="5115"/>
                  <a:pt x="486" y="5073"/>
                  <a:pt x="486" y="5020"/>
                </a:cubicBezTo>
                <a:cubicBezTo>
                  <a:pt x="486" y="4970"/>
                  <a:pt x="467" y="4932"/>
                  <a:pt x="443" y="4928"/>
                </a:cubicBezTo>
                <a:cubicBezTo>
                  <a:pt x="443" y="4927"/>
                  <a:pt x="443" y="4927"/>
                  <a:pt x="443" y="4927"/>
                </a:cubicBezTo>
                <a:cubicBezTo>
                  <a:pt x="443" y="4903"/>
                  <a:pt x="435" y="4879"/>
                  <a:pt x="423" y="4851"/>
                </a:cubicBezTo>
                <a:cubicBezTo>
                  <a:pt x="426" y="4851"/>
                  <a:pt x="429" y="4849"/>
                  <a:pt x="432" y="4846"/>
                </a:cubicBezTo>
                <a:cubicBezTo>
                  <a:pt x="436" y="4841"/>
                  <a:pt x="439" y="4831"/>
                  <a:pt x="439" y="4820"/>
                </a:cubicBezTo>
                <a:lnTo>
                  <a:pt x="439" y="4756"/>
                </a:lnTo>
                <a:cubicBezTo>
                  <a:pt x="439" y="4741"/>
                  <a:pt x="434" y="4729"/>
                  <a:pt x="426" y="4727"/>
                </a:cubicBezTo>
                <a:cubicBezTo>
                  <a:pt x="412" y="4724"/>
                  <a:pt x="407" y="4725"/>
                  <a:pt x="401" y="4726"/>
                </a:cubicBezTo>
                <a:cubicBezTo>
                  <a:pt x="399" y="4726"/>
                  <a:pt x="396" y="4727"/>
                  <a:pt x="392" y="4727"/>
                </a:cubicBezTo>
                <a:cubicBezTo>
                  <a:pt x="372" y="4727"/>
                  <a:pt x="357" y="4747"/>
                  <a:pt x="345" y="4765"/>
                </a:cubicBezTo>
                <a:cubicBezTo>
                  <a:pt x="331" y="4783"/>
                  <a:pt x="320" y="4799"/>
                  <a:pt x="302" y="4799"/>
                </a:cubicBezTo>
                <a:lnTo>
                  <a:pt x="302" y="4513"/>
                </a:lnTo>
                <a:cubicBezTo>
                  <a:pt x="308" y="4512"/>
                  <a:pt x="315" y="4510"/>
                  <a:pt x="322" y="4510"/>
                </a:cubicBezTo>
                <a:cubicBezTo>
                  <a:pt x="333" y="4510"/>
                  <a:pt x="340" y="4512"/>
                  <a:pt x="346" y="4514"/>
                </a:cubicBezTo>
                <a:cubicBezTo>
                  <a:pt x="359" y="4517"/>
                  <a:pt x="370" y="4517"/>
                  <a:pt x="385" y="4509"/>
                </a:cubicBezTo>
                <a:cubicBezTo>
                  <a:pt x="389" y="4507"/>
                  <a:pt x="393" y="4502"/>
                  <a:pt x="395" y="4495"/>
                </a:cubicBezTo>
                <a:cubicBezTo>
                  <a:pt x="397" y="4488"/>
                  <a:pt x="398" y="4480"/>
                  <a:pt x="396" y="4472"/>
                </a:cubicBezTo>
                <a:cubicBezTo>
                  <a:pt x="378" y="4356"/>
                  <a:pt x="343" y="4321"/>
                  <a:pt x="302" y="4285"/>
                </a:cubicBezTo>
                <a:lnTo>
                  <a:pt x="302" y="3821"/>
                </a:lnTo>
                <a:cubicBezTo>
                  <a:pt x="306" y="3814"/>
                  <a:pt x="307" y="3804"/>
                  <a:pt x="310" y="3793"/>
                </a:cubicBezTo>
                <a:close/>
                <a:moveTo>
                  <a:pt x="2469" y="3805"/>
                </a:moveTo>
                <a:cubicBezTo>
                  <a:pt x="2442" y="3805"/>
                  <a:pt x="2419" y="3850"/>
                  <a:pt x="2419" y="3904"/>
                </a:cubicBezTo>
                <a:cubicBezTo>
                  <a:pt x="2419" y="3959"/>
                  <a:pt x="2442" y="4002"/>
                  <a:pt x="2469" y="4002"/>
                </a:cubicBezTo>
                <a:cubicBezTo>
                  <a:pt x="2496" y="4002"/>
                  <a:pt x="2518" y="3959"/>
                  <a:pt x="2518" y="3904"/>
                </a:cubicBezTo>
                <a:cubicBezTo>
                  <a:pt x="2518" y="3850"/>
                  <a:pt x="2496" y="3805"/>
                  <a:pt x="2469" y="3805"/>
                </a:cubicBezTo>
                <a:close/>
                <a:moveTo>
                  <a:pt x="16633" y="3805"/>
                </a:moveTo>
                <a:cubicBezTo>
                  <a:pt x="16614" y="3805"/>
                  <a:pt x="16599" y="3836"/>
                  <a:pt x="16599" y="3874"/>
                </a:cubicBezTo>
                <a:cubicBezTo>
                  <a:pt x="16599" y="3912"/>
                  <a:pt x="16614" y="3941"/>
                  <a:pt x="16633" y="3941"/>
                </a:cubicBezTo>
                <a:cubicBezTo>
                  <a:pt x="16652" y="3941"/>
                  <a:pt x="16667" y="3912"/>
                  <a:pt x="16667" y="3874"/>
                </a:cubicBezTo>
                <a:cubicBezTo>
                  <a:pt x="16667" y="3836"/>
                  <a:pt x="16652" y="3805"/>
                  <a:pt x="16633" y="3805"/>
                </a:cubicBezTo>
                <a:close/>
                <a:moveTo>
                  <a:pt x="20357" y="3811"/>
                </a:moveTo>
                <a:cubicBezTo>
                  <a:pt x="20357" y="3811"/>
                  <a:pt x="20357" y="3812"/>
                  <a:pt x="20357" y="3812"/>
                </a:cubicBezTo>
                <a:cubicBezTo>
                  <a:pt x="20357" y="3812"/>
                  <a:pt x="20357" y="4069"/>
                  <a:pt x="20357" y="4218"/>
                </a:cubicBezTo>
                <a:cubicBezTo>
                  <a:pt x="20356" y="4218"/>
                  <a:pt x="20356" y="4215"/>
                  <a:pt x="20354" y="4215"/>
                </a:cubicBezTo>
                <a:cubicBezTo>
                  <a:pt x="20336" y="4215"/>
                  <a:pt x="20320" y="4247"/>
                  <a:pt x="20320" y="4284"/>
                </a:cubicBezTo>
                <a:cubicBezTo>
                  <a:pt x="20320" y="4322"/>
                  <a:pt x="20336" y="4352"/>
                  <a:pt x="20354" y="4352"/>
                </a:cubicBezTo>
                <a:cubicBezTo>
                  <a:pt x="20356" y="4352"/>
                  <a:pt x="20356" y="4350"/>
                  <a:pt x="20357" y="4350"/>
                </a:cubicBezTo>
                <a:cubicBezTo>
                  <a:pt x="20357" y="4472"/>
                  <a:pt x="20357" y="4491"/>
                  <a:pt x="20357" y="4632"/>
                </a:cubicBezTo>
                <a:cubicBezTo>
                  <a:pt x="20355" y="4631"/>
                  <a:pt x="20354" y="4626"/>
                  <a:pt x="20351" y="4626"/>
                </a:cubicBezTo>
                <a:cubicBezTo>
                  <a:pt x="20324" y="4626"/>
                  <a:pt x="20302" y="4670"/>
                  <a:pt x="20302" y="4725"/>
                </a:cubicBezTo>
                <a:cubicBezTo>
                  <a:pt x="20302" y="4779"/>
                  <a:pt x="20324" y="4823"/>
                  <a:pt x="20351" y="4823"/>
                </a:cubicBezTo>
                <a:cubicBezTo>
                  <a:pt x="20353" y="4823"/>
                  <a:pt x="20355" y="4819"/>
                  <a:pt x="20357" y="4818"/>
                </a:cubicBezTo>
                <a:cubicBezTo>
                  <a:pt x="20357" y="5019"/>
                  <a:pt x="20357" y="5128"/>
                  <a:pt x="20357" y="5235"/>
                </a:cubicBezTo>
                <a:cubicBezTo>
                  <a:pt x="20347" y="5247"/>
                  <a:pt x="20339" y="5266"/>
                  <a:pt x="20339" y="5291"/>
                </a:cubicBezTo>
                <a:cubicBezTo>
                  <a:pt x="20339" y="5317"/>
                  <a:pt x="20347" y="5335"/>
                  <a:pt x="20357" y="5346"/>
                </a:cubicBezTo>
                <a:cubicBezTo>
                  <a:pt x="20357" y="5369"/>
                  <a:pt x="20357" y="5492"/>
                  <a:pt x="20357" y="5492"/>
                </a:cubicBezTo>
                <a:lnTo>
                  <a:pt x="20263" y="5522"/>
                </a:lnTo>
                <a:cubicBezTo>
                  <a:pt x="20231" y="5491"/>
                  <a:pt x="20192" y="5453"/>
                  <a:pt x="20147" y="5453"/>
                </a:cubicBezTo>
                <a:cubicBezTo>
                  <a:pt x="20131" y="5453"/>
                  <a:pt x="20115" y="5460"/>
                  <a:pt x="20100" y="5470"/>
                </a:cubicBezTo>
                <a:cubicBezTo>
                  <a:pt x="20094" y="5456"/>
                  <a:pt x="20085" y="5446"/>
                  <a:pt x="20075" y="5446"/>
                </a:cubicBezTo>
                <a:cubicBezTo>
                  <a:pt x="20057" y="5446"/>
                  <a:pt x="20041" y="5478"/>
                  <a:pt x="20041" y="5515"/>
                </a:cubicBezTo>
                <a:cubicBezTo>
                  <a:pt x="20041" y="5523"/>
                  <a:pt x="20044" y="5527"/>
                  <a:pt x="20045" y="5534"/>
                </a:cubicBezTo>
                <a:cubicBezTo>
                  <a:pt x="20030" y="5556"/>
                  <a:pt x="20015" y="5573"/>
                  <a:pt x="20001" y="5605"/>
                </a:cubicBezTo>
                <a:lnTo>
                  <a:pt x="19975" y="5613"/>
                </a:lnTo>
                <a:lnTo>
                  <a:pt x="19764" y="5680"/>
                </a:lnTo>
                <a:cubicBezTo>
                  <a:pt x="19767" y="5671"/>
                  <a:pt x="19770" y="5662"/>
                  <a:pt x="19773" y="5653"/>
                </a:cubicBezTo>
                <a:cubicBezTo>
                  <a:pt x="19783" y="5622"/>
                  <a:pt x="19793" y="5592"/>
                  <a:pt x="19803" y="5563"/>
                </a:cubicBezTo>
                <a:cubicBezTo>
                  <a:pt x="19822" y="5507"/>
                  <a:pt x="19845" y="5495"/>
                  <a:pt x="19874" y="5480"/>
                </a:cubicBezTo>
                <a:cubicBezTo>
                  <a:pt x="19896" y="5469"/>
                  <a:pt x="19921" y="5457"/>
                  <a:pt x="19947" y="5423"/>
                </a:cubicBezTo>
                <a:cubicBezTo>
                  <a:pt x="19970" y="5393"/>
                  <a:pt x="19981" y="5366"/>
                  <a:pt x="19996" y="5338"/>
                </a:cubicBezTo>
                <a:cubicBezTo>
                  <a:pt x="20012" y="5354"/>
                  <a:pt x="20030" y="5365"/>
                  <a:pt x="20049" y="5365"/>
                </a:cubicBezTo>
                <a:cubicBezTo>
                  <a:pt x="20114" y="5365"/>
                  <a:pt x="20168" y="5258"/>
                  <a:pt x="20168" y="5126"/>
                </a:cubicBezTo>
                <a:cubicBezTo>
                  <a:pt x="20168" y="4994"/>
                  <a:pt x="20114" y="4887"/>
                  <a:pt x="20049" y="4887"/>
                </a:cubicBezTo>
                <a:cubicBezTo>
                  <a:pt x="19983" y="4887"/>
                  <a:pt x="19929" y="4994"/>
                  <a:pt x="19929" y="5126"/>
                </a:cubicBezTo>
                <a:cubicBezTo>
                  <a:pt x="19929" y="5133"/>
                  <a:pt x="19931" y="5139"/>
                  <a:pt x="19931" y="5146"/>
                </a:cubicBezTo>
                <a:cubicBezTo>
                  <a:pt x="19840" y="5358"/>
                  <a:pt x="19801" y="5386"/>
                  <a:pt x="19792" y="5386"/>
                </a:cubicBezTo>
                <a:cubicBezTo>
                  <a:pt x="19789" y="5386"/>
                  <a:pt x="19787" y="5386"/>
                  <a:pt x="19786" y="5377"/>
                </a:cubicBezTo>
                <a:cubicBezTo>
                  <a:pt x="19781" y="5346"/>
                  <a:pt x="19790" y="5287"/>
                  <a:pt x="19800" y="5273"/>
                </a:cubicBezTo>
                <a:cubicBezTo>
                  <a:pt x="19805" y="5265"/>
                  <a:pt x="19806" y="5253"/>
                  <a:pt x="19805" y="5241"/>
                </a:cubicBezTo>
                <a:cubicBezTo>
                  <a:pt x="19804" y="5236"/>
                  <a:pt x="19803" y="5231"/>
                  <a:pt x="19801" y="5227"/>
                </a:cubicBezTo>
                <a:lnTo>
                  <a:pt x="19809" y="5206"/>
                </a:lnTo>
                <a:lnTo>
                  <a:pt x="19984" y="4761"/>
                </a:lnTo>
                <a:cubicBezTo>
                  <a:pt x="20002" y="4759"/>
                  <a:pt x="20016" y="4731"/>
                  <a:pt x="20016" y="4695"/>
                </a:cubicBezTo>
                <a:cubicBezTo>
                  <a:pt x="20016" y="4690"/>
                  <a:pt x="20014" y="4688"/>
                  <a:pt x="20014" y="4684"/>
                </a:cubicBezTo>
                <a:lnTo>
                  <a:pt x="20104" y="4456"/>
                </a:lnTo>
                <a:cubicBezTo>
                  <a:pt x="20117" y="4447"/>
                  <a:pt x="20128" y="4426"/>
                  <a:pt x="20128" y="4396"/>
                </a:cubicBezTo>
                <a:cubicBezTo>
                  <a:pt x="20128" y="4396"/>
                  <a:pt x="20128" y="4395"/>
                  <a:pt x="20128" y="4395"/>
                </a:cubicBezTo>
                <a:lnTo>
                  <a:pt x="20235" y="4121"/>
                </a:lnTo>
                <a:cubicBezTo>
                  <a:pt x="20238" y="4123"/>
                  <a:pt x="20240" y="4128"/>
                  <a:pt x="20243" y="4128"/>
                </a:cubicBezTo>
                <a:cubicBezTo>
                  <a:pt x="20262" y="4128"/>
                  <a:pt x="20277" y="4098"/>
                  <a:pt x="20277" y="4060"/>
                </a:cubicBezTo>
                <a:cubicBezTo>
                  <a:pt x="20277" y="4049"/>
                  <a:pt x="20273" y="4040"/>
                  <a:pt x="20271" y="4030"/>
                </a:cubicBezTo>
                <a:lnTo>
                  <a:pt x="20357" y="3811"/>
                </a:lnTo>
                <a:close/>
                <a:moveTo>
                  <a:pt x="1937" y="3823"/>
                </a:moveTo>
                <a:cubicBezTo>
                  <a:pt x="1937" y="3825"/>
                  <a:pt x="1936" y="3827"/>
                  <a:pt x="1936" y="3830"/>
                </a:cubicBezTo>
                <a:cubicBezTo>
                  <a:pt x="1936" y="3884"/>
                  <a:pt x="1958" y="3928"/>
                  <a:pt x="1985" y="3928"/>
                </a:cubicBezTo>
                <a:cubicBezTo>
                  <a:pt x="2011" y="3928"/>
                  <a:pt x="2031" y="3887"/>
                  <a:pt x="2033" y="3835"/>
                </a:cubicBezTo>
                <a:lnTo>
                  <a:pt x="2238" y="4070"/>
                </a:lnTo>
                <a:cubicBezTo>
                  <a:pt x="2237" y="4077"/>
                  <a:pt x="2233" y="4082"/>
                  <a:pt x="2233" y="4091"/>
                </a:cubicBezTo>
                <a:cubicBezTo>
                  <a:pt x="2233" y="4145"/>
                  <a:pt x="2255" y="4189"/>
                  <a:pt x="2283" y="4189"/>
                </a:cubicBezTo>
                <a:cubicBezTo>
                  <a:pt x="2296" y="4189"/>
                  <a:pt x="2308" y="4178"/>
                  <a:pt x="2317" y="4161"/>
                </a:cubicBezTo>
                <a:lnTo>
                  <a:pt x="2368" y="4218"/>
                </a:lnTo>
                <a:cubicBezTo>
                  <a:pt x="2355" y="4221"/>
                  <a:pt x="2345" y="4241"/>
                  <a:pt x="2345" y="4267"/>
                </a:cubicBezTo>
                <a:cubicBezTo>
                  <a:pt x="2345" y="4295"/>
                  <a:pt x="2356" y="4318"/>
                  <a:pt x="2370" y="4318"/>
                </a:cubicBezTo>
                <a:cubicBezTo>
                  <a:pt x="2385" y="4318"/>
                  <a:pt x="2396" y="4295"/>
                  <a:pt x="2396" y="4267"/>
                </a:cubicBezTo>
                <a:cubicBezTo>
                  <a:pt x="2396" y="4259"/>
                  <a:pt x="2394" y="4253"/>
                  <a:pt x="2392" y="4246"/>
                </a:cubicBezTo>
                <a:lnTo>
                  <a:pt x="2671" y="4565"/>
                </a:lnTo>
                <a:cubicBezTo>
                  <a:pt x="2665" y="4575"/>
                  <a:pt x="2661" y="4587"/>
                  <a:pt x="2661" y="4602"/>
                </a:cubicBezTo>
                <a:cubicBezTo>
                  <a:pt x="2661" y="4631"/>
                  <a:pt x="2673" y="4654"/>
                  <a:pt x="2687" y="4654"/>
                </a:cubicBezTo>
                <a:cubicBezTo>
                  <a:pt x="2699" y="4654"/>
                  <a:pt x="2708" y="4634"/>
                  <a:pt x="2711" y="4611"/>
                </a:cubicBezTo>
                <a:lnTo>
                  <a:pt x="2749" y="4655"/>
                </a:lnTo>
                <a:lnTo>
                  <a:pt x="3303" y="5280"/>
                </a:lnTo>
                <a:cubicBezTo>
                  <a:pt x="3302" y="5283"/>
                  <a:pt x="3301" y="5287"/>
                  <a:pt x="3300" y="5290"/>
                </a:cubicBezTo>
                <a:lnTo>
                  <a:pt x="3172" y="5287"/>
                </a:lnTo>
                <a:lnTo>
                  <a:pt x="2814" y="5277"/>
                </a:lnTo>
                <a:cubicBezTo>
                  <a:pt x="2812" y="5227"/>
                  <a:pt x="2792" y="5185"/>
                  <a:pt x="2766" y="5185"/>
                </a:cubicBezTo>
                <a:cubicBezTo>
                  <a:pt x="2741" y="5185"/>
                  <a:pt x="2721" y="5226"/>
                  <a:pt x="2719" y="5275"/>
                </a:cubicBezTo>
                <a:lnTo>
                  <a:pt x="2466" y="5269"/>
                </a:lnTo>
                <a:cubicBezTo>
                  <a:pt x="2454" y="5220"/>
                  <a:pt x="2429" y="5185"/>
                  <a:pt x="2400" y="5185"/>
                </a:cubicBezTo>
                <a:cubicBezTo>
                  <a:pt x="2372" y="5185"/>
                  <a:pt x="2348" y="5219"/>
                  <a:pt x="2336" y="5266"/>
                </a:cubicBezTo>
                <a:lnTo>
                  <a:pt x="2091" y="5260"/>
                </a:lnTo>
                <a:cubicBezTo>
                  <a:pt x="2078" y="5216"/>
                  <a:pt x="2055" y="5185"/>
                  <a:pt x="2028" y="5185"/>
                </a:cubicBezTo>
                <a:cubicBezTo>
                  <a:pt x="2002" y="5185"/>
                  <a:pt x="1979" y="5215"/>
                  <a:pt x="1966" y="5256"/>
                </a:cubicBezTo>
                <a:lnTo>
                  <a:pt x="1716" y="5251"/>
                </a:lnTo>
                <a:cubicBezTo>
                  <a:pt x="1713" y="5243"/>
                  <a:pt x="1710" y="5234"/>
                  <a:pt x="1707" y="5227"/>
                </a:cubicBezTo>
                <a:lnTo>
                  <a:pt x="1692" y="4688"/>
                </a:lnTo>
                <a:lnTo>
                  <a:pt x="1672" y="3908"/>
                </a:lnTo>
                <a:cubicBezTo>
                  <a:pt x="1692" y="3898"/>
                  <a:pt x="1709" y="3874"/>
                  <a:pt x="1719" y="3839"/>
                </a:cubicBezTo>
                <a:cubicBezTo>
                  <a:pt x="1800" y="3911"/>
                  <a:pt x="1879" y="3924"/>
                  <a:pt x="1913" y="3924"/>
                </a:cubicBezTo>
                <a:cubicBezTo>
                  <a:pt x="1924" y="3924"/>
                  <a:pt x="1928" y="3909"/>
                  <a:pt x="1929" y="3904"/>
                </a:cubicBezTo>
                <a:cubicBezTo>
                  <a:pt x="1934" y="3884"/>
                  <a:pt x="1927" y="3868"/>
                  <a:pt x="1922" y="3856"/>
                </a:cubicBezTo>
                <a:cubicBezTo>
                  <a:pt x="1919" y="3851"/>
                  <a:pt x="1914" y="3837"/>
                  <a:pt x="1913" y="3835"/>
                </a:cubicBezTo>
                <a:cubicBezTo>
                  <a:pt x="1913" y="3835"/>
                  <a:pt x="1921" y="3829"/>
                  <a:pt x="1937" y="3823"/>
                </a:cubicBezTo>
                <a:close/>
                <a:moveTo>
                  <a:pt x="20419" y="3823"/>
                </a:moveTo>
                <a:lnTo>
                  <a:pt x="20546" y="3962"/>
                </a:lnTo>
                <a:cubicBezTo>
                  <a:pt x="20533" y="3989"/>
                  <a:pt x="20525" y="4025"/>
                  <a:pt x="20525" y="4065"/>
                </a:cubicBezTo>
                <a:cubicBezTo>
                  <a:pt x="20525" y="4147"/>
                  <a:pt x="20558" y="4213"/>
                  <a:pt x="20599" y="4213"/>
                </a:cubicBezTo>
                <a:cubicBezTo>
                  <a:pt x="20634" y="4213"/>
                  <a:pt x="20661" y="4163"/>
                  <a:pt x="20669" y="4098"/>
                </a:cubicBezTo>
                <a:lnTo>
                  <a:pt x="20844" y="4290"/>
                </a:lnTo>
                <a:cubicBezTo>
                  <a:pt x="20831" y="4327"/>
                  <a:pt x="20823" y="4369"/>
                  <a:pt x="20823" y="4417"/>
                </a:cubicBezTo>
                <a:cubicBezTo>
                  <a:pt x="20823" y="4512"/>
                  <a:pt x="20851" y="4593"/>
                  <a:pt x="20891" y="4632"/>
                </a:cubicBezTo>
                <a:cubicBezTo>
                  <a:pt x="20866" y="4663"/>
                  <a:pt x="20846" y="4704"/>
                  <a:pt x="20846" y="4782"/>
                </a:cubicBezTo>
                <a:cubicBezTo>
                  <a:pt x="20846" y="4812"/>
                  <a:pt x="20860" y="4838"/>
                  <a:pt x="20888" y="4885"/>
                </a:cubicBezTo>
                <a:cubicBezTo>
                  <a:pt x="20908" y="4919"/>
                  <a:pt x="20946" y="4984"/>
                  <a:pt x="20941" y="5013"/>
                </a:cubicBezTo>
                <a:cubicBezTo>
                  <a:pt x="20940" y="5018"/>
                  <a:pt x="20933" y="5030"/>
                  <a:pt x="20918" y="5041"/>
                </a:cubicBezTo>
                <a:cubicBezTo>
                  <a:pt x="20916" y="5040"/>
                  <a:pt x="20915" y="5036"/>
                  <a:pt x="20913" y="5036"/>
                </a:cubicBezTo>
                <a:cubicBezTo>
                  <a:pt x="20907" y="5036"/>
                  <a:pt x="20903" y="5043"/>
                  <a:pt x="20898" y="5048"/>
                </a:cubicBezTo>
                <a:cubicBezTo>
                  <a:pt x="20877" y="5058"/>
                  <a:pt x="20850" y="5068"/>
                  <a:pt x="20797" y="5070"/>
                </a:cubicBezTo>
                <a:cubicBezTo>
                  <a:pt x="20744" y="5072"/>
                  <a:pt x="20696" y="5124"/>
                  <a:pt x="20648" y="5188"/>
                </a:cubicBezTo>
                <a:cubicBezTo>
                  <a:pt x="20639" y="5165"/>
                  <a:pt x="20627" y="5148"/>
                  <a:pt x="20612" y="5148"/>
                </a:cubicBezTo>
                <a:cubicBezTo>
                  <a:pt x="20584" y="5148"/>
                  <a:pt x="20562" y="5193"/>
                  <a:pt x="20562" y="5247"/>
                </a:cubicBezTo>
                <a:cubicBezTo>
                  <a:pt x="20562" y="5266"/>
                  <a:pt x="20567" y="5280"/>
                  <a:pt x="20572" y="5295"/>
                </a:cubicBezTo>
                <a:cubicBezTo>
                  <a:pt x="20569" y="5300"/>
                  <a:pt x="20565" y="5304"/>
                  <a:pt x="20562" y="5309"/>
                </a:cubicBezTo>
                <a:cubicBezTo>
                  <a:pt x="20525" y="5366"/>
                  <a:pt x="20488" y="5426"/>
                  <a:pt x="20449" y="5472"/>
                </a:cubicBezTo>
                <a:lnTo>
                  <a:pt x="20387" y="5481"/>
                </a:lnTo>
                <a:lnTo>
                  <a:pt x="20387" y="5347"/>
                </a:lnTo>
                <a:cubicBezTo>
                  <a:pt x="20398" y="5336"/>
                  <a:pt x="20407" y="5318"/>
                  <a:pt x="20407" y="5291"/>
                </a:cubicBezTo>
                <a:cubicBezTo>
                  <a:pt x="20407" y="5265"/>
                  <a:pt x="20398" y="5246"/>
                  <a:pt x="20387" y="5234"/>
                </a:cubicBezTo>
                <a:lnTo>
                  <a:pt x="20387" y="4787"/>
                </a:lnTo>
                <a:cubicBezTo>
                  <a:pt x="20394" y="4770"/>
                  <a:pt x="20400" y="4749"/>
                  <a:pt x="20400" y="4725"/>
                </a:cubicBezTo>
                <a:cubicBezTo>
                  <a:pt x="20400" y="4701"/>
                  <a:pt x="20394" y="4680"/>
                  <a:pt x="20387" y="4663"/>
                </a:cubicBezTo>
                <a:lnTo>
                  <a:pt x="20387" y="4290"/>
                </a:lnTo>
                <a:cubicBezTo>
                  <a:pt x="20387" y="4288"/>
                  <a:pt x="20388" y="4287"/>
                  <a:pt x="20388" y="4284"/>
                </a:cubicBezTo>
                <a:cubicBezTo>
                  <a:pt x="20388" y="4282"/>
                  <a:pt x="20387" y="4281"/>
                  <a:pt x="20387" y="4278"/>
                </a:cubicBezTo>
                <a:lnTo>
                  <a:pt x="20387" y="3842"/>
                </a:lnTo>
                <a:cubicBezTo>
                  <a:pt x="20391" y="3844"/>
                  <a:pt x="20394" y="3846"/>
                  <a:pt x="20397" y="3846"/>
                </a:cubicBezTo>
                <a:cubicBezTo>
                  <a:pt x="20401" y="3846"/>
                  <a:pt x="20412" y="3843"/>
                  <a:pt x="20419" y="3823"/>
                </a:cubicBezTo>
                <a:close/>
                <a:moveTo>
                  <a:pt x="4172" y="3831"/>
                </a:moveTo>
                <a:lnTo>
                  <a:pt x="4313" y="3896"/>
                </a:lnTo>
                <a:lnTo>
                  <a:pt x="4271" y="3916"/>
                </a:lnTo>
                <a:cubicBezTo>
                  <a:pt x="4238" y="3898"/>
                  <a:pt x="4191" y="3865"/>
                  <a:pt x="4159" y="3840"/>
                </a:cubicBezTo>
                <a:cubicBezTo>
                  <a:pt x="4161" y="3840"/>
                  <a:pt x="4163" y="3839"/>
                  <a:pt x="4166" y="3838"/>
                </a:cubicBezTo>
                <a:cubicBezTo>
                  <a:pt x="4168" y="3836"/>
                  <a:pt x="4170" y="3833"/>
                  <a:pt x="4172" y="3831"/>
                </a:cubicBezTo>
                <a:close/>
                <a:moveTo>
                  <a:pt x="14221" y="3832"/>
                </a:moveTo>
                <a:cubicBezTo>
                  <a:pt x="14234" y="3874"/>
                  <a:pt x="14237" y="3897"/>
                  <a:pt x="14237" y="3905"/>
                </a:cubicBezTo>
                <a:cubicBezTo>
                  <a:pt x="14237" y="3905"/>
                  <a:pt x="14237" y="3905"/>
                  <a:pt x="14237" y="3905"/>
                </a:cubicBezTo>
                <a:cubicBezTo>
                  <a:pt x="14231" y="3905"/>
                  <a:pt x="14219" y="3893"/>
                  <a:pt x="14210" y="3887"/>
                </a:cubicBezTo>
                <a:cubicBezTo>
                  <a:pt x="14216" y="3871"/>
                  <a:pt x="14221" y="3853"/>
                  <a:pt x="14221" y="3832"/>
                </a:cubicBezTo>
                <a:close/>
                <a:moveTo>
                  <a:pt x="2907" y="3838"/>
                </a:moveTo>
                <a:cubicBezTo>
                  <a:pt x="2950" y="3881"/>
                  <a:pt x="2996" y="3920"/>
                  <a:pt x="3055" y="3911"/>
                </a:cubicBezTo>
                <a:cubicBezTo>
                  <a:pt x="3069" y="3909"/>
                  <a:pt x="3080" y="3906"/>
                  <a:pt x="3090" y="3904"/>
                </a:cubicBezTo>
                <a:cubicBezTo>
                  <a:pt x="3079" y="3922"/>
                  <a:pt x="3071" y="3947"/>
                  <a:pt x="3071" y="3979"/>
                </a:cubicBezTo>
                <a:cubicBezTo>
                  <a:pt x="3071" y="4033"/>
                  <a:pt x="3093" y="4077"/>
                  <a:pt x="3120" y="4077"/>
                </a:cubicBezTo>
                <a:cubicBezTo>
                  <a:pt x="3126" y="4077"/>
                  <a:pt x="3129" y="4069"/>
                  <a:pt x="3135" y="4065"/>
                </a:cubicBezTo>
                <a:cubicBezTo>
                  <a:pt x="3136" y="4081"/>
                  <a:pt x="3138" y="4098"/>
                  <a:pt x="3144" y="4109"/>
                </a:cubicBezTo>
                <a:cubicBezTo>
                  <a:pt x="3160" y="4137"/>
                  <a:pt x="3188" y="4148"/>
                  <a:pt x="3231" y="4144"/>
                </a:cubicBezTo>
                <a:cubicBezTo>
                  <a:pt x="3255" y="4142"/>
                  <a:pt x="3274" y="4133"/>
                  <a:pt x="3292" y="4123"/>
                </a:cubicBezTo>
                <a:cubicBezTo>
                  <a:pt x="3310" y="4114"/>
                  <a:pt x="3326" y="4106"/>
                  <a:pt x="3346" y="4106"/>
                </a:cubicBezTo>
                <a:lnTo>
                  <a:pt x="3479" y="4106"/>
                </a:lnTo>
                <a:lnTo>
                  <a:pt x="3508" y="4134"/>
                </a:lnTo>
                <a:cubicBezTo>
                  <a:pt x="3518" y="4144"/>
                  <a:pt x="3526" y="4165"/>
                  <a:pt x="3535" y="4186"/>
                </a:cubicBezTo>
                <a:cubicBezTo>
                  <a:pt x="3513" y="4198"/>
                  <a:pt x="3495" y="4228"/>
                  <a:pt x="3486" y="4269"/>
                </a:cubicBezTo>
                <a:lnTo>
                  <a:pt x="2775" y="4591"/>
                </a:lnTo>
                <a:lnTo>
                  <a:pt x="2804" y="4243"/>
                </a:lnTo>
                <a:cubicBezTo>
                  <a:pt x="2804" y="4243"/>
                  <a:pt x="2820" y="4041"/>
                  <a:pt x="2832" y="3905"/>
                </a:cubicBezTo>
                <a:cubicBezTo>
                  <a:pt x="2840" y="3917"/>
                  <a:pt x="2849" y="3928"/>
                  <a:pt x="2860" y="3928"/>
                </a:cubicBezTo>
                <a:cubicBezTo>
                  <a:pt x="2885" y="3928"/>
                  <a:pt x="2904" y="3888"/>
                  <a:pt x="2907" y="3838"/>
                </a:cubicBezTo>
                <a:close/>
                <a:moveTo>
                  <a:pt x="11020" y="3841"/>
                </a:moveTo>
                <a:cubicBezTo>
                  <a:pt x="11021" y="3842"/>
                  <a:pt x="11022" y="3844"/>
                  <a:pt x="11023" y="3845"/>
                </a:cubicBezTo>
                <a:cubicBezTo>
                  <a:pt x="11026" y="3849"/>
                  <a:pt x="11032" y="3854"/>
                  <a:pt x="11039" y="3854"/>
                </a:cubicBezTo>
                <a:cubicBezTo>
                  <a:pt x="11043" y="3854"/>
                  <a:pt x="11047" y="3851"/>
                  <a:pt x="11049" y="3846"/>
                </a:cubicBezTo>
                <a:cubicBezTo>
                  <a:pt x="11049" y="3852"/>
                  <a:pt x="11050" y="3857"/>
                  <a:pt x="11052" y="3862"/>
                </a:cubicBezTo>
                <a:cubicBezTo>
                  <a:pt x="11053" y="3867"/>
                  <a:pt x="11056" y="3872"/>
                  <a:pt x="11059" y="3874"/>
                </a:cubicBezTo>
                <a:cubicBezTo>
                  <a:pt x="11053" y="3879"/>
                  <a:pt x="11048" y="3883"/>
                  <a:pt x="11042" y="3888"/>
                </a:cubicBezTo>
                <a:cubicBezTo>
                  <a:pt x="11040" y="3890"/>
                  <a:pt x="11038" y="3892"/>
                  <a:pt x="11037" y="3894"/>
                </a:cubicBezTo>
                <a:cubicBezTo>
                  <a:pt x="11037" y="3891"/>
                  <a:pt x="11036" y="3888"/>
                  <a:pt x="11036" y="3886"/>
                </a:cubicBezTo>
                <a:cubicBezTo>
                  <a:pt x="11034" y="3872"/>
                  <a:pt x="11028" y="3863"/>
                  <a:pt x="11021" y="3863"/>
                </a:cubicBezTo>
                <a:cubicBezTo>
                  <a:pt x="11019" y="3863"/>
                  <a:pt x="11014" y="3861"/>
                  <a:pt x="11009" y="3859"/>
                </a:cubicBezTo>
                <a:cubicBezTo>
                  <a:pt x="11012" y="3847"/>
                  <a:pt x="11016" y="3841"/>
                  <a:pt x="11020" y="3841"/>
                </a:cubicBezTo>
                <a:close/>
                <a:moveTo>
                  <a:pt x="2618" y="3842"/>
                </a:moveTo>
                <a:cubicBezTo>
                  <a:pt x="2590" y="3842"/>
                  <a:pt x="2568" y="3887"/>
                  <a:pt x="2568" y="3941"/>
                </a:cubicBezTo>
                <a:cubicBezTo>
                  <a:pt x="2568" y="3996"/>
                  <a:pt x="2590" y="4039"/>
                  <a:pt x="2618" y="4039"/>
                </a:cubicBezTo>
                <a:cubicBezTo>
                  <a:pt x="2645" y="4039"/>
                  <a:pt x="2666" y="3996"/>
                  <a:pt x="2666" y="3941"/>
                </a:cubicBezTo>
                <a:cubicBezTo>
                  <a:pt x="2666" y="3887"/>
                  <a:pt x="2645" y="3842"/>
                  <a:pt x="2618" y="3842"/>
                </a:cubicBezTo>
                <a:close/>
                <a:moveTo>
                  <a:pt x="267" y="3844"/>
                </a:moveTo>
                <a:cubicBezTo>
                  <a:pt x="269" y="3844"/>
                  <a:pt x="270" y="3847"/>
                  <a:pt x="271" y="3847"/>
                </a:cubicBezTo>
                <a:cubicBezTo>
                  <a:pt x="271" y="3847"/>
                  <a:pt x="272" y="3847"/>
                  <a:pt x="272" y="3847"/>
                </a:cubicBezTo>
                <a:cubicBezTo>
                  <a:pt x="272" y="3873"/>
                  <a:pt x="272" y="4259"/>
                  <a:pt x="272" y="4259"/>
                </a:cubicBezTo>
                <a:cubicBezTo>
                  <a:pt x="271" y="4258"/>
                  <a:pt x="271" y="4258"/>
                  <a:pt x="271" y="4257"/>
                </a:cubicBezTo>
                <a:cubicBezTo>
                  <a:pt x="267" y="4246"/>
                  <a:pt x="262" y="4241"/>
                  <a:pt x="256" y="4234"/>
                </a:cubicBezTo>
                <a:cubicBezTo>
                  <a:pt x="251" y="4221"/>
                  <a:pt x="244" y="4202"/>
                  <a:pt x="238" y="4183"/>
                </a:cubicBezTo>
                <a:cubicBezTo>
                  <a:pt x="225" y="4139"/>
                  <a:pt x="213" y="4098"/>
                  <a:pt x="199" y="4081"/>
                </a:cubicBezTo>
                <a:cubicBezTo>
                  <a:pt x="192" y="4074"/>
                  <a:pt x="184" y="4067"/>
                  <a:pt x="173" y="4059"/>
                </a:cubicBezTo>
                <a:lnTo>
                  <a:pt x="226" y="3924"/>
                </a:lnTo>
                <a:lnTo>
                  <a:pt x="227" y="3924"/>
                </a:lnTo>
                <a:cubicBezTo>
                  <a:pt x="232" y="3924"/>
                  <a:pt x="236" y="3920"/>
                  <a:pt x="239" y="3912"/>
                </a:cubicBezTo>
                <a:cubicBezTo>
                  <a:pt x="248" y="3889"/>
                  <a:pt x="257" y="3866"/>
                  <a:pt x="267" y="3844"/>
                </a:cubicBezTo>
                <a:close/>
                <a:moveTo>
                  <a:pt x="5520" y="3849"/>
                </a:moveTo>
                <a:cubicBezTo>
                  <a:pt x="5517" y="3858"/>
                  <a:pt x="5515" y="3868"/>
                  <a:pt x="5513" y="3879"/>
                </a:cubicBezTo>
                <a:cubicBezTo>
                  <a:pt x="5511" y="3880"/>
                  <a:pt x="5509" y="3884"/>
                  <a:pt x="5506" y="3884"/>
                </a:cubicBezTo>
                <a:cubicBezTo>
                  <a:pt x="5504" y="3878"/>
                  <a:pt x="5502" y="3867"/>
                  <a:pt x="5501" y="3865"/>
                </a:cubicBezTo>
                <a:cubicBezTo>
                  <a:pt x="5501" y="3864"/>
                  <a:pt x="5506" y="3857"/>
                  <a:pt x="5520" y="3849"/>
                </a:cubicBezTo>
                <a:close/>
                <a:moveTo>
                  <a:pt x="14262" y="3858"/>
                </a:moveTo>
                <a:lnTo>
                  <a:pt x="14352" y="3900"/>
                </a:lnTo>
                <a:lnTo>
                  <a:pt x="14263" y="3939"/>
                </a:lnTo>
                <a:cubicBezTo>
                  <a:pt x="14263" y="3939"/>
                  <a:pt x="14263" y="3939"/>
                  <a:pt x="14263" y="3938"/>
                </a:cubicBezTo>
                <a:cubicBezTo>
                  <a:pt x="14269" y="3919"/>
                  <a:pt x="14269" y="3893"/>
                  <a:pt x="14262" y="3858"/>
                </a:cubicBezTo>
                <a:close/>
                <a:moveTo>
                  <a:pt x="12249" y="3865"/>
                </a:moveTo>
                <a:cubicBezTo>
                  <a:pt x="12304" y="3911"/>
                  <a:pt x="12357" y="3956"/>
                  <a:pt x="12394" y="3980"/>
                </a:cubicBezTo>
                <a:cubicBezTo>
                  <a:pt x="12383" y="3998"/>
                  <a:pt x="12375" y="4023"/>
                  <a:pt x="12375" y="4053"/>
                </a:cubicBezTo>
                <a:cubicBezTo>
                  <a:pt x="12375" y="4108"/>
                  <a:pt x="12397" y="4151"/>
                  <a:pt x="12424" y="4151"/>
                </a:cubicBezTo>
                <a:cubicBezTo>
                  <a:pt x="12451" y="4151"/>
                  <a:pt x="12473" y="4108"/>
                  <a:pt x="12473" y="4053"/>
                </a:cubicBezTo>
                <a:cubicBezTo>
                  <a:pt x="12473" y="4048"/>
                  <a:pt x="12470" y="4045"/>
                  <a:pt x="12470" y="4039"/>
                </a:cubicBezTo>
                <a:cubicBezTo>
                  <a:pt x="12553" y="4114"/>
                  <a:pt x="12574" y="4181"/>
                  <a:pt x="12577" y="4219"/>
                </a:cubicBezTo>
                <a:cubicBezTo>
                  <a:pt x="12580" y="4263"/>
                  <a:pt x="12566" y="4298"/>
                  <a:pt x="12553" y="4320"/>
                </a:cubicBezTo>
                <a:lnTo>
                  <a:pt x="12225" y="3945"/>
                </a:lnTo>
                <a:cubicBezTo>
                  <a:pt x="12238" y="3928"/>
                  <a:pt x="12250" y="3902"/>
                  <a:pt x="12250" y="3867"/>
                </a:cubicBezTo>
                <a:cubicBezTo>
                  <a:pt x="12250" y="3866"/>
                  <a:pt x="12249" y="3865"/>
                  <a:pt x="12249" y="3865"/>
                </a:cubicBezTo>
                <a:close/>
                <a:moveTo>
                  <a:pt x="3702" y="3887"/>
                </a:moveTo>
                <a:cubicBezTo>
                  <a:pt x="3723" y="3985"/>
                  <a:pt x="3778" y="4061"/>
                  <a:pt x="3856" y="4102"/>
                </a:cubicBezTo>
                <a:lnTo>
                  <a:pt x="3763" y="4144"/>
                </a:lnTo>
                <a:lnTo>
                  <a:pt x="3617" y="4211"/>
                </a:lnTo>
                <a:cubicBezTo>
                  <a:pt x="3615" y="4199"/>
                  <a:pt x="3612" y="4184"/>
                  <a:pt x="3610" y="4168"/>
                </a:cubicBezTo>
                <a:cubicBezTo>
                  <a:pt x="3607" y="4152"/>
                  <a:pt x="3603" y="4127"/>
                  <a:pt x="3603" y="4120"/>
                </a:cubicBezTo>
                <a:cubicBezTo>
                  <a:pt x="3603" y="4077"/>
                  <a:pt x="3613" y="4071"/>
                  <a:pt x="3643" y="4063"/>
                </a:cubicBezTo>
                <a:cubicBezTo>
                  <a:pt x="3668" y="4056"/>
                  <a:pt x="3709" y="4045"/>
                  <a:pt x="3703" y="3946"/>
                </a:cubicBezTo>
                <a:cubicBezTo>
                  <a:pt x="3702" y="3936"/>
                  <a:pt x="3699" y="3926"/>
                  <a:pt x="3694" y="3922"/>
                </a:cubicBezTo>
                <a:cubicBezTo>
                  <a:pt x="3692" y="3920"/>
                  <a:pt x="3690" y="3919"/>
                  <a:pt x="3688" y="3919"/>
                </a:cubicBezTo>
                <a:cubicBezTo>
                  <a:pt x="3685" y="3919"/>
                  <a:pt x="3682" y="3921"/>
                  <a:pt x="3679" y="3924"/>
                </a:cubicBezTo>
                <a:cubicBezTo>
                  <a:pt x="3656" y="3955"/>
                  <a:pt x="3603" y="3987"/>
                  <a:pt x="3572" y="3987"/>
                </a:cubicBezTo>
                <a:cubicBezTo>
                  <a:pt x="3560" y="3987"/>
                  <a:pt x="3561" y="3977"/>
                  <a:pt x="3561" y="3971"/>
                </a:cubicBezTo>
                <a:cubicBezTo>
                  <a:pt x="3561" y="3926"/>
                  <a:pt x="3635" y="3906"/>
                  <a:pt x="3671" y="3896"/>
                </a:cubicBezTo>
                <a:cubicBezTo>
                  <a:pt x="3683" y="3893"/>
                  <a:pt x="3693" y="3890"/>
                  <a:pt x="3702" y="3887"/>
                </a:cubicBezTo>
                <a:close/>
                <a:moveTo>
                  <a:pt x="14570" y="3891"/>
                </a:moveTo>
                <a:cubicBezTo>
                  <a:pt x="14575" y="3919"/>
                  <a:pt x="14577" y="3943"/>
                  <a:pt x="14575" y="3951"/>
                </a:cubicBezTo>
                <a:cubicBezTo>
                  <a:pt x="14575" y="3951"/>
                  <a:pt x="14574" y="3952"/>
                  <a:pt x="14570" y="3952"/>
                </a:cubicBezTo>
                <a:cubicBezTo>
                  <a:pt x="14560" y="3952"/>
                  <a:pt x="14551" y="3936"/>
                  <a:pt x="14542" y="3911"/>
                </a:cubicBezTo>
                <a:cubicBezTo>
                  <a:pt x="14552" y="3908"/>
                  <a:pt x="14561" y="3902"/>
                  <a:pt x="14570" y="3891"/>
                </a:cubicBezTo>
                <a:close/>
                <a:moveTo>
                  <a:pt x="3142" y="3897"/>
                </a:moveTo>
                <a:cubicBezTo>
                  <a:pt x="3165" y="3897"/>
                  <a:pt x="3171" y="3906"/>
                  <a:pt x="3200" y="3985"/>
                </a:cubicBezTo>
                <a:cubicBezTo>
                  <a:pt x="3195" y="3986"/>
                  <a:pt x="3189" y="3987"/>
                  <a:pt x="3185" y="3988"/>
                </a:cubicBezTo>
                <a:cubicBezTo>
                  <a:pt x="3178" y="3990"/>
                  <a:pt x="3172" y="3994"/>
                  <a:pt x="3165" y="3996"/>
                </a:cubicBezTo>
                <a:cubicBezTo>
                  <a:pt x="3166" y="3990"/>
                  <a:pt x="3169" y="3986"/>
                  <a:pt x="3169" y="3979"/>
                </a:cubicBezTo>
                <a:cubicBezTo>
                  <a:pt x="3169" y="3941"/>
                  <a:pt x="3157" y="3914"/>
                  <a:pt x="3142" y="3897"/>
                </a:cubicBezTo>
                <a:close/>
                <a:moveTo>
                  <a:pt x="11845" y="3897"/>
                </a:moveTo>
                <a:lnTo>
                  <a:pt x="11816" y="3911"/>
                </a:lnTo>
                <a:cubicBezTo>
                  <a:pt x="11822" y="3953"/>
                  <a:pt x="11841" y="3975"/>
                  <a:pt x="11858" y="3994"/>
                </a:cubicBezTo>
                <a:cubicBezTo>
                  <a:pt x="11877" y="4016"/>
                  <a:pt x="11889" y="4030"/>
                  <a:pt x="11889" y="4059"/>
                </a:cubicBezTo>
                <a:cubicBezTo>
                  <a:pt x="11889" y="4086"/>
                  <a:pt x="11882" y="4107"/>
                  <a:pt x="11873" y="4132"/>
                </a:cubicBezTo>
                <a:cubicBezTo>
                  <a:pt x="11871" y="4137"/>
                  <a:pt x="11869" y="4145"/>
                  <a:pt x="11867" y="4151"/>
                </a:cubicBezTo>
                <a:cubicBezTo>
                  <a:pt x="11858" y="4124"/>
                  <a:pt x="11846" y="4104"/>
                  <a:pt x="11829" y="4104"/>
                </a:cubicBezTo>
                <a:cubicBezTo>
                  <a:pt x="11801" y="4104"/>
                  <a:pt x="11779" y="4148"/>
                  <a:pt x="11779" y="4203"/>
                </a:cubicBezTo>
                <a:cubicBezTo>
                  <a:pt x="11779" y="4257"/>
                  <a:pt x="11801" y="4301"/>
                  <a:pt x="11829" y="4301"/>
                </a:cubicBezTo>
                <a:cubicBezTo>
                  <a:pt x="11839" y="4301"/>
                  <a:pt x="11847" y="4290"/>
                  <a:pt x="11855" y="4278"/>
                </a:cubicBezTo>
                <a:cubicBezTo>
                  <a:pt x="11860" y="4308"/>
                  <a:pt x="11866" y="4335"/>
                  <a:pt x="11874" y="4358"/>
                </a:cubicBezTo>
                <a:cubicBezTo>
                  <a:pt x="11882" y="4383"/>
                  <a:pt x="11890" y="4407"/>
                  <a:pt x="11893" y="4433"/>
                </a:cubicBezTo>
                <a:cubicBezTo>
                  <a:pt x="11893" y="4439"/>
                  <a:pt x="11893" y="4445"/>
                  <a:pt x="11893" y="4451"/>
                </a:cubicBezTo>
                <a:cubicBezTo>
                  <a:pt x="11893" y="4467"/>
                  <a:pt x="11900" y="4480"/>
                  <a:pt x="11908" y="4480"/>
                </a:cubicBezTo>
                <a:cubicBezTo>
                  <a:pt x="11916" y="4480"/>
                  <a:pt x="11923" y="4467"/>
                  <a:pt x="11923" y="4451"/>
                </a:cubicBezTo>
                <a:cubicBezTo>
                  <a:pt x="11923" y="4399"/>
                  <a:pt x="11910" y="4359"/>
                  <a:pt x="11899" y="4325"/>
                </a:cubicBezTo>
                <a:cubicBezTo>
                  <a:pt x="11889" y="4295"/>
                  <a:pt x="11881" y="4270"/>
                  <a:pt x="11881" y="4239"/>
                </a:cubicBezTo>
                <a:cubicBezTo>
                  <a:pt x="11881" y="4212"/>
                  <a:pt x="11888" y="4191"/>
                  <a:pt x="11897" y="4166"/>
                </a:cubicBezTo>
                <a:cubicBezTo>
                  <a:pt x="11907" y="4138"/>
                  <a:pt x="11919" y="4105"/>
                  <a:pt x="11919" y="4059"/>
                </a:cubicBezTo>
                <a:cubicBezTo>
                  <a:pt x="11919" y="3993"/>
                  <a:pt x="11892" y="3963"/>
                  <a:pt x="11872" y="3941"/>
                </a:cubicBezTo>
                <a:cubicBezTo>
                  <a:pt x="11859" y="3927"/>
                  <a:pt x="11847" y="3914"/>
                  <a:pt x="11845" y="3897"/>
                </a:cubicBezTo>
                <a:close/>
                <a:moveTo>
                  <a:pt x="1637" y="3908"/>
                </a:moveTo>
                <a:cubicBezTo>
                  <a:pt x="1639" y="3909"/>
                  <a:pt x="1641" y="3908"/>
                  <a:pt x="1642" y="3909"/>
                </a:cubicBezTo>
                <a:lnTo>
                  <a:pt x="1655" y="4386"/>
                </a:lnTo>
                <a:cubicBezTo>
                  <a:pt x="1649" y="4379"/>
                  <a:pt x="1644" y="4373"/>
                  <a:pt x="1637" y="4370"/>
                </a:cubicBezTo>
                <a:cubicBezTo>
                  <a:pt x="1637" y="4143"/>
                  <a:pt x="1637" y="3998"/>
                  <a:pt x="1637" y="3908"/>
                </a:cubicBezTo>
                <a:close/>
                <a:moveTo>
                  <a:pt x="3543" y="3911"/>
                </a:moveTo>
                <a:cubicBezTo>
                  <a:pt x="3535" y="3927"/>
                  <a:pt x="3531" y="3947"/>
                  <a:pt x="3531" y="3971"/>
                </a:cubicBezTo>
                <a:cubicBezTo>
                  <a:pt x="3531" y="4017"/>
                  <a:pt x="3547" y="4046"/>
                  <a:pt x="3572" y="4046"/>
                </a:cubicBezTo>
                <a:cubicBezTo>
                  <a:pt x="3576" y="4046"/>
                  <a:pt x="3581" y="4046"/>
                  <a:pt x="3585" y="4045"/>
                </a:cubicBezTo>
                <a:cubicBezTo>
                  <a:pt x="3578" y="4062"/>
                  <a:pt x="3573" y="4086"/>
                  <a:pt x="3573" y="4120"/>
                </a:cubicBezTo>
                <a:cubicBezTo>
                  <a:pt x="3573" y="4135"/>
                  <a:pt x="3576" y="4156"/>
                  <a:pt x="3582" y="4187"/>
                </a:cubicBezTo>
                <a:cubicBezTo>
                  <a:pt x="3582" y="4188"/>
                  <a:pt x="3582" y="4189"/>
                  <a:pt x="3582" y="4190"/>
                </a:cubicBezTo>
                <a:cubicBezTo>
                  <a:pt x="3580" y="4188"/>
                  <a:pt x="3578" y="4189"/>
                  <a:pt x="3575" y="4187"/>
                </a:cubicBezTo>
                <a:cubicBezTo>
                  <a:pt x="3571" y="4178"/>
                  <a:pt x="3567" y="4171"/>
                  <a:pt x="3562" y="4157"/>
                </a:cubicBezTo>
                <a:cubicBezTo>
                  <a:pt x="3551" y="4129"/>
                  <a:pt x="3539" y="4098"/>
                  <a:pt x="3520" y="4080"/>
                </a:cubicBezTo>
                <a:lnTo>
                  <a:pt x="3489" y="4050"/>
                </a:lnTo>
                <a:cubicBezTo>
                  <a:pt x="3487" y="4048"/>
                  <a:pt x="3485" y="4046"/>
                  <a:pt x="3482" y="4046"/>
                </a:cubicBezTo>
                <a:lnTo>
                  <a:pt x="3382" y="4046"/>
                </a:lnTo>
                <a:cubicBezTo>
                  <a:pt x="3400" y="4028"/>
                  <a:pt x="3413" y="3996"/>
                  <a:pt x="3419" y="3958"/>
                </a:cubicBezTo>
                <a:lnTo>
                  <a:pt x="3467" y="3958"/>
                </a:lnTo>
                <a:cubicBezTo>
                  <a:pt x="3470" y="3958"/>
                  <a:pt x="3473" y="3956"/>
                  <a:pt x="3476" y="3952"/>
                </a:cubicBezTo>
                <a:cubicBezTo>
                  <a:pt x="3496" y="3924"/>
                  <a:pt x="3518" y="3918"/>
                  <a:pt x="3543" y="3911"/>
                </a:cubicBezTo>
                <a:close/>
                <a:moveTo>
                  <a:pt x="5604" y="3919"/>
                </a:moveTo>
                <a:cubicBezTo>
                  <a:pt x="5623" y="3939"/>
                  <a:pt x="5645" y="3967"/>
                  <a:pt x="5668" y="4003"/>
                </a:cubicBezTo>
                <a:cubicBezTo>
                  <a:pt x="5666" y="4009"/>
                  <a:pt x="5665" y="4016"/>
                  <a:pt x="5664" y="4023"/>
                </a:cubicBezTo>
                <a:cubicBezTo>
                  <a:pt x="5654" y="4005"/>
                  <a:pt x="5642" y="3989"/>
                  <a:pt x="5629" y="3989"/>
                </a:cubicBezTo>
                <a:cubicBezTo>
                  <a:pt x="5619" y="3989"/>
                  <a:pt x="5591" y="4023"/>
                  <a:pt x="5587" y="4055"/>
                </a:cubicBezTo>
                <a:cubicBezTo>
                  <a:pt x="5580" y="4031"/>
                  <a:pt x="5570" y="4015"/>
                  <a:pt x="5559" y="4001"/>
                </a:cubicBezTo>
                <a:cubicBezTo>
                  <a:pt x="5582" y="4000"/>
                  <a:pt x="5600" y="3965"/>
                  <a:pt x="5604" y="3919"/>
                </a:cubicBezTo>
                <a:close/>
                <a:moveTo>
                  <a:pt x="12833" y="3923"/>
                </a:moveTo>
                <a:cubicBezTo>
                  <a:pt x="12834" y="3927"/>
                  <a:pt x="12835" y="3925"/>
                  <a:pt x="12836" y="3931"/>
                </a:cubicBezTo>
                <a:lnTo>
                  <a:pt x="12783" y="4585"/>
                </a:lnTo>
                <a:lnTo>
                  <a:pt x="12722" y="4515"/>
                </a:lnTo>
                <a:lnTo>
                  <a:pt x="12621" y="4400"/>
                </a:lnTo>
                <a:cubicBezTo>
                  <a:pt x="12636" y="4396"/>
                  <a:pt x="12657" y="4399"/>
                  <a:pt x="12677" y="4402"/>
                </a:cubicBezTo>
                <a:cubicBezTo>
                  <a:pt x="12690" y="4404"/>
                  <a:pt x="12704" y="4407"/>
                  <a:pt x="12716" y="4407"/>
                </a:cubicBezTo>
                <a:cubicBezTo>
                  <a:pt x="12733" y="4407"/>
                  <a:pt x="12786" y="4407"/>
                  <a:pt x="12786" y="4292"/>
                </a:cubicBezTo>
                <a:cubicBezTo>
                  <a:pt x="12786" y="4237"/>
                  <a:pt x="12771" y="4207"/>
                  <a:pt x="12761" y="4186"/>
                </a:cubicBezTo>
                <a:cubicBezTo>
                  <a:pt x="12758" y="4182"/>
                  <a:pt x="12755" y="4176"/>
                  <a:pt x="12754" y="4172"/>
                </a:cubicBezTo>
                <a:cubicBezTo>
                  <a:pt x="12771" y="4063"/>
                  <a:pt x="12786" y="4004"/>
                  <a:pt x="12797" y="3964"/>
                </a:cubicBezTo>
                <a:cubicBezTo>
                  <a:pt x="12813" y="3963"/>
                  <a:pt x="12825" y="3946"/>
                  <a:pt x="12833" y="3923"/>
                </a:cubicBezTo>
                <a:close/>
                <a:moveTo>
                  <a:pt x="119" y="3924"/>
                </a:moveTo>
                <a:lnTo>
                  <a:pt x="188" y="3924"/>
                </a:lnTo>
                <a:lnTo>
                  <a:pt x="156" y="4007"/>
                </a:lnTo>
                <a:cubicBezTo>
                  <a:pt x="156" y="4007"/>
                  <a:pt x="143" y="4039"/>
                  <a:pt x="143" y="4039"/>
                </a:cubicBezTo>
                <a:cubicBezTo>
                  <a:pt x="129" y="4031"/>
                  <a:pt x="108" y="4018"/>
                  <a:pt x="97" y="4008"/>
                </a:cubicBezTo>
                <a:cubicBezTo>
                  <a:pt x="105" y="3980"/>
                  <a:pt x="114" y="3946"/>
                  <a:pt x="119" y="3924"/>
                </a:cubicBezTo>
                <a:close/>
                <a:moveTo>
                  <a:pt x="16800" y="3954"/>
                </a:moveTo>
                <a:cubicBezTo>
                  <a:pt x="16782" y="3954"/>
                  <a:pt x="16766" y="3985"/>
                  <a:pt x="16766" y="4023"/>
                </a:cubicBezTo>
                <a:cubicBezTo>
                  <a:pt x="16766" y="4061"/>
                  <a:pt x="16782" y="4091"/>
                  <a:pt x="16800" y="4091"/>
                </a:cubicBezTo>
                <a:cubicBezTo>
                  <a:pt x="16819" y="4091"/>
                  <a:pt x="16834" y="4061"/>
                  <a:pt x="16834" y="4023"/>
                </a:cubicBezTo>
                <a:cubicBezTo>
                  <a:pt x="16834" y="3985"/>
                  <a:pt x="16819" y="3954"/>
                  <a:pt x="16800" y="3954"/>
                </a:cubicBezTo>
                <a:close/>
                <a:moveTo>
                  <a:pt x="14349" y="3962"/>
                </a:moveTo>
                <a:lnTo>
                  <a:pt x="13411" y="5282"/>
                </a:lnTo>
                <a:cubicBezTo>
                  <a:pt x="13396" y="5246"/>
                  <a:pt x="13375" y="5223"/>
                  <a:pt x="13350" y="5223"/>
                </a:cubicBezTo>
                <a:cubicBezTo>
                  <a:pt x="13349" y="5223"/>
                  <a:pt x="13349" y="5223"/>
                  <a:pt x="13349" y="5223"/>
                </a:cubicBezTo>
                <a:lnTo>
                  <a:pt x="12845" y="4655"/>
                </a:lnTo>
                <a:cubicBezTo>
                  <a:pt x="12847" y="4650"/>
                  <a:pt x="12847" y="4644"/>
                  <a:pt x="12848" y="4639"/>
                </a:cubicBezTo>
                <a:lnTo>
                  <a:pt x="13215" y="4473"/>
                </a:lnTo>
                <a:cubicBezTo>
                  <a:pt x="13215" y="4473"/>
                  <a:pt x="14349" y="3962"/>
                  <a:pt x="14349" y="3962"/>
                </a:cubicBezTo>
                <a:close/>
                <a:moveTo>
                  <a:pt x="14413" y="3967"/>
                </a:moveTo>
                <a:lnTo>
                  <a:pt x="14449" y="4232"/>
                </a:lnTo>
                <a:cubicBezTo>
                  <a:pt x="14445" y="4246"/>
                  <a:pt x="14440" y="4260"/>
                  <a:pt x="14440" y="4277"/>
                </a:cubicBezTo>
                <a:cubicBezTo>
                  <a:pt x="14440" y="4314"/>
                  <a:pt x="14452" y="4340"/>
                  <a:pt x="14467" y="4357"/>
                </a:cubicBezTo>
                <a:lnTo>
                  <a:pt x="14569" y="5093"/>
                </a:lnTo>
                <a:cubicBezTo>
                  <a:pt x="14561" y="5084"/>
                  <a:pt x="14555" y="5073"/>
                  <a:pt x="14545" y="5073"/>
                </a:cubicBezTo>
                <a:cubicBezTo>
                  <a:pt x="14518" y="5073"/>
                  <a:pt x="14496" y="5118"/>
                  <a:pt x="14496" y="5173"/>
                </a:cubicBezTo>
                <a:cubicBezTo>
                  <a:pt x="14496" y="5227"/>
                  <a:pt x="14518" y="5270"/>
                  <a:pt x="14545" y="5270"/>
                </a:cubicBezTo>
                <a:cubicBezTo>
                  <a:pt x="14564" y="5270"/>
                  <a:pt x="14577" y="5246"/>
                  <a:pt x="14585" y="5215"/>
                </a:cubicBezTo>
                <a:lnTo>
                  <a:pt x="14613" y="5409"/>
                </a:lnTo>
                <a:cubicBezTo>
                  <a:pt x="14611" y="5418"/>
                  <a:pt x="14608" y="5424"/>
                  <a:pt x="14608" y="5434"/>
                </a:cubicBezTo>
                <a:cubicBezTo>
                  <a:pt x="14608" y="5464"/>
                  <a:pt x="14615" y="5489"/>
                  <a:pt x="14626" y="5507"/>
                </a:cubicBezTo>
                <a:lnTo>
                  <a:pt x="14662" y="5765"/>
                </a:lnTo>
                <a:cubicBezTo>
                  <a:pt x="14654" y="5756"/>
                  <a:pt x="14648" y="5745"/>
                  <a:pt x="14638" y="5745"/>
                </a:cubicBezTo>
                <a:cubicBezTo>
                  <a:pt x="14616" y="5745"/>
                  <a:pt x="14599" y="5779"/>
                  <a:pt x="14594" y="5821"/>
                </a:cubicBezTo>
                <a:cubicBezTo>
                  <a:pt x="14452" y="5579"/>
                  <a:pt x="14063" y="4913"/>
                  <a:pt x="14063" y="4913"/>
                </a:cubicBezTo>
                <a:lnTo>
                  <a:pt x="14129" y="4733"/>
                </a:lnTo>
                <a:cubicBezTo>
                  <a:pt x="14142" y="4757"/>
                  <a:pt x="14160" y="4773"/>
                  <a:pt x="14179" y="4773"/>
                </a:cubicBezTo>
                <a:cubicBezTo>
                  <a:pt x="14220" y="4773"/>
                  <a:pt x="14253" y="4706"/>
                  <a:pt x="14253" y="4625"/>
                </a:cubicBezTo>
                <a:cubicBezTo>
                  <a:pt x="14253" y="4570"/>
                  <a:pt x="14237" y="4524"/>
                  <a:pt x="14216" y="4499"/>
                </a:cubicBezTo>
                <a:lnTo>
                  <a:pt x="14413" y="3967"/>
                </a:lnTo>
                <a:close/>
                <a:moveTo>
                  <a:pt x="4516" y="3992"/>
                </a:moveTo>
                <a:cubicBezTo>
                  <a:pt x="4488" y="3992"/>
                  <a:pt x="4466" y="4036"/>
                  <a:pt x="4466" y="4091"/>
                </a:cubicBezTo>
                <a:cubicBezTo>
                  <a:pt x="4466" y="4145"/>
                  <a:pt x="4488" y="4189"/>
                  <a:pt x="4516" y="4189"/>
                </a:cubicBezTo>
                <a:cubicBezTo>
                  <a:pt x="4543" y="4189"/>
                  <a:pt x="4564" y="4145"/>
                  <a:pt x="4564" y="4091"/>
                </a:cubicBezTo>
                <a:cubicBezTo>
                  <a:pt x="4564" y="4036"/>
                  <a:pt x="4543" y="3992"/>
                  <a:pt x="4516" y="3992"/>
                </a:cubicBezTo>
                <a:close/>
                <a:moveTo>
                  <a:pt x="4218" y="4001"/>
                </a:moveTo>
                <a:cubicBezTo>
                  <a:pt x="4219" y="4001"/>
                  <a:pt x="4220" y="4001"/>
                  <a:pt x="4220" y="4001"/>
                </a:cubicBezTo>
                <a:cubicBezTo>
                  <a:pt x="4235" y="4001"/>
                  <a:pt x="4254" y="4006"/>
                  <a:pt x="4271" y="4015"/>
                </a:cubicBezTo>
                <a:lnTo>
                  <a:pt x="4082" y="4280"/>
                </a:lnTo>
                <a:cubicBezTo>
                  <a:pt x="4074" y="4264"/>
                  <a:pt x="4063" y="4253"/>
                  <a:pt x="4050" y="4253"/>
                </a:cubicBezTo>
                <a:cubicBezTo>
                  <a:pt x="4023" y="4253"/>
                  <a:pt x="4001" y="4297"/>
                  <a:pt x="4001" y="4352"/>
                </a:cubicBezTo>
                <a:cubicBezTo>
                  <a:pt x="4001" y="4365"/>
                  <a:pt x="4006" y="4373"/>
                  <a:pt x="4008" y="4384"/>
                </a:cubicBezTo>
                <a:lnTo>
                  <a:pt x="3809" y="4665"/>
                </a:lnTo>
                <a:cubicBezTo>
                  <a:pt x="3795" y="4641"/>
                  <a:pt x="3778" y="4626"/>
                  <a:pt x="3759" y="4626"/>
                </a:cubicBezTo>
                <a:cubicBezTo>
                  <a:pt x="3718" y="4626"/>
                  <a:pt x="3685" y="4692"/>
                  <a:pt x="3685" y="4774"/>
                </a:cubicBezTo>
                <a:cubicBezTo>
                  <a:pt x="3685" y="4795"/>
                  <a:pt x="3687" y="4814"/>
                  <a:pt x="3691" y="4832"/>
                </a:cubicBezTo>
                <a:lnTo>
                  <a:pt x="3381" y="5268"/>
                </a:lnTo>
                <a:cubicBezTo>
                  <a:pt x="3372" y="5242"/>
                  <a:pt x="3360" y="5223"/>
                  <a:pt x="3343" y="5223"/>
                </a:cubicBezTo>
                <a:cubicBezTo>
                  <a:pt x="3337" y="5223"/>
                  <a:pt x="3332" y="5232"/>
                  <a:pt x="3326" y="5237"/>
                </a:cubicBezTo>
                <a:lnTo>
                  <a:pt x="2798" y="4641"/>
                </a:lnTo>
                <a:lnTo>
                  <a:pt x="2905" y="4593"/>
                </a:lnTo>
                <a:cubicBezTo>
                  <a:pt x="2905" y="4593"/>
                  <a:pt x="2969" y="4565"/>
                  <a:pt x="2979" y="4561"/>
                </a:cubicBezTo>
                <a:cubicBezTo>
                  <a:pt x="2979" y="4562"/>
                  <a:pt x="2978" y="4563"/>
                  <a:pt x="2978" y="4565"/>
                </a:cubicBezTo>
                <a:cubicBezTo>
                  <a:pt x="2978" y="4594"/>
                  <a:pt x="2989" y="4616"/>
                  <a:pt x="3003" y="4616"/>
                </a:cubicBezTo>
                <a:cubicBezTo>
                  <a:pt x="3017" y="4616"/>
                  <a:pt x="3029" y="4594"/>
                  <a:pt x="3029" y="4565"/>
                </a:cubicBezTo>
                <a:cubicBezTo>
                  <a:pt x="3029" y="4555"/>
                  <a:pt x="3026" y="4547"/>
                  <a:pt x="3024" y="4540"/>
                </a:cubicBezTo>
                <a:cubicBezTo>
                  <a:pt x="3060" y="4523"/>
                  <a:pt x="3129" y="4492"/>
                  <a:pt x="3202" y="4459"/>
                </a:cubicBezTo>
                <a:cubicBezTo>
                  <a:pt x="3204" y="4484"/>
                  <a:pt x="3213" y="4505"/>
                  <a:pt x="3226" y="4505"/>
                </a:cubicBezTo>
                <a:cubicBezTo>
                  <a:pt x="3241" y="4505"/>
                  <a:pt x="3252" y="4482"/>
                  <a:pt x="3252" y="4453"/>
                </a:cubicBezTo>
                <a:cubicBezTo>
                  <a:pt x="3252" y="4447"/>
                  <a:pt x="3250" y="4443"/>
                  <a:pt x="3249" y="4438"/>
                </a:cubicBezTo>
                <a:cubicBezTo>
                  <a:pt x="3352" y="4392"/>
                  <a:pt x="3367" y="4385"/>
                  <a:pt x="3481" y="4333"/>
                </a:cubicBezTo>
                <a:cubicBezTo>
                  <a:pt x="3482" y="4411"/>
                  <a:pt x="3514" y="4474"/>
                  <a:pt x="3554" y="4474"/>
                </a:cubicBezTo>
                <a:cubicBezTo>
                  <a:pt x="3595" y="4474"/>
                  <a:pt x="3628" y="4408"/>
                  <a:pt x="3628" y="4326"/>
                </a:cubicBezTo>
                <a:cubicBezTo>
                  <a:pt x="3628" y="4306"/>
                  <a:pt x="3625" y="4288"/>
                  <a:pt x="3622" y="4270"/>
                </a:cubicBezTo>
                <a:cubicBezTo>
                  <a:pt x="3622" y="4270"/>
                  <a:pt x="3622" y="4269"/>
                  <a:pt x="3622" y="4269"/>
                </a:cubicBezTo>
                <a:cubicBezTo>
                  <a:pt x="3752" y="4210"/>
                  <a:pt x="3931" y="4130"/>
                  <a:pt x="3931" y="4130"/>
                </a:cubicBezTo>
                <a:cubicBezTo>
                  <a:pt x="3950" y="4135"/>
                  <a:pt x="3969" y="4136"/>
                  <a:pt x="3987" y="4136"/>
                </a:cubicBezTo>
                <a:cubicBezTo>
                  <a:pt x="4038" y="4136"/>
                  <a:pt x="4072" y="4135"/>
                  <a:pt x="4097" y="4134"/>
                </a:cubicBezTo>
                <a:cubicBezTo>
                  <a:pt x="4131" y="4132"/>
                  <a:pt x="4147" y="4132"/>
                  <a:pt x="4166" y="4136"/>
                </a:cubicBezTo>
                <a:cubicBezTo>
                  <a:pt x="4170" y="4137"/>
                  <a:pt x="4174" y="4135"/>
                  <a:pt x="4177" y="4129"/>
                </a:cubicBezTo>
                <a:cubicBezTo>
                  <a:pt x="4180" y="4123"/>
                  <a:pt x="4182" y="4116"/>
                  <a:pt x="4182" y="4107"/>
                </a:cubicBezTo>
                <a:cubicBezTo>
                  <a:pt x="4182" y="4038"/>
                  <a:pt x="4191" y="4017"/>
                  <a:pt x="4199" y="4009"/>
                </a:cubicBezTo>
                <a:lnTo>
                  <a:pt x="4207" y="4006"/>
                </a:lnTo>
                <a:lnTo>
                  <a:pt x="4218" y="4001"/>
                </a:lnTo>
                <a:close/>
                <a:moveTo>
                  <a:pt x="5510" y="4031"/>
                </a:moveTo>
                <a:cubicBezTo>
                  <a:pt x="5537" y="4031"/>
                  <a:pt x="5565" y="4063"/>
                  <a:pt x="5565" y="4118"/>
                </a:cubicBezTo>
                <a:cubicBezTo>
                  <a:pt x="5565" y="4145"/>
                  <a:pt x="5525" y="4180"/>
                  <a:pt x="5501" y="4180"/>
                </a:cubicBezTo>
                <a:cubicBezTo>
                  <a:pt x="5487" y="4180"/>
                  <a:pt x="5475" y="4169"/>
                  <a:pt x="5468" y="4149"/>
                </a:cubicBezTo>
                <a:lnTo>
                  <a:pt x="5468" y="4116"/>
                </a:lnTo>
                <a:lnTo>
                  <a:pt x="5467" y="4081"/>
                </a:lnTo>
                <a:cubicBezTo>
                  <a:pt x="5476" y="4035"/>
                  <a:pt x="5502" y="4031"/>
                  <a:pt x="5510" y="4031"/>
                </a:cubicBezTo>
                <a:close/>
                <a:moveTo>
                  <a:pt x="14349" y="4035"/>
                </a:moveTo>
                <a:cubicBezTo>
                  <a:pt x="14349" y="4035"/>
                  <a:pt x="14247" y="4306"/>
                  <a:pt x="14182" y="4478"/>
                </a:cubicBezTo>
                <a:cubicBezTo>
                  <a:pt x="14181" y="4478"/>
                  <a:pt x="14180" y="4477"/>
                  <a:pt x="14179" y="4477"/>
                </a:cubicBezTo>
                <a:cubicBezTo>
                  <a:pt x="14138" y="4477"/>
                  <a:pt x="14105" y="4543"/>
                  <a:pt x="14105" y="4625"/>
                </a:cubicBezTo>
                <a:cubicBezTo>
                  <a:pt x="14105" y="4640"/>
                  <a:pt x="14107" y="4655"/>
                  <a:pt x="14110" y="4669"/>
                </a:cubicBezTo>
                <a:cubicBezTo>
                  <a:pt x="14056" y="4810"/>
                  <a:pt x="14052" y="4821"/>
                  <a:pt x="13996" y="4970"/>
                </a:cubicBezTo>
                <a:cubicBezTo>
                  <a:pt x="13993" y="4968"/>
                  <a:pt x="13991" y="4962"/>
                  <a:pt x="13987" y="4962"/>
                </a:cubicBezTo>
                <a:cubicBezTo>
                  <a:pt x="13960" y="4962"/>
                  <a:pt x="13938" y="5006"/>
                  <a:pt x="13938" y="5061"/>
                </a:cubicBezTo>
                <a:cubicBezTo>
                  <a:pt x="13938" y="5077"/>
                  <a:pt x="13943" y="5088"/>
                  <a:pt x="13946" y="5101"/>
                </a:cubicBezTo>
                <a:cubicBezTo>
                  <a:pt x="13908" y="5204"/>
                  <a:pt x="13893" y="5242"/>
                  <a:pt x="13863" y="5322"/>
                </a:cubicBezTo>
                <a:cubicBezTo>
                  <a:pt x="13852" y="5308"/>
                  <a:pt x="13840" y="5297"/>
                  <a:pt x="13825" y="5297"/>
                </a:cubicBezTo>
                <a:cubicBezTo>
                  <a:pt x="13785" y="5297"/>
                  <a:pt x="13752" y="5364"/>
                  <a:pt x="13752" y="5445"/>
                </a:cubicBezTo>
                <a:cubicBezTo>
                  <a:pt x="13752" y="5488"/>
                  <a:pt x="13761" y="5527"/>
                  <a:pt x="13775" y="5554"/>
                </a:cubicBezTo>
                <a:cubicBezTo>
                  <a:pt x="13764" y="5583"/>
                  <a:pt x="13713" y="5720"/>
                  <a:pt x="13713" y="5720"/>
                </a:cubicBezTo>
                <a:lnTo>
                  <a:pt x="13433" y="5324"/>
                </a:lnTo>
                <a:lnTo>
                  <a:pt x="13591" y="5103"/>
                </a:lnTo>
                <a:cubicBezTo>
                  <a:pt x="13589" y="5114"/>
                  <a:pt x="13584" y="5122"/>
                  <a:pt x="13584" y="5135"/>
                </a:cubicBezTo>
                <a:cubicBezTo>
                  <a:pt x="13584" y="5190"/>
                  <a:pt x="13606" y="5233"/>
                  <a:pt x="13634" y="5233"/>
                </a:cubicBezTo>
                <a:cubicBezTo>
                  <a:pt x="13661" y="5233"/>
                  <a:pt x="13682" y="5190"/>
                  <a:pt x="13682" y="5135"/>
                </a:cubicBezTo>
                <a:cubicBezTo>
                  <a:pt x="13682" y="5083"/>
                  <a:pt x="13662" y="5042"/>
                  <a:pt x="13636" y="5038"/>
                </a:cubicBezTo>
                <a:lnTo>
                  <a:pt x="14349" y="4035"/>
                </a:lnTo>
                <a:close/>
                <a:moveTo>
                  <a:pt x="5630" y="4050"/>
                </a:moveTo>
                <a:cubicBezTo>
                  <a:pt x="5634" y="4052"/>
                  <a:pt x="5639" y="4058"/>
                  <a:pt x="5643" y="4066"/>
                </a:cubicBezTo>
                <a:lnTo>
                  <a:pt x="5641" y="4066"/>
                </a:lnTo>
                <a:cubicBezTo>
                  <a:pt x="5638" y="4066"/>
                  <a:pt x="5634" y="4066"/>
                  <a:pt x="5629" y="4066"/>
                </a:cubicBezTo>
                <a:cubicBezTo>
                  <a:pt x="5624" y="4066"/>
                  <a:pt x="5621" y="4065"/>
                  <a:pt x="5619" y="4064"/>
                </a:cubicBezTo>
                <a:cubicBezTo>
                  <a:pt x="5623" y="4058"/>
                  <a:pt x="5627" y="4053"/>
                  <a:pt x="5630" y="4050"/>
                </a:cubicBezTo>
                <a:close/>
                <a:moveTo>
                  <a:pt x="4389" y="4066"/>
                </a:moveTo>
                <a:lnTo>
                  <a:pt x="4446" y="4478"/>
                </a:lnTo>
                <a:cubicBezTo>
                  <a:pt x="4445" y="4478"/>
                  <a:pt x="4445" y="4477"/>
                  <a:pt x="4445" y="4477"/>
                </a:cubicBezTo>
                <a:cubicBezTo>
                  <a:pt x="4426" y="4477"/>
                  <a:pt x="4410" y="4508"/>
                  <a:pt x="4410" y="4545"/>
                </a:cubicBezTo>
                <a:cubicBezTo>
                  <a:pt x="4410" y="4583"/>
                  <a:pt x="4426" y="4613"/>
                  <a:pt x="4445" y="4613"/>
                </a:cubicBezTo>
                <a:cubicBezTo>
                  <a:pt x="4452" y="4613"/>
                  <a:pt x="4457" y="4605"/>
                  <a:pt x="4463" y="4598"/>
                </a:cubicBezTo>
                <a:lnTo>
                  <a:pt x="4531" y="5089"/>
                </a:lnTo>
                <a:cubicBezTo>
                  <a:pt x="4521" y="5110"/>
                  <a:pt x="4510" y="5149"/>
                  <a:pt x="4495" y="5202"/>
                </a:cubicBezTo>
                <a:cubicBezTo>
                  <a:pt x="4485" y="5237"/>
                  <a:pt x="4474" y="5276"/>
                  <a:pt x="4468" y="5288"/>
                </a:cubicBezTo>
                <a:cubicBezTo>
                  <a:pt x="4436" y="5351"/>
                  <a:pt x="4419" y="5418"/>
                  <a:pt x="4407" y="5491"/>
                </a:cubicBezTo>
                <a:cubicBezTo>
                  <a:pt x="4393" y="5463"/>
                  <a:pt x="4375" y="5446"/>
                  <a:pt x="4354" y="5446"/>
                </a:cubicBezTo>
                <a:cubicBezTo>
                  <a:pt x="4349" y="5446"/>
                  <a:pt x="4345" y="5450"/>
                  <a:pt x="4341" y="5451"/>
                </a:cubicBezTo>
                <a:lnTo>
                  <a:pt x="4024" y="4909"/>
                </a:lnTo>
                <a:lnTo>
                  <a:pt x="4107" y="4685"/>
                </a:lnTo>
                <a:cubicBezTo>
                  <a:pt x="4108" y="4685"/>
                  <a:pt x="4109" y="4688"/>
                  <a:pt x="4110" y="4688"/>
                </a:cubicBezTo>
                <a:cubicBezTo>
                  <a:pt x="4129" y="4688"/>
                  <a:pt x="4143" y="4658"/>
                  <a:pt x="4143" y="4620"/>
                </a:cubicBezTo>
                <a:cubicBezTo>
                  <a:pt x="4143" y="4612"/>
                  <a:pt x="4141" y="4606"/>
                  <a:pt x="4139" y="4599"/>
                </a:cubicBezTo>
                <a:lnTo>
                  <a:pt x="4281" y="4217"/>
                </a:lnTo>
                <a:cubicBezTo>
                  <a:pt x="4285" y="4219"/>
                  <a:pt x="4288" y="4226"/>
                  <a:pt x="4292" y="4226"/>
                </a:cubicBezTo>
                <a:cubicBezTo>
                  <a:pt x="4303" y="4226"/>
                  <a:pt x="4311" y="4215"/>
                  <a:pt x="4319" y="4204"/>
                </a:cubicBezTo>
                <a:cubicBezTo>
                  <a:pt x="4327" y="4207"/>
                  <a:pt x="4337" y="4207"/>
                  <a:pt x="4351" y="4199"/>
                </a:cubicBezTo>
                <a:cubicBezTo>
                  <a:pt x="4358" y="4196"/>
                  <a:pt x="4362" y="4183"/>
                  <a:pt x="4362" y="4170"/>
                </a:cubicBezTo>
                <a:cubicBezTo>
                  <a:pt x="4362" y="4118"/>
                  <a:pt x="4372" y="4088"/>
                  <a:pt x="4389" y="4066"/>
                </a:cubicBezTo>
                <a:close/>
                <a:moveTo>
                  <a:pt x="6004" y="4104"/>
                </a:moveTo>
                <a:cubicBezTo>
                  <a:pt x="5977" y="4104"/>
                  <a:pt x="5955" y="4148"/>
                  <a:pt x="5955" y="4203"/>
                </a:cubicBezTo>
                <a:cubicBezTo>
                  <a:pt x="5955" y="4257"/>
                  <a:pt x="5977" y="4301"/>
                  <a:pt x="6004" y="4301"/>
                </a:cubicBezTo>
                <a:cubicBezTo>
                  <a:pt x="6031" y="4301"/>
                  <a:pt x="6053" y="4257"/>
                  <a:pt x="6053" y="4203"/>
                </a:cubicBezTo>
                <a:cubicBezTo>
                  <a:pt x="6053" y="4148"/>
                  <a:pt x="6031" y="4104"/>
                  <a:pt x="6004" y="4104"/>
                </a:cubicBezTo>
                <a:close/>
                <a:moveTo>
                  <a:pt x="15014" y="4104"/>
                </a:moveTo>
                <a:cubicBezTo>
                  <a:pt x="14995" y="4104"/>
                  <a:pt x="14980" y="4135"/>
                  <a:pt x="14980" y="4172"/>
                </a:cubicBezTo>
                <a:cubicBezTo>
                  <a:pt x="14980" y="4210"/>
                  <a:pt x="14995" y="4240"/>
                  <a:pt x="15014" y="4240"/>
                </a:cubicBezTo>
                <a:cubicBezTo>
                  <a:pt x="15033" y="4240"/>
                  <a:pt x="15048" y="4210"/>
                  <a:pt x="15048" y="4172"/>
                </a:cubicBezTo>
                <a:cubicBezTo>
                  <a:pt x="15048" y="4135"/>
                  <a:pt x="15033" y="4104"/>
                  <a:pt x="15014" y="4104"/>
                </a:cubicBezTo>
                <a:close/>
                <a:moveTo>
                  <a:pt x="17582" y="4104"/>
                </a:moveTo>
                <a:cubicBezTo>
                  <a:pt x="17563" y="4104"/>
                  <a:pt x="17548" y="4135"/>
                  <a:pt x="17548" y="4172"/>
                </a:cubicBezTo>
                <a:cubicBezTo>
                  <a:pt x="17548" y="4210"/>
                  <a:pt x="17563" y="4240"/>
                  <a:pt x="17582" y="4240"/>
                </a:cubicBezTo>
                <a:cubicBezTo>
                  <a:pt x="17601" y="4240"/>
                  <a:pt x="17616" y="4210"/>
                  <a:pt x="17616" y="4172"/>
                </a:cubicBezTo>
                <a:cubicBezTo>
                  <a:pt x="17616" y="4135"/>
                  <a:pt x="17601" y="4104"/>
                  <a:pt x="17582" y="4104"/>
                </a:cubicBezTo>
                <a:close/>
                <a:moveTo>
                  <a:pt x="19815" y="4104"/>
                </a:moveTo>
                <a:cubicBezTo>
                  <a:pt x="19796" y="4104"/>
                  <a:pt x="19781" y="4135"/>
                  <a:pt x="19781" y="4172"/>
                </a:cubicBezTo>
                <a:cubicBezTo>
                  <a:pt x="19781" y="4210"/>
                  <a:pt x="19796" y="4240"/>
                  <a:pt x="19815" y="4240"/>
                </a:cubicBezTo>
                <a:cubicBezTo>
                  <a:pt x="19834" y="4240"/>
                  <a:pt x="19849" y="4210"/>
                  <a:pt x="19849" y="4172"/>
                </a:cubicBezTo>
                <a:cubicBezTo>
                  <a:pt x="19849" y="4135"/>
                  <a:pt x="19834" y="4104"/>
                  <a:pt x="19815" y="4104"/>
                </a:cubicBezTo>
                <a:close/>
                <a:moveTo>
                  <a:pt x="4243" y="4128"/>
                </a:moveTo>
                <a:cubicBezTo>
                  <a:pt x="4243" y="4149"/>
                  <a:pt x="4249" y="4167"/>
                  <a:pt x="4255" y="4183"/>
                </a:cubicBezTo>
                <a:lnTo>
                  <a:pt x="4199" y="4330"/>
                </a:lnTo>
                <a:lnTo>
                  <a:pt x="4114" y="4555"/>
                </a:lnTo>
                <a:cubicBezTo>
                  <a:pt x="4112" y="4554"/>
                  <a:pt x="4111" y="4551"/>
                  <a:pt x="4110" y="4551"/>
                </a:cubicBezTo>
                <a:cubicBezTo>
                  <a:pt x="4091" y="4551"/>
                  <a:pt x="4075" y="4582"/>
                  <a:pt x="4075" y="4620"/>
                </a:cubicBezTo>
                <a:cubicBezTo>
                  <a:pt x="4075" y="4629"/>
                  <a:pt x="4078" y="4635"/>
                  <a:pt x="4080" y="4643"/>
                </a:cubicBezTo>
                <a:lnTo>
                  <a:pt x="3973" y="4927"/>
                </a:lnTo>
                <a:cubicBezTo>
                  <a:pt x="3972" y="4926"/>
                  <a:pt x="3972" y="4924"/>
                  <a:pt x="3971" y="4924"/>
                </a:cubicBezTo>
                <a:cubicBezTo>
                  <a:pt x="3957" y="4924"/>
                  <a:pt x="3945" y="4947"/>
                  <a:pt x="3945" y="4976"/>
                </a:cubicBezTo>
                <a:cubicBezTo>
                  <a:pt x="3945" y="4982"/>
                  <a:pt x="3948" y="4986"/>
                  <a:pt x="3949" y="4992"/>
                </a:cubicBezTo>
                <a:lnTo>
                  <a:pt x="3675" y="5717"/>
                </a:lnTo>
                <a:cubicBezTo>
                  <a:pt x="3675" y="5717"/>
                  <a:pt x="3396" y="5322"/>
                  <a:pt x="3396" y="5322"/>
                </a:cubicBezTo>
                <a:lnTo>
                  <a:pt x="3708" y="4881"/>
                </a:lnTo>
                <a:cubicBezTo>
                  <a:pt x="3721" y="4906"/>
                  <a:pt x="3739" y="4922"/>
                  <a:pt x="3759" y="4922"/>
                </a:cubicBezTo>
                <a:cubicBezTo>
                  <a:pt x="3799" y="4922"/>
                  <a:pt x="3832" y="4856"/>
                  <a:pt x="3832" y="4774"/>
                </a:cubicBezTo>
                <a:cubicBezTo>
                  <a:pt x="3832" y="4753"/>
                  <a:pt x="3830" y="4734"/>
                  <a:pt x="3826" y="4716"/>
                </a:cubicBezTo>
                <a:lnTo>
                  <a:pt x="4028" y="4431"/>
                </a:lnTo>
                <a:cubicBezTo>
                  <a:pt x="4035" y="4439"/>
                  <a:pt x="4042" y="4450"/>
                  <a:pt x="4050" y="4450"/>
                </a:cubicBezTo>
                <a:cubicBezTo>
                  <a:pt x="4078" y="4450"/>
                  <a:pt x="4099" y="4406"/>
                  <a:pt x="4099" y="4352"/>
                </a:cubicBezTo>
                <a:cubicBezTo>
                  <a:pt x="4099" y="4345"/>
                  <a:pt x="4096" y="4342"/>
                  <a:pt x="4096" y="4336"/>
                </a:cubicBezTo>
                <a:lnTo>
                  <a:pt x="4243" y="4128"/>
                </a:lnTo>
                <a:close/>
                <a:moveTo>
                  <a:pt x="2115" y="4178"/>
                </a:moveTo>
                <a:cubicBezTo>
                  <a:pt x="2088" y="4178"/>
                  <a:pt x="2066" y="4223"/>
                  <a:pt x="2066" y="4277"/>
                </a:cubicBezTo>
                <a:cubicBezTo>
                  <a:pt x="2066" y="4332"/>
                  <a:pt x="2088" y="4375"/>
                  <a:pt x="2115" y="4375"/>
                </a:cubicBezTo>
                <a:cubicBezTo>
                  <a:pt x="2142" y="4375"/>
                  <a:pt x="2164" y="4332"/>
                  <a:pt x="2164" y="4277"/>
                </a:cubicBezTo>
                <a:cubicBezTo>
                  <a:pt x="2164" y="4223"/>
                  <a:pt x="2142" y="4178"/>
                  <a:pt x="2115" y="4178"/>
                </a:cubicBezTo>
                <a:close/>
                <a:moveTo>
                  <a:pt x="2854" y="4178"/>
                </a:moveTo>
                <a:cubicBezTo>
                  <a:pt x="2840" y="4178"/>
                  <a:pt x="2829" y="4201"/>
                  <a:pt x="2829" y="4229"/>
                </a:cubicBezTo>
                <a:cubicBezTo>
                  <a:pt x="2829" y="4258"/>
                  <a:pt x="2840" y="4281"/>
                  <a:pt x="2854" y="4281"/>
                </a:cubicBezTo>
                <a:cubicBezTo>
                  <a:pt x="2868" y="4281"/>
                  <a:pt x="2880" y="4258"/>
                  <a:pt x="2880" y="4229"/>
                </a:cubicBezTo>
                <a:cubicBezTo>
                  <a:pt x="2880" y="4201"/>
                  <a:pt x="2868" y="4178"/>
                  <a:pt x="2854" y="4178"/>
                </a:cubicBezTo>
                <a:close/>
                <a:moveTo>
                  <a:pt x="4664" y="4178"/>
                </a:moveTo>
                <a:cubicBezTo>
                  <a:pt x="4637" y="4178"/>
                  <a:pt x="4615" y="4223"/>
                  <a:pt x="4615" y="4277"/>
                </a:cubicBezTo>
                <a:cubicBezTo>
                  <a:pt x="4615" y="4332"/>
                  <a:pt x="4637" y="4375"/>
                  <a:pt x="4664" y="4375"/>
                </a:cubicBezTo>
                <a:cubicBezTo>
                  <a:pt x="4692" y="4375"/>
                  <a:pt x="4713" y="4332"/>
                  <a:pt x="4713" y="4277"/>
                </a:cubicBezTo>
                <a:cubicBezTo>
                  <a:pt x="4713" y="4223"/>
                  <a:pt x="4692" y="4178"/>
                  <a:pt x="4664" y="4178"/>
                </a:cubicBezTo>
                <a:close/>
                <a:moveTo>
                  <a:pt x="14344" y="4290"/>
                </a:moveTo>
                <a:cubicBezTo>
                  <a:pt x="14325" y="4290"/>
                  <a:pt x="14310" y="4321"/>
                  <a:pt x="14310" y="4359"/>
                </a:cubicBezTo>
                <a:cubicBezTo>
                  <a:pt x="14310" y="4397"/>
                  <a:pt x="14325" y="4426"/>
                  <a:pt x="14344" y="4426"/>
                </a:cubicBezTo>
                <a:cubicBezTo>
                  <a:pt x="14363" y="4426"/>
                  <a:pt x="14378" y="4397"/>
                  <a:pt x="14378" y="4359"/>
                </a:cubicBezTo>
                <a:cubicBezTo>
                  <a:pt x="14378" y="4321"/>
                  <a:pt x="14363" y="4290"/>
                  <a:pt x="14344" y="4290"/>
                </a:cubicBezTo>
                <a:close/>
                <a:moveTo>
                  <a:pt x="21229" y="4290"/>
                </a:moveTo>
                <a:cubicBezTo>
                  <a:pt x="21210" y="4290"/>
                  <a:pt x="21195" y="4321"/>
                  <a:pt x="21195" y="4359"/>
                </a:cubicBezTo>
                <a:cubicBezTo>
                  <a:pt x="21195" y="4397"/>
                  <a:pt x="21210" y="4426"/>
                  <a:pt x="21229" y="4426"/>
                </a:cubicBezTo>
                <a:cubicBezTo>
                  <a:pt x="21248" y="4426"/>
                  <a:pt x="21263" y="4397"/>
                  <a:pt x="21263" y="4359"/>
                </a:cubicBezTo>
                <a:cubicBezTo>
                  <a:pt x="21263" y="4321"/>
                  <a:pt x="21248" y="4290"/>
                  <a:pt x="21229" y="4290"/>
                </a:cubicBezTo>
                <a:close/>
                <a:moveTo>
                  <a:pt x="8767" y="4308"/>
                </a:moveTo>
                <a:cubicBezTo>
                  <a:pt x="8752" y="4308"/>
                  <a:pt x="8743" y="4327"/>
                  <a:pt x="8737" y="4340"/>
                </a:cubicBezTo>
                <a:cubicBezTo>
                  <a:pt x="8733" y="4348"/>
                  <a:pt x="8730" y="4354"/>
                  <a:pt x="8729" y="4354"/>
                </a:cubicBezTo>
                <a:cubicBezTo>
                  <a:pt x="8722" y="4354"/>
                  <a:pt x="8716" y="4363"/>
                  <a:pt x="8715" y="4375"/>
                </a:cubicBezTo>
                <a:cubicBezTo>
                  <a:pt x="8705" y="4371"/>
                  <a:pt x="8694" y="4373"/>
                  <a:pt x="8681" y="4381"/>
                </a:cubicBezTo>
                <a:cubicBezTo>
                  <a:pt x="8674" y="4386"/>
                  <a:pt x="8670" y="4400"/>
                  <a:pt x="8672" y="4415"/>
                </a:cubicBezTo>
                <a:cubicBezTo>
                  <a:pt x="8673" y="4433"/>
                  <a:pt x="8682" y="4449"/>
                  <a:pt x="8692" y="4464"/>
                </a:cubicBezTo>
                <a:cubicBezTo>
                  <a:pt x="8680" y="4482"/>
                  <a:pt x="8672" y="4507"/>
                  <a:pt x="8672" y="4538"/>
                </a:cubicBezTo>
                <a:cubicBezTo>
                  <a:pt x="8672" y="4555"/>
                  <a:pt x="8677" y="4567"/>
                  <a:pt x="8680" y="4580"/>
                </a:cubicBezTo>
                <a:cubicBezTo>
                  <a:pt x="8681" y="4586"/>
                  <a:pt x="8680" y="4592"/>
                  <a:pt x="8682" y="4597"/>
                </a:cubicBezTo>
                <a:cubicBezTo>
                  <a:pt x="8683" y="4598"/>
                  <a:pt x="8684" y="4598"/>
                  <a:pt x="8684" y="4599"/>
                </a:cubicBezTo>
                <a:cubicBezTo>
                  <a:pt x="8693" y="4621"/>
                  <a:pt x="8706" y="4636"/>
                  <a:pt x="8721" y="4636"/>
                </a:cubicBezTo>
                <a:cubicBezTo>
                  <a:pt x="8728" y="4636"/>
                  <a:pt x="8733" y="4628"/>
                  <a:pt x="8739" y="4622"/>
                </a:cubicBezTo>
                <a:cubicBezTo>
                  <a:pt x="8740" y="4622"/>
                  <a:pt x="8742" y="4621"/>
                  <a:pt x="8743" y="4621"/>
                </a:cubicBezTo>
                <a:cubicBezTo>
                  <a:pt x="8751" y="4619"/>
                  <a:pt x="8758" y="4618"/>
                  <a:pt x="8766" y="4618"/>
                </a:cubicBezTo>
                <a:cubicBezTo>
                  <a:pt x="8766" y="4620"/>
                  <a:pt x="8765" y="4622"/>
                  <a:pt x="8765" y="4625"/>
                </a:cubicBezTo>
                <a:cubicBezTo>
                  <a:pt x="8762" y="4646"/>
                  <a:pt x="8760" y="4668"/>
                  <a:pt x="8759" y="4698"/>
                </a:cubicBezTo>
                <a:cubicBezTo>
                  <a:pt x="8756" y="4702"/>
                  <a:pt x="8753" y="4706"/>
                  <a:pt x="8750" y="4710"/>
                </a:cubicBezTo>
                <a:cubicBezTo>
                  <a:pt x="8749" y="4712"/>
                  <a:pt x="8747" y="4714"/>
                  <a:pt x="8746" y="4716"/>
                </a:cubicBezTo>
                <a:cubicBezTo>
                  <a:pt x="8741" y="4723"/>
                  <a:pt x="8738" y="4737"/>
                  <a:pt x="8740" y="4749"/>
                </a:cubicBezTo>
                <a:cubicBezTo>
                  <a:pt x="8742" y="4762"/>
                  <a:pt x="8748" y="4770"/>
                  <a:pt x="8754" y="4770"/>
                </a:cubicBezTo>
                <a:cubicBezTo>
                  <a:pt x="8779" y="4770"/>
                  <a:pt x="8793" y="4791"/>
                  <a:pt x="8809" y="4811"/>
                </a:cubicBezTo>
                <a:cubicBezTo>
                  <a:pt x="8819" y="4825"/>
                  <a:pt x="8830" y="4839"/>
                  <a:pt x="8843" y="4846"/>
                </a:cubicBezTo>
                <a:lnTo>
                  <a:pt x="8847" y="4848"/>
                </a:lnTo>
                <a:cubicBezTo>
                  <a:pt x="8875" y="4868"/>
                  <a:pt x="8905" y="4888"/>
                  <a:pt x="8938" y="4902"/>
                </a:cubicBezTo>
                <a:cubicBezTo>
                  <a:pt x="8944" y="4941"/>
                  <a:pt x="8960" y="4972"/>
                  <a:pt x="8982" y="4972"/>
                </a:cubicBezTo>
                <a:cubicBezTo>
                  <a:pt x="9000" y="4972"/>
                  <a:pt x="9012" y="4950"/>
                  <a:pt x="9020" y="4921"/>
                </a:cubicBezTo>
                <a:cubicBezTo>
                  <a:pt x="9027" y="4921"/>
                  <a:pt x="9031" y="4924"/>
                  <a:pt x="9038" y="4924"/>
                </a:cubicBezTo>
                <a:cubicBezTo>
                  <a:pt x="9091" y="4924"/>
                  <a:pt x="9128" y="4888"/>
                  <a:pt x="9161" y="4855"/>
                </a:cubicBezTo>
                <a:cubicBezTo>
                  <a:pt x="9177" y="4841"/>
                  <a:pt x="9191" y="4826"/>
                  <a:pt x="9206" y="4816"/>
                </a:cubicBezTo>
                <a:cubicBezTo>
                  <a:pt x="9216" y="4809"/>
                  <a:pt x="9231" y="4790"/>
                  <a:pt x="9244" y="4773"/>
                </a:cubicBezTo>
                <a:cubicBezTo>
                  <a:pt x="9250" y="4777"/>
                  <a:pt x="9254" y="4786"/>
                  <a:pt x="9261" y="4786"/>
                </a:cubicBezTo>
                <a:cubicBezTo>
                  <a:pt x="9288" y="4786"/>
                  <a:pt x="9310" y="4742"/>
                  <a:pt x="9310" y="4688"/>
                </a:cubicBezTo>
                <a:cubicBezTo>
                  <a:pt x="9310" y="4678"/>
                  <a:pt x="9306" y="4671"/>
                  <a:pt x="9304" y="4662"/>
                </a:cubicBezTo>
                <a:cubicBezTo>
                  <a:pt x="9305" y="4659"/>
                  <a:pt x="9308" y="4656"/>
                  <a:pt x="9309" y="4653"/>
                </a:cubicBezTo>
                <a:lnTo>
                  <a:pt x="9312" y="4647"/>
                </a:lnTo>
                <a:cubicBezTo>
                  <a:pt x="9315" y="4641"/>
                  <a:pt x="9316" y="4634"/>
                  <a:pt x="9316" y="4626"/>
                </a:cubicBezTo>
                <a:cubicBezTo>
                  <a:pt x="9316" y="4550"/>
                  <a:pt x="9291" y="4520"/>
                  <a:pt x="9270" y="4496"/>
                </a:cubicBezTo>
                <a:cubicBezTo>
                  <a:pt x="9249" y="4472"/>
                  <a:pt x="9237" y="4456"/>
                  <a:pt x="9237" y="4415"/>
                </a:cubicBezTo>
                <a:cubicBezTo>
                  <a:pt x="9238" y="4412"/>
                  <a:pt x="9241" y="4404"/>
                  <a:pt x="9244" y="4400"/>
                </a:cubicBezTo>
                <a:cubicBezTo>
                  <a:pt x="9249" y="4392"/>
                  <a:pt x="9252" y="4378"/>
                  <a:pt x="9250" y="4366"/>
                </a:cubicBezTo>
                <a:cubicBezTo>
                  <a:pt x="9248" y="4353"/>
                  <a:pt x="9242" y="4345"/>
                  <a:pt x="9236" y="4345"/>
                </a:cubicBezTo>
                <a:cubicBezTo>
                  <a:pt x="9224" y="4345"/>
                  <a:pt x="9214" y="4352"/>
                  <a:pt x="9205" y="4358"/>
                </a:cubicBezTo>
                <a:cubicBezTo>
                  <a:pt x="9198" y="4363"/>
                  <a:pt x="9192" y="4367"/>
                  <a:pt x="9184" y="4367"/>
                </a:cubicBezTo>
                <a:cubicBezTo>
                  <a:pt x="9161" y="4367"/>
                  <a:pt x="9161" y="4360"/>
                  <a:pt x="9161" y="4341"/>
                </a:cubicBezTo>
                <a:cubicBezTo>
                  <a:pt x="9161" y="4330"/>
                  <a:pt x="9158" y="4320"/>
                  <a:pt x="9153" y="4315"/>
                </a:cubicBezTo>
                <a:cubicBezTo>
                  <a:pt x="9148" y="4309"/>
                  <a:pt x="9142" y="4310"/>
                  <a:pt x="9137" y="4317"/>
                </a:cubicBezTo>
                <a:cubicBezTo>
                  <a:pt x="9137" y="4317"/>
                  <a:pt x="9137" y="4318"/>
                  <a:pt x="9137" y="4318"/>
                </a:cubicBezTo>
                <a:cubicBezTo>
                  <a:pt x="9136" y="4318"/>
                  <a:pt x="9135" y="4317"/>
                  <a:pt x="9134" y="4317"/>
                </a:cubicBezTo>
                <a:cubicBezTo>
                  <a:pt x="9132" y="4316"/>
                  <a:pt x="9130" y="4314"/>
                  <a:pt x="9127" y="4312"/>
                </a:cubicBezTo>
                <a:cubicBezTo>
                  <a:pt x="9120" y="4308"/>
                  <a:pt x="9113" y="4315"/>
                  <a:pt x="9110" y="4327"/>
                </a:cubicBezTo>
                <a:lnTo>
                  <a:pt x="9109" y="4332"/>
                </a:lnTo>
                <a:cubicBezTo>
                  <a:pt x="9107" y="4340"/>
                  <a:pt x="9104" y="4349"/>
                  <a:pt x="9102" y="4361"/>
                </a:cubicBezTo>
                <a:cubicBezTo>
                  <a:pt x="9091" y="4359"/>
                  <a:pt x="9079" y="4367"/>
                  <a:pt x="9068" y="4375"/>
                </a:cubicBezTo>
                <a:cubicBezTo>
                  <a:pt x="9059" y="4382"/>
                  <a:pt x="9050" y="4388"/>
                  <a:pt x="9043" y="4388"/>
                </a:cubicBezTo>
                <a:cubicBezTo>
                  <a:pt x="9035" y="4388"/>
                  <a:pt x="9028" y="4386"/>
                  <a:pt x="9019" y="4383"/>
                </a:cubicBezTo>
                <a:cubicBezTo>
                  <a:pt x="9008" y="4380"/>
                  <a:pt x="8994" y="4375"/>
                  <a:pt x="8975" y="4375"/>
                </a:cubicBezTo>
                <a:cubicBezTo>
                  <a:pt x="8968" y="4375"/>
                  <a:pt x="8962" y="4384"/>
                  <a:pt x="8961" y="4396"/>
                </a:cubicBezTo>
                <a:cubicBezTo>
                  <a:pt x="8952" y="4377"/>
                  <a:pt x="8940" y="4365"/>
                  <a:pt x="8926" y="4365"/>
                </a:cubicBezTo>
                <a:cubicBezTo>
                  <a:pt x="8910" y="4365"/>
                  <a:pt x="8898" y="4382"/>
                  <a:pt x="8888" y="4405"/>
                </a:cubicBezTo>
                <a:cubicBezTo>
                  <a:pt x="8887" y="4402"/>
                  <a:pt x="8886" y="4401"/>
                  <a:pt x="8883" y="4395"/>
                </a:cubicBezTo>
                <a:cubicBezTo>
                  <a:pt x="8881" y="4391"/>
                  <a:pt x="8879" y="4387"/>
                  <a:pt x="8877" y="4383"/>
                </a:cubicBezTo>
                <a:cubicBezTo>
                  <a:pt x="8874" y="4377"/>
                  <a:pt x="8870" y="4375"/>
                  <a:pt x="8865" y="4375"/>
                </a:cubicBezTo>
                <a:cubicBezTo>
                  <a:pt x="8861" y="4376"/>
                  <a:pt x="8857" y="4380"/>
                  <a:pt x="8854" y="4387"/>
                </a:cubicBezTo>
                <a:cubicBezTo>
                  <a:pt x="8847" y="4407"/>
                  <a:pt x="8846" y="4424"/>
                  <a:pt x="8848" y="4442"/>
                </a:cubicBezTo>
                <a:cubicBezTo>
                  <a:pt x="8848" y="4442"/>
                  <a:pt x="8847" y="4443"/>
                  <a:pt x="8847" y="4444"/>
                </a:cubicBezTo>
                <a:cubicBezTo>
                  <a:pt x="8840" y="4450"/>
                  <a:pt x="8834" y="4456"/>
                  <a:pt x="8829" y="4456"/>
                </a:cubicBezTo>
                <a:cubicBezTo>
                  <a:pt x="8822" y="4453"/>
                  <a:pt x="8810" y="4419"/>
                  <a:pt x="8811" y="4405"/>
                </a:cubicBezTo>
                <a:cubicBezTo>
                  <a:pt x="8811" y="4402"/>
                  <a:pt x="8811" y="4398"/>
                  <a:pt x="8811" y="4395"/>
                </a:cubicBezTo>
                <a:cubicBezTo>
                  <a:pt x="8810" y="4377"/>
                  <a:pt x="8806" y="4365"/>
                  <a:pt x="8804" y="4354"/>
                </a:cubicBezTo>
                <a:cubicBezTo>
                  <a:pt x="8801" y="4346"/>
                  <a:pt x="8799" y="4340"/>
                  <a:pt x="8798" y="4332"/>
                </a:cubicBezTo>
                <a:cubicBezTo>
                  <a:pt x="8797" y="4318"/>
                  <a:pt x="8791" y="4308"/>
                  <a:pt x="8784" y="4308"/>
                </a:cubicBezTo>
                <a:lnTo>
                  <a:pt x="8767" y="4308"/>
                </a:lnTo>
                <a:close/>
                <a:moveTo>
                  <a:pt x="497" y="4327"/>
                </a:moveTo>
                <a:cubicBezTo>
                  <a:pt x="480" y="4327"/>
                  <a:pt x="465" y="4356"/>
                  <a:pt x="465" y="4391"/>
                </a:cubicBezTo>
                <a:cubicBezTo>
                  <a:pt x="465" y="4427"/>
                  <a:pt x="480" y="4454"/>
                  <a:pt x="497" y="4454"/>
                </a:cubicBezTo>
                <a:cubicBezTo>
                  <a:pt x="515" y="4454"/>
                  <a:pt x="529" y="4427"/>
                  <a:pt x="529" y="4391"/>
                </a:cubicBezTo>
                <a:cubicBezTo>
                  <a:pt x="529" y="4356"/>
                  <a:pt x="515" y="4327"/>
                  <a:pt x="497" y="4327"/>
                </a:cubicBezTo>
                <a:close/>
                <a:moveTo>
                  <a:pt x="278" y="4330"/>
                </a:moveTo>
                <a:cubicBezTo>
                  <a:pt x="279" y="4330"/>
                  <a:pt x="280" y="4331"/>
                  <a:pt x="281" y="4332"/>
                </a:cubicBezTo>
                <a:lnTo>
                  <a:pt x="283" y="4334"/>
                </a:lnTo>
                <a:cubicBezTo>
                  <a:pt x="321" y="4367"/>
                  <a:pt x="346" y="4388"/>
                  <a:pt x="361" y="4457"/>
                </a:cubicBezTo>
                <a:cubicBezTo>
                  <a:pt x="358" y="4457"/>
                  <a:pt x="354" y="4455"/>
                  <a:pt x="350" y="4454"/>
                </a:cubicBezTo>
                <a:cubicBezTo>
                  <a:pt x="343" y="4453"/>
                  <a:pt x="335" y="4451"/>
                  <a:pt x="322" y="4451"/>
                </a:cubicBezTo>
                <a:cubicBezTo>
                  <a:pt x="313" y="4451"/>
                  <a:pt x="304" y="4452"/>
                  <a:pt x="296" y="4453"/>
                </a:cubicBezTo>
                <a:cubicBezTo>
                  <a:pt x="292" y="4454"/>
                  <a:pt x="289" y="4455"/>
                  <a:pt x="286" y="4456"/>
                </a:cubicBezTo>
                <a:cubicBezTo>
                  <a:pt x="284" y="4456"/>
                  <a:pt x="281" y="4456"/>
                  <a:pt x="279" y="4456"/>
                </a:cubicBezTo>
                <a:cubicBezTo>
                  <a:pt x="268" y="4456"/>
                  <a:pt x="259" y="4455"/>
                  <a:pt x="259" y="4386"/>
                </a:cubicBezTo>
                <a:cubicBezTo>
                  <a:pt x="269" y="4372"/>
                  <a:pt x="275" y="4354"/>
                  <a:pt x="278" y="4330"/>
                </a:cubicBezTo>
                <a:close/>
                <a:moveTo>
                  <a:pt x="668" y="4365"/>
                </a:moveTo>
                <a:cubicBezTo>
                  <a:pt x="659" y="4365"/>
                  <a:pt x="652" y="4379"/>
                  <a:pt x="652" y="4397"/>
                </a:cubicBezTo>
                <a:cubicBezTo>
                  <a:pt x="652" y="4416"/>
                  <a:pt x="659" y="4431"/>
                  <a:pt x="668" y="4431"/>
                </a:cubicBezTo>
                <a:cubicBezTo>
                  <a:pt x="677" y="4431"/>
                  <a:pt x="685" y="4416"/>
                  <a:pt x="685" y="4397"/>
                </a:cubicBezTo>
                <a:cubicBezTo>
                  <a:pt x="685" y="4379"/>
                  <a:pt x="677" y="4365"/>
                  <a:pt x="668" y="4365"/>
                </a:cubicBezTo>
                <a:close/>
                <a:moveTo>
                  <a:pt x="8767" y="4367"/>
                </a:moveTo>
                <a:lnTo>
                  <a:pt x="8773" y="4367"/>
                </a:lnTo>
                <a:cubicBezTo>
                  <a:pt x="8774" y="4373"/>
                  <a:pt x="8776" y="4378"/>
                  <a:pt x="8777" y="4383"/>
                </a:cubicBezTo>
                <a:cubicBezTo>
                  <a:pt x="8779" y="4390"/>
                  <a:pt x="8781" y="4396"/>
                  <a:pt x="8781" y="4402"/>
                </a:cubicBezTo>
                <a:cubicBezTo>
                  <a:pt x="8781" y="4427"/>
                  <a:pt x="8787" y="4454"/>
                  <a:pt x="8794" y="4473"/>
                </a:cubicBezTo>
                <a:cubicBezTo>
                  <a:pt x="8781" y="4473"/>
                  <a:pt x="8756" y="4460"/>
                  <a:pt x="8736" y="4444"/>
                </a:cubicBezTo>
                <a:cubicBezTo>
                  <a:pt x="8736" y="4444"/>
                  <a:pt x="8736" y="4443"/>
                  <a:pt x="8737" y="4443"/>
                </a:cubicBezTo>
                <a:cubicBezTo>
                  <a:pt x="8741" y="4437"/>
                  <a:pt x="8744" y="4427"/>
                  <a:pt x="8744" y="4417"/>
                </a:cubicBezTo>
                <a:lnTo>
                  <a:pt x="8744" y="4407"/>
                </a:lnTo>
                <a:cubicBezTo>
                  <a:pt x="8750" y="4400"/>
                  <a:pt x="8755" y="4389"/>
                  <a:pt x="8759" y="4381"/>
                </a:cubicBezTo>
                <a:cubicBezTo>
                  <a:pt x="8762" y="4374"/>
                  <a:pt x="8765" y="4367"/>
                  <a:pt x="8767" y="4367"/>
                </a:cubicBezTo>
                <a:close/>
                <a:moveTo>
                  <a:pt x="210" y="4412"/>
                </a:moveTo>
                <a:lnTo>
                  <a:pt x="229" y="4412"/>
                </a:lnTo>
                <a:cubicBezTo>
                  <a:pt x="232" y="4477"/>
                  <a:pt x="246" y="4510"/>
                  <a:pt x="272" y="4515"/>
                </a:cubicBezTo>
                <a:cubicBezTo>
                  <a:pt x="272" y="4515"/>
                  <a:pt x="272" y="4790"/>
                  <a:pt x="272" y="4790"/>
                </a:cubicBezTo>
                <a:cubicBezTo>
                  <a:pt x="267" y="4788"/>
                  <a:pt x="263" y="4785"/>
                  <a:pt x="259" y="4782"/>
                </a:cubicBezTo>
                <a:cubicBezTo>
                  <a:pt x="248" y="4774"/>
                  <a:pt x="237" y="4767"/>
                  <a:pt x="224" y="4767"/>
                </a:cubicBezTo>
                <a:cubicBezTo>
                  <a:pt x="219" y="4767"/>
                  <a:pt x="215" y="4768"/>
                  <a:pt x="211" y="4769"/>
                </a:cubicBezTo>
                <a:lnTo>
                  <a:pt x="206" y="4769"/>
                </a:lnTo>
                <a:cubicBezTo>
                  <a:pt x="201" y="4751"/>
                  <a:pt x="192" y="4738"/>
                  <a:pt x="181" y="4738"/>
                </a:cubicBezTo>
                <a:cubicBezTo>
                  <a:pt x="170" y="4738"/>
                  <a:pt x="161" y="4751"/>
                  <a:pt x="156" y="4769"/>
                </a:cubicBezTo>
                <a:lnTo>
                  <a:pt x="113" y="4769"/>
                </a:lnTo>
                <a:cubicBezTo>
                  <a:pt x="109" y="4741"/>
                  <a:pt x="101" y="4721"/>
                  <a:pt x="95" y="4706"/>
                </a:cubicBezTo>
                <a:cubicBezTo>
                  <a:pt x="90" y="4694"/>
                  <a:pt x="88" y="4687"/>
                  <a:pt x="88" y="4681"/>
                </a:cubicBezTo>
                <a:cubicBezTo>
                  <a:pt x="88" y="4676"/>
                  <a:pt x="90" y="4665"/>
                  <a:pt x="91" y="4658"/>
                </a:cubicBezTo>
                <a:lnTo>
                  <a:pt x="93" y="4648"/>
                </a:lnTo>
                <a:cubicBezTo>
                  <a:pt x="94" y="4639"/>
                  <a:pt x="94" y="4629"/>
                  <a:pt x="91" y="4621"/>
                </a:cubicBezTo>
                <a:cubicBezTo>
                  <a:pt x="88" y="4613"/>
                  <a:pt x="84" y="4608"/>
                  <a:pt x="79" y="4608"/>
                </a:cubicBezTo>
                <a:cubicBezTo>
                  <a:pt x="56" y="4608"/>
                  <a:pt x="44" y="4596"/>
                  <a:pt x="36" y="4580"/>
                </a:cubicBezTo>
                <a:cubicBezTo>
                  <a:pt x="58" y="4557"/>
                  <a:pt x="84" y="4534"/>
                  <a:pt x="110" y="4512"/>
                </a:cubicBezTo>
                <a:cubicBezTo>
                  <a:pt x="145" y="4480"/>
                  <a:pt x="182" y="4448"/>
                  <a:pt x="210" y="4412"/>
                </a:cubicBezTo>
                <a:close/>
                <a:moveTo>
                  <a:pt x="9208" y="4419"/>
                </a:moveTo>
                <a:cubicBezTo>
                  <a:pt x="9209" y="4495"/>
                  <a:pt x="9234" y="4524"/>
                  <a:pt x="9255" y="4548"/>
                </a:cubicBezTo>
                <a:cubicBezTo>
                  <a:pt x="9272" y="4568"/>
                  <a:pt x="9282" y="4582"/>
                  <a:pt x="9285" y="4609"/>
                </a:cubicBezTo>
                <a:cubicBezTo>
                  <a:pt x="9278" y="4600"/>
                  <a:pt x="9270" y="4588"/>
                  <a:pt x="9261" y="4588"/>
                </a:cubicBezTo>
                <a:cubicBezTo>
                  <a:pt x="9233" y="4588"/>
                  <a:pt x="9211" y="4633"/>
                  <a:pt x="9211" y="4688"/>
                </a:cubicBezTo>
                <a:cubicBezTo>
                  <a:pt x="9211" y="4705"/>
                  <a:pt x="9217" y="4718"/>
                  <a:pt x="9221" y="4732"/>
                </a:cubicBezTo>
                <a:cubicBezTo>
                  <a:pt x="9212" y="4741"/>
                  <a:pt x="9203" y="4755"/>
                  <a:pt x="9197" y="4759"/>
                </a:cubicBezTo>
                <a:cubicBezTo>
                  <a:pt x="9179" y="4770"/>
                  <a:pt x="9164" y="4787"/>
                  <a:pt x="9148" y="4802"/>
                </a:cubicBezTo>
                <a:cubicBezTo>
                  <a:pt x="9115" y="4834"/>
                  <a:pt x="9084" y="4864"/>
                  <a:pt x="9038" y="4864"/>
                </a:cubicBezTo>
                <a:cubicBezTo>
                  <a:pt x="9034" y="4864"/>
                  <a:pt x="9031" y="4861"/>
                  <a:pt x="9027" y="4861"/>
                </a:cubicBezTo>
                <a:cubicBezTo>
                  <a:pt x="9024" y="4814"/>
                  <a:pt x="9006" y="4775"/>
                  <a:pt x="8982" y="4775"/>
                </a:cubicBezTo>
                <a:cubicBezTo>
                  <a:pt x="8961" y="4775"/>
                  <a:pt x="8946" y="4804"/>
                  <a:pt x="8939" y="4840"/>
                </a:cubicBezTo>
                <a:cubicBezTo>
                  <a:pt x="8911" y="4827"/>
                  <a:pt x="8884" y="4810"/>
                  <a:pt x="8857" y="4791"/>
                </a:cubicBezTo>
                <a:lnTo>
                  <a:pt x="8852" y="4789"/>
                </a:lnTo>
                <a:cubicBezTo>
                  <a:pt x="8843" y="4784"/>
                  <a:pt x="8835" y="4773"/>
                  <a:pt x="8826" y="4761"/>
                </a:cubicBezTo>
                <a:cubicBezTo>
                  <a:pt x="8815" y="4747"/>
                  <a:pt x="8803" y="4732"/>
                  <a:pt x="8788" y="4721"/>
                </a:cubicBezTo>
                <a:cubicBezTo>
                  <a:pt x="8788" y="4721"/>
                  <a:pt x="8788" y="4720"/>
                  <a:pt x="8788" y="4719"/>
                </a:cubicBezTo>
                <a:cubicBezTo>
                  <a:pt x="8788" y="4685"/>
                  <a:pt x="8791" y="4664"/>
                  <a:pt x="8794" y="4639"/>
                </a:cubicBezTo>
                <a:cubicBezTo>
                  <a:pt x="8795" y="4626"/>
                  <a:pt x="8797" y="4613"/>
                  <a:pt x="8798" y="4598"/>
                </a:cubicBezTo>
                <a:cubicBezTo>
                  <a:pt x="8799" y="4589"/>
                  <a:pt x="8798" y="4580"/>
                  <a:pt x="8795" y="4573"/>
                </a:cubicBezTo>
                <a:cubicBezTo>
                  <a:pt x="8800" y="4571"/>
                  <a:pt x="8805" y="4568"/>
                  <a:pt x="8808" y="4565"/>
                </a:cubicBezTo>
                <a:cubicBezTo>
                  <a:pt x="8813" y="4561"/>
                  <a:pt x="8817" y="4552"/>
                  <a:pt x="8818" y="4541"/>
                </a:cubicBezTo>
                <a:cubicBezTo>
                  <a:pt x="8818" y="4530"/>
                  <a:pt x="8816" y="4518"/>
                  <a:pt x="8811" y="4512"/>
                </a:cubicBezTo>
                <a:cubicBezTo>
                  <a:pt x="8810" y="4510"/>
                  <a:pt x="8809" y="4509"/>
                  <a:pt x="8809" y="4502"/>
                </a:cubicBezTo>
                <a:cubicBezTo>
                  <a:pt x="8828" y="4528"/>
                  <a:pt x="8847" y="4510"/>
                  <a:pt x="8859" y="4498"/>
                </a:cubicBezTo>
                <a:cubicBezTo>
                  <a:pt x="8863" y="4494"/>
                  <a:pt x="8867" y="4490"/>
                  <a:pt x="8869" y="4489"/>
                </a:cubicBezTo>
                <a:cubicBezTo>
                  <a:pt x="8873" y="4488"/>
                  <a:pt x="8876" y="4482"/>
                  <a:pt x="8879" y="4475"/>
                </a:cubicBezTo>
                <a:cubicBezTo>
                  <a:pt x="8882" y="4523"/>
                  <a:pt x="8901" y="4562"/>
                  <a:pt x="8926" y="4562"/>
                </a:cubicBezTo>
                <a:cubicBezTo>
                  <a:pt x="8951" y="4562"/>
                  <a:pt x="8970" y="4522"/>
                  <a:pt x="8973" y="4473"/>
                </a:cubicBezTo>
                <a:cubicBezTo>
                  <a:pt x="8977" y="4474"/>
                  <a:pt x="8981" y="4475"/>
                  <a:pt x="8984" y="4470"/>
                </a:cubicBezTo>
                <a:cubicBezTo>
                  <a:pt x="8988" y="4462"/>
                  <a:pt x="8991" y="4449"/>
                  <a:pt x="8989" y="4438"/>
                </a:cubicBezTo>
                <a:cubicBezTo>
                  <a:pt x="8989" y="4438"/>
                  <a:pt x="8989" y="4437"/>
                  <a:pt x="8989" y="4436"/>
                </a:cubicBezTo>
                <a:cubicBezTo>
                  <a:pt x="8999" y="4437"/>
                  <a:pt x="9008" y="4439"/>
                  <a:pt x="9015" y="4442"/>
                </a:cubicBezTo>
                <a:cubicBezTo>
                  <a:pt x="9025" y="4444"/>
                  <a:pt x="9033" y="4447"/>
                  <a:pt x="9043" y="4447"/>
                </a:cubicBezTo>
                <a:cubicBezTo>
                  <a:pt x="9056" y="4447"/>
                  <a:pt x="9068" y="4439"/>
                  <a:pt x="9078" y="4431"/>
                </a:cubicBezTo>
                <a:cubicBezTo>
                  <a:pt x="9082" y="4428"/>
                  <a:pt x="9084" y="4431"/>
                  <a:pt x="9088" y="4429"/>
                </a:cubicBezTo>
                <a:cubicBezTo>
                  <a:pt x="9085" y="4441"/>
                  <a:pt x="9081" y="4450"/>
                  <a:pt x="9081" y="4464"/>
                </a:cubicBezTo>
                <a:cubicBezTo>
                  <a:pt x="9081" y="4518"/>
                  <a:pt x="9103" y="4562"/>
                  <a:pt x="9130" y="4562"/>
                </a:cubicBezTo>
                <a:cubicBezTo>
                  <a:pt x="9158" y="4562"/>
                  <a:pt x="9179" y="4518"/>
                  <a:pt x="9179" y="4464"/>
                </a:cubicBezTo>
                <a:cubicBezTo>
                  <a:pt x="9179" y="4448"/>
                  <a:pt x="9174" y="4436"/>
                  <a:pt x="9171" y="4423"/>
                </a:cubicBezTo>
                <a:cubicBezTo>
                  <a:pt x="9176" y="4424"/>
                  <a:pt x="9181" y="4426"/>
                  <a:pt x="9184" y="4426"/>
                </a:cubicBezTo>
                <a:cubicBezTo>
                  <a:pt x="9193" y="4426"/>
                  <a:pt x="9201" y="4424"/>
                  <a:pt x="9208" y="4419"/>
                </a:cubicBezTo>
                <a:close/>
                <a:moveTo>
                  <a:pt x="6333" y="4421"/>
                </a:moveTo>
                <a:cubicBezTo>
                  <a:pt x="6336" y="4433"/>
                  <a:pt x="6337" y="4447"/>
                  <a:pt x="6342" y="4457"/>
                </a:cubicBezTo>
                <a:cubicBezTo>
                  <a:pt x="6342" y="4457"/>
                  <a:pt x="6341" y="4458"/>
                  <a:pt x="6342" y="4458"/>
                </a:cubicBezTo>
                <a:cubicBezTo>
                  <a:pt x="6342" y="4458"/>
                  <a:pt x="6342" y="4462"/>
                  <a:pt x="6342" y="4463"/>
                </a:cubicBezTo>
                <a:cubicBezTo>
                  <a:pt x="6341" y="4467"/>
                  <a:pt x="6340" y="4471"/>
                  <a:pt x="6340" y="4480"/>
                </a:cubicBezTo>
                <a:cubicBezTo>
                  <a:pt x="6340" y="4486"/>
                  <a:pt x="6334" y="4501"/>
                  <a:pt x="6309" y="4501"/>
                </a:cubicBezTo>
                <a:cubicBezTo>
                  <a:pt x="6301" y="4501"/>
                  <a:pt x="6294" y="4515"/>
                  <a:pt x="6294" y="4531"/>
                </a:cubicBezTo>
                <a:cubicBezTo>
                  <a:pt x="6294" y="4589"/>
                  <a:pt x="6287" y="4621"/>
                  <a:pt x="6281" y="4621"/>
                </a:cubicBezTo>
                <a:cubicBezTo>
                  <a:pt x="6252" y="4621"/>
                  <a:pt x="6231" y="4595"/>
                  <a:pt x="6212" y="4555"/>
                </a:cubicBezTo>
                <a:lnTo>
                  <a:pt x="6333" y="4421"/>
                </a:lnTo>
                <a:close/>
                <a:moveTo>
                  <a:pt x="10921" y="4426"/>
                </a:moveTo>
                <a:lnTo>
                  <a:pt x="11082" y="4604"/>
                </a:lnTo>
                <a:cubicBezTo>
                  <a:pt x="11078" y="4618"/>
                  <a:pt x="11072" y="4632"/>
                  <a:pt x="11072" y="4650"/>
                </a:cubicBezTo>
                <a:cubicBezTo>
                  <a:pt x="11072" y="4705"/>
                  <a:pt x="11094" y="4748"/>
                  <a:pt x="11121" y="4748"/>
                </a:cubicBezTo>
                <a:cubicBezTo>
                  <a:pt x="11141" y="4748"/>
                  <a:pt x="11154" y="4723"/>
                  <a:pt x="11162" y="4691"/>
                </a:cubicBezTo>
                <a:lnTo>
                  <a:pt x="11318" y="4864"/>
                </a:lnTo>
                <a:cubicBezTo>
                  <a:pt x="11302" y="4884"/>
                  <a:pt x="11285" y="4902"/>
                  <a:pt x="11269" y="4918"/>
                </a:cubicBezTo>
                <a:cubicBezTo>
                  <a:pt x="11260" y="4929"/>
                  <a:pt x="11250" y="4939"/>
                  <a:pt x="11243" y="4948"/>
                </a:cubicBezTo>
                <a:cubicBezTo>
                  <a:pt x="11234" y="4958"/>
                  <a:pt x="11225" y="4967"/>
                  <a:pt x="11216" y="4976"/>
                </a:cubicBezTo>
                <a:cubicBezTo>
                  <a:pt x="11188" y="5002"/>
                  <a:pt x="11160" y="5030"/>
                  <a:pt x="11142" y="5094"/>
                </a:cubicBezTo>
                <a:cubicBezTo>
                  <a:pt x="11133" y="5126"/>
                  <a:pt x="11133" y="5159"/>
                  <a:pt x="11132" y="5189"/>
                </a:cubicBezTo>
                <a:cubicBezTo>
                  <a:pt x="11132" y="5207"/>
                  <a:pt x="11132" y="5218"/>
                  <a:pt x="11131" y="5227"/>
                </a:cubicBezTo>
                <a:cubicBezTo>
                  <a:pt x="11129" y="5226"/>
                  <a:pt x="11127" y="5223"/>
                  <a:pt x="11125" y="5223"/>
                </a:cubicBezTo>
                <a:cubicBezTo>
                  <a:pt x="11106" y="5223"/>
                  <a:pt x="11091" y="5254"/>
                  <a:pt x="11091" y="5291"/>
                </a:cubicBezTo>
                <a:cubicBezTo>
                  <a:pt x="11091" y="5320"/>
                  <a:pt x="11100" y="5340"/>
                  <a:pt x="11113" y="5350"/>
                </a:cubicBezTo>
                <a:lnTo>
                  <a:pt x="11113" y="5354"/>
                </a:lnTo>
                <a:lnTo>
                  <a:pt x="10903" y="5389"/>
                </a:lnTo>
                <a:cubicBezTo>
                  <a:pt x="10898" y="5380"/>
                  <a:pt x="10891" y="5372"/>
                  <a:pt x="10883" y="5372"/>
                </a:cubicBezTo>
                <a:cubicBezTo>
                  <a:pt x="10873" y="5372"/>
                  <a:pt x="10864" y="5382"/>
                  <a:pt x="10857" y="5396"/>
                </a:cubicBezTo>
                <a:lnTo>
                  <a:pt x="10661" y="5429"/>
                </a:lnTo>
                <a:cubicBezTo>
                  <a:pt x="10654" y="5420"/>
                  <a:pt x="10647" y="5409"/>
                  <a:pt x="10638" y="5409"/>
                </a:cubicBezTo>
                <a:cubicBezTo>
                  <a:pt x="10624" y="5409"/>
                  <a:pt x="10612" y="5420"/>
                  <a:pt x="10603" y="5438"/>
                </a:cubicBezTo>
                <a:lnTo>
                  <a:pt x="10449" y="5464"/>
                </a:lnTo>
                <a:cubicBezTo>
                  <a:pt x="10440" y="5405"/>
                  <a:pt x="10439" y="5337"/>
                  <a:pt x="10439" y="5270"/>
                </a:cubicBezTo>
                <a:cubicBezTo>
                  <a:pt x="10439" y="5251"/>
                  <a:pt x="10442" y="5246"/>
                  <a:pt x="10456" y="5231"/>
                </a:cubicBezTo>
                <a:cubicBezTo>
                  <a:pt x="10465" y="5221"/>
                  <a:pt x="10476" y="5211"/>
                  <a:pt x="10482" y="5190"/>
                </a:cubicBezTo>
                <a:cubicBezTo>
                  <a:pt x="10484" y="5186"/>
                  <a:pt x="10486" y="5184"/>
                  <a:pt x="10487" y="5180"/>
                </a:cubicBezTo>
                <a:cubicBezTo>
                  <a:pt x="10490" y="5180"/>
                  <a:pt x="10492" y="5183"/>
                  <a:pt x="10495" y="5183"/>
                </a:cubicBezTo>
                <a:cubicBezTo>
                  <a:pt x="10532" y="5183"/>
                  <a:pt x="10561" y="5127"/>
                  <a:pt x="10566" y="5056"/>
                </a:cubicBezTo>
                <a:cubicBezTo>
                  <a:pt x="10568" y="5055"/>
                  <a:pt x="10568" y="5053"/>
                  <a:pt x="10570" y="5052"/>
                </a:cubicBezTo>
                <a:cubicBezTo>
                  <a:pt x="10587" y="5043"/>
                  <a:pt x="10598" y="5022"/>
                  <a:pt x="10610" y="5001"/>
                </a:cubicBezTo>
                <a:cubicBezTo>
                  <a:pt x="10625" y="4973"/>
                  <a:pt x="10641" y="4945"/>
                  <a:pt x="10673" y="4945"/>
                </a:cubicBezTo>
                <a:cubicBezTo>
                  <a:pt x="10677" y="4945"/>
                  <a:pt x="10682" y="4946"/>
                  <a:pt x="10687" y="4948"/>
                </a:cubicBezTo>
                <a:cubicBezTo>
                  <a:pt x="10695" y="4949"/>
                  <a:pt x="10702" y="4938"/>
                  <a:pt x="10703" y="4923"/>
                </a:cubicBezTo>
                <a:cubicBezTo>
                  <a:pt x="10705" y="4908"/>
                  <a:pt x="10700" y="4892"/>
                  <a:pt x="10693" y="4888"/>
                </a:cubicBezTo>
                <a:cubicBezTo>
                  <a:pt x="10690" y="4887"/>
                  <a:pt x="10688" y="4886"/>
                  <a:pt x="10685" y="4885"/>
                </a:cubicBezTo>
                <a:cubicBezTo>
                  <a:pt x="10687" y="4883"/>
                  <a:pt x="10688" y="4880"/>
                  <a:pt x="10689" y="4879"/>
                </a:cubicBezTo>
                <a:cubicBezTo>
                  <a:pt x="10697" y="4887"/>
                  <a:pt x="10703" y="4897"/>
                  <a:pt x="10712" y="4897"/>
                </a:cubicBezTo>
                <a:cubicBezTo>
                  <a:pt x="10739" y="4897"/>
                  <a:pt x="10761" y="4854"/>
                  <a:pt x="10761" y="4799"/>
                </a:cubicBezTo>
                <a:cubicBezTo>
                  <a:pt x="10761" y="4791"/>
                  <a:pt x="10757" y="4786"/>
                  <a:pt x="10756" y="4779"/>
                </a:cubicBezTo>
                <a:cubicBezTo>
                  <a:pt x="10767" y="4758"/>
                  <a:pt x="10777" y="4738"/>
                  <a:pt x="10787" y="4718"/>
                </a:cubicBezTo>
                <a:cubicBezTo>
                  <a:pt x="10803" y="4682"/>
                  <a:pt x="10821" y="4645"/>
                  <a:pt x="10840" y="4614"/>
                </a:cubicBezTo>
                <a:cubicBezTo>
                  <a:pt x="10850" y="4598"/>
                  <a:pt x="10857" y="4573"/>
                  <a:pt x="10861" y="4547"/>
                </a:cubicBezTo>
                <a:cubicBezTo>
                  <a:pt x="10867" y="4552"/>
                  <a:pt x="10872" y="4562"/>
                  <a:pt x="10880" y="4562"/>
                </a:cubicBezTo>
                <a:cubicBezTo>
                  <a:pt x="10907" y="4562"/>
                  <a:pt x="10928" y="4518"/>
                  <a:pt x="10928" y="4464"/>
                </a:cubicBezTo>
                <a:cubicBezTo>
                  <a:pt x="10928" y="4449"/>
                  <a:pt x="10924" y="4439"/>
                  <a:pt x="10921" y="4426"/>
                </a:cubicBezTo>
                <a:close/>
                <a:moveTo>
                  <a:pt x="11520" y="4501"/>
                </a:moveTo>
                <a:cubicBezTo>
                  <a:pt x="11552" y="4501"/>
                  <a:pt x="11599" y="4511"/>
                  <a:pt x="11619" y="4556"/>
                </a:cubicBezTo>
                <a:cubicBezTo>
                  <a:pt x="11594" y="4562"/>
                  <a:pt x="11574" y="4600"/>
                  <a:pt x="11574" y="4650"/>
                </a:cubicBezTo>
                <a:cubicBezTo>
                  <a:pt x="11574" y="4660"/>
                  <a:pt x="11578" y="4667"/>
                  <a:pt x="11580" y="4676"/>
                </a:cubicBezTo>
                <a:cubicBezTo>
                  <a:pt x="11571" y="4683"/>
                  <a:pt x="11563" y="4692"/>
                  <a:pt x="11555" y="4700"/>
                </a:cubicBezTo>
                <a:cubicBezTo>
                  <a:pt x="11533" y="4726"/>
                  <a:pt x="11513" y="4774"/>
                  <a:pt x="11492" y="4824"/>
                </a:cubicBezTo>
                <a:cubicBezTo>
                  <a:pt x="11475" y="4866"/>
                  <a:pt x="11457" y="4908"/>
                  <a:pt x="11437" y="4941"/>
                </a:cubicBezTo>
                <a:cubicBezTo>
                  <a:pt x="11430" y="4947"/>
                  <a:pt x="11424" y="4951"/>
                  <a:pt x="11420" y="4962"/>
                </a:cubicBezTo>
                <a:cubicBezTo>
                  <a:pt x="11404" y="4981"/>
                  <a:pt x="11388" y="4994"/>
                  <a:pt x="11371" y="4994"/>
                </a:cubicBezTo>
                <a:cubicBezTo>
                  <a:pt x="11367" y="4994"/>
                  <a:pt x="11363" y="4998"/>
                  <a:pt x="11360" y="5006"/>
                </a:cubicBezTo>
                <a:cubicBezTo>
                  <a:pt x="11357" y="5013"/>
                  <a:pt x="11356" y="5022"/>
                  <a:pt x="11358" y="5031"/>
                </a:cubicBezTo>
                <a:cubicBezTo>
                  <a:pt x="11360" y="5046"/>
                  <a:pt x="11358" y="5060"/>
                  <a:pt x="11358" y="5077"/>
                </a:cubicBezTo>
                <a:cubicBezTo>
                  <a:pt x="11357" y="5087"/>
                  <a:pt x="11357" y="5097"/>
                  <a:pt x="11357" y="5108"/>
                </a:cubicBezTo>
                <a:cubicBezTo>
                  <a:pt x="11357" y="5151"/>
                  <a:pt x="11370" y="5233"/>
                  <a:pt x="11390" y="5275"/>
                </a:cubicBezTo>
                <a:cubicBezTo>
                  <a:pt x="11383" y="5289"/>
                  <a:pt x="11375" y="5306"/>
                  <a:pt x="11371" y="5329"/>
                </a:cubicBezTo>
                <a:cubicBezTo>
                  <a:pt x="11371" y="5329"/>
                  <a:pt x="11371" y="5330"/>
                  <a:pt x="11371" y="5330"/>
                </a:cubicBezTo>
                <a:cubicBezTo>
                  <a:pt x="11368" y="5342"/>
                  <a:pt x="11367" y="5353"/>
                  <a:pt x="11367" y="5364"/>
                </a:cubicBezTo>
                <a:cubicBezTo>
                  <a:pt x="11367" y="5465"/>
                  <a:pt x="11413" y="5531"/>
                  <a:pt x="11460" y="5541"/>
                </a:cubicBezTo>
                <a:cubicBezTo>
                  <a:pt x="11469" y="5598"/>
                  <a:pt x="11505" y="5598"/>
                  <a:pt x="11520" y="5598"/>
                </a:cubicBezTo>
                <a:cubicBezTo>
                  <a:pt x="11550" y="5598"/>
                  <a:pt x="11587" y="5573"/>
                  <a:pt x="11623" y="5550"/>
                </a:cubicBezTo>
                <a:cubicBezTo>
                  <a:pt x="11632" y="5545"/>
                  <a:pt x="11640" y="5540"/>
                  <a:pt x="11648" y="5535"/>
                </a:cubicBezTo>
                <a:cubicBezTo>
                  <a:pt x="11650" y="5536"/>
                  <a:pt x="11653" y="5536"/>
                  <a:pt x="11655" y="5536"/>
                </a:cubicBezTo>
                <a:cubicBezTo>
                  <a:pt x="11662" y="5538"/>
                  <a:pt x="11670" y="5539"/>
                  <a:pt x="11679" y="5539"/>
                </a:cubicBezTo>
                <a:cubicBezTo>
                  <a:pt x="11697" y="5539"/>
                  <a:pt x="11758" y="5535"/>
                  <a:pt x="11796" y="5484"/>
                </a:cubicBezTo>
                <a:cubicBezTo>
                  <a:pt x="11800" y="5478"/>
                  <a:pt x="11803" y="5472"/>
                  <a:pt x="11806" y="5466"/>
                </a:cubicBezTo>
                <a:cubicBezTo>
                  <a:pt x="11808" y="5471"/>
                  <a:pt x="11811" y="5475"/>
                  <a:pt x="11813" y="5479"/>
                </a:cubicBezTo>
                <a:cubicBezTo>
                  <a:pt x="11823" y="5500"/>
                  <a:pt x="11833" y="5521"/>
                  <a:pt x="11841" y="5556"/>
                </a:cubicBezTo>
                <a:cubicBezTo>
                  <a:pt x="11837" y="5561"/>
                  <a:pt x="11831" y="5566"/>
                  <a:pt x="11826" y="5571"/>
                </a:cubicBezTo>
                <a:cubicBezTo>
                  <a:pt x="11792" y="5606"/>
                  <a:pt x="11758" y="5632"/>
                  <a:pt x="11743" y="5632"/>
                </a:cubicBezTo>
                <a:cubicBezTo>
                  <a:pt x="11728" y="5632"/>
                  <a:pt x="11715" y="5626"/>
                  <a:pt x="11700" y="5619"/>
                </a:cubicBezTo>
                <a:cubicBezTo>
                  <a:pt x="11683" y="5611"/>
                  <a:pt x="11663" y="5602"/>
                  <a:pt x="11637" y="5602"/>
                </a:cubicBezTo>
                <a:cubicBezTo>
                  <a:pt x="11629" y="5602"/>
                  <a:pt x="11620" y="5603"/>
                  <a:pt x="11610" y="5607"/>
                </a:cubicBezTo>
                <a:cubicBezTo>
                  <a:pt x="11577" y="5620"/>
                  <a:pt x="11508" y="5667"/>
                  <a:pt x="11497" y="5734"/>
                </a:cubicBezTo>
                <a:cubicBezTo>
                  <a:pt x="11493" y="5730"/>
                  <a:pt x="11490" y="5723"/>
                  <a:pt x="11483" y="5706"/>
                </a:cubicBezTo>
                <a:cubicBezTo>
                  <a:pt x="11478" y="5695"/>
                  <a:pt x="11470" y="5692"/>
                  <a:pt x="11464" y="5699"/>
                </a:cubicBezTo>
                <a:cubicBezTo>
                  <a:pt x="11458" y="5707"/>
                  <a:pt x="11437" y="5731"/>
                  <a:pt x="11437" y="5767"/>
                </a:cubicBezTo>
                <a:cubicBezTo>
                  <a:pt x="11437" y="5781"/>
                  <a:pt x="11440" y="5793"/>
                  <a:pt x="11442" y="5803"/>
                </a:cubicBezTo>
                <a:cubicBezTo>
                  <a:pt x="11441" y="5805"/>
                  <a:pt x="11439" y="5807"/>
                  <a:pt x="11437" y="5809"/>
                </a:cubicBezTo>
                <a:cubicBezTo>
                  <a:pt x="11430" y="5816"/>
                  <a:pt x="11424" y="5822"/>
                  <a:pt x="11419" y="5823"/>
                </a:cubicBezTo>
                <a:cubicBezTo>
                  <a:pt x="11411" y="5825"/>
                  <a:pt x="11405" y="5837"/>
                  <a:pt x="11405" y="5852"/>
                </a:cubicBezTo>
                <a:cubicBezTo>
                  <a:pt x="11405" y="5910"/>
                  <a:pt x="11417" y="5932"/>
                  <a:pt x="11428" y="5941"/>
                </a:cubicBezTo>
                <a:cubicBezTo>
                  <a:pt x="11388" y="5999"/>
                  <a:pt x="11356" y="6163"/>
                  <a:pt x="11356" y="6249"/>
                </a:cubicBezTo>
                <a:cubicBezTo>
                  <a:pt x="11356" y="6322"/>
                  <a:pt x="11342" y="6350"/>
                  <a:pt x="11324" y="6383"/>
                </a:cubicBezTo>
                <a:cubicBezTo>
                  <a:pt x="11309" y="6413"/>
                  <a:pt x="11291" y="6446"/>
                  <a:pt x="11286" y="6512"/>
                </a:cubicBezTo>
                <a:cubicBezTo>
                  <a:pt x="11273" y="6514"/>
                  <a:pt x="11259" y="6518"/>
                  <a:pt x="11245" y="6519"/>
                </a:cubicBezTo>
                <a:cubicBezTo>
                  <a:pt x="11245" y="6518"/>
                  <a:pt x="11245" y="6517"/>
                  <a:pt x="11245" y="6517"/>
                </a:cubicBezTo>
                <a:cubicBezTo>
                  <a:pt x="11247" y="6509"/>
                  <a:pt x="11247" y="6501"/>
                  <a:pt x="11246" y="6493"/>
                </a:cubicBezTo>
                <a:cubicBezTo>
                  <a:pt x="11244" y="6486"/>
                  <a:pt x="11242" y="6479"/>
                  <a:pt x="11238" y="6476"/>
                </a:cubicBezTo>
                <a:cubicBezTo>
                  <a:pt x="11219" y="6460"/>
                  <a:pt x="11184" y="6456"/>
                  <a:pt x="11159" y="6456"/>
                </a:cubicBezTo>
                <a:cubicBezTo>
                  <a:pt x="11138" y="6456"/>
                  <a:pt x="11115" y="6487"/>
                  <a:pt x="11096" y="6513"/>
                </a:cubicBezTo>
                <a:cubicBezTo>
                  <a:pt x="11092" y="6519"/>
                  <a:pt x="11088" y="6524"/>
                  <a:pt x="11085" y="6528"/>
                </a:cubicBezTo>
                <a:cubicBezTo>
                  <a:pt x="11081" y="6533"/>
                  <a:pt x="11078" y="6537"/>
                  <a:pt x="11074" y="6540"/>
                </a:cubicBezTo>
                <a:cubicBezTo>
                  <a:pt x="11061" y="6553"/>
                  <a:pt x="11049" y="6556"/>
                  <a:pt x="11034" y="6561"/>
                </a:cubicBezTo>
                <a:cubicBezTo>
                  <a:pt x="11018" y="6566"/>
                  <a:pt x="11000" y="6571"/>
                  <a:pt x="10980" y="6590"/>
                </a:cubicBezTo>
                <a:cubicBezTo>
                  <a:pt x="10976" y="6593"/>
                  <a:pt x="10974" y="6598"/>
                  <a:pt x="10971" y="6603"/>
                </a:cubicBezTo>
                <a:cubicBezTo>
                  <a:pt x="10963" y="6583"/>
                  <a:pt x="10952" y="6570"/>
                  <a:pt x="10938" y="6568"/>
                </a:cubicBezTo>
                <a:cubicBezTo>
                  <a:pt x="10939" y="6563"/>
                  <a:pt x="10941" y="6560"/>
                  <a:pt x="10941" y="6555"/>
                </a:cubicBezTo>
                <a:cubicBezTo>
                  <a:pt x="10942" y="6547"/>
                  <a:pt x="10941" y="6539"/>
                  <a:pt x="10938" y="6532"/>
                </a:cubicBezTo>
                <a:cubicBezTo>
                  <a:pt x="10936" y="6525"/>
                  <a:pt x="10933" y="6521"/>
                  <a:pt x="10928" y="6520"/>
                </a:cubicBezTo>
                <a:cubicBezTo>
                  <a:pt x="10899" y="6513"/>
                  <a:pt x="10873" y="6538"/>
                  <a:pt x="10849" y="6562"/>
                </a:cubicBezTo>
                <a:cubicBezTo>
                  <a:pt x="10829" y="6582"/>
                  <a:pt x="10808" y="6601"/>
                  <a:pt x="10785" y="6604"/>
                </a:cubicBezTo>
                <a:cubicBezTo>
                  <a:pt x="10784" y="6598"/>
                  <a:pt x="10782" y="6591"/>
                  <a:pt x="10781" y="6585"/>
                </a:cubicBezTo>
                <a:lnTo>
                  <a:pt x="10779" y="6573"/>
                </a:lnTo>
                <a:cubicBezTo>
                  <a:pt x="10777" y="6561"/>
                  <a:pt x="10771" y="6554"/>
                  <a:pt x="10765" y="6554"/>
                </a:cubicBezTo>
                <a:cubicBezTo>
                  <a:pt x="10758" y="6554"/>
                  <a:pt x="10753" y="6551"/>
                  <a:pt x="10746" y="6547"/>
                </a:cubicBezTo>
                <a:cubicBezTo>
                  <a:pt x="10742" y="6544"/>
                  <a:pt x="10736" y="6541"/>
                  <a:pt x="10730" y="6539"/>
                </a:cubicBezTo>
                <a:cubicBezTo>
                  <a:pt x="10729" y="6538"/>
                  <a:pt x="10730" y="6538"/>
                  <a:pt x="10730" y="6538"/>
                </a:cubicBezTo>
                <a:cubicBezTo>
                  <a:pt x="10729" y="6533"/>
                  <a:pt x="10729" y="6528"/>
                  <a:pt x="10729" y="6520"/>
                </a:cubicBezTo>
                <a:cubicBezTo>
                  <a:pt x="10729" y="6505"/>
                  <a:pt x="10723" y="6492"/>
                  <a:pt x="10716" y="6490"/>
                </a:cubicBezTo>
                <a:cubicBezTo>
                  <a:pt x="10713" y="6489"/>
                  <a:pt x="10709" y="6477"/>
                  <a:pt x="10707" y="6458"/>
                </a:cubicBezTo>
                <a:cubicBezTo>
                  <a:pt x="10713" y="6476"/>
                  <a:pt x="10726" y="6493"/>
                  <a:pt x="10748" y="6498"/>
                </a:cubicBezTo>
                <a:lnTo>
                  <a:pt x="10748" y="6503"/>
                </a:lnTo>
                <a:cubicBezTo>
                  <a:pt x="10748" y="6518"/>
                  <a:pt x="10754" y="6531"/>
                  <a:pt x="10762" y="6533"/>
                </a:cubicBezTo>
                <a:cubicBezTo>
                  <a:pt x="10762" y="6533"/>
                  <a:pt x="10762" y="6533"/>
                  <a:pt x="10763" y="6533"/>
                </a:cubicBezTo>
                <a:cubicBezTo>
                  <a:pt x="10766" y="6533"/>
                  <a:pt x="10769" y="6530"/>
                  <a:pt x="10771" y="6527"/>
                </a:cubicBezTo>
                <a:cubicBezTo>
                  <a:pt x="10776" y="6535"/>
                  <a:pt x="10791" y="6559"/>
                  <a:pt x="10810" y="6559"/>
                </a:cubicBezTo>
                <a:cubicBezTo>
                  <a:pt x="10846" y="6559"/>
                  <a:pt x="10856" y="6495"/>
                  <a:pt x="10863" y="6449"/>
                </a:cubicBezTo>
                <a:cubicBezTo>
                  <a:pt x="10867" y="6418"/>
                  <a:pt x="10871" y="6397"/>
                  <a:pt x="10877" y="6390"/>
                </a:cubicBezTo>
                <a:cubicBezTo>
                  <a:pt x="10886" y="6416"/>
                  <a:pt x="10895" y="6435"/>
                  <a:pt x="10905" y="6435"/>
                </a:cubicBezTo>
                <a:cubicBezTo>
                  <a:pt x="10941" y="6435"/>
                  <a:pt x="10961" y="6386"/>
                  <a:pt x="10978" y="6346"/>
                </a:cubicBezTo>
                <a:cubicBezTo>
                  <a:pt x="10988" y="6321"/>
                  <a:pt x="10998" y="6299"/>
                  <a:pt x="11007" y="6299"/>
                </a:cubicBezTo>
                <a:lnTo>
                  <a:pt x="11024" y="6299"/>
                </a:lnTo>
                <a:cubicBezTo>
                  <a:pt x="11030" y="6316"/>
                  <a:pt x="11039" y="6329"/>
                  <a:pt x="11051" y="6329"/>
                </a:cubicBezTo>
                <a:cubicBezTo>
                  <a:pt x="11069" y="6329"/>
                  <a:pt x="11084" y="6299"/>
                  <a:pt x="11084" y="6261"/>
                </a:cubicBezTo>
                <a:cubicBezTo>
                  <a:pt x="11084" y="6261"/>
                  <a:pt x="11084" y="6261"/>
                  <a:pt x="11084" y="6260"/>
                </a:cubicBezTo>
                <a:cubicBezTo>
                  <a:pt x="11088" y="6243"/>
                  <a:pt x="11092" y="6228"/>
                  <a:pt x="11102" y="6210"/>
                </a:cubicBezTo>
                <a:cubicBezTo>
                  <a:pt x="11118" y="6180"/>
                  <a:pt x="11139" y="6143"/>
                  <a:pt x="11143" y="6069"/>
                </a:cubicBezTo>
                <a:cubicBezTo>
                  <a:pt x="11144" y="6053"/>
                  <a:pt x="11138" y="6039"/>
                  <a:pt x="11131" y="6036"/>
                </a:cubicBezTo>
                <a:cubicBezTo>
                  <a:pt x="11111" y="6029"/>
                  <a:pt x="11111" y="6002"/>
                  <a:pt x="11111" y="5993"/>
                </a:cubicBezTo>
                <a:cubicBezTo>
                  <a:pt x="11111" y="5986"/>
                  <a:pt x="11113" y="5979"/>
                  <a:pt x="11113" y="5971"/>
                </a:cubicBezTo>
                <a:cubicBezTo>
                  <a:pt x="11135" y="5961"/>
                  <a:pt x="11152" y="5928"/>
                  <a:pt x="11152" y="5881"/>
                </a:cubicBezTo>
                <a:cubicBezTo>
                  <a:pt x="11152" y="5859"/>
                  <a:pt x="11146" y="5841"/>
                  <a:pt x="11140" y="5824"/>
                </a:cubicBezTo>
                <a:cubicBezTo>
                  <a:pt x="11145" y="5817"/>
                  <a:pt x="11149" y="5810"/>
                  <a:pt x="11155" y="5810"/>
                </a:cubicBezTo>
                <a:cubicBezTo>
                  <a:pt x="11185" y="5810"/>
                  <a:pt x="11255" y="5693"/>
                  <a:pt x="11255" y="5611"/>
                </a:cubicBezTo>
                <a:cubicBezTo>
                  <a:pt x="11255" y="5520"/>
                  <a:pt x="11202" y="5440"/>
                  <a:pt x="11159" y="5416"/>
                </a:cubicBezTo>
                <a:cubicBezTo>
                  <a:pt x="11157" y="5398"/>
                  <a:pt x="11153" y="5380"/>
                  <a:pt x="11148" y="5365"/>
                </a:cubicBezTo>
                <a:cubicBezTo>
                  <a:pt x="11147" y="5360"/>
                  <a:pt x="11145" y="5355"/>
                  <a:pt x="11143" y="5351"/>
                </a:cubicBezTo>
                <a:lnTo>
                  <a:pt x="11143" y="5344"/>
                </a:lnTo>
                <a:cubicBezTo>
                  <a:pt x="11152" y="5332"/>
                  <a:pt x="11159" y="5315"/>
                  <a:pt x="11159" y="5291"/>
                </a:cubicBezTo>
                <a:cubicBezTo>
                  <a:pt x="11159" y="5281"/>
                  <a:pt x="11155" y="5273"/>
                  <a:pt x="11153" y="5265"/>
                </a:cubicBezTo>
                <a:cubicBezTo>
                  <a:pt x="11159" y="5241"/>
                  <a:pt x="11162" y="5214"/>
                  <a:pt x="11162" y="5190"/>
                </a:cubicBezTo>
                <a:cubicBezTo>
                  <a:pt x="11163" y="5165"/>
                  <a:pt x="11163" y="5142"/>
                  <a:pt x="11169" y="5124"/>
                </a:cubicBezTo>
                <a:cubicBezTo>
                  <a:pt x="11182" y="5076"/>
                  <a:pt x="11203" y="5054"/>
                  <a:pt x="11228" y="5029"/>
                </a:cubicBezTo>
                <a:cubicBezTo>
                  <a:pt x="11238" y="5020"/>
                  <a:pt x="11248" y="5010"/>
                  <a:pt x="11258" y="4999"/>
                </a:cubicBezTo>
                <a:cubicBezTo>
                  <a:pt x="11265" y="4991"/>
                  <a:pt x="11274" y="4982"/>
                  <a:pt x="11283" y="4972"/>
                </a:cubicBezTo>
                <a:cubicBezTo>
                  <a:pt x="11305" y="4948"/>
                  <a:pt x="11333" y="4919"/>
                  <a:pt x="11356" y="4886"/>
                </a:cubicBezTo>
                <a:cubicBezTo>
                  <a:pt x="11390" y="4837"/>
                  <a:pt x="11406" y="4793"/>
                  <a:pt x="11408" y="4746"/>
                </a:cubicBezTo>
                <a:cubicBezTo>
                  <a:pt x="11412" y="4725"/>
                  <a:pt x="11411" y="4705"/>
                  <a:pt x="11409" y="4685"/>
                </a:cubicBezTo>
                <a:cubicBezTo>
                  <a:pt x="11409" y="4673"/>
                  <a:pt x="11408" y="4659"/>
                  <a:pt x="11408" y="4641"/>
                </a:cubicBezTo>
                <a:cubicBezTo>
                  <a:pt x="11408" y="4616"/>
                  <a:pt x="11412" y="4599"/>
                  <a:pt x="11417" y="4583"/>
                </a:cubicBezTo>
                <a:cubicBezTo>
                  <a:pt x="11424" y="4589"/>
                  <a:pt x="11430" y="4599"/>
                  <a:pt x="11438" y="4599"/>
                </a:cubicBezTo>
                <a:cubicBezTo>
                  <a:pt x="11463" y="4599"/>
                  <a:pt x="11481" y="4561"/>
                  <a:pt x="11484" y="4513"/>
                </a:cubicBezTo>
                <a:cubicBezTo>
                  <a:pt x="11497" y="4509"/>
                  <a:pt x="11511" y="4501"/>
                  <a:pt x="11520" y="4501"/>
                </a:cubicBezTo>
                <a:close/>
                <a:moveTo>
                  <a:pt x="4720" y="4519"/>
                </a:moveTo>
                <a:lnTo>
                  <a:pt x="4724" y="4519"/>
                </a:lnTo>
                <a:cubicBezTo>
                  <a:pt x="4730" y="4526"/>
                  <a:pt x="4736" y="4535"/>
                  <a:pt x="4742" y="4544"/>
                </a:cubicBezTo>
                <a:cubicBezTo>
                  <a:pt x="4744" y="4547"/>
                  <a:pt x="4746" y="4550"/>
                  <a:pt x="4748" y="4554"/>
                </a:cubicBezTo>
                <a:cubicBezTo>
                  <a:pt x="4737" y="4545"/>
                  <a:pt x="4728" y="4534"/>
                  <a:pt x="4720" y="4519"/>
                </a:cubicBezTo>
                <a:close/>
                <a:moveTo>
                  <a:pt x="1659" y="4531"/>
                </a:moveTo>
                <a:lnTo>
                  <a:pt x="1676" y="5194"/>
                </a:lnTo>
                <a:cubicBezTo>
                  <a:pt x="1669" y="5190"/>
                  <a:pt x="1663" y="5185"/>
                  <a:pt x="1656" y="5185"/>
                </a:cubicBezTo>
                <a:cubicBezTo>
                  <a:pt x="1651" y="5185"/>
                  <a:pt x="1647" y="5190"/>
                  <a:pt x="1642" y="5191"/>
                </a:cubicBezTo>
                <a:lnTo>
                  <a:pt x="1637" y="5185"/>
                </a:lnTo>
                <a:cubicBezTo>
                  <a:pt x="1637" y="5185"/>
                  <a:pt x="1637" y="4864"/>
                  <a:pt x="1637" y="4550"/>
                </a:cubicBezTo>
                <a:cubicBezTo>
                  <a:pt x="1645" y="4547"/>
                  <a:pt x="1653" y="4541"/>
                  <a:pt x="1659" y="4531"/>
                </a:cubicBezTo>
                <a:close/>
                <a:moveTo>
                  <a:pt x="4930" y="4548"/>
                </a:moveTo>
                <a:lnTo>
                  <a:pt x="4905" y="4685"/>
                </a:lnTo>
                <a:cubicBezTo>
                  <a:pt x="4907" y="4642"/>
                  <a:pt x="4914" y="4583"/>
                  <a:pt x="4930" y="4548"/>
                </a:cubicBezTo>
                <a:close/>
                <a:moveTo>
                  <a:pt x="4891" y="4559"/>
                </a:moveTo>
                <a:cubicBezTo>
                  <a:pt x="4886" y="4579"/>
                  <a:pt x="4883" y="4602"/>
                  <a:pt x="4880" y="4625"/>
                </a:cubicBezTo>
                <a:cubicBezTo>
                  <a:pt x="4879" y="4614"/>
                  <a:pt x="4876" y="4603"/>
                  <a:pt x="4870" y="4600"/>
                </a:cubicBezTo>
                <a:cubicBezTo>
                  <a:pt x="4868" y="4599"/>
                  <a:pt x="4865" y="4598"/>
                  <a:pt x="4863" y="4597"/>
                </a:cubicBezTo>
                <a:cubicBezTo>
                  <a:pt x="4873" y="4588"/>
                  <a:pt x="4881" y="4573"/>
                  <a:pt x="4891" y="4559"/>
                </a:cubicBezTo>
                <a:close/>
                <a:moveTo>
                  <a:pt x="4959" y="4563"/>
                </a:moveTo>
                <a:cubicBezTo>
                  <a:pt x="4961" y="4570"/>
                  <a:pt x="4963" y="4577"/>
                  <a:pt x="4965" y="4584"/>
                </a:cubicBezTo>
                <a:cubicBezTo>
                  <a:pt x="4969" y="4595"/>
                  <a:pt x="4973" y="4605"/>
                  <a:pt x="4976" y="4619"/>
                </a:cubicBezTo>
                <a:cubicBezTo>
                  <a:pt x="4979" y="4628"/>
                  <a:pt x="4983" y="4634"/>
                  <a:pt x="4988" y="4635"/>
                </a:cubicBezTo>
                <a:cubicBezTo>
                  <a:pt x="4994" y="4636"/>
                  <a:pt x="4998" y="4632"/>
                  <a:pt x="5001" y="4623"/>
                </a:cubicBezTo>
                <a:cubicBezTo>
                  <a:pt x="5003" y="4619"/>
                  <a:pt x="5005" y="4615"/>
                  <a:pt x="5006" y="4612"/>
                </a:cubicBezTo>
                <a:cubicBezTo>
                  <a:pt x="5030" y="4658"/>
                  <a:pt x="5058" y="4674"/>
                  <a:pt x="5083" y="4689"/>
                </a:cubicBezTo>
                <a:cubicBezTo>
                  <a:pt x="5109" y="4704"/>
                  <a:pt x="5131" y="4717"/>
                  <a:pt x="5147" y="4759"/>
                </a:cubicBezTo>
                <a:cubicBezTo>
                  <a:pt x="5150" y="4767"/>
                  <a:pt x="5150" y="4776"/>
                  <a:pt x="5151" y="4788"/>
                </a:cubicBezTo>
                <a:cubicBezTo>
                  <a:pt x="5152" y="4804"/>
                  <a:pt x="5154" y="4825"/>
                  <a:pt x="5165" y="4841"/>
                </a:cubicBezTo>
                <a:cubicBezTo>
                  <a:pt x="5172" y="4853"/>
                  <a:pt x="5179" y="4853"/>
                  <a:pt x="5186" y="4859"/>
                </a:cubicBezTo>
                <a:cubicBezTo>
                  <a:pt x="5179" y="4867"/>
                  <a:pt x="5173" y="4880"/>
                  <a:pt x="5173" y="4899"/>
                </a:cubicBezTo>
                <a:cubicBezTo>
                  <a:pt x="5173" y="4905"/>
                  <a:pt x="5176" y="4909"/>
                  <a:pt x="5177" y="4915"/>
                </a:cubicBezTo>
                <a:lnTo>
                  <a:pt x="5142" y="4915"/>
                </a:lnTo>
                <a:cubicBezTo>
                  <a:pt x="5133" y="4901"/>
                  <a:pt x="5122" y="4889"/>
                  <a:pt x="5109" y="4871"/>
                </a:cubicBezTo>
                <a:cubicBezTo>
                  <a:pt x="5109" y="4867"/>
                  <a:pt x="5111" y="4865"/>
                  <a:pt x="5111" y="4861"/>
                </a:cubicBezTo>
                <a:cubicBezTo>
                  <a:pt x="5111" y="4834"/>
                  <a:pt x="5100" y="4812"/>
                  <a:pt x="5086" y="4812"/>
                </a:cubicBezTo>
                <a:cubicBezTo>
                  <a:pt x="5081" y="4812"/>
                  <a:pt x="5076" y="4817"/>
                  <a:pt x="5072" y="4823"/>
                </a:cubicBezTo>
                <a:cubicBezTo>
                  <a:pt x="5070" y="4820"/>
                  <a:pt x="5064" y="4811"/>
                  <a:pt x="5062" y="4810"/>
                </a:cubicBezTo>
                <a:cubicBezTo>
                  <a:pt x="5058" y="4807"/>
                  <a:pt x="5052" y="4809"/>
                  <a:pt x="5048" y="4815"/>
                </a:cubicBezTo>
                <a:cubicBezTo>
                  <a:pt x="5044" y="4820"/>
                  <a:pt x="5042" y="4829"/>
                  <a:pt x="5042" y="4839"/>
                </a:cubicBezTo>
                <a:cubicBezTo>
                  <a:pt x="5042" y="4903"/>
                  <a:pt x="4995" y="4971"/>
                  <a:pt x="4969" y="4971"/>
                </a:cubicBezTo>
                <a:cubicBezTo>
                  <a:pt x="4967" y="4971"/>
                  <a:pt x="4965" y="4970"/>
                  <a:pt x="4963" y="4969"/>
                </a:cubicBezTo>
                <a:cubicBezTo>
                  <a:pt x="4957" y="4963"/>
                  <a:pt x="4949" y="4967"/>
                  <a:pt x="4945" y="4980"/>
                </a:cubicBezTo>
                <a:cubicBezTo>
                  <a:pt x="4943" y="4986"/>
                  <a:pt x="4942" y="4992"/>
                  <a:pt x="4941" y="4997"/>
                </a:cubicBezTo>
                <a:cubicBezTo>
                  <a:pt x="4940" y="4998"/>
                  <a:pt x="4940" y="4999"/>
                  <a:pt x="4940" y="5000"/>
                </a:cubicBezTo>
                <a:cubicBezTo>
                  <a:pt x="4938" y="5000"/>
                  <a:pt x="4938" y="5000"/>
                  <a:pt x="4937" y="5000"/>
                </a:cubicBezTo>
                <a:cubicBezTo>
                  <a:pt x="4937" y="5000"/>
                  <a:pt x="4937" y="5000"/>
                  <a:pt x="4937" y="5000"/>
                </a:cubicBezTo>
                <a:cubicBezTo>
                  <a:pt x="4936" y="4992"/>
                  <a:pt x="4938" y="4972"/>
                  <a:pt x="4940" y="4960"/>
                </a:cubicBezTo>
                <a:lnTo>
                  <a:pt x="4940" y="4951"/>
                </a:lnTo>
                <a:cubicBezTo>
                  <a:pt x="4942" y="4935"/>
                  <a:pt x="4937" y="4920"/>
                  <a:pt x="4929" y="4916"/>
                </a:cubicBezTo>
                <a:cubicBezTo>
                  <a:pt x="4919" y="4911"/>
                  <a:pt x="4908" y="4908"/>
                  <a:pt x="4896" y="4907"/>
                </a:cubicBezTo>
                <a:lnTo>
                  <a:pt x="4916" y="4799"/>
                </a:lnTo>
                <a:cubicBezTo>
                  <a:pt x="4919" y="4820"/>
                  <a:pt x="4926" y="4837"/>
                  <a:pt x="4937" y="4837"/>
                </a:cubicBezTo>
                <a:cubicBezTo>
                  <a:pt x="4951" y="4837"/>
                  <a:pt x="4962" y="4814"/>
                  <a:pt x="4962" y="4787"/>
                </a:cubicBezTo>
                <a:cubicBezTo>
                  <a:pt x="4962" y="4759"/>
                  <a:pt x="4951" y="4738"/>
                  <a:pt x="4937" y="4738"/>
                </a:cubicBezTo>
                <a:cubicBezTo>
                  <a:pt x="4932" y="4738"/>
                  <a:pt x="4929" y="4742"/>
                  <a:pt x="4925" y="4747"/>
                </a:cubicBezTo>
                <a:lnTo>
                  <a:pt x="4959" y="4563"/>
                </a:lnTo>
                <a:close/>
                <a:moveTo>
                  <a:pt x="873" y="4588"/>
                </a:moveTo>
                <a:cubicBezTo>
                  <a:pt x="863" y="4588"/>
                  <a:pt x="856" y="4603"/>
                  <a:pt x="856" y="4621"/>
                </a:cubicBezTo>
                <a:cubicBezTo>
                  <a:pt x="856" y="4639"/>
                  <a:pt x="863" y="4655"/>
                  <a:pt x="873" y="4655"/>
                </a:cubicBezTo>
                <a:cubicBezTo>
                  <a:pt x="882" y="4655"/>
                  <a:pt x="889" y="4639"/>
                  <a:pt x="889" y="4621"/>
                </a:cubicBezTo>
                <a:cubicBezTo>
                  <a:pt x="889" y="4603"/>
                  <a:pt x="882" y="4588"/>
                  <a:pt x="873" y="4588"/>
                </a:cubicBezTo>
                <a:close/>
                <a:moveTo>
                  <a:pt x="5800" y="4588"/>
                </a:moveTo>
                <a:cubicBezTo>
                  <a:pt x="5772" y="4588"/>
                  <a:pt x="5750" y="4633"/>
                  <a:pt x="5750" y="4688"/>
                </a:cubicBezTo>
                <a:cubicBezTo>
                  <a:pt x="5750" y="4742"/>
                  <a:pt x="5772" y="4786"/>
                  <a:pt x="5800" y="4786"/>
                </a:cubicBezTo>
                <a:cubicBezTo>
                  <a:pt x="5827" y="4786"/>
                  <a:pt x="5848" y="4742"/>
                  <a:pt x="5848" y="4688"/>
                </a:cubicBezTo>
                <a:cubicBezTo>
                  <a:pt x="5848" y="4633"/>
                  <a:pt x="5827" y="4588"/>
                  <a:pt x="5800" y="4588"/>
                </a:cubicBezTo>
                <a:close/>
                <a:moveTo>
                  <a:pt x="18062" y="4588"/>
                </a:moveTo>
                <a:cubicBezTo>
                  <a:pt x="18035" y="4588"/>
                  <a:pt x="18013" y="4633"/>
                  <a:pt x="18013" y="4688"/>
                </a:cubicBezTo>
                <a:cubicBezTo>
                  <a:pt x="18013" y="4742"/>
                  <a:pt x="18035" y="4786"/>
                  <a:pt x="18062" y="4786"/>
                </a:cubicBezTo>
                <a:cubicBezTo>
                  <a:pt x="18089" y="4786"/>
                  <a:pt x="18111" y="4742"/>
                  <a:pt x="18111" y="4688"/>
                </a:cubicBezTo>
                <a:cubicBezTo>
                  <a:pt x="18111" y="4633"/>
                  <a:pt x="18089" y="4588"/>
                  <a:pt x="18062" y="4588"/>
                </a:cubicBezTo>
                <a:close/>
                <a:moveTo>
                  <a:pt x="5459" y="4633"/>
                </a:moveTo>
                <a:lnTo>
                  <a:pt x="5460" y="4675"/>
                </a:lnTo>
                <a:lnTo>
                  <a:pt x="5462" y="4773"/>
                </a:lnTo>
                <a:cubicBezTo>
                  <a:pt x="5438" y="4752"/>
                  <a:pt x="5416" y="4720"/>
                  <a:pt x="5416" y="4702"/>
                </a:cubicBezTo>
                <a:cubicBezTo>
                  <a:pt x="5417" y="4688"/>
                  <a:pt x="5437" y="4654"/>
                  <a:pt x="5459" y="4633"/>
                </a:cubicBezTo>
                <a:close/>
                <a:moveTo>
                  <a:pt x="18642" y="4650"/>
                </a:moveTo>
                <a:cubicBezTo>
                  <a:pt x="18645" y="4655"/>
                  <a:pt x="18649" y="4658"/>
                  <a:pt x="18653" y="4663"/>
                </a:cubicBezTo>
                <a:cubicBezTo>
                  <a:pt x="18656" y="4667"/>
                  <a:pt x="18659" y="4672"/>
                  <a:pt x="18662" y="4676"/>
                </a:cubicBezTo>
                <a:cubicBezTo>
                  <a:pt x="18668" y="4684"/>
                  <a:pt x="18675" y="4691"/>
                  <a:pt x="18682" y="4699"/>
                </a:cubicBezTo>
                <a:cubicBezTo>
                  <a:pt x="18687" y="4706"/>
                  <a:pt x="18692" y="4713"/>
                  <a:pt x="18697" y="4720"/>
                </a:cubicBezTo>
                <a:cubicBezTo>
                  <a:pt x="18701" y="4725"/>
                  <a:pt x="18705" y="4730"/>
                  <a:pt x="18709" y="4735"/>
                </a:cubicBezTo>
                <a:cubicBezTo>
                  <a:pt x="18715" y="4742"/>
                  <a:pt x="18720" y="4748"/>
                  <a:pt x="18726" y="4755"/>
                </a:cubicBezTo>
                <a:cubicBezTo>
                  <a:pt x="18729" y="4759"/>
                  <a:pt x="18733" y="4764"/>
                  <a:pt x="18736" y="4768"/>
                </a:cubicBezTo>
                <a:cubicBezTo>
                  <a:pt x="18741" y="4774"/>
                  <a:pt x="18746" y="4781"/>
                  <a:pt x="18751" y="4788"/>
                </a:cubicBezTo>
                <a:cubicBezTo>
                  <a:pt x="18757" y="4795"/>
                  <a:pt x="18762" y="4801"/>
                  <a:pt x="18768" y="4808"/>
                </a:cubicBezTo>
                <a:cubicBezTo>
                  <a:pt x="18772" y="4813"/>
                  <a:pt x="18776" y="4819"/>
                  <a:pt x="18780" y="4824"/>
                </a:cubicBezTo>
                <a:cubicBezTo>
                  <a:pt x="18785" y="4831"/>
                  <a:pt x="18791" y="4837"/>
                  <a:pt x="18796" y="4844"/>
                </a:cubicBezTo>
                <a:cubicBezTo>
                  <a:pt x="18801" y="4850"/>
                  <a:pt x="18806" y="4857"/>
                  <a:pt x="18812" y="4864"/>
                </a:cubicBezTo>
                <a:cubicBezTo>
                  <a:pt x="18815" y="4868"/>
                  <a:pt x="18818" y="4871"/>
                  <a:pt x="18822" y="4875"/>
                </a:cubicBezTo>
                <a:cubicBezTo>
                  <a:pt x="18817" y="4887"/>
                  <a:pt x="18813" y="4902"/>
                  <a:pt x="18813" y="4918"/>
                </a:cubicBezTo>
                <a:cubicBezTo>
                  <a:pt x="18813" y="4956"/>
                  <a:pt x="18828" y="4986"/>
                  <a:pt x="18847" y="4986"/>
                </a:cubicBezTo>
                <a:cubicBezTo>
                  <a:pt x="18861" y="4986"/>
                  <a:pt x="18870" y="4967"/>
                  <a:pt x="18876" y="4944"/>
                </a:cubicBezTo>
                <a:cubicBezTo>
                  <a:pt x="18879" y="4948"/>
                  <a:pt x="18883" y="4953"/>
                  <a:pt x="18886" y="4957"/>
                </a:cubicBezTo>
                <a:cubicBezTo>
                  <a:pt x="18893" y="4966"/>
                  <a:pt x="18900" y="4974"/>
                  <a:pt x="18908" y="4984"/>
                </a:cubicBezTo>
                <a:cubicBezTo>
                  <a:pt x="18912" y="4989"/>
                  <a:pt x="18916" y="4994"/>
                  <a:pt x="18920" y="4999"/>
                </a:cubicBezTo>
                <a:cubicBezTo>
                  <a:pt x="18927" y="5007"/>
                  <a:pt x="18934" y="5016"/>
                  <a:pt x="18940" y="5024"/>
                </a:cubicBezTo>
                <a:cubicBezTo>
                  <a:pt x="18945" y="5030"/>
                  <a:pt x="18949" y="5036"/>
                  <a:pt x="18954" y="5042"/>
                </a:cubicBezTo>
                <a:cubicBezTo>
                  <a:pt x="18961" y="5050"/>
                  <a:pt x="18967" y="5058"/>
                  <a:pt x="18974" y="5066"/>
                </a:cubicBezTo>
                <a:cubicBezTo>
                  <a:pt x="18979" y="5073"/>
                  <a:pt x="18985" y="5080"/>
                  <a:pt x="18990" y="5086"/>
                </a:cubicBezTo>
                <a:cubicBezTo>
                  <a:pt x="18995" y="5093"/>
                  <a:pt x="19000" y="5100"/>
                  <a:pt x="19006" y="5107"/>
                </a:cubicBezTo>
                <a:cubicBezTo>
                  <a:pt x="19017" y="5121"/>
                  <a:pt x="19029" y="5134"/>
                  <a:pt x="19040" y="5148"/>
                </a:cubicBezTo>
                <a:cubicBezTo>
                  <a:pt x="19045" y="5155"/>
                  <a:pt x="19050" y="5161"/>
                  <a:pt x="19055" y="5168"/>
                </a:cubicBezTo>
                <a:cubicBezTo>
                  <a:pt x="19059" y="5173"/>
                  <a:pt x="19063" y="5179"/>
                  <a:pt x="19068" y="5184"/>
                </a:cubicBezTo>
                <a:cubicBezTo>
                  <a:pt x="19075" y="5194"/>
                  <a:pt x="19083" y="5203"/>
                  <a:pt x="19090" y="5212"/>
                </a:cubicBezTo>
                <a:cubicBezTo>
                  <a:pt x="19093" y="5215"/>
                  <a:pt x="19095" y="5219"/>
                  <a:pt x="19097" y="5222"/>
                </a:cubicBezTo>
                <a:cubicBezTo>
                  <a:pt x="19096" y="5231"/>
                  <a:pt x="19092" y="5237"/>
                  <a:pt x="19092" y="5247"/>
                </a:cubicBezTo>
                <a:cubicBezTo>
                  <a:pt x="19092" y="5302"/>
                  <a:pt x="19114" y="5345"/>
                  <a:pt x="19141" y="5345"/>
                </a:cubicBezTo>
                <a:cubicBezTo>
                  <a:pt x="19155" y="5345"/>
                  <a:pt x="19166" y="5335"/>
                  <a:pt x="19175" y="5318"/>
                </a:cubicBezTo>
                <a:cubicBezTo>
                  <a:pt x="19180" y="5324"/>
                  <a:pt x="19185" y="5330"/>
                  <a:pt x="19189" y="5336"/>
                </a:cubicBezTo>
                <a:cubicBezTo>
                  <a:pt x="19200" y="5350"/>
                  <a:pt x="19211" y="5363"/>
                  <a:pt x="19222" y="5377"/>
                </a:cubicBezTo>
                <a:cubicBezTo>
                  <a:pt x="19224" y="5379"/>
                  <a:pt x="19226" y="5382"/>
                  <a:pt x="19229" y="5385"/>
                </a:cubicBezTo>
                <a:cubicBezTo>
                  <a:pt x="19236" y="5394"/>
                  <a:pt x="19243" y="5403"/>
                  <a:pt x="19250" y="5412"/>
                </a:cubicBezTo>
                <a:cubicBezTo>
                  <a:pt x="19252" y="5414"/>
                  <a:pt x="19254" y="5416"/>
                  <a:pt x="19255" y="5419"/>
                </a:cubicBezTo>
                <a:cubicBezTo>
                  <a:pt x="19262" y="5427"/>
                  <a:pt x="19269" y="5435"/>
                  <a:pt x="19275" y="5443"/>
                </a:cubicBezTo>
                <a:cubicBezTo>
                  <a:pt x="19278" y="5446"/>
                  <a:pt x="19280" y="5449"/>
                  <a:pt x="19283" y="5452"/>
                </a:cubicBezTo>
                <a:cubicBezTo>
                  <a:pt x="19316" y="5493"/>
                  <a:pt x="19335" y="5517"/>
                  <a:pt x="19360" y="5548"/>
                </a:cubicBezTo>
                <a:cubicBezTo>
                  <a:pt x="19357" y="5560"/>
                  <a:pt x="19353" y="5569"/>
                  <a:pt x="19353" y="5583"/>
                </a:cubicBezTo>
                <a:cubicBezTo>
                  <a:pt x="19353" y="5623"/>
                  <a:pt x="19366" y="5650"/>
                  <a:pt x="19383" y="5666"/>
                </a:cubicBezTo>
                <a:lnTo>
                  <a:pt x="19303" y="5666"/>
                </a:lnTo>
                <a:cubicBezTo>
                  <a:pt x="19282" y="5666"/>
                  <a:pt x="19263" y="5651"/>
                  <a:pt x="19240" y="5633"/>
                </a:cubicBezTo>
                <a:cubicBezTo>
                  <a:pt x="19209" y="5608"/>
                  <a:pt x="19174" y="5581"/>
                  <a:pt x="19122" y="5581"/>
                </a:cubicBezTo>
                <a:cubicBezTo>
                  <a:pt x="19113" y="5581"/>
                  <a:pt x="19080" y="5587"/>
                  <a:pt x="19065" y="5589"/>
                </a:cubicBezTo>
                <a:cubicBezTo>
                  <a:pt x="19056" y="5570"/>
                  <a:pt x="19044" y="5558"/>
                  <a:pt x="19030" y="5558"/>
                </a:cubicBezTo>
                <a:cubicBezTo>
                  <a:pt x="19014" y="5558"/>
                  <a:pt x="19002" y="5576"/>
                  <a:pt x="18993" y="5599"/>
                </a:cubicBezTo>
                <a:cubicBezTo>
                  <a:pt x="18950" y="5605"/>
                  <a:pt x="18922" y="5606"/>
                  <a:pt x="18875" y="5617"/>
                </a:cubicBezTo>
                <a:lnTo>
                  <a:pt x="18630" y="4685"/>
                </a:lnTo>
                <a:cubicBezTo>
                  <a:pt x="18635" y="4675"/>
                  <a:pt x="18638" y="4662"/>
                  <a:pt x="18642" y="4650"/>
                </a:cubicBezTo>
                <a:close/>
                <a:moveTo>
                  <a:pt x="479" y="4663"/>
                </a:moveTo>
                <a:cubicBezTo>
                  <a:pt x="461" y="4663"/>
                  <a:pt x="447" y="4692"/>
                  <a:pt x="447" y="4727"/>
                </a:cubicBezTo>
                <a:cubicBezTo>
                  <a:pt x="447" y="4762"/>
                  <a:pt x="461" y="4790"/>
                  <a:pt x="479" y="4790"/>
                </a:cubicBezTo>
                <a:cubicBezTo>
                  <a:pt x="496" y="4790"/>
                  <a:pt x="510" y="4762"/>
                  <a:pt x="510" y="4727"/>
                </a:cubicBezTo>
                <a:cubicBezTo>
                  <a:pt x="510" y="4692"/>
                  <a:pt x="496" y="4663"/>
                  <a:pt x="479" y="4663"/>
                </a:cubicBezTo>
                <a:close/>
                <a:moveTo>
                  <a:pt x="14009" y="4700"/>
                </a:moveTo>
                <a:cubicBezTo>
                  <a:pt x="13990" y="4700"/>
                  <a:pt x="13975" y="4731"/>
                  <a:pt x="13975" y="4769"/>
                </a:cubicBezTo>
                <a:cubicBezTo>
                  <a:pt x="13975" y="4807"/>
                  <a:pt x="13990" y="4837"/>
                  <a:pt x="14009" y="4837"/>
                </a:cubicBezTo>
                <a:cubicBezTo>
                  <a:pt x="14028" y="4837"/>
                  <a:pt x="14043" y="4807"/>
                  <a:pt x="14043" y="4769"/>
                </a:cubicBezTo>
                <a:cubicBezTo>
                  <a:pt x="14043" y="4731"/>
                  <a:pt x="14028" y="4700"/>
                  <a:pt x="14009" y="4700"/>
                </a:cubicBezTo>
                <a:close/>
                <a:moveTo>
                  <a:pt x="14713" y="4700"/>
                </a:moveTo>
                <a:cubicBezTo>
                  <a:pt x="14686" y="4700"/>
                  <a:pt x="14663" y="4745"/>
                  <a:pt x="14663" y="4799"/>
                </a:cubicBezTo>
                <a:cubicBezTo>
                  <a:pt x="14663" y="4854"/>
                  <a:pt x="14686" y="4897"/>
                  <a:pt x="14713" y="4897"/>
                </a:cubicBezTo>
                <a:cubicBezTo>
                  <a:pt x="14740" y="4897"/>
                  <a:pt x="14762" y="4854"/>
                  <a:pt x="14762" y="4799"/>
                </a:cubicBezTo>
                <a:cubicBezTo>
                  <a:pt x="14762" y="4745"/>
                  <a:pt x="14740" y="4700"/>
                  <a:pt x="14713" y="4700"/>
                </a:cubicBezTo>
                <a:close/>
                <a:moveTo>
                  <a:pt x="6079" y="4705"/>
                </a:moveTo>
                <a:cubicBezTo>
                  <a:pt x="6072" y="4722"/>
                  <a:pt x="6066" y="4740"/>
                  <a:pt x="6066" y="4762"/>
                </a:cubicBezTo>
                <a:cubicBezTo>
                  <a:pt x="6066" y="4817"/>
                  <a:pt x="6089" y="4860"/>
                  <a:pt x="6116" y="4860"/>
                </a:cubicBezTo>
                <a:cubicBezTo>
                  <a:pt x="6143" y="4860"/>
                  <a:pt x="6164" y="4817"/>
                  <a:pt x="6165" y="4763"/>
                </a:cubicBezTo>
                <a:cubicBezTo>
                  <a:pt x="6167" y="4767"/>
                  <a:pt x="6168" y="4774"/>
                  <a:pt x="6171" y="4774"/>
                </a:cubicBezTo>
                <a:lnTo>
                  <a:pt x="6191" y="4774"/>
                </a:lnTo>
                <a:cubicBezTo>
                  <a:pt x="6190" y="4811"/>
                  <a:pt x="6190" y="4818"/>
                  <a:pt x="6192" y="4833"/>
                </a:cubicBezTo>
                <a:cubicBezTo>
                  <a:pt x="6193" y="4859"/>
                  <a:pt x="6205" y="4876"/>
                  <a:pt x="6214" y="4890"/>
                </a:cubicBezTo>
                <a:cubicBezTo>
                  <a:pt x="6221" y="4902"/>
                  <a:pt x="6230" y="4915"/>
                  <a:pt x="6230" y="4927"/>
                </a:cubicBezTo>
                <a:cubicBezTo>
                  <a:pt x="6230" y="4948"/>
                  <a:pt x="6220" y="4994"/>
                  <a:pt x="6212" y="5029"/>
                </a:cubicBezTo>
                <a:cubicBezTo>
                  <a:pt x="6209" y="5041"/>
                  <a:pt x="6207" y="5052"/>
                  <a:pt x="6204" y="5063"/>
                </a:cubicBezTo>
                <a:cubicBezTo>
                  <a:pt x="6156" y="5042"/>
                  <a:pt x="6046" y="4954"/>
                  <a:pt x="6028" y="4909"/>
                </a:cubicBezTo>
                <a:cubicBezTo>
                  <a:pt x="6025" y="4902"/>
                  <a:pt x="6021" y="4897"/>
                  <a:pt x="6016" y="4897"/>
                </a:cubicBezTo>
                <a:lnTo>
                  <a:pt x="5984" y="4897"/>
                </a:lnTo>
                <a:cubicBezTo>
                  <a:pt x="5979" y="4897"/>
                  <a:pt x="5974" y="4903"/>
                  <a:pt x="5971" y="4914"/>
                </a:cubicBezTo>
                <a:cubicBezTo>
                  <a:pt x="5969" y="4924"/>
                  <a:pt x="5969" y="4937"/>
                  <a:pt x="5973" y="4946"/>
                </a:cubicBezTo>
                <a:cubicBezTo>
                  <a:pt x="5988" y="4983"/>
                  <a:pt x="6013" y="5016"/>
                  <a:pt x="6040" y="5052"/>
                </a:cubicBezTo>
                <a:cubicBezTo>
                  <a:pt x="6079" y="5105"/>
                  <a:pt x="6124" y="5165"/>
                  <a:pt x="6124" y="5224"/>
                </a:cubicBezTo>
                <a:cubicBezTo>
                  <a:pt x="6124" y="5232"/>
                  <a:pt x="6122" y="5239"/>
                  <a:pt x="6120" y="5242"/>
                </a:cubicBezTo>
                <a:cubicBezTo>
                  <a:pt x="6119" y="5239"/>
                  <a:pt x="6118" y="5235"/>
                  <a:pt x="6118" y="5232"/>
                </a:cubicBezTo>
                <a:cubicBezTo>
                  <a:pt x="6114" y="5217"/>
                  <a:pt x="6110" y="5202"/>
                  <a:pt x="6103" y="5197"/>
                </a:cubicBezTo>
                <a:cubicBezTo>
                  <a:pt x="6093" y="5187"/>
                  <a:pt x="6086" y="5188"/>
                  <a:pt x="6077" y="5182"/>
                </a:cubicBezTo>
                <a:cubicBezTo>
                  <a:pt x="6073" y="5163"/>
                  <a:pt x="6066" y="5148"/>
                  <a:pt x="6055" y="5148"/>
                </a:cubicBezTo>
                <a:cubicBezTo>
                  <a:pt x="6049" y="5148"/>
                  <a:pt x="6045" y="5153"/>
                  <a:pt x="6040" y="5160"/>
                </a:cubicBezTo>
                <a:cubicBezTo>
                  <a:pt x="6035" y="5158"/>
                  <a:pt x="6027" y="5151"/>
                  <a:pt x="6022" y="5149"/>
                </a:cubicBezTo>
                <a:cubicBezTo>
                  <a:pt x="5998" y="5140"/>
                  <a:pt x="5977" y="5131"/>
                  <a:pt x="5954" y="5104"/>
                </a:cubicBezTo>
                <a:cubicBezTo>
                  <a:pt x="5947" y="5066"/>
                  <a:pt x="5932" y="5036"/>
                  <a:pt x="5911" y="5036"/>
                </a:cubicBezTo>
                <a:cubicBezTo>
                  <a:pt x="5901" y="5036"/>
                  <a:pt x="5894" y="5047"/>
                  <a:pt x="5886" y="5057"/>
                </a:cubicBezTo>
                <a:cubicBezTo>
                  <a:pt x="5885" y="5056"/>
                  <a:pt x="5884" y="5055"/>
                  <a:pt x="5883" y="5055"/>
                </a:cubicBezTo>
                <a:cubicBezTo>
                  <a:pt x="5857" y="5041"/>
                  <a:pt x="5825" y="5024"/>
                  <a:pt x="5814" y="5000"/>
                </a:cubicBezTo>
                <a:cubicBezTo>
                  <a:pt x="5814" y="5000"/>
                  <a:pt x="6060" y="4726"/>
                  <a:pt x="6079" y="4705"/>
                </a:cubicBezTo>
                <a:close/>
                <a:moveTo>
                  <a:pt x="18476" y="4724"/>
                </a:moveTo>
                <a:cubicBezTo>
                  <a:pt x="18483" y="4734"/>
                  <a:pt x="18491" y="4745"/>
                  <a:pt x="18500" y="4752"/>
                </a:cubicBezTo>
                <a:cubicBezTo>
                  <a:pt x="18452" y="4956"/>
                  <a:pt x="18054" y="6656"/>
                  <a:pt x="18040" y="6717"/>
                </a:cubicBezTo>
                <a:cubicBezTo>
                  <a:pt x="18026" y="6719"/>
                  <a:pt x="18015" y="6733"/>
                  <a:pt x="18007" y="6753"/>
                </a:cubicBezTo>
                <a:lnTo>
                  <a:pt x="17709" y="6786"/>
                </a:lnTo>
                <a:cubicBezTo>
                  <a:pt x="17700" y="6766"/>
                  <a:pt x="17692" y="6751"/>
                  <a:pt x="17683" y="6738"/>
                </a:cubicBezTo>
                <a:cubicBezTo>
                  <a:pt x="17676" y="6728"/>
                  <a:pt x="17667" y="6731"/>
                  <a:pt x="17662" y="6744"/>
                </a:cubicBezTo>
                <a:cubicBezTo>
                  <a:pt x="17660" y="6749"/>
                  <a:pt x="17659" y="6755"/>
                  <a:pt x="17659" y="6761"/>
                </a:cubicBezTo>
                <a:cubicBezTo>
                  <a:pt x="17659" y="6771"/>
                  <a:pt x="17662" y="6780"/>
                  <a:pt x="17666" y="6786"/>
                </a:cubicBezTo>
                <a:cubicBezTo>
                  <a:pt x="17667" y="6787"/>
                  <a:pt x="17668" y="6789"/>
                  <a:pt x="17669" y="6791"/>
                </a:cubicBezTo>
                <a:lnTo>
                  <a:pt x="17570" y="6801"/>
                </a:lnTo>
                <a:cubicBezTo>
                  <a:pt x="17562" y="6770"/>
                  <a:pt x="17550" y="6745"/>
                  <a:pt x="17534" y="6730"/>
                </a:cubicBezTo>
                <a:cubicBezTo>
                  <a:pt x="17540" y="6729"/>
                  <a:pt x="17546" y="6724"/>
                  <a:pt x="17553" y="6724"/>
                </a:cubicBezTo>
                <a:cubicBezTo>
                  <a:pt x="17553" y="6724"/>
                  <a:pt x="17553" y="6724"/>
                  <a:pt x="17553" y="6724"/>
                </a:cubicBezTo>
                <a:cubicBezTo>
                  <a:pt x="17562" y="6724"/>
                  <a:pt x="17568" y="6710"/>
                  <a:pt x="17568" y="6694"/>
                </a:cubicBezTo>
                <a:cubicBezTo>
                  <a:pt x="17568" y="6677"/>
                  <a:pt x="17562" y="6665"/>
                  <a:pt x="17553" y="6665"/>
                </a:cubicBezTo>
                <a:cubicBezTo>
                  <a:pt x="17480" y="6665"/>
                  <a:pt x="17424" y="6716"/>
                  <a:pt x="17383" y="6822"/>
                </a:cubicBezTo>
                <a:lnTo>
                  <a:pt x="17325" y="6829"/>
                </a:lnTo>
                <a:lnTo>
                  <a:pt x="17256" y="6836"/>
                </a:lnTo>
                <a:lnTo>
                  <a:pt x="17880" y="5755"/>
                </a:lnTo>
                <a:cubicBezTo>
                  <a:pt x="17892" y="5770"/>
                  <a:pt x="17905" y="5780"/>
                  <a:pt x="17919" y="5780"/>
                </a:cubicBezTo>
                <a:cubicBezTo>
                  <a:pt x="17960" y="5780"/>
                  <a:pt x="17993" y="5714"/>
                  <a:pt x="17993" y="5632"/>
                </a:cubicBezTo>
                <a:cubicBezTo>
                  <a:pt x="17993" y="5610"/>
                  <a:pt x="17990" y="5590"/>
                  <a:pt x="17986" y="5571"/>
                </a:cubicBezTo>
                <a:lnTo>
                  <a:pt x="18080" y="5409"/>
                </a:lnTo>
                <a:cubicBezTo>
                  <a:pt x="18086" y="5413"/>
                  <a:pt x="18092" y="5416"/>
                  <a:pt x="18098" y="5416"/>
                </a:cubicBezTo>
                <a:cubicBezTo>
                  <a:pt x="18135" y="5416"/>
                  <a:pt x="18165" y="5356"/>
                  <a:pt x="18165" y="5282"/>
                </a:cubicBezTo>
                <a:cubicBezTo>
                  <a:pt x="18165" y="5276"/>
                  <a:pt x="18164" y="5271"/>
                  <a:pt x="18163" y="5265"/>
                </a:cubicBezTo>
                <a:lnTo>
                  <a:pt x="18476" y="4724"/>
                </a:lnTo>
                <a:close/>
                <a:moveTo>
                  <a:pt x="18607" y="4724"/>
                </a:moveTo>
                <a:lnTo>
                  <a:pt x="18843" y="5625"/>
                </a:lnTo>
                <a:cubicBezTo>
                  <a:pt x="18798" y="5636"/>
                  <a:pt x="18746" y="5651"/>
                  <a:pt x="18715" y="5667"/>
                </a:cubicBezTo>
                <a:cubicBezTo>
                  <a:pt x="18658" y="5699"/>
                  <a:pt x="18606" y="5793"/>
                  <a:pt x="18558" y="5891"/>
                </a:cubicBezTo>
                <a:cubicBezTo>
                  <a:pt x="18552" y="5871"/>
                  <a:pt x="18543" y="5857"/>
                  <a:pt x="18531" y="5857"/>
                </a:cubicBezTo>
                <a:cubicBezTo>
                  <a:pt x="18512" y="5857"/>
                  <a:pt x="18497" y="5888"/>
                  <a:pt x="18497" y="5926"/>
                </a:cubicBezTo>
                <a:cubicBezTo>
                  <a:pt x="18497" y="5949"/>
                  <a:pt x="18504" y="5966"/>
                  <a:pt x="18513" y="5978"/>
                </a:cubicBezTo>
                <a:cubicBezTo>
                  <a:pt x="18511" y="5983"/>
                  <a:pt x="18508" y="5988"/>
                  <a:pt x="18506" y="5992"/>
                </a:cubicBezTo>
                <a:cubicBezTo>
                  <a:pt x="18491" y="6023"/>
                  <a:pt x="18478" y="6052"/>
                  <a:pt x="18465" y="6078"/>
                </a:cubicBezTo>
                <a:cubicBezTo>
                  <a:pt x="18452" y="6103"/>
                  <a:pt x="18434" y="6132"/>
                  <a:pt x="18415" y="6162"/>
                </a:cubicBezTo>
                <a:cubicBezTo>
                  <a:pt x="18362" y="6246"/>
                  <a:pt x="18302" y="6340"/>
                  <a:pt x="18302" y="6440"/>
                </a:cubicBezTo>
                <a:cubicBezTo>
                  <a:pt x="18302" y="6470"/>
                  <a:pt x="18333" y="6596"/>
                  <a:pt x="18390" y="6640"/>
                </a:cubicBezTo>
                <a:cubicBezTo>
                  <a:pt x="18389" y="6649"/>
                  <a:pt x="18385" y="6655"/>
                  <a:pt x="18385" y="6665"/>
                </a:cubicBezTo>
                <a:cubicBezTo>
                  <a:pt x="18385" y="6669"/>
                  <a:pt x="18387" y="6672"/>
                  <a:pt x="18387" y="6676"/>
                </a:cubicBezTo>
                <a:lnTo>
                  <a:pt x="18190" y="6718"/>
                </a:lnTo>
                <a:lnTo>
                  <a:pt x="18076" y="6742"/>
                </a:lnTo>
                <a:cubicBezTo>
                  <a:pt x="18074" y="6738"/>
                  <a:pt x="18071" y="6739"/>
                  <a:pt x="18069" y="6736"/>
                </a:cubicBezTo>
                <a:lnTo>
                  <a:pt x="18304" y="5731"/>
                </a:lnTo>
                <a:lnTo>
                  <a:pt x="18529" y="4763"/>
                </a:lnTo>
                <a:cubicBezTo>
                  <a:pt x="18533" y="4764"/>
                  <a:pt x="18537" y="4768"/>
                  <a:pt x="18541" y="4768"/>
                </a:cubicBezTo>
                <a:cubicBezTo>
                  <a:pt x="18566" y="4768"/>
                  <a:pt x="18588" y="4749"/>
                  <a:pt x="18607" y="4724"/>
                </a:cubicBezTo>
                <a:close/>
                <a:moveTo>
                  <a:pt x="1226" y="4850"/>
                </a:moveTo>
                <a:cubicBezTo>
                  <a:pt x="1217" y="4850"/>
                  <a:pt x="1210" y="4864"/>
                  <a:pt x="1210" y="4882"/>
                </a:cubicBezTo>
                <a:cubicBezTo>
                  <a:pt x="1210" y="4901"/>
                  <a:pt x="1217" y="4916"/>
                  <a:pt x="1226" y="4916"/>
                </a:cubicBezTo>
                <a:cubicBezTo>
                  <a:pt x="1235" y="4916"/>
                  <a:pt x="1243" y="4901"/>
                  <a:pt x="1243" y="4882"/>
                </a:cubicBezTo>
                <a:cubicBezTo>
                  <a:pt x="1243" y="4864"/>
                  <a:pt x="1235" y="4850"/>
                  <a:pt x="1226" y="4850"/>
                </a:cubicBezTo>
                <a:close/>
                <a:moveTo>
                  <a:pt x="15333" y="4850"/>
                </a:moveTo>
                <a:cubicBezTo>
                  <a:pt x="15292" y="4850"/>
                  <a:pt x="15259" y="4916"/>
                  <a:pt x="15259" y="4998"/>
                </a:cubicBezTo>
                <a:cubicBezTo>
                  <a:pt x="15259" y="5079"/>
                  <a:pt x="15292" y="5146"/>
                  <a:pt x="15333" y="5146"/>
                </a:cubicBezTo>
                <a:cubicBezTo>
                  <a:pt x="15373" y="5146"/>
                  <a:pt x="15407" y="5079"/>
                  <a:pt x="15407" y="4998"/>
                </a:cubicBezTo>
                <a:cubicBezTo>
                  <a:pt x="15407" y="4916"/>
                  <a:pt x="15373" y="4850"/>
                  <a:pt x="15333" y="4850"/>
                </a:cubicBezTo>
                <a:close/>
                <a:moveTo>
                  <a:pt x="5220" y="4886"/>
                </a:moveTo>
                <a:cubicBezTo>
                  <a:pt x="5227" y="4889"/>
                  <a:pt x="5233" y="4892"/>
                  <a:pt x="5237" y="4895"/>
                </a:cubicBezTo>
                <a:cubicBezTo>
                  <a:pt x="5233" y="4900"/>
                  <a:pt x="5227" y="4899"/>
                  <a:pt x="5222" y="4902"/>
                </a:cubicBezTo>
                <a:cubicBezTo>
                  <a:pt x="5222" y="4901"/>
                  <a:pt x="5223" y="4900"/>
                  <a:pt x="5223" y="4899"/>
                </a:cubicBezTo>
                <a:cubicBezTo>
                  <a:pt x="5223" y="4894"/>
                  <a:pt x="5221" y="4890"/>
                  <a:pt x="5220" y="4886"/>
                </a:cubicBezTo>
                <a:close/>
                <a:moveTo>
                  <a:pt x="5394" y="4942"/>
                </a:moveTo>
                <a:cubicBezTo>
                  <a:pt x="5381" y="4942"/>
                  <a:pt x="5372" y="4958"/>
                  <a:pt x="5362" y="4984"/>
                </a:cubicBezTo>
                <a:cubicBezTo>
                  <a:pt x="5357" y="4997"/>
                  <a:pt x="5358" y="5015"/>
                  <a:pt x="5365" y="5026"/>
                </a:cubicBezTo>
                <a:cubicBezTo>
                  <a:pt x="5375" y="5043"/>
                  <a:pt x="5386" y="5058"/>
                  <a:pt x="5398" y="5058"/>
                </a:cubicBezTo>
                <a:cubicBezTo>
                  <a:pt x="5411" y="5058"/>
                  <a:pt x="5422" y="5042"/>
                  <a:pt x="5432" y="5026"/>
                </a:cubicBezTo>
                <a:cubicBezTo>
                  <a:pt x="5436" y="5019"/>
                  <a:pt x="5438" y="5009"/>
                  <a:pt x="5438" y="4999"/>
                </a:cubicBezTo>
                <a:cubicBezTo>
                  <a:pt x="5437" y="4989"/>
                  <a:pt x="5434" y="4980"/>
                  <a:pt x="5430" y="4976"/>
                </a:cubicBezTo>
                <a:cubicBezTo>
                  <a:pt x="5424" y="4970"/>
                  <a:pt x="5420" y="4964"/>
                  <a:pt x="5416" y="4959"/>
                </a:cubicBezTo>
                <a:cubicBezTo>
                  <a:pt x="5409" y="4950"/>
                  <a:pt x="5403" y="4942"/>
                  <a:pt x="5394" y="4942"/>
                </a:cubicBezTo>
                <a:close/>
                <a:moveTo>
                  <a:pt x="4542" y="4946"/>
                </a:moveTo>
                <a:cubicBezTo>
                  <a:pt x="4553" y="4955"/>
                  <a:pt x="4566" y="4961"/>
                  <a:pt x="4580" y="4967"/>
                </a:cubicBezTo>
                <a:cubicBezTo>
                  <a:pt x="4597" y="4976"/>
                  <a:pt x="4634" y="4994"/>
                  <a:pt x="4634" y="5012"/>
                </a:cubicBezTo>
                <a:cubicBezTo>
                  <a:pt x="4634" y="5046"/>
                  <a:pt x="4626" y="5054"/>
                  <a:pt x="4588" y="5057"/>
                </a:cubicBezTo>
                <a:cubicBezTo>
                  <a:pt x="4578" y="5058"/>
                  <a:pt x="4567" y="5058"/>
                  <a:pt x="4557" y="5062"/>
                </a:cubicBezTo>
                <a:lnTo>
                  <a:pt x="4542" y="4946"/>
                </a:lnTo>
                <a:close/>
                <a:moveTo>
                  <a:pt x="4006" y="4957"/>
                </a:moveTo>
                <a:lnTo>
                  <a:pt x="4310" y="5478"/>
                </a:lnTo>
                <a:cubicBezTo>
                  <a:pt x="4292" y="5505"/>
                  <a:pt x="4280" y="5546"/>
                  <a:pt x="4280" y="5595"/>
                </a:cubicBezTo>
                <a:cubicBezTo>
                  <a:pt x="4280" y="5676"/>
                  <a:pt x="4313" y="5743"/>
                  <a:pt x="4354" y="5743"/>
                </a:cubicBezTo>
                <a:cubicBezTo>
                  <a:pt x="4368" y="5743"/>
                  <a:pt x="4380" y="5733"/>
                  <a:pt x="4391" y="5720"/>
                </a:cubicBezTo>
                <a:cubicBezTo>
                  <a:pt x="4391" y="5746"/>
                  <a:pt x="4392" y="5776"/>
                  <a:pt x="4392" y="5792"/>
                </a:cubicBezTo>
                <a:cubicBezTo>
                  <a:pt x="4394" y="5824"/>
                  <a:pt x="4395" y="5838"/>
                  <a:pt x="4391" y="5862"/>
                </a:cubicBezTo>
                <a:cubicBezTo>
                  <a:pt x="4389" y="5872"/>
                  <a:pt x="4390" y="5883"/>
                  <a:pt x="4394" y="5891"/>
                </a:cubicBezTo>
                <a:cubicBezTo>
                  <a:pt x="4397" y="5899"/>
                  <a:pt x="4402" y="5902"/>
                  <a:pt x="4407" y="5900"/>
                </a:cubicBezTo>
                <a:cubicBezTo>
                  <a:pt x="4420" y="5895"/>
                  <a:pt x="4429" y="5885"/>
                  <a:pt x="4437" y="5875"/>
                </a:cubicBezTo>
                <a:cubicBezTo>
                  <a:pt x="4445" y="5865"/>
                  <a:pt x="4450" y="5858"/>
                  <a:pt x="4457" y="5858"/>
                </a:cubicBezTo>
                <a:cubicBezTo>
                  <a:pt x="4472" y="5858"/>
                  <a:pt x="4491" y="5910"/>
                  <a:pt x="4505" y="5989"/>
                </a:cubicBezTo>
                <a:lnTo>
                  <a:pt x="3859" y="5786"/>
                </a:lnTo>
                <a:lnTo>
                  <a:pt x="3705" y="5737"/>
                </a:lnTo>
                <a:lnTo>
                  <a:pt x="3984" y="5016"/>
                </a:lnTo>
                <a:cubicBezTo>
                  <a:pt x="3988" y="5010"/>
                  <a:pt x="3992" y="5002"/>
                  <a:pt x="3993" y="4991"/>
                </a:cubicBezTo>
                <a:lnTo>
                  <a:pt x="4006" y="4957"/>
                </a:lnTo>
                <a:close/>
                <a:moveTo>
                  <a:pt x="14044" y="4960"/>
                </a:moveTo>
                <a:lnTo>
                  <a:pt x="14670" y="6032"/>
                </a:lnTo>
                <a:cubicBezTo>
                  <a:pt x="14670" y="6032"/>
                  <a:pt x="14441" y="5960"/>
                  <a:pt x="14212" y="5888"/>
                </a:cubicBezTo>
                <a:cubicBezTo>
                  <a:pt x="14228" y="5872"/>
                  <a:pt x="14241" y="5845"/>
                  <a:pt x="14241" y="5807"/>
                </a:cubicBezTo>
                <a:cubicBezTo>
                  <a:pt x="14241" y="5752"/>
                  <a:pt x="14219" y="5708"/>
                  <a:pt x="14192" y="5708"/>
                </a:cubicBezTo>
                <a:cubicBezTo>
                  <a:pt x="14165" y="5708"/>
                  <a:pt x="14142" y="5752"/>
                  <a:pt x="14142" y="5807"/>
                </a:cubicBezTo>
                <a:cubicBezTo>
                  <a:pt x="14142" y="5831"/>
                  <a:pt x="14148" y="5853"/>
                  <a:pt x="14156" y="5870"/>
                </a:cubicBezTo>
                <a:cubicBezTo>
                  <a:pt x="13952" y="5806"/>
                  <a:pt x="13743" y="5740"/>
                  <a:pt x="13743" y="5740"/>
                </a:cubicBezTo>
                <a:lnTo>
                  <a:pt x="13803" y="5584"/>
                </a:lnTo>
                <a:cubicBezTo>
                  <a:pt x="13810" y="5589"/>
                  <a:pt x="13818" y="5593"/>
                  <a:pt x="13825" y="5593"/>
                </a:cubicBezTo>
                <a:cubicBezTo>
                  <a:pt x="13866" y="5593"/>
                  <a:pt x="13899" y="5527"/>
                  <a:pt x="13899" y="5445"/>
                </a:cubicBezTo>
                <a:cubicBezTo>
                  <a:pt x="13899" y="5416"/>
                  <a:pt x="13894" y="5390"/>
                  <a:pt x="13886" y="5367"/>
                </a:cubicBezTo>
                <a:lnTo>
                  <a:pt x="13920" y="5281"/>
                </a:lnTo>
                <a:lnTo>
                  <a:pt x="13972" y="5147"/>
                </a:lnTo>
                <a:cubicBezTo>
                  <a:pt x="13977" y="5151"/>
                  <a:pt x="13981" y="5159"/>
                  <a:pt x="13987" y="5159"/>
                </a:cubicBezTo>
                <a:cubicBezTo>
                  <a:pt x="14014" y="5159"/>
                  <a:pt x="14036" y="5115"/>
                  <a:pt x="14036" y="5061"/>
                </a:cubicBezTo>
                <a:cubicBezTo>
                  <a:pt x="14036" y="5041"/>
                  <a:pt x="14030" y="5025"/>
                  <a:pt x="14025" y="5009"/>
                </a:cubicBezTo>
                <a:lnTo>
                  <a:pt x="14044" y="4960"/>
                </a:lnTo>
                <a:close/>
                <a:moveTo>
                  <a:pt x="1282" y="4962"/>
                </a:moveTo>
                <a:cubicBezTo>
                  <a:pt x="1273" y="4962"/>
                  <a:pt x="1266" y="4976"/>
                  <a:pt x="1266" y="4994"/>
                </a:cubicBezTo>
                <a:cubicBezTo>
                  <a:pt x="1266" y="5012"/>
                  <a:pt x="1273" y="5028"/>
                  <a:pt x="1282" y="5028"/>
                </a:cubicBezTo>
                <a:cubicBezTo>
                  <a:pt x="1291" y="5028"/>
                  <a:pt x="1299" y="5012"/>
                  <a:pt x="1299" y="4994"/>
                </a:cubicBezTo>
                <a:cubicBezTo>
                  <a:pt x="1299" y="4976"/>
                  <a:pt x="1291" y="4962"/>
                  <a:pt x="1282" y="4962"/>
                </a:cubicBezTo>
                <a:close/>
                <a:moveTo>
                  <a:pt x="19718" y="4999"/>
                </a:moveTo>
                <a:cubicBezTo>
                  <a:pt x="19691" y="4999"/>
                  <a:pt x="19669" y="5043"/>
                  <a:pt x="19669" y="5098"/>
                </a:cubicBezTo>
                <a:cubicBezTo>
                  <a:pt x="19669" y="5152"/>
                  <a:pt x="19691" y="5196"/>
                  <a:pt x="19718" y="5196"/>
                </a:cubicBezTo>
                <a:cubicBezTo>
                  <a:pt x="19745" y="5196"/>
                  <a:pt x="19767" y="5152"/>
                  <a:pt x="19767" y="5098"/>
                </a:cubicBezTo>
                <a:cubicBezTo>
                  <a:pt x="19767" y="5043"/>
                  <a:pt x="19745" y="4999"/>
                  <a:pt x="19718" y="4999"/>
                </a:cubicBezTo>
                <a:close/>
                <a:moveTo>
                  <a:pt x="11409" y="5034"/>
                </a:moveTo>
                <a:cubicBezTo>
                  <a:pt x="11412" y="5082"/>
                  <a:pt x="11431" y="5121"/>
                  <a:pt x="11456" y="5121"/>
                </a:cubicBezTo>
                <a:cubicBezTo>
                  <a:pt x="11476" y="5121"/>
                  <a:pt x="11490" y="5095"/>
                  <a:pt x="11498" y="5061"/>
                </a:cubicBezTo>
                <a:lnTo>
                  <a:pt x="11578" y="5149"/>
                </a:lnTo>
                <a:lnTo>
                  <a:pt x="11669" y="5249"/>
                </a:lnTo>
                <a:cubicBezTo>
                  <a:pt x="11669" y="5251"/>
                  <a:pt x="11667" y="5252"/>
                  <a:pt x="11667" y="5254"/>
                </a:cubicBezTo>
                <a:cubicBezTo>
                  <a:pt x="11667" y="5258"/>
                  <a:pt x="11669" y="5261"/>
                  <a:pt x="11670" y="5265"/>
                </a:cubicBezTo>
                <a:lnTo>
                  <a:pt x="11417" y="5305"/>
                </a:lnTo>
                <a:cubicBezTo>
                  <a:pt x="11420" y="5299"/>
                  <a:pt x="11423" y="5292"/>
                  <a:pt x="11425" y="5286"/>
                </a:cubicBezTo>
                <a:cubicBezTo>
                  <a:pt x="11427" y="5278"/>
                  <a:pt x="11428" y="5269"/>
                  <a:pt x="11426" y="5261"/>
                </a:cubicBezTo>
                <a:cubicBezTo>
                  <a:pt x="11425" y="5253"/>
                  <a:pt x="11421" y="5246"/>
                  <a:pt x="11417" y="5242"/>
                </a:cubicBezTo>
                <a:cubicBezTo>
                  <a:pt x="11404" y="5232"/>
                  <a:pt x="11387" y="5149"/>
                  <a:pt x="11387" y="5108"/>
                </a:cubicBezTo>
                <a:cubicBezTo>
                  <a:pt x="11387" y="5099"/>
                  <a:pt x="11387" y="5091"/>
                  <a:pt x="11387" y="5083"/>
                </a:cubicBezTo>
                <a:cubicBezTo>
                  <a:pt x="11388" y="5073"/>
                  <a:pt x="11388" y="5062"/>
                  <a:pt x="11388" y="5051"/>
                </a:cubicBezTo>
                <a:cubicBezTo>
                  <a:pt x="11395" y="5049"/>
                  <a:pt x="11402" y="5039"/>
                  <a:pt x="11409" y="5034"/>
                </a:cubicBezTo>
                <a:close/>
                <a:moveTo>
                  <a:pt x="5179" y="5036"/>
                </a:moveTo>
                <a:cubicBezTo>
                  <a:pt x="5169" y="5036"/>
                  <a:pt x="5163" y="5049"/>
                  <a:pt x="5159" y="5065"/>
                </a:cubicBezTo>
                <a:cubicBezTo>
                  <a:pt x="5149" y="5057"/>
                  <a:pt x="5144" y="5054"/>
                  <a:pt x="5132" y="5054"/>
                </a:cubicBezTo>
                <a:cubicBezTo>
                  <a:pt x="5127" y="5054"/>
                  <a:pt x="5119" y="5054"/>
                  <a:pt x="5108" y="5055"/>
                </a:cubicBezTo>
                <a:lnTo>
                  <a:pt x="5104" y="5056"/>
                </a:lnTo>
                <a:cubicBezTo>
                  <a:pt x="5097" y="5057"/>
                  <a:pt x="5091" y="5065"/>
                  <a:pt x="5090" y="5079"/>
                </a:cubicBezTo>
                <a:cubicBezTo>
                  <a:pt x="5089" y="5087"/>
                  <a:pt x="5078" y="5107"/>
                  <a:pt x="5071" y="5120"/>
                </a:cubicBezTo>
                <a:cubicBezTo>
                  <a:pt x="5063" y="5136"/>
                  <a:pt x="5054" y="5154"/>
                  <a:pt x="5046" y="5173"/>
                </a:cubicBezTo>
                <a:cubicBezTo>
                  <a:pt x="5044" y="5178"/>
                  <a:pt x="5043" y="5184"/>
                  <a:pt x="5043" y="5191"/>
                </a:cubicBezTo>
                <a:lnTo>
                  <a:pt x="5043" y="5246"/>
                </a:lnTo>
                <a:cubicBezTo>
                  <a:pt x="5043" y="5255"/>
                  <a:pt x="5044" y="5264"/>
                  <a:pt x="5048" y="5269"/>
                </a:cubicBezTo>
                <a:cubicBezTo>
                  <a:pt x="5050" y="5274"/>
                  <a:pt x="5054" y="5276"/>
                  <a:pt x="5058" y="5276"/>
                </a:cubicBezTo>
                <a:cubicBezTo>
                  <a:pt x="5058" y="5276"/>
                  <a:pt x="5059" y="5276"/>
                  <a:pt x="5059" y="5276"/>
                </a:cubicBezTo>
                <a:cubicBezTo>
                  <a:pt x="5096" y="5267"/>
                  <a:pt x="5148" y="5185"/>
                  <a:pt x="5171" y="5128"/>
                </a:cubicBezTo>
                <a:cubicBezTo>
                  <a:pt x="5174" y="5130"/>
                  <a:pt x="5176" y="5135"/>
                  <a:pt x="5179" y="5135"/>
                </a:cubicBezTo>
                <a:cubicBezTo>
                  <a:pt x="5193" y="5135"/>
                  <a:pt x="5204" y="5112"/>
                  <a:pt x="5204" y="5085"/>
                </a:cubicBezTo>
                <a:cubicBezTo>
                  <a:pt x="5204" y="5058"/>
                  <a:pt x="5193" y="5036"/>
                  <a:pt x="5179" y="5036"/>
                </a:cubicBezTo>
                <a:close/>
                <a:moveTo>
                  <a:pt x="1130" y="5073"/>
                </a:moveTo>
                <a:cubicBezTo>
                  <a:pt x="1113" y="5073"/>
                  <a:pt x="1098" y="5102"/>
                  <a:pt x="1098" y="5138"/>
                </a:cubicBezTo>
                <a:cubicBezTo>
                  <a:pt x="1098" y="5173"/>
                  <a:pt x="1113" y="5201"/>
                  <a:pt x="1130" y="5201"/>
                </a:cubicBezTo>
                <a:cubicBezTo>
                  <a:pt x="1148" y="5201"/>
                  <a:pt x="1162" y="5173"/>
                  <a:pt x="1162" y="5138"/>
                </a:cubicBezTo>
                <a:cubicBezTo>
                  <a:pt x="1162" y="5102"/>
                  <a:pt x="1148" y="5073"/>
                  <a:pt x="1130" y="5073"/>
                </a:cubicBezTo>
                <a:close/>
                <a:moveTo>
                  <a:pt x="4974" y="5073"/>
                </a:moveTo>
                <a:cubicBezTo>
                  <a:pt x="4961" y="5073"/>
                  <a:pt x="4950" y="5095"/>
                  <a:pt x="4950" y="5122"/>
                </a:cubicBezTo>
                <a:cubicBezTo>
                  <a:pt x="4950" y="5150"/>
                  <a:pt x="4961" y="5173"/>
                  <a:pt x="4974" y="5173"/>
                </a:cubicBezTo>
                <a:cubicBezTo>
                  <a:pt x="4988" y="5173"/>
                  <a:pt x="4999" y="5150"/>
                  <a:pt x="4999" y="5122"/>
                </a:cubicBezTo>
                <a:cubicBezTo>
                  <a:pt x="4999" y="5095"/>
                  <a:pt x="4988" y="5073"/>
                  <a:pt x="4974" y="5073"/>
                </a:cubicBezTo>
                <a:close/>
                <a:moveTo>
                  <a:pt x="14679" y="5073"/>
                </a:moveTo>
                <a:cubicBezTo>
                  <a:pt x="14660" y="5073"/>
                  <a:pt x="14645" y="5104"/>
                  <a:pt x="14645" y="5142"/>
                </a:cubicBezTo>
                <a:cubicBezTo>
                  <a:pt x="14645" y="5180"/>
                  <a:pt x="14660" y="5210"/>
                  <a:pt x="14679" y="5210"/>
                </a:cubicBezTo>
                <a:cubicBezTo>
                  <a:pt x="14698" y="5210"/>
                  <a:pt x="14713" y="5180"/>
                  <a:pt x="14713" y="5142"/>
                </a:cubicBezTo>
                <a:cubicBezTo>
                  <a:pt x="14713" y="5104"/>
                  <a:pt x="14698" y="5073"/>
                  <a:pt x="14679" y="5073"/>
                </a:cubicBezTo>
                <a:close/>
                <a:moveTo>
                  <a:pt x="5115" y="5114"/>
                </a:moveTo>
                <a:cubicBezTo>
                  <a:pt x="5128" y="5113"/>
                  <a:pt x="5134" y="5112"/>
                  <a:pt x="5138" y="5114"/>
                </a:cubicBezTo>
                <a:cubicBezTo>
                  <a:pt x="5121" y="5149"/>
                  <a:pt x="5094" y="5188"/>
                  <a:pt x="5073" y="5206"/>
                </a:cubicBezTo>
                <a:lnTo>
                  <a:pt x="5073" y="5203"/>
                </a:lnTo>
                <a:cubicBezTo>
                  <a:pt x="5078" y="5190"/>
                  <a:pt x="5085" y="5176"/>
                  <a:pt x="5092" y="5163"/>
                </a:cubicBezTo>
                <a:cubicBezTo>
                  <a:pt x="5101" y="5145"/>
                  <a:pt x="5110" y="5130"/>
                  <a:pt x="5115" y="5114"/>
                </a:cubicBezTo>
                <a:close/>
                <a:moveTo>
                  <a:pt x="272" y="5126"/>
                </a:moveTo>
                <a:cubicBezTo>
                  <a:pt x="272" y="5126"/>
                  <a:pt x="272" y="5314"/>
                  <a:pt x="272" y="5410"/>
                </a:cubicBezTo>
                <a:cubicBezTo>
                  <a:pt x="259" y="5387"/>
                  <a:pt x="242" y="5372"/>
                  <a:pt x="223" y="5372"/>
                </a:cubicBezTo>
                <a:cubicBezTo>
                  <a:pt x="202" y="5372"/>
                  <a:pt x="184" y="5389"/>
                  <a:pt x="170" y="5417"/>
                </a:cubicBezTo>
                <a:cubicBezTo>
                  <a:pt x="163" y="5407"/>
                  <a:pt x="156" y="5396"/>
                  <a:pt x="150" y="5387"/>
                </a:cubicBezTo>
                <a:cubicBezTo>
                  <a:pt x="135" y="5367"/>
                  <a:pt x="121" y="5349"/>
                  <a:pt x="121" y="5331"/>
                </a:cubicBezTo>
                <a:cubicBezTo>
                  <a:pt x="121" y="5227"/>
                  <a:pt x="226" y="5127"/>
                  <a:pt x="265" y="5127"/>
                </a:cubicBezTo>
                <a:cubicBezTo>
                  <a:pt x="267" y="5127"/>
                  <a:pt x="269" y="5127"/>
                  <a:pt x="272" y="5126"/>
                </a:cubicBezTo>
                <a:close/>
                <a:moveTo>
                  <a:pt x="5454" y="5148"/>
                </a:moveTo>
                <a:cubicBezTo>
                  <a:pt x="5459" y="5148"/>
                  <a:pt x="5464" y="5149"/>
                  <a:pt x="5468" y="5150"/>
                </a:cubicBezTo>
                <a:lnTo>
                  <a:pt x="5469" y="5181"/>
                </a:lnTo>
                <a:lnTo>
                  <a:pt x="5471" y="5303"/>
                </a:lnTo>
                <a:cubicBezTo>
                  <a:pt x="5469" y="5302"/>
                  <a:pt x="5467" y="5297"/>
                  <a:pt x="5465" y="5297"/>
                </a:cubicBezTo>
                <a:cubicBezTo>
                  <a:pt x="5454" y="5297"/>
                  <a:pt x="5445" y="5308"/>
                  <a:pt x="5437" y="5319"/>
                </a:cubicBezTo>
                <a:cubicBezTo>
                  <a:pt x="5433" y="5291"/>
                  <a:pt x="5424" y="5267"/>
                  <a:pt x="5416" y="5248"/>
                </a:cubicBezTo>
                <a:cubicBezTo>
                  <a:pt x="5412" y="5240"/>
                  <a:pt x="5406" y="5228"/>
                  <a:pt x="5405" y="5225"/>
                </a:cubicBezTo>
                <a:cubicBezTo>
                  <a:pt x="5405" y="5156"/>
                  <a:pt x="5440" y="5148"/>
                  <a:pt x="5454" y="5148"/>
                </a:cubicBezTo>
                <a:close/>
                <a:moveTo>
                  <a:pt x="5498" y="5163"/>
                </a:moveTo>
                <a:cubicBezTo>
                  <a:pt x="5508" y="5169"/>
                  <a:pt x="5517" y="5175"/>
                  <a:pt x="5527" y="5182"/>
                </a:cubicBezTo>
                <a:cubicBezTo>
                  <a:pt x="5540" y="5191"/>
                  <a:pt x="5553" y="5200"/>
                  <a:pt x="5566" y="5208"/>
                </a:cubicBezTo>
                <a:lnTo>
                  <a:pt x="5530" y="5248"/>
                </a:lnTo>
                <a:lnTo>
                  <a:pt x="5500" y="5281"/>
                </a:lnTo>
                <a:lnTo>
                  <a:pt x="5500" y="5258"/>
                </a:lnTo>
                <a:lnTo>
                  <a:pt x="5498" y="5163"/>
                </a:lnTo>
                <a:close/>
                <a:moveTo>
                  <a:pt x="5295" y="5166"/>
                </a:moveTo>
                <a:cubicBezTo>
                  <a:pt x="5267" y="5166"/>
                  <a:pt x="5248" y="5204"/>
                  <a:pt x="5248" y="5259"/>
                </a:cubicBezTo>
                <a:cubicBezTo>
                  <a:pt x="5248" y="5266"/>
                  <a:pt x="5249" y="5273"/>
                  <a:pt x="5251" y="5279"/>
                </a:cubicBezTo>
                <a:cubicBezTo>
                  <a:pt x="5283" y="5353"/>
                  <a:pt x="5288" y="5352"/>
                  <a:pt x="5294" y="5352"/>
                </a:cubicBezTo>
                <a:cubicBezTo>
                  <a:pt x="5318" y="5352"/>
                  <a:pt x="5328" y="5309"/>
                  <a:pt x="5336" y="5279"/>
                </a:cubicBezTo>
                <a:cubicBezTo>
                  <a:pt x="5338" y="5266"/>
                  <a:pt x="5341" y="5256"/>
                  <a:pt x="5344" y="5247"/>
                </a:cubicBezTo>
                <a:cubicBezTo>
                  <a:pt x="5348" y="5236"/>
                  <a:pt x="5348" y="5221"/>
                  <a:pt x="5344" y="5210"/>
                </a:cubicBezTo>
                <a:cubicBezTo>
                  <a:pt x="5332" y="5182"/>
                  <a:pt x="5314" y="5166"/>
                  <a:pt x="5295" y="5166"/>
                </a:cubicBezTo>
                <a:close/>
                <a:moveTo>
                  <a:pt x="5673" y="5178"/>
                </a:moveTo>
                <a:cubicBezTo>
                  <a:pt x="5697" y="5178"/>
                  <a:pt x="5712" y="5210"/>
                  <a:pt x="5729" y="5247"/>
                </a:cubicBezTo>
                <a:cubicBezTo>
                  <a:pt x="5745" y="5281"/>
                  <a:pt x="5763" y="5319"/>
                  <a:pt x="5790" y="5335"/>
                </a:cubicBezTo>
                <a:cubicBezTo>
                  <a:pt x="5791" y="5345"/>
                  <a:pt x="5792" y="5356"/>
                  <a:pt x="5794" y="5365"/>
                </a:cubicBezTo>
                <a:lnTo>
                  <a:pt x="5535" y="5311"/>
                </a:lnTo>
                <a:lnTo>
                  <a:pt x="5540" y="5305"/>
                </a:lnTo>
                <a:cubicBezTo>
                  <a:pt x="5540" y="5305"/>
                  <a:pt x="5616" y="5220"/>
                  <a:pt x="5616" y="5220"/>
                </a:cubicBezTo>
                <a:cubicBezTo>
                  <a:pt x="5636" y="5219"/>
                  <a:pt x="5646" y="5204"/>
                  <a:pt x="5654" y="5192"/>
                </a:cubicBezTo>
                <a:cubicBezTo>
                  <a:pt x="5661" y="5183"/>
                  <a:pt x="5664" y="5178"/>
                  <a:pt x="5673" y="5178"/>
                </a:cubicBezTo>
                <a:close/>
                <a:moveTo>
                  <a:pt x="5295" y="5225"/>
                </a:moveTo>
                <a:cubicBezTo>
                  <a:pt x="5302" y="5225"/>
                  <a:pt x="5308" y="5228"/>
                  <a:pt x="5313" y="5234"/>
                </a:cubicBezTo>
                <a:cubicBezTo>
                  <a:pt x="5312" y="5240"/>
                  <a:pt x="5310" y="5247"/>
                  <a:pt x="5309" y="5253"/>
                </a:cubicBezTo>
                <a:cubicBezTo>
                  <a:pt x="5304" y="5271"/>
                  <a:pt x="5301" y="5285"/>
                  <a:pt x="5297" y="5290"/>
                </a:cubicBezTo>
                <a:cubicBezTo>
                  <a:pt x="5292" y="5281"/>
                  <a:pt x="5285" y="5264"/>
                  <a:pt x="5278" y="5248"/>
                </a:cubicBezTo>
                <a:cubicBezTo>
                  <a:pt x="5280" y="5229"/>
                  <a:pt x="5288" y="5225"/>
                  <a:pt x="5295" y="5225"/>
                </a:cubicBezTo>
                <a:close/>
                <a:moveTo>
                  <a:pt x="5030" y="5297"/>
                </a:moveTo>
                <a:cubicBezTo>
                  <a:pt x="5017" y="5297"/>
                  <a:pt x="5006" y="5319"/>
                  <a:pt x="5006" y="5346"/>
                </a:cubicBezTo>
                <a:cubicBezTo>
                  <a:pt x="5006" y="5373"/>
                  <a:pt x="5017" y="5396"/>
                  <a:pt x="5030" y="5396"/>
                </a:cubicBezTo>
                <a:cubicBezTo>
                  <a:pt x="5044" y="5396"/>
                  <a:pt x="5055" y="5373"/>
                  <a:pt x="5055" y="5346"/>
                </a:cubicBezTo>
                <a:cubicBezTo>
                  <a:pt x="5055" y="5319"/>
                  <a:pt x="5044" y="5297"/>
                  <a:pt x="5030" y="5297"/>
                </a:cubicBezTo>
                <a:close/>
                <a:moveTo>
                  <a:pt x="1747" y="5311"/>
                </a:moveTo>
                <a:lnTo>
                  <a:pt x="1956" y="5316"/>
                </a:lnTo>
                <a:cubicBezTo>
                  <a:pt x="1955" y="5322"/>
                  <a:pt x="1954" y="5327"/>
                  <a:pt x="1954" y="5333"/>
                </a:cubicBezTo>
                <a:cubicBezTo>
                  <a:pt x="1954" y="5415"/>
                  <a:pt x="1987" y="5481"/>
                  <a:pt x="2028" y="5481"/>
                </a:cubicBezTo>
                <a:cubicBezTo>
                  <a:pt x="2069" y="5481"/>
                  <a:pt x="2102" y="5415"/>
                  <a:pt x="2102" y="5333"/>
                </a:cubicBezTo>
                <a:cubicBezTo>
                  <a:pt x="2102" y="5328"/>
                  <a:pt x="2101" y="5324"/>
                  <a:pt x="2101" y="5319"/>
                </a:cubicBezTo>
                <a:lnTo>
                  <a:pt x="2327" y="5325"/>
                </a:lnTo>
                <a:cubicBezTo>
                  <a:pt x="2327" y="5328"/>
                  <a:pt x="2326" y="5331"/>
                  <a:pt x="2326" y="5333"/>
                </a:cubicBezTo>
                <a:cubicBezTo>
                  <a:pt x="2326" y="5415"/>
                  <a:pt x="2359" y="5481"/>
                  <a:pt x="2400" y="5481"/>
                </a:cubicBezTo>
                <a:cubicBezTo>
                  <a:pt x="2441" y="5481"/>
                  <a:pt x="2474" y="5415"/>
                  <a:pt x="2474" y="5333"/>
                </a:cubicBezTo>
                <a:cubicBezTo>
                  <a:pt x="2474" y="5332"/>
                  <a:pt x="2473" y="5330"/>
                  <a:pt x="2473" y="5329"/>
                </a:cubicBezTo>
                <a:lnTo>
                  <a:pt x="2728" y="5336"/>
                </a:lnTo>
                <a:cubicBezTo>
                  <a:pt x="2736" y="5362"/>
                  <a:pt x="2749" y="5382"/>
                  <a:pt x="2766" y="5382"/>
                </a:cubicBezTo>
                <a:cubicBezTo>
                  <a:pt x="2783" y="5382"/>
                  <a:pt x="2796" y="5363"/>
                  <a:pt x="2804" y="5337"/>
                </a:cubicBezTo>
                <a:lnTo>
                  <a:pt x="3090" y="5344"/>
                </a:lnTo>
                <a:cubicBezTo>
                  <a:pt x="3069" y="5355"/>
                  <a:pt x="3052" y="5388"/>
                  <a:pt x="3052" y="5434"/>
                </a:cubicBezTo>
                <a:cubicBezTo>
                  <a:pt x="3052" y="5488"/>
                  <a:pt x="3074" y="5532"/>
                  <a:pt x="3101" y="5532"/>
                </a:cubicBezTo>
                <a:cubicBezTo>
                  <a:pt x="3129" y="5532"/>
                  <a:pt x="3150" y="5488"/>
                  <a:pt x="3150" y="5434"/>
                </a:cubicBezTo>
                <a:cubicBezTo>
                  <a:pt x="3150" y="5389"/>
                  <a:pt x="3134" y="5357"/>
                  <a:pt x="3114" y="5345"/>
                </a:cubicBezTo>
                <a:lnTo>
                  <a:pt x="3300" y="5350"/>
                </a:lnTo>
                <a:cubicBezTo>
                  <a:pt x="3306" y="5389"/>
                  <a:pt x="3322" y="5420"/>
                  <a:pt x="3343" y="5420"/>
                </a:cubicBezTo>
                <a:cubicBezTo>
                  <a:pt x="3346" y="5420"/>
                  <a:pt x="3348" y="5415"/>
                  <a:pt x="3350" y="5414"/>
                </a:cubicBezTo>
                <a:cubicBezTo>
                  <a:pt x="3350" y="5417"/>
                  <a:pt x="3350" y="5421"/>
                  <a:pt x="3350" y="5424"/>
                </a:cubicBezTo>
                <a:cubicBezTo>
                  <a:pt x="3349" y="5429"/>
                  <a:pt x="3349" y="5433"/>
                  <a:pt x="3349" y="5438"/>
                </a:cubicBezTo>
                <a:cubicBezTo>
                  <a:pt x="3348" y="5445"/>
                  <a:pt x="3348" y="5452"/>
                  <a:pt x="3347" y="5458"/>
                </a:cubicBezTo>
                <a:cubicBezTo>
                  <a:pt x="3347" y="5464"/>
                  <a:pt x="3347" y="5469"/>
                  <a:pt x="3346" y="5474"/>
                </a:cubicBezTo>
                <a:cubicBezTo>
                  <a:pt x="3346" y="5481"/>
                  <a:pt x="3345" y="5488"/>
                  <a:pt x="3344" y="5495"/>
                </a:cubicBezTo>
                <a:cubicBezTo>
                  <a:pt x="3344" y="5502"/>
                  <a:pt x="3344" y="5508"/>
                  <a:pt x="3343" y="5514"/>
                </a:cubicBezTo>
                <a:cubicBezTo>
                  <a:pt x="3343" y="5522"/>
                  <a:pt x="3342" y="5529"/>
                  <a:pt x="3342" y="5537"/>
                </a:cubicBezTo>
                <a:cubicBezTo>
                  <a:pt x="3341" y="5543"/>
                  <a:pt x="3340" y="5549"/>
                  <a:pt x="3340" y="5555"/>
                </a:cubicBezTo>
                <a:cubicBezTo>
                  <a:pt x="3339" y="5564"/>
                  <a:pt x="3339" y="5575"/>
                  <a:pt x="3338" y="5585"/>
                </a:cubicBezTo>
                <a:cubicBezTo>
                  <a:pt x="3338" y="5591"/>
                  <a:pt x="3337" y="5596"/>
                  <a:pt x="3337" y="5602"/>
                </a:cubicBezTo>
                <a:cubicBezTo>
                  <a:pt x="3336" y="5613"/>
                  <a:pt x="3335" y="5625"/>
                  <a:pt x="3334" y="5638"/>
                </a:cubicBezTo>
                <a:cubicBezTo>
                  <a:pt x="3334" y="5642"/>
                  <a:pt x="3333" y="5646"/>
                  <a:pt x="3333" y="5651"/>
                </a:cubicBezTo>
                <a:cubicBezTo>
                  <a:pt x="3332" y="5664"/>
                  <a:pt x="3331" y="5677"/>
                  <a:pt x="3330" y="5691"/>
                </a:cubicBezTo>
                <a:cubicBezTo>
                  <a:pt x="3330" y="5696"/>
                  <a:pt x="3329" y="5700"/>
                  <a:pt x="3329" y="5704"/>
                </a:cubicBezTo>
                <a:cubicBezTo>
                  <a:pt x="3320" y="5820"/>
                  <a:pt x="3306" y="5995"/>
                  <a:pt x="3294" y="6140"/>
                </a:cubicBezTo>
                <a:cubicBezTo>
                  <a:pt x="3287" y="6129"/>
                  <a:pt x="3279" y="6118"/>
                  <a:pt x="3269" y="6118"/>
                </a:cubicBezTo>
                <a:cubicBezTo>
                  <a:pt x="3242" y="6118"/>
                  <a:pt x="3219" y="6163"/>
                  <a:pt x="3219" y="6217"/>
                </a:cubicBezTo>
                <a:cubicBezTo>
                  <a:pt x="3219" y="6272"/>
                  <a:pt x="3242" y="6315"/>
                  <a:pt x="3269" y="6315"/>
                </a:cubicBezTo>
                <a:cubicBezTo>
                  <a:pt x="3274" y="6315"/>
                  <a:pt x="3277" y="6307"/>
                  <a:pt x="3281" y="6304"/>
                </a:cubicBezTo>
                <a:cubicBezTo>
                  <a:pt x="3265" y="6513"/>
                  <a:pt x="3251" y="6697"/>
                  <a:pt x="3234" y="6904"/>
                </a:cubicBezTo>
                <a:cubicBezTo>
                  <a:pt x="3234" y="6909"/>
                  <a:pt x="3233" y="6914"/>
                  <a:pt x="3233" y="6919"/>
                </a:cubicBezTo>
                <a:cubicBezTo>
                  <a:pt x="3219" y="6908"/>
                  <a:pt x="3205" y="6901"/>
                  <a:pt x="3190" y="6901"/>
                </a:cubicBezTo>
                <a:cubicBezTo>
                  <a:pt x="3151" y="6901"/>
                  <a:pt x="3119" y="6941"/>
                  <a:pt x="3097" y="6998"/>
                </a:cubicBezTo>
                <a:lnTo>
                  <a:pt x="2664" y="6456"/>
                </a:lnTo>
                <a:lnTo>
                  <a:pt x="1747" y="5311"/>
                </a:lnTo>
                <a:close/>
                <a:moveTo>
                  <a:pt x="11784" y="5315"/>
                </a:moveTo>
                <a:lnTo>
                  <a:pt x="11915" y="5318"/>
                </a:lnTo>
                <a:cubicBezTo>
                  <a:pt x="11920" y="5341"/>
                  <a:pt x="11930" y="5359"/>
                  <a:pt x="11944" y="5359"/>
                </a:cubicBezTo>
                <a:cubicBezTo>
                  <a:pt x="11957" y="5359"/>
                  <a:pt x="11966" y="5342"/>
                  <a:pt x="11972" y="5319"/>
                </a:cubicBezTo>
                <a:lnTo>
                  <a:pt x="12123" y="5323"/>
                </a:lnTo>
                <a:cubicBezTo>
                  <a:pt x="12118" y="5335"/>
                  <a:pt x="12114" y="5349"/>
                  <a:pt x="12114" y="5366"/>
                </a:cubicBezTo>
                <a:cubicBezTo>
                  <a:pt x="12114" y="5404"/>
                  <a:pt x="12130" y="5434"/>
                  <a:pt x="12148" y="5434"/>
                </a:cubicBezTo>
                <a:cubicBezTo>
                  <a:pt x="12167" y="5434"/>
                  <a:pt x="12182" y="5404"/>
                  <a:pt x="12182" y="5366"/>
                </a:cubicBezTo>
                <a:cubicBezTo>
                  <a:pt x="12182" y="5350"/>
                  <a:pt x="12179" y="5336"/>
                  <a:pt x="12174" y="5324"/>
                </a:cubicBezTo>
                <a:lnTo>
                  <a:pt x="12319" y="5328"/>
                </a:lnTo>
                <a:cubicBezTo>
                  <a:pt x="12319" y="5328"/>
                  <a:pt x="12319" y="5328"/>
                  <a:pt x="12319" y="5329"/>
                </a:cubicBezTo>
                <a:cubicBezTo>
                  <a:pt x="12319" y="5366"/>
                  <a:pt x="12334" y="5396"/>
                  <a:pt x="12353" y="5396"/>
                </a:cubicBezTo>
                <a:cubicBezTo>
                  <a:pt x="12372" y="5396"/>
                  <a:pt x="12386" y="5367"/>
                  <a:pt x="12387" y="5330"/>
                </a:cubicBezTo>
                <a:lnTo>
                  <a:pt x="12714" y="5338"/>
                </a:lnTo>
                <a:cubicBezTo>
                  <a:pt x="12713" y="5346"/>
                  <a:pt x="12710" y="5351"/>
                  <a:pt x="12710" y="5359"/>
                </a:cubicBezTo>
                <a:cubicBezTo>
                  <a:pt x="12710" y="5414"/>
                  <a:pt x="12732" y="5457"/>
                  <a:pt x="12759" y="5457"/>
                </a:cubicBezTo>
                <a:cubicBezTo>
                  <a:pt x="12786" y="5457"/>
                  <a:pt x="12808" y="5414"/>
                  <a:pt x="12808" y="5359"/>
                </a:cubicBezTo>
                <a:cubicBezTo>
                  <a:pt x="12808" y="5352"/>
                  <a:pt x="12804" y="5347"/>
                  <a:pt x="12804" y="5340"/>
                </a:cubicBezTo>
                <a:lnTo>
                  <a:pt x="12993" y="5345"/>
                </a:lnTo>
                <a:cubicBezTo>
                  <a:pt x="13003" y="5402"/>
                  <a:pt x="13030" y="5444"/>
                  <a:pt x="13062" y="5444"/>
                </a:cubicBezTo>
                <a:cubicBezTo>
                  <a:pt x="13094" y="5444"/>
                  <a:pt x="13121" y="5403"/>
                  <a:pt x="13131" y="5347"/>
                </a:cubicBezTo>
                <a:lnTo>
                  <a:pt x="13271" y="5351"/>
                </a:lnTo>
                <a:cubicBezTo>
                  <a:pt x="13270" y="5363"/>
                  <a:pt x="13268" y="5374"/>
                  <a:pt x="13268" y="5387"/>
                </a:cubicBezTo>
                <a:cubicBezTo>
                  <a:pt x="13268" y="5478"/>
                  <a:pt x="13305" y="5551"/>
                  <a:pt x="13350" y="5551"/>
                </a:cubicBezTo>
                <a:cubicBezTo>
                  <a:pt x="13360" y="5551"/>
                  <a:pt x="13370" y="5547"/>
                  <a:pt x="13379" y="5540"/>
                </a:cubicBezTo>
                <a:cubicBezTo>
                  <a:pt x="13379" y="5549"/>
                  <a:pt x="13378" y="5558"/>
                  <a:pt x="13377" y="5568"/>
                </a:cubicBezTo>
                <a:cubicBezTo>
                  <a:pt x="13377" y="5569"/>
                  <a:pt x="13377" y="5571"/>
                  <a:pt x="13377" y="5572"/>
                </a:cubicBezTo>
                <a:cubicBezTo>
                  <a:pt x="13364" y="5753"/>
                  <a:pt x="13338" y="6072"/>
                  <a:pt x="13315" y="6353"/>
                </a:cubicBezTo>
                <a:cubicBezTo>
                  <a:pt x="13311" y="6349"/>
                  <a:pt x="13307" y="6342"/>
                  <a:pt x="13302" y="6342"/>
                </a:cubicBezTo>
                <a:cubicBezTo>
                  <a:pt x="13283" y="6342"/>
                  <a:pt x="13268" y="6373"/>
                  <a:pt x="13268" y="6411"/>
                </a:cubicBezTo>
                <a:cubicBezTo>
                  <a:pt x="13268" y="6448"/>
                  <a:pt x="13283" y="6478"/>
                  <a:pt x="13302" y="6478"/>
                </a:cubicBezTo>
                <a:cubicBezTo>
                  <a:pt x="13304" y="6478"/>
                  <a:pt x="13305" y="6475"/>
                  <a:pt x="13306" y="6475"/>
                </a:cubicBezTo>
                <a:cubicBezTo>
                  <a:pt x="13295" y="6619"/>
                  <a:pt x="13286" y="6728"/>
                  <a:pt x="13275" y="6870"/>
                </a:cubicBezTo>
                <a:cubicBezTo>
                  <a:pt x="13270" y="6846"/>
                  <a:pt x="13260" y="6827"/>
                  <a:pt x="13246" y="6827"/>
                </a:cubicBezTo>
                <a:cubicBezTo>
                  <a:pt x="13227" y="6827"/>
                  <a:pt x="13212" y="6858"/>
                  <a:pt x="13212" y="6896"/>
                </a:cubicBezTo>
                <a:cubicBezTo>
                  <a:pt x="13212" y="6933"/>
                  <a:pt x="13227" y="6963"/>
                  <a:pt x="13246" y="6963"/>
                </a:cubicBezTo>
                <a:cubicBezTo>
                  <a:pt x="13255" y="6963"/>
                  <a:pt x="13263" y="6956"/>
                  <a:pt x="13269" y="6945"/>
                </a:cubicBezTo>
                <a:cubicBezTo>
                  <a:pt x="13267" y="6970"/>
                  <a:pt x="13265" y="6992"/>
                  <a:pt x="13263" y="7017"/>
                </a:cubicBezTo>
                <a:cubicBezTo>
                  <a:pt x="13263" y="7019"/>
                  <a:pt x="13263" y="7021"/>
                  <a:pt x="13263" y="7023"/>
                </a:cubicBezTo>
                <a:cubicBezTo>
                  <a:pt x="13261" y="7041"/>
                  <a:pt x="13259" y="7060"/>
                  <a:pt x="13258" y="7079"/>
                </a:cubicBezTo>
                <a:cubicBezTo>
                  <a:pt x="13257" y="7083"/>
                  <a:pt x="13257" y="7088"/>
                  <a:pt x="13257" y="7093"/>
                </a:cubicBezTo>
                <a:cubicBezTo>
                  <a:pt x="13255" y="7109"/>
                  <a:pt x="13254" y="7125"/>
                  <a:pt x="13253" y="7142"/>
                </a:cubicBezTo>
                <a:cubicBezTo>
                  <a:pt x="13252" y="7144"/>
                  <a:pt x="13252" y="7145"/>
                  <a:pt x="13252" y="7147"/>
                </a:cubicBezTo>
                <a:lnTo>
                  <a:pt x="12846" y="6639"/>
                </a:lnTo>
                <a:cubicBezTo>
                  <a:pt x="12840" y="6619"/>
                  <a:pt x="12831" y="6603"/>
                  <a:pt x="12818" y="6603"/>
                </a:cubicBezTo>
                <a:cubicBezTo>
                  <a:pt x="12818" y="6603"/>
                  <a:pt x="12818" y="6604"/>
                  <a:pt x="12817" y="6604"/>
                </a:cubicBezTo>
                <a:lnTo>
                  <a:pt x="12706" y="6465"/>
                </a:lnTo>
                <a:cubicBezTo>
                  <a:pt x="12706" y="6465"/>
                  <a:pt x="12554" y="6276"/>
                  <a:pt x="12454" y="6151"/>
                </a:cubicBezTo>
                <a:cubicBezTo>
                  <a:pt x="12448" y="6133"/>
                  <a:pt x="12440" y="6120"/>
                  <a:pt x="12428" y="6119"/>
                </a:cubicBezTo>
                <a:cubicBezTo>
                  <a:pt x="12428" y="6119"/>
                  <a:pt x="12428" y="6118"/>
                  <a:pt x="12427" y="6118"/>
                </a:cubicBezTo>
                <a:cubicBezTo>
                  <a:pt x="12156" y="5779"/>
                  <a:pt x="11784" y="5315"/>
                  <a:pt x="11784" y="5315"/>
                </a:cubicBezTo>
                <a:close/>
                <a:moveTo>
                  <a:pt x="11698" y="5319"/>
                </a:moveTo>
                <a:cubicBezTo>
                  <a:pt x="11699" y="5320"/>
                  <a:pt x="11700" y="5321"/>
                  <a:pt x="11701" y="5321"/>
                </a:cubicBezTo>
                <a:lnTo>
                  <a:pt x="11690" y="5354"/>
                </a:lnTo>
                <a:lnTo>
                  <a:pt x="11649" y="5474"/>
                </a:lnTo>
                <a:cubicBezTo>
                  <a:pt x="11647" y="5474"/>
                  <a:pt x="11645" y="5474"/>
                  <a:pt x="11643" y="5476"/>
                </a:cubicBezTo>
                <a:cubicBezTo>
                  <a:pt x="11634" y="5481"/>
                  <a:pt x="11624" y="5487"/>
                  <a:pt x="11614" y="5493"/>
                </a:cubicBezTo>
                <a:cubicBezTo>
                  <a:pt x="11580" y="5515"/>
                  <a:pt x="11546" y="5537"/>
                  <a:pt x="11520" y="5537"/>
                </a:cubicBezTo>
                <a:cubicBezTo>
                  <a:pt x="11488" y="5537"/>
                  <a:pt x="11488" y="5525"/>
                  <a:pt x="11488" y="5512"/>
                </a:cubicBezTo>
                <a:cubicBezTo>
                  <a:pt x="11488" y="5495"/>
                  <a:pt x="11482" y="5483"/>
                  <a:pt x="11473" y="5483"/>
                </a:cubicBezTo>
                <a:cubicBezTo>
                  <a:pt x="11437" y="5483"/>
                  <a:pt x="11399" y="5437"/>
                  <a:pt x="11397" y="5368"/>
                </a:cubicBezTo>
                <a:cubicBezTo>
                  <a:pt x="11397" y="5368"/>
                  <a:pt x="11690" y="5321"/>
                  <a:pt x="11690" y="5321"/>
                </a:cubicBezTo>
                <a:lnTo>
                  <a:pt x="11698" y="5319"/>
                </a:lnTo>
                <a:close/>
                <a:moveTo>
                  <a:pt x="1583" y="5329"/>
                </a:moveTo>
                <a:cubicBezTo>
                  <a:pt x="1583" y="5330"/>
                  <a:pt x="1582" y="5332"/>
                  <a:pt x="1582" y="5333"/>
                </a:cubicBezTo>
                <a:cubicBezTo>
                  <a:pt x="1582" y="5378"/>
                  <a:pt x="1592" y="5417"/>
                  <a:pt x="1608" y="5444"/>
                </a:cubicBezTo>
                <a:lnTo>
                  <a:pt x="1608" y="5483"/>
                </a:lnTo>
                <a:cubicBezTo>
                  <a:pt x="1608" y="5483"/>
                  <a:pt x="1566" y="5607"/>
                  <a:pt x="1566" y="5607"/>
                </a:cubicBezTo>
                <a:lnTo>
                  <a:pt x="1455" y="5607"/>
                </a:lnTo>
                <a:cubicBezTo>
                  <a:pt x="1441" y="5598"/>
                  <a:pt x="1426" y="5590"/>
                  <a:pt x="1411" y="5582"/>
                </a:cubicBezTo>
                <a:cubicBezTo>
                  <a:pt x="1399" y="5575"/>
                  <a:pt x="1389" y="5567"/>
                  <a:pt x="1377" y="5560"/>
                </a:cubicBezTo>
                <a:cubicBezTo>
                  <a:pt x="1372" y="5518"/>
                  <a:pt x="1356" y="5484"/>
                  <a:pt x="1334" y="5484"/>
                </a:cubicBezTo>
                <a:cubicBezTo>
                  <a:pt x="1325" y="5484"/>
                  <a:pt x="1318" y="5495"/>
                  <a:pt x="1310" y="5504"/>
                </a:cubicBezTo>
                <a:cubicBezTo>
                  <a:pt x="1293" y="5481"/>
                  <a:pt x="1277" y="5452"/>
                  <a:pt x="1267" y="5412"/>
                </a:cubicBezTo>
                <a:cubicBezTo>
                  <a:pt x="1263" y="5397"/>
                  <a:pt x="1255" y="5390"/>
                  <a:pt x="1248" y="5396"/>
                </a:cubicBezTo>
                <a:cubicBezTo>
                  <a:pt x="1238" y="5405"/>
                  <a:pt x="1224" y="5414"/>
                  <a:pt x="1211" y="5422"/>
                </a:cubicBezTo>
                <a:cubicBezTo>
                  <a:pt x="1191" y="5435"/>
                  <a:pt x="1172" y="5448"/>
                  <a:pt x="1159" y="5462"/>
                </a:cubicBezTo>
                <a:cubicBezTo>
                  <a:pt x="1153" y="5469"/>
                  <a:pt x="1150" y="5486"/>
                  <a:pt x="1153" y="5500"/>
                </a:cubicBezTo>
                <a:cubicBezTo>
                  <a:pt x="1157" y="5522"/>
                  <a:pt x="1161" y="5536"/>
                  <a:pt x="1167" y="5550"/>
                </a:cubicBezTo>
                <a:cubicBezTo>
                  <a:pt x="1130" y="5631"/>
                  <a:pt x="1016" y="5757"/>
                  <a:pt x="975" y="5757"/>
                </a:cubicBezTo>
                <a:cubicBezTo>
                  <a:pt x="974" y="5757"/>
                  <a:pt x="973" y="5755"/>
                  <a:pt x="971" y="5754"/>
                </a:cubicBezTo>
                <a:cubicBezTo>
                  <a:pt x="972" y="5754"/>
                  <a:pt x="973" y="5752"/>
                  <a:pt x="974" y="5752"/>
                </a:cubicBezTo>
                <a:cubicBezTo>
                  <a:pt x="975" y="5751"/>
                  <a:pt x="977" y="5750"/>
                  <a:pt x="978" y="5748"/>
                </a:cubicBezTo>
                <a:cubicBezTo>
                  <a:pt x="982" y="5745"/>
                  <a:pt x="985" y="5738"/>
                  <a:pt x="986" y="5730"/>
                </a:cubicBezTo>
                <a:cubicBezTo>
                  <a:pt x="987" y="5721"/>
                  <a:pt x="986" y="5711"/>
                  <a:pt x="984" y="5704"/>
                </a:cubicBezTo>
                <a:cubicBezTo>
                  <a:pt x="982" y="5701"/>
                  <a:pt x="982" y="5700"/>
                  <a:pt x="981" y="5698"/>
                </a:cubicBezTo>
                <a:cubicBezTo>
                  <a:pt x="982" y="5693"/>
                  <a:pt x="984" y="5683"/>
                  <a:pt x="984" y="5670"/>
                </a:cubicBezTo>
                <a:cubicBezTo>
                  <a:pt x="984" y="5568"/>
                  <a:pt x="1029" y="5519"/>
                  <a:pt x="1067" y="5495"/>
                </a:cubicBezTo>
                <a:cubicBezTo>
                  <a:pt x="1073" y="5492"/>
                  <a:pt x="1078" y="5479"/>
                  <a:pt x="1078" y="5466"/>
                </a:cubicBezTo>
                <a:cubicBezTo>
                  <a:pt x="1078" y="5462"/>
                  <a:pt x="1078" y="5456"/>
                  <a:pt x="1078" y="5450"/>
                </a:cubicBezTo>
                <a:cubicBezTo>
                  <a:pt x="1079" y="5441"/>
                  <a:pt x="1080" y="5432"/>
                  <a:pt x="1080" y="5424"/>
                </a:cubicBezTo>
                <a:cubicBezTo>
                  <a:pt x="1080" y="5420"/>
                  <a:pt x="1079" y="5415"/>
                  <a:pt x="1078" y="5412"/>
                </a:cubicBezTo>
                <a:lnTo>
                  <a:pt x="1583" y="5329"/>
                </a:lnTo>
                <a:close/>
                <a:moveTo>
                  <a:pt x="13600" y="5335"/>
                </a:moveTo>
                <a:cubicBezTo>
                  <a:pt x="13581" y="5335"/>
                  <a:pt x="13565" y="5366"/>
                  <a:pt x="13565" y="5403"/>
                </a:cubicBezTo>
                <a:cubicBezTo>
                  <a:pt x="13565" y="5441"/>
                  <a:pt x="13581" y="5471"/>
                  <a:pt x="13600" y="5471"/>
                </a:cubicBezTo>
                <a:cubicBezTo>
                  <a:pt x="13619" y="5471"/>
                  <a:pt x="13634" y="5441"/>
                  <a:pt x="13634" y="5403"/>
                </a:cubicBezTo>
                <a:cubicBezTo>
                  <a:pt x="13634" y="5366"/>
                  <a:pt x="13619" y="5335"/>
                  <a:pt x="13600" y="5335"/>
                </a:cubicBezTo>
                <a:close/>
                <a:moveTo>
                  <a:pt x="11731" y="5338"/>
                </a:moveTo>
                <a:lnTo>
                  <a:pt x="11766" y="5448"/>
                </a:lnTo>
                <a:cubicBezTo>
                  <a:pt x="11743" y="5469"/>
                  <a:pt x="11710" y="5477"/>
                  <a:pt x="11684" y="5478"/>
                </a:cubicBezTo>
                <a:cubicBezTo>
                  <a:pt x="11684" y="5478"/>
                  <a:pt x="11697" y="5442"/>
                  <a:pt x="11697" y="5442"/>
                </a:cubicBezTo>
                <a:lnTo>
                  <a:pt x="11731" y="5338"/>
                </a:lnTo>
                <a:close/>
                <a:moveTo>
                  <a:pt x="5527" y="5370"/>
                </a:moveTo>
                <a:cubicBezTo>
                  <a:pt x="5527" y="5370"/>
                  <a:pt x="5831" y="5433"/>
                  <a:pt x="5831" y="5433"/>
                </a:cubicBezTo>
                <a:cubicBezTo>
                  <a:pt x="5842" y="5441"/>
                  <a:pt x="5854" y="5446"/>
                  <a:pt x="5866" y="5451"/>
                </a:cubicBezTo>
                <a:cubicBezTo>
                  <a:pt x="5896" y="5465"/>
                  <a:pt x="5910" y="5474"/>
                  <a:pt x="5912" y="5505"/>
                </a:cubicBezTo>
                <a:cubicBezTo>
                  <a:pt x="5920" y="5616"/>
                  <a:pt x="5931" y="5717"/>
                  <a:pt x="5950" y="5776"/>
                </a:cubicBezTo>
                <a:cubicBezTo>
                  <a:pt x="5942" y="5800"/>
                  <a:pt x="5936" y="5826"/>
                  <a:pt x="5936" y="5856"/>
                </a:cubicBezTo>
                <a:cubicBezTo>
                  <a:pt x="5936" y="5937"/>
                  <a:pt x="5969" y="6004"/>
                  <a:pt x="6010" y="6004"/>
                </a:cubicBezTo>
                <a:cubicBezTo>
                  <a:pt x="6041" y="6004"/>
                  <a:pt x="6068" y="5964"/>
                  <a:pt x="6079" y="5908"/>
                </a:cubicBezTo>
                <a:cubicBezTo>
                  <a:pt x="6134" y="5874"/>
                  <a:pt x="6190" y="5744"/>
                  <a:pt x="6190" y="5671"/>
                </a:cubicBezTo>
                <a:cubicBezTo>
                  <a:pt x="6190" y="5638"/>
                  <a:pt x="6208" y="5609"/>
                  <a:pt x="6222" y="5590"/>
                </a:cubicBezTo>
                <a:cubicBezTo>
                  <a:pt x="6230" y="5605"/>
                  <a:pt x="6239" y="5620"/>
                  <a:pt x="6247" y="5628"/>
                </a:cubicBezTo>
                <a:cubicBezTo>
                  <a:pt x="6251" y="5664"/>
                  <a:pt x="6262" y="5691"/>
                  <a:pt x="6275" y="5713"/>
                </a:cubicBezTo>
                <a:cubicBezTo>
                  <a:pt x="6272" y="5712"/>
                  <a:pt x="6271" y="5708"/>
                  <a:pt x="6268" y="5708"/>
                </a:cubicBezTo>
                <a:cubicBezTo>
                  <a:pt x="6249" y="5708"/>
                  <a:pt x="6234" y="5739"/>
                  <a:pt x="6234" y="5776"/>
                </a:cubicBezTo>
                <a:cubicBezTo>
                  <a:pt x="6234" y="5814"/>
                  <a:pt x="6249" y="5844"/>
                  <a:pt x="6268" y="5844"/>
                </a:cubicBezTo>
                <a:cubicBezTo>
                  <a:pt x="6287" y="5844"/>
                  <a:pt x="6302" y="5814"/>
                  <a:pt x="6302" y="5776"/>
                </a:cubicBezTo>
                <a:cubicBezTo>
                  <a:pt x="6302" y="5767"/>
                  <a:pt x="6299" y="5761"/>
                  <a:pt x="6297" y="5753"/>
                </a:cubicBezTo>
                <a:cubicBezTo>
                  <a:pt x="6320" y="5789"/>
                  <a:pt x="6326" y="5804"/>
                  <a:pt x="6321" y="5829"/>
                </a:cubicBezTo>
                <a:cubicBezTo>
                  <a:pt x="6315" y="5855"/>
                  <a:pt x="6315" y="5883"/>
                  <a:pt x="6321" y="5912"/>
                </a:cubicBezTo>
                <a:cubicBezTo>
                  <a:pt x="6334" y="5969"/>
                  <a:pt x="6368" y="6018"/>
                  <a:pt x="6389" y="6039"/>
                </a:cubicBezTo>
                <a:cubicBezTo>
                  <a:pt x="6389" y="6060"/>
                  <a:pt x="6394" y="6080"/>
                  <a:pt x="6398" y="6097"/>
                </a:cubicBezTo>
                <a:cubicBezTo>
                  <a:pt x="6401" y="6112"/>
                  <a:pt x="6404" y="6126"/>
                  <a:pt x="6404" y="6139"/>
                </a:cubicBezTo>
                <a:cubicBezTo>
                  <a:pt x="6404" y="6162"/>
                  <a:pt x="6398" y="6170"/>
                  <a:pt x="6386" y="6183"/>
                </a:cubicBezTo>
                <a:cubicBezTo>
                  <a:pt x="6384" y="6185"/>
                  <a:pt x="6382" y="6187"/>
                  <a:pt x="6380" y="6189"/>
                </a:cubicBezTo>
                <a:cubicBezTo>
                  <a:pt x="6376" y="6194"/>
                  <a:pt x="6373" y="6204"/>
                  <a:pt x="6372" y="6214"/>
                </a:cubicBezTo>
                <a:cubicBezTo>
                  <a:pt x="6372" y="6224"/>
                  <a:pt x="6374" y="6233"/>
                  <a:pt x="6378" y="6239"/>
                </a:cubicBezTo>
                <a:cubicBezTo>
                  <a:pt x="6382" y="6246"/>
                  <a:pt x="6387" y="6252"/>
                  <a:pt x="6391" y="6259"/>
                </a:cubicBezTo>
                <a:cubicBezTo>
                  <a:pt x="6411" y="6291"/>
                  <a:pt x="6435" y="6328"/>
                  <a:pt x="6467" y="6341"/>
                </a:cubicBezTo>
                <a:cubicBezTo>
                  <a:pt x="6468" y="6344"/>
                  <a:pt x="6469" y="6349"/>
                  <a:pt x="6470" y="6352"/>
                </a:cubicBezTo>
                <a:lnTo>
                  <a:pt x="6469" y="6355"/>
                </a:lnTo>
                <a:lnTo>
                  <a:pt x="6330" y="6920"/>
                </a:lnTo>
                <a:lnTo>
                  <a:pt x="6085" y="6446"/>
                </a:lnTo>
                <a:lnTo>
                  <a:pt x="5527" y="5370"/>
                </a:lnTo>
                <a:close/>
                <a:moveTo>
                  <a:pt x="15566" y="5373"/>
                </a:moveTo>
                <a:cubicBezTo>
                  <a:pt x="15566" y="5373"/>
                  <a:pt x="15716" y="5403"/>
                  <a:pt x="15784" y="5417"/>
                </a:cubicBezTo>
                <a:cubicBezTo>
                  <a:pt x="15783" y="5425"/>
                  <a:pt x="15780" y="5432"/>
                  <a:pt x="15780" y="5441"/>
                </a:cubicBezTo>
                <a:cubicBezTo>
                  <a:pt x="15780" y="5478"/>
                  <a:pt x="15795" y="5508"/>
                  <a:pt x="15814" y="5508"/>
                </a:cubicBezTo>
                <a:cubicBezTo>
                  <a:pt x="15833" y="5508"/>
                  <a:pt x="15848" y="5478"/>
                  <a:pt x="15848" y="5441"/>
                </a:cubicBezTo>
                <a:cubicBezTo>
                  <a:pt x="15848" y="5437"/>
                  <a:pt x="15846" y="5434"/>
                  <a:pt x="15846" y="5430"/>
                </a:cubicBezTo>
                <a:cubicBezTo>
                  <a:pt x="15877" y="5437"/>
                  <a:pt x="15892" y="5440"/>
                  <a:pt x="15929" y="5448"/>
                </a:cubicBezTo>
                <a:cubicBezTo>
                  <a:pt x="15929" y="5528"/>
                  <a:pt x="15962" y="5593"/>
                  <a:pt x="16003" y="5593"/>
                </a:cubicBezTo>
                <a:cubicBezTo>
                  <a:pt x="16038" y="5593"/>
                  <a:pt x="16065" y="5543"/>
                  <a:pt x="16073" y="5477"/>
                </a:cubicBezTo>
                <a:cubicBezTo>
                  <a:pt x="16085" y="5479"/>
                  <a:pt x="16085" y="5479"/>
                  <a:pt x="16097" y="5481"/>
                </a:cubicBezTo>
                <a:cubicBezTo>
                  <a:pt x="16098" y="5517"/>
                  <a:pt x="16112" y="5546"/>
                  <a:pt x="16130" y="5546"/>
                </a:cubicBezTo>
                <a:cubicBezTo>
                  <a:pt x="16146" y="5546"/>
                  <a:pt x="16157" y="5523"/>
                  <a:pt x="16161" y="5494"/>
                </a:cubicBezTo>
                <a:cubicBezTo>
                  <a:pt x="16302" y="5523"/>
                  <a:pt x="16346" y="5533"/>
                  <a:pt x="16444" y="5553"/>
                </a:cubicBezTo>
                <a:cubicBezTo>
                  <a:pt x="16446" y="5554"/>
                  <a:pt x="16447" y="5557"/>
                  <a:pt x="16449" y="5557"/>
                </a:cubicBezTo>
                <a:cubicBezTo>
                  <a:pt x="16450" y="5557"/>
                  <a:pt x="16451" y="5555"/>
                  <a:pt x="16452" y="5555"/>
                </a:cubicBezTo>
                <a:cubicBezTo>
                  <a:pt x="16515" y="5568"/>
                  <a:pt x="16622" y="5589"/>
                  <a:pt x="16639" y="5592"/>
                </a:cubicBezTo>
                <a:cubicBezTo>
                  <a:pt x="16644" y="5632"/>
                  <a:pt x="16657" y="5666"/>
                  <a:pt x="16674" y="5685"/>
                </a:cubicBezTo>
                <a:lnTo>
                  <a:pt x="16593" y="6014"/>
                </a:lnTo>
                <a:cubicBezTo>
                  <a:pt x="16584" y="5988"/>
                  <a:pt x="16572" y="5969"/>
                  <a:pt x="16555" y="5969"/>
                </a:cubicBezTo>
                <a:cubicBezTo>
                  <a:pt x="16528" y="5969"/>
                  <a:pt x="16506" y="6013"/>
                  <a:pt x="16506" y="6068"/>
                </a:cubicBezTo>
                <a:cubicBezTo>
                  <a:pt x="16506" y="6122"/>
                  <a:pt x="16528" y="6166"/>
                  <a:pt x="16555" y="6166"/>
                </a:cubicBezTo>
                <a:lnTo>
                  <a:pt x="16503" y="6374"/>
                </a:lnTo>
                <a:lnTo>
                  <a:pt x="16368" y="6922"/>
                </a:lnTo>
                <a:lnTo>
                  <a:pt x="16330" y="6849"/>
                </a:lnTo>
                <a:cubicBezTo>
                  <a:pt x="16334" y="6830"/>
                  <a:pt x="16337" y="6810"/>
                  <a:pt x="16337" y="6788"/>
                </a:cubicBezTo>
                <a:cubicBezTo>
                  <a:pt x="16337" y="6707"/>
                  <a:pt x="16304" y="6640"/>
                  <a:pt x="16263" y="6640"/>
                </a:cubicBezTo>
                <a:cubicBezTo>
                  <a:pt x="16251" y="6640"/>
                  <a:pt x="16240" y="6647"/>
                  <a:pt x="16230" y="6657"/>
                </a:cubicBezTo>
                <a:lnTo>
                  <a:pt x="16056" y="6321"/>
                </a:lnTo>
                <a:cubicBezTo>
                  <a:pt x="16056" y="6315"/>
                  <a:pt x="16058" y="6310"/>
                  <a:pt x="16058" y="6303"/>
                </a:cubicBezTo>
                <a:cubicBezTo>
                  <a:pt x="16058" y="6222"/>
                  <a:pt x="16025" y="6155"/>
                  <a:pt x="15984" y="6155"/>
                </a:cubicBezTo>
                <a:cubicBezTo>
                  <a:pt x="15980" y="6155"/>
                  <a:pt x="15977" y="6159"/>
                  <a:pt x="15973" y="6160"/>
                </a:cubicBezTo>
                <a:lnTo>
                  <a:pt x="15775" y="5779"/>
                </a:lnTo>
                <a:cubicBezTo>
                  <a:pt x="15777" y="5767"/>
                  <a:pt x="15779" y="5756"/>
                  <a:pt x="15779" y="5744"/>
                </a:cubicBezTo>
                <a:cubicBezTo>
                  <a:pt x="15779" y="5662"/>
                  <a:pt x="15746" y="5596"/>
                  <a:pt x="15705" y="5596"/>
                </a:cubicBezTo>
                <a:cubicBezTo>
                  <a:pt x="15698" y="5596"/>
                  <a:pt x="15691" y="5600"/>
                  <a:pt x="15685" y="5604"/>
                </a:cubicBezTo>
                <a:lnTo>
                  <a:pt x="15626" y="5491"/>
                </a:lnTo>
                <a:lnTo>
                  <a:pt x="15566" y="5373"/>
                </a:lnTo>
                <a:close/>
                <a:moveTo>
                  <a:pt x="3382" y="5375"/>
                </a:moveTo>
                <a:lnTo>
                  <a:pt x="3387" y="5382"/>
                </a:lnTo>
                <a:lnTo>
                  <a:pt x="3669" y="5783"/>
                </a:lnTo>
                <a:lnTo>
                  <a:pt x="3679" y="5797"/>
                </a:lnTo>
                <a:cubicBezTo>
                  <a:pt x="3661" y="5813"/>
                  <a:pt x="3647" y="5841"/>
                  <a:pt x="3647" y="5881"/>
                </a:cubicBezTo>
                <a:cubicBezTo>
                  <a:pt x="3647" y="5936"/>
                  <a:pt x="3670" y="5979"/>
                  <a:pt x="3697" y="5979"/>
                </a:cubicBezTo>
                <a:cubicBezTo>
                  <a:pt x="3722" y="5979"/>
                  <a:pt x="3742" y="5939"/>
                  <a:pt x="3744" y="5889"/>
                </a:cubicBezTo>
                <a:lnTo>
                  <a:pt x="4119" y="6421"/>
                </a:lnTo>
                <a:cubicBezTo>
                  <a:pt x="4095" y="6428"/>
                  <a:pt x="4075" y="6465"/>
                  <a:pt x="4075" y="6516"/>
                </a:cubicBezTo>
                <a:cubicBezTo>
                  <a:pt x="4075" y="6516"/>
                  <a:pt x="4076" y="6517"/>
                  <a:pt x="4076" y="6518"/>
                </a:cubicBezTo>
                <a:lnTo>
                  <a:pt x="3821" y="6710"/>
                </a:lnTo>
                <a:cubicBezTo>
                  <a:pt x="3809" y="6691"/>
                  <a:pt x="3794" y="6678"/>
                  <a:pt x="3777" y="6678"/>
                </a:cubicBezTo>
                <a:cubicBezTo>
                  <a:pt x="3741" y="6678"/>
                  <a:pt x="3713" y="6730"/>
                  <a:pt x="3706" y="6798"/>
                </a:cubicBezTo>
                <a:lnTo>
                  <a:pt x="3305" y="7102"/>
                </a:lnTo>
                <a:cubicBezTo>
                  <a:pt x="3300" y="7040"/>
                  <a:pt x="3284" y="6989"/>
                  <a:pt x="3260" y="6953"/>
                </a:cubicBezTo>
                <a:cubicBezTo>
                  <a:pt x="3260" y="6950"/>
                  <a:pt x="3261" y="6946"/>
                  <a:pt x="3261" y="6943"/>
                </a:cubicBezTo>
                <a:cubicBezTo>
                  <a:pt x="3262" y="6923"/>
                  <a:pt x="3264" y="6905"/>
                  <a:pt x="3266" y="6885"/>
                </a:cubicBezTo>
                <a:cubicBezTo>
                  <a:pt x="3267" y="6877"/>
                  <a:pt x="3267" y="6868"/>
                  <a:pt x="3268" y="6861"/>
                </a:cubicBezTo>
                <a:cubicBezTo>
                  <a:pt x="3284" y="6661"/>
                  <a:pt x="3298" y="6487"/>
                  <a:pt x="3310" y="6336"/>
                </a:cubicBezTo>
                <a:cubicBezTo>
                  <a:pt x="3315" y="6280"/>
                  <a:pt x="3318" y="6227"/>
                  <a:pt x="3322" y="6177"/>
                </a:cubicBezTo>
                <a:cubicBezTo>
                  <a:pt x="3323" y="6175"/>
                  <a:pt x="3323" y="6172"/>
                  <a:pt x="3323" y="6169"/>
                </a:cubicBezTo>
                <a:cubicBezTo>
                  <a:pt x="3327" y="6122"/>
                  <a:pt x="3331" y="6077"/>
                  <a:pt x="3334" y="6034"/>
                </a:cubicBezTo>
                <a:cubicBezTo>
                  <a:pt x="3334" y="6031"/>
                  <a:pt x="3334" y="6029"/>
                  <a:pt x="3335" y="6026"/>
                </a:cubicBezTo>
                <a:cubicBezTo>
                  <a:pt x="3336" y="6014"/>
                  <a:pt x="3336" y="6002"/>
                  <a:pt x="3337" y="5991"/>
                </a:cubicBezTo>
                <a:cubicBezTo>
                  <a:pt x="3337" y="5986"/>
                  <a:pt x="3338" y="5980"/>
                  <a:pt x="3339" y="5975"/>
                </a:cubicBezTo>
                <a:cubicBezTo>
                  <a:pt x="3340" y="5964"/>
                  <a:pt x="3340" y="5953"/>
                  <a:pt x="3341" y="5942"/>
                </a:cubicBezTo>
                <a:cubicBezTo>
                  <a:pt x="3341" y="5937"/>
                  <a:pt x="3342" y="5933"/>
                  <a:pt x="3342" y="5928"/>
                </a:cubicBezTo>
                <a:cubicBezTo>
                  <a:pt x="3344" y="5909"/>
                  <a:pt x="3345" y="5891"/>
                  <a:pt x="3346" y="5873"/>
                </a:cubicBezTo>
                <a:cubicBezTo>
                  <a:pt x="3347" y="5868"/>
                  <a:pt x="3347" y="5862"/>
                  <a:pt x="3347" y="5857"/>
                </a:cubicBezTo>
                <a:cubicBezTo>
                  <a:pt x="3348" y="5848"/>
                  <a:pt x="3349" y="5839"/>
                  <a:pt x="3350" y="5830"/>
                </a:cubicBezTo>
                <a:cubicBezTo>
                  <a:pt x="3350" y="5824"/>
                  <a:pt x="3350" y="5818"/>
                  <a:pt x="3351" y="5813"/>
                </a:cubicBezTo>
                <a:cubicBezTo>
                  <a:pt x="3352" y="5804"/>
                  <a:pt x="3352" y="5797"/>
                  <a:pt x="3353" y="5789"/>
                </a:cubicBezTo>
                <a:cubicBezTo>
                  <a:pt x="3354" y="5777"/>
                  <a:pt x="3355" y="5765"/>
                  <a:pt x="3356" y="5753"/>
                </a:cubicBezTo>
                <a:cubicBezTo>
                  <a:pt x="3356" y="5748"/>
                  <a:pt x="3356" y="5742"/>
                  <a:pt x="3357" y="5737"/>
                </a:cubicBezTo>
                <a:cubicBezTo>
                  <a:pt x="3357" y="5729"/>
                  <a:pt x="3358" y="5721"/>
                  <a:pt x="3358" y="5713"/>
                </a:cubicBezTo>
                <a:cubicBezTo>
                  <a:pt x="3359" y="5709"/>
                  <a:pt x="3359" y="5704"/>
                  <a:pt x="3360" y="5699"/>
                </a:cubicBezTo>
                <a:cubicBezTo>
                  <a:pt x="3360" y="5690"/>
                  <a:pt x="3361" y="5680"/>
                  <a:pt x="3361" y="5671"/>
                </a:cubicBezTo>
                <a:cubicBezTo>
                  <a:pt x="3362" y="5669"/>
                  <a:pt x="3362" y="5666"/>
                  <a:pt x="3362" y="5663"/>
                </a:cubicBezTo>
                <a:cubicBezTo>
                  <a:pt x="3363" y="5651"/>
                  <a:pt x="3364" y="5641"/>
                  <a:pt x="3365" y="5630"/>
                </a:cubicBezTo>
                <a:cubicBezTo>
                  <a:pt x="3365" y="5628"/>
                  <a:pt x="3365" y="5627"/>
                  <a:pt x="3365" y="5626"/>
                </a:cubicBezTo>
                <a:cubicBezTo>
                  <a:pt x="3366" y="5617"/>
                  <a:pt x="3367" y="5607"/>
                  <a:pt x="3367" y="5598"/>
                </a:cubicBezTo>
                <a:cubicBezTo>
                  <a:pt x="3367" y="5595"/>
                  <a:pt x="3368" y="5592"/>
                  <a:pt x="3368" y="5590"/>
                </a:cubicBezTo>
                <a:cubicBezTo>
                  <a:pt x="3368" y="5580"/>
                  <a:pt x="3369" y="5571"/>
                  <a:pt x="3369" y="5562"/>
                </a:cubicBezTo>
                <a:cubicBezTo>
                  <a:pt x="3370" y="5562"/>
                  <a:pt x="3369" y="5561"/>
                  <a:pt x="3369" y="5561"/>
                </a:cubicBezTo>
                <a:cubicBezTo>
                  <a:pt x="3370" y="5551"/>
                  <a:pt x="3371" y="5542"/>
                  <a:pt x="3372" y="5533"/>
                </a:cubicBezTo>
                <a:cubicBezTo>
                  <a:pt x="3372" y="5532"/>
                  <a:pt x="3372" y="5531"/>
                  <a:pt x="3372" y="5530"/>
                </a:cubicBezTo>
                <a:cubicBezTo>
                  <a:pt x="3372" y="5522"/>
                  <a:pt x="3373" y="5515"/>
                  <a:pt x="3374" y="5507"/>
                </a:cubicBezTo>
                <a:cubicBezTo>
                  <a:pt x="3374" y="5506"/>
                  <a:pt x="3374" y="5505"/>
                  <a:pt x="3374" y="5505"/>
                </a:cubicBezTo>
                <a:cubicBezTo>
                  <a:pt x="3375" y="5489"/>
                  <a:pt x="3376" y="5474"/>
                  <a:pt x="3376" y="5460"/>
                </a:cubicBezTo>
                <a:cubicBezTo>
                  <a:pt x="3377" y="5459"/>
                  <a:pt x="3377" y="5457"/>
                  <a:pt x="3377" y="5456"/>
                </a:cubicBezTo>
                <a:cubicBezTo>
                  <a:pt x="3377" y="5450"/>
                  <a:pt x="3378" y="5445"/>
                  <a:pt x="3378" y="5439"/>
                </a:cubicBezTo>
                <a:cubicBezTo>
                  <a:pt x="3378" y="5439"/>
                  <a:pt x="3378" y="5438"/>
                  <a:pt x="3378" y="5437"/>
                </a:cubicBezTo>
                <a:cubicBezTo>
                  <a:pt x="3379" y="5431"/>
                  <a:pt x="3379" y="5425"/>
                  <a:pt x="3379" y="5420"/>
                </a:cubicBezTo>
                <a:cubicBezTo>
                  <a:pt x="3379" y="5419"/>
                  <a:pt x="3379" y="5419"/>
                  <a:pt x="3379" y="5419"/>
                </a:cubicBezTo>
                <a:cubicBezTo>
                  <a:pt x="3380" y="5413"/>
                  <a:pt x="3380" y="5409"/>
                  <a:pt x="3381" y="5405"/>
                </a:cubicBezTo>
                <a:cubicBezTo>
                  <a:pt x="3381" y="5404"/>
                  <a:pt x="3381" y="5403"/>
                  <a:pt x="3381" y="5402"/>
                </a:cubicBezTo>
                <a:cubicBezTo>
                  <a:pt x="3381" y="5398"/>
                  <a:pt x="3381" y="5393"/>
                  <a:pt x="3381" y="5389"/>
                </a:cubicBezTo>
                <a:cubicBezTo>
                  <a:pt x="3381" y="5389"/>
                  <a:pt x="3381" y="5389"/>
                  <a:pt x="3381" y="5388"/>
                </a:cubicBezTo>
                <a:cubicBezTo>
                  <a:pt x="3381" y="5384"/>
                  <a:pt x="3381" y="5380"/>
                  <a:pt x="3382" y="5377"/>
                </a:cubicBezTo>
                <a:cubicBezTo>
                  <a:pt x="3382" y="5376"/>
                  <a:pt x="3382" y="5376"/>
                  <a:pt x="3382" y="5375"/>
                </a:cubicBezTo>
                <a:close/>
                <a:moveTo>
                  <a:pt x="1742" y="5378"/>
                </a:moveTo>
                <a:lnTo>
                  <a:pt x="1944" y="5628"/>
                </a:lnTo>
                <a:cubicBezTo>
                  <a:pt x="1940" y="5629"/>
                  <a:pt x="1937" y="5632"/>
                  <a:pt x="1934" y="5638"/>
                </a:cubicBezTo>
                <a:cubicBezTo>
                  <a:pt x="1929" y="5649"/>
                  <a:pt x="1929" y="5668"/>
                  <a:pt x="1934" y="5680"/>
                </a:cubicBezTo>
                <a:cubicBezTo>
                  <a:pt x="1948" y="5706"/>
                  <a:pt x="1959" y="5729"/>
                  <a:pt x="1970" y="5751"/>
                </a:cubicBezTo>
                <a:cubicBezTo>
                  <a:pt x="1996" y="5800"/>
                  <a:pt x="2016" y="5840"/>
                  <a:pt x="2037" y="5892"/>
                </a:cubicBezTo>
                <a:cubicBezTo>
                  <a:pt x="2043" y="5905"/>
                  <a:pt x="2052" y="5906"/>
                  <a:pt x="2058" y="5895"/>
                </a:cubicBezTo>
                <a:cubicBezTo>
                  <a:pt x="2065" y="5885"/>
                  <a:pt x="2066" y="5866"/>
                  <a:pt x="2061" y="5853"/>
                </a:cubicBezTo>
                <a:cubicBezTo>
                  <a:pt x="2038" y="5799"/>
                  <a:pt x="2016" y="5758"/>
                  <a:pt x="1990" y="5706"/>
                </a:cubicBezTo>
                <a:cubicBezTo>
                  <a:pt x="1982" y="5690"/>
                  <a:pt x="1973" y="5672"/>
                  <a:pt x="1963" y="5653"/>
                </a:cubicBezTo>
                <a:lnTo>
                  <a:pt x="2527" y="6357"/>
                </a:lnTo>
                <a:lnTo>
                  <a:pt x="3080" y="7047"/>
                </a:lnTo>
                <a:cubicBezTo>
                  <a:pt x="3076" y="7066"/>
                  <a:pt x="3075" y="7088"/>
                  <a:pt x="3074" y="7109"/>
                </a:cubicBezTo>
                <a:lnTo>
                  <a:pt x="2417" y="6876"/>
                </a:lnTo>
                <a:cubicBezTo>
                  <a:pt x="2403" y="6846"/>
                  <a:pt x="2385" y="6827"/>
                  <a:pt x="2363" y="6827"/>
                </a:cubicBezTo>
                <a:cubicBezTo>
                  <a:pt x="2357" y="6827"/>
                  <a:pt x="2351" y="6831"/>
                  <a:pt x="2345" y="6834"/>
                </a:cubicBezTo>
                <a:cubicBezTo>
                  <a:pt x="2345" y="6812"/>
                  <a:pt x="2344" y="6786"/>
                  <a:pt x="2333" y="6764"/>
                </a:cubicBezTo>
                <a:cubicBezTo>
                  <a:pt x="2320" y="6738"/>
                  <a:pt x="2304" y="6732"/>
                  <a:pt x="2290" y="6727"/>
                </a:cubicBezTo>
                <a:cubicBezTo>
                  <a:pt x="2287" y="6725"/>
                  <a:pt x="2283" y="6723"/>
                  <a:pt x="2280" y="6722"/>
                </a:cubicBezTo>
                <a:cubicBezTo>
                  <a:pt x="2266" y="6714"/>
                  <a:pt x="2268" y="6638"/>
                  <a:pt x="2269" y="6597"/>
                </a:cubicBezTo>
                <a:cubicBezTo>
                  <a:pt x="2269" y="6585"/>
                  <a:pt x="2269" y="6573"/>
                  <a:pt x="2269" y="6563"/>
                </a:cubicBezTo>
                <a:cubicBezTo>
                  <a:pt x="2269" y="6541"/>
                  <a:pt x="2264" y="6526"/>
                  <a:pt x="2260" y="6514"/>
                </a:cubicBezTo>
                <a:cubicBezTo>
                  <a:pt x="2259" y="6512"/>
                  <a:pt x="2258" y="6507"/>
                  <a:pt x="2257" y="6505"/>
                </a:cubicBezTo>
                <a:cubicBezTo>
                  <a:pt x="2259" y="6502"/>
                  <a:pt x="2261" y="6499"/>
                  <a:pt x="2263" y="6496"/>
                </a:cubicBezTo>
                <a:cubicBezTo>
                  <a:pt x="2272" y="6482"/>
                  <a:pt x="2286" y="6460"/>
                  <a:pt x="2286" y="6419"/>
                </a:cubicBezTo>
                <a:cubicBezTo>
                  <a:pt x="2286" y="6337"/>
                  <a:pt x="2261" y="6300"/>
                  <a:pt x="2242" y="6273"/>
                </a:cubicBezTo>
                <a:cubicBezTo>
                  <a:pt x="2238" y="6268"/>
                  <a:pt x="2234" y="6262"/>
                  <a:pt x="2231" y="6257"/>
                </a:cubicBezTo>
                <a:cubicBezTo>
                  <a:pt x="2229" y="6253"/>
                  <a:pt x="2226" y="6250"/>
                  <a:pt x="2223" y="6250"/>
                </a:cubicBezTo>
                <a:cubicBezTo>
                  <a:pt x="2222" y="6244"/>
                  <a:pt x="2221" y="6239"/>
                  <a:pt x="2218" y="6236"/>
                </a:cubicBezTo>
                <a:cubicBezTo>
                  <a:pt x="2210" y="6224"/>
                  <a:pt x="2200" y="6218"/>
                  <a:pt x="2190" y="6214"/>
                </a:cubicBezTo>
                <a:lnTo>
                  <a:pt x="2189" y="6225"/>
                </a:lnTo>
                <a:cubicBezTo>
                  <a:pt x="2188" y="6218"/>
                  <a:pt x="2184" y="6211"/>
                  <a:pt x="2180" y="6208"/>
                </a:cubicBezTo>
                <a:cubicBezTo>
                  <a:pt x="2178" y="6206"/>
                  <a:pt x="2177" y="6204"/>
                  <a:pt x="2176" y="6202"/>
                </a:cubicBezTo>
                <a:cubicBezTo>
                  <a:pt x="2155" y="6160"/>
                  <a:pt x="2145" y="6101"/>
                  <a:pt x="2137" y="6053"/>
                </a:cubicBezTo>
                <a:cubicBezTo>
                  <a:pt x="2132" y="6020"/>
                  <a:pt x="2121" y="6003"/>
                  <a:pt x="2113" y="5992"/>
                </a:cubicBezTo>
                <a:cubicBezTo>
                  <a:pt x="2112" y="5989"/>
                  <a:pt x="2110" y="5987"/>
                  <a:pt x="2109" y="5984"/>
                </a:cubicBezTo>
                <a:cubicBezTo>
                  <a:pt x="2103" y="5972"/>
                  <a:pt x="2093" y="5970"/>
                  <a:pt x="2087" y="5980"/>
                </a:cubicBezTo>
                <a:cubicBezTo>
                  <a:pt x="2081" y="5991"/>
                  <a:pt x="2081" y="6010"/>
                  <a:pt x="2086" y="6022"/>
                </a:cubicBezTo>
                <a:cubicBezTo>
                  <a:pt x="2088" y="6028"/>
                  <a:pt x="2092" y="6033"/>
                  <a:pt x="2095" y="6039"/>
                </a:cubicBezTo>
                <a:cubicBezTo>
                  <a:pt x="2101" y="6048"/>
                  <a:pt x="2106" y="6056"/>
                  <a:pt x="2109" y="6073"/>
                </a:cubicBezTo>
                <a:cubicBezTo>
                  <a:pt x="2118" y="6126"/>
                  <a:pt x="2129" y="6193"/>
                  <a:pt x="2155" y="6245"/>
                </a:cubicBezTo>
                <a:cubicBezTo>
                  <a:pt x="2159" y="6253"/>
                  <a:pt x="2163" y="6259"/>
                  <a:pt x="2169" y="6264"/>
                </a:cubicBezTo>
                <a:cubicBezTo>
                  <a:pt x="2175" y="6269"/>
                  <a:pt x="2181" y="6265"/>
                  <a:pt x="2186" y="6257"/>
                </a:cubicBezTo>
                <a:lnTo>
                  <a:pt x="2184" y="6273"/>
                </a:lnTo>
                <a:cubicBezTo>
                  <a:pt x="2191" y="6276"/>
                  <a:pt x="2197" y="6279"/>
                  <a:pt x="2201" y="6285"/>
                </a:cubicBezTo>
                <a:cubicBezTo>
                  <a:pt x="2203" y="6287"/>
                  <a:pt x="2205" y="6289"/>
                  <a:pt x="2208" y="6289"/>
                </a:cubicBezTo>
                <a:cubicBezTo>
                  <a:pt x="2209" y="6294"/>
                  <a:pt x="2210" y="6300"/>
                  <a:pt x="2212" y="6303"/>
                </a:cubicBezTo>
                <a:cubicBezTo>
                  <a:pt x="2216" y="6310"/>
                  <a:pt x="2220" y="6316"/>
                  <a:pt x="2225" y="6322"/>
                </a:cubicBezTo>
                <a:cubicBezTo>
                  <a:pt x="2242" y="6347"/>
                  <a:pt x="2257" y="6368"/>
                  <a:pt x="2257" y="6419"/>
                </a:cubicBezTo>
                <a:cubicBezTo>
                  <a:pt x="2257" y="6429"/>
                  <a:pt x="2253" y="6436"/>
                  <a:pt x="2245" y="6448"/>
                </a:cubicBezTo>
                <a:cubicBezTo>
                  <a:pt x="2240" y="6455"/>
                  <a:pt x="2235" y="6464"/>
                  <a:pt x="2231" y="6476"/>
                </a:cubicBezTo>
                <a:cubicBezTo>
                  <a:pt x="2230" y="6476"/>
                  <a:pt x="2229" y="6477"/>
                  <a:pt x="2228" y="6477"/>
                </a:cubicBezTo>
                <a:cubicBezTo>
                  <a:pt x="2226" y="6478"/>
                  <a:pt x="2224" y="6478"/>
                  <a:pt x="2220" y="6478"/>
                </a:cubicBezTo>
                <a:cubicBezTo>
                  <a:pt x="2190" y="6478"/>
                  <a:pt x="2146" y="6405"/>
                  <a:pt x="2146" y="6380"/>
                </a:cubicBezTo>
                <a:lnTo>
                  <a:pt x="2146" y="6317"/>
                </a:lnTo>
                <a:cubicBezTo>
                  <a:pt x="2146" y="6224"/>
                  <a:pt x="2104" y="6223"/>
                  <a:pt x="2068" y="6223"/>
                </a:cubicBezTo>
                <a:cubicBezTo>
                  <a:pt x="2047" y="6223"/>
                  <a:pt x="2045" y="6199"/>
                  <a:pt x="2044" y="6191"/>
                </a:cubicBezTo>
                <a:cubicBezTo>
                  <a:pt x="2045" y="6188"/>
                  <a:pt x="2050" y="6182"/>
                  <a:pt x="2053" y="6179"/>
                </a:cubicBezTo>
                <a:cubicBezTo>
                  <a:pt x="2062" y="6168"/>
                  <a:pt x="2076" y="6151"/>
                  <a:pt x="2076" y="6117"/>
                </a:cubicBezTo>
                <a:lnTo>
                  <a:pt x="2076" y="6062"/>
                </a:lnTo>
                <a:cubicBezTo>
                  <a:pt x="2076" y="6054"/>
                  <a:pt x="2075" y="6046"/>
                  <a:pt x="2072" y="6040"/>
                </a:cubicBezTo>
                <a:cubicBezTo>
                  <a:pt x="2069" y="6034"/>
                  <a:pt x="2065" y="6031"/>
                  <a:pt x="2061" y="6032"/>
                </a:cubicBezTo>
                <a:cubicBezTo>
                  <a:pt x="2032" y="6035"/>
                  <a:pt x="2022" y="6059"/>
                  <a:pt x="2015" y="6075"/>
                </a:cubicBezTo>
                <a:cubicBezTo>
                  <a:pt x="2011" y="6085"/>
                  <a:pt x="2010" y="6087"/>
                  <a:pt x="2006" y="6088"/>
                </a:cubicBezTo>
                <a:cubicBezTo>
                  <a:pt x="2001" y="6085"/>
                  <a:pt x="1988" y="6063"/>
                  <a:pt x="1987" y="6054"/>
                </a:cubicBezTo>
                <a:cubicBezTo>
                  <a:pt x="1987" y="6027"/>
                  <a:pt x="1992" y="6015"/>
                  <a:pt x="1998" y="6000"/>
                </a:cubicBezTo>
                <a:cubicBezTo>
                  <a:pt x="2001" y="5993"/>
                  <a:pt x="2004" y="5986"/>
                  <a:pt x="2006" y="5979"/>
                </a:cubicBezTo>
                <a:cubicBezTo>
                  <a:pt x="2010" y="5967"/>
                  <a:pt x="2009" y="5953"/>
                  <a:pt x="2004" y="5943"/>
                </a:cubicBezTo>
                <a:cubicBezTo>
                  <a:pt x="1991" y="5917"/>
                  <a:pt x="1978" y="5894"/>
                  <a:pt x="1964" y="5894"/>
                </a:cubicBezTo>
                <a:cubicBezTo>
                  <a:pt x="1959" y="5894"/>
                  <a:pt x="1953" y="5897"/>
                  <a:pt x="1949" y="5903"/>
                </a:cubicBezTo>
                <a:cubicBezTo>
                  <a:pt x="1928" y="5900"/>
                  <a:pt x="1918" y="5880"/>
                  <a:pt x="1902" y="5850"/>
                </a:cubicBezTo>
                <a:cubicBezTo>
                  <a:pt x="1900" y="5845"/>
                  <a:pt x="1896" y="5842"/>
                  <a:pt x="1893" y="5842"/>
                </a:cubicBezTo>
                <a:lnTo>
                  <a:pt x="1876" y="5787"/>
                </a:lnTo>
                <a:cubicBezTo>
                  <a:pt x="1881" y="5776"/>
                  <a:pt x="1885" y="5763"/>
                  <a:pt x="1888" y="5751"/>
                </a:cubicBezTo>
                <a:cubicBezTo>
                  <a:pt x="1892" y="5740"/>
                  <a:pt x="1895" y="5731"/>
                  <a:pt x="1898" y="5723"/>
                </a:cubicBezTo>
                <a:cubicBezTo>
                  <a:pt x="1904" y="5710"/>
                  <a:pt x="1903" y="5692"/>
                  <a:pt x="1897" y="5681"/>
                </a:cubicBezTo>
                <a:cubicBezTo>
                  <a:pt x="1890" y="5670"/>
                  <a:pt x="1881" y="5672"/>
                  <a:pt x="1876" y="5684"/>
                </a:cubicBezTo>
                <a:cubicBezTo>
                  <a:pt x="1871" y="5696"/>
                  <a:pt x="1866" y="5707"/>
                  <a:pt x="1863" y="5719"/>
                </a:cubicBezTo>
                <a:cubicBezTo>
                  <a:pt x="1861" y="5724"/>
                  <a:pt x="1860" y="5730"/>
                  <a:pt x="1858" y="5734"/>
                </a:cubicBezTo>
                <a:lnTo>
                  <a:pt x="1742" y="5378"/>
                </a:lnTo>
                <a:close/>
                <a:moveTo>
                  <a:pt x="11780" y="5380"/>
                </a:moveTo>
                <a:cubicBezTo>
                  <a:pt x="11780" y="5380"/>
                  <a:pt x="11795" y="5399"/>
                  <a:pt x="11795" y="5399"/>
                </a:cubicBezTo>
                <a:cubicBezTo>
                  <a:pt x="11795" y="5401"/>
                  <a:pt x="11794" y="5403"/>
                  <a:pt x="11793" y="5406"/>
                </a:cubicBezTo>
                <a:cubicBezTo>
                  <a:pt x="11792" y="5408"/>
                  <a:pt x="11792" y="5410"/>
                  <a:pt x="11791" y="5413"/>
                </a:cubicBezTo>
                <a:lnTo>
                  <a:pt x="11783" y="5388"/>
                </a:lnTo>
                <a:lnTo>
                  <a:pt x="11780" y="5380"/>
                </a:lnTo>
                <a:close/>
                <a:moveTo>
                  <a:pt x="15508" y="5382"/>
                </a:moveTo>
                <a:cubicBezTo>
                  <a:pt x="15508" y="5382"/>
                  <a:pt x="15494" y="5891"/>
                  <a:pt x="15494" y="5891"/>
                </a:cubicBezTo>
                <a:lnTo>
                  <a:pt x="15493" y="5910"/>
                </a:lnTo>
                <a:cubicBezTo>
                  <a:pt x="15477" y="5927"/>
                  <a:pt x="15463" y="5954"/>
                  <a:pt x="15464" y="5993"/>
                </a:cubicBezTo>
                <a:cubicBezTo>
                  <a:pt x="15464" y="6029"/>
                  <a:pt x="15474" y="6054"/>
                  <a:pt x="15489" y="6071"/>
                </a:cubicBezTo>
                <a:lnTo>
                  <a:pt x="15483" y="6271"/>
                </a:lnTo>
                <a:cubicBezTo>
                  <a:pt x="15482" y="6270"/>
                  <a:pt x="15481" y="6267"/>
                  <a:pt x="15479" y="6267"/>
                </a:cubicBezTo>
                <a:cubicBezTo>
                  <a:pt x="15460" y="6267"/>
                  <a:pt x="15445" y="6298"/>
                  <a:pt x="15445" y="6336"/>
                </a:cubicBezTo>
                <a:cubicBezTo>
                  <a:pt x="15445" y="6374"/>
                  <a:pt x="15460" y="6404"/>
                  <a:pt x="15479" y="6404"/>
                </a:cubicBezTo>
                <a:cubicBezTo>
                  <a:pt x="15479" y="6404"/>
                  <a:pt x="15480" y="6404"/>
                  <a:pt x="15480" y="6404"/>
                </a:cubicBezTo>
                <a:lnTo>
                  <a:pt x="15468" y="6833"/>
                </a:lnTo>
                <a:cubicBezTo>
                  <a:pt x="15465" y="6831"/>
                  <a:pt x="15464" y="6827"/>
                  <a:pt x="15461" y="6827"/>
                </a:cubicBezTo>
                <a:cubicBezTo>
                  <a:pt x="15442" y="6827"/>
                  <a:pt x="15426" y="6858"/>
                  <a:pt x="15426" y="6896"/>
                </a:cubicBezTo>
                <a:cubicBezTo>
                  <a:pt x="15426" y="6933"/>
                  <a:pt x="15442" y="6963"/>
                  <a:pt x="15461" y="6963"/>
                </a:cubicBezTo>
                <a:cubicBezTo>
                  <a:pt x="15462" y="6963"/>
                  <a:pt x="15463" y="6960"/>
                  <a:pt x="15465" y="6960"/>
                </a:cubicBezTo>
                <a:lnTo>
                  <a:pt x="15458" y="7202"/>
                </a:lnTo>
                <a:cubicBezTo>
                  <a:pt x="15440" y="7206"/>
                  <a:pt x="15426" y="7233"/>
                  <a:pt x="15426" y="7269"/>
                </a:cubicBezTo>
                <a:cubicBezTo>
                  <a:pt x="15426" y="7274"/>
                  <a:pt x="15429" y="7277"/>
                  <a:pt x="15429" y="7283"/>
                </a:cubicBezTo>
                <a:lnTo>
                  <a:pt x="15006" y="6540"/>
                </a:lnTo>
                <a:cubicBezTo>
                  <a:pt x="15002" y="6515"/>
                  <a:pt x="14993" y="6498"/>
                  <a:pt x="14980" y="6495"/>
                </a:cubicBezTo>
                <a:lnTo>
                  <a:pt x="14921" y="6390"/>
                </a:lnTo>
                <a:lnTo>
                  <a:pt x="14831" y="6232"/>
                </a:lnTo>
                <a:cubicBezTo>
                  <a:pt x="14826" y="6190"/>
                  <a:pt x="14810" y="6156"/>
                  <a:pt x="14788" y="6155"/>
                </a:cubicBezTo>
                <a:lnTo>
                  <a:pt x="14787" y="6155"/>
                </a:lnTo>
                <a:lnTo>
                  <a:pt x="14748" y="6085"/>
                </a:lnTo>
                <a:lnTo>
                  <a:pt x="14808" y="6029"/>
                </a:lnTo>
                <a:cubicBezTo>
                  <a:pt x="14809" y="6029"/>
                  <a:pt x="14809" y="6031"/>
                  <a:pt x="14809" y="6031"/>
                </a:cubicBezTo>
                <a:cubicBezTo>
                  <a:pt x="14820" y="6031"/>
                  <a:pt x="14828" y="6020"/>
                  <a:pt x="14834" y="6005"/>
                </a:cubicBezTo>
                <a:lnTo>
                  <a:pt x="14926" y="5921"/>
                </a:lnTo>
                <a:cubicBezTo>
                  <a:pt x="14939" y="5949"/>
                  <a:pt x="14958" y="5966"/>
                  <a:pt x="14979" y="5966"/>
                </a:cubicBezTo>
                <a:cubicBezTo>
                  <a:pt x="15020" y="5966"/>
                  <a:pt x="15053" y="5900"/>
                  <a:pt x="15053" y="5818"/>
                </a:cubicBezTo>
                <a:cubicBezTo>
                  <a:pt x="15053" y="5813"/>
                  <a:pt x="15052" y="5809"/>
                  <a:pt x="15052" y="5804"/>
                </a:cubicBezTo>
                <a:lnTo>
                  <a:pt x="15417" y="5466"/>
                </a:lnTo>
                <a:lnTo>
                  <a:pt x="15508" y="5382"/>
                </a:lnTo>
                <a:close/>
                <a:moveTo>
                  <a:pt x="13431" y="5394"/>
                </a:moveTo>
                <a:cubicBezTo>
                  <a:pt x="13449" y="5419"/>
                  <a:pt x="13612" y="5652"/>
                  <a:pt x="13668" y="5731"/>
                </a:cubicBezTo>
                <a:cubicBezTo>
                  <a:pt x="13662" y="5743"/>
                  <a:pt x="13659" y="5759"/>
                  <a:pt x="13659" y="5776"/>
                </a:cubicBezTo>
                <a:cubicBezTo>
                  <a:pt x="13659" y="5814"/>
                  <a:pt x="13674" y="5844"/>
                  <a:pt x="13693" y="5844"/>
                </a:cubicBezTo>
                <a:cubicBezTo>
                  <a:pt x="13706" y="5844"/>
                  <a:pt x="13714" y="5828"/>
                  <a:pt x="13720" y="5807"/>
                </a:cubicBezTo>
                <a:lnTo>
                  <a:pt x="13897" y="6056"/>
                </a:lnTo>
                <a:cubicBezTo>
                  <a:pt x="13878" y="6070"/>
                  <a:pt x="13863" y="6100"/>
                  <a:pt x="13863" y="6142"/>
                </a:cubicBezTo>
                <a:cubicBezTo>
                  <a:pt x="13863" y="6197"/>
                  <a:pt x="13885" y="6240"/>
                  <a:pt x="13913" y="6240"/>
                </a:cubicBezTo>
                <a:cubicBezTo>
                  <a:pt x="13939" y="6240"/>
                  <a:pt x="13960" y="6199"/>
                  <a:pt x="13961" y="6146"/>
                </a:cubicBezTo>
                <a:lnTo>
                  <a:pt x="14125" y="6379"/>
                </a:lnTo>
                <a:cubicBezTo>
                  <a:pt x="14127" y="6414"/>
                  <a:pt x="14140" y="6441"/>
                  <a:pt x="14158" y="6441"/>
                </a:cubicBezTo>
                <a:cubicBezTo>
                  <a:pt x="14161" y="6441"/>
                  <a:pt x="14162" y="6436"/>
                  <a:pt x="14164" y="6435"/>
                </a:cubicBezTo>
                <a:lnTo>
                  <a:pt x="14187" y="6467"/>
                </a:lnTo>
                <a:lnTo>
                  <a:pt x="13986" y="6618"/>
                </a:lnTo>
                <a:cubicBezTo>
                  <a:pt x="13975" y="6566"/>
                  <a:pt x="13949" y="6528"/>
                  <a:pt x="13918" y="6528"/>
                </a:cubicBezTo>
                <a:cubicBezTo>
                  <a:pt x="13878" y="6528"/>
                  <a:pt x="13845" y="6595"/>
                  <a:pt x="13845" y="6676"/>
                </a:cubicBezTo>
                <a:cubicBezTo>
                  <a:pt x="13845" y="6693"/>
                  <a:pt x="13847" y="6707"/>
                  <a:pt x="13849" y="6722"/>
                </a:cubicBezTo>
                <a:lnTo>
                  <a:pt x="13732" y="6810"/>
                </a:lnTo>
                <a:cubicBezTo>
                  <a:pt x="13725" y="6801"/>
                  <a:pt x="13718" y="6789"/>
                  <a:pt x="13708" y="6789"/>
                </a:cubicBezTo>
                <a:cubicBezTo>
                  <a:pt x="13686" y="6789"/>
                  <a:pt x="13671" y="6822"/>
                  <a:pt x="13664" y="6862"/>
                </a:cubicBezTo>
                <a:lnTo>
                  <a:pt x="13543" y="6954"/>
                </a:lnTo>
                <a:cubicBezTo>
                  <a:pt x="13538" y="6946"/>
                  <a:pt x="13532" y="6939"/>
                  <a:pt x="13525" y="6939"/>
                </a:cubicBezTo>
                <a:cubicBezTo>
                  <a:pt x="13510" y="6939"/>
                  <a:pt x="13499" y="6962"/>
                  <a:pt x="13495" y="6990"/>
                </a:cubicBezTo>
                <a:lnTo>
                  <a:pt x="13282" y="7151"/>
                </a:lnTo>
                <a:cubicBezTo>
                  <a:pt x="13283" y="7142"/>
                  <a:pt x="13284" y="7132"/>
                  <a:pt x="13285" y="7123"/>
                </a:cubicBezTo>
                <a:cubicBezTo>
                  <a:pt x="13285" y="7113"/>
                  <a:pt x="13286" y="7104"/>
                  <a:pt x="13287" y="7095"/>
                </a:cubicBezTo>
                <a:cubicBezTo>
                  <a:pt x="13290" y="7060"/>
                  <a:pt x="13292" y="7026"/>
                  <a:pt x="13295" y="6992"/>
                </a:cubicBezTo>
                <a:cubicBezTo>
                  <a:pt x="13296" y="6976"/>
                  <a:pt x="13298" y="6958"/>
                  <a:pt x="13299" y="6942"/>
                </a:cubicBezTo>
                <a:cubicBezTo>
                  <a:pt x="13300" y="6927"/>
                  <a:pt x="13301" y="6913"/>
                  <a:pt x="13303" y="6898"/>
                </a:cubicBezTo>
                <a:cubicBezTo>
                  <a:pt x="13304" y="6883"/>
                  <a:pt x="13306" y="6867"/>
                  <a:pt x="13307" y="6852"/>
                </a:cubicBezTo>
                <a:cubicBezTo>
                  <a:pt x="13308" y="6837"/>
                  <a:pt x="13309" y="6822"/>
                  <a:pt x="13310" y="6807"/>
                </a:cubicBezTo>
                <a:cubicBezTo>
                  <a:pt x="13312" y="6791"/>
                  <a:pt x="13313" y="6775"/>
                  <a:pt x="13314" y="6759"/>
                </a:cubicBezTo>
                <a:cubicBezTo>
                  <a:pt x="13316" y="6736"/>
                  <a:pt x="13318" y="6714"/>
                  <a:pt x="13320" y="6692"/>
                </a:cubicBezTo>
                <a:cubicBezTo>
                  <a:pt x="13321" y="6675"/>
                  <a:pt x="13322" y="6659"/>
                  <a:pt x="13324" y="6643"/>
                </a:cubicBezTo>
                <a:cubicBezTo>
                  <a:pt x="13325" y="6631"/>
                  <a:pt x="13326" y="6618"/>
                  <a:pt x="13326" y="6606"/>
                </a:cubicBezTo>
                <a:cubicBezTo>
                  <a:pt x="13328" y="6589"/>
                  <a:pt x="13329" y="6572"/>
                  <a:pt x="13331" y="6555"/>
                </a:cubicBezTo>
                <a:cubicBezTo>
                  <a:pt x="13331" y="6547"/>
                  <a:pt x="13332" y="6539"/>
                  <a:pt x="13332" y="6531"/>
                </a:cubicBezTo>
                <a:cubicBezTo>
                  <a:pt x="13334" y="6505"/>
                  <a:pt x="13337" y="6479"/>
                  <a:pt x="13339" y="6454"/>
                </a:cubicBezTo>
                <a:cubicBezTo>
                  <a:pt x="13339" y="6446"/>
                  <a:pt x="13340" y="6438"/>
                  <a:pt x="13340" y="6430"/>
                </a:cubicBezTo>
                <a:cubicBezTo>
                  <a:pt x="13342" y="6416"/>
                  <a:pt x="13343" y="6401"/>
                  <a:pt x="13344" y="6387"/>
                </a:cubicBezTo>
                <a:cubicBezTo>
                  <a:pt x="13345" y="6373"/>
                  <a:pt x="13346" y="6360"/>
                  <a:pt x="13347" y="6346"/>
                </a:cubicBezTo>
                <a:cubicBezTo>
                  <a:pt x="13348" y="6336"/>
                  <a:pt x="13349" y="6326"/>
                  <a:pt x="13350" y="6316"/>
                </a:cubicBezTo>
                <a:cubicBezTo>
                  <a:pt x="13351" y="6305"/>
                  <a:pt x="13351" y="6294"/>
                  <a:pt x="13352" y="6284"/>
                </a:cubicBezTo>
                <a:cubicBezTo>
                  <a:pt x="13354" y="6263"/>
                  <a:pt x="13355" y="6244"/>
                  <a:pt x="13357" y="6224"/>
                </a:cubicBezTo>
                <a:cubicBezTo>
                  <a:pt x="13358" y="6214"/>
                  <a:pt x="13358" y="6205"/>
                  <a:pt x="13359" y="6195"/>
                </a:cubicBezTo>
                <a:cubicBezTo>
                  <a:pt x="13360" y="6184"/>
                  <a:pt x="13361" y="6172"/>
                  <a:pt x="13362" y="6161"/>
                </a:cubicBezTo>
                <a:cubicBezTo>
                  <a:pt x="13363" y="6151"/>
                  <a:pt x="13364" y="6142"/>
                  <a:pt x="13364" y="6132"/>
                </a:cubicBezTo>
                <a:cubicBezTo>
                  <a:pt x="13365" y="6121"/>
                  <a:pt x="13366" y="6112"/>
                  <a:pt x="13367" y="6102"/>
                </a:cubicBezTo>
                <a:cubicBezTo>
                  <a:pt x="13368" y="6086"/>
                  <a:pt x="13369" y="6069"/>
                  <a:pt x="13370" y="6054"/>
                </a:cubicBezTo>
                <a:cubicBezTo>
                  <a:pt x="13371" y="6044"/>
                  <a:pt x="13372" y="6034"/>
                  <a:pt x="13372" y="6025"/>
                </a:cubicBezTo>
                <a:cubicBezTo>
                  <a:pt x="13373" y="6017"/>
                  <a:pt x="13374" y="6009"/>
                  <a:pt x="13374" y="6001"/>
                </a:cubicBezTo>
                <a:cubicBezTo>
                  <a:pt x="13375" y="5989"/>
                  <a:pt x="13376" y="5976"/>
                  <a:pt x="13377" y="5964"/>
                </a:cubicBezTo>
                <a:cubicBezTo>
                  <a:pt x="13377" y="5959"/>
                  <a:pt x="13378" y="5956"/>
                  <a:pt x="13378" y="5951"/>
                </a:cubicBezTo>
                <a:cubicBezTo>
                  <a:pt x="13380" y="5934"/>
                  <a:pt x="13381" y="5917"/>
                  <a:pt x="13382" y="5901"/>
                </a:cubicBezTo>
                <a:cubicBezTo>
                  <a:pt x="13383" y="5898"/>
                  <a:pt x="13383" y="5895"/>
                  <a:pt x="13383" y="5892"/>
                </a:cubicBezTo>
                <a:cubicBezTo>
                  <a:pt x="13384" y="5879"/>
                  <a:pt x="13385" y="5868"/>
                  <a:pt x="13386" y="5856"/>
                </a:cubicBezTo>
                <a:cubicBezTo>
                  <a:pt x="13386" y="5850"/>
                  <a:pt x="13387" y="5844"/>
                  <a:pt x="13387" y="5838"/>
                </a:cubicBezTo>
                <a:cubicBezTo>
                  <a:pt x="13388" y="5829"/>
                  <a:pt x="13389" y="5819"/>
                  <a:pt x="13389" y="5810"/>
                </a:cubicBezTo>
                <a:cubicBezTo>
                  <a:pt x="13390" y="5805"/>
                  <a:pt x="13390" y="5798"/>
                  <a:pt x="13390" y="5793"/>
                </a:cubicBezTo>
                <a:cubicBezTo>
                  <a:pt x="13391" y="5779"/>
                  <a:pt x="13392" y="5767"/>
                  <a:pt x="13393" y="5754"/>
                </a:cubicBezTo>
                <a:cubicBezTo>
                  <a:pt x="13394" y="5751"/>
                  <a:pt x="13394" y="5748"/>
                  <a:pt x="13395" y="5745"/>
                </a:cubicBezTo>
                <a:cubicBezTo>
                  <a:pt x="13395" y="5734"/>
                  <a:pt x="13396" y="5724"/>
                  <a:pt x="13397" y="5713"/>
                </a:cubicBezTo>
                <a:cubicBezTo>
                  <a:pt x="13397" y="5711"/>
                  <a:pt x="13397" y="5708"/>
                  <a:pt x="13397" y="5705"/>
                </a:cubicBezTo>
                <a:cubicBezTo>
                  <a:pt x="13399" y="5680"/>
                  <a:pt x="13401" y="5657"/>
                  <a:pt x="13403" y="5635"/>
                </a:cubicBezTo>
                <a:cubicBezTo>
                  <a:pt x="13403" y="5632"/>
                  <a:pt x="13403" y="5628"/>
                  <a:pt x="13403" y="5625"/>
                </a:cubicBezTo>
                <a:cubicBezTo>
                  <a:pt x="13404" y="5617"/>
                  <a:pt x="13404" y="5610"/>
                  <a:pt x="13405" y="5603"/>
                </a:cubicBezTo>
                <a:cubicBezTo>
                  <a:pt x="13405" y="5600"/>
                  <a:pt x="13405" y="5596"/>
                  <a:pt x="13406" y="5593"/>
                </a:cubicBezTo>
                <a:cubicBezTo>
                  <a:pt x="13406" y="5584"/>
                  <a:pt x="13407" y="5574"/>
                  <a:pt x="13407" y="5565"/>
                </a:cubicBezTo>
                <a:cubicBezTo>
                  <a:pt x="13407" y="5565"/>
                  <a:pt x="13408" y="5564"/>
                  <a:pt x="13408" y="5563"/>
                </a:cubicBezTo>
                <a:cubicBezTo>
                  <a:pt x="13409" y="5554"/>
                  <a:pt x="13409" y="5546"/>
                  <a:pt x="13410" y="5537"/>
                </a:cubicBezTo>
                <a:cubicBezTo>
                  <a:pt x="13410" y="5536"/>
                  <a:pt x="13410" y="5535"/>
                  <a:pt x="13410" y="5533"/>
                </a:cubicBezTo>
                <a:cubicBezTo>
                  <a:pt x="13410" y="5525"/>
                  <a:pt x="13411" y="5517"/>
                  <a:pt x="13411" y="5509"/>
                </a:cubicBezTo>
                <a:cubicBezTo>
                  <a:pt x="13411" y="5509"/>
                  <a:pt x="13411" y="5508"/>
                  <a:pt x="13411" y="5507"/>
                </a:cubicBezTo>
                <a:cubicBezTo>
                  <a:pt x="13412" y="5500"/>
                  <a:pt x="13413" y="5494"/>
                  <a:pt x="13413" y="5487"/>
                </a:cubicBezTo>
                <a:cubicBezTo>
                  <a:pt x="13423" y="5461"/>
                  <a:pt x="13430" y="5429"/>
                  <a:pt x="13431" y="5394"/>
                </a:cubicBezTo>
                <a:close/>
                <a:moveTo>
                  <a:pt x="15537" y="5401"/>
                </a:moveTo>
                <a:cubicBezTo>
                  <a:pt x="15537" y="5401"/>
                  <a:pt x="15627" y="5574"/>
                  <a:pt x="15657" y="5633"/>
                </a:cubicBezTo>
                <a:cubicBezTo>
                  <a:pt x="15641" y="5660"/>
                  <a:pt x="15631" y="5699"/>
                  <a:pt x="15631" y="5744"/>
                </a:cubicBezTo>
                <a:cubicBezTo>
                  <a:pt x="15631" y="5825"/>
                  <a:pt x="15664" y="5892"/>
                  <a:pt x="15705" y="5892"/>
                </a:cubicBezTo>
                <a:cubicBezTo>
                  <a:pt x="15728" y="5892"/>
                  <a:pt x="15748" y="5869"/>
                  <a:pt x="15762" y="5835"/>
                </a:cubicBezTo>
                <a:cubicBezTo>
                  <a:pt x="15834" y="5975"/>
                  <a:pt x="15852" y="6010"/>
                  <a:pt x="15942" y="6184"/>
                </a:cubicBezTo>
                <a:cubicBezTo>
                  <a:pt x="15923" y="6211"/>
                  <a:pt x="15910" y="6253"/>
                  <a:pt x="15910" y="6303"/>
                </a:cubicBezTo>
                <a:cubicBezTo>
                  <a:pt x="15910" y="6385"/>
                  <a:pt x="15943" y="6451"/>
                  <a:pt x="15984" y="6451"/>
                </a:cubicBezTo>
                <a:cubicBezTo>
                  <a:pt x="16010" y="6451"/>
                  <a:pt x="16032" y="6423"/>
                  <a:pt x="16045" y="6383"/>
                </a:cubicBezTo>
                <a:cubicBezTo>
                  <a:pt x="16120" y="6528"/>
                  <a:pt x="16162" y="6608"/>
                  <a:pt x="16207" y="6695"/>
                </a:cubicBezTo>
                <a:cubicBezTo>
                  <a:pt x="16196" y="6721"/>
                  <a:pt x="16189" y="6753"/>
                  <a:pt x="16189" y="6788"/>
                </a:cubicBezTo>
                <a:cubicBezTo>
                  <a:pt x="16189" y="6870"/>
                  <a:pt x="16222" y="6936"/>
                  <a:pt x="16263" y="6936"/>
                </a:cubicBezTo>
                <a:cubicBezTo>
                  <a:pt x="16282" y="6936"/>
                  <a:pt x="16298" y="6921"/>
                  <a:pt x="16311" y="6898"/>
                </a:cubicBezTo>
                <a:cubicBezTo>
                  <a:pt x="16314" y="6902"/>
                  <a:pt x="16342" y="6956"/>
                  <a:pt x="16342" y="6956"/>
                </a:cubicBezTo>
                <a:lnTo>
                  <a:pt x="16028" y="7101"/>
                </a:lnTo>
                <a:cubicBezTo>
                  <a:pt x="16031" y="7085"/>
                  <a:pt x="16034" y="7070"/>
                  <a:pt x="16037" y="7054"/>
                </a:cubicBezTo>
                <a:cubicBezTo>
                  <a:pt x="16038" y="7050"/>
                  <a:pt x="16039" y="7046"/>
                  <a:pt x="16039" y="7042"/>
                </a:cubicBezTo>
                <a:cubicBezTo>
                  <a:pt x="16039" y="7031"/>
                  <a:pt x="16035" y="7019"/>
                  <a:pt x="16029" y="7014"/>
                </a:cubicBezTo>
                <a:cubicBezTo>
                  <a:pt x="16026" y="7011"/>
                  <a:pt x="16022" y="7012"/>
                  <a:pt x="16018" y="7014"/>
                </a:cubicBezTo>
                <a:cubicBezTo>
                  <a:pt x="16015" y="7017"/>
                  <a:pt x="16012" y="7023"/>
                  <a:pt x="16010" y="7031"/>
                </a:cubicBezTo>
                <a:cubicBezTo>
                  <a:pt x="16004" y="7060"/>
                  <a:pt x="15998" y="7092"/>
                  <a:pt x="15989" y="7118"/>
                </a:cubicBezTo>
                <a:cubicBezTo>
                  <a:pt x="15989" y="7119"/>
                  <a:pt x="15989" y="7119"/>
                  <a:pt x="15989" y="7119"/>
                </a:cubicBezTo>
                <a:lnTo>
                  <a:pt x="15941" y="7140"/>
                </a:lnTo>
                <a:lnTo>
                  <a:pt x="15861" y="7178"/>
                </a:lnTo>
                <a:cubicBezTo>
                  <a:pt x="15857" y="7176"/>
                  <a:pt x="15855" y="7174"/>
                  <a:pt x="15851" y="7172"/>
                </a:cubicBezTo>
                <a:cubicBezTo>
                  <a:pt x="15860" y="7160"/>
                  <a:pt x="15866" y="7142"/>
                  <a:pt x="15866" y="7119"/>
                </a:cubicBezTo>
                <a:cubicBezTo>
                  <a:pt x="15866" y="7082"/>
                  <a:pt x="15852" y="7051"/>
                  <a:pt x="15833" y="7051"/>
                </a:cubicBezTo>
                <a:cubicBezTo>
                  <a:pt x="15814" y="7051"/>
                  <a:pt x="15798" y="7082"/>
                  <a:pt x="15798" y="7119"/>
                </a:cubicBezTo>
                <a:cubicBezTo>
                  <a:pt x="15798" y="7126"/>
                  <a:pt x="15801" y="7131"/>
                  <a:pt x="15802" y="7137"/>
                </a:cubicBezTo>
                <a:cubicBezTo>
                  <a:pt x="15795" y="7132"/>
                  <a:pt x="15789" y="7128"/>
                  <a:pt x="15782" y="7123"/>
                </a:cubicBezTo>
                <a:cubicBezTo>
                  <a:pt x="15746" y="7094"/>
                  <a:pt x="15714" y="7068"/>
                  <a:pt x="15687" y="7068"/>
                </a:cubicBezTo>
                <a:cubicBezTo>
                  <a:pt x="15661" y="7068"/>
                  <a:pt x="15638" y="7104"/>
                  <a:pt x="15618" y="7139"/>
                </a:cubicBezTo>
                <a:cubicBezTo>
                  <a:pt x="15611" y="7150"/>
                  <a:pt x="15611" y="7169"/>
                  <a:pt x="15616" y="7181"/>
                </a:cubicBezTo>
                <a:cubicBezTo>
                  <a:pt x="15622" y="7194"/>
                  <a:pt x="15631" y="7196"/>
                  <a:pt x="15637" y="7185"/>
                </a:cubicBezTo>
                <a:cubicBezTo>
                  <a:pt x="15652" y="7159"/>
                  <a:pt x="15671" y="7129"/>
                  <a:pt x="15687" y="7129"/>
                </a:cubicBezTo>
                <a:cubicBezTo>
                  <a:pt x="15708" y="7129"/>
                  <a:pt x="15739" y="7153"/>
                  <a:pt x="15771" y="7179"/>
                </a:cubicBezTo>
                <a:cubicBezTo>
                  <a:pt x="15782" y="7187"/>
                  <a:pt x="15793" y="7196"/>
                  <a:pt x="15804" y="7204"/>
                </a:cubicBezTo>
                <a:lnTo>
                  <a:pt x="15655" y="7273"/>
                </a:lnTo>
                <a:cubicBezTo>
                  <a:pt x="15650" y="7253"/>
                  <a:pt x="15641" y="7237"/>
                  <a:pt x="15628" y="7237"/>
                </a:cubicBezTo>
                <a:cubicBezTo>
                  <a:pt x="15610" y="7237"/>
                  <a:pt x="15596" y="7266"/>
                  <a:pt x="15595" y="7301"/>
                </a:cubicBezTo>
                <a:lnTo>
                  <a:pt x="15484" y="7351"/>
                </a:lnTo>
                <a:lnTo>
                  <a:pt x="15484" y="7335"/>
                </a:lnTo>
                <a:cubicBezTo>
                  <a:pt x="15527" y="7308"/>
                  <a:pt x="15570" y="7278"/>
                  <a:pt x="15609" y="7231"/>
                </a:cubicBezTo>
                <a:cubicBezTo>
                  <a:pt x="15614" y="7226"/>
                  <a:pt x="15619" y="7217"/>
                  <a:pt x="15626" y="7206"/>
                </a:cubicBezTo>
                <a:lnTo>
                  <a:pt x="15606" y="7160"/>
                </a:lnTo>
                <a:cubicBezTo>
                  <a:pt x="15602" y="7167"/>
                  <a:pt x="15597" y="7176"/>
                  <a:pt x="15594" y="7179"/>
                </a:cubicBezTo>
                <a:cubicBezTo>
                  <a:pt x="15563" y="7216"/>
                  <a:pt x="15529" y="7241"/>
                  <a:pt x="15494" y="7264"/>
                </a:cubicBezTo>
                <a:cubicBezTo>
                  <a:pt x="15493" y="7251"/>
                  <a:pt x="15490" y="7241"/>
                  <a:pt x="15487" y="7231"/>
                </a:cubicBezTo>
                <a:lnTo>
                  <a:pt x="15505" y="6578"/>
                </a:lnTo>
                <a:cubicBezTo>
                  <a:pt x="15509" y="6606"/>
                  <a:pt x="15520" y="6627"/>
                  <a:pt x="15535" y="6627"/>
                </a:cubicBezTo>
                <a:cubicBezTo>
                  <a:pt x="15554" y="6627"/>
                  <a:pt x="15569" y="6598"/>
                  <a:pt x="15569" y="6560"/>
                </a:cubicBezTo>
                <a:cubicBezTo>
                  <a:pt x="15569" y="6522"/>
                  <a:pt x="15554" y="6491"/>
                  <a:pt x="15535" y="6491"/>
                </a:cubicBezTo>
                <a:cubicBezTo>
                  <a:pt x="15521" y="6491"/>
                  <a:pt x="15511" y="6510"/>
                  <a:pt x="15506" y="6534"/>
                </a:cubicBezTo>
                <a:lnTo>
                  <a:pt x="15511" y="6344"/>
                </a:lnTo>
                <a:cubicBezTo>
                  <a:pt x="15511" y="6341"/>
                  <a:pt x="15513" y="6339"/>
                  <a:pt x="15513" y="6336"/>
                </a:cubicBezTo>
                <a:cubicBezTo>
                  <a:pt x="15513" y="6333"/>
                  <a:pt x="15512" y="6332"/>
                  <a:pt x="15512" y="6329"/>
                </a:cubicBezTo>
                <a:lnTo>
                  <a:pt x="15518" y="6086"/>
                </a:lnTo>
                <a:cubicBezTo>
                  <a:pt x="15542" y="6080"/>
                  <a:pt x="15562" y="6043"/>
                  <a:pt x="15562" y="5993"/>
                </a:cubicBezTo>
                <a:cubicBezTo>
                  <a:pt x="15562" y="5947"/>
                  <a:pt x="15545" y="5914"/>
                  <a:pt x="15523" y="5903"/>
                </a:cubicBezTo>
                <a:lnTo>
                  <a:pt x="15526" y="5795"/>
                </a:lnTo>
                <a:lnTo>
                  <a:pt x="15537" y="5401"/>
                </a:lnTo>
                <a:close/>
                <a:moveTo>
                  <a:pt x="14009" y="5409"/>
                </a:moveTo>
                <a:cubicBezTo>
                  <a:pt x="13990" y="5409"/>
                  <a:pt x="13975" y="5440"/>
                  <a:pt x="13975" y="5478"/>
                </a:cubicBezTo>
                <a:cubicBezTo>
                  <a:pt x="13975" y="5516"/>
                  <a:pt x="13990" y="5546"/>
                  <a:pt x="14009" y="5546"/>
                </a:cubicBezTo>
                <a:cubicBezTo>
                  <a:pt x="14028" y="5546"/>
                  <a:pt x="14043" y="5516"/>
                  <a:pt x="14043" y="5478"/>
                </a:cubicBezTo>
                <a:cubicBezTo>
                  <a:pt x="14043" y="5440"/>
                  <a:pt x="14028" y="5409"/>
                  <a:pt x="14009" y="5409"/>
                </a:cubicBezTo>
                <a:close/>
                <a:moveTo>
                  <a:pt x="1717" y="5410"/>
                </a:moveTo>
                <a:lnTo>
                  <a:pt x="1795" y="5648"/>
                </a:lnTo>
                <a:lnTo>
                  <a:pt x="1827" y="5747"/>
                </a:lnTo>
                <a:cubicBezTo>
                  <a:pt x="1820" y="5741"/>
                  <a:pt x="1811" y="5731"/>
                  <a:pt x="1802" y="5716"/>
                </a:cubicBezTo>
                <a:cubicBezTo>
                  <a:pt x="1795" y="5705"/>
                  <a:pt x="1786" y="5706"/>
                  <a:pt x="1781" y="5719"/>
                </a:cubicBezTo>
                <a:cubicBezTo>
                  <a:pt x="1777" y="5728"/>
                  <a:pt x="1781" y="5738"/>
                  <a:pt x="1783" y="5747"/>
                </a:cubicBezTo>
                <a:cubicBezTo>
                  <a:pt x="1782" y="5747"/>
                  <a:pt x="1781" y="5745"/>
                  <a:pt x="1780" y="5745"/>
                </a:cubicBezTo>
                <a:cubicBezTo>
                  <a:pt x="1774" y="5745"/>
                  <a:pt x="1770" y="5754"/>
                  <a:pt x="1765" y="5758"/>
                </a:cubicBezTo>
                <a:cubicBezTo>
                  <a:pt x="1734" y="5715"/>
                  <a:pt x="1699" y="5694"/>
                  <a:pt x="1665" y="5675"/>
                </a:cubicBezTo>
                <a:cubicBezTo>
                  <a:pt x="1641" y="5662"/>
                  <a:pt x="1617" y="5649"/>
                  <a:pt x="1595" y="5628"/>
                </a:cubicBezTo>
                <a:lnTo>
                  <a:pt x="1613" y="5575"/>
                </a:lnTo>
                <a:cubicBezTo>
                  <a:pt x="1615" y="5579"/>
                  <a:pt x="1619" y="5582"/>
                  <a:pt x="1623" y="5582"/>
                </a:cubicBezTo>
                <a:cubicBezTo>
                  <a:pt x="1631" y="5582"/>
                  <a:pt x="1637" y="5568"/>
                  <a:pt x="1637" y="5551"/>
                </a:cubicBezTo>
                <a:lnTo>
                  <a:pt x="1637" y="5501"/>
                </a:lnTo>
                <a:lnTo>
                  <a:pt x="1645" y="5477"/>
                </a:lnTo>
                <a:cubicBezTo>
                  <a:pt x="1649" y="5478"/>
                  <a:pt x="1652" y="5481"/>
                  <a:pt x="1656" y="5481"/>
                </a:cubicBezTo>
                <a:cubicBezTo>
                  <a:pt x="1682" y="5481"/>
                  <a:pt x="1704" y="5452"/>
                  <a:pt x="1717" y="5410"/>
                </a:cubicBezTo>
                <a:close/>
                <a:moveTo>
                  <a:pt x="11127" y="5413"/>
                </a:moveTo>
                <a:cubicBezTo>
                  <a:pt x="11129" y="5421"/>
                  <a:pt x="11130" y="5431"/>
                  <a:pt x="11130" y="5441"/>
                </a:cubicBezTo>
                <a:cubicBezTo>
                  <a:pt x="11130" y="5455"/>
                  <a:pt x="11135" y="5467"/>
                  <a:pt x="11142" y="5470"/>
                </a:cubicBezTo>
                <a:cubicBezTo>
                  <a:pt x="11161" y="5476"/>
                  <a:pt x="11185" y="5502"/>
                  <a:pt x="11202" y="5534"/>
                </a:cubicBezTo>
                <a:cubicBezTo>
                  <a:pt x="11192" y="5546"/>
                  <a:pt x="11184" y="5564"/>
                  <a:pt x="11184" y="5590"/>
                </a:cubicBezTo>
                <a:cubicBezTo>
                  <a:pt x="11184" y="5625"/>
                  <a:pt x="11198" y="5652"/>
                  <a:pt x="11215" y="5655"/>
                </a:cubicBezTo>
                <a:cubicBezTo>
                  <a:pt x="11198" y="5700"/>
                  <a:pt x="11166" y="5750"/>
                  <a:pt x="11155" y="5751"/>
                </a:cubicBezTo>
                <a:cubicBezTo>
                  <a:pt x="11138" y="5751"/>
                  <a:pt x="11125" y="5769"/>
                  <a:pt x="11114" y="5793"/>
                </a:cubicBezTo>
                <a:cubicBezTo>
                  <a:pt x="11110" y="5790"/>
                  <a:pt x="11107" y="5782"/>
                  <a:pt x="11103" y="5782"/>
                </a:cubicBezTo>
                <a:cubicBezTo>
                  <a:pt x="11076" y="5782"/>
                  <a:pt x="11053" y="5827"/>
                  <a:pt x="11053" y="5881"/>
                </a:cubicBezTo>
                <a:cubicBezTo>
                  <a:pt x="11053" y="5920"/>
                  <a:pt x="11067" y="5947"/>
                  <a:pt x="11083" y="5963"/>
                </a:cubicBezTo>
                <a:cubicBezTo>
                  <a:pt x="11083" y="5973"/>
                  <a:pt x="11081" y="5983"/>
                  <a:pt x="11081" y="5993"/>
                </a:cubicBezTo>
                <a:cubicBezTo>
                  <a:pt x="11081" y="6036"/>
                  <a:pt x="11092" y="6070"/>
                  <a:pt x="11111" y="6086"/>
                </a:cubicBezTo>
                <a:cubicBezTo>
                  <a:pt x="11106" y="6123"/>
                  <a:pt x="11094" y="6144"/>
                  <a:pt x="11082" y="6166"/>
                </a:cubicBezTo>
                <a:cubicBezTo>
                  <a:pt x="11076" y="6176"/>
                  <a:pt x="11072" y="6192"/>
                  <a:pt x="11066" y="6205"/>
                </a:cubicBezTo>
                <a:cubicBezTo>
                  <a:pt x="11061" y="6200"/>
                  <a:pt x="11057" y="6193"/>
                  <a:pt x="11051" y="6193"/>
                </a:cubicBezTo>
                <a:cubicBezTo>
                  <a:pt x="11038" y="6193"/>
                  <a:pt x="11029" y="6207"/>
                  <a:pt x="11023" y="6226"/>
                </a:cubicBezTo>
                <a:lnTo>
                  <a:pt x="10912" y="6107"/>
                </a:lnTo>
                <a:cubicBezTo>
                  <a:pt x="10912" y="6107"/>
                  <a:pt x="10843" y="6034"/>
                  <a:pt x="10843" y="6034"/>
                </a:cubicBezTo>
                <a:cubicBezTo>
                  <a:pt x="10842" y="6024"/>
                  <a:pt x="10841" y="6014"/>
                  <a:pt x="10840" y="6003"/>
                </a:cubicBezTo>
                <a:cubicBezTo>
                  <a:pt x="10838" y="5981"/>
                  <a:pt x="10834" y="5956"/>
                  <a:pt x="10830" y="5928"/>
                </a:cubicBezTo>
                <a:cubicBezTo>
                  <a:pt x="10825" y="5896"/>
                  <a:pt x="10815" y="5874"/>
                  <a:pt x="10807" y="5855"/>
                </a:cubicBezTo>
                <a:cubicBezTo>
                  <a:pt x="10796" y="5831"/>
                  <a:pt x="10788" y="5814"/>
                  <a:pt x="10788" y="5781"/>
                </a:cubicBezTo>
                <a:cubicBezTo>
                  <a:pt x="10788" y="5775"/>
                  <a:pt x="10789" y="5761"/>
                  <a:pt x="10797" y="5734"/>
                </a:cubicBezTo>
                <a:cubicBezTo>
                  <a:pt x="10799" y="5727"/>
                  <a:pt x="10800" y="5719"/>
                  <a:pt x="10799" y="5711"/>
                </a:cubicBezTo>
                <a:cubicBezTo>
                  <a:pt x="10798" y="5703"/>
                  <a:pt x="10795" y="5697"/>
                  <a:pt x="10791" y="5694"/>
                </a:cubicBezTo>
                <a:cubicBezTo>
                  <a:pt x="10778" y="5679"/>
                  <a:pt x="10772" y="5659"/>
                  <a:pt x="10764" y="5633"/>
                </a:cubicBezTo>
                <a:cubicBezTo>
                  <a:pt x="10761" y="5623"/>
                  <a:pt x="10758" y="5612"/>
                  <a:pt x="10754" y="5602"/>
                </a:cubicBezTo>
                <a:cubicBezTo>
                  <a:pt x="10751" y="5594"/>
                  <a:pt x="10747" y="5589"/>
                  <a:pt x="10742" y="5589"/>
                </a:cubicBezTo>
                <a:cubicBezTo>
                  <a:pt x="10737" y="5589"/>
                  <a:pt x="10732" y="5594"/>
                  <a:pt x="10730" y="5602"/>
                </a:cubicBezTo>
                <a:cubicBezTo>
                  <a:pt x="10718" y="5635"/>
                  <a:pt x="10702" y="5675"/>
                  <a:pt x="10685" y="5715"/>
                </a:cubicBezTo>
                <a:cubicBezTo>
                  <a:pt x="10667" y="5722"/>
                  <a:pt x="10654" y="5747"/>
                  <a:pt x="10649" y="5782"/>
                </a:cubicBezTo>
                <a:cubicBezTo>
                  <a:pt x="10644" y="5791"/>
                  <a:pt x="10640" y="5802"/>
                  <a:pt x="10634" y="5810"/>
                </a:cubicBezTo>
                <a:lnTo>
                  <a:pt x="10604" y="5779"/>
                </a:lnTo>
                <a:lnTo>
                  <a:pt x="10496" y="5663"/>
                </a:lnTo>
                <a:lnTo>
                  <a:pt x="10496" y="5661"/>
                </a:lnTo>
                <a:cubicBezTo>
                  <a:pt x="10496" y="5644"/>
                  <a:pt x="10489" y="5632"/>
                  <a:pt x="10481" y="5632"/>
                </a:cubicBezTo>
                <a:cubicBezTo>
                  <a:pt x="10480" y="5632"/>
                  <a:pt x="10480" y="5632"/>
                  <a:pt x="10479" y="5632"/>
                </a:cubicBezTo>
                <a:cubicBezTo>
                  <a:pt x="10478" y="5617"/>
                  <a:pt x="10475" y="5605"/>
                  <a:pt x="10471" y="5593"/>
                </a:cubicBezTo>
                <a:cubicBezTo>
                  <a:pt x="10471" y="5592"/>
                  <a:pt x="10472" y="5591"/>
                  <a:pt x="10472" y="5590"/>
                </a:cubicBezTo>
                <a:cubicBezTo>
                  <a:pt x="10476" y="5579"/>
                  <a:pt x="10476" y="5563"/>
                  <a:pt x="10471" y="5553"/>
                </a:cubicBezTo>
                <a:cubicBezTo>
                  <a:pt x="10467" y="5543"/>
                  <a:pt x="10464" y="5534"/>
                  <a:pt x="10461" y="5522"/>
                </a:cubicBezTo>
                <a:lnTo>
                  <a:pt x="10590" y="5501"/>
                </a:lnTo>
                <a:cubicBezTo>
                  <a:pt x="10590" y="5504"/>
                  <a:pt x="10588" y="5505"/>
                  <a:pt x="10588" y="5508"/>
                </a:cubicBezTo>
                <a:cubicBezTo>
                  <a:pt x="10588" y="5563"/>
                  <a:pt x="10610" y="5606"/>
                  <a:pt x="10638" y="5606"/>
                </a:cubicBezTo>
                <a:cubicBezTo>
                  <a:pt x="10665" y="5606"/>
                  <a:pt x="10686" y="5563"/>
                  <a:pt x="10686" y="5508"/>
                </a:cubicBezTo>
                <a:cubicBezTo>
                  <a:pt x="10686" y="5500"/>
                  <a:pt x="10683" y="5494"/>
                  <a:pt x="10682" y="5486"/>
                </a:cubicBezTo>
                <a:lnTo>
                  <a:pt x="10852" y="5458"/>
                </a:lnTo>
                <a:cubicBezTo>
                  <a:pt x="10856" y="5486"/>
                  <a:pt x="10868" y="5508"/>
                  <a:pt x="10883" y="5508"/>
                </a:cubicBezTo>
                <a:cubicBezTo>
                  <a:pt x="10900" y="5508"/>
                  <a:pt x="10914" y="5482"/>
                  <a:pt x="10916" y="5448"/>
                </a:cubicBezTo>
                <a:lnTo>
                  <a:pt x="11127" y="5413"/>
                </a:lnTo>
                <a:close/>
                <a:moveTo>
                  <a:pt x="5509" y="5417"/>
                </a:moveTo>
                <a:lnTo>
                  <a:pt x="5696" y="5779"/>
                </a:lnTo>
                <a:lnTo>
                  <a:pt x="6304" y="6953"/>
                </a:lnTo>
                <a:lnTo>
                  <a:pt x="6055" y="7067"/>
                </a:lnTo>
                <a:cubicBezTo>
                  <a:pt x="6059" y="7043"/>
                  <a:pt x="6063" y="7018"/>
                  <a:pt x="6063" y="6991"/>
                </a:cubicBezTo>
                <a:cubicBezTo>
                  <a:pt x="6063" y="6859"/>
                  <a:pt x="6010" y="6752"/>
                  <a:pt x="5944" y="6752"/>
                </a:cubicBezTo>
                <a:cubicBezTo>
                  <a:pt x="5878" y="6752"/>
                  <a:pt x="5825" y="6859"/>
                  <a:pt x="5825" y="6991"/>
                </a:cubicBezTo>
                <a:cubicBezTo>
                  <a:pt x="5825" y="7056"/>
                  <a:pt x="5838" y="7115"/>
                  <a:pt x="5859" y="7158"/>
                </a:cubicBezTo>
                <a:lnTo>
                  <a:pt x="5677" y="7242"/>
                </a:lnTo>
                <a:lnTo>
                  <a:pt x="5445" y="7349"/>
                </a:lnTo>
                <a:cubicBezTo>
                  <a:pt x="5445" y="7349"/>
                  <a:pt x="5472" y="6381"/>
                  <a:pt x="5472" y="6381"/>
                </a:cubicBezTo>
                <a:cubicBezTo>
                  <a:pt x="5489" y="6343"/>
                  <a:pt x="5497" y="6313"/>
                  <a:pt x="5497" y="6287"/>
                </a:cubicBezTo>
                <a:cubicBezTo>
                  <a:pt x="5497" y="6268"/>
                  <a:pt x="5493" y="6255"/>
                  <a:pt x="5493" y="6238"/>
                </a:cubicBezTo>
                <a:cubicBezTo>
                  <a:pt x="5501" y="6214"/>
                  <a:pt x="5507" y="6186"/>
                  <a:pt x="5507" y="6154"/>
                </a:cubicBezTo>
                <a:cubicBezTo>
                  <a:pt x="5507" y="6110"/>
                  <a:pt x="5497" y="6071"/>
                  <a:pt x="5481" y="6043"/>
                </a:cubicBezTo>
                <a:lnTo>
                  <a:pt x="5498" y="5467"/>
                </a:lnTo>
                <a:cubicBezTo>
                  <a:pt x="5504" y="5455"/>
                  <a:pt x="5507" y="5436"/>
                  <a:pt x="5509" y="5417"/>
                </a:cubicBezTo>
                <a:close/>
                <a:moveTo>
                  <a:pt x="991" y="5426"/>
                </a:moveTo>
                <a:cubicBezTo>
                  <a:pt x="924" y="5497"/>
                  <a:pt x="834" y="5676"/>
                  <a:pt x="834" y="5799"/>
                </a:cubicBezTo>
                <a:lnTo>
                  <a:pt x="834" y="5837"/>
                </a:lnTo>
                <a:cubicBezTo>
                  <a:pt x="825" y="5806"/>
                  <a:pt x="813" y="5782"/>
                  <a:pt x="794" y="5782"/>
                </a:cubicBezTo>
                <a:cubicBezTo>
                  <a:pt x="767" y="5782"/>
                  <a:pt x="745" y="5827"/>
                  <a:pt x="745" y="5881"/>
                </a:cubicBezTo>
                <a:cubicBezTo>
                  <a:pt x="745" y="5928"/>
                  <a:pt x="762" y="5961"/>
                  <a:pt x="784" y="5971"/>
                </a:cubicBezTo>
                <a:cubicBezTo>
                  <a:pt x="778" y="5977"/>
                  <a:pt x="774" y="5983"/>
                  <a:pt x="767" y="5990"/>
                </a:cubicBezTo>
                <a:lnTo>
                  <a:pt x="702" y="5920"/>
                </a:lnTo>
                <a:cubicBezTo>
                  <a:pt x="710" y="5892"/>
                  <a:pt x="720" y="5870"/>
                  <a:pt x="734" y="5853"/>
                </a:cubicBezTo>
                <a:cubicBezTo>
                  <a:pt x="739" y="5846"/>
                  <a:pt x="742" y="5834"/>
                  <a:pt x="740" y="5821"/>
                </a:cubicBezTo>
                <a:cubicBezTo>
                  <a:pt x="738" y="5808"/>
                  <a:pt x="732" y="5799"/>
                  <a:pt x="725" y="5799"/>
                </a:cubicBezTo>
                <a:lnTo>
                  <a:pt x="693" y="5799"/>
                </a:lnTo>
                <a:cubicBezTo>
                  <a:pt x="692" y="5799"/>
                  <a:pt x="690" y="5800"/>
                  <a:pt x="688" y="5801"/>
                </a:cubicBezTo>
                <a:cubicBezTo>
                  <a:pt x="678" y="5809"/>
                  <a:pt x="669" y="5818"/>
                  <a:pt x="661" y="5825"/>
                </a:cubicBezTo>
                <a:cubicBezTo>
                  <a:pt x="651" y="5835"/>
                  <a:pt x="643" y="5843"/>
                  <a:pt x="634" y="5848"/>
                </a:cubicBezTo>
                <a:lnTo>
                  <a:pt x="568" y="5778"/>
                </a:lnTo>
                <a:cubicBezTo>
                  <a:pt x="564" y="5760"/>
                  <a:pt x="557" y="5745"/>
                  <a:pt x="547" y="5745"/>
                </a:cubicBezTo>
                <a:cubicBezTo>
                  <a:pt x="545" y="5745"/>
                  <a:pt x="544" y="5749"/>
                  <a:pt x="542" y="5750"/>
                </a:cubicBezTo>
                <a:lnTo>
                  <a:pt x="339" y="5533"/>
                </a:lnTo>
                <a:lnTo>
                  <a:pt x="509" y="5505"/>
                </a:lnTo>
                <a:cubicBezTo>
                  <a:pt x="515" y="5522"/>
                  <a:pt x="523" y="5536"/>
                  <a:pt x="535" y="5536"/>
                </a:cubicBezTo>
                <a:cubicBezTo>
                  <a:pt x="548" y="5536"/>
                  <a:pt x="557" y="5518"/>
                  <a:pt x="561" y="5495"/>
                </a:cubicBezTo>
                <a:lnTo>
                  <a:pt x="628" y="5485"/>
                </a:lnTo>
                <a:lnTo>
                  <a:pt x="745" y="5466"/>
                </a:lnTo>
                <a:cubicBezTo>
                  <a:pt x="745" y="5467"/>
                  <a:pt x="745" y="5467"/>
                  <a:pt x="745" y="5467"/>
                </a:cubicBezTo>
                <a:cubicBezTo>
                  <a:pt x="745" y="5520"/>
                  <a:pt x="766" y="5563"/>
                  <a:pt x="792" y="5563"/>
                </a:cubicBezTo>
                <a:cubicBezTo>
                  <a:pt x="819" y="5563"/>
                  <a:pt x="840" y="5520"/>
                  <a:pt x="840" y="5467"/>
                </a:cubicBezTo>
                <a:cubicBezTo>
                  <a:pt x="840" y="5461"/>
                  <a:pt x="837" y="5457"/>
                  <a:pt x="836" y="5451"/>
                </a:cubicBezTo>
                <a:lnTo>
                  <a:pt x="991" y="5426"/>
                </a:lnTo>
                <a:close/>
                <a:moveTo>
                  <a:pt x="5422" y="5426"/>
                </a:moveTo>
                <a:cubicBezTo>
                  <a:pt x="5428" y="5464"/>
                  <a:pt x="5443" y="5494"/>
                  <a:pt x="5465" y="5494"/>
                </a:cubicBezTo>
                <a:cubicBezTo>
                  <a:pt x="5466" y="5494"/>
                  <a:pt x="5466" y="5492"/>
                  <a:pt x="5467" y="5492"/>
                </a:cubicBezTo>
                <a:cubicBezTo>
                  <a:pt x="5463" y="5641"/>
                  <a:pt x="5454" y="5984"/>
                  <a:pt x="5454" y="5984"/>
                </a:cubicBezTo>
                <a:cubicBezTo>
                  <a:pt x="5443" y="5952"/>
                  <a:pt x="5430" y="5923"/>
                  <a:pt x="5418" y="5895"/>
                </a:cubicBezTo>
                <a:cubicBezTo>
                  <a:pt x="5406" y="5866"/>
                  <a:pt x="5393" y="5835"/>
                  <a:pt x="5381" y="5801"/>
                </a:cubicBezTo>
                <a:cubicBezTo>
                  <a:pt x="5412" y="5777"/>
                  <a:pt x="5462" y="5729"/>
                  <a:pt x="5454" y="5604"/>
                </a:cubicBezTo>
                <a:cubicBezTo>
                  <a:pt x="5452" y="5569"/>
                  <a:pt x="5438" y="5534"/>
                  <a:pt x="5425" y="5500"/>
                </a:cubicBezTo>
                <a:cubicBezTo>
                  <a:pt x="5418" y="5482"/>
                  <a:pt x="5407" y="5453"/>
                  <a:pt x="5406" y="5441"/>
                </a:cubicBezTo>
                <a:lnTo>
                  <a:pt x="5422" y="5426"/>
                </a:lnTo>
                <a:close/>
                <a:moveTo>
                  <a:pt x="11845" y="5462"/>
                </a:moveTo>
                <a:cubicBezTo>
                  <a:pt x="11845" y="5462"/>
                  <a:pt x="12148" y="5840"/>
                  <a:pt x="12400" y="6154"/>
                </a:cubicBezTo>
                <a:cubicBezTo>
                  <a:pt x="12397" y="6164"/>
                  <a:pt x="12393" y="6174"/>
                  <a:pt x="12393" y="6187"/>
                </a:cubicBezTo>
                <a:cubicBezTo>
                  <a:pt x="12393" y="6224"/>
                  <a:pt x="12409" y="6254"/>
                  <a:pt x="12427" y="6254"/>
                </a:cubicBezTo>
                <a:cubicBezTo>
                  <a:pt x="12439" y="6254"/>
                  <a:pt x="12448" y="6240"/>
                  <a:pt x="12454" y="6222"/>
                </a:cubicBezTo>
                <a:cubicBezTo>
                  <a:pt x="12553" y="6345"/>
                  <a:pt x="12696" y="6524"/>
                  <a:pt x="12696" y="6524"/>
                </a:cubicBezTo>
                <a:lnTo>
                  <a:pt x="12790" y="6641"/>
                </a:lnTo>
                <a:cubicBezTo>
                  <a:pt x="12788" y="6651"/>
                  <a:pt x="12784" y="6660"/>
                  <a:pt x="12784" y="6672"/>
                </a:cubicBezTo>
                <a:cubicBezTo>
                  <a:pt x="12784" y="6709"/>
                  <a:pt x="12799" y="6739"/>
                  <a:pt x="12818" y="6739"/>
                </a:cubicBezTo>
                <a:cubicBezTo>
                  <a:pt x="12830" y="6739"/>
                  <a:pt x="12838" y="6726"/>
                  <a:pt x="12844" y="6709"/>
                </a:cubicBezTo>
                <a:lnTo>
                  <a:pt x="13190" y="7140"/>
                </a:lnTo>
                <a:lnTo>
                  <a:pt x="13132" y="7119"/>
                </a:lnTo>
                <a:cubicBezTo>
                  <a:pt x="13123" y="7059"/>
                  <a:pt x="13096" y="7013"/>
                  <a:pt x="13062" y="7013"/>
                </a:cubicBezTo>
                <a:cubicBezTo>
                  <a:pt x="13038" y="7013"/>
                  <a:pt x="13018" y="7038"/>
                  <a:pt x="13004" y="7074"/>
                </a:cubicBezTo>
                <a:lnTo>
                  <a:pt x="12603" y="6932"/>
                </a:lnTo>
                <a:cubicBezTo>
                  <a:pt x="12596" y="6914"/>
                  <a:pt x="12588" y="6901"/>
                  <a:pt x="12576" y="6901"/>
                </a:cubicBezTo>
                <a:cubicBezTo>
                  <a:pt x="12569" y="6901"/>
                  <a:pt x="12564" y="6908"/>
                  <a:pt x="12558" y="6915"/>
                </a:cubicBezTo>
                <a:lnTo>
                  <a:pt x="12243" y="6803"/>
                </a:lnTo>
                <a:lnTo>
                  <a:pt x="12163" y="6560"/>
                </a:lnTo>
                <a:cubicBezTo>
                  <a:pt x="12163" y="6534"/>
                  <a:pt x="12156" y="6516"/>
                  <a:pt x="12145" y="6504"/>
                </a:cubicBezTo>
                <a:lnTo>
                  <a:pt x="12075" y="6288"/>
                </a:lnTo>
                <a:cubicBezTo>
                  <a:pt x="12077" y="6277"/>
                  <a:pt x="12082" y="6268"/>
                  <a:pt x="12082" y="6254"/>
                </a:cubicBezTo>
                <a:cubicBezTo>
                  <a:pt x="12082" y="6200"/>
                  <a:pt x="12060" y="6155"/>
                  <a:pt x="12033" y="6155"/>
                </a:cubicBezTo>
                <a:cubicBezTo>
                  <a:pt x="12033" y="6155"/>
                  <a:pt x="12033" y="6156"/>
                  <a:pt x="12033" y="6156"/>
                </a:cubicBezTo>
                <a:lnTo>
                  <a:pt x="11855" y="5609"/>
                </a:lnTo>
                <a:cubicBezTo>
                  <a:pt x="11860" y="5603"/>
                  <a:pt x="11864" y="5597"/>
                  <a:pt x="11868" y="5592"/>
                </a:cubicBezTo>
                <a:cubicBezTo>
                  <a:pt x="11873" y="5585"/>
                  <a:pt x="11876" y="5570"/>
                  <a:pt x="11873" y="5557"/>
                </a:cubicBezTo>
                <a:cubicBezTo>
                  <a:pt x="11865" y="5513"/>
                  <a:pt x="11855" y="5485"/>
                  <a:pt x="11845" y="5462"/>
                </a:cubicBezTo>
                <a:close/>
                <a:moveTo>
                  <a:pt x="15144" y="5484"/>
                </a:moveTo>
                <a:cubicBezTo>
                  <a:pt x="15125" y="5484"/>
                  <a:pt x="15110" y="5515"/>
                  <a:pt x="15110" y="5553"/>
                </a:cubicBezTo>
                <a:cubicBezTo>
                  <a:pt x="15110" y="5590"/>
                  <a:pt x="15125" y="5620"/>
                  <a:pt x="15144" y="5620"/>
                </a:cubicBezTo>
                <a:cubicBezTo>
                  <a:pt x="15163" y="5620"/>
                  <a:pt x="15178" y="5590"/>
                  <a:pt x="15178" y="5553"/>
                </a:cubicBezTo>
                <a:cubicBezTo>
                  <a:pt x="15178" y="5515"/>
                  <a:pt x="15163" y="5484"/>
                  <a:pt x="15144" y="5484"/>
                </a:cubicBezTo>
                <a:close/>
                <a:moveTo>
                  <a:pt x="1849" y="5521"/>
                </a:moveTo>
                <a:cubicBezTo>
                  <a:pt x="1835" y="5521"/>
                  <a:pt x="1824" y="5544"/>
                  <a:pt x="1824" y="5572"/>
                </a:cubicBezTo>
                <a:cubicBezTo>
                  <a:pt x="1824" y="5601"/>
                  <a:pt x="1835" y="5624"/>
                  <a:pt x="1849" y="5624"/>
                </a:cubicBezTo>
                <a:cubicBezTo>
                  <a:pt x="1864" y="5624"/>
                  <a:pt x="1875" y="5601"/>
                  <a:pt x="1875" y="5572"/>
                </a:cubicBezTo>
                <a:cubicBezTo>
                  <a:pt x="1875" y="5544"/>
                  <a:pt x="1864" y="5521"/>
                  <a:pt x="1849" y="5521"/>
                </a:cubicBezTo>
                <a:close/>
                <a:moveTo>
                  <a:pt x="7503" y="5547"/>
                </a:moveTo>
                <a:cubicBezTo>
                  <a:pt x="7502" y="5548"/>
                  <a:pt x="7501" y="5552"/>
                  <a:pt x="7500" y="5553"/>
                </a:cubicBezTo>
                <a:lnTo>
                  <a:pt x="7499" y="5553"/>
                </a:lnTo>
                <a:lnTo>
                  <a:pt x="7489" y="5553"/>
                </a:lnTo>
                <a:cubicBezTo>
                  <a:pt x="7494" y="5551"/>
                  <a:pt x="7498" y="5550"/>
                  <a:pt x="7503" y="5547"/>
                </a:cubicBezTo>
                <a:close/>
                <a:moveTo>
                  <a:pt x="15442" y="5558"/>
                </a:moveTo>
                <a:cubicBezTo>
                  <a:pt x="15423" y="5558"/>
                  <a:pt x="15408" y="5589"/>
                  <a:pt x="15408" y="5627"/>
                </a:cubicBezTo>
                <a:cubicBezTo>
                  <a:pt x="15408" y="5665"/>
                  <a:pt x="15423" y="5695"/>
                  <a:pt x="15442" y="5695"/>
                </a:cubicBezTo>
                <a:cubicBezTo>
                  <a:pt x="15461" y="5695"/>
                  <a:pt x="15476" y="5665"/>
                  <a:pt x="15476" y="5627"/>
                </a:cubicBezTo>
                <a:cubicBezTo>
                  <a:pt x="15476" y="5589"/>
                  <a:pt x="15461" y="5558"/>
                  <a:pt x="15442" y="5558"/>
                </a:cubicBezTo>
                <a:close/>
                <a:moveTo>
                  <a:pt x="302" y="5561"/>
                </a:moveTo>
                <a:lnTo>
                  <a:pt x="521" y="5796"/>
                </a:lnTo>
                <a:cubicBezTo>
                  <a:pt x="521" y="5821"/>
                  <a:pt x="531" y="5840"/>
                  <a:pt x="543" y="5844"/>
                </a:cubicBezTo>
                <a:cubicBezTo>
                  <a:pt x="541" y="5853"/>
                  <a:pt x="539" y="5861"/>
                  <a:pt x="538" y="5867"/>
                </a:cubicBezTo>
                <a:cubicBezTo>
                  <a:pt x="536" y="5873"/>
                  <a:pt x="534" y="5880"/>
                  <a:pt x="533" y="5886"/>
                </a:cubicBezTo>
                <a:cubicBezTo>
                  <a:pt x="499" y="5858"/>
                  <a:pt x="485" y="5835"/>
                  <a:pt x="457" y="5793"/>
                </a:cubicBezTo>
                <a:lnTo>
                  <a:pt x="450" y="5783"/>
                </a:lnTo>
                <a:cubicBezTo>
                  <a:pt x="448" y="5779"/>
                  <a:pt x="444" y="5778"/>
                  <a:pt x="441" y="5778"/>
                </a:cubicBezTo>
                <a:cubicBezTo>
                  <a:pt x="440" y="5778"/>
                  <a:pt x="438" y="5778"/>
                  <a:pt x="436" y="5779"/>
                </a:cubicBezTo>
                <a:cubicBezTo>
                  <a:pt x="432" y="5782"/>
                  <a:pt x="429" y="5788"/>
                  <a:pt x="427" y="5797"/>
                </a:cubicBezTo>
                <a:cubicBezTo>
                  <a:pt x="425" y="5813"/>
                  <a:pt x="424" y="5828"/>
                  <a:pt x="424" y="5841"/>
                </a:cubicBezTo>
                <a:lnTo>
                  <a:pt x="414" y="5841"/>
                </a:lnTo>
                <a:cubicBezTo>
                  <a:pt x="401" y="5841"/>
                  <a:pt x="392" y="5856"/>
                  <a:pt x="385" y="5867"/>
                </a:cubicBezTo>
                <a:cubicBezTo>
                  <a:pt x="385" y="5868"/>
                  <a:pt x="384" y="5869"/>
                  <a:pt x="383" y="5870"/>
                </a:cubicBezTo>
                <a:cubicBezTo>
                  <a:pt x="380" y="5854"/>
                  <a:pt x="376" y="5821"/>
                  <a:pt x="376" y="5799"/>
                </a:cubicBezTo>
                <a:lnTo>
                  <a:pt x="376" y="5711"/>
                </a:lnTo>
                <a:cubicBezTo>
                  <a:pt x="376" y="5696"/>
                  <a:pt x="376" y="5660"/>
                  <a:pt x="365" y="5638"/>
                </a:cubicBezTo>
                <a:cubicBezTo>
                  <a:pt x="359" y="5626"/>
                  <a:pt x="352" y="5620"/>
                  <a:pt x="344" y="5620"/>
                </a:cubicBezTo>
                <a:cubicBezTo>
                  <a:pt x="327" y="5620"/>
                  <a:pt x="314" y="5651"/>
                  <a:pt x="304" y="5676"/>
                </a:cubicBezTo>
                <a:cubicBezTo>
                  <a:pt x="303" y="5678"/>
                  <a:pt x="302" y="5680"/>
                  <a:pt x="302" y="5682"/>
                </a:cubicBezTo>
                <a:lnTo>
                  <a:pt x="302" y="5561"/>
                </a:lnTo>
                <a:close/>
                <a:moveTo>
                  <a:pt x="90" y="5576"/>
                </a:moveTo>
                <a:cubicBezTo>
                  <a:pt x="74" y="5574"/>
                  <a:pt x="64" y="5581"/>
                  <a:pt x="56" y="5605"/>
                </a:cubicBezTo>
                <a:lnTo>
                  <a:pt x="33" y="5605"/>
                </a:lnTo>
                <a:cubicBezTo>
                  <a:pt x="28" y="5605"/>
                  <a:pt x="23" y="5611"/>
                  <a:pt x="21" y="5620"/>
                </a:cubicBezTo>
                <a:cubicBezTo>
                  <a:pt x="18" y="5629"/>
                  <a:pt x="18" y="5640"/>
                  <a:pt x="20" y="5649"/>
                </a:cubicBezTo>
                <a:cubicBezTo>
                  <a:pt x="25" y="5669"/>
                  <a:pt x="35" y="5682"/>
                  <a:pt x="44" y="5694"/>
                </a:cubicBezTo>
                <a:cubicBezTo>
                  <a:pt x="46" y="5697"/>
                  <a:pt x="48" y="5699"/>
                  <a:pt x="50" y="5702"/>
                </a:cubicBezTo>
                <a:cubicBezTo>
                  <a:pt x="53" y="5706"/>
                  <a:pt x="56" y="5708"/>
                  <a:pt x="59" y="5708"/>
                </a:cubicBezTo>
                <a:lnTo>
                  <a:pt x="129" y="5708"/>
                </a:lnTo>
                <a:cubicBezTo>
                  <a:pt x="134" y="5708"/>
                  <a:pt x="138" y="5704"/>
                  <a:pt x="140" y="5697"/>
                </a:cubicBezTo>
                <a:cubicBezTo>
                  <a:pt x="143" y="5690"/>
                  <a:pt x="145" y="5681"/>
                  <a:pt x="144" y="5673"/>
                </a:cubicBezTo>
                <a:lnTo>
                  <a:pt x="143" y="5668"/>
                </a:lnTo>
                <a:cubicBezTo>
                  <a:pt x="139" y="5627"/>
                  <a:pt x="134" y="5576"/>
                  <a:pt x="97" y="5576"/>
                </a:cubicBezTo>
                <a:cubicBezTo>
                  <a:pt x="95" y="5576"/>
                  <a:pt x="93" y="5576"/>
                  <a:pt x="90" y="5576"/>
                </a:cubicBezTo>
                <a:close/>
                <a:moveTo>
                  <a:pt x="16778" y="5609"/>
                </a:moveTo>
                <a:lnTo>
                  <a:pt x="17028" y="5611"/>
                </a:lnTo>
                <a:cubicBezTo>
                  <a:pt x="17028" y="5614"/>
                  <a:pt x="17027" y="5617"/>
                  <a:pt x="17027" y="5620"/>
                </a:cubicBezTo>
                <a:cubicBezTo>
                  <a:pt x="17027" y="5675"/>
                  <a:pt x="17049" y="5718"/>
                  <a:pt x="17076" y="5718"/>
                </a:cubicBezTo>
                <a:cubicBezTo>
                  <a:pt x="17103" y="5718"/>
                  <a:pt x="17125" y="5675"/>
                  <a:pt x="17125" y="5620"/>
                </a:cubicBezTo>
                <a:cubicBezTo>
                  <a:pt x="17125" y="5617"/>
                  <a:pt x="17123" y="5615"/>
                  <a:pt x="17123" y="5612"/>
                </a:cubicBezTo>
                <a:lnTo>
                  <a:pt x="17400" y="5614"/>
                </a:lnTo>
                <a:cubicBezTo>
                  <a:pt x="17400" y="5617"/>
                  <a:pt x="17399" y="5618"/>
                  <a:pt x="17399" y="5620"/>
                </a:cubicBezTo>
                <a:cubicBezTo>
                  <a:pt x="17399" y="5675"/>
                  <a:pt x="17421" y="5718"/>
                  <a:pt x="17448" y="5718"/>
                </a:cubicBezTo>
                <a:cubicBezTo>
                  <a:pt x="17475" y="5718"/>
                  <a:pt x="17497" y="5675"/>
                  <a:pt x="17497" y="5620"/>
                </a:cubicBezTo>
                <a:cubicBezTo>
                  <a:pt x="17497" y="5618"/>
                  <a:pt x="17496" y="5617"/>
                  <a:pt x="17496" y="5616"/>
                </a:cubicBezTo>
                <a:lnTo>
                  <a:pt x="17500" y="5616"/>
                </a:lnTo>
                <a:lnTo>
                  <a:pt x="17846" y="5619"/>
                </a:lnTo>
                <a:cubicBezTo>
                  <a:pt x="17846" y="5623"/>
                  <a:pt x="17845" y="5627"/>
                  <a:pt x="17845" y="5632"/>
                </a:cubicBezTo>
                <a:cubicBezTo>
                  <a:pt x="17845" y="5660"/>
                  <a:pt x="17851" y="5685"/>
                  <a:pt x="17858" y="5708"/>
                </a:cubicBezTo>
                <a:lnTo>
                  <a:pt x="17496" y="6337"/>
                </a:lnTo>
                <a:cubicBezTo>
                  <a:pt x="17490" y="6319"/>
                  <a:pt x="17482" y="6304"/>
                  <a:pt x="17470" y="6304"/>
                </a:cubicBezTo>
                <a:cubicBezTo>
                  <a:pt x="17451" y="6304"/>
                  <a:pt x="17436" y="6336"/>
                  <a:pt x="17436" y="6373"/>
                </a:cubicBezTo>
                <a:cubicBezTo>
                  <a:pt x="17436" y="6393"/>
                  <a:pt x="17441" y="6410"/>
                  <a:pt x="17448" y="6422"/>
                </a:cubicBezTo>
                <a:lnTo>
                  <a:pt x="17264" y="6743"/>
                </a:lnTo>
                <a:cubicBezTo>
                  <a:pt x="17265" y="6733"/>
                  <a:pt x="17267" y="6724"/>
                  <a:pt x="17267" y="6714"/>
                </a:cubicBezTo>
                <a:cubicBezTo>
                  <a:pt x="17267" y="6632"/>
                  <a:pt x="17234" y="6566"/>
                  <a:pt x="17193" y="6566"/>
                </a:cubicBezTo>
                <a:cubicBezTo>
                  <a:pt x="17170" y="6566"/>
                  <a:pt x="17150" y="6589"/>
                  <a:pt x="17136" y="6623"/>
                </a:cubicBezTo>
                <a:cubicBezTo>
                  <a:pt x="17032" y="6351"/>
                  <a:pt x="16792" y="5724"/>
                  <a:pt x="16765" y="5654"/>
                </a:cubicBezTo>
                <a:cubicBezTo>
                  <a:pt x="16771" y="5641"/>
                  <a:pt x="16775" y="5625"/>
                  <a:pt x="16778" y="5609"/>
                </a:cubicBezTo>
                <a:close/>
                <a:moveTo>
                  <a:pt x="272" y="5630"/>
                </a:moveTo>
                <a:cubicBezTo>
                  <a:pt x="272" y="5644"/>
                  <a:pt x="272" y="5664"/>
                  <a:pt x="272" y="5664"/>
                </a:cubicBezTo>
                <a:cubicBezTo>
                  <a:pt x="268" y="5660"/>
                  <a:pt x="263" y="5651"/>
                  <a:pt x="259" y="5646"/>
                </a:cubicBezTo>
                <a:cubicBezTo>
                  <a:pt x="263" y="5641"/>
                  <a:pt x="268" y="5636"/>
                  <a:pt x="272" y="5630"/>
                </a:cubicBezTo>
                <a:close/>
                <a:moveTo>
                  <a:pt x="14419" y="5633"/>
                </a:moveTo>
                <a:cubicBezTo>
                  <a:pt x="14400" y="5633"/>
                  <a:pt x="14384" y="5664"/>
                  <a:pt x="14384" y="5702"/>
                </a:cubicBezTo>
                <a:cubicBezTo>
                  <a:pt x="14384" y="5739"/>
                  <a:pt x="14400" y="5769"/>
                  <a:pt x="14419" y="5769"/>
                </a:cubicBezTo>
                <a:cubicBezTo>
                  <a:pt x="14437" y="5769"/>
                  <a:pt x="14452" y="5739"/>
                  <a:pt x="14452" y="5702"/>
                </a:cubicBezTo>
                <a:cubicBezTo>
                  <a:pt x="14452" y="5664"/>
                  <a:pt x="14437" y="5633"/>
                  <a:pt x="14419" y="5633"/>
                </a:cubicBezTo>
                <a:close/>
                <a:moveTo>
                  <a:pt x="82" y="5635"/>
                </a:moveTo>
                <a:cubicBezTo>
                  <a:pt x="83" y="5635"/>
                  <a:pt x="86" y="5635"/>
                  <a:pt x="89" y="5635"/>
                </a:cubicBezTo>
                <a:cubicBezTo>
                  <a:pt x="91" y="5636"/>
                  <a:pt x="94" y="5635"/>
                  <a:pt x="97" y="5635"/>
                </a:cubicBezTo>
                <a:cubicBezTo>
                  <a:pt x="105" y="5635"/>
                  <a:pt x="108" y="5636"/>
                  <a:pt x="110" y="5648"/>
                </a:cubicBezTo>
                <a:cubicBezTo>
                  <a:pt x="110" y="5648"/>
                  <a:pt x="79" y="5648"/>
                  <a:pt x="79" y="5648"/>
                </a:cubicBezTo>
                <a:cubicBezTo>
                  <a:pt x="81" y="5639"/>
                  <a:pt x="82" y="5636"/>
                  <a:pt x="82" y="5635"/>
                </a:cubicBezTo>
                <a:close/>
                <a:moveTo>
                  <a:pt x="11828" y="5637"/>
                </a:moveTo>
                <a:lnTo>
                  <a:pt x="12004" y="6180"/>
                </a:lnTo>
                <a:cubicBezTo>
                  <a:pt x="11992" y="6198"/>
                  <a:pt x="11984" y="6223"/>
                  <a:pt x="11984" y="6254"/>
                </a:cubicBezTo>
                <a:cubicBezTo>
                  <a:pt x="11984" y="6309"/>
                  <a:pt x="12006" y="6352"/>
                  <a:pt x="12033" y="6352"/>
                </a:cubicBezTo>
                <a:cubicBezTo>
                  <a:pt x="12042" y="6352"/>
                  <a:pt x="12048" y="6342"/>
                  <a:pt x="12055" y="6335"/>
                </a:cubicBezTo>
                <a:lnTo>
                  <a:pt x="12111" y="6506"/>
                </a:lnTo>
                <a:cubicBezTo>
                  <a:pt x="12102" y="6519"/>
                  <a:pt x="12095" y="6537"/>
                  <a:pt x="12095" y="6560"/>
                </a:cubicBezTo>
                <a:cubicBezTo>
                  <a:pt x="12095" y="6598"/>
                  <a:pt x="12111" y="6627"/>
                  <a:pt x="12130" y="6627"/>
                </a:cubicBezTo>
                <a:cubicBezTo>
                  <a:pt x="12136" y="6627"/>
                  <a:pt x="12141" y="6620"/>
                  <a:pt x="12145" y="6615"/>
                </a:cubicBezTo>
                <a:lnTo>
                  <a:pt x="12203" y="6792"/>
                </a:lnTo>
                <a:lnTo>
                  <a:pt x="11675" y="6637"/>
                </a:lnTo>
                <a:lnTo>
                  <a:pt x="11330" y="6536"/>
                </a:lnTo>
                <a:cubicBezTo>
                  <a:pt x="11330" y="6536"/>
                  <a:pt x="11495" y="6045"/>
                  <a:pt x="11495" y="6045"/>
                </a:cubicBezTo>
                <a:cubicBezTo>
                  <a:pt x="11506" y="6067"/>
                  <a:pt x="11520" y="6086"/>
                  <a:pt x="11541" y="6086"/>
                </a:cubicBezTo>
                <a:cubicBezTo>
                  <a:pt x="11557" y="6086"/>
                  <a:pt x="11579" y="6067"/>
                  <a:pt x="11588" y="6025"/>
                </a:cubicBezTo>
                <a:cubicBezTo>
                  <a:pt x="11597" y="5989"/>
                  <a:pt x="11599" y="5929"/>
                  <a:pt x="11563" y="5838"/>
                </a:cubicBezTo>
                <a:lnTo>
                  <a:pt x="11622" y="5664"/>
                </a:lnTo>
                <a:cubicBezTo>
                  <a:pt x="11627" y="5663"/>
                  <a:pt x="11632" y="5661"/>
                  <a:pt x="11637" y="5661"/>
                </a:cubicBezTo>
                <a:cubicBezTo>
                  <a:pt x="11660" y="5661"/>
                  <a:pt x="11677" y="5670"/>
                  <a:pt x="11693" y="5677"/>
                </a:cubicBezTo>
                <a:cubicBezTo>
                  <a:pt x="11708" y="5684"/>
                  <a:pt x="11724" y="5691"/>
                  <a:pt x="11743" y="5691"/>
                </a:cubicBezTo>
                <a:cubicBezTo>
                  <a:pt x="11767" y="5691"/>
                  <a:pt x="11807" y="5657"/>
                  <a:pt x="11828" y="5637"/>
                </a:cubicBezTo>
                <a:close/>
                <a:moveTo>
                  <a:pt x="19973" y="5674"/>
                </a:moveTo>
                <a:cubicBezTo>
                  <a:pt x="19949" y="5740"/>
                  <a:pt x="19926" y="5821"/>
                  <a:pt x="19904" y="5916"/>
                </a:cubicBezTo>
                <a:cubicBezTo>
                  <a:pt x="19891" y="5973"/>
                  <a:pt x="19892" y="6018"/>
                  <a:pt x="19896" y="6054"/>
                </a:cubicBezTo>
                <a:lnTo>
                  <a:pt x="19696" y="5862"/>
                </a:lnTo>
                <a:cubicBezTo>
                  <a:pt x="19711" y="5832"/>
                  <a:pt x="19725" y="5794"/>
                  <a:pt x="19742" y="5747"/>
                </a:cubicBezTo>
                <a:lnTo>
                  <a:pt x="19933" y="5687"/>
                </a:lnTo>
                <a:lnTo>
                  <a:pt x="19973" y="5674"/>
                </a:lnTo>
                <a:close/>
                <a:moveTo>
                  <a:pt x="11578" y="5688"/>
                </a:moveTo>
                <a:lnTo>
                  <a:pt x="11558" y="5748"/>
                </a:lnTo>
                <a:lnTo>
                  <a:pt x="11543" y="5790"/>
                </a:lnTo>
                <a:cubicBezTo>
                  <a:pt x="11538" y="5779"/>
                  <a:pt x="11532" y="5768"/>
                  <a:pt x="11526" y="5757"/>
                </a:cubicBezTo>
                <a:cubicBezTo>
                  <a:pt x="11525" y="5755"/>
                  <a:pt x="11525" y="5754"/>
                  <a:pt x="11525" y="5754"/>
                </a:cubicBezTo>
                <a:cubicBezTo>
                  <a:pt x="11526" y="5739"/>
                  <a:pt x="11548" y="5710"/>
                  <a:pt x="11578" y="5688"/>
                </a:cubicBezTo>
                <a:close/>
                <a:moveTo>
                  <a:pt x="16741" y="5690"/>
                </a:moveTo>
                <a:cubicBezTo>
                  <a:pt x="16774" y="5776"/>
                  <a:pt x="17035" y="6456"/>
                  <a:pt x="17123" y="6685"/>
                </a:cubicBezTo>
                <a:cubicBezTo>
                  <a:pt x="17121" y="6694"/>
                  <a:pt x="17120" y="6703"/>
                  <a:pt x="17120" y="6714"/>
                </a:cubicBezTo>
                <a:cubicBezTo>
                  <a:pt x="17120" y="6773"/>
                  <a:pt x="17137" y="6823"/>
                  <a:pt x="17162" y="6847"/>
                </a:cubicBezTo>
                <a:lnTo>
                  <a:pt x="16589" y="6917"/>
                </a:lnTo>
                <a:lnTo>
                  <a:pt x="16397" y="6940"/>
                </a:lnTo>
                <a:lnTo>
                  <a:pt x="16694" y="5741"/>
                </a:lnTo>
                <a:lnTo>
                  <a:pt x="16703" y="5703"/>
                </a:lnTo>
                <a:cubicBezTo>
                  <a:pt x="16705" y="5703"/>
                  <a:pt x="16707" y="5705"/>
                  <a:pt x="16710" y="5705"/>
                </a:cubicBezTo>
                <a:cubicBezTo>
                  <a:pt x="16721" y="5705"/>
                  <a:pt x="16731" y="5699"/>
                  <a:pt x="16741" y="5690"/>
                </a:cubicBezTo>
                <a:close/>
                <a:moveTo>
                  <a:pt x="18812" y="5708"/>
                </a:moveTo>
                <a:cubicBezTo>
                  <a:pt x="18772" y="5708"/>
                  <a:pt x="18738" y="5774"/>
                  <a:pt x="18739" y="5856"/>
                </a:cubicBezTo>
                <a:cubicBezTo>
                  <a:pt x="18739" y="5937"/>
                  <a:pt x="18772" y="6004"/>
                  <a:pt x="18812" y="6004"/>
                </a:cubicBezTo>
                <a:cubicBezTo>
                  <a:pt x="18853" y="6004"/>
                  <a:pt x="18886" y="5937"/>
                  <a:pt x="18886" y="5856"/>
                </a:cubicBezTo>
                <a:cubicBezTo>
                  <a:pt x="18886" y="5774"/>
                  <a:pt x="18853" y="5708"/>
                  <a:pt x="18812" y="5708"/>
                </a:cubicBezTo>
                <a:close/>
                <a:moveTo>
                  <a:pt x="10496" y="5731"/>
                </a:moveTo>
                <a:lnTo>
                  <a:pt x="10604" y="5846"/>
                </a:lnTo>
                <a:cubicBezTo>
                  <a:pt x="10583" y="5867"/>
                  <a:pt x="10562" y="5878"/>
                  <a:pt x="10541" y="5878"/>
                </a:cubicBezTo>
                <a:cubicBezTo>
                  <a:pt x="10529" y="5872"/>
                  <a:pt x="10477" y="5809"/>
                  <a:pt x="10461" y="5782"/>
                </a:cubicBezTo>
                <a:cubicBezTo>
                  <a:pt x="10464" y="5777"/>
                  <a:pt x="10470" y="5768"/>
                  <a:pt x="10484" y="5755"/>
                </a:cubicBezTo>
                <a:lnTo>
                  <a:pt x="10488" y="5752"/>
                </a:lnTo>
                <a:cubicBezTo>
                  <a:pt x="10492" y="5748"/>
                  <a:pt x="10495" y="5740"/>
                  <a:pt x="10496" y="5731"/>
                </a:cubicBezTo>
                <a:close/>
                <a:moveTo>
                  <a:pt x="19867" y="5745"/>
                </a:moveTo>
                <a:cubicBezTo>
                  <a:pt x="19840" y="5745"/>
                  <a:pt x="19818" y="5790"/>
                  <a:pt x="19818" y="5844"/>
                </a:cubicBezTo>
                <a:cubicBezTo>
                  <a:pt x="19818" y="5898"/>
                  <a:pt x="19840" y="5942"/>
                  <a:pt x="19867" y="5942"/>
                </a:cubicBezTo>
                <a:cubicBezTo>
                  <a:pt x="19894" y="5942"/>
                  <a:pt x="19916" y="5898"/>
                  <a:pt x="19916" y="5844"/>
                </a:cubicBezTo>
                <a:cubicBezTo>
                  <a:pt x="19916" y="5790"/>
                  <a:pt x="19894" y="5745"/>
                  <a:pt x="19867" y="5745"/>
                </a:cubicBezTo>
                <a:close/>
                <a:moveTo>
                  <a:pt x="11469" y="5766"/>
                </a:moveTo>
                <a:cubicBezTo>
                  <a:pt x="11472" y="5771"/>
                  <a:pt x="11474" y="5776"/>
                  <a:pt x="11476" y="5780"/>
                </a:cubicBezTo>
                <a:cubicBezTo>
                  <a:pt x="11475" y="5783"/>
                  <a:pt x="11475" y="5785"/>
                  <a:pt x="11474" y="5788"/>
                </a:cubicBezTo>
                <a:cubicBezTo>
                  <a:pt x="11469" y="5778"/>
                  <a:pt x="11467" y="5772"/>
                  <a:pt x="11467" y="5771"/>
                </a:cubicBezTo>
                <a:cubicBezTo>
                  <a:pt x="11467" y="5769"/>
                  <a:pt x="11468" y="5768"/>
                  <a:pt x="11469" y="5766"/>
                </a:cubicBezTo>
                <a:close/>
                <a:moveTo>
                  <a:pt x="11505" y="5799"/>
                </a:moveTo>
                <a:cubicBezTo>
                  <a:pt x="11505" y="5799"/>
                  <a:pt x="11505" y="5800"/>
                  <a:pt x="11506" y="5801"/>
                </a:cubicBezTo>
                <a:cubicBezTo>
                  <a:pt x="11516" y="5820"/>
                  <a:pt x="11525" y="5839"/>
                  <a:pt x="11534" y="5859"/>
                </a:cubicBezTo>
                <a:cubicBezTo>
                  <a:pt x="11559" y="5918"/>
                  <a:pt x="11569" y="5969"/>
                  <a:pt x="11562" y="6000"/>
                </a:cubicBezTo>
                <a:cubicBezTo>
                  <a:pt x="11557" y="6019"/>
                  <a:pt x="11547" y="6027"/>
                  <a:pt x="11541" y="6027"/>
                </a:cubicBezTo>
                <a:cubicBezTo>
                  <a:pt x="11527" y="6027"/>
                  <a:pt x="11519" y="6010"/>
                  <a:pt x="11506" y="5982"/>
                </a:cubicBezTo>
                <a:lnTo>
                  <a:pt x="11504" y="5976"/>
                </a:lnTo>
                <a:cubicBezTo>
                  <a:pt x="11497" y="5959"/>
                  <a:pt x="11486" y="5935"/>
                  <a:pt x="11471" y="5926"/>
                </a:cubicBezTo>
                <a:cubicBezTo>
                  <a:pt x="11482" y="5912"/>
                  <a:pt x="11492" y="5894"/>
                  <a:pt x="11492" y="5874"/>
                </a:cubicBezTo>
                <a:lnTo>
                  <a:pt x="11492" y="5836"/>
                </a:lnTo>
                <a:cubicBezTo>
                  <a:pt x="11497" y="5826"/>
                  <a:pt x="11501" y="5812"/>
                  <a:pt x="11505" y="5799"/>
                </a:cubicBezTo>
                <a:close/>
                <a:moveTo>
                  <a:pt x="9842" y="5800"/>
                </a:moveTo>
                <a:cubicBezTo>
                  <a:pt x="9822" y="5800"/>
                  <a:pt x="9793" y="5843"/>
                  <a:pt x="9793" y="5884"/>
                </a:cubicBezTo>
                <a:cubicBezTo>
                  <a:pt x="9793" y="5887"/>
                  <a:pt x="9792" y="5894"/>
                  <a:pt x="9790" y="5901"/>
                </a:cubicBezTo>
                <a:cubicBezTo>
                  <a:pt x="9790" y="5902"/>
                  <a:pt x="9790" y="5904"/>
                  <a:pt x="9790" y="5906"/>
                </a:cubicBezTo>
                <a:cubicBezTo>
                  <a:pt x="9782" y="5914"/>
                  <a:pt x="9776" y="5926"/>
                  <a:pt x="9774" y="5944"/>
                </a:cubicBezTo>
                <a:cubicBezTo>
                  <a:pt x="9765" y="5955"/>
                  <a:pt x="9758" y="5969"/>
                  <a:pt x="9756" y="5991"/>
                </a:cubicBezTo>
                <a:lnTo>
                  <a:pt x="9731" y="5991"/>
                </a:lnTo>
                <a:cubicBezTo>
                  <a:pt x="9731" y="5991"/>
                  <a:pt x="9731" y="5990"/>
                  <a:pt x="9731" y="5990"/>
                </a:cubicBezTo>
                <a:cubicBezTo>
                  <a:pt x="9732" y="5988"/>
                  <a:pt x="9733" y="5986"/>
                  <a:pt x="9734" y="5984"/>
                </a:cubicBezTo>
                <a:cubicBezTo>
                  <a:pt x="9749" y="5960"/>
                  <a:pt x="9759" y="5921"/>
                  <a:pt x="9759" y="5880"/>
                </a:cubicBezTo>
                <a:cubicBezTo>
                  <a:pt x="9759" y="5864"/>
                  <a:pt x="9752" y="5850"/>
                  <a:pt x="9744" y="5850"/>
                </a:cubicBezTo>
                <a:cubicBezTo>
                  <a:pt x="9730" y="5850"/>
                  <a:pt x="9676" y="5869"/>
                  <a:pt x="9676" y="5927"/>
                </a:cubicBezTo>
                <a:cubicBezTo>
                  <a:pt x="9676" y="5930"/>
                  <a:pt x="9677" y="5934"/>
                  <a:pt x="9677" y="5940"/>
                </a:cubicBezTo>
                <a:cubicBezTo>
                  <a:pt x="9679" y="5965"/>
                  <a:pt x="9687" y="6007"/>
                  <a:pt x="9704" y="6007"/>
                </a:cubicBezTo>
                <a:cubicBezTo>
                  <a:pt x="9706" y="6007"/>
                  <a:pt x="9708" y="6007"/>
                  <a:pt x="9710" y="6006"/>
                </a:cubicBezTo>
                <a:cubicBezTo>
                  <a:pt x="9709" y="6010"/>
                  <a:pt x="9708" y="6015"/>
                  <a:pt x="9708" y="6020"/>
                </a:cubicBezTo>
                <a:cubicBezTo>
                  <a:pt x="9708" y="6093"/>
                  <a:pt x="9733" y="6114"/>
                  <a:pt x="9757" y="6125"/>
                </a:cubicBezTo>
                <a:lnTo>
                  <a:pt x="9757" y="6126"/>
                </a:lnTo>
                <a:cubicBezTo>
                  <a:pt x="9757" y="6126"/>
                  <a:pt x="9756" y="6127"/>
                  <a:pt x="9756" y="6127"/>
                </a:cubicBezTo>
                <a:cubicBezTo>
                  <a:pt x="9749" y="6147"/>
                  <a:pt x="9742" y="6168"/>
                  <a:pt x="9742" y="6190"/>
                </a:cubicBezTo>
                <a:cubicBezTo>
                  <a:pt x="9742" y="6223"/>
                  <a:pt x="9759" y="6240"/>
                  <a:pt x="9774" y="6249"/>
                </a:cubicBezTo>
                <a:cubicBezTo>
                  <a:pt x="9768" y="6260"/>
                  <a:pt x="9765" y="6275"/>
                  <a:pt x="9765" y="6293"/>
                </a:cubicBezTo>
                <a:lnTo>
                  <a:pt x="9765" y="6360"/>
                </a:lnTo>
                <a:cubicBezTo>
                  <a:pt x="9765" y="6366"/>
                  <a:pt x="9769" y="6366"/>
                  <a:pt x="9770" y="6371"/>
                </a:cubicBezTo>
                <a:cubicBezTo>
                  <a:pt x="9770" y="6372"/>
                  <a:pt x="9769" y="6372"/>
                  <a:pt x="9769" y="6373"/>
                </a:cubicBezTo>
                <a:cubicBezTo>
                  <a:pt x="9769" y="6411"/>
                  <a:pt x="9785" y="6441"/>
                  <a:pt x="9804" y="6441"/>
                </a:cubicBezTo>
                <a:cubicBezTo>
                  <a:pt x="9805" y="6441"/>
                  <a:pt x="9806" y="6438"/>
                  <a:pt x="9808" y="6437"/>
                </a:cubicBezTo>
                <a:cubicBezTo>
                  <a:pt x="9803" y="6451"/>
                  <a:pt x="9797" y="6466"/>
                  <a:pt x="9797" y="6488"/>
                </a:cubicBezTo>
                <a:cubicBezTo>
                  <a:pt x="9797" y="6549"/>
                  <a:pt x="9825" y="6552"/>
                  <a:pt x="9843" y="6552"/>
                </a:cubicBezTo>
                <a:cubicBezTo>
                  <a:pt x="9841" y="6552"/>
                  <a:pt x="9839" y="6553"/>
                  <a:pt x="9837" y="6555"/>
                </a:cubicBezTo>
                <a:cubicBezTo>
                  <a:pt x="9816" y="6576"/>
                  <a:pt x="9814" y="6607"/>
                  <a:pt x="9814" y="6632"/>
                </a:cubicBezTo>
                <a:cubicBezTo>
                  <a:pt x="9814" y="6649"/>
                  <a:pt x="9821" y="6662"/>
                  <a:pt x="9829" y="6662"/>
                </a:cubicBezTo>
                <a:lnTo>
                  <a:pt x="9846" y="6662"/>
                </a:lnTo>
                <a:cubicBezTo>
                  <a:pt x="9845" y="6666"/>
                  <a:pt x="9844" y="6668"/>
                  <a:pt x="9844" y="6672"/>
                </a:cubicBezTo>
                <a:cubicBezTo>
                  <a:pt x="9844" y="6695"/>
                  <a:pt x="9850" y="6712"/>
                  <a:pt x="9859" y="6724"/>
                </a:cubicBezTo>
                <a:cubicBezTo>
                  <a:pt x="9857" y="6724"/>
                  <a:pt x="9856" y="6725"/>
                  <a:pt x="9854" y="6725"/>
                </a:cubicBezTo>
                <a:cubicBezTo>
                  <a:pt x="9846" y="6725"/>
                  <a:pt x="9839" y="6739"/>
                  <a:pt x="9839" y="6756"/>
                </a:cubicBezTo>
                <a:cubicBezTo>
                  <a:pt x="9839" y="6785"/>
                  <a:pt x="9844" y="6806"/>
                  <a:pt x="9849" y="6824"/>
                </a:cubicBezTo>
                <a:cubicBezTo>
                  <a:pt x="9853" y="6842"/>
                  <a:pt x="9857" y="6857"/>
                  <a:pt x="9857" y="6879"/>
                </a:cubicBezTo>
                <a:cubicBezTo>
                  <a:pt x="9857" y="6880"/>
                  <a:pt x="9856" y="6884"/>
                  <a:pt x="9856" y="6885"/>
                </a:cubicBezTo>
                <a:cubicBezTo>
                  <a:pt x="9855" y="6885"/>
                  <a:pt x="9856" y="6886"/>
                  <a:pt x="9856" y="6886"/>
                </a:cubicBezTo>
                <a:cubicBezTo>
                  <a:pt x="9855" y="6887"/>
                  <a:pt x="9855" y="6887"/>
                  <a:pt x="9855" y="6887"/>
                </a:cubicBezTo>
                <a:cubicBezTo>
                  <a:pt x="9852" y="6898"/>
                  <a:pt x="9843" y="6909"/>
                  <a:pt x="9835" y="6919"/>
                </a:cubicBezTo>
                <a:cubicBezTo>
                  <a:pt x="9818" y="6938"/>
                  <a:pt x="9797" y="6962"/>
                  <a:pt x="9797" y="7011"/>
                </a:cubicBezTo>
                <a:cubicBezTo>
                  <a:pt x="9797" y="7036"/>
                  <a:pt x="9810" y="7062"/>
                  <a:pt x="9822" y="7062"/>
                </a:cubicBezTo>
                <a:cubicBezTo>
                  <a:pt x="9825" y="7062"/>
                  <a:pt x="9825" y="7058"/>
                  <a:pt x="9828" y="7056"/>
                </a:cubicBezTo>
                <a:cubicBezTo>
                  <a:pt x="9830" y="7082"/>
                  <a:pt x="9840" y="7101"/>
                  <a:pt x="9853" y="7107"/>
                </a:cubicBezTo>
                <a:cubicBezTo>
                  <a:pt x="9829" y="7147"/>
                  <a:pt x="9789" y="7235"/>
                  <a:pt x="9786" y="7248"/>
                </a:cubicBezTo>
                <a:cubicBezTo>
                  <a:pt x="9785" y="7252"/>
                  <a:pt x="9784" y="7257"/>
                  <a:pt x="9784" y="7262"/>
                </a:cubicBezTo>
                <a:lnTo>
                  <a:pt x="9784" y="7287"/>
                </a:lnTo>
                <a:cubicBezTo>
                  <a:pt x="9784" y="7304"/>
                  <a:pt x="9791" y="7318"/>
                  <a:pt x="9799" y="7318"/>
                </a:cubicBezTo>
                <a:lnTo>
                  <a:pt x="9814" y="7318"/>
                </a:lnTo>
                <a:cubicBezTo>
                  <a:pt x="9818" y="7318"/>
                  <a:pt x="9822" y="7314"/>
                  <a:pt x="9825" y="7308"/>
                </a:cubicBezTo>
                <a:lnTo>
                  <a:pt x="9828" y="7302"/>
                </a:lnTo>
                <a:cubicBezTo>
                  <a:pt x="9835" y="7288"/>
                  <a:pt x="9837" y="7284"/>
                  <a:pt x="9844" y="7284"/>
                </a:cubicBezTo>
                <a:lnTo>
                  <a:pt x="9874" y="7284"/>
                </a:lnTo>
                <a:cubicBezTo>
                  <a:pt x="9882" y="7284"/>
                  <a:pt x="9889" y="7270"/>
                  <a:pt x="9889" y="7253"/>
                </a:cubicBezTo>
                <a:cubicBezTo>
                  <a:pt x="9889" y="7236"/>
                  <a:pt x="9894" y="7210"/>
                  <a:pt x="9907" y="7210"/>
                </a:cubicBezTo>
                <a:cubicBezTo>
                  <a:pt x="9911" y="7210"/>
                  <a:pt x="9914" y="7214"/>
                  <a:pt x="9919" y="7220"/>
                </a:cubicBezTo>
                <a:cubicBezTo>
                  <a:pt x="9926" y="7227"/>
                  <a:pt x="9934" y="7236"/>
                  <a:pt x="9946" y="7236"/>
                </a:cubicBezTo>
                <a:cubicBezTo>
                  <a:pt x="9965" y="7236"/>
                  <a:pt x="9991" y="7224"/>
                  <a:pt x="10014" y="7214"/>
                </a:cubicBezTo>
                <a:cubicBezTo>
                  <a:pt x="10025" y="7209"/>
                  <a:pt x="10032" y="7207"/>
                  <a:pt x="10040" y="7204"/>
                </a:cubicBezTo>
                <a:cubicBezTo>
                  <a:pt x="10046" y="7217"/>
                  <a:pt x="10055" y="7224"/>
                  <a:pt x="10064" y="7224"/>
                </a:cubicBezTo>
                <a:cubicBezTo>
                  <a:pt x="10075" y="7224"/>
                  <a:pt x="10083" y="7214"/>
                  <a:pt x="10089" y="7199"/>
                </a:cubicBezTo>
                <a:lnTo>
                  <a:pt x="10140" y="7199"/>
                </a:lnTo>
                <a:cubicBezTo>
                  <a:pt x="10157" y="7199"/>
                  <a:pt x="10172" y="7188"/>
                  <a:pt x="10186" y="7167"/>
                </a:cubicBezTo>
                <a:cubicBezTo>
                  <a:pt x="10187" y="7167"/>
                  <a:pt x="10187" y="7166"/>
                  <a:pt x="10187" y="7166"/>
                </a:cubicBezTo>
                <a:cubicBezTo>
                  <a:pt x="10187" y="7166"/>
                  <a:pt x="10187" y="7166"/>
                  <a:pt x="10188" y="7166"/>
                </a:cubicBezTo>
                <a:lnTo>
                  <a:pt x="10189" y="7163"/>
                </a:lnTo>
                <a:cubicBezTo>
                  <a:pt x="10196" y="7152"/>
                  <a:pt x="10204" y="7140"/>
                  <a:pt x="10211" y="7125"/>
                </a:cubicBezTo>
                <a:cubicBezTo>
                  <a:pt x="10214" y="7120"/>
                  <a:pt x="10215" y="7112"/>
                  <a:pt x="10215" y="7104"/>
                </a:cubicBezTo>
                <a:lnTo>
                  <a:pt x="10215" y="7075"/>
                </a:lnTo>
                <a:cubicBezTo>
                  <a:pt x="10215" y="7069"/>
                  <a:pt x="10213" y="7066"/>
                  <a:pt x="10211" y="7061"/>
                </a:cubicBezTo>
                <a:cubicBezTo>
                  <a:pt x="10221" y="7049"/>
                  <a:pt x="10228" y="7032"/>
                  <a:pt x="10228" y="7007"/>
                </a:cubicBezTo>
                <a:cubicBezTo>
                  <a:pt x="10228" y="6994"/>
                  <a:pt x="10224" y="6984"/>
                  <a:pt x="10221" y="6974"/>
                </a:cubicBezTo>
                <a:cubicBezTo>
                  <a:pt x="10232" y="6950"/>
                  <a:pt x="10240" y="6923"/>
                  <a:pt x="10240" y="6887"/>
                </a:cubicBezTo>
                <a:cubicBezTo>
                  <a:pt x="10240" y="6826"/>
                  <a:pt x="10214" y="6777"/>
                  <a:pt x="10181" y="6777"/>
                </a:cubicBezTo>
                <a:cubicBezTo>
                  <a:pt x="10178" y="6777"/>
                  <a:pt x="10176" y="6777"/>
                  <a:pt x="10174" y="6777"/>
                </a:cubicBezTo>
                <a:lnTo>
                  <a:pt x="10170" y="6777"/>
                </a:lnTo>
                <a:cubicBezTo>
                  <a:pt x="10168" y="6777"/>
                  <a:pt x="10167" y="6776"/>
                  <a:pt x="10165" y="6777"/>
                </a:cubicBezTo>
                <a:cubicBezTo>
                  <a:pt x="10165" y="6777"/>
                  <a:pt x="10164" y="6777"/>
                  <a:pt x="10164" y="6777"/>
                </a:cubicBezTo>
                <a:cubicBezTo>
                  <a:pt x="10164" y="6749"/>
                  <a:pt x="10156" y="6730"/>
                  <a:pt x="10149" y="6714"/>
                </a:cubicBezTo>
                <a:cubicBezTo>
                  <a:pt x="10147" y="6709"/>
                  <a:pt x="10146" y="6704"/>
                  <a:pt x="10145" y="6699"/>
                </a:cubicBezTo>
                <a:cubicBezTo>
                  <a:pt x="10144" y="6698"/>
                  <a:pt x="10144" y="6698"/>
                  <a:pt x="10144" y="6697"/>
                </a:cubicBezTo>
                <a:cubicBezTo>
                  <a:pt x="10143" y="6695"/>
                  <a:pt x="10141" y="6691"/>
                  <a:pt x="10141" y="6689"/>
                </a:cubicBezTo>
                <a:cubicBezTo>
                  <a:pt x="10141" y="6689"/>
                  <a:pt x="10141" y="6688"/>
                  <a:pt x="10140" y="6688"/>
                </a:cubicBezTo>
                <a:cubicBezTo>
                  <a:pt x="10140" y="6602"/>
                  <a:pt x="10109" y="6558"/>
                  <a:pt x="10081" y="6519"/>
                </a:cubicBezTo>
                <a:cubicBezTo>
                  <a:pt x="10069" y="6503"/>
                  <a:pt x="10057" y="6486"/>
                  <a:pt x="10047" y="6467"/>
                </a:cubicBezTo>
                <a:cubicBezTo>
                  <a:pt x="10039" y="6451"/>
                  <a:pt x="10035" y="6425"/>
                  <a:pt x="10030" y="6399"/>
                </a:cubicBezTo>
                <a:cubicBezTo>
                  <a:pt x="10023" y="6356"/>
                  <a:pt x="10013" y="6305"/>
                  <a:pt x="9983" y="6284"/>
                </a:cubicBezTo>
                <a:cubicBezTo>
                  <a:pt x="9981" y="6264"/>
                  <a:pt x="9975" y="6250"/>
                  <a:pt x="9967" y="6242"/>
                </a:cubicBezTo>
                <a:cubicBezTo>
                  <a:pt x="9969" y="6232"/>
                  <a:pt x="9969" y="6225"/>
                  <a:pt x="9973" y="6212"/>
                </a:cubicBezTo>
                <a:cubicBezTo>
                  <a:pt x="9976" y="6203"/>
                  <a:pt x="9980" y="6194"/>
                  <a:pt x="9984" y="6184"/>
                </a:cubicBezTo>
                <a:cubicBezTo>
                  <a:pt x="10002" y="6141"/>
                  <a:pt x="10023" y="6086"/>
                  <a:pt x="10018" y="6007"/>
                </a:cubicBezTo>
                <a:cubicBezTo>
                  <a:pt x="10017" y="5992"/>
                  <a:pt x="10010" y="5982"/>
                  <a:pt x="10003" y="5982"/>
                </a:cubicBezTo>
                <a:lnTo>
                  <a:pt x="9886" y="5982"/>
                </a:lnTo>
                <a:cubicBezTo>
                  <a:pt x="9886" y="5981"/>
                  <a:pt x="9886" y="5981"/>
                  <a:pt x="9886" y="5980"/>
                </a:cubicBezTo>
                <a:cubicBezTo>
                  <a:pt x="9888" y="5968"/>
                  <a:pt x="9896" y="5961"/>
                  <a:pt x="9906" y="5950"/>
                </a:cubicBezTo>
                <a:cubicBezTo>
                  <a:pt x="9920" y="5936"/>
                  <a:pt x="9939" y="5916"/>
                  <a:pt x="9939" y="5867"/>
                </a:cubicBezTo>
                <a:cubicBezTo>
                  <a:pt x="9939" y="5841"/>
                  <a:pt x="9920" y="5800"/>
                  <a:pt x="9903" y="5800"/>
                </a:cubicBezTo>
                <a:lnTo>
                  <a:pt x="9842" y="5800"/>
                </a:lnTo>
                <a:close/>
                <a:moveTo>
                  <a:pt x="1822" y="5807"/>
                </a:moveTo>
                <a:cubicBezTo>
                  <a:pt x="1831" y="5814"/>
                  <a:pt x="1840" y="5818"/>
                  <a:pt x="1849" y="5816"/>
                </a:cubicBezTo>
                <a:lnTo>
                  <a:pt x="1859" y="5846"/>
                </a:lnTo>
                <a:lnTo>
                  <a:pt x="1872" y="5887"/>
                </a:lnTo>
                <a:cubicBezTo>
                  <a:pt x="1866" y="5912"/>
                  <a:pt x="1863" y="5917"/>
                  <a:pt x="1860" y="5917"/>
                </a:cubicBezTo>
                <a:cubicBezTo>
                  <a:pt x="1846" y="5917"/>
                  <a:pt x="1834" y="5900"/>
                  <a:pt x="1822" y="5877"/>
                </a:cubicBezTo>
                <a:cubicBezTo>
                  <a:pt x="1824" y="5866"/>
                  <a:pt x="1829" y="5857"/>
                  <a:pt x="1829" y="5844"/>
                </a:cubicBezTo>
                <a:cubicBezTo>
                  <a:pt x="1829" y="5830"/>
                  <a:pt x="1824" y="5819"/>
                  <a:pt x="1822" y="5807"/>
                </a:cubicBezTo>
                <a:close/>
                <a:moveTo>
                  <a:pt x="3739" y="5809"/>
                </a:moveTo>
                <a:lnTo>
                  <a:pt x="4514" y="6052"/>
                </a:lnTo>
                <a:cubicBezTo>
                  <a:pt x="4516" y="6065"/>
                  <a:pt x="4516" y="6074"/>
                  <a:pt x="4517" y="6086"/>
                </a:cubicBezTo>
                <a:cubicBezTo>
                  <a:pt x="4514" y="6085"/>
                  <a:pt x="4513" y="6081"/>
                  <a:pt x="4510" y="6081"/>
                </a:cubicBezTo>
                <a:cubicBezTo>
                  <a:pt x="4496" y="6081"/>
                  <a:pt x="4485" y="6104"/>
                  <a:pt x="4485" y="6132"/>
                </a:cubicBezTo>
                <a:cubicBezTo>
                  <a:pt x="4485" y="6158"/>
                  <a:pt x="4495" y="6178"/>
                  <a:pt x="4507" y="6181"/>
                </a:cubicBezTo>
                <a:lnTo>
                  <a:pt x="4333" y="6318"/>
                </a:lnTo>
                <a:cubicBezTo>
                  <a:pt x="4328" y="6312"/>
                  <a:pt x="4323" y="6304"/>
                  <a:pt x="4316" y="6304"/>
                </a:cubicBezTo>
                <a:cubicBezTo>
                  <a:pt x="4300" y="6304"/>
                  <a:pt x="4289" y="6328"/>
                  <a:pt x="4284" y="6357"/>
                </a:cubicBezTo>
                <a:lnTo>
                  <a:pt x="4182" y="6437"/>
                </a:lnTo>
                <a:lnTo>
                  <a:pt x="3739" y="5809"/>
                </a:lnTo>
                <a:close/>
                <a:moveTo>
                  <a:pt x="13777" y="5811"/>
                </a:moveTo>
                <a:cubicBezTo>
                  <a:pt x="13777" y="5811"/>
                  <a:pt x="13916" y="5855"/>
                  <a:pt x="14045" y="5895"/>
                </a:cubicBezTo>
                <a:cubicBezTo>
                  <a:pt x="14027" y="5897"/>
                  <a:pt x="14012" y="5927"/>
                  <a:pt x="14012" y="5963"/>
                </a:cubicBezTo>
                <a:cubicBezTo>
                  <a:pt x="14012" y="6001"/>
                  <a:pt x="14028" y="6031"/>
                  <a:pt x="14046" y="6031"/>
                </a:cubicBezTo>
                <a:cubicBezTo>
                  <a:pt x="14065" y="6031"/>
                  <a:pt x="14080" y="6001"/>
                  <a:pt x="14080" y="5963"/>
                </a:cubicBezTo>
                <a:cubicBezTo>
                  <a:pt x="14080" y="5928"/>
                  <a:pt x="14067" y="5902"/>
                  <a:pt x="14050" y="5898"/>
                </a:cubicBezTo>
                <a:cubicBezTo>
                  <a:pt x="14131" y="5923"/>
                  <a:pt x="14221" y="5951"/>
                  <a:pt x="14221" y="5951"/>
                </a:cubicBezTo>
                <a:lnTo>
                  <a:pt x="14664" y="6090"/>
                </a:lnTo>
                <a:lnTo>
                  <a:pt x="14471" y="6243"/>
                </a:lnTo>
                <a:cubicBezTo>
                  <a:pt x="14466" y="6237"/>
                  <a:pt x="14462" y="6230"/>
                  <a:pt x="14456" y="6230"/>
                </a:cubicBezTo>
                <a:cubicBezTo>
                  <a:pt x="14441" y="6230"/>
                  <a:pt x="14430" y="6252"/>
                  <a:pt x="14426" y="6279"/>
                </a:cubicBezTo>
                <a:lnTo>
                  <a:pt x="14220" y="6441"/>
                </a:lnTo>
                <a:lnTo>
                  <a:pt x="14188" y="6394"/>
                </a:lnTo>
                <a:cubicBezTo>
                  <a:pt x="14189" y="6387"/>
                  <a:pt x="14192" y="6381"/>
                  <a:pt x="14192" y="6373"/>
                </a:cubicBezTo>
                <a:cubicBezTo>
                  <a:pt x="14192" y="6335"/>
                  <a:pt x="14177" y="6304"/>
                  <a:pt x="14158" y="6304"/>
                </a:cubicBezTo>
                <a:cubicBezTo>
                  <a:pt x="14150" y="6304"/>
                  <a:pt x="14142" y="6312"/>
                  <a:pt x="14137" y="6322"/>
                </a:cubicBezTo>
                <a:lnTo>
                  <a:pt x="13777" y="5811"/>
                </a:lnTo>
                <a:close/>
                <a:moveTo>
                  <a:pt x="11463" y="5851"/>
                </a:moveTo>
                <a:lnTo>
                  <a:pt x="11463" y="5865"/>
                </a:lnTo>
                <a:cubicBezTo>
                  <a:pt x="11458" y="5873"/>
                  <a:pt x="11446" y="5885"/>
                  <a:pt x="11441" y="5887"/>
                </a:cubicBezTo>
                <a:cubicBezTo>
                  <a:pt x="11440" y="5887"/>
                  <a:pt x="11437" y="5886"/>
                  <a:pt x="11436" y="5875"/>
                </a:cubicBezTo>
                <a:cubicBezTo>
                  <a:pt x="11441" y="5872"/>
                  <a:pt x="11446" y="5867"/>
                  <a:pt x="11451" y="5863"/>
                </a:cubicBezTo>
                <a:cubicBezTo>
                  <a:pt x="11455" y="5858"/>
                  <a:pt x="11459" y="5854"/>
                  <a:pt x="11463" y="5851"/>
                </a:cubicBezTo>
                <a:close/>
                <a:moveTo>
                  <a:pt x="15252" y="5857"/>
                </a:moveTo>
                <a:cubicBezTo>
                  <a:pt x="15225" y="5857"/>
                  <a:pt x="15203" y="5901"/>
                  <a:pt x="15203" y="5956"/>
                </a:cubicBezTo>
                <a:cubicBezTo>
                  <a:pt x="15203" y="6010"/>
                  <a:pt x="15225" y="6054"/>
                  <a:pt x="15252" y="6054"/>
                </a:cubicBezTo>
                <a:cubicBezTo>
                  <a:pt x="15280" y="6054"/>
                  <a:pt x="15301" y="6010"/>
                  <a:pt x="15301" y="5956"/>
                </a:cubicBezTo>
                <a:cubicBezTo>
                  <a:pt x="15301" y="5901"/>
                  <a:pt x="15280" y="5857"/>
                  <a:pt x="15252" y="5857"/>
                </a:cubicBezTo>
                <a:close/>
                <a:moveTo>
                  <a:pt x="9901" y="5858"/>
                </a:moveTo>
                <a:cubicBezTo>
                  <a:pt x="9903" y="5859"/>
                  <a:pt x="9907" y="5867"/>
                  <a:pt x="9909" y="5872"/>
                </a:cubicBezTo>
                <a:cubicBezTo>
                  <a:pt x="9908" y="5879"/>
                  <a:pt x="9904" y="5885"/>
                  <a:pt x="9892" y="5896"/>
                </a:cubicBezTo>
                <a:cubicBezTo>
                  <a:pt x="9879" y="5910"/>
                  <a:pt x="9861" y="5928"/>
                  <a:pt x="9857" y="5971"/>
                </a:cubicBezTo>
                <a:cubicBezTo>
                  <a:pt x="9856" y="5973"/>
                  <a:pt x="9857" y="5976"/>
                  <a:pt x="9857" y="5978"/>
                </a:cubicBezTo>
                <a:cubicBezTo>
                  <a:pt x="9857" y="6001"/>
                  <a:pt x="9861" y="6015"/>
                  <a:pt x="9865" y="6028"/>
                </a:cubicBezTo>
                <a:cubicBezTo>
                  <a:pt x="9868" y="6036"/>
                  <a:pt x="9873" y="6041"/>
                  <a:pt x="9878" y="6041"/>
                </a:cubicBezTo>
                <a:lnTo>
                  <a:pt x="9988" y="6041"/>
                </a:lnTo>
                <a:cubicBezTo>
                  <a:pt x="9986" y="6081"/>
                  <a:pt x="9974" y="6113"/>
                  <a:pt x="9961" y="6146"/>
                </a:cubicBezTo>
                <a:cubicBezTo>
                  <a:pt x="9959" y="6149"/>
                  <a:pt x="9957" y="6153"/>
                  <a:pt x="9956" y="6156"/>
                </a:cubicBezTo>
                <a:lnTo>
                  <a:pt x="9831" y="6035"/>
                </a:lnTo>
                <a:lnTo>
                  <a:pt x="9815" y="6021"/>
                </a:lnTo>
                <a:cubicBezTo>
                  <a:pt x="9828" y="6011"/>
                  <a:pt x="9837" y="5991"/>
                  <a:pt x="9838" y="5963"/>
                </a:cubicBezTo>
                <a:cubicBezTo>
                  <a:pt x="9838" y="5938"/>
                  <a:pt x="9830" y="5920"/>
                  <a:pt x="9820" y="5908"/>
                </a:cubicBezTo>
                <a:cubicBezTo>
                  <a:pt x="9821" y="5901"/>
                  <a:pt x="9822" y="5894"/>
                  <a:pt x="9822" y="5887"/>
                </a:cubicBezTo>
                <a:cubicBezTo>
                  <a:pt x="9824" y="5877"/>
                  <a:pt x="9837" y="5859"/>
                  <a:pt x="9842" y="5859"/>
                </a:cubicBezTo>
                <a:lnTo>
                  <a:pt x="9901" y="5858"/>
                </a:lnTo>
                <a:close/>
                <a:moveTo>
                  <a:pt x="14678" y="5886"/>
                </a:moveTo>
                <a:lnTo>
                  <a:pt x="14693" y="5991"/>
                </a:lnTo>
                <a:cubicBezTo>
                  <a:pt x="14693" y="5991"/>
                  <a:pt x="14660" y="5935"/>
                  <a:pt x="14656" y="5928"/>
                </a:cubicBezTo>
                <a:cubicBezTo>
                  <a:pt x="14666" y="5919"/>
                  <a:pt x="14673" y="5906"/>
                  <a:pt x="14678" y="5886"/>
                </a:cubicBezTo>
                <a:close/>
                <a:moveTo>
                  <a:pt x="18122" y="5894"/>
                </a:moveTo>
                <a:cubicBezTo>
                  <a:pt x="18103" y="5894"/>
                  <a:pt x="18087" y="5925"/>
                  <a:pt x="18087" y="5963"/>
                </a:cubicBezTo>
                <a:cubicBezTo>
                  <a:pt x="18087" y="6001"/>
                  <a:pt x="18103" y="6031"/>
                  <a:pt x="18122" y="6031"/>
                </a:cubicBezTo>
                <a:cubicBezTo>
                  <a:pt x="18140" y="6031"/>
                  <a:pt x="18155" y="6001"/>
                  <a:pt x="18155" y="5963"/>
                </a:cubicBezTo>
                <a:cubicBezTo>
                  <a:pt x="18155" y="5925"/>
                  <a:pt x="18140" y="5894"/>
                  <a:pt x="18122" y="5894"/>
                </a:cubicBezTo>
                <a:close/>
                <a:moveTo>
                  <a:pt x="11249" y="5912"/>
                </a:moveTo>
                <a:cubicBezTo>
                  <a:pt x="11202" y="5917"/>
                  <a:pt x="11187" y="6007"/>
                  <a:pt x="11187" y="6047"/>
                </a:cubicBezTo>
                <a:cubicBezTo>
                  <a:pt x="11187" y="6051"/>
                  <a:pt x="11186" y="6057"/>
                  <a:pt x="11185" y="6062"/>
                </a:cubicBezTo>
                <a:cubicBezTo>
                  <a:pt x="11184" y="6076"/>
                  <a:pt x="11181" y="6099"/>
                  <a:pt x="11189" y="6121"/>
                </a:cubicBezTo>
                <a:cubicBezTo>
                  <a:pt x="11192" y="6129"/>
                  <a:pt x="11196" y="6133"/>
                  <a:pt x="11201" y="6133"/>
                </a:cubicBezTo>
                <a:cubicBezTo>
                  <a:pt x="11206" y="6133"/>
                  <a:pt x="11211" y="6129"/>
                  <a:pt x="11213" y="6121"/>
                </a:cubicBezTo>
                <a:cubicBezTo>
                  <a:pt x="11217" y="6112"/>
                  <a:pt x="11221" y="6104"/>
                  <a:pt x="11224" y="6096"/>
                </a:cubicBezTo>
                <a:cubicBezTo>
                  <a:pt x="11236" y="6070"/>
                  <a:pt x="11248" y="6043"/>
                  <a:pt x="11248" y="5997"/>
                </a:cubicBezTo>
                <a:cubicBezTo>
                  <a:pt x="11248" y="5993"/>
                  <a:pt x="11252" y="5984"/>
                  <a:pt x="11254" y="5979"/>
                </a:cubicBezTo>
                <a:cubicBezTo>
                  <a:pt x="11257" y="5972"/>
                  <a:pt x="11261" y="5964"/>
                  <a:pt x="11263" y="5955"/>
                </a:cubicBezTo>
                <a:cubicBezTo>
                  <a:pt x="11266" y="5945"/>
                  <a:pt x="11265" y="5933"/>
                  <a:pt x="11262" y="5924"/>
                </a:cubicBezTo>
                <a:cubicBezTo>
                  <a:pt x="11259" y="5916"/>
                  <a:pt x="11254" y="5911"/>
                  <a:pt x="11249" y="5912"/>
                </a:cubicBezTo>
                <a:close/>
                <a:moveTo>
                  <a:pt x="19678" y="5912"/>
                </a:moveTo>
                <a:lnTo>
                  <a:pt x="19902" y="6126"/>
                </a:lnTo>
                <a:cubicBezTo>
                  <a:pt x="19900" y="6144"/>
                  <a:pt x="19890" y="6165"/>
                  <a:pt x="19878" y="6187"/>
                </a:cubicBezTo>
                <a:cubicBezTo>
                  <a:pt x="19857" y="6227"/>
                  <a:pt x="19828" y="6282"/>
                  <a:pt x="19828" y="6376"/>
                </a:cubicBezTo>
                <a:cubicBezTo>
                  <a:pt x="19828" y="6380"/>
                  <a:pt x="19826" y="6383"/>
                  <a:pt x="19825" y="6387"/>
                </a:cubicBezTo>
                <a:cubicBezTo>
                  <a:pt x="19821" y="6385"/>
                  <a:pt x="19819" y="6379"/>
                  <a:pt x="19815" y="6379"/>
                </a:cubicBezTo>
                <a:cubicBezTo>
                  <a:pt x="19796" y="6379"/>
                  <a:pt x="19781" y="6410"/>
                  <a:pt x="19781" y="6448"/>
                </a:cubicBezTo>
                <a:cubicBezTo>
                  <a:pt x="19781" y="6454"/>
                  <a:pt x="19783" y="6458"/>
                  <a:pt x="19784" y="6464"/>
                </a:cubicBezTo>
                <a:cubicBezTo>
                  <a:pt x="19783" y="6466"/>
                  <a:pt x="19781" y="6468"/>
                  <a:pt x="19780" y="6470"/>
                </a:cubicBezTo>
                <a:lnTo>
                  <a:pt x="19765" y="6418"/>
                </a:lnTo>
                <a:lnTo>
                  <a:pt x="19647" y="5993"/>
                </a:lnTo>
                <a:cubicBezTo>
                  <a:pt x="19666" y="5993"/>
                  <a:pt x="19681" y="5963"/>
                  <a:pt x="19681" y="5926"/>
                </a:cubicBezTo>
                <a:cubicBezTo>
                  <a:pt x="19681" y="5920"/>
                  <a:pt x="19679" y="5917"/>
                  <a:pt x="19678" y="5912"/>
                </a:cubicBezTo>
                <a:close/>
                <a:moveTo>
                  <a:pt x="9724" y="5916"/>
                </a:moveTo>
                <a:cubicBezTo>
                  <a:pt x="9723" y="5921"/>
                  <a:pt x="9722" y="5925"/>
                  <a:pt x="9720" y="5929"/>
                </a:cubicBezTo>
                <a:lnTo>
                  <a:pt x="9714" y="5923"/>
                </a:lnTo>
                <a:cubicBezTo>
                  <a:pt x="9717" y="5921"/>
                  <a:pt x="9720" y="5918"/>
                  <a:pt x="9724" y="5916"/>
                </a:cubicBezTo>
                <a:close/>
                <a:moveTo>
                  <a:pt x="1897" y="5922"/>
                </a:moveTo>
                <a:cubicBezTo>
                  <a:pt x="1897" y="5922"/>
                  <a:pt x="1898" y="5923"/>
                  <a:pt x="1898" y="5923"/>
                </a:cubicBezTo>
                <a:cubicBezTo>
                  <a:pt x="1897" y="5924"/>
                  <a:pt x="1897" y="5923"/>
                  <a:pt x="1897" y="5923"/>
                </a:cubicBezTo>
                <a:cubicBezTo>
                  <a:pt x="1897" y="5923"/>
                  <a:pt x="1897" y="5923"/>
                  <a:pt x="1897" y="5922"/>
                </a:cubicBezTo>
                <a:close/>
                <a:moveTo>
                  <a:pt x="16317" y="5931"/>
                </a:moveTo>
                <a:cubicBezTo>
                  <a:pt x="16298" y="5931"/>
                  <a:pt x="16282" y="5962"/>
                  <a:pt x="16282" y="6000"/>
                </a:cubicBezTo>
                <a:cubicBezTo>
                  <a:pt x="16282" y="6038"/>
                  <a:pt x="16298" y="6068"/>
                  <a:pt x="16317" y="6068"/>
                </a:cubicBezTo>
                <a:cubicBezTo>
                  <a:pt x="16335" y="6068"/>
                  <a:pt x="16350" y="6038"/>
                  <a:pt x="16350" y="6000"/>
                </a:cubicBezTo>
                <a:cubicBezTo>
                  <a:pt x="16350" y="5962"/>
                  <a:pt x="16335" y="5931"/>
                  <a:pt x="16317" y="5931"/>
                </a:cubicBezTo>
                <a:close/>
                <a:moveTo>
                  <a:pt x="687" y="5972"/>
                </a:moveTo>
                <a:lnTo>
                  <a:pt x="732" y="6020"/>
                </a:lnTo>
                <a:cubicBezTo>
                  <a:pt x="717" y="6040"/>
                  <a:pt x="708" y="6066"/>
                  <a:pt x="699" y="6091"/>
                </a:cubicBezTo>
                <a:cubicBezTo>
                  <a:pt x="695" y="6101"/>
                  <a:pt x="692" y="6110"/>
                  <a:pt x="688" y="6120"/>
                </a:cubicBezTo>
                <a:cubicBezTo>
                  <a:pt x="673" y="6160"/>
                  <a:pt x="644" y="6191"/>
                  <a:pt x="617" y="6222"/>
                </a:cubicBezTo>
                <a:cubicBezTo>
                  <a:pt x="592" y="6249"/>
                  <a:pt x="568" y="6275"/>
                  <a:pt x="552" y="6309"/>
                </a:cubicBezTo>
                <a:cubicBezTo>
                  <a:pt x="522" y="6369"/>
                  <a:pt x="447" y="6412"/>
                  <a:pt x="390" y="6428"/>
                </a:cubicBezTo>
                <a:cubicBezTo>
                  <a:pt x="367" y="6436"/>
                  <a:pt x="347" y="6455"/>
                  <a:pt x="329" y="6478"/>
                </a:cubicBezTo>
                <a:cubicBezTo>
                  <a:pt x="330" y="6474"/>
                  <a:pt x="332" y="6470"/>
                  <a:pt x="333" y="6467"/>
                </a:cubicBezTo>
                <a:cubicBezTo>
                  <a:pt x="343" y="6442"/>
                  <a:pt x="353" y="6417"/>
                  <a:pt x="362" y="6407"/>
                </a:cubicBezTo>
                <a:cubicBezTo>
                  <a:pt x="375" y="6392"/>
                  <a:pt x="389" y="6389"/>
                  <a:pt x="404" y="6387"/>
                </a:cubicBezTo>
                <a:cubicBezTo>
                  <a:pt x="425" y="6384"/>
                  <a:pt x="449" y="6381"/>
                  <a:pt x="468" y="6335"/>
                </a:cubicBezTo>
                <a:cubicBezTo>
                  <a:pt x="491" y="6274"/>
                  <a:pt x="539" y="6221"/>
                  <a:pt x="581" y="6173"/>
                </a:cubicBezTo>
                <a:cubicBezTo>
                  <a:pt x="600" y="6151"/>
                  <a:pt x="618" y="6130"/>
                  <a:pt x="634" y="6109"/>
                </a:cubicBezTo>
                <a:cubicBezTo>
                  <a:pt x="661" y="6073"/>
                  <a:pt x="674" y="6022"/>
                  <a:pt x="687" y="5972"/>
                </a:cubicBezTo>
                <a:close/>
                <a:moveTo>
                  <a:pt x="11456" y="5980"/>
                </a:moveTo>
                <a:cubicBezTo>
                  <a:pt x="11463" y="5980"/>
                  <a:pt x="11468" y="5986"/>
                  <a:pt x="11474" y="5998"/>
                </a:cubicBezTo>
                <a:lnTo>
                  <a:pt x="11386" y="6260"/>
                </a:lnTo>
                <a:cubicBezTo>
                  <a:pt x="11386" y="6256"/>
                  <a:pt x="11387" y="6253"/>
                  <a:pt x="11387" y="6249"/>
                </a:cubicBezTo>
                <a:cubicBezTo>
                  <a:pt x="11387" y="6153"/>
                  <a:pt x="11432" y="5980"/>
                  <a:pt x="11456" y="5980"/>
                </a:cubicBezTo>
                <a:close/>
                <a:moveTo>
                  <a:pt x="1904" y="5983"/>
                </a:moveTo>
                <a:lnTo>
                  <a:pt x="1915" y="6018"/>
                </a:lnTo>
                <a:cubicBezTo>
                  <a:pt x="1913" y="6019"/>
                  <a:pt x="1910" y="6021"/>
                  <a:pt x="1908" y="6024"/>
                </a:cubicBezTo>
                <a:cubicBezTo>
                  <a:pt x="1906" y="6012"/>
                  <a:pt x="1902" y="6002"/>
                  <a:pt x="1902" y="5990"/>
                </a:cubicBezTo>
                <a:cubicBezTo>
                  <a:pt x="1902" y="5988"/>
                  <a:pt x="1902" y="5985"/>
                  <a:pt x="1904" y="5983"/>
                </a:cubicBezTo>
                <a:close/>
                <a:moveTo>
                  <a:pt x="19610" y="5983"/>
                </a:moveTo>
                <a:lnTo>
                  <a:pt x="19757" y="6512"/>
                </a:lnTo>
                <a:cubicBezTo>
                  <a:pt x="19748" y="6536"/>
                  <a:pt x="19743" y="6561"/>
                  <a:pt x="19743" y="6588"/>
                </a:cubicBezTo>
                <a:cubicBezTo>
                  <a:pt x="19740" y="6590"/>
                  <a:pt x="19738" y="6595"/>
                  <a:pt x="19735" y="6597"/>
                </a:cubicBezTo>
                <a:cubicBezTo>
                  <a:pt x="19726" y="6578"/>
                  <a:pt x="19714" y="6566"/>
                  <a:pt x="19700" y="6566"/>
                </a:cubicBezTo>
                <a:cubicBezTo>
                  <a:pt x="19673" y="6566"/>
                  <a:pt x="19650" y="6610"/>
                  <a:pt x="19650" y="6665"/>
                </a:cubicBezTo>
                <a:cubicBezTo>
                  <a:pt x="19650" y="6689"/>
                  <a:pt x="19656" y="6710"/>
                  <a:pt x="19663" y="6727"/>
                </a:cubicBezTo>
                <a:cubicBezTo>
                  <a:pt x="19647" y="6774"/>
                  <a:pt x="19632" y="6827"/>
                  <a:pt x="19619" y="6878"/>
                </a:cubicBezTo>
                <a:cubicBezTo>
                  <a:pt x="19613" y="6903"/>
                  <a:pt x="19608" y="6925"/>
                  <a:pt x="19601" y="6947"/>
                </a:cubicBezTo>
                <a:cubicBezTo>
                  <a:pt x="19598" y="6944"/>
                  <a:pt x="19595" y="6939"/>
                  <a:pt x="19592" y="6939"/>
                </a:cubicBezTo>
                <a:cubicBezTo>
                  <a:pt x="19553" y="6799"/>
                  <a:pt x="19533" y="6450"/>
                  <a:pt x="19531" y="6280"/>
                </a:cubicBezTo>
                <a:cubicBezTo>
                  <a:pt x="19538" y="6263"/>
                  <a:pt x="19544" y="6242"/>
                  <a:pt x="19544" y="6217"/>
                </a:cubicBezTo>
                <a:cubicBezTo>
                  <a:pt x="19544" y="6200"/>
                  <a:pt x="19538" y="6188"/>
                  <a:pt x="19535" y="6174"/>
                </a:cubicBezTo>
                <a:cubicBezTo>
                  <a:pt x="19535" y="6174"/>
                  <a:pt x="19535" y="6173"/>
                  <a:pt x="19535" y="6173"/>
                </a:cubicBezTo>
                <a:cubicBezTo>
                  <a:pt x="19544" y="6102"/>
                  <a:pt x="19569" y="6040"/>
                  <a:pt x="19610" y="5983"/>
                </a:cubicBezTo>
                <a:close/>
                <a:moveTo>
                  <a:pt x="14285" y="6006"/>
                </a:moveTo>
                <a:cubicBezTo>
                  <a:pt x="14258" y="6006"/>
                  <a:pt x="14235" y="6051"/>
                  <a:pt x="14235" y="6105"/>
                </a:cubicBezTo>
                <a:cubicBezTo>
                  <a:pt x="14235" y="6160"/>
                  <a:pt x="14258" y="6203"/>
                  <a:pt x="14285" y="6203"/>
                </a:cubicBezTo>
                <a:cubicBezTo>
                  <a:pt x="14312" y="6203"/>
                  <a:pt x="14334" y="6160"/>
                  <a:pt x="14334" y="6105"/>
                </a:cubicBezTo>
                <a:cubicBezTo>
                  <a:pt x="14334" y="6051"/>
                  <a:pt x="14312" y="6006"/>
                  <a:pt x="14285" y="6006"/>
                </a:cubicBezTo>
                <a:close/>
                <a:moveTo>
                  <a:pt x="18698" y="6006"/>
                </a:moveTo>
                <a:cubicBezTo>
                  <a:pt x="18680" y="6006"/>
                  <a:pt x="18664" y="6037"/>
                  <a:pt x="18664" y="6075"/>
                </a:cubicBezTo>
                <a:cubicBezTo>
                  <a:pt x="18664" y="6113"/>
                  <a:pt x="18680" y="6142"/>
                  <a:pt x="18698" y="6142"/>
                </a:cubicBezTo>
                <a:cubicBezTo>
                  <a:pt x="18717" y="6142"/>
                  <a:pt x="18732" y="6113"/>
                  <a:pt x="18732" y="6075"/>
                </a:cubicBezTo>
                <a:cubicBezTo>
                  <a:pt x="18732" y="6037"/>
                  <a:pt x="18717" y="6006"/>
                  <a:pt x="18698" y="6006"/>
                </a:cubicBezTo>
                <a:close/>
                <a:moveTo>
                  <a:pt x="899" y="6024"/>
                </a:moveTo>
                <a:cubicBezTo>
                  <a:pt x="871" y="6024"/>
                  <a:pt x="848" y="6043"/>
                  <a:pt x="827" y="6062"/>
                </a:cubicBezTo>
                <a:cubicBezTo>
                  <a:pt x="822" y="6066"/>
                  <a:pt x="817" y="6070"/>
                  <a:pt x="812" y="6074"/>
                </a:cubicBezTo>
                <a:cubicBezTo>
                  <a:pt x="806" y="6079"/>
                  <a:pt x="799" y="6084"/>
                  <a:pt x="792" y="6088"/>
                </a:cubicBezTo>
                <a:cubicBezTo>
                  <a:pt x="786" y="6091"/>
                  <a:pt x="782" y="6103"/>
                  <a:pt x="782" y="6117"/>
                </a:cubicBezTo>
                <a:lnTo>
                  <a:pt x="782" y="6168"/>
                </a:lnTo>
                <a:cubicBezTo>
                  <a:pt x="782" y="6178"/>
                  <a:pt x="784" y="6186"/>
                  <a:pt x="788" y="6191"/>
                </a:cubicBezTo>
                <a:cubicBezTo>
                  <a:pt x="795" y="6202"/>
                  <a:pt x="801" y="6208"/>
                  <a:pt x="807" y="6215"/>
                </a:cubicBezTo>
                <a:cubicBezTo>
                  <a:pt x="814" y="6223"/>
                  <a:pt x="822" y="6230"/>
                  <a:pt x="832" y="6246"/>
                </a:cubicBezTo>
                <a:cubicBezTo>
                  <a:pt x="835" y="6251"/>
                  <a:pt x="838" y="6253"/>
                  <a:pt x="841" y="6253"/>
                </a:cubicBezTo>
                <a:cubicBezTo>
                  <a:pt x="844" y="6253"/>
                  <a:pt x="848" y="6251"/>
                  <a:pt x="850" y="6246"/>
                </a:cubicBezTo>
                <a:cubicBezTo>
                  <a:pt x="858" y="6234"/>
                  <a:pt x="865" y="6223"/>
                  <a:pt x="871" y="6212"/>
                </a:cubicBezTo>
                <a:cubicBezTo>
                  <a:pt x="877" y="6204"/>
                  <a:pt x="881" y="6196"/>
                  <a:pt x="886" y="6188"/>
                </a:cubicBezTo>
                <a:cubicBezTo>
                  <a:pt x="898" y="6168"/>
                  <a:pt x="911" y="6151"/>
                  <a:pt x="931" y="6131"/>
                </a:cubicBezTo>
                <a:cubicBezTo>
                  <a:pt x="936" y="6126"/>
                  <a:pt x="939" y="6115"/>
                  <a:pt x="939" y="6104"/>
                </a:cubicBezTo>
                <a:lnTo>
                  <a:pt x="939" y="6053"/>
                </a:lnTo>
                <a:cubicBezTo>
                  <a:pt x="939" y="6036"/>
                  <a:pt x="932" y="6024"/>
                  <a:pt x="924" y="6024"/>
                </a:cubicBezTo>
                <a:lnTo>
                  <a:pt x="899" y="6024"/>
                </a:lnTo>
                <a:close/>
                <a:moveTo>
                  <a:pt x="5744" y="6043"/>
                </a:moveTo>
                <a:cubicBezTo>
                  <a:pt x="5717" y="6043"/>
                  <a:pt x="5694" y="6088"/>
                  <a:pt x="5694" y="6142"/>
                </a:cubicBezTo>
                <a:cubicBezTo>
                  <a:pt x="5694" y="6197"/>
                  <a:pt x="5717" y="6240"/>
                  <a:pt x="5744" y="6240"/>
                </a:cubicBezTo>
                <a:cubicBezTo>
                  <a:pt x="5771" y="6240"/>
                  <a:pt x="5793" y="6197"/>
                  <a:pt x="5793" y="6142"/>
                </a:cubicBezTo>
                <a:cubicBezTo>
                  <a:pt x="5793" y="6088"/>
                  <a:pt x="5771" y="6043"/>
                  <a:pt x="5744" y="6043"/>
                </a:cubicBezTo>
                <a:close/>
                <a:moveTo>
                  <a:pt x="17191" y="6043"/>
                </a:moveTo>
                <a:cubicBezTo>
                  <a:pt x="17172" y="6043"/>
                  <a:pt x="17157" y="6074"/>
                  <a:pt x="17157" y="6112"/>
                </a:cubicBezTo>
                <a:cubicBezTo>
                  <a:pt x="17157" y="6150"/>
                  <a:pt x="17172" y="6180"/>
                  <a:pt x="17191" y="6180"/>
                </a:cubicBezTo>
                <a:cubicBezTo>
                  <a:pt x="17210" y="6180"/>
                  <a:pt x="17225" y="6150"/>
                  <a:pt x="17225" y="6112"/>
                </a:cubicBezTo>
                <a:cubicBezTo>
                  <a:pt x="17225" y="6074"/>
                  <a:pt x="17210" y="6043"/>
                  <a:pt x="17191" y="6043"/>
                </a:cubicBezTo>
                <a:close/>
                <a:moveTo>
                  <a:pt x="17820" y="6043"/>
                </a:moveTo>
                <a:cubicBezTo>
                  <a:pt x="17793" y="6043"/>
                  <a:pt x="17771" y="6088"/>
                  <a:pt x="17771" y="6142"/>
                </a:cubicBezTo>
                <a:cubicBezTo>
                  <a:pt x="17771" y="6197"/>
                  <a:pt x="17793" y="6240"/>
                  <a:pt x="17820" y="6240"/>
                </a:cubicBezTo>
                <a:cubicBezTo>
                  <a:pt x="17847" y="6240"/>
                  <a:pt x="17869" y="6197"/>
                  <a:pt x="17869" y="6142"/>
                </a:cubicBezTo>
                <a:cubicBezTo>
                  <a:pt x="17869" y="6088"/>
                  <a:pt x="17847" y="6043"/>
                  <a:pt x="17820" y="6043"/>
                </a:cubicBezTo>
                <a:close/>
                <a:moveTo>
                  <a:pt x="10718" y="6059"/>
                </a:moveTo>
                <a:cubicBezTo>
                  <a:pt x="10710" y="6097"/>
                  <a:pt x="10708" y="6125"/>
                  <a:pt x="10708" y="6163"/>
                </a:cubicBezTo>
                <a:cubicBezTo>
                  <a:pt x="10708" y="6194"/>
                  <a:pt x="10715" y="6230"/>
                  <a:pt x="10748" y="6238"/>
                </a:cubicBezTo>
                <a:cubicBezTo>
                  <a:pt x="10746" y="6241"/>
                  <a:pt x="10743" y="6245"/>
                  <a:pt x="10741" y="6247"/>
                </a:cubicBezTo>
                <a:cubicBezTo>
                  <a:pt x="10736" y="6253"/>
                  <a:pt x="10731" y="6257"/>
                  <a:pt x="10727" y="6265"/>
                </a:cubicBezTo>
                <a:cubicBezTo>
                  <a:pt x="10725" y="6270"/>
                  <a:pt x="10722" y="6275"/>
                  <a:pt x="10719" y="6280"/>
                </a:cubicBezTo>
                <a:cubicBezTo>
                  <a:pt x="10699" y="6319"/>
                  <a:pt x="10676" y="6364"/>
                  <a:pt x="10676" y="6444"/>
                </a:cubicBezTo>
                <a:cubicBezTo>
                  <a:pt x="10676" y="6471"/>
                  <a:pt x="10679" y="6494"/>
                  <a:pt x="10685" y="6512"/>
                </a:cubicBezTo>
                <a:lnTo>
                  <a:pt x="10657" y="6511"/>
                </a:lnTo>
                <a:cubicBezTo>
                  <a:pt x="10652" y="6454"/>
                  <a:pt x="10642" y="6416"/>
                  <a:pt x="10632" y="6381"/>
                </a:cubicBezTo>
                <a:cubicBezTo>
                  <a:pt x="10622" y="6345"/>
                  <a:pt x="10614" y="6316"/>
                  <a:pt x="10614" y="6270"/>
                </a:cubicBezTo>
                <a:cubicBezTo>
                  <a:pt x="10614" y="6159"/>
                  <a:pt x="10651" y="6123"/>
                  <a:pt x="10694" y="6082"/>
                </a:cubicBezTo>
                <a:cubicBezTo>
                  <a:pt x="10702" y="6074"/>
                  <a:pt x="10710" y="6067"/>
                  <a:pt x="10718" y="6059"/>
                </a:cubicBezTo>
                <a:close/>
                <a:moveTo>
                  <a:pt x="9790" y="6063"/>
                </a:moveTo>
                <a:lnTo>
                  <a:pt x="9939" y="6207"/>
                </a:lnTo>
                <a:cubicBezTo>
                  <a:pt x="9936" y="6218"/>
                  <a:pt x="9934" y="6232"/>
                  <a:pt x="9932" y="6246"/>
                </a:cubicBezTo>
                <a:cubicBezTo>
                  <a:pt x="9928" y="6253"/>
                  <a:pt x="9926" y="6262"/>
                  <a:pt x="9924" y="6272"/>
                </a:cubicBezTo>
                <a:cubicBezTo>
                  <a:pt x="9920" y="6280"/>
                  <a:pt x="9916" y="6286"/>
                  <a:pt x="9914" y="6296"/>
                </a:cubicBezTo>
                <a:cubicBezTo>
                  <a:pt x="9912" y="6312"/>
                  <a:pt x="9916" y="6329"/>
                  <a:pt x="9924" y="6334"/>
                </a:cubicBezTo>
                <a:cubicBezTo>
                  <a:pt x="9925" y="6334"/>
                  <a:pt x="9925" y="6333"/>
                  <a:pt x="9926" y="6334"/>
                </a:cubicBezTo>
                <a:cubicBezTo>
                  <a:pt x="9932" y="6352"/>
                  <a:pt x="9941" y="6366"/>
                  <a:pt x="9953" y="6366"/>
                </a:cubicBezTo>
                <a:cubicBezTo>
                  <a:pt x="9963" y="6366"/>
                  <a:pt x="9971" y="6357"/>
                  <a:pt x="9977" y="6344"/>
                </a:cubicBezTo>
                <a:cubicBezTo>
                  <a:pt x="9989" y="6356"/>
                  <a:pt x="9995" y="6380"/>
                  <a:pt x="10002" y="6419"/>
                </a:cubicBezTo>
                <a:cubicBezTo>
                  <a:pt x="10007" y="6449"/>
                  <a:pt x="10014" y="6484"/>
                  <a:pt x="10026" y="6510"/>
                </a:cubicBezTo>
                <a:cubicBezTo>
                  <a:pt x="10038" y="6533"/>
                  <a:pt x="10051" y="6550"/>
                  <a:pt x="10064" y="6568"/>
                </a:cubicBezTo>
                <a:cubicBezTo>
                  <a:pt x="10091" y="6605"/>
                  <a:pt x="10108" y="6632"/>
                  <a:pt x="10111" y="6676"/>
                </a:cubicBezTo>
                <a:lnTo>
                  <a:pt x="9965" y="6789"/>
                </a:lnTo>
                <a:lnTo>
                  <a:pt x="9885" y="6852"/>
                </a:lnTo>
                <a:cubicBezTo>
                  <a:pt x="9883" y="6831"/>
                  <a:pt x="9879" y="6813"/>
                  <a:pt x="9876" y="6799"/>
                </a:cubicBezTo>
                <a:cubicBezTo>
                  <a:pt x="9875" y="6793"/>
                  <a:pt x="9873" y="6789"/>
                  <a:pt x="9872" y="6784"/>
                </a:cubicBezTo>
                <a:cubicBezTo>
                  <a:pt x="9909" y="6774"/>
                  <a:pt x="9951" y="6737"/>
                  <a:pt x="9963" y="6688"/>
                </a:cubicBezTo>
                <a:cubicBezTo>
                  <a:pt x="9964" y="6684"/>
                  <a:pt x="9965" y="6680"/>
                  <a:pt x="9965" y="6675"/>
                </a:cubicBezTo>
                <a:lnTo>
                  <a:pt x="9965" y="6611"/>
                </a:lnTo>
                <a:cubicBezTo>
                  <a:pt x="9965" y="6603"/>
                  <a:pt x="9963" y="6595"/>
                  <a:pt x="9960" y="6589"/>
                </a:cubicBezTo>
                <a:cubicBezTo>
                  <a:pt x="9956" y="6583"/>
                  <a:pt x="9952" y="6580"/>
                  <a:pt x="9948" y="6581"/>
                </a:cubicBezTo>
                <a:cubicBezTo>
                  <a:pt x="9934" y="6584"/>
                  <a:pt x="9914" y="6579"/>
                  <a:pt x="9914" y="6564"/>
                </a:cubicBezTo>
                <a:cubicBezTo>
                  <a:pt x="9914" y="6553"/>
                  <a:pt x="9916" y="6548"/>
                  <a:pt x="9919" y="6539"/>
                </a:cubicBezTo>
                <a:cubicBezTo>
                  <a:pt x="9922" y="6533"/>
                  <a:pt x="9925" y="6527"/>
                  <a:pt x="9927" y="6518"/>
                </a:cubicBezTo>
                <a:cubicBezTo>
                  <a:pt x="9929" y="6509"/>
                  <a:pt x="9929" y="6498"/>
                  <a:pt x="9926" y="6489"/>
                </a:cubicBezTo>
                <a:cubicBezTo>
                  <a:pt x="9924" y="6480"/>
                  <a:pt x="9919" y="6475"/>
                  <a:pt x="9914" y="6475"/>
                </a:cubicBezTo>
                <a:cubicBezTo>
                  <a:pt x="9911" y="6475"/>
                  <a:pt x="9909" y="6474"/>
                  <a:pt x="9907" y="6474"/>
                </a:cubicBezTo>
                <a:cubicBezTo>
                  <a:pt x="9903" y="6472"/>
                  <a:pt x="9898" y="6471"/>
                  <a:pt x="9894" y="6471"/>
                </a:cubicBezTo>
                <a:cubicBezTo>
                  <a:pt x="9881" y="6471"/>
                  <a:pt x="9871" y="6478"/>
                  <a:pt x="9863" y="6484"/>
                </a:cubicBezTo>
                <a:cubicBezTo>
                  <a:pt x="9856" y="6488"/>
                  <a:pt x="9851" y="6492"/>
                  <a:pt x="9846" y="6492"/>
                </a:cubicBezTo>
                <a:cubicBezTo>
                  <a:pt x="9839" y="6492"/>
                  <a:pt x="9829" y="6491"/>
                  <a:pt x="9827" y="6488"/>
                </a:cubicBezTo>
                <a:cubicBezTo>
                  <a:pt x="9827" y="6481"/>
                  <a:pt x="9831" y="6472"/>
                  <a:pt x="9835" y="6462"/>
                </a:cubicBezTo>
                <a:cubicBezTo>
                  <a:pt x="9841" y="6446"/>
                  <a:pt x="9848" y="6426"/>
                  <a:pt x="9848" y="6399"/>
                </a:cubicBezTo>
                <a:cubicBezTo>
                  <a:pt x="9848" y="6382"/>
                  <a:pt x="9847" y="6370"/>
                  <a:pt x="9846" y="6360"/>
                </a:cubicBezTo>
                <a:cubicBezTo>
                  <a:pt x="9845" y="6347"/>
                  <a:pt x="9845" y="6341"/>
                  <a:pt x="9847" y="6328"/>
                </a:cubicBezTo>
                <a:cubicBezTo>
                  <a:pt x="9849" y="6319"/>
                  <a:pt x="9848" y="6309"/>
                  <a:pt x="9846" y="6301"/>
                </a:cubicBezTo>
                <a:cubicBezTo>
                  <a:pt x="9843" y="6293"/>
                  <a:pt x="9838" y="6288"/>
                  <a:pt x="9833" y="6288"/>
                </a:cubicBezTo>
                <a:cubicBezTo>
                  <a:pt x="9819" y="6288"/>
                  <a:pt x="9809" y="6277"/>
                  <a:pt x="9806" y="6272"/>
                </a:cubicBezTo>
                <a:cubicBezTo>
                  <a:pt x="9805" y="6271"/>
                  <a:pt x="9804" y="6270"/>
                  <a:pt x="9803" y="6270"/>
                </a:cubicBezTo>
                <a:cubicBezTo>
                  <a:pt x="9803" y="6267"/>
                  <a:pt x="9803" y="6265"/>
                  <a:pt x="9803" y="6263"/>
                </a:cubicBezTo>
                <a:lnTo>
                  <a:pt x="9803" y="6224"/>
                </a:lnTo>
                <a:cubicBezTo>
                  <a:pt x="9803" y="6209"/>
                  <a:pt x="9798" y="6197"/>
                  <a:pt x="9791" y="6195"/>
                </a:cubicBezTo>
                <a:cubicBezTo>
                  <a:pt x="9783" y="6192"/>
                  <a:pt x="9777" y="6188"/>
                  <a:pt x="9773" y="6184"/>
                </a:cubicBezTo>
                <a:cubicBezTo>
                  <a:pt x="9775" y="6177"/>
                  <a:pt x="9778" y="6167"/>
                  <a:pt x="9780" y="6163"/>
                </a:cubicBezTo>
                <a:cubicBezTo>
                  <a:pt x="9784" y="6154"/>
                  <a:pt x="9786" y="6147"/>
                  <a:pt x="9786" y="6135"/>
                </a:cubicBezTo>
                <a:lnTo>
                  <a:pt x="9786" y="6100"/>
                </a:lnTo>
                <a:cubicBezTo>
                  <a:pt x="9786" y="6093"/>
                  <a:pt x="9785" y="6086"/>
                  <a:pt x="9783" y="6081"/>
                </a:cubicBezTo>
                <a:cubicBezTo>
                  <a:pt x="9786" y="6076"/>
                  <a:pt x="9788" y="6070"/>
                  <a:pt x="9790" y="6063"/>
                </a:cubicBezTo>
                <a:close/>
                <a:moveTo>
                  <a:pt x="899" y="6083"/>
                </a:moveTo>
                <a:lnTo>
                  <a:pt x="909" y="6083"/>
                </a:lnTo>
                <a:cubicBezTo>
                  <a:pt x="909" y="6083"/>
                  <a:pt x="909" y="6085"/>
                  <a:pt x="909" y="6085"/>
                </a:cubicBezTo>
                <a:cubicBezTo>
                  <a:pt x="894" y="6101"/>
                  <a:pt x="884" y="6115"/>
                  <a:pt x="875" y="6128"/>
                </a:cubicBezTo>
                <a:lnTo>
                  <a:pt x="852" y="6104"/>
                </a:lnTo>
                <a:cubicBezTo>
                  <a:pt x="867" y="6092"/>
                  <a:pt x="882" y="6083"/>
                  <a:pt x="899" y="6083"/>
                </a:cubicBezTo>
                <a:close/>
                <a:moveTo>
                  <a:pt x="10866" y="6126"/>
                </a:moveTo>
                <a:lnTo>
                  <a:pt x="10980" y="6247"/>
                </a:lnTo>
                <a:lnTo>
                  <a:pt x="10984" y="6252"/>
                </a:lnTo>
                <a:cubicBezTo>
                  <a:pt x="10973" y="6265"/>
                  <a:pt x="10964" y="6287"/>
                  <a:pt x="10955" y="6308"/>
                </a:cubicBezTo>
                <a:cubicBezTo>
                  <a:pt x="10942" y="6341"/>
                  <a:pt x="10928" y="6373"/>
                  <a:pt x="10908" y="6376"/>
                </a:cubicBezTo>
                <a:cubicBezTo>
                  <a:pt x="10897" y="6352"/>
                  <a:pt x="10875" y="6230"/>
                  <a:pt x="10874" y="6205"/>
                </a:cubicBezTo>
                <a:cubicBezTo>
                  <a:pt x="10874" y="6203"/>
                  <a:pt x="10874" y="6197"/>
                  <a:pt x="10875" y="6193"/>
                </a:cubicBezTo>
                <a:cubicBezTo>
                  <a:pt x="10876" y="6184"/>
                  <a:pt x="10878" y="6174"/>
                  <a:pt x="10878" y="6163"/>
                </a:cubicBezTo>
                <a:cubicBezTo>
                  <a:pt x="10878" y="6156"/>
                  <a:pt x="10876" y="6147"/>
                  <a:pt x="10873" y="6141"/>
                </a:cubicBezTo>
                <a:cubicBezTo>
                  <a:pt x="10870" y="6136"/>
                  <a:pt x="10868" y="6131"/>
                  <a:pt x="10866" y="6126"/>
                </a:cubicBezTo>
                <a:close/>
                <a:moveTo>
                  <a:pt x="817" y="6134"/>
                </a:moveTo>
                <a:lnTo>
                  <a:pt x="831" y="6149"/>
                </a:lnTo>
                <a:lnTo>
                  <a:pt x="850" y="6169"/>
                </a:lnTo>
                <a:cubicBezTo>
                  <a:pt x="847" y="6174"/>
                  <a:pt x="844" y="6180"/>
                  <a:pt x="841" y="6186"/>
                </a:cubicBezTo>
                <a:cubicBezTo>
                  <a:pt x="833" y="6175"/>
                  <a:pt x="827" y="6168"/>
                  <a:pt x="821" y="6162"/>
                </a:cubicBezTo>
                <a:cubicBezTo>
                  <a:pt x="818" y="6159"/>
                  <a:pt x="815" y="6156"/>
                  <a:pt x="811" y="6152"/>
                </a:cubicBezTo>
                <a:lnTo>
                  <a:pt x="811" y="6138"/>
                </a:lnTo>
                <a:cubicBezTo>
                  <a:pt x="813" y="6136"/>
                  <a:pt x="815" y="6136"/>
                  <a:pt x="817" y="6134"/>
                </a:cubicBezTo>
                <a:close/>
                <a:moveTo>
                  <a:pt x="14687" y="6137"/>
                </a:moveTo>
                <a:lnTo>
                  <a:pt x="14668" y="6203"/>
                </a:lnTo>
                <a:lnTo>
                  <a:pt x="14406" y="7131"/>
                </a:lnTo>
                <a:cubicBezTo>
                  <a:pt x="14404" y="7130"/>
                  <a:pt x="14403" y="7125"/>
                  <a:pt x="14400" y="7125"/>
                </a:cubicBezTo>
                <a:cubicBezTo>
                  <a:pt x="14381" y="7125"/>
                  <a:pt x="14366" y="7156"/>
                  <a:pt x="14366" y="7194"/>
                </a:cubicBezTo>
                <a:cubicBezTo>
                  <a:pt x="14366" y="7213"/>
                  <a:pt x="14369" y="7230"/>
                  <a:pt x="14376" y="7242"/>
                </a:cubicBezTo>
                <a:lnTo>
                  <a:pt x="14295" y="7527"/>
                </a:lnTo>
                <a:cubicBezTo>
                  <a:pt x="14283" y="7511"/>
                  <a:pt x="14269" y="7498"/>
                  <a:pt x="14253" y="7498"/>
                </a:cubicBezTo>
                <a:cubicBezTo>
                  <a:pt x="14213" y="7498"/>
                  <a:pt x="14180" y="7565"/>
                  <a:pt x="14180" y="7646"/>
                </a:cubicBezTo>
                <a:cubicBezTo>
                  <a:pt x="14180" y="7707"/>
                  <a:pt x="14197" y="7758"/>
                  <a:pt x="14223" y="7782"/>
                </a:cubicBezTo>
                <a:lnTo>
                  <a:pt x="14085" y="8273"/>
                </a:lnTo>
                <a:cubicBezTo>
                  <a:pt x="14083" y="8195"/>
                  <a:pt x="14051" y="8132"/>
                  <a:pt x="14011" y="8132"/>
                </a:cubicBezTo>
                <a:cubicBezTo>
                  <a:pt x="13999" y="8132"/>
                  <a:pt x="13987" y="8140"/>
                  <a:pt x="13977" y="8151"/>
                </a:cubicBezTo>
                <a:cubicBezTo>
                  <a:pt x="13948" y="8112"/>
                  <a:pt x="13931" y="8089"/>
                  <a:pt x="13891" y="8032"/>
                </a:cubicBezTo>
                <a:cubicBezTo>
                  <a:pt x="13891" y="8026"/>
                  <a:pt x="13894" y="8022"/>
                  <a:pt x="13894" y="8015"/>
                </a:cubicBezTo>
                <a:cubicBezTo>
                  <a:pt x="13894" y="7977"/>
                  <a:pt x="13879" y="7946"/>
                  <a:pt x="13860" y="7946"/>
                </a:cubicBezTo>
                <a:cubicBezTo>
                  <a:pt x="13853" y="7946"/>
                  <a:pt x="13846" y="7954"/>
                  <a:pt x="13841" y="7962"/>
                </a:cubicBezTo>
                <a:cubicBezTo>
                  <a:pt x="13784" y="7883"/>
                  <a:pt x="13772" y="7867"/>
                  <a:pt x="13727" y="7804"/>
                </a:cubicBezTo>
                <a:cubicBezTo>
                  <a:pt x="13733" y="7787"/>
                  <a:pt x="13738" y="7769"/>
                  <a:pt x="13738" y="7747"/>
                </a:cubicBezTo>
                <a:cubicBezTo>
                  <a:pt x="13738" y="7692"/>
                  <a:pt x="13717" y="7647"/>
                  <a:pt x="13689" y="7647"/>
                </a:cubicBezTo>
                <a:cubicBezTo>
                  <a:pt x="13672" y="7647"/>
                  <a:pt x="13659" y="7669"/>
                  <a:pt x="13650" y="7698"/>
                </a:cubicBezTo>
                <a:cubicBezTo>
                  <a:pt x="13637" y="7680"/>
                  <a:pt x="13591" y="7616"/>
                  <a:pt x="13591" y="7616"/>
                </a:cubicBezTo>
                <a:lnTo>
                  <a:pt x="13505" y="7496"/>
                </a:lnTo>
                <a:cubicBezTo>
                  <a:pt x="13507" y="7484"/>
                  <a:pt x="13509" y="7473"/>
                  <a:pt x="13509" y="7460"/>
                </a:cubicBezTo>
                <a:cubicBezTo>
                  <a:pt x="13509" y="7378"/>
                  <a:pt x="13475" y="7312"/>
                  <a:pt x="13435" y="7312"/>
                </a:cubicBezTo>
                <a:cubicBezTo>
                  <a:pt x="13419" y="7312"/>
                  <a:pt x="13405" y="7324"/>
                  <a:pt x="13393" y="7341"/>
                </a:cubicBezTo>
                <a:lnTo>
                  <a:pt x="13295" y="7204"/>
                </a:lnTo>
                <a:lnTo>
                  <a:pt x="13500" y="7049"/>
                </a:lnTo>
                <a:cubicBezTo>
                  <a:pt x="13506" y="7064"/>
                  <a:pt x="13515" y="7075"/>
                  <a:pt x="13525" y="7075"/>
                </a:cubicBezTo>
                <a:cubicBezTo>
                  <a:pt x="13544" y="7075"/>
                  <a:pt x="13559" y="7045"/>
                  <a:pt x="13559" y="7007"/>
                </a:cubicBezTo>
                <a:cubicBezTo>
                  <a:pt x="13559" y="7007"/>
                  <a:pt x="13559" y="7006"/>
                  <a:pt x="13559" y="7005"/>
                </a:cubicBezTo>
                <a:lnTo>
                  <a:pt x="13666" y="6924"/>
                </a:lnTo>
                <a:cubicBezTo>
                  <a:pt x="13674" y="6959"/>
                  <a:pt x="13688" y="6986"/>
                  <a:pt x="13708" y="6986"/>
                </a:cubicBezTo>
                <a:cubicBezTo>
                  <a:pt x="13735" y="6986"/>
                  <a:pt x="13757" y="6943"/>
                  <a:pt x="13757" y="6889"/>
                </a:cubicBezTo>
                <a:cubicBezTo>
                  <a:pt x="13757" y="6877"/>
                  <a:pt x="13753" y="6870"/>
                  <a:pt x="13751" y="6859"/>
                </a:cubicBezTo>
                <a:lnTo>
                  <a:pt x="13864" y="6774"/>
                </a:lnTo>
                <a:cubicBezTo>
                  <a:pt x="13877" y="6805"/>
                  <a:pt x="13897" y="6824"/>
                  <a:pt x="13918" y="6824"/>
                </a:cubicBezTo>
                <a:cubicBezTo>
                  <a:pt x="13959" y="6824"/>
                  <a:pt x="13992" y="6759"/>
                  <a:pt x="13992" y="6678"/>
                </a:cubicBezTo>
                <a:cubicBezTo>
                  <a:pt x="13992" y="6677"/>
                  <a:pt x="13992" y="6677"/>
                  <a:pt x="13992" y="6676"/>
                </a:cubicBezTo>
                <a:lnTo>
                  <a:pt x="14061" y="6625"/>
                </a:lnTo>
                <a:lnTo>
                  <a:pt x="14223" y="6503"/>
                </a:lnTo>
                <a:lnTo>
                  <a:pt x="14430" y="6339"/>
                </a:lnTo>
                <a:cubicBezTo>
                  <a:pt x="14436" y="6355"/>
                  <a:pt x="14445" y="6366"/>
                  <a:pt x="14456" y="6366"/>
                </a:cubicBezTo>
                <a:cubicBezTo>
                  <a:pt x="14475" y="6366"/>
                  <a:pt x="14489" y="6336"/>
                  <a:pt x="14489" y="6299"/>
                </a:cubicBezTo>
                <a:cubicBezTo>
                  <a:pt x="14489" y="6296"/>
                  <a:pt x="14488" y="6295"/>
                  <a:pt x="14488" y="6293"/>
                </a:cubicBezTo>
                <a:lnTo>
                  <a:pt x="14687" y="6137"/>
                </a:lnTo>
                <a:close/>
                <a:moveTo>
                  <a:pt x="4617" y="6158"/>
                </a:moveTo>
                <a:cubicBezTo>
                  <a:pt x="4617" y="6162"/>
                  <a:pt x="4615" y="6165"/>
                  <a:pt x="4615" y="6169"/>
                </a:cubicBezTo>
                <a:cubicBezTo>
                  <a:pt x="4615" y="6187"/>
                  <a:pt x="4620" y="6200"/>
                  <a:pt x="4627" y="6209"/>
                </a:cubicBezTo>
                <a:lnTo>
                  <a:pt x="4555" y="6467"/>
                </a:lnTo>
                <a:cubicBezTo>
                  <a:pt x="4550" y="6461"/>
                  <a:pt x="4545" y="6454"/>
                  <a:pt x="4539" y="6454"/>
                </a:cubicBezTo>
                <a:cubicBezTo>
                  <a:pt x="4520" y="6454"/>
                  <a:pt x="4503" y="6486"/>
                  <a:pt x="4503" y="6526"/>
                </a:cubicBezTo>
                <a:cubicBezTo>
                  <a:pt x="4503" y="6552"/>
                  <a:pt x="4511" y="6570"/>
                  <a:pt x="4521" y="6583"/>
                </a:cubicBezTo>
                <a:lnTo>
                  <a:pt x="4439" y="6875"/>
                </a:lnTo>
                <a:cubicBezTo>
                  <a:pt x="4434" y="6848"/>
                  <a:pt x="4424" y="6827"/>
                  <a:pt x="4409" y="6827"/>
                </a:cubicBezTo>
                <a:cubicBezTo>
                  <a:pt x="4389" y="6827"/>
                  <a:pt x="4373" y="6859"/>
                  <a:pt x="4373" y="6899"/>
                </a:cubicBezTo>
                <a:cubicBezTo>
                  <a:pt x="4373" y="6939"/>
                  <a:pt x="4389" y="6971"/>
                  <a:pt x="4409" y="6971"/>
                </a:cubicBezTo>
                <a:cubicBezTo>
                  <a:pt x="4411" y="6971"/>
                  <a:pt x="4412" y="6968"/>
                  <a:pt x="4413" y="6968"/>
                </a:cubicBezTo>
                <a:lnTo>
                  <a:pt x="4332" y="7256"/>
                </a:lnTo>
                <a:cubicBezTo>
                  <a:pt x="4325" y="7248"/>
                  <a:pt x="4319" y="7237"/>
                  <a:pt x="4311" y="7237"/>
                </a:cubicBezTo>
                <a:cubicBezTo>
                  <a:pt x="4284" y="7237"/>
                  <a:pt x="4262" y="7282"/>
                  <a:pt x="4262" y="7336"/>
                </a:cubicBezTo>
                <a:cubicBezTo>
                  <a:pt x="4262" y="7373"/>
                  <a:pt x="4273" y="7399"/>
                  <a:pt x="4288" y="7415"/>
                </a:cubicBezTo>
                <a:lnTo>
                  <a:pt x="4177" y="7809"/>
                </a:lnTo>
                <a:cubicBezTo>
                  <a:pt x="4171" y="7806"/>
                  <a:pt x="4168" y="7797"/>
                  <a:pt x="4162" y="7797"/>
                </a:cubicBezTo>
                <a:cubicBezTo>
                  <a:pt x="4135" y="7797"/>
                  <a:pt x="4113" y="7841"/>
                  <a:pt x="4113" y="7896"/>
                </a:cubicBezTo>
                <a:cubicBezTo>
                  <a:pt x="4113" y="7927"/>
                  <a:pt x="4121" y="7950"/>
                  <a:pt x="4132" y="7968"/>
                </a:cubicBezTo>
                <a:lnTo>
                  <a:pt x="4091" y="8114"/>
                </a:lnTo>
                <a:cubicBezTo>
                  <a:pt x="4084" y="8106"/>
                  <a:pt x="4078" y="8095"/>
                  <a:pt x="4069" y="8095"/>
                </a:cubicBezTo>
                <a:cubicBezTo>
                  <a:pt x="4042" y="8095"/>
                  <a:pt x="4020" y="8140"/>
                  <a:pt x="4020" y="8194"/>
                </a:cubicBezTo>
                <a:cubicBezTo>
                  <a:pt x="4020" y="8230"/>
                  <a:pt x="4031" y="8257"/>
                  <a:pt x="4046" y="8273"/>
                </a:cubicBezTo>
                <a:lnTo>
                  <a:pt x="4041" y="8290"/>
                </a:lnTo>
                <a:lnTo>
                  <a:pt x="3846" y="8018"/>
                </a:lnTo>
                <a:lnTo>
                  <a:pt x="3294" y="7251"/>
                </a:lnTo>
                <a:cubicBezTo>
                  <a:pt x="3301" y="7224"/>
                  <a:pt x="3305" y="7195"/>
                  <a:pt x="3307" y="7164"/>
                </a:cubicBezTo>
                <a:lnTo>
                  <a:pt x="3707" y="6861"/>
                </a:lnTo>
                <a:cubicBezTo>
                  <a:pt x="3715" y="6925"/>
                  <a:pt x="3743" y="6974"/>
                  <a:pt x="3777" y="6974"/>
                </a:cubicBezTo>
                <a:cubicBezTo>
                  <a:pt x="3818" y="6974"/>
                  <a:pt x="3851" y="6907"/>
                  <a:pt x="3851" y="6826"/>
                </a:cubicBezTo>
                <a:cubicBezTo>
                  <a:pt x="3851" y="6801"/>
                  <a:pt x="3847" y="6779"/>
                  <a:pt x="3842" y="6759"/>
                </a:cubicBezTo>
                <a:lnTo>
                  <a:pt x="4088" y="6574"/>
                </a:lnTo>
                <a:cubicBezTo>
                  <a:pt x="4097" y="6597"/>
                  <a:pt x="4109" y="6613"/>
                  <a:pt x="4125" y="6613"/>
                </a:cubicBezTo>
                <a:cubicBezTo>
                  <a:pt x="4152" y="6613"/>
                  <a:pt x="4174" y="6570"/>
                  <a:pt x="4174" y="6516"/>
                </a:cubicBezTo>
                <a:cubicBezTo>
                  <a:pt x="4174" y="6513"/>
                  <a:pt x="4173" y="6511"/>
                  <a:pt x="4173" y="6509"/>
                </a:cubicBezTo>
                <a:lnTo>
                  <a:pt x="4185" y="6499"/>
                </a:lnTo>
                <a:cubicBezTo>
                  <a:pt x="4185" y="6499"/>
                  <a:pt x="4252" y="6446"/>
                  <a:pt x="4288" y="6418"/>
                </a:cubicBezTo>
                <a:cubicBezTo>
                  <a:pt x="4295" y="6436"/>
                  <a:pt x="4304" y="6449"/>
                  <a:pt x="4316" y="6449"/>
                </a:cubicBezTo>
                <a:cubicBezTo>
                  <a:pt x="4336" y="6449"/>
                  <a:pt x="4352" y="6417"/>
                  <a:pt x="4352" y="6377"/>
                </a:cubicBezTo>
                <a:cubicBezTo>
                  <a:pt x="4352" y="6374"/>
                  <a:pt x="4351" y="6372"/>
                  <a:pt x="4350" y="6369"/>
                </a:cubicBezTo>
                <a:cubicBezTo>
                  <a:pt x="4474" y="6271"/>
                  <a:pt x="4597" y="6174"/>
                  <a:pt x="4617" y="6158"/>
                </a:cubicBezTo>
                <a:close/>
                <a:moveTo>
                  <a:pt x="14713" y="6162"/>
                </a:moveTo>
                <a:cubicBezTo>
                  <a:pt x="14713" y="6162"/>
                  <a:pt x="14738" y="6407"/>
                  <a:pt x="14747" y="6493"/>
                </a:cubicBezTo>
                <a:cubicBezTo>
                  <a:pt x="14721" y="6497"/>
                  <a:pt x="14701" y="6538"/>
                  <a:pt x="14701" y="6590"/>
                </a:cubicBezTo>
                <a:cubicBezTo>
                  <a:pt x="14701" y="6645"/>
                  <a:pt x="14723" y="6688"/>
                  <a:pt x="14750" y="6688"/>
                </a:cubicBezTo>
                <a:cubicBezTo>
                  <a:pt x="14756" y="6688"/>
                  <a:pt x="14759" y="6680"/>
                  <a:pt x="14765" y="6676"/>
                </a:cubicBezTo>
                <a:cubicBezTo>
                  <a:pt x="14779" y="6817"/>
                  <a:pt x="14785" y="6874"/>
                  <a:pt x="14803" y="7061"/>
                </a:cubicBezTo>
                <a:cubicBezTo>
                  <a:pt x="14776" y="7083"/>
                  <a:pt x="14756" y="7136"/>
                  <a:pt x="14756" y="7199"/>
                </a:cubicBezTo>
                <a:cubicBezTo>
                  <a:pt x="14756" y="7280"/>
                  <a:pt x="14789" y="7347"/>
                  <a:pt x="14830" y="7347"/>
                </a:cubicBezTo>
                <a:cubicBezTo>
                  <a:pt x="14831" y="7347"/>
                  <a:pt x="14831" y="7346"/>
                  <a:pt x="14832" y="7346"/>
                </a:cubicBezTo>
                <a:cubicBezTo>
                  <a:pt x="14849" y="7515"/>
                  <a:pt x="14852" y="7548"/>
                  <a:pt x="14866" y="7688"/>
                </a:cubicBezTo>
                <a:cubicBezTo>
                  <a:pt x="14865" y="7688"/>
                  <a:pt x="14863" y="7685"/>
                  <a:pt x="14862" y="7685"/>
                </a:cubicBezTo>
                <a:cubicBezTo>
                  <a:pt x="14834" y="7685"/>
                  <a:pt x="14812" y="7729"/>
                  <a:pt x="14812" y="7784"/>
                </a:cubicBezTo>
                <a:cubicBezTo>
                  <a:pt x="14812" y="7838"/>
                  <a:pt x="14834" y="7882"/>
                  <a:pt x="14862" y="7882"/>
                </a:cubicBezTo>
                <a:cubicBezTo>
                  <a:pt x="14870" y="7882"/>
                  <a:pt x="14877" y="7872"/>
                  <a:pt x="14884" y="7864"/>
                </a:cubicBezTo>
                <a:cubicBezTo>
                  <a:pt x="14893" y="7954"/>
                  <a:pt x="14907" y="8100"/>
                  <a:pt x="14911" y="8139"/>
                </a:cubicBezTo>
                <a:cubicBezTo>
                  <a:pt x="14908" y="8138"/>
                  <a:pt x="14906" y="8132"/>
                  <a:pt x="14902" y="8132"/>
                </a:cubicBezTo>
                <a:cubicBezTo>
                  <a:pt x="14884" y="8132"/>
                  <a:pt x="14868" y="8163"/>
                  <a:pt x="14868" y="8201"/>
                </a:cubicBezTo>
                <a:cubicBezTo>
                  <a:pt x="14868" y="8239"/>
                  <a:pt x="14884" y="8269"/>
                  <a:pt x="14902" y="8269"/>
                </a:cubicBezTo>
                <a:cubicBezTo>
                  <a:pt x="14910" y="8269"/>
                  <a:pt x="14917" y="8262"/>
                  <a:pt x="14923" y="8252"/>
                </a:cubicBezTo>
                <a:cubicBezTo>
                  <a:pt x="14923" y="8255"/>
                  <a:pt x="14928" y="8307"/>
                  <a:pt x="14928" y="8307"/>
                </a:cubicBezTo>
                <a:cubicBezTo>
                  <a:pt x="14926" y="8320"/>
                  <a:pt x="14923" y="8332"/>
                  <a:pt x="14920" y="8343"/>
                </a:cubicBezTo>
                <a:cubicBezTo>
                  <a:pt x="14918" y="8353"/>
                  <a:pt x="14917" y="8362"/>
                  <a:pt x="14915" y="8371"/>
                </a:cubicBezTo>
                <a:cubicBezTo>
                  <a:pt x="14909" y="8392"/>
                  <a:pt x="14903" y="8412"/>
                  <a:pt x="14897" y="8431"/>
                </a:cubicBezTo>
                <a:cubicBezTo>
                  <a:pt x="14894" y="8440"/>
                  <a:pt x="14891" y="8447"/>
                  <a:pt x="14887" y="8455"/>
                </a:cubicBezTo>
                <a:cubicBezTo>
                  <a:pt x="14884" y="8465"/>
                  <a:pt x="14880" y="8474"/>
                  <a:pt x="14876" y="8483"/>
                </a:cubicBezTo>
                <a:cubicBezTo>
                  <a:pt x="14873" y="8491"/>
                  <a:pt x="14868" y="8499"/>
                  <a:pt x="14865" y="8507"/>
                </a:cubicBezTo>
                <a:cubicBezTo>
                  <a:pt x="14861" y="8514"/>
                  <a:pt x="14857" y="8520"/>
                  <a:pt x="14854" y="8526"/>
                </a:cubicBezTo>
                <a:lnTo>
                  <a:pt x="14808" y="8514"/>
                </a:lnTo>
                <a:cubicBezTo>
                  <a:pt x="14801" y="8446"/>
                  <a:pt x="14773" y="8394"/>
                  <a:pt x="14737" y="8394"/>
                </a:cubicBezTo>
                <a:cubicBezTo>
                  <a:pt x="14709" y="8394"/>
                  <a:pt x="14685" y="8428"/>
                  <a:pt x="14673" y="8475"/>
                </a:cubicBezTo>
                <a:lnTo>
                  <a:pt x="14275" y="8361"/>
                </a:lnTo>
                <a:cubicBezTo>
                  <a:pt x="14273" y="8360"/>
                  <a:pt x="14272" y="8356"/>
                  <a:pt x="14270" y="8356"/>
                </a:cubicBezTo>
                <a:cubicBezTo>
                  <a:pt x="14269" y="8356"/>
                  <a:pt x="14268" y="8358"/>
                  <a:pt x="14267" y="8359"/>
                </a:cubicBezTo>
                <a:lnTo>
                  <a:pt x="14107" y="8313"/>
                </a:lnTo>
                <a:lnTo>
                  <a:pt x="14253" y="7794"/>
                </a:lnTo>
                <a:cubicBezTo>
                  <a:pt x="14294" y="7794"/>
                  <a:pt x="14327" y="7728"/>
                  <a:pt x="14327" y="7646"/>
                </a:cubicBezTo>
                <a:cubicBezTo>
                  <a:pt x="14327" y="7619"/>
                  <a:pt x="14323" y="7595"/>
                  <a:pt x="14316" y="7573"/>
                </a:cubicBezTo>
                <a:lnTo>
                  <a:pt x="14394" y="7298"/>
                </a:lnTo>
                <a:lnTo>
                  <a:pt x="14405" y="7257"/>
                </a:lnTo>
                <a:cubicBezTo>
                  <a:pt x="14421" y="7252"/>
                  <a:pt x="14434" y="7228"/>
                  <a:pt x="14434" y="7194"/>
                </a:cubicBezTo>
                <a:cubicBezTo>
                  <a:pt x="14434" y="7185"/>
                  <a:pt x="14430" y="7179"/>
                  <a:pt x="14429" y="7172"/>
                </a:cubicBezTo>
                <a:lnTo>
                  <a:pt x="14713" y="6162"/>
                </a:lnTo>
                <a:close/>
                <a:moveTo>
                  <a:pt x="14744" y="6165"/>
                </a:moveTo>
                <a:cubicBezTo>
                  <a:pt x="14745" y="6166"/>
                  <a:pt x="14746" y="6167"/>
                  <a:pt x="14747" y="6168"/>
                </a:cubicBezTo>
                <a:cubicBezTo>
                  <a:pt x="14747" y="6170"/>
                  <a:pt x="14748" y="6171"/>
                  <a:pt x="14749" y="6173"/>
                </a:cubicBezTo>
                <a:cubicBezTo>
                  <a:pt x="14750" y="6176"/>
                  <a:pt x="14752" y="6179"/>
                  <a:pt x="14754" y="6182"/>
                </a:cubicBezTo>
                <a:cubicBezTo>
                  <a:pt x="14754" y="6182"/>
                  <a:pt x="14754" y="6183"/>
                  <a:pt x="14755" y="6183"/>
                </a:cubicBezTo>
                <a:cubicBezTo>
                  <a:pt x="14751" y="6189"/>
                  <a:pt x="14751" y="6197"/>
                  <a:pt x="14748" y="6204"/>
                </a:cubicBezTo>
                <a:lnTo>
                  <a:pt x="14744" y="6165"/>
                </a:lnTo>
                <a:close/>
                <a:moveTo>
                  <a:pt x="1965" y="6170"/>
                </a:moveTo>
                <a:lnTo>
                  <a:pt x="1970" y="6187"/>
                </a:lnTo>
                <a:cubicBezTo>
                  <a:pt x="1970" y="6191"/>
                  <a:pt x="1971" y="6195"/>
                  <a:pt x="1971" y="6198"/>
                </a:cubicBezTo>
                <a:cubicBezTo>
                  <a:pt x="1972" y="6209"/>
                  <a:pt x="1972" y="6219"/>
                  <a:pt x="1973" y="6226"/>
                </a:cubicBezTo>
                <a:cubicBezTo>
                  <a:pt x="1968" y="6211"/>
                  <a:pt x="1966" y="6193"/>
                  <a:pt x="1963" y="6175"/>
                </a:cubicBezTo>
                <a:cubicBezTo>
                  <a:pt x="1964" y="6174"/>
                  <a:pt x="1964" y="6172"/>
                  <a:pt x="1965" y="6170"/>
                </a:cubicBezTo>
                <a:close/>
                <a:moveTo>
                  <a:pt x="4670" y="6177"/>
                </a:moveTo>
                <a:cubicBezTo>
                  <a:pt x="4673" y="6181"/>
                  <a:pt x="4676" y="6184"/>
                  <a:pt x="4678" y="6187"/>
                </a:cubicBezTo>
                <a:lnTo>
                  <a:pt x="4706" y="6469"/>
                </a:lnTo>
                <a:cubicBezTo>
                  <a:pt x="4701" y="6462"/>
                  <a:pt x="4695" y="6454"/>
                  <a:pt x="4688" y="6454"/>
                </a:cubicBezTo>
                <a:cubicBezTo>
                  <a:pt x="4668" y="6454"/>
                  <a:pt x="4652" y="6486"/>
                  <a:pt x="4652" y="6526"/>
                </a:cubicBezTo>
                <a:cubicBezTo>
                  <a:pt x="4652" y="6566"/>
                  <a:pt x="4668" y="6597"/>
                  <a:pt x="4688" y="6597"/>
                </a:cubicBezTo>
                <a:cubicBezTo>
                  <a:pt x="4700" y="6597"/>
                  <a:pt x="4710" y="6584"/>
                  <a:pt x="4716" y="6566"/>
                </a:cubicBezTo>
                <a:lnTo>
                  <a:pt x="4744" y="6842"/>
                </a:lnTo>
                <a:cubicBezTo>
                  <a:pt x="4738" y="6835"/>
                  <a:pt x="4733" y="6827"/>
                  <a:pt x="4726" y="6827"/>
                </a:cubicBezTo>
                <a:cubicBezTo>
                  <a:pt x="4706" y="6827"/>
                  <a:pt x="4689" y="6859"/>
                  <a:pt x="4689" y="6899"/>
                </a:cubicBezTo>
                <a:cubicBezTo>
                  <a:pt x="4689" y="6939"/>
                  <a:pt x="4706" y="6970"/>
                  <a:pt x="4726" y="6970"/>
                </a:cubicBezTo>
                <a:cubicBezTo>
                  <a:pt x="4738" y="6970"/>
                  <a:pt x="4747" y="6957"/>
                  <a:pt x="4753" y="6939"/>
                </a:cubicBezTo>
                <a:lnTo>
                  <a:pt x="4806" y="7469"/>
                </a:lnTo>
                <a:cubicBezTo>
                  <a:pt x="4794" y="7480"/>
                  <a:pt x="4789" y="7507"/>
                  <a:pt x="4787" y="7525"/>
                </a:cubicBezTo>
                <a:cubicBezTo>
                  <a:pt x="4784" y="7543"/>
                  <a:pt x="4781" y="7553"/>
                  <a:pt x="4778" y="7557"/>
                </a:cubicBezTo>
                <a:cubicBezTo>
                  <a:pt x="4768" y="7565"/>
                  <a:pt x="4764" y="7565"/>
                  <a:pt x="4756" y="7566"/>
                </a:cubicBezTo>
                <a:cubicBezTo>
                  <a:pt x="4749" y="7566"/>
                  <a:pt x="4740" y="7567"/>
                  <a:pt x="4727" y="7575"/>
                </a:cubicBezTo>
                <a:cubicBezTo>
                  <a:pt x="4651" y="7575"/>
                  <a:pt x="4602" y="7574"/>
                  <a:pt x="4564" y="7499"/>
                </a:cubicBezTo>
                <a:cubicBezTo>
                  <a:pt x="4561" y="7495"/>
                  <a:pt x="4558" y="7492"/>
                  <a:pt x="4555" y="7491"/>
                </a:cubicBezTo>
                <a:cubicBezTo>
                  <a:pt x="4555" y="7491"/>
                  <a:pt x="4555" y="7491"/>
                  <a:pt x="4555" y="7491"/>
                </a:cubicBezTo>
                <a:cubicBezTo>
                  <a:pt x="4554" y="7491"/>
                  <a:pt x="4554" y="7490"/>
                  <a:pt x="4554" y="7490"/>
                </a:cubicBezTo>
                <a:cubicBezTo>
                  <a:pt x="4554" y="7490"/>
                  <a:pt x="4553" y="7490"/>
                  <a:pt x="4553" y="7490"/>
                </a:cubicBezTo>
                <a:cubicBezTo>
                  <a:pt x="4553" y="7490"/>
                  <a:pt x="4553" y="7490"/>
                  <a:pt x="4553" y="7490"/>
                </a:cubicBezTo>
                <a:lnTo>
                  <a:pt x="4451" y="7490"/>
                </a:lnTo>
                <a:cubicBezTo>
                  <a:pt x="4450" y="7489"/>
                  <a:pt x="4449" y="7487"/>
                  <a:pt x="4448" y="7485"/>
                </a:cubicBezTo>
                <a:cubicBezTo>
                  <a:pt x="4440" y="7475"/>
                  <a:pt x="4436" y="7464"/>
                  <a:pt x="4431" y="7449"/>
                </a:cubicBezTo>
                <a:cubicBezTo>
                  <a:pt x="4427" y="7440"/>
                  <a:pt x="4424" y="7431"/>
                  <a:pt x="4420" y="7421"/>
                </a:cubicBezTo>
                <a:cubicBezTo>
                  <a:pt x="4417" y="7415"/>
                  <a:pt x="4413" y="7411"/>
                  <a:pt x="4409" y="7411"/>
                </a:cubicBezTo>
                <a:cubicBezTo>
                  <a:pt x="4408" y="7407"/>
                  <a:pt x="4408" y="7403"/>
                  <a:pt x="4407" y="7399"/>
                </a:cubicBezTo>
                <a:cubicBezTo>
                  <a:pt x="4403" y="7387"/>
                  <a:pt x="4397" y="7382"/>
                  <a:pt x="4390" y="7385"/>
                </a:cubicBezTo>
                <a:cubicBezTo>
                  <a:pt x="4383" y="7389"/>
                  <a:pt x="4379" y="7401"/>
                  <a:pt x="4379" y="7414"/>
                </a:cubicBezTo>
                <a:lnTo>
                  <a:pt x="4379" y="7466"/>
                </a:lnTo>
                <a:cubicBezTo>
                  <a:pt x="4379" y="7482"/>
                  <a:pt x="4386" y="7495"/>
                  <a:pt x="4394" y="7495"/>
                </a:cubicBezTo>
                <a:cubicBezTo>
                  <a:pt x="4399" y="7495"/>
                  <a:pt x="4403" y="7490"/>
                  <a:pt x="4406" y="7483"/>
                </a:cubicBezTo>
                <a:cubicBezTo>
                  <a:pt x="4406" y="7484"/>
                  <a:pt x="4406" y="7485"/>
                  <a:pt x="4406" y="7485"/>
                </a:cubicBezTo>
                <a:cubicBezTo>
                  <a:pt x="4412" y="7502"/>
                  <a:pt x="4419" y="7518"/>
                  <a:pt x="4430" y="7534"/>
                </a:cubicBezTo>
                <a:cubicBezTo>
                  <a:pt x="4433" y="7539"/>
                  <a:pt x="4436" y="7543"/>
                  <a:pt x="4440" y="7547"/>
                </a:cubicBezTo>
                <a:cubicBezTo>
                  <a:pt x="4442" y="7550"/>
                  <a:pt x="4445" y="7551"/>
                  <a:pt x="4447" y="7551"/>
                </a:cubicBezTo>
                <a:lnTo>
                  <a:pt x="4507" y="7551"/>
                </a:lnTo>
                <a:cubicBezTo>
                  <a:pt x="4506" y="7558"/>
                  <a:pt x="4503" y="7563"/>
                  <a:pt x="4503" y="7571"/>
                </a:cubicBezTo>
                <a:cubicBezTo>
                  <a:pt x="4503" y="7610"/>
                  <a:pt x="4520" y="7643"/>
                  <a:pt x="4539" y="7643"/>
                </a:cubicBezTo>
                <a:cubicBezTo>
                  <a:pt x="4558" y="7643"/>
                  <a:pt x="4571" y="7615"/>
                  <a:pt x="4573" y="7580"/>
                </a:cubicBezTo>
                <a:cubicBezTo>
                  <a:pt x="4603" y="7615"/>
                  <a:pt x="4636" y="7632"/>
                  <a:pt x="4677" y="7635"/>
                </a:cubicBezTo>
                <a:cubicBezTo>
                  <a:pt x="4676" y="7636"/>
                  <a:pt x="4674" y="7637"/>
                  <a:pt x="4673" y="7638"/>
                </a:cubicBezTo>
                <a:cubicBezTo>
                  <a:pt x="4657" y="7657"/>
                  <a:pt x="4641" y="7677"/>
                  <a:pt x="4626" y="7699"/>
                </a:cubicBezTo>
                <a:cubicBezTo>
                  <a:pt x="4620" y="7694"/>
                  <a:pt x="4615" y="7685"/>
                  <a:pt x="4609" y="7685"/>
                </a:cubicBezTo>
                <a:cubicBezTo>
                  <a:pt x="4581" y="7685"/>
                  <a:pt x="4559" y="7729"/>
                  <a:pt x="4559" y="7784"/>
                </a:cubicBezTo>
                <a:cubicBezTo>
                  <a:pt x="4559" y="7792"/>
                  <a:pt x="4563" y="7798"/>
                  <a:pt x="4564" y="7806"/>
                </a:cubicBezTo>
                <a:cubicBezTo>
                  <a:pt x="4560" y="7815"/>
                  <a:pt x="4555" y="7820"/>
                  <a:pt x="4552" y="7829"/>
                </a:cubicBezTo>
                <a:cubicBezTo>
                  <a:pt x="4548" y="7838"/>
                  <a:pt x="4547" y="7850"/>
                  <a:pt x="4550" y="7861"/>
                </a:cubicBezTo>
                <a:cubicBezTo>
                  <a:pt x="4552" y="7871"/>
                  <a:pt x="4558" y="7877"/>
                  <a:pt x="4564" y="7877"/>
                </a:cubicBezTo>
                <a:lnTo>
                  <a:pt x="4595" y="7877"/>
                </a:lnTo>
                <a:cubicBezTo>
                  <a:pt x="4597" y="7877"/>
                  <a:pt x="4599" y="7876"/>
                  <a:pt x="4601" y="7875"/>
                </a:cubicBezTo>
                <a:cubicBezTo>
                  <a:pt x="4604" y="7876"/>
                  <a:pt x="4605" y="7882"/>
                  <a:pt x="4609" y="7882"/>
                </a:cubicBezTo>
                <a:cubicBezTo>
                  <a:pt x="4618" y="7882"/>
                  <a:pt x="4625" y="7872"/>
                  <a:pt x="4632" y="7863"/>
                </a:cubicBezTo>
                <a:cubicBezTo>
                  <a:pt x="4641" y="7882"/>
                  <a:pt x="4651" y="7890"/>
                  <a:pt x="4666" y="7890"/>
                </a:cubicBezTo>
                <a:cubicBezTo>
                  <a:pt x="4693" y="7890"/>
                  <a:pt x="4705" y="7865"/>
                  <a:pt x="4714" y="7848"/>
                </a:cubicBezTo>
                <a:cubicBezTo>
                  <a:pt x="4719" y="7838"/>
                  <a:pt x="4721" y="7835"/>
                  <a:pt x="4723" y="7835"/>
                </a:cubicBezTo>
                <a:cubicBezTo>
                  <a:pt x="4739" y="7835"/>
                  <a:pt x="4756" y="7812"/>
                  <a:pt x="4775" y="7787"/>
                </a:cubicBezTo>
                <a:cubicBezTo>
                  <a:pt x="4781" y="7780"/>
                  <a:pt x="4786" y="7772"/>
                  <a:pt x="4792" y="7765"/>
                </a:cubicBezTo>
                <a:cubicBezTo>
                  <a:pt x="4792" y="7768"/>
                  <a:pt x="4791" y="7770"/>
                  <a:pt x="4790" y="7772"/>
                </a:cubicBezTo>
                <a:cubicBezTo>
                  <a:pt x="4786" y="7781"/>
                  <a:pt x="4782" y="7792"/>
                  <a:pt x="4779" y="7805"/>
                </a:cubicBezTo>
                <a:cubicBezTo>
                  <a:pt x="4777" y="7814"/>
                  <a:pt x="4777" y="7825"/>
                  <a:pt x="4780" y="7834"/>
                </a:cubicBezTo>
                <a:cubicBezTo>
                  <a:pt x="4782" y="7843"/>
                  <a:pt x="4787" y="7848"/>
                  <a:pt x="4792" y="7848"/>
                </a:cubicBezTo>
                <a:lnTo>
                  <a:pt x="4824" y="7848"/>
                </a:lnTo>
                <a:cubicBezTo>
                  <a:pt x="4830" y="7867"/>
                  <a:pt x="4839" y="7881"/>
                  <a:pt x="4848" y="7889"/>
                </a:cubicBezTo>
                <a:lnTo>
                  <a:pt x="4853" y="7935"/>
                </a:lnTo>
                <a:lnTo>
                  <a:pt x="4855" y="7954"/>
                </a:lnTo>
                <a:cubicBezTo>
                  <a:pt x="4846" y="7962"/>
                  <a:pt x="4838" y="7976"/>
                  <a:pt x="4838" y="7997"/>
                </a:cubicBezTo>
                <a:cubicBezTo>
                  <a:pt x="4838" y="8005"/>
                  <a:pt x="4841" y="8010"/>
                  <a:pt x="4842" y="8017"/>
                </a:cubicBezTo>
                <a:cubicBezTo>
                  <a:pt x="4825" y="8048"/>
                  <a:pt x="4808" y="8088"/>
                  <a:pt x="4805" y="8134"/>
                </a:cubicBezTo>
                <a:cubicBezTo>
                  <a:pt x="4805" y="8145"/>
                  <a:pt x="4807" y="8155"/>
                  <a:pt x="4812" y="8162"/>
                </a:cubicBezTo>
                <a:cubicBezTo>
                  <a:pt x="4817" y="8168"/>
                  <a:pt x="4823" y="8168"/>
                  <a:pt x="4828" y="8163"/>
                </a:cubicBezTo>
                <a:cubicBezTo>
                  <a:pt x="4830" y="8160"/>
                  <a:pt x="4832" y="8157"/>
                  <a:pt x="4834" y="8155"/>
                </a:cubicBezTo>
                <a:cubicBezTo>
                  <a:pt x="4813" y="8264"/>
                  <a:pt x="4803" y="8409"/>
                  <a:pt x="4803" y="8497"/>
                </a:cubicBezTo>
                <a:cubicBezTo>
                  <a:pt x="4803" y="8505"/>
                  <a:pt x="4804" y="8513"/>
                  <a:pt x="4805" y="8521"/>
                </a:cubicBezTo>
                <a:lnTo>
                  <a:pt x="4492" y="8431"/>
                </a:lnTo>
                <a:lnTo>
                  <a:pt x="4070" y="8310"/>
                </a:lnTo>
                <a:lnTo>
                  <a:pt x="4076" y="8286"/>
                </a:lnTo>
                <a:cubicBezTo>
                  <a:pt x="4099" y="8279"/>
                  <a:pt x="4118" y="8243"/>
                  <a:pt x="4118" y="8194"/>
                </a:cubicBezTo>
                <a:cubicBezTo>
                  <a:pt x="4118" y="8182"/>
                  <a:pt x="4114" y="8173"/>
                  <a:pt x="4111" y="8162"/>
                </a:cubicBezTo>
                <a:lnTo>
                  <a:pt x="4159" y="7991"/>
                </a:lnTo>
                <a:cubicBezTo>
                  <a:pt x="4160" y="7992"/>
                  <a:pt x="4161" y="7994"/>
                  <a:pt x="4162" y="7994"/>
                </a:cubicBezTo>
                <a:cubicBezTo>
                  <a:pt x="4189" y="7994"/>
                  <a:pt x="4211" y="7950"/>
                  <a:pt x="4211" y="7896"/>
                </a:cubicBezTo>
                <a:cubicBezTo>
                  <a:pt x="4211" y="7876"/>
                  <a:pt x="4205" y="7861"/>
                  <a:pt x="4200" y="7846"/>
                </a:cubicBezTo>
                <a:lnTo>
                  <a:pt x="4318" y="7428"/>
                </a:lnTo>
                <a:cubicBezTo>
                  <a:pt x="4341" y="7421"/>
                  <a:pt x="4360" y="7385"/>
                  <a:pt x="4360" y="7336"/>
                </a:cubicBezTo>
                <a:cubicBezTo>
                  <a:pt x="4360" y="7323"/>
                  <a:pt x="4355" y="7315"/>
                  <a:pt x="4353" y="7304"/>
                </a:cubicBezTo>
                <a:lnTo>
                  <a:pt x="4555" y="6585"/>
                </a:lnTo>
                <a:cubicBezTo>
                  <a:pt x="4567" y="6573"/>
                  <a:pt x="4576" y="6554"/>
                  <a:pt x="4576" y="6526"/>
                </a:cubicBezTo>
                <a:cubicBezTo>
                  <a:pt x="4576" y="6523"/>
                  <a:pt x="4574" y="6522"/>
                  <a:pt x="4574" y="6519"/>
                </a:cubicBezTo>
                <a:lnTo>
                  <a:pt x="4670" y="6177"/>
                </a:lnTo>
                <a:close/>
                <a:moveTo>
                  <a:pt x="4712" y="6222"/>
                </a:moveTo>
                <a:cubicBezTo>
                  <a:pt x="4716" y="6225"/>
                  <a:pt x="4720" y="6228"/>
                  <a:pt x="4724" y="6231"/>
                </a:cubicBezTo>
                <a:cubicBezTo>
                  <a:pt x="4720" y="6232"/>
                  <a:pt x="4717" y="6235"/>
                  <a:pt x="4714" y="6240"/>
                </a:cubicBezTo>
                <a:lnTo>
                  <a:pt x="4712" y="6222"/>
                </a:lnTo>
                <a:close/>
                <a:moveTo>
                  <a:pt x="6153" y="6230"/>
                </a:moveTo>
                <a:cubicBezTo>
                  <a:pt x="6126" y="6230"/>
                  <a:pt x="6104" y="6274"/>
                  <a:pt x="6104" y="6329"/>
                </a:cubicBezTo>
                <a:cubicBezTo>
                  <a:pt x="6104" y="6383"/>
                  <a:pt x="6126" y="6427"/>
                  <a:pt x="6153" y="6427"/>
                </a:cubicBezTo>
                <a:cubicBezTo>
                  <a:pt x="6180" y="6427"/>
                  <a:pt x="6202" y="6383"/>
                  <a:pt x="6202" y="6329"/>
                </a:cubicBezTo>
                <a:cubicBezTo>
                  <a:pt x="6202" y="6274"/>
                  <a:pt x="6180" y="6230"/>
                  <a:pt x="6153" y="6230"/>
                </a:cubicBezTo>
                <a:close/>
                <a:moveTo>
                  <a:pt x="4740" y="6244"/>
                </a:moveTo>
                <a:cubicBezTo>
                  <a:pt x="4747" y="6249"/>
                  <a:pt x="4754" y="6255"/>
                  <a:pt x="4761" y="6260"/>
                </a:cubicBezTo>
                <a:cubicBezTo>
                  <a:pt x="4802" y="6333"/>
                  <a:pt x="4868" y="6448"/>
                  <a:pt x="4925" y="6548"/>
                </a:cubicBezTo>
                <a:cubicBezTo>
                  <a:pt x="4918" y="6561"/>
                  <a:pt x="4913" y="6579"/>
                  <a:pt x="4913" y="6601"/>
                </a:cubicBezTo>
                <a:cubicBezTo>
                  <a:pt x="4913" y="6640"/>
                  <a:pt x="4929" y="6672"/>
                  <a:pt x="4949" y="6672"/>
                </a:cubicBezTo>
                <a:cubicBezTo>
                  <a:pt x="4961" y="6672"/>
                  <a:pt x="4970" y="6657"/>
                  <a:pt x="4977" y="6639"/>
                </a:cubicBezTo>
                <a:cubicBezTo>
                  <a:pt x="5009" y="6695"/>
                  <a:pt x="5032" y="6736"/>
                  <a:pt x="5065" y="6793"/>
                </a:cubicBezTo>
                <a:cubicBezTo>
                  <a:pt x="5070" y="6801"/>
                  <a:pt x="5074" y="6809"/>
                  <a:pt x="5079" y="6817"/>
                </a:cubicBezTo>
                <a:cubicBezTo>
                  <a:pt x="5081" y="6820"/>
                  <a:pt x="5082" y="6823"/>
                  <a:pt x="5084" y="6826"/>
                </a:cubicBezTo>
                <a:cubicBezTo>
                  <a:pt x="5101" y="6855"/>
                  <a:pt x="5117" y="6884"/>
                  <a:pt x="5134" y="6913"/>
                </a:cubicBezTo>
                <a:cubicBezTo>
                  <a:pt x="5134" y="6914"/>
                  <a:pt x="5134" y="6915"/>
                  <a:pt x="5135" y="6915"/>
                </a:cubicBezTo>
                <a:cubicBezTo>
                  <a:pt x="5242" y="7101"/>
                  <a:pt x="5317" y="7232"/>
                  <a:pt x="5366" y="7316"/>
                </a:cubicBezTo>
                <a:cubicBezTo>
                  <a:pt x="5331" y="7328"/>
                  <a:pt x="5304" y="7386"/>
                  <a:pt x="5304" y="7460"/>
                </a:cubicBezTo>
                <a:cubicBezTo>
                  <a:pt x="5304" y="7507"/>
                  <a:pt x="5315" y="7548"/>
                  <a:pt x="5333" y="7575"/>
                </a:cubicBezTo>
                <a:lnTo>
                  <a:pt x="5245" y="7786"/>
                </a:lnTo>
                <a:lnTo>
                  <a:pt x="5185" y="7932"/>
                </a:lnTo>
                <a:lnTo>
                  <a:pt x="5183" y="7932"/>
                </a:lnTo>
                <a:cubicBezTo>
                  <a:pt x="5159" y="7903"/>
                  <a:pt x="5134" y="7891"/>
                  <a:pt x="5109" y="7878"/>
                </a:cubicBezTo>
                <a:cubicBezTo>
                  <a:pt x="5077" y="7862"/>
                  <a:pt x="5046" y="7847"/>
                  <a:pt x="5022" y="7797"/>
                </a:cubicBezTo>
                <a:cubicBezTo>
                  <a:pt x="5017" y="7787"/>
                  <a:pt x="5016" y="7776"/>
                  <a:pt x="5016" y="7754"/>
                </a:cubicBezTo>
                <a:cubicBezTo>
                  <a:pt x="5015" y="7732"/>
                  <a:pt x="5015" y="7706"/>
                  <a:pt x="5008" y="7677"/>
                </a:cubicBezTo>
                <a:cubicBezTo>
                  <a:pt x="5003" y="7657"/>
                  <a:pt x="4910" y="7498"/>
                  <a:pt x="4888" y="7498"/>
                </a:cubicBezTo>
                <a:lnTo>
                  <a:pt x="4871" y="7498"/>
                </a:lnTo>
                <a:cubicBezTo>
                  <a:pt x="4866" y="7498"/>
                  <a:pt x="4862" y="7504"/>
                  <a:pt x="4859" y="7511"/>
                </a:cubicBezTo>
                <a:cubicBezTo>
                  <a:pt x="4853" y="7497"/>
                  <a:pt x="4846" y="7484"/>
                  <a:pt x="4838" y="7475"/>
                </a:cubicBezTo>
                <a:lnTo>
                  <a:pt x="4835" y="7453"/>
                </a:lnTo>
                <a:lnTo>
                  <a:pt x="4824" y="7339"/>
                </a:lnTo>
                <a:cubicBezTo>
                  <a:pt x="4832" y="7349"/>
                  <a:pt x="4840" y="7360"/>
                  <a:pt x="4851" y="7360"/>
                </a:cubicBezTo>
                <a:cubicBezTo>
                  <a:pt x="4878" y="7360"/>
                  <a:pt x="4899" y="7316"/>
                  <a:pt x="4899" y="7262"/>
                </a:cubicBezTo>
                <a:cubicBezTo>
                  <a:pt x="4899" y="7207"/>
                  <a:pt x="4878" y="7162"/>
                  <a:pt x="4851" y="7163"/>
                </a:cubicBezTo>
                <a:cubicBezTo>
                  <a:pt x="4833" y="7163"/>
                  <a:pt x="4820" y="7185"/>
                  <a:pt x="4812" y="7213"/>
                </a:cubicBezTo>
                <a:lnTo>
                  <a:pt x="4720" y="6299"/>
                </a:lnTo>
                <a:cubicBezTo>
                  <a:pt x="4722" y="6301"/>
                  <a:pt x="4724" y="6304"/>
                  <a:pt x="4727" y="6304"/>
                </a:cubicBezTo>
                <a:cubicBezTo>
                  <a:pt x="4737" y="6304"/>
                  <a:pt x="4745" y="6288"/>
                  <a:pt x="4745" y="6267"/>
                </a:cubicBezTo>
                <a:cubicBezTo>
                  <a:pt x="4745" y="6258"/>
                  <a:pt x="4743" y="6250"/>
                  <a:pt x="4740" y="6244"/>
                </a:cubicBezTo>
                <a:close/>
                <a:moveTo>
                  <a:pt x="15345" y="6267"/>
                </a:moveTo>
                <a:cubicBezTo>
                  <a:pt x="15318" y="6267"/>
                  <a:pt x="15296" y="6312"/>
                  <a:pt x="15296" y="6366"/>
                </a:cubicBezTo>
                <a:cubicBezTo>
                  <a:pt x="15296" y="6421"/>
                  <a:pt x="15318" y="6464"/>
                  <a:pt x="15345" y="6464"/>
                </a:cubicBezTo>
                <a:cubicBezTo>
                  <a:pt x="15373" y="6464"/>
                  <a:pt x="15394" y="6421"/>
                  <a:pt x="15394" y="6366"/>
                </a:cubicBezTo>
                <a:cubicBezTo>
                  <a:pt x="15394" y="6312"/>
                  <a:pt x="15373" y="6267"/>
                  <a:pt x="15345" y="6267"/>
                </a:cubicBezTo>
                <a:close/>
                <a:moveTo>
                  <a:pt x="16763" y="6267"/>
                </a:moveTo>
                <a:cubicBezTo>
                  <a:pt x="16744" y="6267"/>
                  <a:pt x="16729" y="6298"/>
                  <a:pt x="16729" y="6336"/>
                </a:cubicBezTo>
                <a:cubicBezTo>
                  <a:pt x="16729" y="6374"/>
                  <a:pt x="16744" y="6404"/>
                  <a:pt x="16763" y="6404"/>
                </a:cubicBezTo>
                <a:cubicBezTo>
                  <a:pt x="16782" y="6404"/>
                  <a:pt x="16797" y="6374"/>
                  <a:pt x="16797" y="6336"/>
                </a:cubicBezTo>
                <a:cubicBezTo>
                  <a:pt x="16797" y="6298"/>
                  <a:pt x="16782" y="6267"/>
                  <a:pt x="16763" y="6267"/>
                </a:cubicBezTo>
                <a:close/>
                <a:moveTo>
                  <a:pt x="10823" y="6278"/>
                </a:moveTo>
                <a:cubicBezTo>
                  <a:pt x="10847" y="6278"/>
                  <a:pt x="10850" y="6291"/>
                  <a:pt x="10857" y="6343"/>
                </a:cubicBezTo>
                <a:cubicBezTo>
                  <a:pt x="10845" y="6362"/>
                  <a:pt x="10840" y="6395"/>
                  <a:pt x="10835" y="6423"/>
                </a:cubicBezTo>
                <a:cubicBezTo>
                  <a:pt x="10833" y="6419"/>
                  <a:pt x="10830" y="6415"/>
                  <a:pt x="10827" y="6414"/>
                </a:cubicBezTo>
                <a:cubicBezTo>
                  <a:pt x="10812" y="6408"/>
                  <a:pt x="10798" y="6386"/>
                  <a:pt x="10795" y="6376"/>
                </a:cubicBezTo>
                <a:cubicBezTo>
                  <a:pt x="10798" y="6354"/>
                  <a:pt x="10814" y="6290"/>
                  <a:pt x="10823" y="6278"/>
                </a:cubicBezTo>
                <a:close/>
                <a:moveTo>
                  <a:pt x="16391" y="6304"/>
                </a:moveTo>
                <a:cubicBezTo>
                  <a:pt x="16372" y="6304"/>
                  <a:pt x="16357" y="6336"/>
                  <a:pt x="16357" y="6373"/>
                </a:cubicBezTo>
                <a:cubicBezTo>
                  <a:pt x="16357" y="6411"/>
                  <a:pt x="16372" y="6441"/>
                  <a:pt x="16391" y="6441"/>
                </a:cubicBezTo>
                <a:cubicBezTo>
                  <a:pt x="16410" y="6441"/>
                  <a:pt x="16425" y="6411"/>
                  <a:pt x="16425" y="6373"/>
                </a:cubicBezTo>
                <a:cubicBezTo>
                  <a:pt x="16425" y="6336"/>
                  <a:pt x="16410" y="6304"/>
                  <a:pt x="16391" y="6304"/>
                </a:cubicBezTo>
                <a:close/>
                <a:moveTo>
                  <a:pt x="14825" y="6308"/>
                </a:moveTo>
                <a:cubicBezTo>
                  <a:pt x="14826" y="6310"/>
                  <a:pt x="14827" y="6312"/>
                  <a:pt x="14828" y="6314"/>
                </a:cubicBezTo>
                <a:cubicBezTo>
                  <a:pt x="14834" y="6324"/>
                  <a:pt x="14839" y="6335"/>
                  <a:pt x="14846" y="6346"/>
                </a:cubicBezTo>
                <a:cubicBezTo>
                  <a:pt x="14848" y="6349"/>
                  <a:pt x="14849" y="6352"/>
                  <a:pt x="14851" y="6355"/>
                </a:cubicBezTo>
                <a:cubicBezTo>
                  <a:pt x="14854" y="6361"/>
                  <a:pt x="14859" y="6368"/>
                  <a:pt x="14863" y="6376"/>
                </a:cubicBezTo>
                <a:cubicBezTo>
                  <a:pt x="14864" y="6378"/>
                  <a:pt x="14865" y="6380"/>
                  <a:pt x="14866" y="6383"/>
                </a:cubicBezTo>
                <a:cubicBezTo>
                  <a:pt x="14870" y="6390"/>
                  <a:pt x="14875" y="6397"/>
                  <a:pt x="14879" y="6405"/>
                </a:cubicBezTo>
                <a:cubicBezTo>
                  <a:pt x="14881" y="6409"/>
                  <a:pt x="14883" y="6413"/>
                  <a:pt x="14885" y="6416"/>
                </a:cubicBezTo>
                <a:cubicBezTo>
                  <a:pt x="14893" y="6429"/>
                  <a:pt x="14900" y="6442"/>
                  <a:pt x="14908" y="6456"/>
                </a:cubicBezTo>
                <a:cubicBezTo>
                  <a:pt x="14911" y="6461"/>
                  <a:pt x="14913" y="6465"/>
                  <a:pt x="14916" y="6470"/>
                </a:cubicBezTo>
                <a:cubicBezTo>
                  <a:pt x="14919" y="6477"/>
                  <a:pt x="14924" y="6483"/>
                  <a:pt x="14927" y="6490"/>
                </a:cubicBezTo>
                <a:cubicBezTo>
                  <a:pt x="14931" y="6496"/>
                  <a:pt x="14935" y="6503"/>
                  <a:pt x="14938" y="6510"/>
                </a:cubicBezTo>
                <a:cubicBezTo>
                  <a:pt x="14942" y="6516"/>
                  <a:pt x="14945" y="6521"/>
                  <a:pt x="14949" y="6527"/>
                </a:cubicBezTo>
                <a:cubicBezTo>
                  <a:pt x="14946" y="6537"/>
                  <a:pt x="14942" y="6547"/>
                  <a:pt x="14942" y="6560"/>
                </a:cubicBezTo>
                <a:cubicBezTo>
                  <a:pt x="14942" y="6598"/>
                  <a:pt x="14958" y="6627"/>
                  <a:pt x="14977" y="6627"/>
                </a:cubicBezTo>
                <a:cubicBezTo>
                  <a:pt x="14985" y="6627"/>
                  <a:pt x="14991" y="6620"/>
                  <a:pt x="14997" y="6611"/>
                </a:cubicBezTo>
                <a:cubicBezTo>
                  <a:pt x="14997" y="6612"/>
                  <a:pt x="14997" y="6613"/>
                  <a:pt x="14998" y="6613"/>
                </a:cubicBezTo>
                <a:cubicBezTo>
                  <a:pt x="15002" y="6621"/>
                  <a:pt x="15007" y="6630"/>
                  <a:pt x="15012" y="6638"/>
                </a:cubicBezTo>
                <a:cubicBezTo>
                  <a:pt x="15016" y="6646"/>
                  <a:pt x="15021" y="6654"/>
                  <a:pt x="15026" y="6662"/>
                </a:cubicBezTo>
                <a:cubicBezTo>
                  <a:pt x="15031" y="6670"/>
                  <a:pt x="15035" y="6679"/>
                  <a:pt x="15040" y="6687"/>
                </a:cubicBezTo>
                <a:cubicBezTo>
                  <a:pt x="15047" y="6698"/>
                  <a:pt x="15053" y="6709"/>
                  <a:pt x="15059" y="6721"/>
                </a:cubicBezTo>
                <a:cubicBezTo>
                  <a:pt x="15062" y="6726"/>
                  <a:pt x="15065" y="6731"/>
                  <a:pt x="15069" y="6737"/>
                </a:cubicBezTo>
                <a:cubicBezTo>
                  <a:pt x="15079" y="6755"/>
                  <a:pt x="15089" y="6773"/>
                  <a:pt x="15100" y="6792"/>
                </a:cubicBezTo>
                <a:cubicBezTo>
                  <a:pt x="15100" y="6792"/>
                  <a:pt x="15101" y="6793"/>
                  <a:pt x="15101" y="6794"/>
                </a:cubicBezTo>
                <a:cubicBezTo>
                  <a:pt x="15085" y="6800"/>
                  <a:pt x="15073" y="6825"/>
                  <a:pt x="15073" y="6858"/>
                </a:cubicBezTo>
                <a:cubicBezTo>
                  <a:pt x="15073" y="6896"/>
                  <a:pt x="15088" y="6926"/>
                  <a:pt x="15107" y="6926"/>
                </a:cubicBezTo>
                <a:cubicBezTo>
                  <a:pt x="15125" y="6926"/>
                  <a:pt x="15139" y="6898"/>
                  <a:pt x="15140" y="6862"/>
                </a:cubicBezTo>
                <a:cubicBezTo>
                  <a:pt x="15143" y="6866"/>
                  <a:pt x="15146" y="6871"/>
                  <a:pt x="15148" y="6876"/>
                </a:cubicBezTo>
                <a:cubicBezTo>
                  <a:pt x="15158" y="6893"/>
                  <a:pt x="15168" y="6910"/>
                  <a:pt x="15179" y="6928"/>
                </a:cubicBezTo>
                <a:cubicBezTo>
                  <a:pt x="15180" y="6931"/>
                  <a:pt x="15182" y="6933"/>
                  <a:pt x="15184" y="6936"/>
                </a:cubicBezTo>
                <a:cubicBezTo>
                  <a:pt x="15248" y="7049"/>
                  <a:pt x="15322" y="7176"/>
                  <a:pt x="15405" y="7321"/>
                </a:cubicBezTo>
                <a:cubicBezTo>
                  <a:pt x="15359" y="7352"/>
                  <a:pt x="15312" y="7392"/>
                  <a:pt x="15274" y="7459"/>
                </a:cubicBezTo>
                <a:cubicBezTo>
                  <a:pt x="15259" y="7485"/>
                  <a:pt x="15258" y="7527"/>
                  <a:pt x="15256" y="7568"/>
                </a:cubicBezTo>
                <a:cubicBezTo>
                  <a:pt x="15254" y="7644"/>
                  <a:pt x="15253" y="7710"/>
                  <a:pt x="15183" y="7710"/>
                </a:cubicBezTo>
                <a:cubicBezTo>
                  <a:pt x="15172" y="7710"/>
                  <a:pt x="15160" y="7709"/>
                  <a:pt x="15148" y="7706"/>
                </a:cubicBezTo>
                <a:cubicBezTo>
                  <a:pt x="15113" y="7697"/>
                  <a:pt x="15091" y="7750"/>
                  <a:pt x="15073" y="7804"/>
                </a:cubicBezTo>
                <a:cubicBezTo>
                  <a:pt x="15068" y="7817"/>
                  <a:pt x="15069" y="7835"/>
                  <a:pt x="15076" y="7844"/>
                </a:cubicBezTo>
                <a:cubicBezTo>
                  <a:pt x="15083" y="7854"/>
                  <a:pt x="15092" y="7851"/>
                  <a:pt x="15097" y="7837"/>
                </a:cubicBezTo>
                <a:cubicBezTo>
                  <a:pt x="15115" y="7787"/>
                  <a:pt x="15127" y="7762"/>
                  <a:pt x="15144" y="7766"/>
                </a:cubicBezTo>
                <a:cubicBezTo>
                  <a:pt x="15158" y="7770"/>
                  <a:pt x="15171" y="7771"/>
                  <a:pt x="15182" y="7771"/>
                </a:cubicBezTo>
                <a:cubicBezTo>
                  <a:pt x="15280" y="7771"/>
                  <a:pt x="15284" y="7646"/>
                  <a:pt x="15287" y="7572"/>
                </a:cubicBezTo>
                <a:cubicBezTo>
                  <a:pt x="15288" y="7543"/>
                  <a:pt x="15288" y="7514"/>
                  <a:pt x="15294" y="7504"/>
                </a:cubicBezTo>
                <a:cubicBezTo>
                  <a:pt x="15333" y="7436"/>
                  <a:pt x="15383" y="7399"/>
                  <a:pt x="15432" y="7368"/>
                </a:cubicBezTo>
                <a:cubicBezTo>
                  <a:pt x="15438" y="7378"/>
                  <a:pt x="15443" y="7386"/>
                  <a:pt x="15447" y="7393"/>
                </a:cubicBezTo>
                <a:lnTo>
                  <a:pt x="15366" y="7589"/>
                </a:lnTo>
                <a:cubicBezTo>
                  <a:pt x="15363" y="7594"/>
                  <a:pt x="15362" y="7599"/>
                  <a:pt x="15359" y="7605"/>
                </a:cubicBezTo>
                <a:lnTo>
                  <a:pt x="15294" y="7763"/>
                </a:lnTo>
                <a:cubicBezTo>
                  <a:pt x="15292" y="7763"/>
                  <a:pt x="15291" y="7759"/>
                  <a:pt x="15290" y="7759"/>
                </a:cubicBezTo>
                <a:cubicBezTo>
                  <a:pt x="15262" y="7759"/>
                  <a:pt x="15240" y="7804"/>
                  <a:pt x="15240" y="7858"/>
                </a:cubicBezTo>
                <a:cubicBezTo>
                  <a:pt x="15240" y="7867"/>
                  <a:pt x="15244" y="7874"/>
                  <a:pt x="15245" y="7882"/>
                </a:cubicBezTo>
                <a:lnTo>
                  <a:pt x="15181" y="8036"/>
                </a:lnTo>
                <a:cubicBezTo>
                  <a:pt x="15177" y="8042"/>
                  <a:pt x="15175" y="8049"/>
                  <a:pt x="15172" y="8059"/>
                </a:cubicBezTo>
                <a:lnTo>
                  <a:pt x="14983" y="8518"/>
                </a:lnTo>
                <a:cubicBezTo>
                  <a:pt x="14982" y="8509"/>
                  <a:pt x="14979" y="8501"/>
                  <a:pt x="14977" y="8493"/>
                </a:cubicBezTo>
                <a:lnTo>
                  <a:pt x="14962" y="8341"/>
                </a:lnTo>
                <a:lnTo>
                  <a:pt x="14959" y="8312"/>
                </a:lnTo>
                <a:cubicBezTo>
                  <a:pt x="14972" y="8231"/>
                  <a:pt x="14980" y="8138"/>
                  <a:pt x="14981" y="8037"/>
                </a:cubicBezTo>
                <a:cubicBezTo>
                  <a:pt x="15007" y="8025"/>
                  <a:pt x="15029" y="8000"/>
                  <a:pt x="15050" y="7959"/>
                </a:cubicBezTo>
                <a:cubicBezTo>
                  <a:pt x="15050" y="7958"/>
                  <a:pt x="15051" y="7958"/>
                  <a:pt x="15051" y="7958"/>
                </a:cubicBezTo>
                <a:cubicBezTo>
                  <a:pt x="15054" y="7952"/>
                  <a:pt x="15055" y="7944"/>
                  <a:pt x="15055" y="7937"/>
                </a:cubicBezTo>
                <a:cubicBezTo>
                  <a:pt x="15055" y="7929"/>
                  <a:pt x="15054" y="7921"/>
                  <a:pt x="15051" y="7916"/>
                </a:cubicBezTo>
                <a:cubicBezTo>
                  <a:pt x="15045" y="7904"/>
                  <a:pt x="15036" y="7904"/>
                  <a:pt x="15030" y="7916"/>
                </a:cubicBezTo>
                <a:cubicBezTo>
                  <a:pt x="15029" y="7916"/>
                  <a:pt x="15029" y="7916"/>
                  <a:pt x="15029" y="7917"/>
                </a:cubicBezTo>
                <a:cubicBezTo>
                  <a:pt x="15009" y="7955"/>
                  <a:pt x="14989" y="7975"/>
                  <a:pt x="14964" y="7982"/>
                </a:cubicBezTo>
                <a:cubicBezTo>
                  <a:pt x="14957" y="7984"/>
                  <a:pt x="14951" y="7997"/>
                  <a:pt x="14951" y="8012"/>
                </a:cubicBezTo>
                <a:cubicBezTo>
                  <a:pt x="14951" y="8069"/>
                  <a:pt x="14949" y="8123"/>
                  <a:pt x="14945" y="8173"/>
                </a:cubicBezTo>
                <a:lnTo>
                  <a:pt x="14908" y="7799"/>
                </a:lnTo>
                <a:cubicBezTo>
                  <a:pt x="14908" y="7793"/>
                  <a:pt x="14910" y="7790"/>
                  <a:pt x="14910" y="7784"/>
                </a:cubicBezTo>
                <a:cubicBezTo>
                  <a:pt x="14910" y="7768"/>
                  <a:pt x="14905" y="7756"/>
                  <a:pt x="14902" y="7742"/>
                </a:cubicBezTo>
                <a:lnTo>
                  <a:pt x="14861" y="7333"/>
                </a:lnTo>
                <a:cubicBezTo>
                  <a:pt x="14886" y="7309"/>
                  <a:pt x="14904" y="7258"/>
                  <a:pt x="14904" y="7199"/>
                </a:cubicBezTo>
                <a:cubicBezTo>
                  <a:pt x="14904" y="7119"/>
                  <a:pt x="14872" y="7054"/>
                  <a:pt x="14833" y="7052"/>
                </a:cubicBezTo>
                <a:lnTo>
                  <a:pt x="14791" y="6630"/>
                </a:lnTo>
                <a:cubicBezTo>
                  <a:pt x="14794" y="6617"/>
                  <a:pt x="14799" y="6606"/>
                  <a:pt x="14799" y="6590"/>
                </a:cubicBezTo>
                <a:cubicBezTo>
                  <a:pt x="14799" y="6559"/>
                  <a:pt x="14790" y="6534"/>
                  <a:pt x="14779" y="6516"/>
                </a:cubicBezTo>
                <a:lnTo>
                  <a:pt x="14761" y="6331"/>
                </a:lnTo>
                <a:cubicBezTo>
                  <a:pt x="14769" y="6342"/>
                  <a:pt x="14777" y="6352"/>
                  <a:pt x="14787" y="6352"/>
                </a:cubicBezTo>
                <a:cubicBezTo>
                  <a:pt x="14804" y="6352"/>
                  <a:pt x="14816" y="6333"/>
                  <a:pt x="14825" y="6308"/>
                </a:cubicBezTo>
                <a:close/>
                <a:moveTo>
                  <a:pt x="2078" y="6310"/>
                </a:moveTo>
                <a:cubicBezTo>
                  <a:pt x="2081" y="6311"/>
                  <a:pt x="2083" y="6312"/>
                  <a:pt x="2086" y="6313"/>
                </a:cubicBezTo>
                <a:cubicBezTo>
                  <a:pt x="2086" y="6322"/>
                  <a:pt x="2087" y="6331"/>
                  <a:pt x="2088" y="6339"/>
                </a:cubicBezTo>
                <a:cubicBezTo>
                  <a:pt x="2086" y="6338"/>
                  <a:pt x="2085" y="6337"/>
                  <a:pt x="2083" y="6336"/>
                </a:cubicBezTo>
                <a:cubicBezTo>
                  <a:pt x="2082" y="6327"/>
                  <a:pt x="2081" y="6318"/>
                  <a:pt x="2078" y="6310"/>
                </a:cubicBezTo>
                <a:close/>
                <a:moveTo>
                  <a:pt x="17582" y="6342"/>
                </a:moveTo>
                <a:cubicBezTo>
                  <a:pt x="17563" y="6342"/>
                  <a:pt x="17548" y="6373"/>
                  <a:pt x="17548" y="6411"/>
                </a:cubicBezTo>
                <a:cubicBezTo>
                  <a:pt x="17548" y="6448"/>
                  <a:pt x="17563" y="6478"/>
                  <a:pt x="17582" y="6478"/>
                </a:cubicBezTo>
                <a:cubicBezTo>
                  <a:pt x="17601" y="6478"/>
                  <a:pt x="17616" y="6448"/>
                  <a:pt x="17616" y="6411"/>
                </a:cubicBezTo>
                <a:cubicBezTo>
                  <a:pt x="17616" y="6373"/>
                  <a:pt x="17601" y="6342"/>
                  <a:pt x="17582" y="6342"/>
                </a:cubicBezTo>
                <a:close/>
                <a:moveTo>
                  <a:pt x="4859" y="6344"/>
                </a:moveTo>
                <a:cubicBezTo>
                  <a:pt x="4895" y="6379"/>
                  <a:pt x="4930" y="6420"/>
                  <a:pt x="4964" y="6469"/>
                </a:cubicBezTo>
                <a:cubicBezTo>
                  <a:pt x="4967" y="6473"/>
                  <a:pt x="4970" y="6475"/>
                  <a:pt x="4973" y="6475"/>
                </a:cubicBezTo>
                <a:lnTo>
                  <a:pt x="5027" y="6475"/>
                </a:lnTo>
                <a:cubicBezTo>
                  <a:pt x="5032" y="6545"/>
                  <a:pt x="5061" y="6601"/>
                  <a:pt x="5098" y="6601"/>
                </a:cubicBezTo>
                <a:cubicBezTo>
                  <a:pt x="5114" y="6601"/>
                  <a:pt x="5128" y="6589"/>
                  <a:pt x="5140" y="6571"/>
                </a:cubicBezTo>
                <a:cubicBezTo>
                  <a:pt x="5144" y="6608"/>
                  <a:pt x="5144" y="6651"/>
                  <a:pt x="5143" y="6702"/>
                </a:cubicBezTo>
                <a:cubicBezTo>
                  <a:pt x="5143" y="6722"/>
                  <a:pt x="5142" y="6743"/>
                  <a:pt x="5142" y="6764"/>
                </a:cubicBezTo>
                <a:cubicBezTo>
                  <a:pt x="5142" y="6798"/>
                  <a:pt x="5147" y="6832"/>
                  <a:pt x="5155" y="6865"/>
                </a:cubicBezTo>
                <a:lnTo>
                  <a:pt x="4859" y="6344"/>
                </a:lnTo>
                <a:close/>
                <a:moveTo>
                  <a:pt x="9680" y="6397"/>
                </a:moveTo>
                <a:cubicBezTo>
                  <a:pt x="9656" y="6397"/>
                  <a:pt x="9602" y="6451"/>
                  <a:pt x="9602" y="6506"/>
                </a:cubicBezTo>
                <a:cubicBezTo>
                  <a:pt x="9602" y="6526"/>
                  <a:pt x="9605" y="6540"/>
                  <a:pt x="9609" y="6554"/>
                </a:cubicBezTo>
                <a:cubicBezTo>
                  <a:pt x="9596" y="6568"/>
                  <a:pt x="9576" y="6578"/>
                  <a:pt x="9567" y="6578"/>
                </a:cubicBezTo>
                <a:cubicBezTo>
                  <a:pt x="9566" y="6578"/>
                  <a:pt x="9564" y="6578"/>
                  <a:pt x="9562" y="6578"/>
                </a:cubicBezTo>
                <a:cubicBezTo>
                  <a:pt x="9553" y="6578"/>
                  <a:pt x="9532" y="6587"/>
                  <a:pt x="9530" y="6651"/>
                </a:cubicBezTo>
                <a:cubicBezTo>
                  <a:pt x="9518" y="6661"/>
                  <a:pt x="9509" y="6681"/>
                  <a:pt x="9509" y="6709"/>
                </a:cubicBezTo>
                <a:cubicBezTo>
                  <a:pt x="9509" y="6747"/>
                  <a:pt x="9524" y="6777"/>
                  <a:pt x="9543" y="6777"/>
                </a:cubicBezTo>
                <a:cubicBezTo>
                  <a:pt x="9552" y="6777"/>
                  <a:pt x="9560" y="6769"/>
                  <a:pt x="9566" y="6758"/>
                </a:cubicBezTo>
                <a:cubicBezTo>
                  <a:pt x="9566" y="6759"/>
                  <a:pt x="9567" y="6760"/>
                  <a:pt x="9568" y="6760"/>
                </a:cubicBezTo>
                <a:cubicBezTo>
                  <a:pt x="9563" y="6787"/>
                  <a:pt x="9554" y="6805"/>
                  <a:pt x="9543" y="6826"/>
                </a:cubicBezTo>
                <a:cubicBezTo>
                  <a:pt x="9537" y="6837"/>
                  <a:pt x="9532" y="6851"/>
                  <a:pt x="9526" y="6865"/>
                </a:cubicBezTo>
                <a:cubicBezTo>
                  <a:pt x="9526" y="6865"/>
                  <a:pt x="9525" y="6864"/>
                  <a:pt x="9525" y="6864"/>
                </a:cubicBezTo>
                <a:cubicBezTo>
                  <a:pt x="9506" y="6864"/>
                  <a:pt x="9490" y="6895"/>
                  <a:pt x="9490" y="6933"/>
                </a:cubicBezTo>
                <a:cubicBezTo>
                  <a:pt x="9490" y="6961"/>
                  <a:pt x="9500" y="6980"/>
                  <a:pt x="9512" y="6990"/>
                </a:cubicBezTo>
                <a:cubicBezTo>
                  <a:pt x="9520" y="7044"/>
                  <a:pt x="9547" y="7089"/>
                  <a:pt x="9576" y="7089"/>
                </a:cubicBezTo>
                <a:cubicBezTo>
                  <a:pt x="9586" y="7089"/>
                  <a:pt x="9609" y="7087"/>
                  <a:pt x="9625" y="7068"/>
                </a:cubicBezTo>
                <a:cubicBezTo>
                  <a:pt x="9631" y="7060"/>
                  <a:pt x="9637" y="7049"/>
                  <a:pt x="9644" y="7037"/>
                </a:cubicBezTo>
                <a:cubicBezTo>
                  <a:pt x="9658" y="7011"/>
                  <a:pt x="9675" y="6978"/>
                  <a:pt x="9693" y="6978"/>
                </a:cubicBezTo>
                <a:lnTo>
                  <a:pt x="9704" y="6979"/>
                </a:lnTo>
                <a:cubicBezTo>
                  <a:pt x="9711" y="6992"/>
                  <a:pt x="9720" y="7000"/>
                  <a:pt x="9729" y="7000"/>
                </a:cubicBezTo>
                <a:cubicBezTo>
                  <a:pt x="9748" y="7000"/>
                  <a:pt x="9763" y="6970"/>
                  <a:pt x="9763" y="6933"/>
                </a:cubicBezTo>
                <a:cubicBezTo>
                  <a:pt x="9763" y="6932"/>
                  <a:pt x="9763" y="6932"/>
                  <a:pt x="9763" y="6932"/>
                </a:cubicBezTo>
                <a:cubicBezTo>
                  <a:pt x="9773" y="6899"/>
                  <a:pt x="9771" y="6862"/>
                  <a:pt x="9768" y="6836"/>
                </a:cubicBezTo>
                <a:cubicBezTo>
                  <a:pt x="9766" y="6825"/>
                  <a:pt x="9765" y="6815"/>
                  <a:pt x="9765" y="6808"/>
                </a:cubicBezTo>
                <a:lnTo>
                  <a:pt x="9765" y="6668"/>
                </a:lnTo>
                <a:cubicBezTo>
                  <a:pt x="9768" y="6666"/>
                  <a:pt x="9772" y="6663"/>
                  <a:pt x="9775" y="6661"/>
                </a:cubicBezTo>
                <a:cubicBezTo>
                  <a:pt x="9775" y="6661"/>
                  <a:pt x="9775" y="6660"/>
                  <a:pt x="9775" y="6660"/>
                </a:cubicBezTo>
                <a:cubicBezTo>
                  <a:pt x="9775" y="6660"/>
                  <a:pt x="9775" y="6660"/>
                  <a:pt x="9775" y="6660"/>
                </a:cubicBezTo>
                <a:cubicBezTo>
                  <a:pt x="9786" y="6652"/>
                  <a:pt x="9804" y="6638"/>
                  <a:pt x="9804" y="6601"/>
                </a:cubicBezTo>
                <a:cubicBezTo>
                  <a:pt x="9804" y="6518"/>
                  <a:pt x="9776" y="6397"/>
                  <a:pt x="9717" y="6397"/>
                </a:cubicBezTo>
                <a:lnTo>
                  <a:pt x="9711" y="6397"/>
                </a:lnTo>
                <a:lnTo>
                  <a:pt x="9680" y="6397"/>
                </a:lnTo>
                <a:close/>
                <a:moveTo>
                  <a:pt x="10729" y="6401"/>
                </a:moveTo>
                <a:cubicBezTo>
                  <a:pt x="10729" y="6401"/>
                  <a:pt x="10741" y="6401"/>
                  <a:pt x="10741" y="6401"/>
                </a:cubicBezTo>
                <a:cubicBezTo>
                  <a:pt x="10743" y="6419"/>
                  <a:pt x="10747" y="6429"/>
                  <a:pt x="10750" y="6436"/>
                </a:cubicBezTo>
                <a:cubicBezTo>
                  <a:pt x="10751" y="6437"/>
                  <a:pt x="10751" y="6438"/>
                  <a:pt x="10751" y="6439"/>
                </a:cubicBezTo>
                <a:cubicBezTo>
                  <a:pt x="10741" y="6436"/>
                  <a:pt x="10729" y="6430"/>
                  <a:pt x="10729" y="6414"/>
                </a:cubicBezTo>
                <a:lnTo>
                  <a:pt x="10729" y="6401"/>
                </a:lnTo>
                <a:close/>
                <a:moveTo>
                  <a:pt x="2105" y="6408"/>
                </a:moveTo>
                <a:cubicBezTo>
                  <a:pt x="2109" y="6417"/>
                  <a:pt x="2113" y="6425"/>
                  <a:pt x="2117" y="6433"/>
                </a:cubicBezTo>
                <a:cubicBezTo>
                  <a:pt x="2130" y="6460"/>
                  <a:pt x="2137" y="6479"/>
                  <a:pt x="2137" y="6509"/>
                </a:cubicBezTo>
                <a:cubicBezTo>
                  <a:pt x="2137" y="6517"/>
                  <a:pt x="2137" y="6521"/>
                  <a:pt x="2137" y="6521"/>
                </a:cubicBezTo>
                <a:cubicBezTo>
                  <a:pt x="2137" y="6521"/>
                  <a:pt x="2136" y="6521"/>
                  <a:pt x="2136" y="6521"/>
                </a:cubicBezTo>
                <a:cubicBezTo>
                  <a:pt x="2129" y="6518"/>
                  <a:pt x="2113" y="6473"/>
                  <a:pt x="2108" y="6451"/>
                </a:cubicBezTo>
                <a:cubicBezTo>
                  <a:pt x="2108" y="6442"/>
                  <a:pt x="2107" y="6432"/>
                  <a:pt x="2106" y="6422"/>
                </a:cubicBezTo>
                <a:cubicBezTo>
                  <a:pt x="2106" y="6418"/>
                  <a:pt x="2106" y="6413"/>
                  <a:pt x="2105" y="6408"/>
                </a:cubicBezTo>
                <a:close/>
                <a:moveTo>
                  <a:pt x="16596" y="6416"/>
                </a:moveTo>
                <a:cubicBezTo>
                  <a:pt x="16577" y="6416"/>
                  <a:pt x="16561" y="6447"/>
                  <a:pt x="16561" y="6485"/>
                </a:cubicBezTo>
                <a:cubicBezTo>
                  <a:pt x="16561" y="6523"/>
                  <a:pt x="16577" y="6553"/>
                  <a:pt x="16596" y="6553"/>
                </a:cubicBezTo>
                <a:cubicBezTo>
                  <a:pt x="16614" y="6553"/>
                  <a:pt x="16629" y="6523"/>
                  <a:pt x="16629" y="6485"/>
                </a:cubicBezTo>
                <a:cubicBezTo>
                  <a:pt x="16629" y="6447"/>
                  <a:pt x="16614" y="6416"/>
                  <a:pt x="16596" y="6416"/>
                </a:cubicBezTo>
                <a:close/>
                <a:moveTo>
                  <a:pt x="6487" y="6418"/>
                </a:moveTo>
                <a:cubicBezTo>
                  <a:pt x="6515" y="6504"/>
                  <a:pt x="6581" y="6535"/>
                  <a:pt x="6627" y="6536"/>
                </a:cubicBezTo>
                <a:cubicBezTo>
                  <a:pt x="6618" y="6555"/>
                  <a:pt x="6613" y="6579"/>
                  <a:pt x="6610" y="6604"/>
                </a:cubicBezTo>
                <a:cubicBezTo>
                  <a:pt x="6591" y="6618"/>
                  <a:pt x="6570" y="6631"/>
                  <a:pt x="6553" y="6641"/>
                </a:cubicBezTo>
                <a:cubicBezTo>
                  <a:pt x="6527" y="6657"/>
                  <a:pt x="6503" y="6672"/>
                  <a:pt x="6486" y="6690"/>
                </a:cubicBezTo>
                <a:cubicBezTo>
                  <a:pt x="6479" y="6698"/>
                  <a:pt x="6476" y="6717"/>
                  <a:pt x="6480" y="6731"/>
                </a:cubicBezTo>
                <a:cubicBezTo>
                  <a:pt x="6487" y="6756"/>
                  <a:pt x="6508" y="6764"/>
                  <a:pt x="6515" y="6764"/>
                </a:cubicBezTo>
                <a:cubicBezTo>
                  <a:pt x="6543" y="6764"/>
                  <a:pt x="6581" y="6745"/>
                  <a:pt x="6619" y="6720"/>
                </a:cubicBezTo>
                <a:cubicBezTo>
                  <a:pt x="6633" y="6759"/>
                  <a:pt x="6654" y="6787"/>
                  <a:pt x="6680" y="6787"/>
                </a:cubicBezTo>
                <a:cubicBezTo>
                  <a:pt x="6697" y="6787"/>
                  <a:pt x="6713" y="6773"/>
                  <a:pt x="6725" y="6753"/>
                </a:cubicBezTo>
                <a:lnTo>
                  <a:pt x="6726" y="6756"/>
                </a:lnTo>
                <a:cubicBezTo>
                  <a:pt x="6739" y="6800"/>
                  <a:pt x="6750" y="6833"/>
                  <a:pt x="6753" y="6889"/>
                </a:cubicBezTo>
                <a:lnTo>
                  <a:pt x="6426" y="6928"/>
                </a:lnTo>
                <a:cubicBezTo>
                  <a:pt x="6418" y="6913"/>
                  <a:pt x="6407" y="6901"/>
                  <a:pt x="6395" y="6901"/>
                </a:cubicBezTo>
                <a:cubicBezTo>
                  <a:pt x="6382" y="6901"/>
                  <a:pt x="6370" y="6913"/>
                  <a:pt x="6361" y="6931"/>
                </a:cubicBezTo>
                <a:lnTo>
                  <a:pt x="6487" y="6418"/>
                </a:lnTo>
                <a:close/>
                <a:moveTo>
                  <a:pt x="10784" y="6436"/>
                </a:moveTo>
                <a:cubicBezTo>
                  <a:pt x="10789" y="6445"/>
                  <a:pt x="10796" y="6453"/>
                  <a:pt x="10803" y="6460"/>
                </a:cubicBezTo>
                <a:cubicBezTo>
                  <a:pt x="10802" y="6460"/>
                  <a:pt x="10802" y="6461"/>
                  <a:pt x="10802" y="6462"/>
                </a:cubicBezTo>
                <a:cubicBezTo>
                  <a:pt x="10800" y="6457"/>
                  <a:pt x="10797" y="6454"/>
                  <a:pt x="10793" y="6453"/>
                </a:cubicBezTo>
                <a:cubicBezTo>
                  <a:pt x="10790" y="6451"/>
                  <a:pt x="10787" y="6452"/>
                  <a:pt x="10784" y="6455"/>
                </a:cubicBezTo>
                <a:cubicBezTo>
                  <a:pt x="10784" y="6448"/>
                  <a:pt x="10784" y="6442"/>
                  <a:pt x="10784" y="6436"/>
                </a:cubicBezTo>
                <a:close/>
                <a:moveTo>
                  <a:pt x="5441" y="6444"/>
                </a:moveTo>
                <a:lnTo>
                  <a:pt x="5416" y="7323"/>
                </a:lnTo>
                <a:lnTo>
                  <a:pt x="5308" y="7135"/>
                </a:lnTo>
                <a:cubicBezTo>
                  <a:pt x="5315" y="7128"/>
                  <a:pt x="5321" y="7118"/>
                  <a:pt x="5327" y="7108"/>
                </a:cubicBezTo>
                <a:cubicBezTo>
                  <a:pt x="5334" y="7096"/>
                  <a:pt x="5342" y="7082"/>
                  <a:pt x="5348" y="7082"/>
                </a:cubicBezTo>
                <a:cubicBezTo>
                  <a:pt x="5356" y="7082"/>
                  <a:pt x="5362" y="7071"/>
                  <a:pt x="5363" y="7055"/>
                </a:cubicBezTo>
                <a:cubicBezTo>
                  <a:pt x="5364" y="7036"/>
                  <a:pt x="5375" y="7016"/>
                  <a:pt x="5384" y="6999"/>
                </a:cubicBezTo>
                <a:cubicBezTo>
                  <a:pt x="5390" y="6989"/>
                  <a:pt x="5395" y="6979"/>
                  <a:pt x="5399" y="6968"/>
                </a:cubicBezTo>
                <a:cubicBezTo>
                  <a:pt x="5403" y="6957"/>
                  <a:pt x="5402" y="6942"/>
                  <a:pt x="5398" y="6932"/>
                </a:cubicBezTo>
                <a:cubicBezTo>
                  <a:pt x="5389" y="6911"/>
                  <a:pt x="5387" y="6864"/>
                  <a:pt x="5384" y="6814"/>
                </a:cubicBezTo>
                <a:cubicBezTo>
                  <a:pt x="5379" y="6735"/>
                  <a:pt x="5374" y="6641"/>
                  <a:pt x="5343" y="6580"/>
                </a:cubicBezTo>
                <a:cubicBezTo>
                  <a:pt x="5372" y="6551"/>
                  <a:pt x="5410" y="6499"/>
                  <a:pt x="5441" y="6444"/>
                </a:cubicBezTo>
                <a:close/>
                <a:moveTo>
                  <a:pt x="9701" y="6456"/>
                </a:moveTo>
                <a:lnTo>
                  <a:pt x="9703" y="6456"/>
                </a:lnTo>
                <a:lnTo>
                  <a:pt x="9705" y="6464"/>
                </a:lnTo>
                <a:lnTo>
                  <a:pt x="9749" y="6619"/>
                </a:lnTo>
                <a:cubicBezTo>
                  <a:pt x="9742" y="6629"/>
                  <a:pt x="9736" y="6642"/>
                  <a:pt x="9736" y="6664"/>
                </a:cubicBezTo>
                <a:lnTo>
                  <a:pt x="9736" y="6808"/>
                </a:lnTo>
                <a:cubicBezTo>
                  <a:pt x="9736" y="6822"/>
                  <a:pt x="9737" y="6837"/>
                  <a:pt x="9739" y="6850"/>
                </a:cubicBezTo>
                <a:cubicBezTo>
                  <a:pt x="9740" y="6861"/>
                  <a:pt x="9738" y="6863"/>
                  <a:pt x="9739" y="6871"/>
                </a:cubicBezTo>
                <a:cubicBezTo>
                  <a:pt x="9735" y="6869"/>
                  <a:pt x="9733" y="6864"/>
                  <a:pt x="9729" y="6864"/>
                </a:cubicBezTo>
                <a:cubicBezTo>
                  <a:pt x="9713" y="6864"/>
                  <a:pt x="9702" y="6889"/>
                  <a:pt x="9698" y="6919"/>
                </a:cubicBezTo>
                <a:lnTo>
                  <a:pt x="9693" y="6919"/>
                </a:lnTo>
                <a:cubicBezTo>
                  <a:pt x="9663" y="6919"/>
                  <a:pt x="9640" y="6961"/>
                  <a:pt x="9624" y="6992"/>
                </a:cubicBezTo>
                <a:cubicBezTo>
                  <a:pt x="9618" y="7003"/>
                  <a:pt x="9613" y="7013"/>
                  <a:pt x="9610" y="7017"/>
                </a:cubicBezTo>
                <a:cubicBezTo>
                  <a:pt x="9603" y="7024"/>
                  <a:pt x="9590" y="7030"/>
                  <a:pt x="9576" y="7030"/>
                </a:cubicBezTo>
                <a:cubicBezTo>
                  <a:pt x="9562" y="7030"/>
                  <a:pt x="9551" y="7008"/>
                  <a:pt x="9544" y="6984"/>
                </a:cubicBezTo>
                <a:cubicBezTo>
                  <a:pt x="9552" y="6972"/>
                  <a:pt x="9558" y="6955"/>
                  <a:pt x="9558" y="6933"/>
                </a:cubicBezTo>
                <a:cubicBezTo>
                  <a:pt x="9558" y="6919"/>
                  <a:pt x="9555" y="6909"/>
                  <a:pt x="9551" y="6898"/>
                </a:cubicBezTo>
                <a:cubicBezTo>
                  <a:pt x="9555" y="6888"/>
                  <a:pt x="9559" y="6879"/>
                  <a:pt x="9564" y="6869"/>
                </a:cubicBezTo>
                <a:cubicBezTo>
                  <a:pt x="9579" y="6840"/>
                  <a:pt x="9595" y="6808"/>
                  <a:pt x="9600" y="6750"/>
                </a:cubicBezTo>
                <a:cubicBezTo>
                  <a:pt x="9601" y="6737"/>
                  <a:pt x="9598" y="6724"/>
                  <a:pt x="9592" y="6718"/>
                </a:cubicBezTo>
                <a:cubicBezTo>
                  <a:pt x="9584" y="6710"/>
                  <a:pt x="9579" y="6703"/>
                  <a:pt x="9574" y="6695"/>
                </a:cubicBezTo>
                <a:cubicBezTo>
                  <a:pt x="9572" y="6677"/>
                  <a:pt x="9567" y="6664"/>
                  <a:pt x="9560" y="6654"/>
                </a:cubicBezTo>
                <a:cubicBezTo>
                  <a:pt x="9560" y="6644"/>
                  <a:pt x="9561" y="6638"/>
                  <a:pt x="9561" y="6638"/>
                </a:cubicBezTo>
                <a:cubicBezTo>
                  <a:pt x="9561" y="6638"/>
                  <a:pt x="9561" y="6638"/>
                  <a:pt x="9562" y="6638"/>
                </a:cubicBezTo>
                <a:lnTo>
                  <a:pt x="9565" y="6638"/>
                </a:lnTo>
                <a:cubicBezTo>
                  <a:pt x="9566" y="6638"/>
                  <a:pt x="9567" y="6639"/>
                  <a:pt x="9568" y="6639"/>
                </a:cubicBezTo>
                <a:cubicBezTo>
                  <a:pt x="9584" y="6639"/>
                  <a:pt x="9624" y="6616"/>
                  <a:pt x="9640" y="6583"/>
                </a:cubicBezTo>
                <a:cubicBezTo>
                  <a:pt x="9645" y="6573"/>
                  <a:pt x="9646" y="6557"/>
                  <a:pt x="9642" y="6545"/>
                </a:cubicBezTo>
                <a:lnTo>
                  <a:pt x="9638" y="6534"/>
                </a:lnTo>
                <a:cubicBezTo>
                  <a:pt x="9632" y="6517"/>
                  <a:pt x="9632" y="6514"/>
                  <a:pt x="9632" y="6510"/>
                </a:cubicBezTo>
                <a:cubicBezTo>
                  <a:pt x="9632" y="6506"/>
                  <a:pt x="9638" y="6500"/>
                  <a:pt x="9641" y="6495"/>
                </a:cubicBezTo>
                <a:cubicBezTo>
                  <a:pt x="9644" y="6527"/>
                  <a:pt x="9656" y="6553"/>
                  <a:pt x="9674" y="6553"/>
                </a:cubicBezTo>
                <a:cubicBezTo>
                  <a:pt x="9692" y="6553"/>
                  <a:pt x="9707" y="6523"/>
                  <a:pt x="9707" y="6485"/>
                </a:cubicBezTo>
                <a:cubicBezTo>
                  <a:pt x="9707" y="6474"/>
                  <a:pt x="9704" y="6465"/>
                  <a:pt x="9701" y="6456"/>
                </a:cubicBezTo>
                <a:close/>
                <a:moveTo>
                  <a:pt x="9740" y="6468"/>
                </a:moveTo>
                <a:cubicBezTo>
                  <a:pt x="9761" y="6491"/>
                  <a:pt x="9772" y="6545"/>
                  <a:pt x="9774" y="6588"/>
                </a:cubicBezTo>
                <a:lnTo>
                  <a:pt x="9740" y="6468"/>
                </a:lnTo>
                <a:close/>
                <a:moveTo>
                  <a:pt x="5720" y="6491"/>
                </a:moveTo>
                <a:cubicBezTo>
                  <a:pt x="5706" y="6491"/>
                  <a:pt x="5694" y="6514"/>
                  <a:pt x="5694" y="6542"/>
                </a:cubicBezTo>
                <a:cubicBezTo>
                  <a:pt x="5694" y="6571"/>
                  <a:pt x="5706" y="6594"/>
                  <a:pt x="5720" y="6594"/>
                </a:cubicBezTo>
                <a:cubicBezTo>
                  <a:pt x="5734" y="6594"/>
                  <a:pt x="5745" y="6571"/>
                  <a:pt x="5745" y="6542"/>
                </a:cubicBezTo>
                <a:cubicBezTo>
                  <a:pt x="5745" y="6514"/>
                  <a:pt x="5734" y="6491"/>
                  <a:pt x="5720" y="6491"/>
                </a:cubicBezTo>
                <a:close/>
                <a:moveTo>
                  <a:pt x="11159" y="6516"/>
                </a:moveTo>
                <a:cubicBezTo>
                  <a:pt x="11180" y="6516"/>
                  <a:pt x="11198" y="6518"/>
                  <a:pt x="11211" y="6522"/>
                </a:cubicBezTo>
                <a:cubicBezTo>
                  <a:pt x="11211" y="6524"/>
                  <a:pt x="11211" y="6525"/>
                  <a:pt x="11210" y="6526"/>
                </a:cubicBezTo>
                <a:lnTo>
                  <a:pt x="11185" y="6526"/>
                </a:lnTo>
                <a:lnTo>
                  <a:pt x="11144" y="6525"/>
                </a:lnTo>
                <a:cubicBezTo>
                  <a:pt x="11150" y="6519"/>
                  <a:pt x="11155" y="6516"/>
                  <a:pt x="11159" y="6516"/>
                </a:cubicBezTo>
                <a:close/>
                <a:moveTo>
                  <a:pt x="9886" y="6532"/>
                </a:moveTo>
                <a:cubicBezTo>
                  <a:pt x="9885" y="6541"/>
                  <a:pt x="9884" y="6552"/>
                  <a:pt x="9884" y="6564"/>
                </a:cubicBezTo>
                <a:cubicBezTo>
                  <a:pt x="9884" y="6587"/>
                  <a:pt x="9889" y="6606"/>
                  <a:pt x="9898" y="6619"/>
                </a:cubicBezTo>
                <a:cubicBezTo>
                  <a:pt x="9907" y="6632"/>
                  <a:pt x="9919" y="6640"/>
                  <a:pt x="9935" y="6641"/>
                </a:cubicBezTo>
                <a:lnTo>
                  <a:pt x="9935" y="6667"/>
                </a:lnTo>
                <a:cubicBezTo>
                  <a:pt x="9930" y="6680"/>
                  <a:pt x="9919" y="6695"/>
                  <a:pt x="9905" y="6706"/>
                </a:cubicBezTo>
                <a:cubicBezTo>
                  <a:pt x="9908" y="6695"/>
                  <a:pt x="9912" y="6685"/>
                  <a:pt x="9912" y="6672"/>
                </a:cubicBezTo>
                <a:cubicBezTo>
                  <a:pt x="9912" y="6650"/>
                  <a:pt x="9906" y="6632"/>
                  <a:pt x="9898" y="6619"/>
                </a:cubicBezTo>
                <a:cubicBezTo>
                  <a:pt x="9892" y="6610"/>
                  <a:pt x="9886" y="6603"/>
                  <a:pt x="9878" y="6603"/>
                </a:cubicBezTo>
                <a:cubicBezTo>
                  <a:pt x="9874" y="6603"/>
                  <a:pt x="9871" y="6609"/>
                  <a:pt x="9868" y="6611"/>
                </a:cubicBezTo>
                <a:cubicBezTo>
                  <a:pt x="9868" y="6609"/>
                  <a:pt x="9868" y="6606"/>
                  <a:pt x="9868" y="6604"/>
                </a:cubicBezTo>
                <a:cubicBezTo>
                  <a:pt x="9869" y="6595"/>
                  <a:pt x="9869" y="6589"/>
                  <a:pt x="9869" y="6582"/>
                </a:cubicBezTo>
                <a:cubicBezTo>
                  <a:pt x="9869" y="6565"/>
                  <a:pt x="9863" y="6552"/>
                  <a:pt x="9854" y="6552"/>
                </a:cubicBezTo>
                <a:lnTo>
                  <a:pt x="9847" y="6552"/>
                </a:lnTo>
                <a:cubicBezTo>
                  <a:pt x="9857" y="6551"/>
                  <a:pt x="9865" y="6545"/>
                  <a:pt x="9872" y="6540"/>
                </a:cubicBezTo>
                <a:cubicBezTo>
                  <a:pt x="9877" y="6537"/>
                  <a:pt x="9881" y="6534"/>
                  <a:pt x="9886" y="6532"/>
                </a:cubicBezTo>
                <a:close/>
                <a:moveTo>
                  <a:pt x="10666" y="6571"/>
                </a:moveTo>
                <a:lnTo>
                  <a:pt x="10674" y="6571"/>
                </a:lnTo>
                <a:lnTo>
                  <a:pt x="10699" y="6573"/>
                </a:lnTo>
                <a:cubicBezTo>
                  <a:pt x="10700" y="6577"/>
                  <a:pt x="10700" y="6580"/>
                  <a:pt x="10702" y="6583"/>
                </a:cubicBezTo>
                <a:cubicBezTo>
                  <a:pt x="10704" y="6591"/>
                  <a:pt x="10709" y="6596"/>
                  <a:pt x="10714" y="6596"/>
                </a:cubicBezTo>
                <a:cubicBezTo>
                  <a:pt x="10724" y="6596"/>
                  <a:pt x="10731" y="6600"/>
                  <a:pt x="10738" y="6604"/>
                </a:cubicBezTo>
                <a:cubicBezTo>
                  <a:pt x="10743" y="6607"/>
                  <a:pt x="10748" y="6610"/>
                  <a:pt x="10755" y="6612"/>
                </a:cubicBezTo>
                <a:cubicBezTo>
                  <a:pt x="10759" y="6637"/>
                  <a:pt x="10766" y="6665"/>
                  <a:pt x="10780" y="6665"/>
                </a:cubicBezTo>
                <a:cubicBezTo>
                  <a:pt x="10812" y="6665"/>
                  <a:pt x="10838" y="6639"/>
                  <a:pt x="10862" y="6616"/>
                </a:cubicBezTo>
                <a:cubicBezTo>
                  <a:pt x="10875" y="6603"/>
                  <a:pt x="10888" y="6591"/>
                  <a:pt x="10900" y="6584"/>
                </a:cubicBezTo>
                <a:cubicBezTo>
                  <a:pt x="10899" y="6588"/>
                  <a:pt x="10899" y="6592"/>
                  <a:pt x="10899" y="6597"/>
                </a:cubicBezTo>
                <a:cubicBezTo>
                  <a:pt x="10899" y="6598"/>
                  <a:pt x="10899" y="6599"/>
                  <a:pt x="10899" y="6599"/>
                </a:cubicBezTo>
                <a:cubicBezTo>
                  <a:pt x="10891" y="6617"/>
                  <a:pt x="10886" y="6639"/>
                  <a:pt x="10886" y="6665"/>
                </a:cubicBezTo>
                <a:cubicBezTo>
                  <a:pt x="10886" y="6719"/>
                  <a:pt x="10908" y="6763"/>
                  <a:pt x="10935" y="6763"/>
                </a:cubicBezTo>
                <a:cubicBezTo>
                  <a:pt x="10963" y="6763"/>
                  <a:pt x="10984" y="6719"/>
                  <a:pt x="10984" y="6665"/>
                </a:cubicBezTo>
                <a:cubicBezTo>
                  <a:pt x="10984" y="6663"/>
                  <a:pt x="10983" y="6662"/>
                  <a:pt x="10983" y="6660"/>
                </a:cubicBezTo>
                <a:cubicBezTo>
                  <a:pt x="10984" y="6658"/>
                  <a:pt x="10986" y="6655"/>
                  <a:pt x="10987" y="6653"/>
                </a:cubicBezTo>
                <a:cubicBezTo>
                  <a:pt x="10989" y="6650"/>
                  <a:pt x="10991" y="6646"/>
                  <a:pt x="10992" y="6645"/>
                </a:cubicBezTo>
                <a:cubicBezTo>
                  <a:pt x="11009" y="6629"/>
                  <a:pt x="11023" y="6625"/>
                  <a:pt x="11039" y="6620"/>
                </a:cubicBezTo>
                <a:cubicBezTo>
                  <a:pt x="11054" y="6616"/>
                  <a:pt x="11070" y="6611"/>
                  <a:pt x="11087" y="6595"/>
                </a:cubicBezTo>
                <a:cubicBezTo>
                  <a:pt x="11090" y="6592"/>
                  <a:pt x="11093" y="6588"/>
                  <a:pt x="11097" y="6583"/>
                </a:cubicBezTo>
                <a:lnTo>
                  <a:pt x="11227" y="6587"/>
                </a:lnTo>
                <a:lnTo>
                  <a:pt x="11266" y="6588"/>
                </a:lnTo>
                <a:cubicBezTo>
                  <a:pt x="11263" y="6601"/>
                  <a:pt x="11258" y="6612"/>
                  <a:pt x="11258" y="6627"/>
                </a:cubicBezTo>
                <a:cubicBezTo>
                  <a:pt x="11258" y="6655"/>
                  <a:pt x="11264" y="6680"/>
                  <a:pt x="11273" y="6697"/>
                </a:cubicBezTo>
                <a:lnTo>
                  <a:pt x="11198" y="7325"/>
                </a:lnTo>
                <a:lnTo>
                  <a:pt x="11198" y="7326"/>
                </a:lnTo>
                <a:cubicBezTo>
                  <a:pt x="11192" y="7319"/>
                  <a:pt x="11187" y="7312"/>
                  <a:pt x="11181" y="7312"/>
                </a:cubicBezTo>
                <a:cubicBezTo>
                  <a:pt x="11162" y="7312"/>
                  <a:pt x="11146" y="7343"/>
                  <a:pt x="11146" y="7380"/>
                </a:cubicBezTo>
                <a:cubicBezTo>
                  <a:pt x="11146" y="7418"/>
                  <a:pt x="11162" y="7448"/>
                  <a:pt x="11181" y="7448"/>
                </a:cubicBezTo>
                <a:cubicBezTo>
                  <a:pt x="11182" y="7448"/>
                  <a:pt x="11182" y="7446"/>
                  <a:pt x="11183" y="7446"/>
                </a:cubicBezTo>
                <a:lnTo>
                  <a:pt x="11152" y="7702"/>
                </a:lnTo>
                <a:cubicBezTo>
                  <a:pt x="11139" y="7683"/>
                  <a:pt x="11120" y="7654"/>
                  <a:pt x="11095" y="7618"/>
                </a:cubicBezTo>
                <a:cubicBezTo>
                  <a:pt x="11087" y="7606"/>
                  <a:pt x="11078" y="7592"/>
                  <a:pt x="11068" y="7578"/>
                </a:cubicBezTo>
                <a:cubicBezTo>
                  <a:pt x="11066" y="7574"/>
                  <a:pt x="11063" y="7571"/>
                  <a:pt x="11061" y="7567"/>
                </a:cubicBezTo>
                <a:cubicBezTo>
                  <a:pt x="11057" y="7562"/>
                  <a:pt x="11054" y="7556"/>
                  <a:pt x="11050" y="7551"/>
                </a:cubicBezTo>
                <a:cubicBezTo>
                  <a:pt x="11048" y="7547"/>
                  <a:pt x="11045" y="7544"/>
                  <a:pt x="11042" y="7540"/>
                </a:cubicBezTo>
                <a:cubicBezTo>
                  <a:pt x="11038" y="7534"/>
                  <a:pt x="11035" y="7529"/>
                  <a:pt x="11031" y="7523"/>
                </a:cubicBezTo>
                <a:cubicBezTo>
                  <a:pt x="11029" y="7520"/>
                  <a:pt x="11028" y="7518"/>
                  <a:pt x="11026" y="7516"/>
                </a:cubicBezTo>
                <a:cubicBezTo>
                  <a:pt x="11009" y="7491"/>
                  <a:pt x="10992" y="7465"/>
                  <a:pt x="10973" y="7438"/>
                </a:cubicBezTo>
                <a:cubicBezTo>
                  <a:pt x="10972" y="7436"/>
                  <a:pt x="10971" y="7435"/>
                  <a:pt x="10970" y="7433"/>
                </a:cubicBezTo>
                <a:cubicBezTo>
                  <a:pt x="10949" y="7403"/>
                  <a:pt x="10927" y="7371"/>
                  <a:pt x="10905" y="7339"/>
                </a:cubicBezTo>
                <a:cubicBezTo>
                  <a:pt x="10904" y="7337"/>
                  <a:pt x="10903" y="7335"/>
                  <a:pt x="10902" y="7334"/>
                </a:cubicBezTo>
                <a:cubicBezTo>
                  <a:pt x="10895" y="7324"/>
                  <a:pt x="10889" y="7314"/>
                  <a:pt x="10882" y="7304"/>
                </a:cubicBezTo>
                <a:cubicBezTo>
                  <a:pt x="10882" y="7303"/>
                  <a:pt x="10881" y="7304"/>
                  <a:pt x="10881" y="7304"/>
                </a:cubicBezTo>
                <a:cubicBezTo>
                  <a:pt x="10868" y="7284"/>
                  <a:pt x="10855" y="7265"/>
                  <a:pt x="10842" y="7245"/>
                </a:cubicBezTo>
                <a:cubicBezTo>
                  <a:pt x="10838" y="7240"/>
                  <a:pt x="10835" y="7235"/>
                  <a:pt x="10832" y="7230"/>
                </a:cubicBezTo>
                <a:cubicBezTo>
                  <a:pt x="10828" y="7224"/>
                  <a:pt x="10824" y="7219"/>
                  <a:pt x="10820" y="7213"/>
                </a:cubicBezTo>
                <a:cubicBezTo>
                  <a:pt x="10816" y="7208"/>
                  <a:pt x="10813" y="7204"/>
                  <a:pt x="10810" y="7199"/>
                </a:cubicBezTo>
                <a:cubicBezTo>
                  <a:pt x="10804" y="7190"/>
                  <a:pt x="10798" y="7181"/>
                  <a:pt x="10792" y="7172"/>
                </a:cubicBezTo>
                <a:cubicBezTo>
                  <a:pt x="10789" y="7168"/>
                  <a:pt x="10786" y="7164"/>
                  <a:pt x="10784" y="7160"/>
                </a:cubicBezTo>
                <a:cubicBezTo>
                  <a:pt x="10783" y="7159"/>
                  <a:pt x="10782" y="7158"/>
                  <a:pt x="10781" y="7157"/>
                </a:cubicBezTo>
                <a:cubicBezTo>
                  <a:pt x="10787" y="7135"/>
                  <a:pt x="10792" y="7113"/>
                  <a:pt x="10792" y="7087"/>
                </a:cubicBezTo>
                <a:cubicBezTo>
                  <a:pt x="10792" y="7005"/>
                  <a:pt x="10759" y="6939"/>
                  <a:pt x="10718" y="6939"/>
                </a:cubicBezTo>
                <a:cubicBezTo>
                  <a:pt x="10697" y="6939"/>
                  <a:pt x="10678" y="6957"/>
                  <a:pt x="10664" y="6985"/>
                </a:cubicBezTo>
                <a:cubicBezTo>
                  <a:pt x="10660" y="6979"/>
                  <a:pt x="10656" y="6972"/>
                  <a:pt x="10651" y="6965"/>
                </a:cubicBezTo>
                <a:cubicBezTo>
                  <a:pt x="10647" y="6960"/>
                  <a:pt x="10643" y="6955"/>
                  <a:pt x="10639" y="6949"/>
                </a:cubicBezTo>
                <a:cubicBezTo>
                  <a:pt x="10635" y="6943"/>
                  <a:pt x="10631" y="6936"/>
                  <a:pt x="10627" y="6929"/>
                </a:cubicBezTo>
                <a:cubicBezTo>
                  <a:pt x="10623" y="6924"/>
                  <a:pt x="10620" y="6920"/>
                  <a:pt x="10617" y="6915"/>
                </a:cubicBezTo>
                <a:cubicBezTo>
                  <a:pt x="10611" y="6907"/>
                  <a:pt x="10606" y="6899"/>
                  <a:pt x="10600" y="6891"/>
                </a:cubicBezTo>
                <a:cubicBezTo>
                  <a:pt x="10597" y="6886"/>
                  <a:pt x="10594" y="6883"/>
                  <a:pt x="10591" y="6878"/>
                </a:cubicBezTo>
                <a:cubicBezTo>
                  <a:pt x="10587" y="6871"/>
                  <a:pt x="10582" y="6865"/>
                  <a:pt x="10578" y="6858"/>
                </a:cubicBezTo>
                <a:cubicBezTo>
                  <a:pt x="10575" y="6854"/>
                  <a:pt x="10572" y="6851"/>
                  <a:pt x="10570" y="6847"/>
                </a:cubicBezTo>
                <a:cubicBezTo>
                  <a:pt x="10550" y="6818"/>
                  <a:pt x="10530" y="6789"/>
                  <a:pt x="10512" y="6763"/>
                </a:cubicBezTo>
                <a:cubicBezTo>
                  <a:pt x="10521" y="6763"/>
                  <a:pt x="10524" y="6764"/>
                  <a:pt x="10525" y="6765"/>
                </a:cubicBezTo>
                <a:cubicBezTo>
                  <a:pt x="10527" y="6767"/>
                  <a:pt x="10534" y="6770"/>
                  <a:pt x="10541" y="6765"/>
                </a:cubicBezTo>
                <a:cubicBezTo>
                  <a:pt x="10541" y="6765"/>
                  <a:pt x="10542" y="6765"/>
                  <a:pt x="10543" y="6765"/>
                </a:cubicBezTo>
                <a:cubicBezTo>
                  <a:pt x="10555" y="6765"/>
                  <a:pt x="10562" y="6745"/>
                  <a:pt x="10566" y="6731"/>
                </a:cubicBezTo>
                <a:cubicBezTo>
                  <a:pt x="10567" y="6728"/>
                  <a:pt x="10567" y="6725"/>
                  <a:pt x="10568" y="6724"/>
                </a:cubicBezTo>
                <a:cubicBezTo>
                  <a:pt x="10572" y="6715"/>
                  <a:pt x="10579" y="6719"/>
                  <a:pt x="10589" y="6723"/>
                </a:cubicBezTo>
                <a:cubicBezTo>
                  <a:pt x="10595" y="6726"/>
                  <a:pt x="10603" y="6729"/>
                  <a:pt x="10610" y="6729"/>
                </a:cubicBezTo>
                <a:cubicBezTo>
                  <a:pt x="10628" y="6729"/>
                  <a:pt x="10672" y="6683"/>
                  <a:pt x="10672" y="6626"/>
                </a:cubicBezTo>
                <a:cubicBezTo>
                  <a:pt x="10672" y="6615"/>
                  <a:pt x="10670" y="6597"/>
                  <a:pt x="10666" y="6571"/>
                </a:cubicBezTo>
                <a:close/>
                <a:moveTo>
                  <a:pt x="18516" y="6590"/>
                </a:moveTo>
                <a:cubicBezTo>
                  <a:pt x="18525" y="6577"/>
                  <a:pt x="18541" y="6593"/>
                  <a:pt x="18558" y="6620"/>
                </a:cubicBezTo>
                <a:cubicBezTo>
                  <a:pt x="18558" y="6621"/>
                  <a:pt x="18558" y="6621"/>
                  <a:pt x="18558" y="6622"/>
                </a:cubicBezTo>
                <a:cubicBezTo>
                  <a:pt x="18560" y="6628"/>
                  <a:pt x="18562" y="6633"/>
                  <a:pt x="18564" y="6639"/>
                </a:cubicBezTo>
                <a:lnTo>
                  <a:pt x="18481" y="6657"/>
                </a:lnTo>
                <a:cubicBezTo>
                  <a:pt x="18481" y="6649"/>
                  <a:pt x="18479" y="6643"/>
                  <a:pt x="18477" y="6636"/>
                </a:cubicBezTo>
                <a:cubicBezTo>
                  <a:pt x="18490" y="6624"/>
                  <a:pt x="18503" y="6610"/>
                  <a:pt x="18516" y="6590"/>
                </a:cubicBezTo>
                <a:close/>
                <a:moveTo>
                  <a:pt x="11351" y="6603"/>
                </a:moveTo>
                <a:cubicBezTo>
                  <a:pt x="11412" y="6621"/>
                  <a:pt x="11812" y="6738"/>
                  <a:pt x="11812" y="6738"/>
                </a:cubicBezTo>
                <a:lnTo>
                  <a:pt x="11937" y="6774"/>
                </a:lnTo>
                <a:cubicBezTo>
                  <a:pt x="11932" y="6787"/>
                  <a:pt x="11928" y="6803"/>
                  <a:pt x="11928" y="6821"/>
                </a:cubicBezTo>
                <a:cubicBezTo>
                  <a:pt x="11928" y="6859"/>
                  <a:pt x="11943" y="6889"/>
                  <a:pt x="11962" y="6889"/>
                </a:cubicBezTo>
                <a:cubicBezTo>
                  <a:pt x="11981" y="6889"/>
                  <a:pt x="11996" y="6859"/>
                  <a:pt x="11996" y="6821"/>
                </a:cubicBezTo>
                <a:cubicBezTo>
                  <a:pt x="11996" y="6809"/>
                  <a:pt x="11992" y="6799"/>
                  <a:pt x="11990" y="6789"/>
                </a:cubicBezTo>
                <a:lnTo>
                  <a:pt x="12179" y="6844"/>
                </a:lnTo>
                <a:lnTo>
                  <a:pt x="12013" y="6988"/>
                </a:lnTo>
                <a:lnTo>
                  <a:pt x="11866" y="7115"/>
                </a:lnTo>
                <a:cubicBezTo>
                  <a:pt x="11856" y="7056"/>
                  <a:pt x="11830" y="7013"/>
                  <a:pt x="11797" y="7013"/>
                </a:cubicBezTo>
                <a:cubicBezTo>
                  <a:pt x="11756" y="7013"/>
                  <a:pt x="11723" y="7080"/>
                  <a:pt x="11723" y="7161"/>
                </a:cubicBezTo>
                <a:cubicBezTo>
                  <a:pt x="11723" y="7186"/>
                  <a:pt x="11727" y="7208"/>
                  <a:pt x="11733" y="7229"/>
                </a:cubicBezTo>
                <a:lnTo>
                  <a:pt x="11472" y="7454"/>
                </a:lnTo>
                <a:cubicBezTo>
                  <a:pt x="11471" y="7454"/>
                  <a:pt x="11471" y="7455"/>
                  <a:pt x="11470" y="7455"/>
                </a:cubicBezTo>
                <a:lnTo>
                  <a:pt x="11371" y="7540"/>
                </a:lnTo>
                <a:lnTo>
                  <a:pt x="11362" y="7548"/>
                </a:lnTo>
                <a:cubicBezTo>
                  <a:pt x="11352" y="7540"/>
                  <a:pt x="11343" y="7536"/>
                  <a:pt x="11332" y="7536"/>
                </a:cubicBezTo>
                <a:cubicBezTo>
                  <a:pt x="11300" y="7536"/>
                  <a:pt x="11274" y="7577"/>
                  <a:pt x="11263" y="7633"/>
                </a:cubicBezTo>
                <a:lnTo>
                  <a:pt x="11183" y="7702"/>
                </a:lnTo>
                <a:lnTo>
                  <a:pt x="11301" y="6720"/>
                </a:lnTo>
                <a:cubicBezTo>
                  <a:pt x="11303" y="6720"/>
                  <a:pt x="11305" y="6725"/>
                  <a:pt x="11308" y="6725"/>
                </a:cubicBezTo>
                <a:cubicBezTo>
                  <a:pt x="11335" y="6725"/>
                  <a:pt x="11356" y="6682"/>
                  <a:pt x="11356" y="6627"/>
                </a:cubicBezTo>
                <a:cubicBezTo>
                  <a:pt x="11356" y="6618"/>
                  <a:pt x="11352" y="6612"/>
                  <a:pt x="11351" y="6603"/>
                </a:cubicBezTo>
                <a:close/>
                <a:moveTo>
                  <a:pt x="17002" y="6603"/>
                </a:moveTo>
                <a:cubicBezTo>
                  <a:pt x="16974" y="6603"/>
                  <a:pt x="16952" y="6648"/>
                  <a:pt x="16952" y="6702"/>
                </a:cubicBezTo>
                <a:cubicBezTo>
                  <a:pt x="16952" y="6756"/>
                  <a:pt x="16974" y="6800"/>
                  <a:pt x="17002" y="6800"/>
                </a:cubicBezTo>
                <a:cubicBezTo>
                  <a:pt x="17029" y="6800"/>
                  <a:pt x="17050" y="6756"/>
                  <a:pt x="17050" y="6702"/>
                </a:cubicBezTo>
                <a:cubicBezTo>
                  <a:pt x="17050" y="6648"/>
                  <a:pt x="17029" y="6603"/>
                  <a:pt x="17002" y="6603"/>
                </a:cubicBezTo>
                <a:close/>
                <a:moveTo>
                  <a:pt x="2080" y="6658"/>
                </a:moveTo>
                <a:cubicBezTo>
                  <a:pt x="2072" y="6658"/>
                  <a:pt x="2066" y="6670"/>
                  <a:pt x="2066" y="6687"/>
                </a:cubicBezTo>
                <a:lnTo>
                  <a:pt x="2066" y="6722"/>
                </a:lnTo>
                <a:cubicBezTo>
                  <a:pt x="2066" y="6728"/>
                  <a:pt x="2066" y="6733"/>
                  <a:pt x="2068" y="6738"/>
                </a:cubicBezTo>
                <a:cubicBezTo>
                  <a:pt x="2071" y="6746"/>
                  <a:pt x="2073" y="6756"/>
                  <a:pt x="2076" y="6766"/>
                </a:cubicBezTo>
                <a:cubicBezTo>
                  <a:pt x="2081" y="6786"/>
                  <a:pt x="2086" y="6804"/>
                  <a:pt x="2093" y="6815"/>
                </a:cubicBezTo>
                <a:cubicBezTo>
                  <a:pt x="2088" y="6827"/>
                  <a:pt x="2084" y="6842"/>
                  <a:pt x="2084" y="6858"/>
                </a:cubicBezTo>
                <a:cubicBezTo>
                  <a:pt x="2084" y="6896"/>
                  <a:pt x="2100" y="6926"/>
                  <a:pt x="2119" y="6926"/>
                </a:cubicBezTo>
                <a:cubicBezTo>
                  <a:pt x="2120" y="6926"/>
                  <a:pt x="2120" y="6924"/>
                  <a:pt x="2121" y="6924"/>
                </a:cubicBezTo>
                <a:cubicBezTo>
                  <a:pt x="2125" y="6966"/>
                  <a:pt x="2138" y="7011"/>
                  <a:pt x="2161" y="7011"/>
                </a:cubicBezTo>
                <a:cubicBezTo>
                  <a:pt x="2174" y="7011"/>
                  <a:pt x="2179" y="6997"/>
                  <a:pt x="2181" y="6989"/>
                </a:cubicBezTo>
                <a:cubicBezTo>
                  <a:pt x="2187" y="6963"/>
                  <a:pt x="2177" y="6939"/>
                  <a:pt x="2166" y="6913"/>
                </a:cubicBezTo>
                <a:cubicBezTo>
                  <a:pt x="2165" y="6909"/>
                  <a:pt x="2162" y="6902"/>
                  <a:pt x="2161" y="6898"/>
                </a:cubicBezTo>
                <a:cubicBezTo>
                  <a:pt x="2161" y="6897"/>
                  <a:pt x="2161" y="6897"/>
                  <a:pt x="2161" y="6897"/>
                </a:cubicBezTo>
                <a:cubicBezTo>
                  <a:pt x="2163" y="6891"/>
                  <a:pt x="2166" y="6884"/>
                  <a:pt x="2168" y="6875"/>
                </a:cubicBezTo>
                <a:cubicBezTo>
                  <a:pt x="2168" y="6874"/>
                  <a:pt x="2168" y="6874"/>
                  <a:pt x="2168" y="6873"/>
                </a:cubicBezTo>
                <a:cubicBezTo>
                  <a:pt x="2169" y="6871"/>
                  <a:pt x="2170" y="6865"/>
                  <a:pt x="2170" y="6857"/>
                </a:cubicBezTo>
                <a:cubicBezTo>
                  <a:pt x="2170" y="6836"/>
                  <a:pt x="2165" y="6823"/>
                  <a:pt x="2162" y="6814"/>
                </a:cubicBezTo>
                <a:cubicBezTo>
                  <a:pt x="2161" y="6812"/>
                  <a:pt x="2160" y="6808"/>
                  <a:pt x="2159" y="6807"/>
                </a:cubicBezTo>
                <a:cubicBezTo>
                  <a:pt x="2159" y="6792"/>
                  <a:pt x="2159" y="6780"/>
                  <a:pt x="2160" y="6768"/>
                </a:cubicBezTo>
                <a:cubicBezTo>
                  <a:pt x="2161" y="6756"/>
                  <a:pt x="2161" y="6743"/>
                  <a:pt x="2161" y="6731"/>
                </a:cubicBezTo>
                <a:cubicBezTo>
                  <a:pt x="2161" y="6721"/>
                  <a:pt x="2160" y="6712"/>
                  <a:pt x="2158" y="6703"/>
                </a:cubicBezTo>
                <a:cubicBezTo>
                  <a:pt x="2156" y="6691"/>
                  <a:pt x="2151" y="6684"/>
                  <a:pt x="2145" y="6683"/>
                </a:cubicBezTo>
                <a:cubicBezTo>
                  <a:pt x="2141" y="6683"/>
                  <a:pt x="2138" y="6686"/>
                  <a:pt x="2135" y="6690"/>
                </a:cubicBezTo>
                <a:cubicBezTo>
                  <a:pt x="2134" y="6689"/>
                  <a:pt x="2132" y="6687"/>
                  <a:pt x="2131" y="6687"/>
                </a:cubicBezTo>
                <a:cubicBezTo>
                  <a:pt x="2125" y="6686"/>
                  <a:pt x="2119" y="6681"/>
                  <a:pt x="2113" y="6675"/>
                </a:cubicBezTo>
                <a:cubicBezTo>
                  <a:pt x="2104" y="6667"/>
                  <a:pt x="2094" y="6658"/>
                  <a:pt x="2080" y="6658"/>
                </a:cubicBezTo>
                <a:close/>
                <a:moveTo>
                  <a:pt x="18731" y="6665"/>
                </a:moveTo>
                <a:cubicBezTo>
                  <a:pt x="18732" y="6673"/>
                  <a:pt x="18734" y="6681"/>
                  <a:pt x="18736" y="6689"/>
                </a:cubicBezTo>
                <a:cubicBezTo>
                  <a:pt x="18738" y="6704"/>
                  <a:pt x="18741" y="6719"/>
                  <a:pt x="18743" y="6732"/>
                </a:cubicBezTo>
                <a:cubicBezTo>
                  <a:pt x="18746" y="6753"/>
                  <a:pt x="18745" y="6771"/>
                  <a:pt x="18744" y="6793"/>
                </a:cubicBezTo>
                <a:cubicBezTo>
                  <a:pt x="18743" y="6813"/>
                  <a:pt x="18743" y="6835"/>
                  <a:pt x="18745" y="6859"/>
                </a:cubicBezTo>
                <a:cubicBezTo>
                  <a:pt x="18733" y="6840"/>
                  <a:pt x="18718" y="6827"/>
                  <a:pt x="18701" y="6827"/>
                </a:cubicBezTo>
                <a:cubicBezTo>
                  <a:pt x="18695" y="6827"/>
                  <a:pt x="18689" y="6831"/>
                  <a:pt x="18684" y="6834"/>
                </a:cubicBezTo>
                <a:cubicBezTo>
                  <a:pt x="18688" y="6765"/>
                  <a:pt x="18698" y="6708"/>
                  <a:pt x="18712" y="6702"/>
                </a:cubicBezTo>
                <a:cubicBezTo>
                  <a:pt x="18719" y="6699"/>
                  <a:pt x="18723" y="6687"/>
                  <a:pt x="18723" y="6673"/>
                </a:cubicBezTo>
                <a:cubicBezTo>
                  <a:pt x="18723" y="6670"/>
                  <a:pt x="18724" y="6668"/>
                  <a:pt x="18725" y="6666"/>
                </a:cubicBezTo>
                <a:lnTo>
                  <a:pt x="18725" y="6666"/>
                </a:lnTo>
                <a:lnTo>
                  <a:pt x="18731" y="6665"/>
                </a:lnTo>
                <a:close/>
                <a:moveTo>
                  <a:pt x="18591" y="6693"/>
                </a:moveTo>
                <a:cubicBezTo>
                  <a:pt x="18593" y="6695"/>
                  <a:pt x="18595" y="6698"/>
                  <a:pt x="18597" y="6700"/>
                </a:cubicBezTo>
                <a:cubicBezTo>
                  <a:pt x="18615" y="6751"/>
                  <a:pt x="18627" y="6807"/>
                  <a:pt x="18627" y="6842"/>
                </a:cubicBezTo>
                <a:cubicBezTo>
                  <a:pt x="18627" y="6904"/>
                  <a:pt x="18615" y="6977"/>
                  <a:pt x="18591" y="7061"/>
                </a:cubicBezTo>
                <a:cubicBezTo>
                  <a:pt x="18570" y="7138"/>
                  <a:pt x="18571" y="7201"/>
                  <a:pt x="18572" y="7263"/>
                </a:cubicBezTo>
                <a:cubicBezTo>
                  <a:pt x="18572" y="7302"/>
                  <a:pt x="18573" y="7343"/>
                  <a:pt x="18567" y="7390"/>
                </a:cubicBezTo>
                <a:cubicBezTo>
                  <a:pt x="18566" y="7399"/>
                  <a:pt x="18565" y="7409"/>
                  <a:pt x="18563" y="7419"/>
                </a:cubicBezTo>
                <a:lnTo>
                  <a:pt x="18505" y="7515"/>
                </a:lnTo>
                <a:lnTo>
                  <a:pt x="18464" y="7583"/>
                </a:lnTo>
                <a:lnTo>
                  <a:pt x="18308" y="7271"/>
                </a:lnTo>
                <a:lnTo>
                  <a:pt x="18089" y="6830"/>
                </a:lnTo>
                <a:cubicBezTo>
                  <a:pt x="18090" y="6824"/>
                  <a:pt x="18092" y="6820"/>
                  <a:pt x="18092" y="6814"/>
                </a:cubicBezTo>
                <a:cubicBezTo>
                  <a:pt x="18092" y="6808"/>
                  <a:pt x="18090" y="6804"/>
                  <a:pt x="18090" y="6799"/>
                </a:cubicBezTo>
                <a:lnTo>
                  <a:pt x="18399" y="6733"/>
                </a:lnTo>
                <a:cubicBezTo>
                  <a:pt x="18408" y="6752"/>
                  <a:pt x="18421" y="6763"/>
                  <a:pt x="18434" y="6763"/>
                </a:cubicBezTo>
                <a:cubicBezTo>
                  <a:pt x="18451" y="6763"/>
                  <a:pt x="18463" y="6744"/>
                  <a:pt x="18472" y="6718"/>
                </a:cubicBezTo>
                <a:lnTo>
                  <a:pt x="18591" y="6693"/>
                </a:lnTo>
                <a:close/>
                <a:moveTo>
                  <a:pt x="11551" y="6695"/>
                </a:moveTo>
                <a:cubicBezTo>
                  <a:pt x="11543" y="6697"/>
                  <a:pt x="11537" y="6709"/>
                  <a:pt x="11537" y="6724"/>
                </a:cubicBezTo>
                <a:cubicBezTo>
                  <a:pt x="11537" y="6725"/>
                  <a:pt x="11537" y="6727"/>
                  <a:pt x="11537" y="6728"/>
                </a:cubicBezTo>
                <a:cubicBezTo>
                  <a:pt x="11537" y="6728"/>
                  <a:pt x="11537" y="6733"/>
                  <a:pt x="11537" y="6733"/>
                </a:cubicBezTo>
                <a:cubicBezTo>
                  <a:pt x="11538" y="6744"/>
                  <a:pt x="11538" y="6753"/>
                  <a:pt x="11538" y="6763"/>
                </a:cubicBezTo>
                <a:cubicBezTo>
                  <a:pt x="11538" y="6764"/>
                  <a:pt x="11538" y="6765"/>
                  <a:pt x="11538" y="6766"/>
                </a:cubicBezTo>
                <a:cubicBezTo>
                  <a:pt x="11538" y="6783"/>
                  <a:pt x="11545" y="6796"/>
                  <a:pt x="11554" y="6796"/>
                </a:cubicBezTo>
                <a:cubicBezTo>
                  <a:pt x="11562" y="6796"/>
                  <a:pt x="11569" y="6783"/>
                  <a:pt x="11569" y="6766"/>
                </a:cubicBezTo>
                <a:cubicBezTo>
                  <a:pt x="11569" y="6754"/>
                  <a:pt x="11568" y="6741"/>
                  <a:pt x="11567" y="6728"/>
                </a:cubicBezTo>
                <a:lnTo>
                  <a:pt x="11567" y="6722"/>
                </a:lnTo>
                <a:cubicBezTo>
                  <a:pt x="11566" y="6705"/>
                  <a:pt x="11559" y="6693"/>
                  <a:pt x="11551" y="6695"/>
                </a:cubicBezTo>
                <a:close/>
                <a:moveTo>
                  <a:pt x="15907" y="6715"/>
                </a:moveTo>
                <a:cubicBezTo>
                  <a:pt x="15888" y="6715"/>
                  <a:pt x="15873" y="6746"/>
                  <a:pt x="15873" y="6784"/>
                </a:cubicBezTo>
                <a:cubicBezTo>
                  <a:pt x="15873" y="6821"/>
                  <a:pt x="15888" y="6851"/>
                  <a:pt x="15907" y="6851"/>
                </a:cubicBezTo>
                <a:cubicBezTo>
                  <a:pt x="15926" y="6851"/>
                  <a:pt x="15941" y="6821"/>
                  <a:pt x="15941" y="6784"/>
                </a:cubicBezTo>
                <a:cubicBezTo>
                  <a:pt x="15941" y="6746"/>
                  <a:pt x="15926" y="6715"/>
                  <a:pt x="15907" y="6715"/>
                </a:cubicBezTo>
                <a:close/>
                <a:moveTo>
                  <a:pt x="14601" y="6752"/>
                </a:moveTo>
                <a:cubicBezTo>
                  <a:pt x="14574" y="6752"/>
                  <a:pt x="14552" y="6797"/>
                  <a:pt x="14552" y="6851"/>
                </a:cubicBezTo>
                <a:cubicBezTo>
                  <a:pt x="14552" y="6906"/>
                  <a:pt x="14574" y="6949"/>
                  <a:pt x="14601" y="6949"/>
                </a:cubicBezTo>
                <a:cubicBezTo>
                  <a:pt x="14628" y="6949"/>
                  <a:pt x="14650" y="6906"/>
                  <a:pt x="14650" y="6851"/>
                </a:cubicBezTo>
                <a:cubicBezTo>
                  <a:pt x="14650" y="6797"/>
                  <a:pt x="14628" y="6752"/>
                  <a:pt x="14601" y="6752"/>
                </a:cubicBezTo>
                <a:close/>
                <a:moveTo>
                  <a:pt x="10089" y="6759"/>
                </a:moveTo>
                <a:cubicBezTo>
                  <a:pt x="10092" y="6790"/>
                  <a:pt x="10104" y="6814"/>
                  <a:pt x="10120" y="6814"/>
                </a:cubicBezTo>
                <a:cubicBezTo>
                  <a:pt x="10121" y="6814"/>
                  <a:pt x="10122" y="6812"/>
                  <a:pt x="10124" y="6812"/>
                </a:cubicBezTo>
                <a:lnTo>
                  <a:pt x="10124" y="6836"/>
                </a:lnTo>
                <a:cubicBezTo>
                  <a:pt x="10124" y="6845"/>
                  <a:pt x="10126" y="6855"/>
                  <a:pt x="10129" y="6861"/>
                </a:cubicBezTo>
                <a:cubicBezTo>
                  <a:pt x="10133" y="6866"/>
                  <a:pt x="10138" y="6868"/>
                  <a:pt x="10143" y="6865"/>
                </a:cubicBezTo>
                <a:cubicBezTo>
                  <a:pt x="10149" y="6861"/>
                  <a:pt x="10154" y="6857"/>
                  <a:pt x="10158" y="6852"/>
                </a:cubicBezTo>
                <a:cubicBezTo>
                  <a:pt x="10159" y="6851"/>
                  <a:pt x="10161" y="6850"/>
                  <a:pt x="10162" y="6848"/>
                </a:cubicBezTo>
                <a:lnTo>
                  <a:pt x="10164" y="6844"/>
                </a:lnTo>
                <a:cubicBezTo>
                  <a:pt x="10167" y="6840"/>
                  <a:pt x="10169" y="6837"/>
                  <a:pt x="10170" y="6836"/>
                </a:cubicBezTo>
                <a:lnTo>
                  <a:pt x="10173" y="6836"/>
                </a:lnTo>
                <a:cubicBezTo>
                  <a:pt x="10175" y="6836"/>
                  <a:pt x="10178" y="6837"/>
                  <a:pt x="10181" y="6837"/>
                </a:cubicBezTo>
                <a:cubicBezTo>
                  <a:pt x="10199" y="6837"/>
                  <a:pt x="10211" y="6863"/>
                  <a:pt x="10211" y="6887"/>
                </a:cubicBezTo>
                <a:cubicBezTo>
                  <a:pt x="10211" y="6907"/>
                  <a:pt x="10205" y="6924"/>
                  <a:pt x="10197" y="6941"/>
                </a:cubicBezTo>
                <a:cubicBezTo>
                  <a:pt x="10196" y="6941"/>
                  <a:pt x="10196" y="6939"/>
                  <a:pt x="10195" y="6939"/>
                </a:cubicBezTo>
                <a:cubicBezTo>
                  <a:pt x="10176" y="6939"/>
                  <a:pt x="10160" y="6970"/>
                  <a:pt x="10160" y="7007"/>
                </a:cubicBezTo>
                <a:cubicBezTo>
                  <a:pt x="10160" y="7008"/>
                  <a:pt x="10161" y="7009"/>
                  <a:pt x="10161" y="7010"/>
                </a:cubicBezTo>
                <a:cubicBezTo>
                  <a:pt x="10155" y="7021"/>
                  <a:pt x="10148" y="7030"/>
                  <a:pt x="10145" y="7042"/>
                </a:cubicBezTo>
                <a:cubicBezTo>
                  <a:pt x="10142" y="7050"/>
                  <a:pt x="10142" y="7059"/>
                  <a:pt x="10143" y="7068"/>
                </a:cubicBezTo>
                <a:cubicBezTo>
                  <a:pt x="10145" y="7077"/>
                  <a:pt x="10149" y="7084"/>
                  <a:pt x="10153" y="7087"/>
                </a:cubicBezTo>
                <a:cubicBezTo>
                  <a:pt x="10161" y="7091"/>
                  <a:pt x="10167" y="7094"/>
                  <a:pt x="10172" y="7097"/>
                </a:cubicBezTo>
                <a:lnTo>
                  <a:pt x="10167" y="7118"/>
                </a:lnTo>
                <a:lnTo>
                  <a:pt x="10166" y="7123"/>
                </a:lnTo>
                <a:cubicBezTo>
                  <a:pt x="10158" y="7134"/>
                  <a:pt x="10150" y="7138"/>
                  <a:pt x="10140" y="7138"/>
                </a:cubicBezTo>
                <a:lnTo>
                  <a:pt x="10095" y="7138"/>
                </a:lnTo>
                <a:cubicBezTo>
                  <a:pt x="10090" y="7110"/>
                  <a:pt x="10080" y="7088"/>
                  <a:pt x="10064" y="7088"/>
                </a:cubicBezTo>
                <a:cubicBezTo>
                  <a:pt x="10047" y="7088"/>
                  <a:pt x="10035" y="7114"/>
                  <a:pt x="10032" y="7146"/>
                </a:cubicBezTo>
                <a:cubicBezTo>
                  <a:pt x="10024" y="7149"/>
                  <a:pt x="10018" y="7151"/>
                  <a:pt x="10007" y="7156"/>
                </a:cubicBezTo>
                <a:cubicBezTo>
                  <a:pt x="9986" y="7165"/>
                  <a:pt x="9961" y="7176"/>
                  <a:pt x="9946" y="7176"/>
                </a:cubicBezTo>
                <a:cubicBezTo>
                  <a:pt x="9942" y="7176"/>
                  <a:pt x="9939" y="7173"/>
                  <a:pt x="9933" y="7167"/>
                </a:cubicBezTo>
                <a:cubicBezTo>
                  <a:pt x="9927" y="7160"/>
                  <a:pt x="9919" y="7151"/>
                  <a:pt x="9907" y="7151"/>
                </a:cubicBezTo>
                <a:cubicBezTo>
                  <a:pt x="9883" y="7151"/>
                  <a:pt x="9867" y="7184"/>
                  <a:pt x="9861" y="7223"/>
                </a:cubicBezTo>
                <a:lnTo>
                  <a:pt x="9844" y="7223"/>
                </a:lnTo>
                <a:cubicBezTo>
                  <a:pt x="9840" y="7223"/>
                  <a:pt x="9837" y="7224"/>
                  <a:pt x="9834" y="7225"/>
                </a:cubicBezTo>
                <a:cubicBezTo>
                  <a:pt x="9851" y="7188"/>
                  <a:pt x="9872" y="7144"/>
                  <a:pt x="9879" y="7132"/>
                </a:cubicBezTo>
                <a:cubicBezTo>
                  <a:pt x="9887" y="7129"/>
                  <a:pt x="9896" y="7128"/>
                  <a:pt x="9904" y="7126"/>
                </a:cubicBezTo>
                <a:cubicBezTo>
                  <a:pt x="9927" y="7123"/>
                  <a:pt x="9961" y="7118"/>
                  <a:pt x="9961" y="7049"/>
                </a:cubicBezTo>
                <a:cubicBezTo>
                  <a:pt x="9961" y="7039"/>
                  <a:pt x="9959" y="7030"/>
                  <a:pt x="9957" y="7023"/>
                </a:cubicBezTo>
                <a:cubicBezTo>
                  <a:pt x="9957" y="7020"/>
                  <a:pt x="9956" y="7018"/>
                  <a:pt x="9956" y="7019"/>
                </a:cubicBezTo>
                <a:cubicBezTo>
                  <a:pt x="9956" y="7006"/>
                  <a:pt x="9952" y="6995"/>
                  <a:pt x="9946" y="6991"/>
                </a:cubicBezTo>
                <a:cubicBezTo>
                  <a:pt x="9939" y="6987"/>
                  <a:pt x="9932" y="6992"/>
                  <a:pt x="9929" y="7003"/>
                </a:cubicBezTo>
                <a:cubicBezTo>
                  <a:pt x="9923" y="7021"/>
                  <a:pt x="9913" y="7032"/>
                  <a:pt x="9903" y="7032"/>
                </a:cubicBezTo>
                <a:cubicBezTo>
                  <a:pt x="9897" y="7032"/>
                  <a:pt x="9893" y="7024"/>
                  <a:pt x="9888" y="7018"/>
                </a:cubicBezTo>
                <a:cubicBezTo>
                  <a:pt x="9883" y="6994"/>
                  <a:pt x="9873" y="6976"/>
                  <a:pt x="9860" y="6976"/>
                </a:cubicBezTo>
                <a:cubicBezTo>
                  <a:pt x="9856" y="6976"/>
                  <a:pt x="9854" y="6982"/>
                  <a:pt x="9850" y="6984"/>
                </a:cubicBezTo>
                <a:cubicBezTo>
                  <a:pt x="9848" y="6983"/>
                  <a:pt x="9846" y="6981"/>
                  <a:pt x="9844" y="6981"/>
                </a:cubicBezTo>
                <a:cubicBezTo>
                  <a:pt x="9843" y="6981"/>
                  <a:pt x="9842" y="6982"/>
                  <a:pt x="9840" y="6982"/>
                </a:cubicBezTo>
                <a:cubicBezTo>
                  <a:pt x="9843" y="6978"/>
                  <a:pt x="9846" y="6974"/>
                  <a:pt x="9849" y="6970"/>
                </a:cubicBezTo>
                <a:cubicBezTo>
                  <a:pt x="9860" y="6958"/>
                  <a:pt x="9871" y="6945"/>
                  <a:pt x="9879" y="6925"/>
                </a:cubicBezTo>
                <a:lnTo>
                  <a:pt x="10042" y="6796"/>
                </a:lnTo>
                <a:cubicBezTo>
                  <a:pt x="10042" y="6796"/>
                  <a:pt x="10066" y="6777"/>
                  <a:pt x="10089" y="6759"/>
                </a:cubicBezTo>
                <a:close/>
                <a:moveTo>
                  <a:pt x="11572" y="6789"/>
                </a:moveTo>
                <a:cubicBezTo>
                  <a:pt x="11553" y="6789"/>
                  <a:pt x="11537" y="6821"/>
                  <a:pt x="11537" y="6858"/>
                </a:cubicBezTo>
                <a:cubicBezTo>
                  <a:pt x="11537" y="6896"/>
                  <a:pt x="11553" y="6926"/>
                  <a:pt x="11572" y="6926"/>
                </a:cubicBezTo>
                <a:cubicBezTo>
                  <a:pt x="11590" y="6926"/>
                  <a:pt x="11605" y="6896"/>
                  <a:pt x="11605" y="6858"/>
                </a:cubicBezTo>
                <a:cubicBezTo>
                  <a:pt x="11605" y="6821"/>
                  <a:pt x="11590" y="6789"/>
                  <a:pt x="11572" y="6789"/>
                </a:cubicBezTo>
                <a:close/>
                <a:moveTo>
                  <a:pt x="17994" y="6815"/>
                </a:moveTo>
                <a:cubicBezTo>
                  <a:pt x="17994" y="6827"/>
                  <a:pt x="17999" y="6835"/>
                  <a:pt x="18001" y="6845"/>
                </a:cubicBezTo>
                <a:lnTo>
                  <a:pt x="17939" y="7021"/>
                </a:lnTo>
                <a:cubicBezTo>
                  <a:pt x="17932" y="7018"/>
                  <a:pt x="17926" y="7013"/>
                  <a:pt x="17919" y="7013"/>
                </a:cubicBezTo>
                <a:cubicBezTo>
                  <a:pt x="17878" y="7013"/>
                  <a:pt x="17845" y="7080"/>
                  <a:pt x="17845" y="7161"/>
                </a:cubicBezTo>
                <a:cubicBezTo>
                  <a:pt x="17845" y="7194"/>
                  <a:pt x="17851" y="7222"/>
                  <a:pt x="17860" y="7246"/>
                </a:cubicBezTo>
                <a:lnTo>
                  <a:pt x="17855" y="7262"/>
                </a:lnTo>
                <a:cubicBezTo>
                  <a:pt x="17854" y="7261"/>
                  <a:pt x="17853" y="7260"/>
                  <a:pt x="17852" y="7259"/>
                </a:cubicBezTo>
                <a:cubicBezTo>
                  <a:pt x="17850" y="7257"/>
                  <a:pt x="17848" y="7256"/>
                  <a:pt x="17846" y="7253"/>
                </a:cubicBezTo>
                <a:cubicBezTo>
                  <a:pt x="17844" y="7251"/>
                  <a:pt x="17842" y="7248"/>
                  <a:pt x="17840" y="7245"/>
                </a:cubicBezTo>
                <a:cubicBezTo>
                  <a:pt x="17838" y="7243"/>
                  <a:pt x="17836" y="7242"/>
                  <a:pt x="17835" y="7239"/>
                </a:cubicBezTo>
                <a:cubicBezTo>
                  <a:pt x="17833" y="7237"/>
                  <a:pt x="17831" y="7233"/>
                  <a:pt x="17830" y="7230"/>
                </a:cubicBezTo>
                <a:cubicBezTo>
                  <a:pt x="17828" y="7228"/>
                  <a:pt x="17827" y="7226"/>
                  <a:pt x="17826" y="7224"/>
                </a:cubicBezTo>
                <a:cubicBezTo>
                  <a:pt x="17824" y="7220"/>
                  <a:pt x="17823" y="7217"/>
                  <a:pt x="17821" y="7213"/>
                </a:cubicBezTo>
                <a:cubicBezTo>
                  <a:pt x="17821" y="7212"/>
                  <a:pt x="17821" y="7211"/>
                  <a:pt x="17820" y="7210"/>
                </a:cubicBezTo>
                <a:cubicBezTo>
                  <a:pt x="17802" y="7151"/>
                  <a:pt x="17788" y="7086"/>
                  <a:pt x="17775" y="7024"/>
                </a:cubicBezTo>
                <a:cubicBezTo>
                  <a:pt x="17771" y="7005"/>
                  <a:pt x="17767" y="6987"/>
                  <a:pt x="17763" y="6969"/>
                </a:cubicBezTo>
                <a:cubicBezTo>
                  <a:pt x="17762" y="6965"/>
                  <a:pt x="17761" y="6961"/>
                  <a:pt x="17760" y="6956"/>
                </a:cubicBezTo>
                <a:cubicBezTo>
                  <a:pt x="17757" y="6942"/>
                  <a:pt x="17754" y="6929"/>
                  <a:pt x="17751" y="6915"/>
                </a:cubicBezTo>
                <a:cubicBezTo>
                  <a:pt x="17750" y="6910"/>
                  <a:pt x="17748" y="6904"/>
                  <a:pt x="17747" y="6899"/>
                </a:cubicBezTo>
                <a:cubicBezTo>
                  <a:pt x="17743" y="6885"/>
                  <a:pt x="17739" y="6872"/>
                  <a:pt x="17735" y="6858"/>
                </a:cubicBezTo>
                <a:cubicBezTo>
                  <a:pt x="17734" y="6855"/>
                  <a:pt x="17733" y="6852"/>
                  <a:pt x="17733" y="6849"/>
                </a:cubicBezTo>
                <a:cubicBezTo>
                  <a:pt x="17732" y="6848"/>
                  <a:pt x="17732" y="6846"/>
                  <a:pt x="17732" y="6845"/>
                </a:cubicBezTo>
                <a:lnTo>
                  <a:pt x="17994" y="6815"/>
                </a:lnTo>
                <a:close/>
                <a:moveTo>
                  <a:pt x="10441" y="6830"/>
                </a:moveTo>
                <a:cubicBezTo>
                  <a:pt x="10444" y="6863"/>
                  <a:pt x="10457" y="6889"/>
                  <a:pt x="10474" y="6889"/>
                </a:cubicBezTo>
                <a:cubicBezTo>
                  <a:pt x="10489" y="6889"/>
                  <a:pt x="10499" y="6867"/>
                  <a:pt x="10503" y="6840"/>
                </a:cubicBezTo>
                <a:lnTo>
                  <a:pt x="10648" y="7048"/>
                </a:lnTo>
                <a:cubicBezTo>
                  <a:pt x="10646" y="7061"/>
                  <a:pt x="10644" y="7073"/>
                  <a:pt x="10644" y="7087"/>
                </a:cubicBezTo>
                <a:cubicBezTo>
                  <a:pt x="10644" y="7168"/>
                  <a:pt x="10677" y="7235"/>
                  <a:pt x="10718" y="7235"/>
                </a:cubicBezTo>
                <a:cubicBezTo>
                  <a:pt x="10733" y="7235"/>
                  <a:pt x="10746" y="7224"/>
                  <a:pt x="10758" y="7208"/>
                </a:cubicBezTo>
                <a:lnTo>
                  <a:pt x="10914" y="7433"/>
                </a:lnTo>
                <a:lnTo>
                  <a:pt x="11017" y="7581"/>
                </a:lnTo>
                <a:cubicBezTo>
                  <a:pt x="11011" y="7577"/>
                  <a:pt x="11004" y="7573"/>
                  <a:pt x="10997" y="7573"/>
                </a:cubicBezTo>
                <a:cubicBezTo>
                  <a:pt x="10956" y="7573"/>
                  <a:pt x="10923" y="7639"/>
                  <a:pt x="10923" y="7721"/>
                </a:cubicBezTo>
                <a:cubicBezTo>
                  <a:pt x="10923" y="7776"/>
                  <a:pt x="10939" y="7822"/>
                  <a:pt x="10961" y="7848"/>
                </a:cubicBezTo>
                <a:lnTo>
                  <a:pt x="10535" y="8117"/>
                </a:lnTo>
                <a:cubicBezTo>
                  <a:pt x="10529" y="8104"/>
                  <a:pt x="10521" y="8095"/>
                  <a:pt x="10511" y="8095"/>
                </a:cubicBezTo>
                <a:cubicBezTo>
                  <a:pt x="10494" y="8095"/>
                  <a:pt x="10482" y="8121"/>
                  <a:pt x="10479" y="8152"/>
                </a:cubicBezTo>
                <a:lnTo>
                  <a:pt x="10345" y="8237"/>
                </a:lnTo>
                <a:cubicBezTo>
                  <a:pt x="10343" y="8228"/>
                  <a:pt x="10342" y="8218"/>
                  <a:pt x="10339" y="8211"/>
                </a:cubicBezTo>
                <a:cubicBezTo>
                  <a:pt x="10339" y="8153"/>
                  <a:pt x="10339" y="7108"/>
                  <a:pt x="10339" y="7108"/>
                </a:cubicBezTo>
                <a:cubicBezTo>
                  <a:pt x="10375" y="7077"/>
                  <a:pt x="10379" y="7069"/>
                  <a:pt x="10381" y="7065"/>
                </a:cubicBezTo>
                <a:cubicBezTo>
                  <a:pt x="10382" y="7062"/>
                  <a:pt x="10382" y="7060"/>
                  <a:pt x="10383" y="7058"/>
                </a:cubicBezTo>
                <a:cubicBezTo>
                  <a:pt x="10390" y="7045"/>
                  <a:pt x="10396" y="7029"/>
                  <a:pt x="10396" y="7007"/>
                </a:cubicBezTo>
                <a:cubicBezTo>
                  <a:pt x="10396" y="7007"/>
                  <a:pt x="10396" y="7007"/>
                  <a:pt x="10396" y="7006"/>
                </a:cubicBezTo>
                <a:cubicBezTo>
                  <a:pt x="10398" y="6984"/>
                  <a:pt x="10398" y="6961"/>
                  <a:pt x="10397" y="6939"/>
                </a:cubicBezTo>
                <a:cubicBezTo>
                  <a:pt x="10397" y="6930"/>
                  <a:pt x="10396" y="6920"/>
                  <a:pt x="10396" y="6911"/>
                </a:cubicBezTo>
                <a:cubicBezTo>
                  <a:pt x="10398" y="6907"/>
                  <a:pt x="10401" y="6901"/>
                  <a:pt x="10409" y="6889"/>
                </a:cubicBezTo>
                <a:cubicBezTo>
                  <a:pt x="10411" y="6885"/>
                  <a:pt x="10413" y="6883"/>
                  <a:pt x="10413" y="6882"/>
                </a:cubicBezTo>
                <a:lnTo>
                  <a:pt x="10418" y="6870"/>
                </a:lnTo>
                <a:cubicBezTo>
                  <a:pt x="10426" y="6856"/>
                  <a:pt x="10434" y="6844"/>
                  <a:pt x="10441" y="6830"/>
                </a:cubicBezTo>
                <a:close/>
                <a:moveTo>
                  <a:pt x="17696" y="6850"/>
                </a:moveTo>
                <a:cubicBezTo>
                  <a:pt x="17699" y="6857"/>
                  <a:pt x="17701" y="6863"/>
                  <a:pt x="17703" y="6870"/>
                </a:cubicBezTo>
                <a:cubicBezTo>
                  <a:pt x="17706" y="6876"/>
                  <a:pt x="17708" y="6882"/>
                  <a:pt x="17710" y="6889"/>
                </a:cubicBezTo>
                <a:cubicBezTo>
                  <a:pt x="17713" y="6898"/>
                  <a:pt x="17715" y="6909"/>
                  <a:pt x="17718" y="6919"/>
                </a:cubicBezTo>
                <a:cubicBezTo>
                  <a:pt x="17720" y="6926"/>
                  <a:pt x="17722" y="6932"/>
                  <a:pt x="17724" y="6939"/>
                </a:cubicBezTo>
                <a:cubicBezTo>
                  <a:pt x="17726" y="6949"/>
                  <a:pt x="17729" y="6960"/>
                  <a:pt x="17731" y="6971"/>
                </a:cubicBezTo>
                <a:cubicBezTo>
                  <a:pt x="17733" y="6978"/>
                  <a:pt x="17734" y="6985"/>
                  <a:pt x="17736" y="6992"/>
                </a:cubicBezTo>
                <a:cubicBezTo>
                  <a:pt x="17737" y="6998"/>
                  <a:pt x="17739" y="7004"/>
                  <a:pt x="17740" y="7010"/>
                </a:cubicBezTo>
                <a:cubicBezTo>
                  <a:pt x="17743" y="7022"/>
                  <a:pt x="17745" y="7034"/>
                  <a:pt x="17748" y="7046"/>
                </a:cubicBezTo>
                <a:cubicBezTo>
                  <a:pt x="17761" y="7111"/>
                  <a:pt x="17775" y="7179"/>
                  <a:pt x="17795" y="7242"/>
                </a:cubicBezTo>
                <a:cubicBezTo>
                  <a:pt x="17795" y="7242"/>
                  <a:pt x="17795" y="7242"/>
                  <a:pt x="17795" y="7243"/>
                </a:cubicBezTo>
                <a:cubicBezTo>
                  <a:pt x="17797" y="7249"/>
                  <a:pt x="17800" y="7256"/>
                  <a:pt x="17802" y="7262"/>
                </a:cubicBezTo>
                <a:cubicBezTo>
                  <a:pt x="17803" y="7264"/>
                  <a:pt x="17804" y="7264"/>
                  <a:pt x="17805" y="7266"/>
                </a:cubicBezTo>
                <a:cubicBezTo>
                  <a:pt x="17808" y="7271"/>
                  <a:pt x="17810" y="7276"/>
                  <a:pt x="17813" y="7280"/>
                </a:cubicBezTo>
                <a:cubicBezTo>
                  <a:pt x="17813" y="7281"/>
                  <a:pt x="17813" y="7282"/>
                  <a:pt x="17814" y="7283"/>
                </a:cubicBezTo>
                <a:cubicBezTo>
                  <a:pt x="17817" y="7287"/>
                  <a:pt x="17820" y="7292"/>
                  <a:pt x="17824" y="7297"/>
                </a:cubicBezTo>
                <a:cubicBezTo>
                  <a:pt x="17825" y="7298"/>
                  <a:pt x="17826" y="7300"/>
                  <a:pt x="17827" y="7301"/>
                </a:cubicBezTo>
                <a:cubicBezTo>
                  <a:pt x="17830" y="7304"/>
                  <a:pt x="17833" y="7307"/>
                  <a:pt x="17835" y="7309"/>
                </a:cubicBezTo>
                <a:cubicBezTo>
                  <a:pt x="17836" y="7310"/>
                  <a:pt x="17836" y="7311"/>
                  <a:pt x="17837" y="7312"/>
                </a:cubicBezTo>
                <a:lnTo>
                  <a:pt x="17763" y="7524"/>
                </a:lnTo>
                <a:lnTo>
                  <a:pt x="17701" y="7701"/>
                </a:lnTo>
                <a:cubicBezTo>
                  <a:pt x="17684" y="7717"/>
                  <a:pt x="17672" y="7744"/>
                  <a:pt x="17665" y="7778"/>
                </a:cubicBezTo>
                <a:lnTo>
                  <a:pt x="17215" y="7487"/>
                </a:lnTo>
                <a:cubicBezTo>
                  <a:pt x="17207" y="7452"/>
                  <a:pt x="17192" y="7424"/>
                  <a:pt x="17171" y="7424"/>
                </a:cubicBezTo>
                <a:cubicBezTo>
                  <a:pt x="17162" y="7424"/>
                  <a:pt x="17156" y="7435"/>
                  <a:pt x="17148" y="7443"/>
                </a:cubicBezTo>
                <a:lnTo>
                  <a:pt x="16931" y="7302"/>
                </a:lnTo>
                <a:cubicBezTo>
                  <a:pt x="16976" y="7274"/>
                  <a:pt x="17022" y="7250"/>
                  <a:pt x="17069" y="7244"/>
                </a:cubicBezTo>
                <a:cubicBezTo>
                  <a:pt x="17071" y="7244"/>
                  <a:pt x="17071" y="7238"/>
                  <a:pt x="17073" y="7236"/>
                </a:cubicBezTo>
                <a:cubicBezTo>
                  <a:pt x="17079" y="7251"/>
                  <a:pt x="17088" y="7262"/>
                  <a:pt x="17098" y="7262"/>
                </a:cubicBezTo>
                <a:cubicBezTo>
                  <a:pt x="17117" y="7262"/>
                  <a:pt x="17132" y="7232"/>
                  <a:pt x="17132" y="7194"/>
                </a:cubicBezTo>
                <a:cubicBezTo>
                  <a:pt x="17132" y="7156"/>
                  <a:pt x="17117" y="7125"/>
                  <a:pt x="17098" y="7125"/>
                </a:cubicBezTo>
                <a:cubicBezTo>
                  <a:pt x="17081" y="7125"/>
                  <a:pt x="17068" y="7152"/>
                  <a:pt x="17066" y="7185"/>
                </a:cubicBezTo>
                <a:cubicBezTo>
                  <a:pt x="17007" y="7192"/>
                  <a:pt x="16951" y="7227"/>
                  <a:pt x="16896" y="7262"/>
                </a:cubicBezTo>
                <a:lnTo>
                  <a:pt x="16882" y="7271"/>
                </a:lnTo>
                <a:lnTo>
                  <a:pt x="16453" y="6993"/>
                </a:lnTo>
                <a:lnTo>
                  <a:pt x="17362" y="6889"/>
                </a:lnTo>
                <a:cubicBezTo>
                  <a:pt x="17358" y="6899"/>
                  <a:pt x="17355" y="6910"/>
                  <a:pt x="17352" y="6921"/>
                </a:cubicBezTo>
                <a:cubicBezTo>
                  <a:pt x="17351" y="6926"/>
                  <a:pt x="17350" y="6931"/>
                  <a:pt x="17350" y="6935"/>
                </a:cubicBezTo>
                <a:cubicBezTo>
                  <a:pt x="17350" y="6946"/>
                  <a:pt x="17353" y="6957"/>
                  <a:pt x="17359" y="6962"/>
                </a:cubicBezTo>
                <a:cubicBezTo>
                  <a:pt x="17366" y="6970"/>
                  <a:pt x="17375" y="6964"/>
                  <a:pt x="17379" y="6949"/>
                </a:cubicBezTo>
                <a:cubicBezTo>
                  <a:pt x="17385" y="6926"/>
                  <a:pt x="17391" y="6904"/>
                  <a:pt x="17398" y="6884"/>
                </a:cubicBezTo>
                <a:lnTo>
                  <a:pt x="17417" y="6882"/>
                </a:lnTo>
                <a:cubicBezTo>
                  <a:pt x="17418" y="6971"/>
                  <a:pt x="17454" y="7044"/>
                  <a:pt x="17499" y="7044"/>
                </a:cubicBezTo>
                <a:cubicBezTo>
                  <a:pt x="17545" y="7044"/>
                  <a:pt x="17581" y="6970"/>
                  <a:pt x="17581" y="6879"/>
                </a:cubicBezTo>
                <a:cubicBezTo>
                  <a:pt x="17581" y="6873"/>
                  <a:pt x="17580" y="6869"/>
                  <a:pt x="17580" y="6863"/>
                </a:cubicBezTo>
                <a:lnTo>
                  <a:pt x="17592" y="6862"/>
                </a:lnTo>
                <a:lnTo>
                  <a:pt x="17696" y="6850"/>
                </a:lnTo>
                <a:close/>
                <a:moveTo>
                  <a:pt x="12215" y="6878"/>
                </a:moveTo>
                <a:cubicBezTo>
                  <a:pt x="12213" y="6908"/>
                  <a:pt x="12211" y="6950"/>
                  <a:pt x="12208" y="6999"/>
                </a:cubicBezTo>
                <a:cubicBezTo>
                  <a:pt x="12196" y="7171"/>
                  <a:pt x="12179" y="7437"/>
                  <a:pt x="12165" y="7640"/>
                </a:cubicBezTo>
                <a:cubicBezTo>
                  <a:pt x="12159" y="7735"/>
                  <a:pt x="12154" y="7816"/>
                  <a:pt x="12151" y="7868"/>
                </a:cubicBezTo>
                <a:cubicBezTo>
                  <a:pt x="12150" y="7881"/>
                  <a:pt x="12149" y="7892"/>
                  <a:pt x="12148" y="7902"/>
                </a:cubicBezTo>
                <a:lnTo>
                  <a:pt x="12137" y="7900"/>
                </a:lnTo>
                <a:lnTo>
                  <a:pt x="12058" y="7885"/>
                </a:lnTo>
                <a:cubicBezTo>
                  <a:pt x="12024" y="7808"/>
                  <a:pt x="12004" y="7778"/>
                  <a:pt x="11987" y="7778"/>
                </a:cubicBezTo>
                <a:cubicBezTo>
                  <a:pt x="11955" y="7778"/>
                  <a:pt x="11938" y="7818"/>
                  <a:pt x="11923" y="7854"/>
                </a:cubicBezTo>
                <a:cubicBezTo>
                  <a:pt x="11922" y="7856"/>
                  <a:pt x="11922" y="7859"/>
                  <a:pt x="11921" y="7861"/>
                </a:cubicBezTo>
                <a:lnTo>
                  <a:pt x="11392" y="7765"/>
                </a:lnTo>
                <a:cubicBezTo>
                  <a:pt x="11400" y="7741"/>
                  <a:pt x="11406" y="7715"/>
                  <a:pt x="11406" y="7684"/>
                </a:cubicBezTo>
                <a:cubicBezTo>
                  <a:pt x="11406" y="7648"/>
                  <a:pt x="11399" y="7617"/>
                  <a:pt x="11388" y="7592"/>
                </a:cubicBezTo>
                <a:lnTo>
                  <a:pt x="11465" y="7525"/>
                </a:lnTo>
                <a:cubicBezTo>
                  <a:pt x="11473" y="7596"/>
                  <a:pt x="11502" y="7606"/>
                  <a:pt x="11524" y="7607"/>
                </a:cubicBezTo>
                <a:cubicBezTo>
                  <a:pt x="11532" y="7607"/>
                  <a:pt x="11539" y="7593"/>
                  <a:pt x="11540" y="7576"/>
                </a:cubicBezTo>
                <a:cubicBezTo>
                  <a:pt x="11540" y="7560"/>
                  <a:pt x="11533" y="7546"/>
                  <a:pt x="11525" y="7546"/>
                </a:cubicBezTo>
                <a:cubicBezTo>
                  <a:pt x="11505" y="7545"/>
                  <a:pt x="11495" y="7541"/>
                  <a:pt x="11493" y="7501"/>
                </a:cubicBezTo>
                <a:lnTo>
                  <a:pt x="11752" y="7277"/>
                </a:lnTo>
                <a:cubicBezTo>
                  <a:pt x="11765" y="7296"/>
                  <a:pt x="11780" y="7309"/>
                  <a:pt x="11797" y="7309"/>
                </a:cubicBezTo>
                <a:cubicBezTo>
                  <a:pt x="11835" y="7309"/>
                  <a:pt x="11865" y="7251"/>
                  <a:pt x="11869" y="7176"/>
                </a:cubicBezTo>
                <a:lnTo>
                  <a:pt x="12136" y="6947"/>
                </a:lnTo>
                <a:cubicBezTo>
                  <a:pt x="12139" y="6977"/>
                  <a:pt x="12151" y="7000"/>
                  <a:pt x="12167" y="7000"/>
                </a:cubicBezTo>
                <a:cubicBezTo>
                  <a:pt x="12186" y="7000"/>
                  <a:pt x="12201" y="6971"/>
                  <a:pt x="12201" y="6933"/>
                </a:cubicBezTo>
                <a:cubicBezTo>
                  <a:pt x="12201" y="6919"/>
                  <a:pt x="12197" y="6908"/>
                  <a:pt x="12194" y="6897"/>
                </a:cubicBezTo>
                <a:lnTo>
                  <a:pt x="12215" y="6878"/>
                </a:lnTo>
                <a:close/>
                <a:moveTo>
                  <a:pt x="16073" y="6882"/>
                </a:moveTo>
                <a:cubicBezTo>
                  <a:pt x="16065" y="6882"/>
                  <a:pt x="16059" y="6894"/>
                  <a:pt x="16059" y="6911"/>
                </a:cubicBezTo>
                <a:cubicBezTo>
                  <a:pt x="16059" y="6927"/>
                  <a:pt x="16065" y="6941"/>
                  <a:pt x="16073" y="6941"/>
                </a:cubicBezTo>
                <a:cubicBezTo>
                  <a:pt x="16080" y="6941"/>
                  <a:pt x="16090" y="6942"/>
                  <a:pt x="16102" y="6945"/>
                </a:cubicBezTo>
                <a:cubicBezTo>
                  <a:pt x="16104" y="6945"/>
                  <a:pt x="16107" y="6945"/>
                  <a:pt x="16109" y="6943"/>
                </a:cubicBezTo>
                <a:cubicBezTo>
                  <a:pt x="16111" y="6946"/>
                  <a:pt x="16113" y="6947"/>
                  <a:pt x="16115" y="6948"/>
                </a:cubicBezTo>
                <a:lnTo>
                  <a:pt x="16120" y="6950"/>
                </a:lnTo>
                <a:cubicBezTo>
                  <a:pt x="16124" y="6952"/>
                  <a:pt x="16128" y="6950"/>
                  <a:pt x="16131" y="6946"/>
                </a:cubicBezTo>
                <a:cubicBezTo>
                  <a:pt x="16133" y="6951"/>
                  <a:pt x="16137" y="6955"/>
                  <a:pt x="16140" y="6956"/>
                </a:cubicBezTo>
                <a:cubicBezTo>
                  <a:pt x="16143" y="6958"/>
                  <a:pt x="16145" y="6957"/>
                  <a:pt x="16148" y="6956"/>
                </a:cubicBezTo>
                <a:cubicBezTo>
                  <a:pt x="16150" y="6959"/>
                  <a:pt x="16152" y="6961"/>
                  <a:pt x="16154" y="6962"/>
                </a:cubicBezTo>
                <a:lnTo>
                  <a:pt x="16163" y="6965"/>
                </a:lnTo>
                <a:cubicBezTo>
                  <a:pt x="16163" y="6966"/>
                  <a:pt x="16164" y="6965"/>
                  <a:pt x="16164" y="6965"/>
                </a:cubicBezTo>
                <a:cubicBezTo>
                  <a:pt x="16165" y="6966"/>
                  <a:pt x="16165" y="6966"/>
                  <a:pt x="16166" y="6967"/>
                </a:cubicBezTo>
                <a:cubicBezTo>
                  <a:pt x="16189" y="6977"/>
                  <a:pt x="16207" y="6988"/>
                  <a:pt x="16220" y="7000"/>
                </a:cubicBezTo>
                <a:cubicBezTo>
                  <a:pt x="16222" y="7002"/>
                  <a:pt x="16224" y="7003"/>
                  <a:pt x="16226" y="7003"/>
                </a:cubicBezTo>
                <a:cubicBezTo>
                  <a:pt x="16232" y="7003"/>
                  <a:pt x="16237" y="6996"/>
                  <a:pt x="16240" y="6985"/>
                </a:cubicBezTo>
                <a:cubicBezTo>
                  <a:pt x="16241" y="6981"/>
                  <a:pt x="16241" y="6977"/>
                  <a:pt x="16241" y="6972"/>
                </a:cubicBezTo>
                <a:cubicBezTo>
                  <a:pt x="16241" y="6961"/>
                  <a:pt x="16238" y="6951"/>
                  <a:pt x="16232" y="6946"/>
                </a:cubicBezTo>
                <a:cubicBezTo>
                  <a:pt x="16217" y="6932"/>
                  <a:pt x="16197" y="6920"/>
                  <a:pt x="16172" y="6908"/>
                </a:cubicBezTo>
                <a:cubicBezTo>
                  <a:pt x="16172" y="6908"/>
                  <a:pt x="16172" y="6908"/>
                  <a:pt x="16171" y="6908"/>
                </a:cubicBezTo>
                <a:cubicBezTo>
                  <a:pt x="16171" y="6908"/>
                  <a:pt x="16170" y="6907"/>
                  <a:pt x="16169" y="6907"/>
                </a:cubicBezTo>
                <a:cubicBezTo>
                  <a:pt x="16168" y="6906"/>
                  <a:pt x="16166" y="6906"/>
                  <a:pt x="16164" y="6905"/>
                </a:cubicBezTo>
                <a:lnTo>
                  <a:pt x="16160" y="6903"/>
                </a:lnTo>
                <a:cubicBezTo>
                  <a:pt x="16158" y="6902"/>
                  <a:pt x="16155" y="6903"/>
                  <a:pt x="16153" y="6904"/>
                </a:cubicBezTo>
                <a:cubicBezTo>
                  <a:pt x="16152" y="6902"/>
                  <a:pt x="16150" y="6900"/>
                  <a:pt x="16149" y="6899"/>
                </a:cubicBezTo>
                <a:cubicBezTo>
                  <a:pt x="16148" y="6899"/>
                  <a:pt x="16146" y="6898"/>
                  <a:pt x="16146" y="6898"/>
                </a:cubicBezTo>
                <a:cubicBezTo>
                  <a:pt x="16142" y="6896"/>
                  <a:pt x="16138" y="6897"/>
                  <a:pt x="16135" y="6901"/>
                </a:cubicBezTo>
                <a:cubicBezTo>
                  <a:pt x="16132" y="6896"/>
                  <a:pt x="16129" y="6892"/>
                  <a:pt x="16126" y="6891"/>
                </a:cubicBezTo>
                <a:cubicBezTo>
                  <a:pt x="16124" y="6890"/>
                  <a:pt x="16123" y="6890"/>
                  <a:pt x="16121" y="6890"/>
                </a:cubicBezTo>
                <a:lnTo>
                  <a:pt x="16119" y="6890"/>
                </a:lnTo>
                <a:cubicBezTo>
                  <a:pt x="16117" y="6889"/>
                  <a:pt x="16115" y="6889"/>
                  <a:pt x="16112" y="6891"/>
                </a:cubicBezTo>
                <a:cubicBezTo>
                  <a:pt x="16110" y="6888"/>
                  <a:pt x="16108" y="6886"/>
                  <a:pt x="16105" y="6885"/>
                </a:cubicBezTo>
                <a:cubicBezTo>
                  <a:pt x="16092" y="6882"/>
                  <a:pt x="16081" y="6882"/>
                  <a:pt x="16073" y="6882"/>
                </a:cubicBezTo>
                <a:close/>
                <a:moveTo>
                  <a:pt x="12302" y="6885"/>
                </a:moveTo>
                <a:lnTo>
                  <a:pt x="12506" y="6957"/>
                </a:lnTo>
                <a:lnTo>
                  <a:pt x="12542" y="6970"/>
                </a:lnTo>
                <a:cubicBezTo>
                  <a:pt x="12542" y="7008"/>
                  <a:pt x="12558" y="7038"/>
                  <a:pt x="12576" y="7038"/>
                </a:cubicBezTo>
                <a:cubicBezTo>
                  <a:pt x="12591" y="7038"/>
                  <a:pt x="12601" y="7018"/>
                  <a:pt x="12605" y="6992"/>
                </a:cubicBezTo>
                <a:lnTo>
                  <a:pt x="12992" y="7131"/>
                </a:lnTo>
                <a:cubicBezTo>
                  <a:pt x="12990" y="7141"/>
                  <a:pt x="12989" y="7151"/>
                  <a:pt x="12989" y="7161"/>
                </a:cubicBezTo>
                <a:cubicBezTo>
                  <a:pt x="12989" y="7243"/>
                  <a:pt x="13022" y="7309"/>
                  <a:pt x="13062" y="7309"/>
                </a:cubicBezTo>
                <a:cubicBezTo>
                  <a:pt x="13100" y="7309"/>
                  <a:pt x="13129" y="7253"/>
                  <a:pt x="13134" y="7181"/>
                </a:cubicBezTo>
                <a:lnTo>
                  <a:pt x="13250" y="7223"/>
                </a:lnTo>
                <a:lnTo>
                  <a:pt x="13265" y="7382"/>
                </a:lnTo>
                <a:lnTo>
                  <a:pt x="13296" y="7730"/>
                </a:lnTo>
                <a:cubicBezTo>
                  <a:pt x="13274" y="7714"/>
                  <a:pt x="13248" y="7706"/>
                  <a:pt x="13217" y="7706"/>
                </a:cubicBezTo>
                <a:cubicBezTo>
                  <a:pt x="13148" y="7706"/>
                  <a:pt x="13111" y="7734"/>
                  <a:pt x="13061" y="7773"/>
                </a:cubicBezTo>
                <a:lnTo>
                  <a:pt x="13053" y="7779"/>
                </a:lnTo>
                <a:cubicBezTo>
                  <a:pt x="13051" y="7781"/>
                  <a:pt x="13047" y="7785"/>
                  <a:pt x="13037" y="7794"/>
                </a:cubicBezTo>
                <a:cubicBezTo>
                  <a:pt x="13030" y="7802"/>
                  <a:pt x="13020" y="7812"/>
                  <a:pt x="13011" y="7821"/>
                </a:cubicBezTo>
                <a:lnTo>
                  <a:pt x="12684" y="7389"/>
                </a:lnTo>
                <a:cubicBezTo>
                  <a:pt x="12679" y="7376"/>
                  <a:pt x="12672" y="7371"/>
                  <a:pt x="12665" y="7364"/>
                </a:cubicBezTo>
                <a:lnTo>
                  <a:pt x="12302" y="6885"/>
                </a:lnTo>
                <a:close/>
                <a:moveTo>
                  <a:pt x="18074" y="6886"/>
                </a:moveTo>
                <a:lnTo>
                  <a:pt x="18431" y="7602"/>
                </a:lnTo>
                <a:lnTo>
                  <a:pt x="17795" y="7758"/>
                </a:lnTo>
                <a:cubicBezTo>
                  <a:pt x="17784" y="7720"/>
                  <a:pt x="17765" y="7694"/>
                  <a:pt x="17742" y="7688"/>
                </a:cubicBezTo>
                <a:cubicBezTo>
                  <a:pt x="17782" y="7573"/>
                  <a:pt x="17866" y="7335"/>
                  <a:pt x="17866" y="7335"/>
                </a:cubicBezTo>
                <a:cubicBezTo>
                  <a:pt x="17873" y="7341"/>
                  <a:pt x="17881" y="7346"/>
                  <a:pt x="17888" y="7351"/>
                </a:cubicBezTo>
                <a:cubicBezTo>
                  <a:pt x="17915" y="7370"/>
                  <a:pt x="17942" y="7389"/>
                  <a:pt x="17956" y="7418"/>
                </a:cubicBezTo>
                <a:cubicBezTo>
                  <a:pt x="17962" y="7430"/>
                  <a:pt x="17970" y="7452"/>
                  <a:pt x="17977" y="7475"/>
                </a:cubicBezTo>
                <a:cubicBezTo>
                  <a:pt x="17977" y="7475"/>
                  <a:pt x="17977" y="7477"/>
                  <a:pt x="17977" y="7477"/>
                </a:cubicBezTo>
                <a:cubicBezTo>
                  <a:pt x="17977" y="7478"/>
                  <a:pt x="17978" y="7477"/>
                  <a:pt x="17978" y="7477"/>
                </a:cubicBezTo>
                <a:lnTo>
                  <a:pt x="18002" y="7443"/>
                </a:lnTo>
                <a:cubicBezTo>
                  <a:pt x="18002" y="7443"/>
                  <a:pt x="18002" y="7442"/>
                  <a:pt x="18002" y="7442"/>
                </a:cubicBezTo>
                <a:cubicBezTo>
                  <a:pt x="17994" y="7417"/>
                  <a:pt x="17986" y="7392"/>
                  <a:pt x="17977" y="7375"/>
                </a:cubicBezTo>
                <a:cubicBezTo>
                  <a:pt x="17962" y="7343"/>
                  <a:pt x="17938" y="7325"/>
                  <a:pt x="17913" y="7307"/>
                </a:cubicBezTo>
                <a:cubicBezTo>
                  <a:pt x="17915" y="7307"/>
                  <a:pt x="17917" y="7309"/>
                  <a:pt x="17919" y="7309"/>
                </a:cubicBezTo>
                <a:cubicBezTo>
                  <a:pt x="17960" y="7309"/>
                  <a:pt x="17993" y="7243"/>
                  <a:pt x="17993" y="7161"/>
                </a:cubicBezTo>
                <a:cubicBezTo>
                  <a:pt x="17993" y="7116"/>
                  <a:pt x="17982" y="7077"/>
                  <a:pt x="17966" y="7049"/>
                </a:cubicBezTo>
                <a:lnTo>
                  <a:pt x="18020" y="6893"/>
                </a:lnTo>
                <a:cubicBezTo>
                  <a:pt x="18028" y="6902"/>
                  <a:pt x="18035" y="6912"/>
                  <a:pt x="18044" y="6912"/>
                </a:cubicBezTo>
                <a:cubicBezTo>
                  <a:pt x="18056" y="6912"/>
                  <a:pt x="18066" y="6901"/>
                  <a:pt x="18074" y="6886"/>
                </a:cubicBezTo>
                <a:close/>
                <a:moveTo>
                  <a:pt x="5545" y="6901"/>
                </a:moveTo>
                <a:cubicBezTo>
                  <a:pt x="5504" y="6901"/>
                  <a:pt x="5471" y="6968"/>
                  <a:pt x="5471" y="7049"/>
                </a:cubicBezTo>
                <a:cubicBezTo>
                  <a:pt x="5471" y="7131"/>
                  <a:pt x="5504" y="7197"/>
                  <a:pt x="5545" y="7197"/>
                </a:cubicBezTo>
                <a:cubicBezTo>
                  <a:pt x="5586" y="7197"/>
                  <a:pt x="5619" y="7131"/>
                  <a:pt x="5619" y="7049"/>
                </a:cubicBezTo>
                <a:cubicBezTo>
                  <a:pt x="5619" y="6968"/>
                  <a:pt x="5586" y="6901"/>
                  <a:pt x="5545" y="6901"/>
                </a:cubicBezTo>
                <a:close/>
                <a:moveTo>
                  <a:pt x="11517" y="6919"/>
                </a:moveTo>
                <a:cubicBezTo>
                  <a:pt x="11509" y="6922"/>
                  <a:pt x="11504" y="6939"/>
                  <a:pt x="11506" y="6955"/>
                </a:cubicBezTo>
                <a:cubicBezTo>
                  <a:pt x="11510" y="6991"/>
                  <a:pt x="11518" y="7020"/>
                  <a:pt x="11527" y="7049"/>
                </a:cubicBezTo>
                <a:cubicBezTo>
                  <a:pt x="11536" y="7082"/>
                  <a:pt x="11544" y="7110"/>
                  <a:pt x="11544" y="7142"/>
                </a:cubicBezTo>
                <a:cubicBezTo>
                  <a:pt x="11544" y="7157"/>
                  <a:pt x="11531" y="7171"/>
                  <a:pt x="11521" y="7182"/>
                </a:cubicBezTo>
                <a:cubicBezTo>
                  <a:pt x="11516" y="7188"/>
                  <a:pt x="11510" y="7194"/>
                  <a:pt x="11506" y="7201"/>
                </a:cubicBezTo>
                <a:cubicBezTo>
                  <a:pt x="11506" y="7201"/>
                  <a:pt x="11506" y="7202"/>
                  <a:pt x="11506" y="7202"/>
                </a:cubicBezTo>
                <a:cubicBezTo>
                  <a:pt x="11502" y="7208"/>
                  <a:pt x="11500" y="7217"/>
                  <a:pt x="11500" y="7225"/>
                </a:cubicBezTo>
                <a:cubicBezTo>
                  <a:pt x="11500" y="7232"/>
                  <a:pt x="11501" y="7239"/>
                  <a:pt x="11503" y="7244"/>
                </a:cubicBezTo>
                <a:cubicBezTo>
                  <a:pt x="11506" y="7252"/>
                  <a:pt x="11510" y="7256"/>
                  <a:pt x="11515" y="7256"/>
                </a:cubicBezTo>
                <a:cubicBezTo>
                  <a:pt x="11518" y="7256"/>
                  <a:pt x="11521" y="7253"/>
                  <a:pt x="11524" y="7249"/>
                </a:cubicBezTo>
                <a:cubicBezTo>
                  <a:pt x="11527" y="7244"/>
                  <a:pt x="11531" y="7240"/>
                  <a:pt x="11535" y="7235"/>
                </a:cubicBezTo>
                <a:cubicBezTo>
                  <a:pt x="11551" y="7218"/>
                  <a:pt x="11574" y="7192"/>
                  <a:pt x="11574" y="7142"/>
                </a:cubicBezTo>
                <a:cubicBezTo>
                  <a:pt x="11574" y="7094"/>
                  <a:pt x="11563" y="7057"/>
                  <a:pt x="11552" y="7020"/>
                </a:cubicBezTo>
                <a:cubicBezTo>
                  <a:pt x="11545" y="6994"/>
                  <a:pt x="11538" y="6969"/>
                  <a:pt x="11535" y="6942"/>
                </a:cubicBezTo>
                <a:cubicBezTo>
                  <a:pt x="11533" y="6926"/>
                  <a:pt x="11526" y="6915"/>
                  <a:pt x="11517" y="6919"/>
                </a:cubicBezTo>
                <a:close/>
                <a:moveTo>
                  <a:pt x="12276" y="6922"/>
                </a:moveTo>
                <a:lnTo>
                  <a:pt x="12618" y="7374"/>
                </a:lnTo>
                <a:cubicBezTo>
                  <a:pt x="12606" y="7392"/>
                  <a:pt x="12598" y="7417"/>
                  <a:pt x="12598" y="7448"/>
                </a:cubicBezTo>
                <a:cubicBezTo>
                  <a:pt x="12598" y="7503"/>
                  <a:pt x="12620" y="7546"/>
                  <a:pt x="12647" y="7546"/>
                </a:cubicBezTo>
                <a:cubicBezTo>
                  <a:pt x="12670" y="7546"/>
                  <a:pt x="12686" y="7512"/>
                  <a:pt x="12691" y="7470"/>
                </a:cubicBezTo>
                <a:lnTo>
                  <a:pt x="12974" y="7843"/>
                </a:lnTo>
                <a:cubicBezTo>
                  <a:pt x="12971" y="7845"/>
                  <a:pt x="12967" y="7848"/>
                  <a:pt x="12965" y="7853"/>
                </a:cubicBezTo>
                <a:cubicBezTo>
                  <a:pt x="12956" y="7875"/>
                  <a:pt x="12911" y="8040"/>
                  <a:pt x="12911" y="8075"/>
                </a:cubicBezTo>
                <a:cubicBezTo>
                  <a:pt x="12911" y="8121"/>
                  <a:pt x="12927" y="8161"/>
                  <a:pt x="12942" y="8197"/>
                </a:cubicBezTo>
                <a:cubicBezTo>
                  <a:pt x="12948" y="8212"/>
                  <a:pt x="12958" y="8237"/>
                  <a:pt x="12958" y="8245"/>
                </a:cubicBezTo>
                <a:cubicBezTo>
                  <a:pt x="12958" y="8386"/>
                  <a:pt x="13031" y="8618"/>
                  <a:pt x="13092" y="8712"/>
                </a:cubicBezTo>
                <a:cubicBezTo>
                  <a:pt x="13079" y="8739"/>
                  <a:pt x="13073" y="8774"/>
                  <a:pt x="13066" y="8810"/>
                </a:cubicBezTo>
                <a:cubicBezTo>
                  <a:pt x="13061" y="8834"/>
                  <a:pt x="13057" y="8859"/>
                  <a:pt x="13050" y="8881"/>
                </a:cubicBezTo>
                <a:lnTo>
                  <a:pt x="13043" y="8879"/>
                </a:lnTo>
                <a:cubicBezTo>
                  <a:pt x="13043" y="8871"/>
                  <a:pt x="13041" y="8864"/>
                  <a:pt x="13038" y="8859"/>
                </a:cubicBezTo>
                <a:cubicBezTo>
                  <a:pt x="13036" y="8855"/>
                  <a:pt x="13034" y="8840"/>
                  <a:pt x="13033" y="8830"/>
                </a:cubicBezTo>
                <a:cubicBezTo>
                  <a:pt x="13031" y="8818"/>
                  <a:pt x="13030" y="8807"/>
                  <a:pt x="13027" y="8795"/>
                </a:cubicBezTo>
                <a:cubicBezTo>
                  <a:pt x="13027" y="8794"/>
                  <a:pt x="13027" y="8793"/>
                  <a:pt x="13027" y="8793"/>
                </a:cubicBezTo>
                <a:cubicBezTo>
                  <a:pt x="13027" y="8793"/>
                  <a:pt x="13027" y="8792"/>
                  <a:pt x="13027" y="8792"/>
                </a:cubicBezTo>
                <a:cubicBezTo>
                  <a:pt x="13027" y="8792"/>
                  <a:pt x="13026" y="8792"/>
                  <a:pt x="13026" y="8792"/>
                </a:cubicBezTo>
                <a:cubicBezTo>
                  <a:pt x="13026" y="8792"/>
                  <a:pt x="13026" y="8791"/>
                  <a:pt x="13026" y="8791"/>
                </a:cubicBezTo>
                <a:cubicBezTo>
                  <a:pt x="13026" y="8791"/>
                  <a:pt x="13026" y="8790"/>
                  <a:pt x="13026" y="8790"/>
                </a:cubicBezTo>
                <a:cubicBezTo>
                  <a:pt x="13026" y="8790"/>
                  <a:pt x="13026" y="8789"/>
                  <a:pt x="13026" y="8789"/>
                </a:cubicBezTo>
                <a:cubicBezTo>
                  <a:pt x="13023" y="8780"/>
                  <a:pt x="13019" y="8775"/>
                  <a:pt x="13014" y="8774"/>
                </a:cubicBezTo>
                <a:cubicBezTo>
                  <a:pt x="13013" y="8773"/>
                  <a:pt x="13012" y="8773"/>
                  <a:pt x="13011" y="8774"/>
                </a:cubicBezTo>
                <a:cubicBezTo>
                  <a:pt x="13007" y="8775"/>
                  <a:pt x="13004" y="8776"/>
                  <a:pt x="13001" y="8776"/>
                </a:cubicBezTo>
                <a:cubicBezTo>
                  <a:pt x="12995" y="8777"/>
                  <a:pt x="12991" y="8778"/>
                  <a:pt x="12978" y="8788"/>
                </a:cubicBezTo>
                <a:cubicBezTo>
                  <a:pt x="12961" y="8799"/>
                  <a:pt x="12952" y="8823"/>
                  <a:pt x="12944" y="8842"/>
                </a:cubicBezTo>
                <a:cubicBezTo>
                  <a:pt x="12934" y="8867"/>
                  <a:pt x="12927" y="8883"/>
                  <a:pt x="12907" y="8883"/>
                </a:cubicBezTo>
                <a:cubicBezTo>
                  <a:pt x="12899" y="8883"/>
                  <a:pt x="12892" y="8897"/>
                  <a:pt x="12892" y="8913"/>
                </a:cubicBezTo>
                <a:cubicBezTo>
                  <a:pt x="12892" y="8930"/>
                  <a:pt x="12899" y="8944"/>
                  <a:pt x="12907" y="8944"/>
                </a:cubicBezTo>
                <a:cubicBezTo>
                  <a:pt x="12942" y="8944"/>
                  <a:pt x="12956" y="8908"/>
                  <a:pt x="12967" y="8880"/>
                </a:cubicBezTo>
                <a:cubicBezTo>
                  <a:pt x="12974" y="8863"/>
                  <a:pt x="12979" y="8850"/>
                  <a:pt x="12989" y="8844"/>
                </a:cubicBezTo>
                <a:cubicBezTo>
                  <a:pt x="12997" y="8837"/>
                  <a:pt x="13000" y="8836"/>
                  <a:pt x="13003" y="8835"/>
                </a:cubicBezTo>
                <a:cubicBezTo>
                  <a:pt x="13004" y="8839"/>
                  <a:pt x="13004" y="8841"/>
                  <a:pt x="13004" y="8845"/>
                </a:cubicBezTo>
                <a:cubicBezTo>
                  <a:pt x="13006" y="8858"/>
                  <a:pt x="13008" y="8874"/>
                  <a:pt x="13012" y="8887"/>
                </a:cubicBezTo>
                <a:cubicBezTo>
                  <a:pt x="13012" y="8892"/>
                  <a:pt x="13012" y="8898"/>
                  <a:pt x="13012" y="8902"/>
                </a:cubicBezTo>
                <a:cubicBezTo>
                  <a:pt x="13013" y="8903"/>
                  <a:pt x="13012" y="8904"/>
                  <a:pt x="13012" y="8905"/>
                </a:cubicBezTo>
                <a:cubicBezTo>
                  <a:pt x="13012" y="8946"/>
                  <a:pt x="13024" y="8963"/>
                  <a:pt x="13032" y="8974"/>
                </a:cubicBezTo>
                <a:cubicBezTo>
                  <a:pt x="13036" y="8980"/>
                  <a:pt x="13040" y="8984"/>
                  <a:pt x="13043" y="8994"/>
                </a:cubicBezTo>
                <a:cubicBezTo>
                  <a:pt x="13046" y="9005"/>
                  <a:pt x="13048" y="9014"/>
                  <a:pt x="13048" y="9025"/>
                </a:cubicBezTo>
                <a:lnTo>
                  <a:pt x="12931" y="9302"/>
                </a:lnTo>
                <a:lnTo>
                  <a:pt x="12818" y="8888"/>
                </a:lnTo>
                <a:cubicBezTo>
                  <a:pt x="12823" y="8896"/>
                  <a:pt x="12830" y="8903"/>
                  <a:pt x="12837" y="8903"/>
                </a:cubicBezTo>
                <a:cubicBezTo>
                  <a:pt x="12856" y="8903"/>
                  <a:pt x="12871" y="8873"/>
                  <a:pt x="12871" y="8835"/>
                </a:cubicBezTo>
                <a:cubicBezTo>
                  <a:pt x="12871" y="8798"/>
                  <a:pt x="12856" y="8767"/>
                  <a:pt x="12837" y="8767"/>
                </a:cubicBezTo>
                <a:cubicBezTo>
                  <a:pt x="12819" y="8767"/>
                  <a:pt x="12804" y="8797"/>
                  <a:pt x="12803" y="8833"/>
                </a:cubicBezTo>
                <a:lnTo>
                  <a:pt x="12715" y="8510"/>
                </a:lnTo>
                <a:cubicBezTo>
                  <a:pt x="12717" y="8511"/>
                  <a:pt x="12719" y="8516"/>
                  <a:pt x="12722" y="8516"/>
                </a:cubicBezTo>
                <a:cubicBezTo>
                  <a:pt x="12749" y="8516"/>
                  <a:pt x="12771" y="8472"/>
                  <a:pt x="12771" y="8418"/>
                </a:cubicBezTo>
                <a:cubicBezTo>
                  <a:pt x="12771" y="8364"/>
                  <a:pt x="12749" y="8319"/>
                  <a:pt x="12722" y="8319"/>
                </a:cubicBezTo>
                <a:cubicBezTo>
                  <a:pt x="12702" y="8319"/>
                  <a:pt x="12688" y="8347"/>
                  <a:pt x="12680" y="8382"/>
                </a:cubicBezTo>
                <a:lnTo>
                  <a:pt x="12615" y="8145"/>
                </a:lnTo>
                <a:lnTo>
                  <a:pt x="12341" y="7158"/>
                </a:lnTo>
                <a:cubicBezTo>
                  <a:pt x="12346" y="7147"/>
                  <a:pt x="12350" y="7135"/>
                  <a:pt x="12350" y="7119"/>
                </a:cubicBezTo>
                <a:cubicBezTo>
                  <a:pt x="12350" y="7082"/>
                  <a:pt x="12335" y="7051"/>
                  <a:pt x="12316" y="7051"/>
                </a:cubicBezTo>
                <a:cubicBezTo>
                  <a:pt x="12315" y="7051"/>
                  <a:pt x="12314" y="7053"/>
                  <a:pt x="12312" y="7053"/>
                </a:cubicBezTo>
                <a:lnTo>
                  <a:pt x="12276" y="6922"/>
                </a:lnTo>
                <a:close/>
                <a:moveTo>
                  <a:pt x="12243" y="6925"/>
                </a:moveTo>
                <a:lnTo>
                  <a:pt x="12288" y="7088"/>
                </a:lnTo>
                <a:cubicBezTo>
                  <a:pt x="12285" y="7098"/>
                  <a:pt x="12282" y="7107"/>
                  <a:pt x="12282" y="7119"/>
                </a:cubicBezTo>
                <a:cubicBezTo>
                  <a:pt x="12282" y="7157"/>
                  <a:pt x="12297" y="7186"/>
                  <a:pt x="12315" y="7187"/>
                </a:cubicBezTo>
                <a:lnTo>
                  <a:pt x="12473" y="7757"/>
                </a:lnTo>
                <a:lnTo>
                  <a:pt x="12487" y="7805"/>
                </a:lnTo>
                <a:cubicBezTo>
                  <a:pt x="12480" y="7801"/>
                  <a:pt x="12474" y="7797"/>
                  <a:pt x="12467" y="7797"/>
                </a:cubicBezTo>
                <a:cubicBezTo>
                  <a:pt x="12443" y="7797"/>
                  <a:pt x="12422" y="7822"/>
                  <a:pt x="12409" y="7858"/>
                </a:cubicBezTo>
                <a:cubicBezTo>
                  <a:pt x="12407" y="7837"/>
                  <a:pt x="12402" y="7818"/>
                  <a:pt x="12398" y="7805"/>
                </a:cubicBezTo>
                <a:cubicBezTo>
                  <a:pt x="12410" y="7786"/>
                  <a:pt x="12422" y="7757"/>
                  <a:pt x="12429" y="7743"/>
                </a:cubicBezTo>
                <a:cubicBezTo>
                  <a:pt x="12433" y="7733"/>
                  <a:pt x="12433" y="7717"/>
                  <a:pt x="12429" y="7706"/>
                </a:cubicBezTo>
                <a:cubicBezTo>
                  <a:pt x="12425" y="7695"/>
                  <a:pt x="12418" y="7691"/>
                  <a:pt x="12412" y="7695"/>
                </a:cubicBezTo>
                <a:cubicBezTo>
                  <a:pt x="12356" y="7737"/>
                  <a:pt x="12345" y="7750"/>
                  <a:pt x="12314" y="7776"/>
                </a:cubicBezTo>
                <a:cubicBezTo>
                  <a:pt x="12338" y="7751"/>
                  <a:pt x="12355" y="7703"/>
                  <a:pt x="12355" y="7646"/>
                </a:cubicBezTo>
                <a:cubicBezTo>
                  <a:pt x="12355" y="7565"/>
                  <a:pt x="12322" y="7498"/>
                  <a:pt x="12281" y="7498"/>
                </a:cubicBezTo>
                <a:cubicBezTo>
                  <a:pt x="12240" y="7498"/>
                  <a:pt x="12207" y="7565"/>
                  <a:pt x="12207" y="7646"/>
                </a:cubicBezTo>
                <a:cubicBezTo>
                  <a:pt x="12207" y="7728"/>
                  <a:pt x="12240" y="7794"/>
                  <a:pt x="12281" y="7794"/>
                </a:cubicBezTo>
                <a:cubicBezTo>
                  <a:pt x="12289" y="7794"/>
                  <a:pt x="12296" y="7790"/>
                  <a:pt x="12304" y="7785"/>
                </a:cubicBezTo>
                <a:cubicBezTo>
                  <a:pt x="12221" y="7856"/>
                  <a:pt x="12190" y="7893"/>
                  <a:pt x="12190" y="7914"/>
                </a:cubicBezTo>
                <a:cubicBezTo>
                  <a:pt x="12190" y="7984"/>
                  <a:pt x="12223" y="8007"/>
                  <a:pt x="12240" y="8008"/>
                </a:cubicBezTo>
                <a:cubicBezTo>
                  <a:pt x="12248" y="8010"/>
                  <a:pt x="12255" y="8013"/>
                  <a:pt x="12261" y="8015"/>
                </a:cubicBezTo>
                <a:cubicBezTo>
                  <a:pt x="12233" y="8045"/>
                  <a:pt x="12192" y="8080"/>
                  <a:pt x="12167" y="8093"/>
                </a:cubicBezTo>
                <a:lnTo>
                  <a:pt x="12237" y="7007"/>
                </a:lnTo>
                <a:cubicBezTo>
                  <a:pt x="12239" y="6987"/>
                  <a:pt x="12240" y="6969"/>
                  <a:pt x="12241" y="6953"/>
                </a:cubicBezTo>
                <a:cubicBezTo>
                  <a:pt x="12242" y="6942"/>
                  <a:pt x="12242" y="6933"/>
                  <a:pt x="12243" y="6925"/>
                </a:cubicBezTo>
                <a:close/>
                <a:moveTo>
                  <a:pt x="2433" y="6942"/>
                </a:moveTo>
                <a:lnTo>
                  <a:pt x="2516" y="6971"/>
                </a:lnTo>
                <a:lnTo>
                  <a:pt x="3074" y="7171"/>
                </a:lnTo>
                <a:cubicBezTo>
                  <a:pt x="3081" y="7288"/>
                  <a:pt x="3129" y="7379"/>
                  <a:pt x="3190" y="7379"/>
                </a:cubicBezTo>
                <a:cubicBezTo>
                  <a:pt x="3202" y="7379"/>
                  <a:pt x="3214" y="7373"/>
                  <a:pt x="3225" y="7365"/>
                </a:cubicBezTo>
                <a:lnTo>
                  <a:pt x="3297" y="8171"/>
                </a:lnTo>
                <a:cubicBezTo>
                  <a:pt x="3296" y="8182"/>
                  <a:pt x="3294" y="8193"/>
                  <a:pt x="3294" y="8206"/>
                </a:cubicBezTo>
                <a:cubicBezTo>
                  <a:pt x="3294" y="8220"/>
                  <a:pt x="3296" y="8233"/>
                  <a:pt x="3298" y="8247"/>
                </a:cubicBezTo>
                <a:lnTo>
                  <a:pt x="3086" y="7967"/>
                </a:lnTo>
                <a:cubicBezTo>
                  <a:pt x="3086" y="7959"/>
                  <a:pt x="3088" y="7953"/>
                  <a:pt x="3088" y="7945"/>
                </a:cubicBezTo>
                <a:cubicBezTo>
                  <a:pt x="3088" y="7863"/>
                  <a:pt x="3055" y="7797"/>
                  <a:pt x="3014" y="7797"/>
                </a:cubicBezTo>
                <a:cubicBezTo>
                  <a:pt x="3000" y="7797"/>
                  <a:pt x="2987" y="7807"/>
                  <a:pt x="2976" y="7821"/>
                </a:cubicBezTo>
                <a:lnTo>
                  <a:pt x="2723" y="7488"/>
                </a:lnTo>
                <a:cubicBezTo>
                  <a:pt x="2718" y="7478"/>
                  <a:pt x="2714" y="7468"/>
                  <a:pt x="2712" y="7455"/>
                </a:cubicBezTo>
                <a:cubicBezTo>
                  <a:pt x="2712" y="7454"/>
                  <a:pt x="2711" y="7454"/>
                  <a:pt x="2711" y="7453"/>
                </a:cubicBezTo>
                <a:cubicBezTo>
                  <a:pt x="2710" y="7451"/>
                  <a:pt x="2710" y="7449"/>
                  <a:pt x="2709" y="7447"/>
                </a:cubicBezTo>
                <a:cubicBezTo>
                  <a:pt x="2708" y="7446"/>
                  <a:pt x="2708" y="7444"/>
                  <a:pt x="2708" y="7443"/>
                </a:cubicBezTo>
                <a:cubicBezTo>
                  <a:pt x="2707" y="7442"/>
                  <a:pt x="2706" y="7441"/>
                  <a:pt x="2705" y="7440"/>
                </a:cubicBezTo>
                <a:cubicBezTo>
                  <a:pt x="2704" y="7440"/>
                  <a:pt x="2705" y="7439"/>
                  <a:pt x="2704" y="7439"/>
                </a:cubicBezTo>
                <a:lnTo>
                  <a:pt x="2698" y="7433"/>
                </a:lnTo>
                <a:cubicBezTo>
                  <a:pt x="2694" y="7429"/>
                  <a:pt x="2686" y="7421"/>
                  <a:pt x="2684" y="7418"/>
                </a:cubicBezTo>
                <a:cubicBezTo>
                  <a:pt x="2673" y="7394"/>
                  <a:pt x="2655" y="7381"/>
                  <a:pt x="2638" y="7368"/>
                </a:cubicBezTo>
                <a:cubicBezTo>
                  <a:pt x="2633" y="7364"/>
                  <a:pt x="2628" y="7361"/>
                  <a:pt x="2623" y="7357"/>
                </a:cubicBezTo>
                <a:lnTo>
                  <a:pt x="2608" y="7335"/>
                </a:lnTo>
                <a:cubicBezTo>
                  <a:pt x="2596" y="7261"/>
                  <a:pt x="2563" y="7246"/>
                  <a:pt x="2540" y="7235"/>
                </a:cubicBezTo>
                <a:cubicBezTo>
                  <a:pt x="2535" y="7233"/>
                  <a:pt x="2531" y="7231"/>
                  <a:pt x="2526" y="7229"/>
                </a:cubicBezTo>
                <a:lnTo>
                  <a:pt x="2507" y="7203"/>
                </a:lnTo>
                <a:cubicBezTo>
                  <a:pt x="2507" y="7202"/>
                  <a:pt x="2507" y="7200"/>
                  <a:pt x="2507" y="7199"/>
                </a:cubicBezTo>
                <a:cubicBezTo>
                  <a:pt x="2505" y="7185"/>
                  <a:pt x="2499" y="7175"/>
                  <a:pt x="2492" y="7175"/>
                </a:cubicBezTo>
                <a:cubicBezTo>
                  <a:pt x="2490" y="7175"/>
                  <a:pt x="2488" y="7176"/>
                  <a:pt x="2486" y="7175"/>
                </a:cubicBezTo>
                <a:cubicBezTo>
                  <a:pt x="2486" y="7175"/>
                  <a:pt x="2486" y="7174"/>
                  <a:pt x="2486" y="7174"/>
                </a:cubicBezTo>
                <a:lnTo>
                  <a:pt x="2445" y="7121"/>
                </a:lnTo>
                <a:lnTo>
                  <a:pt x="2434" y="7107"/>
                </a:lnTo>
                <a:cubicBezTo>
                  <a:pt x="2431" y="7090"/>
                  <a:pt x="2428" y="7070"/>
                  <a:pt x="2425" y="7051"/>
                </a:cubicBezTo>
                <a:cubicBezTo>
                  <a:pt x="2432" y="7028"/>
                  <a:pt x="2437" y="7003"/>
                  <a:pt x="2437" y="6975"/>
                </a:cubicBezTo>
                <a:cubicBezTo>
                  <a:pt x="2437" y="6963"/>
                  <a:pt x="2435" y="6953"/>
                  <a:pt x="2433" y="6942"/>
                </a:cubicBezTo>
                <a:close/>
                <a:moveTo>
                  <a:pt x="6750" y="6951"/>
                </a:moveTo>
                <a:cubicBezTo>
                  <a:pt x="6736" y="6996"/>
                  <a:pt x="6687" y="7027"/>
                  <a:pt x="6647" y="7053"/>
                </a:cubicBezTo>
                <a:cubicBezTo>
                  <a:pt x="6623" y="7068"/>
                  <a:pt x="6601" y="7082"/>
                  <a:pt x="6583" y="7100"/>
                </a:cubicBezTo>
                <a:lnTo>
                  <a:pt x="6442" y="7007"/>
                </a:lnTo>
                <a:cubicBezTo>
                  <a:pt x="6442" y="7005"/>
                  <a:pt x="6444" y="7003"/>
                  <a:pt x="6444" y="7000"/>
                </a:cubicBezTo>
                <a:cubicBezTo>
                  <a:pt x="6444" y="6995"/>
                  <a:pt x="6441" y="6992"/>
                  <a:pt x="6441" y="6986"/>
                </a:cubicBezTo>
                <a:lnTo>
                  <a:pt x="6750" y="6951"/>
                </a:lnTo>
                <a:close/>
                <a:moveTo>
                  <a:pt x="6325" y="7005"/>
                </a:moveTo>
                <a:lnTo>
                  <a:pt x="6364" y="7224"/>
                </a:lnTo>
                <a:cubicBezTo>
                  <a:pt x="6357" y="7224"/>
                  <a:pt x="6349" y="7223"/>
                  <a:pt x="6340" y="7223"/>
                </a:cubicBezTo>
                <a:cubicBezTo>
                  <a:pt x="6318" y="7223"/>
                  <a:pt x="6298" y="7221"/>
                  <a:pt x="6279" y="7218"/>
                </a:cubicBezTo>
                <a:cubicBezTo>
                  <a:pt x="6269" y="7217"/>
                  <a:pt x="6259" y="7217"/>
                  <a:pt x="6248" y="7216"/>
                </a:cubicBezTo>
                <a:cubicBezTo>
                  <a:pt x="6240" y="7186"/>
                  <a:pt x="6227" y="7162"/>
                  <a:pt x="6209" y="7163"/>
                </a:cubicBezTo>
                <a:cubicBezTo>
                  <a:pt x="6187" y="7163"/>
                  <a:pt x="6172" y="7194"/>
                  <a:pt x="6165" y="7234"/>
                </a:cubicBezTo>
                <a:cubicBezTo>
                  <a:pt x="6153" y="7238"/>
                  <a:pt x="6141" y="7237"/>
                  <a:pt x="6128" y="7245"/>
                </a:cubicBezTo>
                <a:cubicBezTo>
                  <a:pt x="6097" y="7266"/>
                  <a:pt x="6090" y="7294"/>
                  <a:pt x="6085" y="7328"/>
                </a:cubicBezTo>
                <a:cubicBezTo>
                  <a:pt x="6082" y="7345"/>
                  <a:pt x="6079" y="7360"/>
                  <a:pt x="6069" y="7379"/>
                </a:cubicBezTo>
                <a:cubicBezTo>
                  <a:pt x="6051" y="7416"/>
                  <a:pt x="6033" y="7431"/>
                  <a:pt x="6015" y="7445"/>
                </a:cubicBezTo>
                <a:cubicBezTo>
                  <a:pt x="5991" y="7464"/>
                  <a:pt x="5966" y="7483"/>
                  <a:pt x="5948" y="7558"/>
                </a:cubicBezTo>
                <a:cubicBezTo>
                  <a:pt x="5945" y="7568"/>
                  <a:pt x="5946" y="7580"/>
                  <a:pt x="5949" y="7589"/>
                </a:cubicBezTo>
                <a:cubicBezTo>
                  <a:pt x="5952" y="7598"/>
                  <a:pt x="5958" y="7602"/>
                  <a:pt x="5963" y="7601"/>
                </a:cubicBezTo>
                <a:cubicBezTo>
                  <a:pt x="5993" y="7593"/>
                  <a:pt x="6017" y="7564"/>
                  <a:pt x="6043" y="7533"/>
                </a:cubicBezTo>
                <a:cubicBezTo>
                  <a:pt x="6076" y="7494"/>
                  <a:pt x="6110" y="7453"/>
                  <a:pt x="6160" y="7453"/>
                </a:cubicBezTo>
                <a:cubicBezTo>
                  <a:pt x="6167" y="7453"/>
                  <a:pt x="6174" y="7452"/>
                  <a:pt x="6181" y="7452"/>
                </a:cubicBezTo>
                <a:cubicBezTo>
                  <a:pt x="6188" y="7451"/>
                  <a:pt x="6196" y="7450"/>
                  <a:pt x="6204" y="7450"/>
                </a:cubicBezTo>
                <a:cubicBezTo>
                  <a:pt x="6256" y="7450"/>
                  <a:pt x="6256" y="7475"/>
                  <a:pt x="6256" y="7487"/>
                </a:cubicBezTo>
                <a:cubicBezTo>
                  <a:pt x="6256" y="7523"/>
                  <a:pt x="6228" y="7547"/>
                  <a:pt x="6205" y="7566"/>
                </a:cubicBezTo>
                <a:cubicBezTo>
                  <a:pt x="6189" y="7580"/>
                  <a:pt x="6176" y="7591"/>
                  <a:pt x="6169" y="7609"/>
                </a:cubicBezTo>
                <a:cubicBezTo>
                  <a:pt x="6166" y="7618"/>
                  <a:pt x="6166" y="7629"/>
                  <a:pt x="6168" y="7639"/>
                </a:cubicBezTo>
                <a:cubicBezTo>
                  <a:pt x="6171" y="7649"/>
                  <a:pt x="6176" y="7657"/>
                  <a:pt x="6182" y="7657"/>
                </a:cubicBezTo>
                <a:cubicBezTo>
                  <a:pt x="6191" y="7657"/>
                  <a:pt x="6203" y="7660"/>
                  <a:pt x="6213" y="7664"/>
                </a:cubicBezTo>
                <a:cubicBezTo>
                  <a:pt x="6213" y="7664"/>
                  <a:pt x="6214" y="7664"/>
                  <a:pt x="6214" y="7664"/>
                </a:cubicBezTo>
                <a:cubicBezTo>
                  <a:pt x="6213" y="7670"/>
                  <a:pt x="6211" y="7676"/>
                  <a:pt x="6209" y="7682"/>
                </a:cubicBezTo>
                <a:cubicBezTo>
                  <a:pt x="6203" y="7702"/>
                  <a:pt x="6198" y="7720"/>
                  <a:pt x="6198" y="7741"/>
                </a:cubicBezTo>
                <a:cubicBezTo>
                  <a:pt x="6198" y="7873"/>
                  <a:pt x="6307" y="7997"/>
                  <a:pt x="6372" y="7997"/>
                </a:cubicBezTo>
                <a:cubicBezTo>
                  <a:pt x="6395" y="7997"/>
                  <a:pt x="6416" y="8005"/>
                  <a:pt x="6423" y="8014"/>
                </a:cubicBezTo>
                <a:cubicBezTo>
                  <a:pt x="6417" y="8022"/>
                  <a:pt x="6404" y="8038"/>
                  <a:pt x="6374" y="8065"/>
                </a:cubicBezTo>
                <a:lnTo>
                  <a:pt x="6312" y="8019"/>
                </a:lnTo>
                <a:lnTo>
                  <a:pt x="6252" y="7973"/>
                </a:lnTo>
                <a:cubicBezTo>
                  <a:pt x="6252" y="7971"/>
                  <a:pt x="6252" y="7969"/>
                  <a:pt x="6252" y="7967"/>
                </a:cubicBezTo>
                <a:cubicBezTo>
                  <a:pt x="6252" y="7959"/>
                  <a:pt x="6250" y="7950"/>
                  <a:pt x="6247" y="7945"/>
                </a:cubicBezTo>
                <a:cubicBezTo>
                  <a:pt x="6244" y="7939"/>
                  <a:pt x="6240" y="7936"/>
                  <a:pt x="6236" y="7937"/>
                </a:cubicBezTo>
                <a:cubicBezTo>
                  <a:pt x="6228" y="7937"/>
                  <a:pt x="6222" y="7942"/>
                  <a:pt x="6216" y="7947"/>
                </a:cubicBezTo>
                <a:lnTo>
                  <a:pt x="6007" y="7790"/>
                </a:lnTo>
                <a:cubicBezTo>
                  <a:pt x="6011" y="7776"/>
                  <a:pt x="6016" y="7763"/>
                  <a:pt x="6016" y="7747"/>
                </a:cubicBezTo>
                <a:cubicBezTo>
                  <a:pt x="6016" y="7692"/>
                  <a:pt x="5994" y="7647"/>
                  <a:pt x="5967" y="7647"/>
                </a:cubicBezTo>
                <a:cubicBezTo>
                  <a:pt x="5944" y="7647"/>
                  <a:pt x="5928" y="7683"/>
                  <a:pt x="5922" y="7726"/>
                </a:cubicBezTo>
                <a:lnTo>
                  <a:pt x="5481" y="7393"/>
                </a:lnTo>
                <a:lnTo>
                  <a:pt x="5892" y="7204"/>
                </a:lnTo>
                <a:cubicBezTo>
                  <a:pt x="5908" y="7220"/>
                  <a:pt x="5925" y="7230"/>
                  <a:pt x="5944" y="7230"/>
                </a:cubicBezTo>
                <a:cubicBezTo>
                  <a:pt x="5982" y="7230"/>
                  <a:pt x="6014" y="7193"/>
                  <a:pt x="6036" y="7138"/>
                </a:cubicBezTo>
                <a:lnTo>
                  <a:pt x="6325" y="7005"/>
                </a:lnTo>
                <a:close/>
                <a:moveTo>
                  <a:pt x="16362" y="7007"/>
                </a:moveTo>
                <a:cubicBezTo>
                  <a:pt x="16362" y="7007"/>
                  <a:pt x="16402" y="7228"/>
                  <a:pt x="16435" y="7404"/>
                </a:cubicBezTo>
                <a:cubicBezTo>
                  <a:pt x="16411" y="7428"/>
                  <a:pt x="16394" y="7477"/>
                  <a:pt x="16394" y="7534"/>
                </a:cubicBezTo>
                <a:cubicBezTo>
                  <a:pt x="16394" y="7616"/>
                  <a:pt x="16427" y="7682"/>
                  <a:pt x="16468" y="7682"/>
                </a:cubicBezTo>
                <a:cubicBezTo>
                  <a:pt x="16474" y="7682"/>
                  <a:pt x="16479" y="7678"/>
                  <a:pt x="16484" y="7675"/>
                </a:cubicBezTo>
                <a:cubicBezTo>
                  <a:pt x="16531" y="7931"/>
                  <a:pt x="16579" y="8194"/>
                  <a:pt x="16579" y="8194"/>
                </a:cubicBezTo>
                <a:lnTo>
                  <a:pt x="16506" y="8139"/>
                </a:lnTo>
                <a:cubicBezTo>
                  <a:pt x="16513" y="8127"/>
                  <a:pt x="16518" y="8110"/>
                  <a:pt x="16518" y="8089"/>
                </a:cubicBezTo>
                <a:cubicBezTo>
                  <a:pt x="16518" y="8051"/>
                  <a:pt x="16503" y="8020"/>
                  <a:pt x="16484" y="8021"/>
                </a:cubicBezTo>
                <a:cubicBezTo>
                  <a:pt x="16465" y="8021"/>
                  <a:pt x="16450" y="8051"/>
                  <a:pt x="16450" y="8089"/>
                </a:cubicBezTo>
                <a:cubicBezTo>
                  <a:pt x="16450" y="8093"/>
                  <a:pt x="16451" y="8095"/>
                  <a:pt x="16451" y="8099"/>
                </a:cubicBezTo>
                <a:lnTo>
                  <a:pt x="16218" y="7923"/>
                </a:lnTo>
                <a:cubicBezTo>
                  <a:pt x="16212" y="7918"/>
                  <a:pt x="16208" y="7909"/>
                  <a:pt x="16201" y="7909"/>
                </a:cubicBezTo>
                <a:cubicBezTo>
                  <a:pt x="16201" y="7909"/>
                  <a:pt x="16201" y="7910"/>
                  <a:pt x="16200" y="7910"/>
                </a:cubicBezTo>
                <a:lnTo>
                  <a:pt x="16073" y="7814"/>
                </a:lnTo>
                <a:cubicBezTo>
                  <a:pt x="16065" y="7784"/>
                  <a:pt x="16052" y="7759"/>
                  <a:pt x="16034" y="7759"/>
                </a:cubicBezTo>
                <a:cubicBezTo>
                  <a:pt x="16028" y="7759"/>
                  <a:pt x="16024" y="7768"/>
                  <a:pt x="16018" y="7772"/>
                </a:cubicBezTo>
                <a:lnTo>
                  <a:pt x="15890" y="7675"/>
                </a:lnTo>
                <a:cubicBezTo>
                  <a:pt x="15883" y="7639"/>
                  <a:pt x="15868" y="7610"/>
                  <a:pt x="15848" y="7610"/>
                </a:cubicBezTo>
                <a:cubicBezTo>
                  <a:pt x="15840" y="7610"/>
                  <a:pt x="15833" y="7620"/>
                  <a:pt x="15826" y="7628"/>
                </a:cubicBezTo>
                <a:lnTo>
                  <a:pt x="15688" y="7524"/>
                </a:lnTo>
                <a:cubicBezTo>
                  <a:pt x="15680" y="7513"/>
                  <a:pt x="15670" y="7506"/>
                  <a:pt x="15660" y="7503"/>
                </a:cubicBezTo>
                <a:lnTo>
                  <a:pt x="15519" y="7397"/>
                </a:lnTo>
                <a:lnTo>
                  <a:pt x="15561" y="7378"/>
                </a:lnTo>
                <a:lnTo>
                  <a:pt x="15607" y="7356"/>
                </a:lnTo>
                <a:cubicBezTo>
                  <a:pt x="15613" y="7365"/>
                  <a:pt x="15620" y="7374"/>
                  <a:pt x="15628" y="7374"/>
                </a:cubicBezTo>
                <a:cubicBezTo>
                  <a:pt x="15641" y="7374"/>
                  <a:pt x="15650" y="7356"/>
                  <a:pt x="15656" y="7334"/>
                </a:cubicBezTo>
                <a:lnTo>
                  <a:pt x="15860" y="7239"/>
                </a:lnTo>
                <a:cubicBezTo>
                  <a:pt x="15883" y="7250"/>
                  <a:pt x="15902" y="7256"/>
                  <a:pt x="15920" y="7256"/>
                </a:cubicBezTo>
                <a:cubicBezTo>
                  <a:pt x="15934" y="7256"/>
                  <a:pt x="15947" y="7251"/>
                  <a:pt x="15959" y="7243"/>
                </a:cubicBezTo>
                <a:cubicBezTo>
                  <a:pt x="15959" y="7243"/>
                  <a:pt x="15960" y="7242"/>
                  <a:pt x="15960" y="7242"/>
                </a:cubicBezTo>
                <a:cubicBezTo>
                  <a:pt x="15964" y="7239"/>
                  <a:pt x="15967" y="7237"/>
                  <a:pt x="15971" y="7234"/>
                </a:cubicBezTo>
                <a:cubicBezTo>
                  <a:pt x="15971" y="7233"/>
                  <a:pt x="15972" y="7232"/>
                  <a:pt x="15972" y="7231"/>
                </a:cubicBezTo>
                <a:cubicBezTo>
                  <a:pt x="15975" y="7228"/>
                  <a:pt x="15978" y="7225"/>
                  <a:pt x="15981" y="7221"/>
                </a:cubicBezTo>
                <a:cubicBezTo>
                  <a:pt x="15982" y="7220"/>
                  <a:pt x="15983" y="7218"/>
                  <a:pt x="15983" y="7217"/>
                </a:cubicBezTo>
                <a:cubicBezTo>
                  <a:pt x="15986" y="7214"/>
                  <a:pt x="15988" y="7210"/>
                  <a:pt x="15991" y="7206"/>
                </a:cubicBezTo>
                <a:cubicBezTo>
                  <a:pt x="15992" y="7204"/>
                  <a:pt x="15992" y="7201"/>
                  <a:pt x="15993" y="7200"/>
                </a:cubicBezTo>
                <a:cubicBezTo>
                  <a:pt x="15995" y="7196"/>
                  <a:pt x="15998" y="7192"/>
                  <a:pt x="16000" y="7187"/>
                </a:cubicBezTo>
                <a:cubicBezTo>
                  <a:pt x="16001" y="7185"/>
                  <a:pt x="16002" y="7182"/>
                  <a:pt x="16003" y="7180"/>
                </a:cubicBezTo>
                <a:cubicBezTo>
                  <a:pt x="16004" y="7177"/>
                  <a:pt x="16005" y="7175"/>
                  <a:pt x="16006" y="7172"/>
                </a:cubicBezTo>
                <a:lnTo>
                  <a:pt x="16162" y="7101"/>
                </a:lnTo>
                <a:lnTo>
                  <a:pt x="16362" y="7007"/>
                </a:lnTo>
                <a:close/>
                <a:moveTo>
                  <a:pt x="16893" y="7013"/>
                </a:moveTo>
                <a:cubicBezTo>
                  <a:pt x="16875" y="7013"/>
                  <a:pt x="16859" y="7044"/>
                  <a:pt x="16859" y="7082"/>
                </a:cubicBezTo>
                <a:cubicBezTo>
                  <a:pt x="16859" y="7120"/>
                  <a:pt x="16875" y="7150"/>
                  <a:pt x="16893" y="7150"/>
                </a:cubicBezTo>
                <a:cubicBezTo>
                  <a:pt x="16912" y="7150"/>
                  <a:pt x="16927" y="7120"/>
                  <a:pt x="16927" y="7082"/>
                </a:cubicBezTo>
                <a:cubicBezTo>
                  <a:pt x="16927" y="7044"/>
                  <a:pt x="16912" y="7013"/>
                  <a:pt x="16893" y="7013"/>
                </a:cubicBezTo>
                <a:close/>
                <a:moveTo>
                  <a:pt x="5092" y="7051"/>
                </a:moveTo>
                <a:cubicBezTo>
                  <a:pt x="5065" y="7051"/>
                  <a:pt x="5043" y="7095"/>
                  <a:pt x="5043" y="7150"/>
                </a:cubicBezTo>
                <a:cubicBezTo>
                  <a:pt x="5043" y="7204"/>
                  <a:pt x="5065" y="7248"/>
                  <a:pt x="5092" y="7248"/>
                </a:cubicBezTo>
                <a:cubicBezTo>
                  <a:pt x="5120" y="7248"/>
                  <a:pt x="5141" y="7204"/>
                  <a:pt x="5141" y="7150"/>
                </a:cubicBezTo>
                <a:cubicBezTo>
                  <a:pt x="5141" y="7095"/>
                  <a:pt x="5120" y="7051"/>
                  <a:pt x="5092" y="7051"/>
                </a:cubicBezTo>
                <a:close/>
                <a:moveTo>
                  <a:pt x="16434" y="7051"/>
                </a:moveTo>
                <a:cubicBezTo>
                  <a:pt x="16435" y="7051"/>
                  <a:pt x="16435" y="7052"/>
                  <a:pt x="16436" y="7053"/>
                </a:cubicBezTo>
                <a:cubicBezTo>
                  <a:pt x="16439" y="7055"/>
                  <a:pt x="16443" y="7058"/>
                  <a:pt x="16446" y="7060"/>
                </a:cubicBezTo>
                <a:cubicBezTo>
                  <a:pt x="16448" y="7061"/>
                  <a:pt x="16451" y="7062"/>
                  <a:pt x="16453" y="7063"/>
                </a:cubicBezTo>
                <a:cubicBezTo>
                  <a:pt x="16455" y="7065"/>
                  <a:pt x="16457" y="7066"/>
                  <a:pt x="16460" y="7068"/>
                </a:cubicBezTo>
                <a:cubicBezTo>
                  <a:pt x="16463" y="7070"/>
                  <a:pt x="16466" y="7074"/>
                  <a:pt x="16470" y="7076"/>
                </a:cubicBezTo>
                <a:cubicBezTo>
                  <a:pt x="16471" y="7077"/>
                  <a:pt x="16473" y="7078"/>
                  <a:pt x="16474" y="7079"/>
                </a:cubicBezTo>
                <a:cubicBezTo>
                  <a:pt x="16478" y="7081"/>
                  <a:pt x="16482" y="7083"/>
                  <a:pt x="16485" y="7086"/>
                </a:cubicBezTo>
                <a:cubicBezTo>
                  <a:pt x="16487" y="7087"/>
                  <a:pt x="16489" y="7089"/>
                  <a:pt x="16492" y="7090"/>
                </a:cubicBezTo>
                <a:cubicBezTo>
                  <a:pt x="16495" y="7092"/>
                  <a:pt x="16498" y="7094"/>
                  <a:pt x="16501" y="7096"/>
                </a:cubicBezTo>
                <a:cubicBezTo>
                  <a:pt x="16504" y="7098"/>
                  <a:pt x="16507" y="7101"/>
                  <a:pt x="16511" y="7103"/>
                </a:cubicBezTo>
                <a:cubicBezTo>
                  <a:pt x="16514" y="7105"/>
                  <a:pt x="16517" y="7107"/>
                  <a:pt x="16520" y="7109"/>
                </a:cubicBezTo>
                <a:cubicBezTo>
                  <a:pt x="16523" y="7111"/>
                  <a:pt x="16527" y="7114"/>
                  <a:pt x="16531" y="7116"/>
                </a:cubicBezTo>
                <a:cubicBezTo>
                  <a:pt x="16534" y="7118"/>
                  <a:pt x="16538" y="7120"/>
                  <a:pt x="16542" y="7123"/>
                </a:cubicBezTo>
                <a:cubicBezTo>
                  <a:pt x="16545" y="7125"/>
                  <a:pt x="16549" y="7128"/>
                  <a:pt x="16553" y="7131"/>
                </a:cubicBezTo>
                <a:cubicBezTo>
                  <a:pt x="16557" y="7133"/>
                  <a:pt x="16560" y="7136"/>
                  <a:pt x="16564" y="7138"/>
                </a:cubicBezTo>
                <a:cubicBezTo>
                  <a:pt x="16569" y="7141"/>
                  <a:pt x="16574" y="7144"/>
                  <a:pt x="16579" y="7147"/>
                </a:cubicBezTo>
                <a:cubicBezTo>
                  <a:pt x="16582" y="7149"/>
                  <a:pt x="16584" y="7151"/>
                  <a:pt x="16587" y="7153"/>
                </a:cubicBezTo>
                <a:cubicBezTo>
                  <a:pt x="16593" y="7157"/>
                  <a:pt x="16599" y="7161"/>
                  <a:pt x="16606" y="7165"/>
                </a:cubicBezTo>
                <a:cubicBezTo>
                  <a:pt x="16609" y="7167"/>
                  <a:pt x="16612" y="7170"/>
                  <a:pt x="16615" y="7172"/>
                </a:cubicBezTo>
                <a:cubicBezTo>
                  <a:pt x="16621" y="7176"/>
                  <a:pt x="16627" y="7179"/>
                  <a:pt x="16633" y="7183"/>
                </a:cubicBezTo>
                <a:cubicBezTo>
                  <a:pt x="16637" y="7186"/>
                  <a:pt x="16640" y="7187"/>
                  <a:pt x="16643" y="7189"/>
                </a:cubicBezTo>
                <a:cubicBezTo>
                  <a:pt x="16650" y="7194"/>
                  <a:pt x="16658" y="7200"/>
                  <a:pt x="16665" y="7204"/>
                </a:cubicBezTo>
                <a:cubicBezTo>
                  <a:pt x="16669" y="7207"/>
                  <a:pt x="16672" y="7208"/>
                  <a:pt x="16675" y="7210"/>
                </a:cubicBezTo>
                <a:cubicBezTo>
                  <a:pt x="16683" y="7215"/>
                  <a:pt x="16691" y="7220"/>
                  <a:pt x="16699" y="7225"/>
                </a:cubicBezTo>
                <a:cubicBezTo>
                  <a:pt x="16702" y="7228"/>
                  <a:pt x="16705" y="7230"/>
                  <a:pt x="16708" y="7232"/>
                </a:cubicBezTo>
                <a:cubicBezTo>
                  <a:pt x="16743" y="7255"/>
                  <a:pt x="16780" y="7278"/>
                  <a:pt x="16822" y="7305"/>
                </a:cubicBezTo>
                <a:cubicBezTo>
                  <a:pt x="16820" y="7306"/>
                  <a:pt x="16817" y="7307"/>
                  <a:pt x="16815" y="7308"/>
                </a:cubicBezTo>
                <a:cubicBezTo>
                  <a:pt x="16812" y="7310"/>
                  <a:pt x="16810" y="7311"/>
                  <a:pt x="16807" y="7312"/>
                </a:cubicBezTo>
                <a:cubicBezTo>
                  <a:pt x="16800" y="7315"/>
                  <a:pt x="16793" y="7317"/>
                  <a:pt x="16786" y="7319"/>
                </a:cubicBezTo>
                <a:cubicBezTo>
                  <a:pt x="16783" y="7319"/>
                  <a:pt x="16781" y="7321"/>
                  <a:pt x="16779" y="7321"/>
                </a:cubicBezTo>
                <a:cubicBezTo>
                  <a:pt x="16773" y="7322"/>
                  <a:pt x="16767" y="7323"/>
                  <a:pt x="16761" y="7323"/>
                </a:cubicBezTo>
                <a:cubicBezTo>
                  <a:pt x="16760" y="7323"/>
                  <a:pt x="16759" y="7323"/>
                  <a:pt x="16758" y="7323"/>
                </a:cubicBezTo>
                <a:cubicBezTo>
                  <a:pt x="16692" y="7323"/>
                  <a:pt x="16651" y="7273"/>
                  <a:pt x="16608" y="7220"/>
                </a:cubicBezTo>
                <a:cubicBezTo>
                  <a:pt x="16592" y="7201"/>
                  <a:pt x="16577" y="7182"/>
                  <a:pt x="16560" y="7165"/>
                </a:cubicBezTo>
                <a:cubicBezTo>
                  <a:pt x="16559" y="7164"/>
                  <a:pt x="16558" y="7162"/>
                  <a:pt x="16557" y="7161"/>
                </a:cubicBezTo>
                <a:cubicBezTo>
                  <a:pt x="16552" y="7157"/>
                  <a:pt x="16547" y="7154"/>
                  <a:pt x="16543" y="7150"/>
                </a:cubicBezTo>
                <a:cubicBezTo>
                  <a:pt x="16541" y="7148"/>
                  <a:pt x="16538" y="7146"/>
                  <a:pt x="16536" y="7144"/>
                </a:cubicBezTo>
                <a:cubicBezTo>
                  <a:pt x="16533" y="7141"/>
                  <a:pt x="16529" y="7138"/>
                  <a:pt x="16525" y="7136"/>
                </a:cubicBezTo>
                <a:cubicBezTo>
                  <a:pt x="16522" y="7134"/>
                  <a:pt x="16519" y="7133"/>
                  <a:pt x="16517" y="7131"/>
                </a:cubicBezTo>
                <a:cubicBezTo>
                  <a:pt x="16513" y="7129"/>
                  <a:pt x="16509" y="7126"/>
                  <a:pt x="16506" y="7124"/>
                </a:cubicBezTo>
                <a:cubicBezTo>
                  <a:pt x="16503" y="7123"/>
                  <a:pt x="16499" y="7122"/>
                  <a:pt x="16496" y="7121"/>
                </a:cubicBezTo>
                <a:cubicBezTo>
                  <a:pt x="16492" y="7119"/>
                  <a:pt x="16489" y="7117"/>
                  <a:pt x="16485" y="7116"/>
                </a:cubicBezTo>
                <a:cubicBezTo>
                  <a:pt x="16481" y="7115"/>
                  <a:pt x="16478" y="7115"/>
                  <a:pt x="16474" y="7115"/>
                </a:cubicBezTo>
                <a:cubicBezTo>
                  <a:pt x="16471" y="7114"/>
                  <a:pt x="16468" y="7113"/>
                  <a:pt x="16465" y="7112"/>
                </a:cubicBezTo>
                <a:cubicBezTo>
                  <a:pt x="16453" y="7089"/>
                  <a:pt x="16443" y="7068"/>
                  <a:pt x="16434" y="7051"/>
                </a:cubicBezTo>
                <a:close/>
                <a:moveTo>
                  <a:pt x="6429" y="7070"/>
                </a:moveTo>
                <a:cubicBezTo>
                  <a:pt x="6461" y="7092"/>
                  <a:pt x="6494" y="7113"/>
                  <a:pt x="6551" y="7151"/>
                </a:cubicBezTo>
                <a:cubicBezTo>
                  <a:pt x="6532" y="7197"/>
                  <a:pt x="6513" y="7223"/>
                  <a:pt x="6490" y="7232"/>
                </a:cubicBezTo>
                <a:cubicBezTo>
                  <a:pt x="6459" y="7172"/>
                  <a:pt x="6434" y="7123"/>
                  <a:pt x="6414" y="7083"/>
                </a:cubicBezTo>
                <a:cubicBezTo>
                  <a:pt x="6419" y="7078"/>
                  <a:pt x="6425" y="7078"/>
                  <a:pt x="6429" y="7070"/>
                </a:cubicBezTo>
                <a:close/>
                <a:moveTo>
                  <a:pt x="18757" y="7070"/>
                </a:moveTo>
                <a:cubicBezTo>
                  <a:pt x="18758" y="7077"/>
                  <a:pt x="18759" y="7084"/>
                  <a:pt x="18760" y="7090"/>
                </a:cubicBezTo>
                <a:lnTo>
                  <a:pt x="18743" y="7119"/>
                </a:lnTo>
                <a:lnTo>
                  <a:pt x="18711" y="7172"/>
                </a:lnTo>
                <a:lnTo>
                  <a:pt x="18711" y="7118"/>
                </a:lnTo>
                <a:cubicBezTo>
                  <a:pt x="18729" y="7113"/>
                  <a:pt x="18745" y="7097"/>
                  <a:pt x="18757" y="7070"/>
                </a:cubicBezTo>
                <a:close/>
                <a:moveTo>
                  <a:pt x="6754" y="7079"/>
                </a:moveTo>
                <a:cubicBezTo>
                  <a:pt x="6755" y="7082"/>
                  <a:pt x="6756" y="7088"/>
                  <a:pt x="6756" y="7091"/>
                </a:cubicBezTo>
                <a:cubicBezTo>
                  <a:pt x="6756" y="7133"/>
                  <a:pt x="6746" y="7163"/>
                  <a:pt x="6732" y="7196"/>
                </a:cubicBezTo>
                <a:lnTo>
                  <a:pt x="6708" y="7180"/>
                </a:lnTo>
                <a:cubicBezTo>
                  <a:pt x="6710" y="7173"/>
                  <a:pt x="6712" y="7167"/>
                  <a:pt x="6714" y="7160"/>
                </a:cubicBezTo>
                <a:cubicBezTo>
                  <a:pt x="6728" y="7111"/>
                  <a:pt x="6738" y="7081"/>
                  <a:pt x="6754" y="7079"/>
                </a:cubicBezTo>
                <a:close/>
                <a:moveTo>
                  <a:pt x="6371" y="7084"/>
                </a:moveTo>
                <a:lnTo>
                  <a:pt x="6449" y="7237"/>
                </a:lnTo>
                <a:cubicBezTo>
                  <a:pt x="6438" y="7236"/>
                  <a:pt x="6426" y="7234"/>
                  <a:pt x="6413" y="7231"/>
                </a:cubicBezTo>
                <a:cubicBezTo>
                  <a:pt x="6408" y="7230"/>
                  <a:pt x="6403" y="7229"/>
                  <a:pt x="6397" y="7228"/>
                </a:cubicBezTo>
                <a:lnTo>
                  <a:pt x="6397" y="7224"/>
                </a:lnTo>
                <a:lnTo>
                  <a:pt x="6371" y="7084"/>
                </a:lnTo>
                <a:close/>
                <a:moveTo>
                  <a:pt x="16409" y="7087"/>
                </a:moveTo>
                <a:lnTo>
                  <a:pt x="16435" y="7139"/>
                </a:lnTo>
                <a:cubicBezTo>
                  <a:pt x="16435" y="7140"/>
                  <a:pt x="16435" y="7140"/>
                  <a:pt x="16435" y="7140"/>
                </a:cubicBezTo>
                <a:cubicBezTo>
                  <a:pt x="16435" y="7157"/>
                  <a:pt x="16442" y="7171"/>
                  <a:pt x="16450" y="7171"/>
                </a:cubicBezTo>
                <a:cubicBezTo>
                  <a:pt x="16451" y="7171"/>
                  <a:pt x="16451" y="7171"/>
                  <a:pt x="16451" y="7171"/>
                </a:cubicBezTo>
                <a:lnTo>
                  <a:pt x="16457" y="7181"/>
                </a:lnTo>
                <a:lnTo>
                  <a:pt x="16843" y="7938"/>
                </a:lnTo>
                <a:lnTo>
                  <a:pt x="16872" y="7994"/>
                </a:lnTo>
                <a:lnTo>
                  <a:pt x="16893" y="8959"/>
                </a:lnTo>
                <a:cubicBezTo>
                  <a:pt x="16874" y="8966"/>
                  <a:pt x="16859" y="8995"/>
                  <a:pt x="16859" y="9035"/>
                </a:cubicBezTo>
                <a:cubicBezTo>
                  <a:pt x="16859" y="9077"/>
                  <a:pt x="16876" y="9111"/>
                  <a:pt x="16896" y="9115"/>
                </a:cubicBezTo>
                <a:lnTo>
                  <a:pt x="16903" y="9395"/>
                </a:lnTo>
                <a:lnTo>
                  <a:pt x="16909" y="9670"/>
                </a:lnTo>
                <a:cubicBezTo>
                  <a:pt x="16901" y="9674"/>
                  <a:pt x="16894" y="9678"/>
                  <a:pt x="16889" y="9689"/>
                </a:cubicBezTo>
                <a:cubicBezTo>
                  <a:pt x="16876" y="9622"/>
                  <a:pt x="16864" y="9556"/>
                  <a:pt x="16864" y="9556"/>
                </a:cubicBezTo>
                <a:lnTo>
                  <a:pt x="16707" y="8707"/>
                </a:lnTo>
                <a:cubicBezTo>
                  <a:pt x="16730" y="8682"/>
                  <a:pt x="16746" y="8635"/>
                  <a:pt x="16746" y="8579"/>
                </a:cubicBezTo>
                <a:cubicBezTo>
                  <a:pt x="16746" y="8497"/>
                  <a:pt x="16713" y="8431"/>
                  <a:pt x="16672" y="8431"/>
                </a:cubicBezTo>
                <a:cubicBezTo>
                  <a:pt x="16667" y="8431"/>
                  <a:pt x="16663" y="8435"/>
                  <a:pt x="16658" y="8437"/>
                </a:cubicBezTo>
                <a:lnTo>
                  <a:pt x="16513" y="7649"/>
                </a:lnTo>
                <a:cubicBezTo>
                  <a:pt x="16530" y="7621"/>
                  <a:pt x="16542" y="7582"/>
                  <a:pt x="16542" y="7534"/>
                </a:cubicBezTo>
                <a:cubicBezTo>
                  <a:pt x="16542" y="7453"/>
                  <a:pt x="16509" y="7386"/>
                  <a:pt x="16468" y="7386"/>
                </a:cubicBezTo>
                <a:cubicBezTo>
                  <a:pt x="16467" y="7386"/>
                  <a:pt x="16465" y="7387"/>
                  <a:pt x="16464" y="7387"/>
                </a:cubicBezTo>
                <a:lnTo>
                  <a:pt x="16409" y="7087"/>
                </a:lnTo>
                <a:close/>
                <a:moveTo>
                  <a:pt x="15234" y="7088"/>
                </a:moveTo>
                <a:cubicBezTo>
                  <a:pt x="15207" y="7088"/>
                  <a:pt x="15184" y="7132"/>
                  <a:pt x="15184" y="7187"/>
                </a:cubicBezTo>
                <a:cubicBezTo>
                  <a:pt x="15184" y="7241"/>
                  <a:pt x="15207" y="7285"/>
                  <a:pt x="15234" y="7285"/>
                </a:cubicBezTo>
                <a:cubicBezTo>
                  <a:pt x="15261" y="7285"/>
                  <a:pt x="15283" y="7241"/>
                  <a:pt x="15283" y="7187"/>
                </a:cubicBezTo>
                <a:cubicBezTo>
                  <a:pt x="15283" y="7132"/>
                  <a:pt x="15261" y="7088"/>
                  <a:pt x="15234" y="7088"/>
                </a:cubicBezTo>
                <a:close/>
                <a:moveTo>
                  <a:pt x="17247" y="7125"/>
                </a:moveTo>
                <a:cubicBezTo>
                  <a:pt x="17228" y="7125"/>
                  <a:pt x="17213" y="7156"/>
                  <a:pt x="17213" y="7194"/>
                </a:cubicBezTo>
                <a:cubicBezTo>
                  <a:pt x="17213" y="7232"/>
                  <a:pt x="17228" y="7262"/>
                  <a:pt x="17247" y="7262"/>
                </a:cubicBezTo>
                <a:cubicBezTo>
                  <a:pt x="17266" y="7262"/>
                  <a:pt x="17281" y="7232"/>
                  <a:pt x="17281" y="7194"/>
                </a:cubicBezTo>
                <a:cubicBezTo>
                  <a:pt x="17281" y="7156"/>
                  <a:pt x="17266" y="7125"/>
                  <a:pt x="17247" y="7125"/>
                </a:cubicBezTo>
                <a:close/>
                <a:moveTo>
                  <a:pt x="10310" y="7133"/>
                </a:moveTo>
                <a:lnTo>
                  <a:pt x="10310" y="8176"/>
                </a:lnTo>
                <a:cubicBezTo>
                  <a:pt x="10307" y="8175"/>
                  <a:pt x="10305" y="8170"/>
                  <a:pt x="10303" y="8170"/>
                </a:cubicBezTo>
                <a:cubicBezTo>
                  <a:pt x="10276" y="8170"/>
                  <a:pt x="10253" y="8214"/>
                  <a:pt x="10253" y="8269"/>
                </a:cubicBezTo>
                <a:cubicBezTo>
                  <a:pt x="10253" y="8278"/>
                  <a:pt x="10257" y="8284"/>
                  <a:pt x="10258" y="8292"/>
                </a:cubicBezTo>
                <a:lnTo>
                  <a:pt x="9863" y="8537"/>
                </a:lnTo>
                <a:cubicBezTo>
                  <a:pt x="9863" y="8537"/>
                  <a:pt x="9913" y="8327"/>
                  <a:pt x="9913" y="8327"/>
                </a:cubicBezTo>
                <a:lnTo>
                  <a:pt x="9925" y="8327"/>
                </a:lnTo>
                <a:cubicBezTo>
                  <a:pt x="9927" y="8327"/>
                  <a:pt x="9928" y="8327"/>
                  <a:pt x="9929" y="8326"/>
                </a:cubicBezTo>
                <a:cubicBezTo>
                  <a:pt x="9939" y="8321"/>
                  <a:pt x="9947" y="8325"/>
                  <a:pt x="9957" y="8332"/>
                </a:cubicBezTo>
                <a:cubicBezTo>
                  <a:pt x="9965" y="8337"/>
                  <a:pt x="9974" y="8343"/>
                  <a:pt x="9985" y="8343"/>
                </a:cubicBezTo>
                <a:cubicBezTo>
                  <a:pt x="9995" y="8343"/>
                  <a:pt x="10011" y="8336"/>
                  <a:pt x="10024" y="8329"/>
                </a:cubicBezTo>
                <a:cubicBezTo>
                  <a:pt x="10030" y="8326"/>
                  <a:pt x="10035" y="8323"/>
                  <a:pt x="10038" y="8322"/>
                </a:cubicBezTo>
                <a:cubicBezTo>
                  <a:pt x="10046" y="8322"/>
                  <a:pt x="10053" y="8310"/>
                  <a:pt x="10053" y="8293"/>
                </a:cubicBezTo>
                <a:cubicBezTo>
                  <a:pt x="10053" y="8257"/>
                  <a:pt x="10059" y="8234"/>
                  <a:pt x="10065" y="8208"/>
                </a:cubicBezTo>
                <a:cubicBezTo>
                  <a:pt x="10073" y="8180"/>
                  <a:pt x="10080" y="8149"/>
                  <a:pt x="10080" y="8102"/>
                </a:cubicBezTo>
                <a:cubicBezTo>
                  <a:pt x="10080" y="8094"/>
                  <a:pt x="10080" y="8074"/>
                  <a:pt x="10079" y="8052"/>
                </a:cubicBezTo>
                <a:cubicBezTo>
                  <a:pt x="10079" y="8027"/>
                  <a:pt x="10078" y="7998"/>
                  <a:pt x="10078" y="7984"/>
                </a:cubicBezTo>
                <a:cubicBezTo>
                  <a:pt x="10078" y="7982"/>
                  <a:pt x="10078" y="7980"/>
                  <a:pt x="10078" y="7977"/>
                </a:cubicBezTo>
                <a:cubicBezTo>
                  <a:pt x="10080" y="7960"/>
                  <a:pt x="10082" y="7942"/>
                  <a:pt x="10082" y="7927"/>
                </a:cubicBezTo>
                <a:cubicBezTo>
                  <a:pt x="10082" y="7896"/>
                  <a:pt x="10076" y="7881"/>
                  <a:pt x="10072" y="7872"/>
                </a:cubicBezTo>
                <a:cubicBezTo>
                  <a:pt x="10070" y="7868"/>
                  <a:pt x="10070" y="7868"/>
                  <a:pt x="10070" y="7863"/>
                </a:cubicBezTo>
                <a:cubicBezTo>
                  <a:pt x="10070" y="7859"/>
                  <a:pt x="10066" y="7859"/>
                  <a:pt x="10065" y="7855"/>
                </a:cubicBezTo>
                <a:cubicBezTo>
                  <a:pt x="10068" y="7843"/>
                  <a:pt x="10072" y="7834"/>
                  <a:pt x="10072" y="7821"/>
                </a:cubicBezTo>
                <a:cubicBezTo>
                  <a:pt x="10072" y="7790"/>
                  <a:pt x="10064" y="7765"/>
                  <a:pt x="10053" y="7747"/>
                </a:cubicBezTo>
                <a:lnTo>
                  <a:pt x="10132" y="7417"/>
                </a:lnTo>
                <a:cubicBezTo>
                  <a:pt x="10140" y="7405"/>
                  <a:pt x="10148" y="7389"/>
                  <a:pt x="10152" y="7370"/>
                </a:cubicBezTo>
                <a:cubicBezTo>
                  <a:pt x="10217" y="7360"/>
                  <a:pt x="10237" y="7252"/>
                  <a:pt x="10247" y="7174"/>
                </a:cubicBezTo>
                <a:cubicBezTo>
                  <a:pt x="10253" y="7173"/>
                  <a:pt x="10258" y="7171"/>
                  <a:pt x="10263" y="7168"/>
                </a:cubicBezTo>
                <a:lnTo>
                  <a:pt x="10270" y="7165"/>
                </a:lnTo>
                <a:cubicBezTo>
                  <a:pt x="10275" y="7161"/>
                  <a:pt x="10292" y="7148"/>
                  <a:pt x="10310" y="7133"/>
                </a:cubicBezTo>
                <a:close/>
                <a:moveTo>
                  <a:pt x="18771" y="7150"/>
                </a:moveTo>
                <a:cubicBezTo>
                  <a:pt x="18778" y="7185"/>
                  <a:pt x="18785" y="7217"/>
                  <a:pt x="18792" y="7249"/>
                </a:cubicBezTo>
                <a:cubicBezTo>
                  <a:pt x="18797" y="7271"/>
                  <a:pt x="18802" y="7293"/>
                  <a:pt x="18807" y="7315"/>
                </a:cubicBezTo>
                <a:cubicBezTo>
                  <a:pt x="18802" y="7312"/>
                  <a:pt x="18797" y="7311"/>
                  <a:pt x="18791" y="7311"/>
                </a:cubicBezTo>
                <a:cubicBezTo>
                  <a:pt x="18786" y="7311"/>
                  <a:pt x="18783" y="7318"/>
                  <a:pt x="18777" y="7320"/>
                </a:cubicBezTo>
                <a:cubicBezTo>
                  <a:pt x="18773" y="7274"/>
                  <a:pt x="18756" y="7237"/>
                  <a:pt x="18732" y="7237"/>
                </a:cubicBezTo>
                <a:cubicBezTo>
                  <a:pt x="18724" y="7237"/>
                  <a:pt x="18718" y="7248"/>
                  <a:pt x="18711" y="7255"/>
                </a:cubicBezTo>
                <a:lnTo>
                  <a:pt x="18711" y="7249"/>
                </a:lnTo>
                <a:lnTo>
                  <a:pt x="18742" y="7199"/>
                </a:lnTo>
                <a:cubicBezTo>
                  <a:pt x="18742" y="7199"/>
                  <a:pt x="18771" y="7150"/>
                  <a:pt x="18771" y="7150"/>
                </a:cubicBezTo>
                <a:close/>
                <a:moveTo>
                  <a:pt x="16056" y="7163"/>
                </a:moveTo>
                <a:cubicBezTo>
                  <a:pt x="16037" y="7163"/>
                  <a:pt x="16022" y="7194"/>
                  <a:pt x="16022" y="7231"/>
                </a:cubicBezTo>
                <a:cubicBezTo>
                  <a:pt x="16022" y="7269"/>
                  <a:pt x="16037" y="7299"/>
                  <a:pt x="16056" y="7299"/>
                </a:cubicBezTo>
                <a:cubicBezTo>
                  <a:pt x="16075" y="7299"/>
                  <a:pt x="16090" y="7269"/>
                  <a:pt x="16090" y="7231"/>
                </a:cubicBezTo>
                <a:cubicBezTo>
                  <a:pt x="16090" y="7194"/>
                  <a:pt x="16075" y="7163"/>
                  <a:pt x="16056" y="7163"/>
                </a:cubicBezTo>
                <a:close/>
                <a:moveTo>
                  <a:pt x="16502" y="7185"/>
                </a:moveTo>
                <a:cubicBezTo>
                  <a:pt x="16503" y="7185"/>
                  <a:pt x="16504" y="7185"/>
                  <a:pt x="16505" y="7186"/>
                </a:cubicBezTo>
                <a:cubicBezTo>
                  <a:pt x="16511" y="7189"/>
                  <a:pt x="16517" y="7194"/>
                  <a:pt x="16523" y="7199"/>
                </a:cubicBezTo>
                <a:cubicBezTo>
                  <a:pt x="16525" y="7200"/>
                  <a:pt x="16527" y="7201"/>
                  <a:pt x="16528" y="7202"/>
                </a:cubicBezTo>
                <a:cubicBezTo>
                  <a:pt x="16535" y="7208"/>
                  <a:pt x="16542" y="7214"/>
                  <a:pt x="16549" y="7221"/>
                </a:cubicBezTo>
                <a:cubicBezTo>
                  <a:pt x="16549" y="7221"/>
                  <a:pt x="16550" y="7221"/>
                  <a:pt x="16550" y="7222"/>
                </a:cubicBezTo>
                <a:cubicBezTo>
                  <a:pt x="16557" y="7229"/>
                  <a:pt x="16564" y="7237"/>
                  <a:pt x="16570" y="7244"/>
                </a:cubicBezTo>
                <a:cubicBezTo>
                  <a:pt x="16571" y="7245"/>
                  <a:pt x="16571" y="7246"/>
                  <a:pt x="16572" y="7246"/>
                </a:cubicBezTo>
                <a:cubicBezTo>
                  <a:pt x="16579" y="7254"/>
                  <a:pt x="16585" y="7263"/>
                  <a:pt x="16592" y="7271"/>
                </a:cubicBezTo>
                <a:cubicBezTo>
                  <a:pt x="16609" y="7292"/>
                  <a:pt x="16628" y="7312"/>
                  <a:pt x="16647" y="7330"/>
                </a:cubicBezTo>
                <a:cubicBezTo>
                  <a:pt x="16640" y="7343"/>
                  <a:pt x="16636" y="7361"/>
                  <a:pt x="16636" y="7380"/>
                </a:cubicBezTo>
                <a:cubicBezTo>
                  <a:pt x="16636" y="7418"/>
                  <a:pt x="16651" y="7448"/>
                  <a:pt x="16670" y="7448"/>
                </a:cubicBezTo>
                <a:cubicBezTo>
                  <a:pt x="16689" y="7448"/>
                  <a:pt x="16704" y="7418"/>
                  <a:pt x="16704" y="7380"/>
                </a:cubicBezTo>
                <a:cubicBezTo>
                  <a:pt x="16704" y="7377"/>
                  <a:pt x="16702" y="7375"/>
                  <a:pt x="16702" y="7371"/>
                </a:cubicBezTo>
                <a:cubicBezTo>
                  <a:pt x="16719" y="7379"/>
                  <a:pt x="16737" y="7384"/>
                  <a:pt x="16758" y="7384"/>
                </a:cubicBezTo>
                <a:cubicBezTo>
                  <a:pt x="16784" y="7384"/>
                  <a:pt x="16813" y="7372"/>
                  <a:pt x="16845" y="7355"/>
                </a:cubicBezTo>
                <a:cubicBezTo>
                  <a:pt x="16845" y="7354"/>
                  <a:pt x="16846" y="7354"/>
                  <a:pt x="16847" y="7354"/>
                </a:cubicBezTo>
                <a:cubicBezTo>
                  <a:pt x="16856" y="7349"/>
                  <a:pt x="16865" y="7344"/>
                  <a:pt x="16874" y="7339"/>
                </a:cubicBezTo>
                <a:cubicBezTo>
                  <a:pt x="16925" y="7371"/>
                  <a:pt x="16976" y="7403"/>
                  <a:pt x="17028" y="7436"/>
                </a:cubicBezTo>
                <a:cubicBezTo>
                  <a:pt x="17030" y="7438"/>
                  <a:pt x="17032" y="7440"/>
                  <a:pt x="17034" y="7441"/>
                </a:cubicBezTo>
                <a:cubicBezTo>
                  <a:pt x="17040" y="7445"/>
                  <a:pt x="17046" y="7449"/>
                  <a:pt x="17053" y="7453"/>
                </a:cubicBezTo>
                <a:cubicBezTo>
                  <a:pt x="17059" y="7456"/>
                  <a:pt x="17064" y="7461"/>
                  <a:pt x="17070" y="7464"/>
                </a:cubicBezTo>
                <a:cubicBezTo>
                  <a:pt x="17077" y="7468"/>
                  <a:pt x="17083" y="7472"/>
                  <a:pt x="17089" y="7476"/>
                </a:cubicBezTo>
                <a:cubicBezTo>
                  <a:pt x="17093" y="7479"/>
                  <a:pt x="17098" y="7482"/>
                  <a:pt x="17102" y="7484"/>
                </a:cubicBezTo>
                <a:cubicBezTo>
                  <a:pt x="17107" y="7488"/>
                  <a:pt x="17113" y="7491"/>
                  <a:pt x="17118" y="7495"/>
                </a:cubicBezTo>
                <a:cubicBezTo>
                  <a:pt x="17121" y="7496"/>
                  <a:pt x="17123" y="7498"/>
                  <a:pt x="17125" y="7499"/>
                </a:cubicBezTo>
                <a:cubicBezTo>
                  <a:pt x="17124" y="7509"/>
                  <a:pt x="17120" y="7516"/>
                  <a:pt x="17120" y="7527"/>
                </a:cubicBezTo>
                <a:cubicBezTo>
                  <a:pt x="17120" y="7585"/>
                  <a:pt x="17143" y="7632"/>
                  <a:pt x="17171" y="7632"/>
                </a:cubicBezTo>
                <a:cubicBezTo>
                  <a:pt x="17194" y="7632"/>
                  <a:pt x="17210" y="7599"/>
                  <a:pt x="17217" y="7558"/>
                </a:cubicBezTo>
                <a:cubicBezTo>
                  <a:pt x="17228" y="7564"/>
                  <a:pt x="17238" y="7571"/>
                  <a:pt x="17249" y="7578"/>
                </a:cubicBezTo>
                <a:cubicBezTo>
                  <a:pt x="17263" y="7587"/>
                  <a:pt x="17278" y="7595"/>
                  <a:pt x="17292" y="7604"/>
                </a:cubicBezTo>
                <a:cubicBezTo>
                  <a:pt x="17299" y="7609"/>
                  <a:pt x="17307" y="7615"/>
                  <a:pt x="17314" y="7619"/>
                </a:cubicBezTo>
                <a:cubicBezTo>
                  <a:pt x="17315" y="7620"/>
                  <a:pt x="17316" y="7619"/>
                  <a:pt x="17316" y="7619"/>
                </a:cubicBezTo>
                <a:cubicBezTo>
                  <a:pt x="17325" y="7625"/>
                  <a:pt x="17333" y="7631"/>
                  <a:pt x="17341" y="7636"/>
                </a:cubicBezTo>
                <a:cubicBezTo>
                  <a:pt x="17345" y="7638"/>
                  <a:pt x="17349" y="7641"/>
                  <a:pt x="17353" y="7644"/>
                </a:cubicBezTo>
                <a:cubicBezTo>
                  <a:pt x="17360" y="7648"/>
                  <a:pt x="17366" y="7652"/>
                  <a:pt x="17372" y="7656"/>
                </a:cubicBezTo>
                <a:cubicBezTo>
                  <a:pt x="17376" y="7658"/>
                  <a:pt x="17381" y="7661"/>
                  <a:pt x="17385" y="7664"/>
                </a:cubicBezTo>
                <a:cubicBezTo>
                  <a:pt x="17388" y="7666"/>
                  <a:pt x="17391" y="7668"/>
                  <a:pt x="17394" y="7670"/>
                </a:cubicBezTo>
                <a:cubicBezTo>
                  <a:pt x="17419" y="7685"/>
                  <a:pt x="17443" y="7701"/>
                  <a:pt x="17466" y="7715"/>
                </a:cubicBezTo>
                <a:cubicBezTo>
                  <a:pt x="17467" y="7716"/>
                  <a:pt x="17468" y="7716"/>
                  <a:pt x="17469" y="7716"/>
                </a:cubicBezTo>
                <a:cubicBezTo>
                  <a:pt x="17563" y="7776"/>
                  <a:pt x="17632" y="7820"/>
                  <a:pt x="17660" y="7837"/>
                </a:cubicBezTo>
                <a:cubicBezTo>
                  <a:pt x="17660" y="7842"/>
                  <a:pt x="17661" y="7845"/>
                  <a:pt x="17661" y="7849"/>
                </a:cubicBezTo>
                <a:lnTo>
                  <a:pt x="17644" y="8082"/>
                </a:lnTo>
                <a:cubicBezTo>
                  <a:pt x="17644" y="8082"/>
                  <a:pt x="17625" y="8357"/>
                  <a:pt x="17611" y="8553"/>
                </a:cubicBezTo>
                <a:cubicBezTo>
                  <a:pt x="17603" y="8547"/>
                  <a:pt x="17594" y="8543"/>
                  <a:pt x="17584" y="8543"/>
                </a:cubicBezTo>
                <a:cubicBezTo>
                  <a:pt x="17543" y="8543"/>
                  <a:pt x="17510" y="8609"/>
                  <a:pt x="17510" y="8691"/>
                </a:cubicBezTo>
                <a:cubicBezTo>
                  <a:pt x="17510" y="8730"/>
                  <a:pt x="17518" y="8765"/>
                  <a:pt x="17531" y="8791"/>
                </a:cubicBezTo>
                <a:cubicBezTo>
                  <a:pt x="17521" y="8801"/>
                  <a:pt x="17510" y="8812"/>
                  <a:pt x="17500" y="8823"/>
                </a:cubicBezTo>
                <a:cubicBezTo>
                  <a:pt x="17482" y="8844"/>
                  <a:pt x="17463" y="8865"/>
                  <a:pt x="17445" y="8874"/>
                </a:cubicBezTo>
                <a:cubicBezTo>
                  <a:pt x="17449" y="8861"/>
                  <a:pt x="17453" y="8849"/>
                  <a:pt x="17459" y="8835"/>
                </a:cubicBezTo>
                <a:cubicBezTo>
                  <a:pt x="17469" y="8809"/>
                  <a:pt x="17481" y="8779"/>
                  <a:pt x="17481" y="8735"/>
                </a:cubicBezTo>
                <a:cubicBezTo>
                  <a:pt x="17481" y="8693"/>
                  <a:pt x="17451" y="8624"/>
                  <a:pt x="17426" y="8624"/>
                </a:cubicBezTo>
                <a:cubicBezTo>
                  <a:pt x="17399" y="8624"/>
                  <a:pt x="17387" y="8668"/>
                  <a:pt x="17381" y="8687"/>
                </a:cubicBezTo>
                <a:cubicBezTo>
                  <a:pt x="17381" y="8690"/>
                  <a:pt x="17380" y="8691"/>
                  <a:pt x="17380" y="8693"/>
                </a:cubicBezTo>
                <a:cubicBezTo>
                  <a:pt x="17369" y="8726"/>
                  <a:pt x="17343" y="8767"/>
                  <a:pt x="17323" y="8797"/>
                </a:cubicBezTo>
                <a:cubicBezTo>
                  <a:pt x="17299" y="8750"/>
                  <a:pt x="17274" y="8702"/>
                  <a:pt x="17250" y="8654"/>
                </a:cubicBezTo>
                <a:cubicBezTo>
                  <a:pt x="17249" y="8651"/>
                  <a:pt x="17248" y="8649"/>
                  <a:pt x="17246" y="8647"/>
                </a:cubicBezTo>
                <a:cubicBezTo>
                  <a:pt x="17243" y="8639"/>
                  <a:pt x="17239" y="8631"/>
                  <a:pt x="17235" y="8623"/>
                </a:cubicBezTo>
                <a:cubicBezTo>
                  <a:pt x="17070" y="8298"/>
                  <a:pt x="16915" y="7993"/>
                  <a:pt x="16906" y="7976"/>
                </a:cubicBezTo>
                <a:cubicBezTo>
                  <a:pt x="16942" y="7965"/>
                  <a:pt x="16970" y="7907"/>
                  <a:pt x="16970" y="7833"/>
                </a:cubicBezTo>
                <a:cubicBezTo>
                  <a:pt x="16970" y="7751"/>
                  <a:pt x="16936" y="7685"/>
                  <a:pt x="16896" y="7685"/>
                </a:cubicBezTo>
                <a:cubicBezTo>
                  <a:pt x="16858" y="7685"/>
                  <a:pt x="16828" y="7742"/>
                  <a:pt x="16824" y="7814"/>
                </a:cubicBezTo>
                <a:lnTo>
                  <a:pt x="16502" y="7185"/>
                </a:lnTo>
                <a:close/>
                <a:moveTo>
                  <a:pt x="16261" y="7200"/>
                </a:moveTo>
                <a:cubicBezTo>
                  <a:pt x="16242" y="7200"/>
                  <a:pt x="16226" y="7231"/>
                  <a:pt x="16226" y="7269"/>
                </a:cubicBezTo>
                <a:cubicBezTo>
                  <a:pt x="16226" y="7306"/>
                  <a:pt x="16242" y="7336"/>
                  <a:pt x="16261" y="7336"/>
                </a:cubicBezTo>
                <a:cubicBezTo>
                  <a:pt x="16280" y="7336"/>
                  <a:pt x="16294" y="7306"/>
                  <a:pt x="16294" y="7269"/>
                </a:cubicBezTo>
                <a:cubicBezTo>
                  <a:pt x="16294" y="7231"/>
                  <a:pt x="16280" y="7200"/>
                  <a:pt x="16261" y="7200"/>
                </a:cubicBezTo>
                <a:close/>
                <a:moveTo>
                  <a:pt x="17473" y="7200"/>
                </a:moveTo>
                <a:cubicBezTo>
                  <a:pt x="17432" y="7200"/>
                  <a:pt x="17399" y="7266"/>
                  <a:pt x="17399" y="7348"/>
                </a:cubicBezTo>
                <a:cubicBezTo>
                  <a:pt x="17399" y="7430"/>
                  <a:pt x="17432" y="7496"/>
                  <a:pt x="17473" y="7496"/>
                </a:cubicBezTo>
                <a:cubicBezTo>
                  <a:pt x="17513" y="7496"/>
                  <a:pt x="17546" y="7430"/>
                  <a:pt x="17546" y="7348"/>
                </a:cubicBezTo>
                <a:cubicBezTo>
                  <a:pt x="17546" y="7266"/>
                  <a:pt x="17513" y="7200"/>
                  <a:pt x="17473" y="7200"/>
                </a:cubicBezTo>
                <a:close/>
                <a:moveTo>
                  <a:pt x="2458" y="7224"/>
                </a:moveTo>
                <a:cubicBezTo>
                  <a:pt x="2465" y="7228"/>
                  <a:pt x="2471" y="7232"/>
                  <a:pt x="2479" y="7234"/>
                </a:cubicBezTo>
                <a:lnTo>
                  <a:pt x="2482" y="7234"/>
                </a:lnTo>
                <a:cubicBezTo>
                  <a:pt x="2482" y="7236"/>
                  <a:pt x="2483" y="7238"/>
                  <a:pt x="2483" y="7239"/>
                </a:cubicBezTo>
                <a:cubicBezTo>
                  <a:pt x="2485" y="7245"/>
                  <a:pt x="2487" y="7250"/>
                  <a:pt x="2490" y="7255"/>
                </a:cubicBezTo>
                <a:cubicBezTo>
                  <a:pt x="2483" y="7250"/>
                  <a:pt x="2477" y="7245"/>
                  <a:pt x="2470" y="7241"/>
                </a:cubicBezTo>
                <a:cubicBezTo>
                  <a:pt x="2468" y="7239"/>
                  <a:pt x="2463" y="7231"/>
                  <a:pt x="2458" y="7224"/>
                </a:cubicBezTo>
                <a:close/>
                <a:moveTo>
                  <a:pt x="6692" y="7243"/>
                </a:moveTo>
                <a:lnTo>
                  <a:pt x="6710" y="7255"/>
                </a:lnTo>
                <a:cubicBezTo>
                  <a:pt x="6706" y="7268"/>
                  <a:pt x="6702" y="7283"/>
                  <a:pt x="6700" y="7299"/>
                </a:cubicBezTo>
                <a:cubicBezTo>
                  <a:pt x="6699" y="7302"/>
                  <a:pt x="6699" y="7305"/>
                  <a:pt x="6699" y="7308"/>
                </a:cubicBezTo>
                <a:lnTo>
                  <a:pt x="6699" y="7346"/>
                </a:lnTo>
                <a:cubicBezTo>
                  <a:pt x="6699" y="7355"/>
                  <a:pt x="6701" y="7363"/>
                  <a:pt x="6705" y="7369"/>
                </a:cubicBezTo>
                <a:cubicBezTo>
                  <a:pt x="6709" y="7375"/>
                  <a:pt x="6713" y="7377"/>
                  <a:pt x="6718" y="7375"/>
                </a:cubicBezTo>
                <a:cubicBezTo>
                  <a:pt x="6730" y="7369"/>
                  <a:pt x="6736" y="7356"/>
                  <a:pt x="6740" y="7348"/>
                </a:cubicBezTo>
                <a:cubicBezTo>
                  <a:pt x="6744" y="7341"/>
                  <a:pt x="6744" y="7342"/>
                  <a:pt x="6746" y="7342"/>
                </a:cubicBezTo>
                <a:cubicBezTo>
                  <a:pt x="6749" y="7342"/>
                  <a:pt x="6752" y="7342"/>
                  <a:pt x="6755" y="7343"/>
                </a:cubicBezTo>
                <a:cubicBezTo>
                  <a:pt x="6754" y="7347"/>
                  <a:pt x="6754" y="7350"/>
                  <a:pt x="6754" y="7354"/>
                </a:cubicBezTo>
                <a:lnTo>
                  <a:pt x="6754" y="7393"/>
                </a:lnTo>
                <a:cubicBezTo>
                  <a:pt x="6754" y="7410"/>
                  <a:pt x="6761" y="7422"/>
                  <a:pt x="6769" y="7422"/>
                </a:cubicBezTo>
                <a:lnTo>
                  <a:pt x="6793" y="7422"/>
                </a:lnTo>
                <a:cubicBezTo>
                  <a:pt x="6794" y="7429"/>
                  <a:pt x="6796" y="7435"/>
                  <a:pt x="6799" y="7439"/>
                </a:cubicBezTo>
                <a:cubicBezTo>
                  <a:pt x="6802" y="7444"/>
                  <a:pt x="6807" y="7445"/>
                  <a:pt x="6812" y="7442"/>
                </a:cubicBezTo>
                <a:lnTo>
                  <a:pt x="6833" y="7428"/>
                </a:lnTo>
                <a:cubicBezTo>
                  <a:pt x="6848" y="7436"/>
                  <a:pt x="6866" y="7438"/>
                  <a:pt x="6879" y="7435"/>
                </a:cubicBezTo>
                <a:cubicBezTo>
                  <a:pt x="6879" y="7439"/>
                  <a:pt x="6878" y="7443"/>
                  <a:pt x="6878" y="7447"/>
                </a:cubicBezTo>
                <a:cubicBezTo>
                  <a:pt x="6878" y="7472"/>
                  <a:pt x="6877" y="7500"/>
                  <a:pt x="6877" y="7537"/>
                </a:cubicBezTo>
                <a:cubicBezTo>
                  <a:pt x="6877" y="7543"/>
                  <a:pt x="6879" y="7548"/>
                  <a:pt x="6881" y="7553"/>
                </a:cubicBezTo>
                <a:cubicBezTo>
                  <a:pt x="6874" y="7546"/>
                  <a:pt x="6868" y="7536"/>
                  <a:pt x="6860" y="7536"/>
                </a:cubicBezTo>
                <a:cubicBezTo>
                  <a:pt x="6833" y="7536"/>
                  <a:pt x="6811" y="7580"/>
                  <a:pt x="6811" y="7635"/>
                </a:cubicBezTo>
                <a:cubicBezTo>
                  <a:pt x="6811" y="7651"/>
                  <a:pt x="6816" y="7663"/>
                  <a:pt x="6820" y="7677"/>
                </a:cubicBezTo>
                <a:cubicBezTo>
                  <a:pt x="6817" y="7670"/>
                  <a:pt x="6813" y="7665"/>
                  <a:pt x="6809" y="7665"/>
                </a:cubicBezTo>
                <a:cubicBezTo>
                  <a:pt x="6802" y="7665"/>
                  <a:pt x="6795" y="7666"/>
                  <a:pt x="6789" y="7668"/>
                </a:cubicBezTo>
                <a:cubicBezTo>
                  <a:pt x="6783" y="7670"/>
                  <a:pt x="6777" y="7672"/>
                  <a:pt x="6772" y="7672"/>
                </a:cubicBezTo>
                <a:cubicBezTo>
                  <a:pt x="6765" y="7672"/>
                  <a:pt x="6764" y="7668"/>
                  <a:pt x="6763" y="7664"/>
                </a:cubicBezTo>
                <a:cubicBezTo>
                  <a:pt x="6760" y="7650"/>
                  <a:pt x="6751" y="7644"/>
                  <a:pt x="6744" y="7650"/>
                </a:cubicBezTo>
                <a:cubicBezTo>
                  <a:pt x="6732" y="7660"/>
                  <a:pt x="6722" y="7667"/>
                  <a:pt x="6713" y="7668"/>
                </a:cubicBezTo>
                <a:lnTo>
                  <a:pt x="6622" y="7491"/>
                </a:lnTo>
                <a:cubicBezTo>
                  <a:pt x="6646" y="7437"/>
                  <a:pt x="6663" y="7364"/>
                  <a:pt x="6678" y="7299"/>
                </a:cubicBezTo>
                <a:cubicBezTo>
                  <a:pt x="6683" y="7279"/>
                  <a:pt x="6687" y="7261"/>
                  <a:pt x="6692" y="7243"/>
                </a:cubicBezTo>
                <a:close/>
                <a:moveTo>
                  <a:pt x="2433" y="7262"/>
                </a:moveTo>
                <a:cubicBezTo>
                  <a:pt x="2435" y="7264"/>
                  <a:pt x="2437" y="7267"/>
                  <a:pt x="2439" y="7270"/>
                </a:cubicBezTo>
                <a:cubicBezTo>
                  <a:pt x="2447" y="7282"/>
                  <a:pt x="2454" y="7293"/>
                  <a:pt x="2462" y="7298"/>
                </a:cubicBezTo>
                <a:cubicBezTo>
                  <a:pt x="2546" y="7353"/>
                  <a:pt x="2594" y="7444"/>
                  <a:pt x="2647" y="7550"/>
                </a:cubicBezTo>
                <a:lnTo>
                  <a:pt x="2644" y="7550"/>
                </a:lnTo>
                <a:cubicBezTo>
                  <a:pt x="2609" y="7550"/>
                  <a:pt x="2552" y="7472"/>
                  <a:pt x="2518" y="7426"/>
                </a:cubicBezTo>
                <a:cubicBezTo>
                  <a:pt x="2515" y="7422"/>
                  <a:pt x="2512" y="7419"/>
                  <a:pt x="2509" y="7415"/>
                </a:cubicBezTo>
                <a:cubicBezTo>
                  <a:pt x="2512" y="7412"/>
                  <a:pt x="2516" y="7408"/>
                  <a:pt x="2519" y="7401"/>
                </a:cubicBezTo>
                <a:cubicBezTo>
                  <a:pt x="2524" y="7393"/>
                  <a:pt x="2525" y="7380"/>
                  <a:pt x="2523" y="7369"/>
                </a:cubicBezTo>
                <a:cubicBezTo>
                  <a:pt x="2521" y="7358"/>
                  <a:pt x="2515" y="7350"/>
                  <a:pt x="2509" y="7350"/>
                </a:cubicBezTo>
                <a:cubicBezTo>
                  <a:pt x="2475" y="7350"/>
                  <a:pt x="2436" y="7322"/>
                  <a:pt x="2420" y="7295"/>
                </a:cubicBezTo>
                <a:cubicBezTo>
                  <a:pt x="2426" y="7286"/>
                  <a:pt x="2431" y="7273"/>
                  <a:pt x="2433" y="7262"/>
                </a:cubicBezTo>
                <a:close/>
                <a:moveTo>
                  <a:pt x="13285" y="7263"/>
                </a:moveTo>
                <a:lnTo>
                  <a:pt x="13372" y="7385"/>
                </a:lnTo>
                <a:cubicBezTo>
                  <a:pt x="13366" y="7407"/>
                  <a:pt x="13361" y="7432"/>
                  <a:pt x="13361" y="7460"/>
                </a:cubicBezTo>
                <a:cubicBezTo>
                  <a:pt x="13361" y="7541"/>
                  <a:pt x="13394" y="7608"/>
                  <a:pt x="13435" y="7608"/>
                </a:cubicBezTo>
                <a:cubicBezTo>
                  <a:pt x="13458" y="7608"/>
                  <a:pt x="13478" y="7585"/>
                  <a:pt x="13492" y="7551"/>
                </a:cubicBezTo>
                <a:lnTo>
                  <a:pt x="13643" y="7761"/>
                </a:lnTo>
                <a:cubicBezTo>
                  <a:pt x="13647" y="7807"/>
                  <a:pt x="13665" y="7844"/>
                  <a:pt x="13689" y="7844"/>
                </a:cubicBezTo>
                <a:cubicBezTo>
                  <a:pt x="13693" y="7844"/>
                  <a:pt x="13695" y="7839"/>
                  <a:pt x="13698" y="7837"/>
                </a:cubicBezTo>
                <a:lnTo>
                  <a:pt x="13826" y="8015"/>
                </a:lnTo>
                <a:cubicBezTo>
                  <a:pt x="13826" y="8052"/>
                  <a:pt x="13841" y="8082"/>
                  <a:pt x="13860" y="8082"/>
                </a:cubicBezTo>
                <a:cubicBezTo>
                  <a:pt x="13864" y="8082"/>
                  <a:pt x="13866" y="8077"/>
                  <a:pt x="13869" y="8075"/>
                </a:cubicBezTo>
                <a:lnTo>
                  <a:pt x="13954" y="8192"/>
                </a:lnTo>
                <a:cubicBezTo>
                  <a:pt x="13944" y="8217"/>
                  <a:pt x="13938" y="8247"/>
                  <a:pt x="13938" y="8280"/>
                </a:cubicBezTo>
                <a:cubicBezTo>
                  <a:pt x="13938" y="8362"/>
                  <a:pt x="13971" y="8429"/>
                  <a:pt x="14011" y="8429"/>
                </a:cubicBezTo>
                <a:cubicBezTo>
                  <a:pt x="14017" y="8429"/>
                  <a:pt x="14022" y="8425"/>
                  <a:pt x="14027" y="8423"/>
                </a:cubicBezTo>
                <a:lnTo>
                  <a:pt x="13968" y="8559"/>
                </a:lnTo>
                <a:cubicBezTo>
                  <a:pt x="13955" y="8571"/>
                  <a:pt x="13947" y="8590"/>
                  <a:pt x="13943" y="8617"/>
                </a:cubicBezTo>
                <a:lnTo>
                  <a:pt x="13761" y="9038"/>
                </a:lnTo>
                <a:cubicBezTo>
                  <a:pt x="13757" y="9035"/>
                  <a:pt x="13754" y="9028"/>
                  <a:pt x="13749" y="9028"/>
                </a:cubicBezTo>
                <a:cubicBezTo>
                  <a:pt x="13730" y="9028"/>
                  <a:pt x="13714" y="9059"/>
                  <a:pt x="13714" y="9097"/>
                </a:cubicBezTo>
                <a:cubicBezTo>
                  <a:pt x="13714" y="9110"/>
                  <a:pt x="13718" y="9120"/>
                  <a:pt x="13721" y="9130"/>
                </a:cubicBezTo>
                <a:lnTo>
                  <a:pt x="13507" y="9627"/>
                </a:lnTo>
                <a:cubicBezTo>
                  <a:pt x="13507" y="9627"/>
                  <a:pt x="13498" y="9531"/>
                  <a:pt x="13492" y="9465"/>
                </a:cubicBezTo>
                <a:cubicBezTo>
                  <a:pt x="13505" y="9447"/>
                  <a:pt x="13515" y="9422"/>
                  <a:pt x="13515" y="9388"/>
                </a:cubicBezTo>
                <a:cubicBezTo>
                  <a:pt x="13515" y="9341"/>
                  <a:pt x="13498" y="9307"/>
                  <a:pt x="13476" y="9297"/>
                </a:cubicBezTo>
                <a:cubicBezTo>
                  <a:pt x="13465" y="9184"/>
                  <a:pt x="13454" y="9065"/>
                  <a:pt x="13454" y="9065"/>
                </a:cubicBezTo>
                <a:cubicBezTo>
                  <a:pt x="13459" y="9058"/>
                  <a:pt x="13461" y="9047"/>
                  <a:pt x="13460" y="9035"/>
                </a:cubicBezTo>
                <a:cubicBezTo>
                  <a:pt x="13459" y="9023"/>
                  <a:pt x="13455" y="9014"/>
                  <a:pt x="13449" y="9011"/>
                </a:cubicBezTo>
                <a:lnTo>
                  <a:pt x="13357" y="8027"/>
                </a:lnTo>
                <a:cubicBezTo>
                  <a:pt x="13375" y="8027"/>
                  <a:pt x="13390" y="8017"/>
                  <a:pt x="13402" y="7997"/>
                </a:cubicBezTo>
                <a:cubicBezTo>
                  <a:pt x="13408" y="7987"/>
                  <a:pt x="13409" y="7971"/>
                  <a:pt x="13405" y="7958"/>
                </a:cubicBezTo>
                <a:cubicBezTo>
                  <a:pt x="13400" y="7943"/>
                  <a:pt x="13395" y="7928"/>
                  <a:pt x="13390" y="7913"/>
                </a:cubicBezTo>
                <a:cubicBezTo>
                  <a:pt x="13373" y="7859"/>
                  <a:pt x="13357" y="7808"/>
                  <a:pt x="13332" y="7770"/>
                </a:cubicBezTo>
                <a:lnTo>
                  <a:pt x="13285" y="7263"/>
                </a:lnTo>
                <a:close/>
                <a:moveTo>
                  <a:pt x="2533" y="7293"/>
                </a:moveTo>
                <a:cubicBezTo>
                  <a:pt x="2557" y="7304"/>
                  <a:pt x="2571" y="7314"/>
                  <a:pt x="2578" y="7349"/>
                </a:cubicBezTo>
                <a:cubicBezTo>
                  <a:pt x="2564" y="7329"/>
                  <a:pt x="2550" y="7310"/>
                  <a:pt x="2533" y="7293"/>
                </a:cubicBezTo>
                <a:close/>
                <a:moveTo>
                  <a:pt x="3276" y="7302"/>
                </a:moveTo>
                <a:lnTo>
                  <a:pt x="3668" y="7844"/>
                </a:lnTo>
                <a:lnTo>
                  <a:pt x="4024" y="8339"/>
                </a:lnTo>
                <a:cubicBezTo>
                  <a:pt x="4024" y="8339"/>
                  <a:pt x="3469" y="9623"/>
                  <a:pt x="3469" y="9623"/>
                </a:cubicBezTo>
                <a:lnTo>
                  <a:pt x="3433" y="9243"/>
                </a:lnTo>
                <a:cubicBezTo>
                  <a:pt x="3498" y="9241"/>
                  <a:pt x="3551" y="9136"/>
                  <a:pt x="3551" y="9006"/>
                </a:cubicBezTo>
                <a:cubicBezTo>
                  <a:pt x="3551" y="8874"/>
                  <a:pt x="3498" y="8767"/>
                  <a:pt x="3432" y="8767"/>
                </a:cubicBezTo>
                <a:cubicBezTo>
                  <a:pt x="3417" y="8767"/>
                  <a:pt x="3403" y="8773"/>
                  <a:pt x="3390" y="8783"/>
                </a:cubicBezTo>
                <a:lnTo>
                  <a:pt x="3349" y="8347"/>
                </a:lnTo>
                <a:cubicBezTo>
                  <a:pt x="3355" y="8350"/>
                  <a:pt x="3361" y="8354"/>
                  <a:pt x="3368" y="8354"/>
                </a:cubicBezTo>
                <a:cubicBezTo>
                  <a:pt x="3409" y="8354"/>
                  <a:pt x="3442" y="8288"/>
                  <a:pt x="3442" y="8206"/>
                </a:cubicBezTo>
                <a:cubicBezTo>
                  <a:pt x="3442" y="8124"/>
                  <a:pt x="3409" y="8058"/>
                  <a:pt x="3368" y="8058"/>
                </a:cubicBezTo>
                <a:cubicBezTo>
                  <a:pt x="3351" y="8058"/>
                  <a:pt x="3337" y="8070"/>
                  <a:pt x="3325" y="8088"/>
                </a:cubicBezTo>
                <a:lnTo>
                  <a:pt x="3254" y="7336"/>
                </a:lnTo>
                <a:cubicBezTo>
                  <a:pt x="3262" y="7326"/>
                  <a:pt x="3270" y="7316"/>
                  <a:pt x="3276" y="7302"/>
                </a:cubicBezTo>
                <a:close/>
                <a:moveTo>
                  <a:pt x="6275" y="7354"/>
                </a:moveTo>
                <a:cubicBezTo>
                  <a:pt x="6301" y="7363"/>
                  <a:pt x="6323" y="7392"/>
                  <a:pt x="6346" y="7422"/>
                </a:cubicBezTo>
                <a:cubicBezTo>
                  <a:pt x="6347" y="7423"/>
                  <a:pt x="6348" y="7424"/>
                  <a:pt x="6349" y="7425"/>
                </a:cubicBezTo>
                <a:cubicBezTo>
                  <a:pt x="6338" y="7423"/>
                  <a:pt x="6317" y="7410"/>
                  <a:pt x="6275" y="7354"/>
                </a:cubicBezTo>
                <a:close/>
                <a:moveTo>
                  <a:pt x="10036" y="7379"/>
                </a:moveTo>
                <a:cubicBezTo>
                  <a:pt x="10052" y="7409"/>
                  <a:pt x="10072" y="7426"/>
                  <a:pt x="10093" y="7432"/>
                </a:cubicBezTo>
                <a:lnTo>
                  <a:pt x="10029" y="7693"/>
                </a:lnTo>
                <a:cubicBezTo>
                  <a:pt x="10029" y="7693"/>
                  <a:pt x="10026" y="7708"/>
                  <a:pt x="10022" y="7723"/>
                </a:cubicBezTo>
                <a:cubicBezTo>
                  <a:pt x="10019" y="7723"/>
                  <a:pt x="10017" y="7728"/>
                  <a:pt x="10015" y="7729"/>
                </a:cubicBezTo>
                <a:cubicBezTo>
                  <a:pt x="10015" y="7726"/>
                  <a:pt x="10014" y="7722"/>
                  <a:pt x="10014" y="7719"/>
                </a:cubicBezTo>
                <a:cubicBezTo>
                  <a:pt x="10014" y="7704"/>
                  <a:pt x="10009" y="7692"/>
                  <a:pt x="10002" y="7689"/>
                </a:cubicBezTo>
                <a:cubicBezTo>
                  <a:pt x="10000" y="7689"/>
                  <a:pt x="9999" y="7687"/>
                  <a:pt x="9996" y="7681"/>
                </a:cubicBezTo>
                <a:cubicBezTo>
                  <a:pt x="9992" y="7674"/>
                  <a:pt x="9986" y="7663"/>
                  <a:pt x="9979" y="7660"/>
                </a:cubicBezTo>
                <a:cubicBezTo>
                  <a:pt x="9972" y="7656"/>
                  <a:pt x="9963" y="7652"/>
                  <a:pt x="9953" y="7646"/>
                </a:cubicBezTo>
                <a:cubicBezTo>
                  <a:pt x="9878" y="7607"/>
                  <a:pt x="9862" y="7582"/>
                  <a:pt x="9862" y="7569"/>
                </a:cubicBezTo>
                <a:cubicBezTo>
                  <a:pt x="9862" y="7564"/>
                  <a:pt x="9861" y="7560"/>
                  <a:pt x="9860" y="7555"/>
                </a:cubicBezTo>
                <a:cubicBezTo>
                  <a:pt x="9868" y="7539"/>
                  <a:pt x="9905" y="7519"/>
                  <a:pt x="9917" y="7512"/>
                </a:cubicBezTo>
                <a:cubicBezTo>
                  <a:pt x="9918" y="7512"/>
                  <a:pt x="9920" y="7510"/>
                  <a:pt x="9921" y="7510"/>
                </a:cubicBezTo>
                <a:cubicBezTo>
                  <a:pt x="9937" y="7536"/>
                  <a:pt x="9964" y="7547"/>
                  <a:pt x="9978" y="7548"/>
                </a:cubicBezTo>
                <a:cubicBezTo>
                  <a:pt x="9983" y="7576"/>
                  <a:pt x="9993" y="7597"/>
                  <a:pt x="10008" y="7597"/>
                </a:cubicBezTo>
                <a:cubicBezTo>
                  <a:pt x="10027" y="7597"/>
                  <a:pt x="10042" y="7567"/>
                  <a:pt x="10042" y="7530"/>
                </a:cubicBezTo>
                <a:cubicBezTo>
                  <a:pt x="10042" y="7524"/>
                  <a:pt x="10040" y="7521"/>
                  <a:pt x="10039" y="7516"/>
                </a:cubicBezTo>
                <a:cubicBezTo>
                  <a:pt x="10042" y="7510"/>
                  <a:pt x="10046" y="7507"/>
                  <a:pt x="10046" y="7498"/>
                </a:cubicBezTo>
                <a:lnTo>
                  <a:pt x="10046" y="7468"/>
                </a:lnTo>
                <a:cubicBezTo>
                  <a:pt x="10046" y="7456"/>
                  <a:pt x="10043" y="7446"/>
                  <a:pt x="10038" y="7441"/>
                </a:cubicBezTo>
                <a:cubicBezTo>
                  <a:pt x="10036" y="7433"/>
                  <a:pt x="10036" y="7414"/>
                  <a:pt x="10036" y="7405"/>
                </a:cubicBezTo>
                <a:cubicBezTo>
                  <a:pt x="10036" y="7395"/>
                  <a:pt x="10036" y="7386"/>
                  <a:pt x="10036" y="7379"/>
                </a:cubicBezTo>
                <a:close/>
                <a:moveTo>
                  <a:pt x="18701" y="7410"/>
                </a:moveTo>
                <a:cubicBezTo>
                  <a:pt x="18708" y="7421"/>
                  <a:pt x="18716" y="7425"/>
                  <a:pt x="18725" y="7428"/>
                </a:cubicBezTo>
                <a:cubicBezTo>
                  <a:pt x="18719" y="7469"/>
                  <a:pt x="18714" y="7512"/>
                  <a:pt x="18713" y="7545"/>
                </a:cubicBezTo>
                <a:cubicBezTo>
                  <a:pt x="18713" y="7508"/>
                  <a:pt x="18709" y="7487"/>
                  <a:pt x="18705" y="7469"/>
                </a:cubicBezTo>
                <a:cubicBezTo>
                  <a:pt x="18702" y="7455"/>
                  <a:pt x="18700" y="7444"/>
                  <a:pt x="18700" y="7426"/>
                </a:cubicBezTo>
                <a:cubicBezTo>
                  <a:pt x="18700" y="7419"/>
                  <a:pt x="18701" y="7416"/>
                  <a:pt x="18701" y="7410"/>
                </a:cubicBezTo>
                <a:close/>
                <a:moveTo>
                  <a:pt x="2622" y="7419"/>
                </a:moveTo>
                <a:cubicBezTo>
                  <a:pt x="2624" y="7421"/>
                  <a:pt x="2625" y="7422"/>
                  <a:pt x="2627" y="7424"/>
                </a:cubicBezTo>
                <a:cubicBezTo>
                  <a:pt x="2642" y="7434"/>
                  <a:pt x="2656" y="7445"/>
                  <a:pt x="2664" y="7460"/>
                </a:cubicBezTo>
                <a:cubicBezTo>
                  <a:pt x="2669" y="7470"/>
                  <a:pt x="2676" y="7478"/>
                  <a:pt x="2685" y="7487"/>
                </a:cubicBezTo>
                <a:lnTo>
                  <a:pt x="2686" y="7488"/>
                </a:lnTo>
                <a:cubicBezTo>
                  <a:pt x="2691" y="7505"/>
                  <a:pt x="2696" y="7517"/>
                  <a:pt x="2700" y="7527"/>
                </a:cubicBezTo>
                <a:lnTo>
                  <a:pt x="2701" y="7530"/>
                </a:lnTo>
                <a:cubicBezTo>
                  <a:pt x="2707" y="7544"/>
                  <a:pt x="2710" y="7551"/>
                  <a:pt x="2710" y="7562"/>
                </a:cubicBezTo>
                <a:cubicBezTo>
                  <a:pt x="2710" y="7570"/>
                  <a:pt x="2708" y="7590"/>
                  <a:pt x="2696" y="7628"/>
                </a:cubicBezTo>
                <a:cubicBezTo>
                  <a:pt x="2690" y="7616"/>
                  <a:pt x="2684" y="7605"/>
                  <a:pt x="2676" y="7596"/>
                </a:cubicBezTo>
                <a:cubicBezTo>
                  <a:pt x="2677" y="7591"/>
                  <a:pt x="2679" y="7586"/>
                  <a:pt x="2679" y="7580"/>
                </a:cubicBezTo>
                <a:lnTo>
                  <a:pt x="2679" y="7541"/>
                </a:lnTo>
                <a:cubicBezTo>
                  <a:pt x="2679" y="7533"/>
                  <a:pt x="2677" y="7526"/>
                  <a:pt x="2674" y="7520"/>
                </a:cubicBezTo>
                <a:cubicBezTo>
                  <a:pt x="2657" y="7486"/>
                  <a:pt x="2640" y="7451"/>
                  <a:pt x="2622" y="7419"/>
                </a:cubicBezTo>
                <a:close/>
                <a:moveTo>
                  <a:pt x="5451" y="7435"/>
                </a:moveTo>
                <a:lnTo>
                  <a:pt x="5928" y="7793"/>
                </a:lnTo>
                <a:cubicBezTo>
                  <a:pt x="5936" y="7822"/>
                  <a:pt x="5949" y="7844"/>
                  <a:pt x="5967" y="7844"/>
                </a:cubicBezTo>
                <a:cubicBezTo>
                  <a:pt x="5972" y="7844"/>
                  <a:pt x="5976" y="7837"/>
                  <a:pt x="5980" y="7834"/>
                </a:cubicBezTo>
                <a:lnTo>
                  <a:pt x="6192" y="7993"/>
                </a:lnTo>
                <a:cubicBezTo>
                  <a:pt x="6191" y="7995"/>
                  <a:pt x="6190" y="7996"/>
                  <a:pt x="6189" y="7998"/>
                </a:cubicBezTo>
                <a:cubicBezTo>
                  <a:pt x="6185" y="8010"/>
                  <a:pt x="6182" y="8020"/>
                  <a:pt x="6178" y="8026"/>
                </a:cubicBezTo>
                <a:cubicBezTo>
                  <a:pt x="6176" y="8029"/>
                  <a:pt x="6169" y="8036"/>
                  <a:pt x="6149" y="8036"/>
                </a:cubicBezTo>
                <a:cubicBezTo>
                  <a:pt x="6137" y="8036"/>
                  <a:pt x="6126" y="8034"/>
                  <a:pt x="6116" y="8032"/>
                </a:cubicBezTo>
                <a:cubicBezTo>
                  <a:pt x="6104" y="8030"/>
                  <a:pt x="6100" y="8030"/>
                  <a:pt x="6093" y="8031"/>
                </a:cubicBezTo>
                <a:cubicBezTo>
                  <a:pt x="6090" y="8031"/>
                  <a:pt x="6088" y="8032"/>
                  <a:pt x="6085" y="8032"/>
                </a:cubicBezTo>
                <a:cubicBezTo>
                  <a:pt x="6081" y="8029"/>
                  <a:pt x="6076" y="8030"/>
                  <a:pt x="6072" y="8034"/>
                </a:cubicBezTo>
                <a:cubicBezTo>
                  <a:pt x="6068" y="8040"/>
                  <a:pt x="6065" y="8050"/>
                  <a:pt x="6065" y="8060"/>
                </a:cubicBezTo>
                <a:lnTo>
                  <a:pt x="6065" y="8073"/>
                </a:lnTo>
                <a:cubicBezTo>
                  <a:pt x="6065" y="8075"/>
                  <a:pt x="6065" y="8077"/>
                  <a:pt x="6065" y="8079"/>
                </a:cubicBezTo>
                <a:lnTo>
                  <a:pt x="6066" y="8088"/>
                </a:lnTo>
                <a:cubicBezTo>
                  <a:pt x="6066" y="8091"/>
                  <a:pt x="6067" y="8094"/>
                  <a:pt x="6068" y="8096"/>
                </a:cubicBezTo>
                <a:cubicBezTo>
                  <a:pt x="6069" y="8102"/>
                  <a:pt x="6070" y="8109"/>
                  <a:pt x="6072" y="8115"/>
                </a:cubicBezTo>
                <a:cubicBezTo>
                  <a:pt x="6060" y="8144"/>
                  <a:pt x="6043" y="8158"/>
                  <a:pt x="6022" y="8158"/>
                </a:cubicBezTo>
                <a:cubicBezTo>
                  <a:pt x="6014" y="8158"/>
                  <a:pt x="6010" y="8155"/>
                  <a:pt x="6005" y="8152"/>
                </a:cubicBezTo>
                <a:cubicBezTo>
                  <a:pt x="5995" y="8147"/>
                  <a:pt x="5982" y="8145"/>
                  <a:pt x="5967" y="8160"/>
                </a:cubicBezTo>
                <a:cubicBezTo>
                  <a:pt x="5966" y="8162"/>
                  <a:pt x="5964" y="8164"/>
                  <a:pt x="5963" y="8166"/>
                </a:cubicBezTo>
                <a:cubicBezTo>
                  <a:pt x="5961" y="8170"/>
                  <a:pt x="5959" y="8173"/>
                  <a:pt x="5957" y="8177"/>
                </a:cubicBezTo>
                <a:cubicBezTo>
                  <a:pt x="5952" y="8132"/>
                  <a:pt x="5935" y="8095"/>
                  <a:pt x="5911" y="8095"/>
                </a:cubicBezTo>
                <a:cubicBezTo>
                  <a:pt x="5884" y="8095"/>
                  <a:pt x="5862" y="8140"/>
                  <a:pt x="5862" y="8194"/>
                </a:cubicBezTo>
                <a:cubicBezTo>
                  <a:pt x="5862" y="8236"/>
                  <a:pt x="5877" y="8265"/>
                  <a:pt x="5896" y="8279"/>
                </a:cubicBezTo>
                <a:cubicBezTo>
                  <a:pt x="5872" y="8323"/>
                  <a:pt x="5852" y="8376"/>
                  <a:pt x="5852" y="8463"/>
                </a:cubicBezTo>
                <a:cubicBezTo>
                  <a:pt x="5852" y="8482"/>
                  <a:pt x="5855" y="8504"/>
                  <a:pt x="5862" y="8518"/>
                </a:cubicBezTo>
                <a:cubicBezTo>
                  <a:pt x="5863" y="8533"/>
                  <a:pt x="5866" y="8552"/>
                  <a:pt x="5871" y="8568"/>
                </a:cubicBezTo>
                <a:cubicBezTo>
                  <a:pt x="5866" y="8569"/>
                  <a:pt x="5861" y="8569"/>
                  <a:pt x="5860" y="8568"/>
                </a:cubicBezTo>
                <a:cubicBezTo>
                  <a:pt x="5855" y="8560"/>
                  <a:pt x="5847" y="8559"/>
                  <a:pt x="5842" y="8567"/>
                </a:cubicBezTo>
                <a:cubicBezTo>
                  <a:pt x="5823" y="8596"/>
                  <a:pt x="5795" y="8604"/>
                  <a:pt x="5766" y="8613"/>
                </a:cubicBezTo>
                <a:cubicBezTo>
                  <a:pt x="5738" y="8621"/>
                  <a:pt x="5709" y="8630"/>
                  <a:pt x="5686" y="8661"/>
                </a:cubicBezTo>
                <a:cubicBezTo>
                  <a:pt x="5683" y="8664"/>
                  <a:pt x="5681" y="8669"/>
                  <a:pt x="5680" y="8674"/>
                </a:cubicBezTo>
                <a:cubicBezTo>
                  <a:pt x="5674" y="8673"/>
                  <a:pt x="5669" y="8670"/>
                  <a:pt x="5664" y="8673"/>
                </a:cubicBezTo>
                <a:cubicBezTo>
                  <a:pt x="5652" y="8681"/>
                  <a:pt x="5641" y="8704"/>
                  <a:pt x="5641" y="8732"/>
                </a:cubicBezTo>
                <a:cubicBezTo>
                  <a:pt x="5641" y="8755"/>
                  <a:pt x="5649" y="8777"/>
                  <a:pt x="5657" y="8792"/>
                </a:cubicBezTo>
                <a:cubicBezTo>
                  <a:pt x="5656" y="8800"/>
                  <a:pt x="5651" y="8811"/>
                  <a:pt x="5649" y="8820"/>
                </a:cubicBezTo>
                <a:cubicBezTo>
                  <a:pt x="5636" y="8811"/>
                  <a:pt x="5623" y="8804"/>
                  <a:pt x="5609" y="8804"/>
                </a:cubicBezTo>
                <a:cubicBezTo>
                  <a:pt x="5609" y="8804"/>
                  <a:pt x="5608" y="8804"/>
                  <a:pt x="5608" y="8804"/>
                </a:cubicBezTo>
                <a:lnTo>
                  <a:pt x="5547" y="8268"/>
                </a:lnTo>
                <a:cubicBezTo>
                  <a:pt x="5548" y="8260"/>
                  <a:pt x="5549" y="8253"/>
                  <a:pt x="5550" y="8245"/>
                </a:cubicBezTo>
                <a:cubicBezTo>
                  <a:pt x="5556" y="8234"/>
                  <a:pt x="5556" y="8215"/>
                  <a:pt x="5551" y="8202"/>
                </a:cubicBezTo>
                <a:cubicBezTo>
                  <a:pt x="5548" y="8195"/>
                  <a:pt x="5543" y="8193"/>
                  <a:pt x="5538" y="8193"/>
                </a:cubicBezTo>
                <a:cubicBezTo>
                  <a:pt x="5523" y="8053"/>
                  <a:pt x="5509" y="7938"/>
                  <a:pt x="5498" y="7842"/>
                </a:cubicBezTo>
                <a:cubicBezTo>
                  <a:pt x="5498" y="7841"/>
                  <a:pt x="5498" y="7840"/>
                  <a:pt x="5498" y="7839"/>
                </a:cubicBezTo>
                <a:cubicBezTo>
                  <a:pt x="5496" y="7825"/>
                  <a:pt x="5495" y="7812"/>
                  <a:pt x="5493" y="7799"/>
                </a:cubicBezTo>
                <a:cubicBezTo>
                  <a:pt x="5487" y="7743"/>
                  <a:pt x="5481" y="7691"/>
                  <a:pt x="5475" y="7643"/>
                </a:cubicBezTo>
                <a:cubicBezTo>
                  <a:pt x="5470" y="7596"/>
                  <a:pt x="5466" y="7557"/>
                  <a:pt x="5462" y="7524"/>
                </a:cubicBezTo>
                <a:cubicBezTo>
                  <a:pt x="5457" y="7485"/>
                  <a:pt x="5454" y="7456"/>
                  <a:pt x="5451" y="7435"/>
                </a:cubicBezTo>
                <a:close/>
                <a:moveTo>
                  <a:pt x="15489" y="7438"/>
                </a:moveTo>
                <a:lnTo>
                  <a:pt x="15608" y="7526"/>
                </a:lnTo>
                <a:cubicBezTo>
                  <a:pt x="15588" y="7553"/>
                  <a:pt x="15575" y="7596"/>
                  <a:pt x="15575" y="7646"/>
                </a:cubicBezTo>
                <a:cubicBezTo>
                  <a:pt x="15575" y="7728"/>
                  <a:pt x="15608" y="7794"/>
                  <a:pt x="15649" y="7794"/>
                </a:cubicBezTo>
                <a:cubicBezTo>
                  <a:pt x="15690" y="7794"/>
                  <a:pt x="15723" y="7728"/>
                  <a:pt x="15723" y="7646"/>
                </a:cubicBezTo>
                <a:cubicBezTo>
                  <a:pt x="15723" y="7634"/>
                  <a:pt x="15721" y="7623"/>
                  <a:pt x="15719" y="7611"/>
                </a:cubicBezTo>
                <a:lnTo>
                  <a:pt x="15805" y="7675"/>
                </a:lnTo>
                <a:cubicBezTo>
                  <a:pt x="15803" y="7687"/>
                  <a:pt x="15798" y="7696"/>
                  <a:pt x="15798" y="7709"/>
                </a:cubicBezTo>
                <a:cubicBezTo>
                  <a:pt x="15798" y="7764"/>
                  <a:pt x="15821" y="7807"/>
                  <a:pt x="15848" y="7807"/>
                </a:cubicBezTo>
                <a:cubicBezTo>
                  <a:pt x="15869" y="7807"/>
                  <a:pt x="15884" y="7777"/>
                  <a:pt x="15890" y="7740"/>
                </a:cubicBezTo>
                <a:lnTo>
                  <a:pt x="15993" y="7818"/>
                </a:lnTo>
                <a:cubicBezTo>
                  <a:pt x="15990" y="7831"/>
                  <a:pt x="15985" y="7842"/>
                  <a:pt x="15985" y="7858"/>
                </a:cubicBezTo>
                <a:cubicBezTo>
                  <a:pt x="15985" y="7913"/>
                  <a:pt x="16007" y="7956"/>
                  <a:pt x="16034" y="7956"/>
                </a:cubicBezTo>
                <a:cubicBezTo>
                  <a:pt x="16057" y="7956"/>
                  <a:pt x="16073" y="7923"/>
                  <a:pt x="16078" y="7881"/>
                </a:cubicBezTo>
                <a:lnTo>
                  <a:pt x="16165" y="7946"/>
                </a:lnTo>
                <a:cubicBezTo>
                  <a:pt x="16158" y="7963"/>
                  <a:pt x="16152" y="7984"/>
                  <a:pt x="16152" y="8008"/>
                </a:cubicBezTo>
                <a:cubicBezTo>
                  <a:pt x="16152" y="8062"/>
                  <a:pt x="16174" y="8106"/>
                  <a:pt x="16201" y="8106"/>
                </a:cubicBezTo>
                <a:cubicBezTo>
                  <a:pt x="16228" y="8106"/>
                  <a:pt x="16249" y="8063"/>
                  <a:pt x="16250" y="8010"/>
                </a:cubicBezTo>
                <a:lnTo>
                  <a:pt x="16581" y="8259"/>
                </a:lnTo>
                <a:lnTo>
                  <a:pt x="16460" y="8599"/>
                </a:lnTo>
                <a:cubicBezTo>
                  <a:pt x="16456" y="8568"/>
                  <a:pt x="16445" y="8543"/>
                  <a:pt x="16428" y="8543"/>
                </a:cubicBezTo>
                <a:cubicBezTo>
                  <a:pt x="16409" y="8543"/>
                  <a:pt x="16394" y="8574"/>
                  <a:pt x="16394" y="8612"/>
                </a:cubicBezTo>
                <a:cubicBezTo>
                  <a:pt x="16394" y="8649"/>
                  <a:pt x="16409" y="8679"/>
                  <a:pt x="16428" y="8679"/>
                </a:cubicBezTo>
                <a:cubicBezTo>
                  <a:pt x="16430" y="8679"/>
                  <a:pt x="16430" y="8676"/>
                  <a:pt x="16432" y="8676"/>
                </a:cubicBezTo>
                <a:lnTo>
                  <a:pt x="16393" y="8784"/>
                </a:lnTo>
                <a:cubicBezTo>
                  <a:pt x="16387" y="8774"/>
                  <a:pt x="16381" y="8767"/>
                  <a:pt x="16372" y="8767"/>
                </a:cubicBezTo>
                <a:cubicBezTo>
                  <a:pt x="16354" y="8767"/>
                  <a:pt x="16338" y="8798"/>
                  <a:pt x="16338" y="8835"/>
                </a:cubicBezTo>
                <a:cubicBezTo>
                  <a:pt x="16338" y="8860"/>
                  <a:pt x="16346" y="8877"/>
                  <a:pt x="16356" y="8889"/>
                </a:cubicBezTo>
                <a:lnTo>
                  <a:pt x="16268" y="9134"/>
                </a:lnTo>
                <a:cubicBezTo>
                  <a:pt x="16255" y="9093"/>
                  <a:pt x="16233" y="9065"/>
                  <a:pt x="16207" y="9065"/>
                </a:cubicBezTo>
                <a:cubicBezTo>
                  <a:pt x="16166" y="9065"/>
                  <a:pt x="16133" y="9131"/>
                  <a:pt x="16133" y="9213"/>
                </a:cubicBezTo>
                <a:cubicBezTo>
                  <a:pt x="16133" y="9282"/>
                  <a:pt x="16158" y="9338"/>
                  <a:pt x="16190" y="9354"/>
                </a:cubicBezTo>
                <a:lnTo>
                  <a:pt x="16143" y="9486"/>
                </a:lnTo>
                <a:cubicBezTo>
                  <a:pt x="16139" y="9482"/>
                  <a:pt x="16135" y="9475"/>
                  <a:pt x="16130" y="9475"/>
                </a:cubicBezTo>
                <a:cubicBezTo>
                  <a:pt x="16112" y="9475"/>
                  <a:pt x="16096" y="9506"/>
                  <a:pt x="16096" y="9544"/>
                </a:cubicBezTo>
                <a:cubicBezTo>
                  <a:pt x="16096" y="9562"/>
                  <a:pt x="16100" y="9578"/>
                  <a:pt x="16105" y="9590"/>
                </a:cubicBezTo>
                <a:lnTo>
                  <a:pt x="16005" y="9869"/>
                </a:lnTo>
                <a:cubicBezTo>
                  <a:pt x="15999" y="9856"/>
                  <a:pt x="15991" y="9848"/>
                  <a:pt x="15982" y="9848"/>
                </a:cubicBezTo>
                <a:cubicBezTo>
                  <a:pt x="15963" y="9848"/>
                  <a:pt x="15947" y="9879"/>
                  <a:pt x="15947" y="9917"/>
                </a:cubicBezTo>
                <a:cubicBezTo>
                  <a:pt x="15947" y="9945"/>
                  <a:pt x="15957" y="9964"/>
                  <a:pt x="15968" y="9974"/>
                </a:cubicBezTo>
                <a:lnTo>
                  <a:pt x="15864" y="10268"/>
                </a:lnTo>
                <a:cubicBezTo>
                  <a:pt x="15856" y="10264"/>
                  <a:pt x="15848" y="10259"/>
                  <a:pt x="15840" y="10259"/>
                </a:cubicBezTo>
                <a:cubicBezTo>
                  <a:pt x="15831" y="10259"/>
                  <a:pt x="15823" y="10265"/>
                  <a:pt x="15815" y="10269"/>
                </a:cubicBezTo>
                <a:cubicBezTo>
                  <a:pt x="15808" y="10212"/>
                  <a:pt x="15792" y="10069"/>
                  <a:pt x="15772" y="9889"/>
                </a:cubicBezTo>
                <a:cubicBezTo>
                  <a:pt x="15772" y="9886"/>
                  <a:pt x="15773" y="9884"/>
                  <a:pt x="15773" y="9880"/>
                </a:cubicBezTo>
                <a:cubicBezTo>
                  <a:pt x="15773" y="9867"/>
                  <a:pt x="15770" y="9857"/>
                  <a:pt x="15766" y="9846"/>
                </a:cubicBezTo>
                <a:cubicBezTo>
                  <a:pt x="15749" y="9694"/>
                  <a:pt x="15747" y="9672"/>
                  <a:pt x="15731" y="9533"/>
                </a:cubicBezTo>
                <a:cubicBezTo>
                  <a:pt x="15733" y="9524"/>
                  <a:pt x="15736" y="9517"/>
                  <a:pt x="15736" y="9507"/>
                </a:cubicBezTo>
                <a:cubicBezTo>
                  <a:pt x="15736" y="9485"/>
                  <a:pt x="15730" y="9467"/>
                  <a:pt x="15722" y="9454"/>
                </a:cubicBezTo>
                <a:cubicBezTo>
                  <a:pt x="15707" y="9319"/>
                  <a:pt x="15683" y="9113"/>
                  <a:pt x="15683" y="9113"/>
                </a:cubicBezTo>
                <a:cubicBezTo>
                  <a:pt x="15683" y="9108"/>
                  <a:pt x="15681" y="9105"/>
                  <a:pt x="15680" y="9101"/>
                </a:cubicBezTo>
                <a:lnTo>
                  <a:pt x="15659" y="8922"/>
                </a:lnTo>
                <a:cubicBezTo>
                  <a:pt x="15660" y="8917"/>
                  <a:pt x="15662" y="8915"/>
                  <a:pt x="15662" y="8910"/>
                </a:cubicBezTo>
                <a:cubicBezTo>
                  <a:pt x="15662" y="8893"/>
                  <a:pt x="15658" y="8878"/>
                  <a:pt x="15652" y="8866"/>
                </a:cubicBezTo>
                <a:lnTo>
                  <a:pt x="15630" y="8665"/>
                </a:lnTo>
                <a:lnTo>
                  <a:pt x="15623" y="8612"/>
                </a:lnTo>
                <a:cubicBezTo>
                  <a:pt x="15608" y="8473"/>
                  <a:pt x="15602" y="8422"/>
                  <a:pt x="15589" y="8313"/>
                </a:cubicBezTo>
                <a:cubicBezTo>
                  <a:pt x="15590" y="8302"/>
                  <a:pt x="15593" y="8292"/>
                  <a:pt x="15593" y="8280"/>
                </a:cubicBezTo>
                <a:cubicBezTo>
                  <a:pt x="15593" y="8245"/>
                  <a:pt x="15586" y="8213"/>
                  <a:pt x="15575" y="8187"/>
                </a:cubicBezTo>
                <a:cubicBezTo>
                  <a:pt x="15560" y="8052"/>
                  <a:pt x="15538" y="7865"/>
                  <a:pt x="15528" y="7776"/>
                </a:cubicBezTo>
                <a:cubicBezTo>
                  <a:pt x="15516" y="7667"/>
                  <a:pt x="15505" y="7572"/>
                  <a:pt x="15497" y="7503"/>
                </a:cubicBezTo>
                <a:cubicBezTo>
                  <a:pt x="15494" y="7477"/>
                  <a:pt x="15491" y="7455"/>
                  <a:pt x="15489" y="7438"/>
                </a:cubicBezTo>
                <a:close/>
                <a:moveTo>
                  <a:pt x="18259" y="7441"/>
                </a:moveTo>
                <a:cubicBezTo>
                  <a:pt x="18208" y="7441"/>
                  <a:pt x="18180" y="7480"/>
                  <a:pt x="18155" y="7515"/>
                </a:cubicBezTo>
                <a:lnTo>
                  <a:pt x="18149" y="7523"/>
                </a:lnTo>
                <a:cubicBezTo>
                  <a:pt x="18143" y="7532"/>
                  <a:pt x="18141" y="7551"/>
                  <a:pt x="18145" y="7565"/>
                </a:cubicBezTo>
                <a:cubicBezTo>
                  <a:pt x="18148" y="7573"/>
                  <a:pt x="18153" y="7578"/>
                  <a:pt x="18158" y="7578"/>
                </a:cubicBezTo>
                <a:cubicBezTo>
                  <a:pt x="18161" y="7578"/>
                  <a:pt x="18164" y="7576"/>
                  <a:pt x="18166" y="7573"/>
                </a:cubicBezTo>
                <a:lnTo>
                  <a:pt x="18172" y="7564"/>
                </a:lnTo>
                <a:cubicBezTo>
                  <a:pt x="18195" y="7531"/>
                  <a:pt x="18217" y="7501"/>
                  <a:pt x="18259" y="7501"/>
                </a:cubicBezTo>
                <a:cubicBezTo>
                  <a:pt x="18267" y="7501"/>
                  <a:pt x="18274" y="7487"/>
                  <a:pt x="18274" y="7470"/>
                </a:cubicBezTo>
                <a:cubicBezTo>
                  <a:pt x="18274" y="7454"/>
                  <a:pt x="18267" y="7441"/>
                  <a:pt x="18259" y="7441"/>
                </a:cubicBezTo>
                <a:close/>
                <a:moveTo>
                  <a:pt x="15461" y="7455"/>
                </a:moveTo>
                <a:cubicBezTo>
                  <a:pt x="15464" y="7485"/>
                  <a:pt x="15469" y="7527"/>
                  <a:pt x="15475" y="7580"/>
                </a:cubicBezTo>
                <a:cubicBezTo>
                  <a:pt x="15475" y="7582"/>
                  <a:pt x="15475" y="7584"/>
                  <a:pt x="15476" y="7586"/>
                </a:cubicBezTo>
                <a:cubicBezTo>
                  <a:pt x="15478" y="7603"/>
                  <a:pt x="15480" y="7621"/>
                  <a:pt x="15482" y="7642"/>
                </a:cubicBezTo>
                <a:cubicBezTo>
                  <a:pt x="15482" y="7642"/>
                  <a:pt x="15482" y="7643"/>
                  <a:pt x="15482" y="7643"/>
                </a:cubicBezTo>
                <a:cubicBezTo>
                  <a:pt x="15483" y="7653"/>
                  <a:pt x="15484" y="7662"/>
                  <a:pt x="15486" y="7673"/>
                </a:cubicBezTo>
                <a:cubicBezTo>
                  <a:pt x="15487" y="7688"/>
                  <a:pt x="15489" y="7703"/>
                  <a:pt x="15491" y="7719"/>
                </a:cubicBezTo>
                <a:cubicBezTo>
                  <a:pt x="15491" y="7723"/>
                  <a:pt x="15492" y="7728"/>
                  <a:pt x="15493" y="7733"/>
                </a:cubicBezTo>
                <a:cubicBezTo>
                  <a:pt x="15494" y="7749"/>
                  <a:pt x="15496" y="7765"/>
                  <a:pt x="15498" y="7783"/>
                </a:cubicBezTo>
                <a:cubicBezTo>
                  <a:pt x="15499" y="7788"/>
                  <a:pt x="15500" y="7793"/>
                  <a:pt x="15500" y="7798"/>
                </a:cubicBezTo>
                <a:cubicBezTo>
                  <a:pt x="15502" y="7817"/>
                  <a:pt x="15505" y="7837"/>
                  <a:pt x="15507" y="7857"/>
                </a:cubicBezTo>
                <a:cubicBezTo>
                  <a:pt x="15507" y="7860"/>
                  <a:pt x="15507" y="7863"/>
                  <a:pt x="15508" y="7865"/>
                </a:cubicBezTo>
                <a:cubicBezTo>
                  <a:pt x="15510" y="7889"/>
                  <a:pt x="15514" y="7914"/>
                  <a:pt x="15516" y="7939"/>
                </a:cubicBezTo>
                <a:cubicBezTo>
                  <a:pt x="15523" y="7994"/>
                  <a:pt x="15532" y="8078"/>
                  <a:pt x="15539" y="8141"/>
                </a:cubicBezTo>
                <a:cubicBezTo>
                  <a:pt x="15532" y="8137"/>
                  <a:pt x="15526" y="8132"/>
                  <a:pt x="15519" y="8132"/>
                </a:cubicBezTo>
                <a:cubicBezTo>
                  <a:pt x="15478" y="8132"/>
                  <a:pt x="15445" y="8199"/>
                  <a:pt x="15445" y="8280"/>
                </a:cubicBezTo>
                <a:cubicBezTo>
                  <a:pt x="15445" y="8362"/>
                  <a:pt x="15478" y="8429"/>
                  <a:pt x="15519" y="8429"/>
                </a:cubicBezTo>
                <a:cubicBezTo>
                  <a:pt x="15538" y="8429"/>
                  <a:pt x="15555" y="8413"/>
                  <a:pt x="15568" y="8390"/>
                </a:cubicBezTo>
                <a:cubicBezTo>
                  <a:pt x="15577" y="8473"/>
                  <a:pt x="15584" y="8532"/>
                  <a:pt x="15594" y="8624"/>
                </a:cubicBezTo>
                <a:lnTo>
                  <a:pt x="15620" y="8848"/>
                </a:lnTo>
                <a:cubicBezTo>
                  <a:pt x="15605" y="8856"/>
                  <a:pt x="15594" y="8879"/>
                  <a:pt x="15594" y="8910"/>
                </a:cubicBezTo>
                <a:cubicBezTo>
                  <a:pt x="15594" y="8948"/>
                  <a:pt x="15609" y="8978"/>
                  <a:pt x="15628" y="8978"/>
                </a:cubicBezTo>
                <a:cubicBezTo>
                  <a:pt x="15630" y="8978"/>
                  <a:pt x="15632" y="8974"/>
                  <a:pt x="15634" y="8973"/>
                </a:cubicBezTo>
                <a:lnTo>
                  <a:pt x="15645" y="9070"/>
                </a:lnTo>
                <a:lnTo>
                  <a:pt x="15118" y="8670"/>
                </a:lnTo>
                <a:cubicBezTo>
                  <a:pt x="15119" y="8662"/>
                  <a:pt x="15122" y="8657"/>
                  <a:pt x="15122" y="8649"/>
                </a:cubicBezTo>
                <a:cubicBezTo>
                  <a:pt x="15122" y="8611"/>
                  <a:pt x="15107" y="8580"/>
                  <a:pt x="15088" y="8580"/>
                </a:cubicBezTo>
                <a:cubicBezTo>
                  <a:pt x="15074" y="8580"/>
                  <a:pt x="15064" y="8600"/>
                  <a:pt x="15059" y="8626"/>
                </a:cubicBezTo>
                <a:lnTo>
                  <a:pt x="15008" y="8587"/>
                </a:lnTo>
                <a:lnTo>
                  <a:pt x="14997" y="8578"/>
                </a:lnTo>
                <a:lnTo>
                  <a:pt x="15178" y="8139"/>
                </a:lnTo>
                <a:cubicBezTo>
                  <a:pt x="15184" y="8150"/>
                  <a:pt x="15192" y="8157"/>
                  <a:pt x="15200" y="8157"/>
                </a:cubicBezTo>
                <a:cubicBezTo>
                  <a:pt x="15219" y="8157"/>
                  <a:pt x="15234" y="8127"/>
                  <a:pt x="15234" y="8089"/>
                </a:cubicBezTo>
                <a:cubicBezTo>
                  <a:pt x="15234" y="8067"/>
                  <a:pt x="15228" y="8049"/>
                  <a:pt x="15220" y="8037"/>
                </a:cubicBezTo>
                <a:lnTo>
                  <a:pt x="15262" y="7934"/>
                </a:lnTo>
                <a:cubicBezTo>
                  <a:pt x="15270" y="7946"/>
                  <a:pt x="15279" y="7956"/>
                  <a:pt x="15290" y="7956"/>
                </a:cubicBezTo>
                <a:cubicBezTo>
                  <a:pt x="15317" y="7956"/>
                  <a:pt x="15338" y="7913"/>
                  <a:pt x="15338" y="7858"/>
                </a:cubicBezTo>
                <a:cubicBezTo>
                  <a:pt x="15338" y="7831"/>
                  <a:pt x="15332" y="7805"/>
                  <a:pt x="15323" y="7787"/>
                </a:cubicBezTo>
                <a:lnTo>
                  <a:pt x="15363" y="7691"/>
                </a:lnTo>
                <a:cubicBezTo>
                  <a:pt x="15370" y="7701"/>
                  <a:pt x="15377" y="7709"/>
                  <a:pt x="15386" y="7709"/>
                </a:cubicBezTo>
                <a:cubicBezTo>
                  <a:pt x="15405" y="7709"/>
                  <a:pt x="15420" y="7679"/>
                  <a:pt x="15420" y="7642"/>
                </a:cubicBezTo>
                <a:cubicBezTo>
                  <a:pt x="15420" y="7619"/>
                  <a:pt x="15414" y="7602"/>
                  <a:pt x="15405" y="7589"/>
                </a:cubicBezTo>
                <a:lnTo>
                  <a:pt x="15461" y="7455"/>
                </a:lnTo>
                <a:close/>
                <a:moveTo>
                  <a:pt x="4818" y="7524"/>
                </a:moveTo>
                <a:cubicBezTo>
                  <a:pt x="4819" y="7524"/>
                  <a:pt x="4819" y="7525"/>
                  <a:pt x="4821" y="7526"/>
                </a:cubicBezTo>
                <a:cubicBezTo>
                  <a:pt x="4831" y="7532"/>
                  <a:pt x="4842" y="7563"/>
                  <a:pt x="4849" y="7583"/>
                </a:cubicBezTo>
                <a:cubicBezTo>
                  <a:pt x="4853" y="7594"/>
                  <a:pt x="4855" y="7603"/>
                  <a:pt x="4858" y="7609"/>
                </a:cubicBezTo>
                <a:cubicBezTo>
                  <a:pt x="4862" y="7616"/>
                  <a:pt x="4867" y="7620"/>
                  <a:pt x="4872" y="7618"/>
                </a:cubicBezTo>
                <a:cubicBezTo>
                  <a:pt x="4876" y="7617"/>
                  <a:pt x="4880" y="7611"/>
                  <a:pt x="4883" y="7602"/>
                </a:cubicBezTo>
                <a:cubicBezTo>
                  <a:pt x="4886" y="7589"/>
                  <a:pt x="4886" y="7574"/>
                  <a:pt x="4887" y="7559"/>
                </a:cubicBezTo>
                <a:cubicBezTo>
                  <a:pt x="4903" y="7572"/>
                  <a:pt x="4974" y="7687"/>
                  <a:pt x="4981" y="7703"/>
                </a:cubicBezTo>
                <a:cubicBezTo>
                  <a:pt x="4985" y="7721"/>
                  <a:pt x="4986" y="7738"/>
                  <a:pt x="4986" y="7756"/>
                </a:cubicBezTo>
                <a:cubicBezTo>
                  <a:pt x="4987" y="7776"/>
                  <a:pt x="4987" y="7801"/>
                  <a:pt x="4994" y="7823"/>
                </a:cubicBezTo>
                <a:cubicBezTo>
                  <a:pt x="4976" y="7810"/>
                  <a:pt x="4956" y="7797"/>
                  <a:pt x="4930" y="7797"/>
                </a:cubicBezTo>
                <a:cubicBezTo>
                  <a:pt x="4915" y="7797"/>
                  <a:pt x="4904" y="7810"/>
                  <a:pt x="4895" y="7821"/>
                </a:cubicBezTo>
                <a:cubicBezTo>
                  <a:pt x="4887" y="7831"/>
                  <a:pt x="4881" y="7839"/>
                  <a:pt x="4871" y="7839"/>
                </a:cubicBezTo>
                <a:cubicBezTo>
                  <a:pt x="4869" y="7839"/>
                  <a:pt x="4866" y="7837"/>
                  <a:pt x="4865" y="7836"/>
                </a:cubicBezTo>
                <a:cubicBezTo>
                  <a:pt x="4856" y="7832"/>
                  <a:pt x="4851" y="7821"/>
                  <a:pt x="4850" y="7813"/>
                </a:cubicBezTo>
                <a:cubicBezTo>
                  <a:pt x="4849" y="7798"/>
                  <a:pt x="4842" y="7787"/>
                  <a:pt x="4835" y="7787"/>
                </a:cubicBezTo>
                <a:lnTo>
                  <a:pt x="4821" y="7787"/>
                </a:lnTo>
                <a:cubicBezTo>
                  <a:pt x="4826" y="7770"/>
                  <a:pt x="4831" y="7747"/>
                  <a:pt x="4831" y="7712"/>
                </a:cubicBezTo>
                <a:cubicBezTo>
                  <a:pt x="4831" y="7706"/>
                  <a:pt x="4829" y="7702"/>
                  <a:pt x="4828" y="7698"/>
                </a:cubicBezTo>
                <a:cubicBezTo>
                  <a:pt x="4832" y="7706"/>
                  <a:pt x="4838" y="7713"/>
                  <a:pt x="4845" y="7713"/>
                </a:cubicBezTo>
                <a:cubicBezTo>
                  <a:pt x="4859" y="7713"/>
                  <a:pt x="4871" y="7690"/>
                  <a:pt x="4871" y="7661"/>
                </a:cubicBezTo>
                <a:cubicBezTo>
                  <a:pt x="4871" y="7633"/>
                  <a:pt x="4859" y="7610"/>
                  <a:pt x="4845" y="7610"/>
                </a:cubicBezTo>
                <a:cubicBezTo>
                  <a:pt x="4831" y="7610"/>
                  <a:pt x="4820" y="7633"/>
                  <a:pt x="4820" y="7661"/>
                </a:cubicBezTo>
                <a:cubicBezTo>
                  <a:pt x="4820" y="7672"/>
                  <a:pt x="4823" y="7680"/>
                  <a:pt x="4826" y="7688"/>
                </a:cubicBezTo>
                <a:cubicBezTo>
                  <a:pt x="4822" y="7683"/>
                  <a:pt x="4817" y="7681"/>
                  <a:pt x="4813" y="7682"/>
                </a:cubicBezTo>
                <a:cubicBezTo>
                  <a:pt x="4794" y="7690"/>
                  <a:pt x="4776" y="7714"/>
                  <a:pt x="4759" y="7737"/>
                </a:cubicBezTo>
                <a:cubicBezTo>
                  <a:pt x="4746" y="7754"/>
                  <a:pt x="4730" y="7776"/>
                  <a:pt x="4723" y="7776"/>
                </a:cubicBezTo>
                <a:cubicBezTo>
                  <a:pt x="4709" y="7776"/>
                  <a:pt x="4700" y="7792"/>
                  <a:pt x="4694" y="7805"/>
                </a:cubicBezTo>
                <a:cubicBezTo>
                  <a:pt x="4686" y="7819"/>
                  <a:pt x="4681" y="7830"/>
                  <a:pt x="4666" y="7830"/>
                </a:cubicBezTo>
                <a:cubicBezTo>
                  <a:pt x="4656" y="7830"/>
                  <a:pt x="4654" y="7828"/>
                  <a:pt x="4651" y="7818"/>
                </a:cubicBezTo>
                <a:cubicBezTo>
                  <a:pt x="4653" y="7806"/>
                  <a:pt x="4658" y="7797"/>
                  <a:pt x="4658" y="7784"/>
                </a:cubicBezTo>
                <a:cubicBezTo>
                  <a:pt x="4658" y="7768"/>
                  <a:pt x="4652" y="7757"/>
                  <a:pt x="4649" y="7744"/>
                </a:cubicBezTo>
                <a:cubicBezTo>
                  <a:pt x="4663" y="7727"/>
                  <a:pt x="4675" y="7706"/>
                  <a:pt x="4688" y="7691"/>
                </a:cubicBezTo>
                <a:cubicBezTo>
                  <a:pt x="4704" y="7673"/>
                  <a:pt x="4720" y="7653"/>
                  <a:pt x="4735" y="7632"/>
                </a:cubicBezTo>
                <a:cubicBezTo>
                  <a:pt x="4745" y="7627"/>
                  <a:pt x="4751" y="7627"/>
                  <a:pt x="4758" y="7626"/>
                </a:cubicBezTo>
                <a:cubicBezTo>
                  <a:pt x="4766" y="7626"/>
                  <a:pt x="4775" y="7626"/>
                  <a:pt x="4791" y="7611"/>
                </a:cubicBezTo>
                <a:cubicBezTo>
                  <a:pt x="4807" y="7595"/>
                  <a:pt x="4812" y="7564"/>
                  <a:pt x="4815" y="7543"/>
                </a:cubicBezTo>
                <a:cubicBezTo>
                  <a:pt x="4816" y="7536"/>
                  <a:pt x="4818" y="7525"/>
                  <a:pt x="4818" y="7524"/>
                </a:cubicBezTo>
                <a:close/>
                <a:moveTo>
                  <a:pt x="18532" y="7548"/>
                </a:moveTo>
                <a:cubicBezTo>
                  <a:pt x="18528" y="7560"/>
                  <a:pt x="18524" y="7573"/>
                  <a:pt x="18520" y="7585"/>
                </a:cubicBezTo>
                <a:lnTo>
                  <a:pt x="18509" y="7586"/>
                </a:lnTo>
                <a:lnTo>
                  <a:pt x="18513" y="7580"/>
                </a:lnTo>
                <a:lnTo>
                  <a:pt x="18532" y="7548"/>
                </a:lnTo>
                <a:close/>
                <a:moveTo>
                  <a:pt x="5434" y="7552"/>
                </a:moveTo>
                <a:cubicBezTo>
                  <a:pt x="5446" y="7654"/>
                  <a:pt x="5463" y="7799"/>
                  <a:pt x="5509" y="8204"/>
                </a:cubicBezTo>
                <a:cubicBezTo>
                  <a:pt x="5452" y="8214"/>
                  <a:pt x="5372" y="8256"/>
                  <a:pt x="5330" y="8283"/>
                </a:cubicBezTo>
                <a:cubicBezTo>
                  <a:pt x="5329" y="8283"/>
                  <a:pt x="5328" y="8284"/>
                  <a:pt x="5327" y="8285"/>
                </a:cubicBezTo>
                <a:cubicBezTo>
                  <a:pt x="5316" y="8292"/>
                  <a:pt x="5293" y="8305"/>
                  <a:pt x="5293" y="8345"/>
                </a:cubicBezTo>
                <a:cubicBezTo>
                  <a:pt x="5293" y="8365"/>
                  <a:pt x="5299" y="8379"/>
                  <a:pt x="5303" y="8388"/>
                </a:cubicBezTo>
                <a:cubicBezTo>
                  <a:pt x="5304" y="8390"/>
                  <a:pt x="5305" y="8393"/>
                  <a:pt x="5306" y="8395"/>
                </a:cubicBezTo>
                <a:cubicBezTo>
                  <a:pt x="5310" y="8409"/>
                  <a:pt x="5318" y="8415"/>
                  <a:pt x="5326" y="8408"/>
                </a:cubicBezTo>
                <a:cubicBezTo>
                  <a:pt x="5331" y="8402"/>
                  <a:pt x="5334" y="8391"/>
                  <a:pt x="5334" y="8380"/>
                </a:cubicBezTo>
                <a:cubicBezTo>
                  <a:pt x="5335" y="8379"/>
                  <a:pt x="5336" y="8378"/>
                  <a:pt x="5337" y="8378"/>
                </a:cubicBezTo>
                <a:cubicBezTo>
                  <a:pt x="5347" y="8378"/>
                  <a:pt x="5358" y="8380"/>
                  <a:pt x="5370" y="8381"/>
                </a:cubicBezTo>
                <a:cubicBezTo>
                  <a:pt x="5385" y="8382"/>
                  <a:pt x="5400" y="8383"/>
                  <a:pt x="5416" y="8383"/>
                </a:cubicBezTo>
                <a:cubicBezTo>
                  <a:pt x="5451" y="8383"/>
                  <a:pt x="5496" y="8377"/>
                  <a:pt x="5524" y="8335"/>
                </a:cubicBezTo>
                <a:lnTo>
                  <a:pt x="5579" y="8816"/>
                </a:lnTo>
                <a:cubicBezTo>
                  <a:pt x="5538" y="8838"/>
                  <a:pt x="5506" y="8900"/>
                  <a:pt x="5495" y="8982"/>
                </a:cubicBezTo>
                <a:lnTo>
                  <a:pt x="4959" y="8574"/>
                </a:lnTo>
                <a:lnTo>
                  <a:pt x="4992" y="8494"/>
                </a:lnTo>
                <a:cubicBezTo>
                  <a:pt x="5017" y="8476"/>
                  <a:pt x="5035" y="8432"/>
                  <a:pt x="5040" y="8378"/>
                </a:cubicBezTo>
                <a:lnTo>
                  <a:pt x="5080" y="8282"/>
                </a:lnTo>
                <a:cubicBezTo>
                  <a:pt x="5080" y="8282"/>
                  <a:pt x="5080" y="8282"/>
                  <a:pt x="5081" y="8282"/>
                </a:cubicBezTo>
                <a:cubicBezTo>
                  <a:pt x="5098" y="8282"/>
                  <a:pt x="5106" y="8275"/>
                  <a:pt x="5113" y="8265"/>
                </a:cubicBezTo>
                <a:cubicBezTo>
                  <a:pt x="5119" y="8312"/>
                  <a:pt x="5123" y="8344"/>
                  <a:pt x="5144" y="8377"/>
                </a:cubicBezTo>
                <a:cubicBezTo>
                  <a:pt x="5147" y="8382"/>
                  <a:pt x="5151" y="8384"/>
                  <a:pt x="5155" y="8383"/>
                </a:cubicBezTo>
                <a:cubicBezTo>
                  <a:pt x="5187" y="8380"/>
                  <a:pt x="5204" y="8273"/>
                  <a:pt x="5219" y="8139"/>
                </a:cubicBezTo>
                <a:cubicBezTo>
                  <a:pt x="5233" y="8162"/>
                  <a:pt x="5250" y="8184"/>
                  <a:pt x="5270" y="8184"/>
                </a:cubicBezTo>
                <a:cubicBezTo>
                  <a:pt x="5291" y="8184"/>
                  <a:pt x="5306" y="8149"/>
                  <a:pt x="5306" y="8102"/>
                </a:cubicBezTo>
                <a:cubicBezTo>
                  <a:pt x="5306" y="8023"/>
                  <a:pt x="5269" y="7974"/>
                  <a:pt x="5242" y="7938"/>
                </a:cubicBezTo>
                <a:cubicBezTo>
                  <a:pt x="5239" y="7934"/>
                  <a:pt x="5237" y="7932"/>
                  <a:pt x="5234" y="7932"/>
                </a:cubicBezTo>
                <a:lnTo>
                  <a:pt x="5224" y="7932"/>
                </a:lnTo>
                <a:lnTo>
                  <a:pt x="5361" y="7601"/>
                </a:lnTo>
                <a:cubicBezTo>
                  <a:pt x="5366" y="7603"/>
                  <a:pt x="5371" y="7608"/>
                  <a:pt x="5377" y="7608"/>
                </a:cubicBezTo>
                <a:cubicBezTo>
                  <a:pt x="5400" y="7608"/>
                  <a:pt x="5420" y="7585"/>
                  <a:pt x="5434" y="7552"/>
                </a:cubicBezTo>
                <a:close/>
                <a:moveTo>
                  <a:pt x="6610" y="7552"/>
                </a:moveTo>
                <a:lnTo>
                  <a:pt x="6656" y="7642"/>
                </a:lnTo>
                <a:cubicBezTo>
                  <a:pt x="6652" y="7640"/>
                  <a:pt x="6648" y="7639"/>
                  <a:pt x="6644" y="7639"/>
                </a:cubicBezTo>
                <a:cubicBezTo>
                  <a:pt x="6625" y="7639"/>
                  <a:pt x="6613" y="7647"/>
                  <a:pt x="6602" y="7654"/>
                </a:cubicBezTo>
                <a:cubicBezTo>
                  <a:pt x="6594" y="7660"/>
                  <a:pt x="6588" y="7665"/>
                  <a:pt x="6579" y="7665"/>
                </a:cubicBezTo>
                <a:cubicBezTo>
                  <a:pt x="6577" y="7664"/>
                  <a:pt x="6574" y="7658"/>
                  <a:pt x="6573" y="7654"/>
                </a:cubicBezTo>
                <a:cubicBezTo>
                  <a:pt x="6578" y="7643"/>
                  <a:pt x="6590" y="7622"/>
                  <a:pt x="6595" y="7612"/>
                </a:cubicBezTo>
                <a:cubicBezTo>
                  <a:pt x="6607" y="7591"/>
                  <a:pt x="6610" y="7585"/>
                  <a:pt x="6610" y="7571"/>
                </a:cubicBezTo>
                <a:lnTo>
                  <a:pt x="6610" y="7552"/>
                </a:lnTo>
                <a:close/>
                <a:moveTo>
                  <a:pt x="5130" y="7573"/>
                </a:moveTo>
                <a:cubicBezTo>
                  <a:pt x="5102" y="7573"/>
                  <a:pt x="5080" y="7617"/>
                  <a:pt x="5080" y="7672"/>
                </a:cubicBezTo>
                <a:cubicBezTo>
                  <a:pt x="5080" y="7726"/>
                  <a:pt x="5102" y="7770"/>
                  <a:pt x="5130" y="7770"/>
                </a:cubicBezTo>
                <a:cubicBezTo>
                  <a:pt x="5157" y="7770"/>
                  <a:pt x="5179" y="7726"/>
                  <a:pt x="5179" y="7672"/>
                </a:cubicBezTo>
                <a:cubicBezTo>
                  <a:pt x="5179" y="7617"/>
                  <a:pt x="5157" y="7573"/>
                  <a:pt x="5130" y="7573"/>
                </a:cubicBezTo>
                <a:close/>
                <a:moveTo>
                  <a:pt x="2739" y="7581"/>
                </a:moveTo>
                <a:lnTo>
                  <a:pt x="2954" y="7864"/>
                </a:lnTo>
                <a:cubicBezTo>
                  <a:pt x="2946" y="7888"/>
                  <a:pt x="2940" y="7914"/>
                  <a:pt x="2940" y="7945"/>
                </a:cubicBezTo>
                <a:cubicBezTo>
                  <a:pt x="2940" y="8026"/>
                  <a:pt x="2973" y="8093"/>
                  <a:pt x="3014" y="8093"/>
                </a:cubicBezTo>
                <a:cubicBezTo>
                  <a:pt x="3040" y="8093"/>
                  <a:pt x="3061" y="8064"/>
                  <a:pt x="3075" y="8024"/>
                </a:cubicBezTo>
                <a:lnTo>
                  <a:pt x="3304" y="8326"/>
                </a:lnTo>
                <a:lnTo>
                  <a:pt x="2980" y="9092"/>
                </a:lnTo>
                <a:cubicBezTo>
                  <a:pt x="2968" y="9076"/>
                  <a:pt x="2955" y="9065"/>
                  <a:pt x="2940" y="9065"/>
                </a:cubicBezTo>
                <a:cubicBezTo>
                  <a:pt x="2901" y="9065"/>
                  <a:pt x="2870" y="9126"/>
                  <a:pt x="2867" y="9203"/>
                </a:cubicBezTo>
                <a:lnTo>
                  <a:pt x="2639" y="8369"/>
                </a:lnTo>
                <a:cubicBezTo>
                  <a:pt x="2637" y="8353"/>
                  <a:pt x="2635" y="8339"/>
                  <a:pt x="2633" y="8326"/>
                </a:cubicBezTo>
                <a:cubicBezTo>
                  <a:pt x="2630" y="8314"/>
                  <a:pt x="2633" y="8292"/>
                  <a:pt x="2633" y="8275"/>
                </a:cubicBezTo>
                <a:cubicBezTo>
                  <a:pt x="2640" y="8282"/>
                  <a:pt x="2646" y="8292"/>
                  <a:pt x="2655" y="8292"/>
                </a:cubicBezTo>
                <a:cubicBezTo>
                  <a:pt x="2682" y="8292"/>
                  <a:pt x="2704" y="8249"/>
                  <a:pt x="2704" y="8194"/>
                </a:cubicBezTo>
                <a:cubicBezTo>
                  <a:pt x="2704" y="8140"/>
                  <a:pt x="2682" y="8095"/>
                  <a:pt x="2655" y="8095"/>
                </a:cubicBezTo>
                <a:cubicBezTo>
                  <a:pt x="2651" y="8095"/>
                  <a:pt x="2649" y="8101"/>
                  <a:pt x="2646" y="8102"/>
                </a:cubicBezTo>
                <a:cubicBezTo>
                  <a:pt x="2647" y="8092"/>
                  <a:pt x="2648" y="8083"/>
                  <a:pt x="2650" y="8073"/>
                </a:cubicBezTo>
                <a:cubicBezTo>
                  <a:pt x="2660" y="7994"/>
                  <a:pt x="2670" y="7919"/>
                  <a:pt x="2670" y="7860"/>
                </a:cubicBezTo>
                <a:cubicBezTo>
                  <a:pt x="2670" y="7802"/>
                  <a:pt x="2654" y="7764"/>
                  <a:pt x="2640" y="7729"/>
                </a:cubicBezTo>
                <a:cubicBezTo>
                  <a:pt x="2629" y="7700"/>
                  <a:pt x="2618" y="7674"/>
                  <a:pt x="2617" y="7640"/>
                </a:cubicBezTo>
                <a:cubicBezTo>
                  <a:pt x="2620" y="7638"/>
                  <a:pt x="2627" y="7636"/>
                  <a:pt x="2634" y="7636"/>
                </a:cubicBezTo>
                <a:cubicBezTo>
                  <a:pt x="2656" y="7636"/>
                  <a:pt x="2672" y="7655"/>
                  <a:pt x="2682" y="7693"/>
                </a:cubicBezTo>
                <a:cubicBezTo>
                  <a:pt x="2685" y="7702"/>
                  <a:pt x="2689" y="7707"/>
                  <a:pt x="2694" y="7708"/>
                </a:cubicBezTo>
                <a:cubicBezTo>
                  <a:pt x="2699" y="7709"/>
                  <a:pt x="2704" y="7704"/>
                  <a:pt x="2707" y="7696"/>
                </a:cubicBezTo>
                <a:cubicBezTo>
                  <a:pt x="2726" y="7651"/>
                  <a:pt x="2736" y="7613"/>
                  <a:pt x="2739" y="7581"/>
                </a:cubicBezTo>
                <a:close/>
                <a:moveTo>
                  <a:pt x="11832" y="7610"/>
                </a:moveTo>
                <a:cubicBezTo>
                  <a:pt x="11813" y="7610"/>
                  <a:pt x="11798" y="7641"/>
                  <a:pt x="11798" y="7679"/>
                </a:cubicBezTo>
                <a:cubicBezTo>
                  <a:pt x="11798" y="7717"/>
                  <a:pt x="11813" y="7747"/>
                  <a:pt x="11832" y="7747"/>
                </a:cubicBezTo>
                <a:cubicBezTo>
                  <a:pt x="11851" y="7747"/>
                  <a:pt x="11866" y="7717"/>
                  <a:pt x="11866" y="7679"/>
                </a:cubicBezTo>
                <a:cubicBezTo>
                  <a:pt x="11866" y="7641"/>
                  <a:pt x="11851" y="7610"/>
                  <a:pt x="11832" y="7610"/>
                </a:cubicBezTo>
                <a:close/>
                <a:moveTo>
                  <a:pt x="18711" y="7610"/>
                </a:moveTo>
                <a:lnTo>
                  <a:pt x="18713" y="7610"/>
                </a:lnTo>
                <a:cubicBezTo>
                  <a:pt x="18714" y="7616"/>
                  <a:pt x="18715" y="7620"/>
                  <a:pt x="18716" y="7625"/>
                </a:cubicBezTo>
                <a:cubicBezTo>
                  <a:pt x="18714" y="7623"/>
                  <a:pt x="18712" y="7621"/>
                  <a:pt x="18710" y="7619"/>
                </a:cubicBezTo>
                <a:cubicBezTo>
                  <a:pt x="18710" y="7616"/>
                  <a:pt x="18710" y="7613"/>
                  <a:pt x="18711" y="7610"/>
                </a:cubicBezTo>
                <a:close/>
                <a:moveTo>
                  <a:pt x="11056" y="7637"/>
                </a:moveTo>
                <a:lnTo>
                  <a:pt x="11129" y="7742"/>
                </a:lnTo>
                <a:lnTo>
                  <a:pt x="11063" y="7784"/>
                </a:lnTo>
                <a:cubicBezTo>
                  <a:pt x="11068" y="7765"/>
                  <a:pt x="11071" y="7744"/>
                  <a:pt x="11071" y="7721"/>
                </a:cubicBezTo>
                <a:cubicBezTo>
                  <a:pt x="11071" y="7689"/>
                  <a:pt x="11065" y="7661"/>
                  <a:pt x="11056" y="7637"/>
                </a:cubicBezTo>
                <a:close/>
                <a:moveTo>
                  <a:pt x="18497" y="7649"/>
                </a:moveTo>
                <a:cubicBezTo>
                  <a:pt x="18493" y="7658"/>
                  <a:pt x="18489" y="7666"/>
                  <a:pt x="18486" y="7674"/>
                </a:cubicBezTo>
                <a:lnTo>
                  <a:pt x="18482" y="7651"/>
                </a:lnTo>
                <a:lnTo>
                  <a:pt x="18497" y="7649"/>
                </a:lnTo>
                <a:close/>
                <a:moveTo>
                  <a:pt x="18452" y="7657"/>
                </a:moveTo>
                <a:lnTo>
                  <a:pt x="18456" y="7688"/>
                </a:lnTo>
                <a:lnTo>
                  <a:pt x="18462" y="7727"/>
                </a:lnTo>
                <a:cubicBezTo>
                  <a:pt x="18438" y="7783"/>
                  <a:pt x="18412" y="7860"/>
                  <a:pt x="18384" y="7941"/>
                </a:cubicBezTo>
                <a:cubicBezTo>
                  <a:pt x="18349" y="8045"/>
                  <a:pt x="18310" y="8160"/>
                  <a:pt x="18269" y="8245"/>
                </a:cubicBezTo>
                <a:cubicBezTo>
                  <a:pt x="18253" y="8247"/>
                  <a:pt x="18242" y="8271"/>
                  <a:pt x="18239" y="8300"/>
                </a:cubicBezTo>
                <a:cubicBezTo>
                  <a:pt x="18215" y="8338"/>
                  <a:pt x="18191" y="8366"/>
                  <a:pt x="18168" y="8366"/>
                </a:cubicBezTo>
                <a:cubicBezTo>
                  <a:pt x="18165" y="8366"/>
                  <a:pt x="18161" y="8365"/>
                  <a:pt x="18158" y="8364"/>
                </a:cubicBezTo>
                <a:cubicBezTo>
                  <a:pt x="17955" y="8114"/>
                  <a:pt x="17859" y="7997"/>
                  <a:pt x="17792" y="7917"/>
                </a:cubicBezTo>
                <a:cubicBezTo>
                  <a:pt x="17801" y="7893"/>
                  <a:pt x="17807" y="7865"/>
                  <a:pt x="17807" y="7833"/>
                </a:cubicBezTo>
                <a:cubicBezTo>
                  <a:pt x="17807" y="7827"/>
                  <a:pt x="17806" y="7822"/>
                  <a:pt x="17805" y="7816"/>
                </a:cubicBezTo>
                <a:lnTo>
                  <a:pt x="18323" y="7688"/>
                </a:lnTo>
                <a:cubicBezTo>
                  <a:pt x="18316" y="7705"/>
                  <a:pt x="18311" y="7724"/>
                  <a:pt x="18311" y="7747"/>
                </a:cubicBezTo>
                <a:cubicBezTo>
                  <a:pt x="18311" y="7801"/>
                  <a:pt x="18333" y="7844"/>
                  <a:pt x="18360" y="7844"/>
                </a:cubicBezTo>
                <a:cubicBezTo>
                  <a:pt x="18387" y="7844"/>
                  <a:pt x="18409" y="7801"/>
                  <a:pt x="18409" y="7747"/>
                </a:cubicBezTo>
                <a:cubicBezTo>
                  <a:pt x="18409" y="7715"/>
                  <a:pt x="18400" y="7690"/>
                  <a:pt x="18389" y="7672"/>
                </a:cubicBezTo>
                <a:lnTo>
                  <a:pt x="18452" y="7657"/>
                </a:lnTo>
                <a:close/>
                <a:moveTo>
                  <a:pt x="6027" y="7665"/>
                </a:moveTo>
                <a:cubicBezTo>
                  <a:pt x="6019" y="7662"/>
                  <a:pt x="6012" y="7673"/>
                  <a:pt x="6011" y="7689"/>
                </a:cubicBezTo>
                <a:cubicBezTo>
                  <a:pt x="6009" y="7706"/>
                  <a:pt x="6015" y="7721"/>
                  <a:pt x="6023" y="7724"/>
                </a:cubicBezTo>
                <a:cubicBezTo>
                  <a:pt x="6024" y="7725"/>
                  <a:pt x="6025" y="7728"/>
                  <a:pt x="6025" y="7729"/>
                </a:cubicBezTo>
                <a:cubicBezTo>
                  <a:pt x="6027" y="7737"/>
                  <a:pt x="6029" y="7743"/>
                  <a:pt x="6030" y="7751"/>
                </a:cubicBezTo>
                <a:cubicBezTo>
                  <a:pt x="6032" y="7757"/>
                  <a:pt x="6032" y="7763"/>
                  <a:pt x="6033" y="7769"/>
                </a:cubicBezTo>
                <a:cubicBezTo>
                  <a:pt x="6035" y="7781"/>
                  <a:pt x="6042" y="7789"/>
                  <a:pt x="6048" y="7789"/>
                </a:cubicBezTo>
                <a:cubicBezTo>
                  <a:pt x="6049" y="7789"/>
                  <a:pt x="6051" y="7788"/>
                  <a:pt x="6053" y="7787"/>
                </a:cubicBezTo>
                <a:cubicBezTo>
                  <a:pt x="6060" y="7782"/>
                  <a:pt x="6064" y="7766"/>
                  <a:pt x="6062" y="7750"/>
                </a:cubicBezTo>
                <a:cubicBezTo>
                  <a:pt x="6061" y="7743"/>
                  <a:pt x="6060" y="7736"/>
                  <a:pt x="6058" y="7729"/>
                </a:cubicBezTo>
                <a:cubicBezTo>
                  <a:pt x="6056" y="7718"/>
                  <a:pt x="6054" y="7709"/>
                  <a:pt x="6051" y="7699"/>
                </a:cubicBezTo>
                <a:cubicBezTo>
                  <a:pt x="6048" y="7688"/>
                  <a:pt x="6044" y="7679"/>
                  <a:pt x="6039" y="7673"/>
                </a:cubicBezTo>
                <a:cubicBezTo>
                  <a:pt x="6035" y="7669"/>
                  <a:pt x="6031" y="7666"/>
                  <a:pt x="6027" y="7665"/>
                </a:cubicBezTo>
                <a:close/>
                <a:moveTo>
                  <a:pt x="6902" y="7671"/>
                </a:moveTo>
                <a:cubicBezTo>
                  <a:pt x="6904" y="7676"/>
                  <a:pt x="6905" y="7686"/>
                  <a:pt x="6909" y="7686"/>
                </a:cubicBezTo>
                <a:cubicBezTo>
                  <a:pt x="6917" y="7686"/>
                  <a:pt x="6922" y="7684"/>
                  <a:pt x="6927" y="7681"/>
                </a:cubicBezTo>
                <a:cubicBezTo>
                  <a:pt x="6929" y="7687"/>
                  <a:pt x="6931" y="7693"/>
                  <a:pt x="6932" y="7698"/>
                </a:cubicBezTo>
                <a:cubicBezTo>
                  <a:pt x="6935" y="7706"/>
                  <a:pt x="6936" y="7709"/>
                  <a:pt x="6936" y="7720"/>
                </a:cubicBezTo>
                <a:cubicBezTo>
                  <a:pt x="6936" y="7758"/>
                  <a:pt x="6928" y="7792"/>
                  <a:pt x="6918" y="7792"/>
                </a:cubicBezTo>
                <a:cubicBezTo>
                  <a:pt x="6916" y="7792"/>
                  <a:pt x="6913" y="7779"/>
                  <a:pt x="6913" y="7771"/>
                </a:cubicBezTo>
                <a:cubicBezTo>
                  <a:pt x="6913" y="7754"/>
                  <a:pt x="6907" y="7741"/>
                  <a:pt x="6899" y="7741"/>
                </a:cubicBezTo>
                <a:cubicBezTo>
                  <a:pt x="6898" y="7741"/>
                  <a:pt x="6896" y="7739"/>
                  <a:pt x="6895" y="7738"/>
                </a:cubicBezTo>
                <a:cubicBezTo>
                  <a:pt x="6893" y="7737"/>
                  <a:pt x="6891" y="7735"/>
                  <a:pt x="6887" y="7734"/>
                </a:cubicBezTo>
                <a:cubicBezTo>
                  <a:pt x="6887" y="7728"/>
                  <a:pt x="6886" y="7720"/>
                  <a:pt x="6886" y="7714"/>
                </a:cubicBezTo>
                <a:cubicBezTo>
                  <a:pt x="6886" y="7713"/>
                  <a:pt x="6886" y="7712"/>
                  <a:pt x="6886" y="7712"/>
                </a:cubicBezTo>
                <a:cubicBezTo>
                  <a:pt x="6893" y="7701"/>
                  <a:pt x="6898" y="7688"/>
                  <a:pt x="6902" y="7671"/>
                </a:cubicBezTo>
                <a:close/>
                <a:moveTo>
                  <a:pt x="16257" y="7685"/>
                </a:moveTo>
                <a:cubicBezTo>
                  <a:pt x="16230" y="7685"/>
                  <a:pt x="16208" y="7729"/>
                  <a:pt x="16208" y="7784"/>
                </a:cubicBezTo>
                <a:cubicBezTo>
                  <a:pt x="16208" y="7838"/>
                  <a:pt x="16230" y="7882"/>
                  <a:pt x="16257" y="7882"/>
                </a:cubicBezTo>
                <a:cubicBezTo>
                  <a:pt x="16284" y="7882"/>
                  <a:pt x="16306" y="7838"/>
                  <a:pt x="16306" y="7784"/>
                </a:cubicBezTo>
                <a:cubicBezTo>
                  <a:pt x="16306" y="7729"/>
                  <a:pt x="16284" y="7685"/>
                  <a:pt x="16257" y="7685"/>
                </a:cubicBezTo>
                <a:close/>
                <a:moveTo>
                  <a:pt x="16670" y="7685"/>
                </a:moveTo>
                <a:cubicBezTo>
                  <a:pt x="16651" y="7685"/>
                  <a:pt x="16636" y="7716"/>
                  <a:pt x="16636" y="7754"/>
                </a:cubicBezTo>
                <a:cubicBezTo>
                  <a:pt x="16636" y="7791"/>
                  <a:pt x="16651" y="7821"/>
                  <a:pt x="16670" y="7821"/>
                </a:cubicBezTo>
                <a:cubicBezTo>
                  <a:pt x="16689" y="7821"/>
                  <a:pt x="16704" y="7791"/>
                  <a:pt x="16704" y="7754"/>
                </a:cubicBezTo>
                <a:cubicBezTo>
                  <a:pt x="16704" y="7716"/>
                  <a:pt x="16689" y="7685"/>
                  <a:pt x="16670" y="7685"/>
                </a:cubicBezTo>
                <a:close/>
                <a:moveTo>
                  <a:pt x="18730" y="7691"/>
                </a:moveTo>
                <a:cubicBezTo>
                  <a:pt x="18735" y="7706"/>
                  <a:pt x="18740" y="7721"/>
                  <a:pt x="18745" y="7735"/>
                </a:cubicBezTo>
                <a:lnTo>
                  <a:pt x="18741" y="7735"/>
                </a:lnTo>
                <a:cubicBezTo>
                  <a:pt x="18720" y="7735"/>
                  <a:pt x="18710" y="7769"/>
                  <a:pt x="18702" y="7796"/>
                </a:cubicBezTo>
                <a:cubicBezTo>
                  <a:pt x="18703" y="7785"/>
                  <a:pt x="18703" y="7776"/>
                  <a:pt x="18704" y="7769"/>
                </a:cubicBezTo>
                <a:cubicBezTo>
                  <a:pt x="18704" y="7757"/>
                  <a:pt x="18705" y="7748"/>
                  <a:pt x="18705" y="7742"/>
                </a:cubicBezTo>
                <a:cubicBezTo>
                  <a:pt x="18718" y="7736"/>
                  <a:pt x="18727" y="7717"/>
                  <a:pt x="18730" y="7691"/>
                </a:cubicBezTo>
                <a:close/>
                <a:moveTo>
                  <a:pt x="11260" y="7701"/>
                </a:moveTo>
                <a:cubicBezTo>
                  <a:pt x="11261" y="7715"/>
                  <a:pt x="11261" y="7728"/>
                  <a:pt x="11264" y="7741"/>
                </a:cubicBezTo>
                <a:lnTo>
                  <a:pt x="11222" y="7734"/>
                </a:lnTo>
                <a:lnTo>
                  <a:pt x="11260" y="7701"/>
                </a:lnTo>
                <a:close/>
                <a:moveTo>
                  <a:pt x="5571" y="7722"/>
                </a:moveTo>
                <a:cubicBezTo>
                  <a:pt x="5557" y="7722"/>
                  <a:pt x="5545" y="7745"/>
                  <a:pt x="5545" y="7773"/>
                </a:cubicBezTo>
                <a:cubicBezTo>
                  <a:pt x="5545" y="7802"/>
                  <a:pt x="5557" y="7825"/>
                  <a:pt x="5571" y="7825"/>
                </a:cubicBezTo>
                <a:cubicBezTo>
                  <a:pt x="5585" y="7825"/>
                  <a:pt x="5597" y="7802"/>
                  <a:pt x="5597" y="7773"/>
                </a:cubicBezTo>
                <a:cubicBezTo>
                  <a:pt x="5597" y="7745"/>
                  <a:pt x="5585" y="7722"/>
                  <a:pt x="5571" y="7722"/>
                </a:cubicBezTo>
                <a:close/>
                <a:moveTo>
                  <a:pt x="12818" y="7722"/>
                </a:moveTo>
                <a:cubicBezTo>
                  <a:pt x="12799" y="7722"/>
                  <a:pt x="12784" y="7753"/>
                  <a:pt x="12784" y="7791"/>
                </a:cubicBezTo>
                <a:cubicBezTo>
                  <a:pt x="12784" y="7829"/>
                  <a:pt x="12799" y="7858"/>
                  <a:pt x="12818" y="7858"/>
                </a:cubicBezTo>
                <a:cubicBezTo>
                  <a:pt x="12837" y="7858"/>
                  <a:pt x="12852" y="7829"/>
                  <a:pt x="12852" y="7791"/>
                </a:cubicBezTo>
                <a:cubicBezTo>
                  <a:pt x="12852" y="7753"/>
                  <a:pt x="12837" y="7722"/>
                  <a:pt x="12818" y="7722"/>
                </a:cubicBezTo>
                <a:close/>
                <a:moveTo>
                  <a:pt x="18884" y="7722"/>
                </a:moveTo>
                <a:cubicBezTo>
                  <a:pt x="18866" y="7722"/>
                  <a:pt x="18850" y="7753"/>
                  <a:pt x="18850" y="7791"/>
                </a:cubicBezTo>
                <a:cubicBezTo>
                  <a:pt x="18850" y="7829"/>
                  <a:pt x="18866" y="7858"/>
                  <a:pt x="18884" y="7858"/>
                </a:cubicBezTo>
                <a:cubicBezTo>
                  <a:pt x="18903" y="7858"/>
                  <a:pt x="18918" y="7829"/>
                  <a:pt x="18918" y="7791"/>
                </a:cubicBezTo>
                <a:cubicBezTo>
                  <a:pt x="18918" y="7753"/>
                  <a:pt x="18903" y="7722"/>
                  <a:pt x="18884" y="7722"/>
                </a:cubicBezTo>
                <a:close/>
                <a:moveTo>
                  <a:pt x="17504" y="7759"/>
                </a:moveTo>
                <a:cubicBezTo>
                  <a:pt x="17477" y="7759"/>
                  <a:pt x="17455" y="7804"/>
                  <a:pt x="17455" y="7858"/>
                </a:cubicBezTo>
                <a:cubicBezTo>
                  <a:pt x="17455" y="7913"/>
                  <a:pt x="17477" y="7956"/>
                  <a:pt x="17504" y="7956"/>
                </a:cubicBezTo>
                <a:cubicBezTo>
                  <a:pt x="17531" y="7956"/>
                  <a:pt x="17553" y="7913"/>
                  <a:pt x="17553" y="7858"/>
                </a:cubicBezTo>
                <a:cubicBezTo>
                  <a:pt x="17553" y="7804"/>
                  <a:pt x="17531" y="7759"/>
                  <a:pt x="17504" y="7759"/>
                </a:cubicBezTo>
                <a:close/>
                <a:moveTo>
                  <a:pt x="13217" y="7766"/>
                </a:moveTo>
                <a:cubicBezTo>
                  <a:pt x="13256" y="7766"/>
                  <a:pt x="13285" y="7779"/>
                  <a:pt x="13308" y="7808"/>
                </a:cubicBezTo>
                <a:lnTo>
                  <a:pt x="13310" y="7812"/>
                </a:lnTo>
                <a:cubicBezTo>
                  <a:pt x="13333" y="7844"/>
                  <a:pt x="13348" y="7892"/>
                  <a:pt x="13365" y="7946"/>
                </a:cubicBezTo>
                <a:cubicBezTo>
                  <a:pt x="13367" y="7952"/>
                  <a:pt x="13369" y="7957"/>
                  <a:pt x="13371" y="7963"/>
                </a:cubicBezTo>
                <a:cubicBezTo>
                  <a:pt x="13363" y="7969"/>
                  <a:pt x="13354" y="7970"/>
                  <a:pt x="13340" y="7966"/>
                </a:cubicBezTo>
                <a:cubicBezTo>
                  <a:pt x="13340" y="7966"/>
                  <a:pt x="13340" y="7966"/>
                  <a:pt x="13340" y="7966"/>
                </a:cubicBezTo>
                <a:cubicBezTo>
                  <a:pt x="13340" y="7966"/>
                  <a:pt x="13339" y="7965"/>
                  <a:pt x="13339" y="7965"/>
                </a:cubicBezTo>
                <a:cubicBezTo>
                  <a:pt x="13339" y="7964"/>
                  <a:pt x="13338" y="7965"/>
                  <a:pt x="13337" y="7965"/>
                </a:cubicBezTo>
                <a:cubicBezTo>
                  <a:pt x="13332" y="7963"/>
                  <a:pt x="13327" y="7961"/>
                  <a:pt x="13321" y="7959"/>
                </a:cubicBezTo>
                <a:cubicBezTo>
                  <a:pt x="13315" y="7956"/>
                  <a:pt x="13309" y="7956"/>
                  <a:pt x="13303" y="7954"/>
                </a:cubicBezTo>
                <a:cubicBezTo>
                  <a:pt x="13311" y="7942"/>
                  <a:pt x="13317" y="7925"/>
                  <a:pt x="13317" y="7903"/>
                </a:cubicBezTo>
                <a:cubicBezTo>
                  <a:pt x="13317" y="7865"/>
                  <a:pt x="13302" y="7834"/>
                  <a:pt x="13283" y="7834"/>
                </a:cubicBezTo>
                <a:cubicBezTo>
                  <a:pt x="13265" y="7834"/>
                  <a:pt x="13249" y="7865"/>
                  <a:pt x="13249" y="7903"/>
                </a:cubicBezTo>
                <a:cubicBezTo>
                  <a:pt x="13249" y="7926"/>
                  <a:pt x="13256" y="7943"/>
                  <a:pt x="13264" y="7955"/>
                </a:cubicBezTo>
                <a:cubicBezTo>
                  <a:pt x="13230" y="7964"/>
                  <a:pt x="13191" y="7995"/>
                  <a:pt x="13156" y="8030"/>
                </a:cubicBezTo>
                <a:lnTo>
                  <a:pt x="13150" y="8036"/>
                </a:lnTo>
                <a:cubicBezTo>
                  <a:pt x="13142" y="8043"/>
                  <a:pt x="13134" y="8052"/>
                  <a:pt x="13131" y="8054"/>
                </a:cubicBezTo>
                <a:cubicBezTo>
                  <a:pt x="13128" y="8055"/>
                  <a:pt x="13125" y="8057"/>
                  <a:pt x="13123" y="8060"/>
                </a:cubicBezTo>
                <a:cubicBezTo>
                  <a:pt x="13119" y="8066"/>
                  <a:pt x="13116" y="8076"/>
                  <a:pt x="13117" y="8086"/>
                </a:cubicBezTo>
                <a:cubicBezTo>
                  <a:pt x="13118" y="8154"/>
                  <a:pt x="13137" y="8180"/>
                  <a:pt x="13151" y="8199"/>
                </a:cubicBezTo>
                <a:cubicBezTo>
                  <a:pt x="13159" y="8208"/>
                  <a:pt x="13165" y="8215"/>
                  <a:pt x="13168" y="8227"/>
                </a:cubicBezTo>
                <a:cubicBezTo>
                  <a:pt x="13182" y="8276"/>
                  <a:pt x="13198" y="8315"/>
                  <a:pt x="13212" y="8350"/>
                </a:cubicBezTo>
                <a:cubicBezTo>
                  <a:pt x="13236" y="8409"/>
                  <a:pt x="13256" y="8459"/>
                  <a:pt x="13261" y="8535"/>
                </a:cubicBezTo>
                <a:cubicBezTo>
                  <a:pt x="13261" y="8536"/>
                  <a:pt x="13261" y="8538"/>
                  <a:pt x="13261" y="8539"/>
                </a:cubicBezTo>
                <a:cubicBezTo>
                  <a:pt x="13261" y="8540"/>
                  <a:pt x="13261" y="8541"/>
                  <a:pt x="13261" y="8542"/>
                </a:cubicBezTo>
                <a:cubicBezTo>
                  <a:pt x="13261" y="8542"/>
                  <a:pt x="13261" y="8542"/>
                  <a:pt x="13261" y="8543"/>
                </a:cubicBezTo>
                <a:cubicBezTo>
                  <a:pt x="13262" y="8553"/>
                  <a:pt x="13263" y="8562"/>
                  <a:pt x="13263" y="8573"/>
                </a:cubicBezTo>
                <a:cubicBezTo>
                  <a:pt x="13263" y="8583"/>
                  <a:pt x="13266" y="8593"/>
                  <a:pt x="13270" y="8599"/>
                </a:cubicBezTo>
                <a:cubicBezTo>
                  <a:pt x="13274" y="8604"/>
                  <a:pt x="13280" y="8604"/>
                  <a:pt x="13285" y="8600"/>
                </a:cubicBezTo>
                <a:lnTo>
                  <a:pt x="13294" y="8591"/>
                </a:lnTo>
                <a:cubicBezTo>
                  <a:pt x="13305" y="8579"/>
                  <a:pt x="13325" y="8559"/>
                  <a:pt x="13339" y="8547"/>
                </a:cubicBezTo>
                <a:cubicBezTo>
                  <a:pt x="13342" y="8560"/>
                  <a:pt x="13345" y="8569"/>
                  <a:pt x="13349" y="8580"/>
                </a:cubicBezTo>
                <a:cubicBezTo>
                  <a:pt x="13346" y="8590"/>
                  <a:pt x="13342" y="8599"/>
                  <a:pt x="13342" y="8612"/>
                </a:cubicBezTo>
                <a:cubicBezTo>
                  <a:pt x="13342" y="8624"/>
                  <a:pt x="13346" y="8632"/>
                  <a:pt x="13349" y="8642"/>
                </a:cubicBezTo>
                <a:lnTo>
                  <a:pt x="13322" y="8642"/>
                </a:lnTo>
                <a:cubicBezTo>
                  <a:pt x="13294" y="8642"/>
                  <a:pt x="13271" y="8697"/>
                  <a:pt x="13265" y="8774"/>
                </a:cubicBezTo>
                <a:cubicBezTo>
                  <a:pt x="13264" y="8790"/>
                  <a:pt x="13270" y="8805"/>
                  <a:pt x="13278" y="8807"/>
                </a:cubicBezTo>
                <a:cubicBezTo>
                  <a:pt x="13316" y="8818"/>
                  <a:pt x="13339" y="8892"/>
                  <a:pt x="13339" y="8955"/>
                </a:cubicBezTo>
                <a:cubicBezTo>
                  <a:pt x="13339" y="8973"/>
                  <a:pt x="13337" y="8983"/>
                  <a:pt x="13333" y="8996"/>
                </a:cubicBezTo>
                <a:cubicBezTo>
                  <a:pt x="13330" y="9010"/>
                  <a:pt x="13325" y="9028"/>
                  <a:pt x="13325" y="9053"/>
                </a:cubicBezTo>
                <a:cubicBezTo>
                  <a:pt x="13325" y="9093"/>
                  <a:pt x="13339" y="9135"/>
                  <a:pt x="13346" y="9154"/>
                </a:cubicBezTo>
                <a:lnTo>
                  <a:pt x="13346" y="9196"/>
                </a:lnTo>
                <a:cubicBezTo>
                  <a:pt x="13323" y="9206"/>
                  <a:pt x="13291" y="9215"/>
                  <a:pt x="13261" y="9215"/>
                </a:cubicBezTo>
                <a:cubicBezTo>
                  <a:pt x="13257" y="9215"/>
                  <a:pt x="13252" y="9215"/>
                  <a:pt x="13247" y="9215"/>
                </a:cubicBezTo>
                <a:cubicBezTo>
                  <a:pt x="13241" y="9216"/>
                  <a:pt x="13235" y="9217"/>
                  <a:pt x="13228" y="9217"/>
                </a:cubicBezTo>
                <a:cubicBezTo>
                  <a:pt x="13191" y="9217"/>
                  <a:pt x="13178" y="9206"/>
                  <a:pt x="13174" y="9198"/>
                </a:cubicBezTo>
                <a:cubicBezTo>
                  <a:pt x="13171" y="9192"/>
                  <a:pt x="13168" y="9182"/>
                  <a:pt x="13165" y="9172"/>
                </a:cubicBezTo>
                <a:cubicBezTo>
                  <a:pt x="13160" y="9156"/>
                  <a:pt x="13153" y="9140"/>
                  <a:pt x="13143" y="9128"/>
                </a:cubicBezTo>
                <a:cubicBezTo>
                  <a:pt x="13146" y="9118"/>
                  <a:pt x="13150" y="9109"/>
                  <a:pt x="13150" y="9097"/>
                </a:cubicBezTo>
                <a:cubicBezTo>
                  <a:pt x="13150" y="9059"/>
                  <a:pt x="13135" y="9028"/>
                  <a:pt x="13116" y="9028"/>
                </a:cubicBezTo>
                <a:cubicBezTo>
                  <a:pt x="13097" y="9028"/>
                  <a:pt x="13082" y="9059"/>
                  <a:pt x="13082" y="9097"/>
                </a:cubicBezTo>
                <a:cubicBezTo>
                  <a:pt x="13082" y="9099"/>
                  <a:pt x="13083" y="9101"/>
                  <a:pt x="13083" y="9103"/>
                </a:cubicBezTo>
                <a:cubicBezTo>
                  <a:pt x="13082" y="9102"/>
                  <a:pt x="13080" y="9102"/>
                  <a:pt x="13079" y="9100"/>
                </a:cubicBezTo>
                <a:cubicBezTo>
                  <a:pt x="13076" y="9085"/>
                  <a:pt x="13076" y="9073"/>
                  <a:pt x="13076" y="9057"/>
                </a:cubicBezTo>
                <a:cubicBezTo>
                  <a:pt x="13077" y="9051"/>
                  <a:pt x="13077" y="9045"/>
                  <a:pt x="13078" y="9039"/>
                </a:cubicBezTo>
                <a:cubicBezTo>
                  <a:pt x="13078" y="9017"/>
                  <a:pt x="13078" y="8990"/>
                  <a:pt x="13068" y="8961"/>
                </a:cubicBezTo>
                <a:cubicBezTo>
                  <a:pt x="13066" y="8954"/>
                  <a:pt x="13063" y="8948"/>
                  <a:pt x="13061" y="8943"/>
                </a:cubicBezTo>
                <a:cubicBezTo>
                  <a:pt x="13064" y="8941"/>
                  <a:pt x="13067" y="8937"/>
                  <a:pt x="13069" y="8931"/>
                </a:cubicBezTo>
                <a:cubicBezTo>
                  <a:pt x="13081" y="8900"/>
                  <a:pt x="13088" y="8865"/>
                  <a:pt x="13094" y="8831"/>
                </a:cubicBezTo>
                <a:cubicBezTo>
                  <a:pt x="13102" y="8788"/>
                  <a:pt x="13109" y="8751"/>
                  <a:pt x="13124" y="8736"/>
                </a:cubicBezTo>
                <a:cubicBezTo>
                  <a:pt x="13129" y="8731"/>
                  <a:pt x="13132" y="8722"/>
                  <a:pt x="13132" y="8711"/>
                </a:cubicBezTo>
                <a:cubicBezTo>
                  <a:pt x="13132" y="8700"/>
                  <a:pt x="13129" y="8689"/>
                  <a:pt x="13124" y="8684"/>
                </a:cubicBezTo>
                <a:cubicBezTo>
                  <a:pt x="13070" y="8624"/>
                  <a:pt x="12987" y="8378"/>
                  <a:pt x="12987" y="8245"/>
                </a:cubicBezTo>
                <a:cubicBezTo>
                  <a:pt x="12987" y="8216"/>
                  <a:pt x="12977" y="8190"/>
                  <a:pt x="12965" y="8159"/>
                </a:cubicBezTo>
                <a:cubicBezTo>
                  <a:pt x="12954" y="8132"/>
                  <a:pt x="12941" y="8101"/>
                  <a:pt x="12941" y="8079"/>
                </a:cubicBezTo>
                <a:cubicBezTo>
                  <a:pt x="12943" y="8058"/>
                  <a:pt x="12972" y="7943"/>
                  <a:pt x="12985" y="7903"/>
                </a:cubicBezTo>
                <a:cubicBezTo>
                  <a:pt x="12992" y="7901"/>
                  <a:pt x="13001" y="7894"/>
                  <a:pt x="13015" y="7882"/>
                </a:cubicBezTo>
                <a:cubicBezTo>
                  <a:pt x="13028" y="7871"/>
                  <a:pt x="13042" y="7858"/>
                  <a:pt x="13051" y="7848"/>
                </a:cubicBezTo>
                <a:cubicBezTo>
                  <a:pt x="13057" y="7842"/>
                  <a:pt x="13061" y="7838"/>
                  <a:pt x="13063" y="7836"/>
                </a:cubicBezTo>
                <a:lnTo>
                  <a:pt x="13072" y="7829"/>
                </a:lnTo>
                <a:cubicBezTo>
                  <a:pt x="13121" y="7791"/>
                  <a:pt x="13154" y="7766"/>
                  <a:pt x="13217" y="7766"/>
                </a:cubicBezTo>
                <a:close/>
                <a:moveTo>
                  <a:pt x="11214" y="7793"/>
                </a:moveTo>
                <a:cubicBezTo>
                  <a:pt x="11214" y="7793"/>
                  <a:pt x="11277" y="7804"/>
                  <a:pt x="11294" y="7807"/>
                </a:cubicBezTo>
                <a:cubicBezTo>
                  <a:pt x="11305" y="7821"/>
                  <a:pt x="11318" y="7832"/>
                  <a:pt x="11332" y="7832"/>
                </a:cubicBezTo>
                <a:cubicBezTo>
                  <a:pt x="11342" y="7832"/>
                  <a:pt x="11352" y="7827"/>
                  <a:pt x="11360" y="7820"/>
                </a:cubicBezTo>
                <a:cubicBezTo>
                  <a:pt x="11361" y="7820"/>
                  <a:pt x="11361" y="7820"/>
                  <a:pt x="11361" y="7820"/>
                </a:cubicBezTo>
                <a:cubicBezTo>
                  <a:pt x="11540" y="7852"/>
                  <a:pt x="11886" y="7914"/>
                  <a:pt x="11886" y="7914"/>
                </a:cubicBezTo>
                <a:cubicBezTo>
                  <a:pt x="11886" y="7915"/>
                  <a:pt x="11885" y="7915"/>
                  <a:pt x="11885" y="7916"/>
                </a:cubicBezTo>
                <a:cubicBezTo>
                  <a:pt x="11877" y="7920"/>
                  <a:pt x="11873" y="7935"/>
                  <a:pt x="11874" y="7951"/>
                </a:cubicBezTo>
                <a:cubicBezTo>
                  <a:pt x="11875" y="7958"/>
                  <a:pt x="11875" y="7967"/>
                  <a:pt x="11875" y="7976"/>
                </a:cubicBezTo>
                <a:cubicBezTo>
                  <a:pt x="11875" y="7979"/>
                  <a:pt x="11875" y="7982"/>
                  <a:pt x="11875" y="7986"/>
                </a:cubicBezTo>
                <a:cubicBezTo>
                  <a:pt x="11848" y="8002"/>
                  <a:pt x="11833" y="8035"/>
                  <a:pt x="11833" y="8076"/>
                </a:cubicBezTo>
                <a:cubicBezTo>
                  <a:pt x="11831" y="8094"/>
                  <a:pt x="11829" y="8101"/>
                  <a:pt x="11829" y="8106"/>
                </a:cubicBezTo>
                <a:cubicBezTo>
                  <a:pt x="11825" y="8110"/>
                  <a:pt x="11823" y="8117"/>
                  <a:pt x="11820" y="8127"/>
                </a:cubicBezTo>
                <a:cubicBezTo>
                  <a:pt x="11819" y="8131"/>
                  <a:pt x="11819" y="8135"/>
                  <a:pt x="11819" y="8139"/>
                </a:cubicBezTo>
                <a:lnTo>
                  <a:pt x="11819" y="8152"/>
                </a:lnTo>
                <a:cubicBezTo>
                  <a:pt x="11813" y="8140"/>
                  <a:pt x="11804" y="8132"/>
                  <a:pt x="11795" y="8132"/>
                </a:cubicBezTo>
                <a:cubicBezTo>
                  <a:pt x="11776" y="8132"/>
                  <a:pt x="11761" y="8163"/>
                  <a:pt x="11761" y="8201"/>
                </a:cubicBezTo>
                <a:cubicBezTo>
                  <a:pt x="11761" y="8239"/>
                  <a:pt x="11776" y="8269"/>
                  <a:pt x="11795" y="8269"/>
                </a:cubicBezTo>
                <a:cubicBezTo>
                  <a:pt x="11802" y="8269"/>
                  <a:pt x="11807" y="8261"/>
                  <a:pt x="11813" y="8254"/>
                </a:cubicBezTo>
                <a:cubicBezTo>
                  <a:pt x="11797" y="8287"/>
                  <a:pt x="11780" y="8328"/>
                  <a:pt x="11769" y="8369"/>
                </a:cubicBezTo>
                <a:lnTo>
                  <a:pt x="11720" y="8429"/>
                </a:lnTo>
                <a:lnTo>
                  <a:pt x="11681" y="8474"/>
                </a:lnTo>
                <a:lnTo>
                  <a:pt x="11670" y="8458"/>
                </a:lnTo>
                <a:cubicBezTo>
                  <a:pt x="11661" y="8431"/>
                  <a:pt x="11648" y="8411"/>
                  <a:pt x="11632" y="8402"/>
                </a:cubicBezTo>
                <a:lnTo>
                  <a:pt x="11368" y="8017"/>
                </a:lnTo>
                <a:lnTo>
                  <a:pt x="11214" y="7793"/>
                </a:lnTo>
                <a:close/>
                <a:moveTo>
                  <a:pt x="11144" y="7796"/>
                </a:moveTo>
                <a:lnTo>
                  <a:pt x="11142" y="7822"/>
                </a:lnTo>
                <a:cubicBezTo>
                  <a:pt x="11142" y="7822"/>
                  <a:pt x="11109" y="8268"/>
                  <a:pt x="11109" y="8268"/>
                </a:cubicBezTo>
                <a:lnTo>
                  <a:pt x="11109" y="8268"/>
                </a:lnTo>
                <a:cubicBezTo>
                  <a:pt x="11070" y="8268"/>
                  <a:pt x="11024" y="8136"/>
                  <a:pt x="11024" y="8054"/>
                </a:cubicBezTo>
                <a:cubicBezTo>
                  <a:pt x="11024" y="8038"/>
                  <a:pt x="11017" y="8025"/>
                  <a:pt x="11009" y="8025"/>
                </a:cubicBezTo>
                <a:lnTo>
                  <a:pt x="10944" y="8025"/>
                </a:lnTo>
                <a:cubicBezTo>
                  <a:pt x="10942" y="8021"/>
                  <a:pt x="10941" y="7999"/>
                  <a:pt x="10940" y="7987"/>
                </a:cubicBezTo>
                <a:cubicBezTo>
                  <a:pt x="10939" y="7967"/>
                  <a:pt x="10937" y="7946"/>
                  <a:pt x="10932" y="7930"/>
                </a:cubicBezTo>
                <a:lnTo>
                  <a:pt x="11121" y="7809"/>
                </a:lnTo>
                <a:lnTo>
                  <a:pt x="11144" y="7796"/>
                </a:lnTo>
                <a:close/>
                <a:moveTo>
                  <a:pt x="12364" y="7796"/>
                </a:moveTo>
                <a:cubicBezTo>
                  <a:pt x="12364" y="7799"/>
                  <a:pt x="12364" y="7802"/>
                  <a:pt x="12365" y="7805"/>
                </a:cubicBezTo>
                <a:cubicBezTo>
                  <a:pt x="12366" y="7811"/>
                  <a:pt x="12368" y="7818"/>
                  <a:pt x="12370" y="7826"/>
                </a:cubicBezTo>
                <a:cubicBezTo>
                  <a:pt x="12375" y="7844"/>
                  <a:pt x="12383" y="7871"/>
                  <a:pt x="12378" y="7896"/>
                </a:cubicBezTo>
                <a:cubicBezTo>
                  <a:pt x="12374" y="7916"/>
                  <a:pt x="12359" y="7946"/>
                  <a:pt x="12312" y="7970"/>
                </a:cubicBezTo>
                <a:cubicBezTo>
                  <a:pt x="12311" y="7971"/>
                  <a:pt x="12310" y="7971"/>
                  <a:pt x="12309" y="7972"/>
                </a:cubicBezTo>
                <a:cubicBezTo>
                  <a:pt x="12307" y="7968"/>
                  <a:pt x="12304" y="7966"/>
                  <a:pt x="12301" y="7966"/>
                </a:cubicBezTo>
                <a:cubicBezTo>
                  <a:pt x="12297" y="7965"/>
                  <a:pt x="12268" y="7956"/>
                  <a:pt x="12243" y="7948"/>
                </a:cubicBezTo>
                <a:cubicBezTo>
                  <a:pt x="12242" y="7948"/>
                  <a:pt x="12242" y="7948"/>
                  <a:pt x="12241" y="7948"/>
                </a:cubicBezTo>
                <a:cubicBezTo>
                  <a:pt x="12241" y="7948"/>
                  <a:pt x="12224" y="7946"/>
                  <a:pt x="12220" y="7923"/>
                </a:cubicBezTo>
                <a:cubicBezTo>
                  <a:pt x="12230" y="7908"/>
                  <a:pt x="12261" y="7874"/>
                  <a:pt x="12364" y="7796"/>
                </a:cubicBezTo>
                <a:close/>
                <a:moveTo>
                  <a:pt x="18006" y="7797"/>
                </a:moveTo>
                <a:cubicBezTo>
                  <a:pt x="17979" y="7797"/>
                  <a:pt x="17957" y="7841"/>
                  <a:pt x="17957" y="7896"/>
                </a:cubicBezTo>
                <a:cubicBezTo>
                  <a:pt x="17957" y="7950"/>
                  <a:pt x="17979" y="7994"/>
                  <a:pt x="18006" y="7994"/>
                </a:cubicBezTo>
                <a:cubicBezTo>
                  <a:pt x="18034" y="7994"/>
                  <a:pt x="18055" y="7950"/>
                  <a:pt x="18055" y="7896"/>
                </a:cubicBezTo>
                <a:cubicBezTo>
                  <a:pt x="18055" y="7841"/>
                  <a:pt x="18034" y="7797"/>
                  <a:pt x="18006" y="7797"/>
                </a:cubicBezTo>
                <a:close/>
                <a:moveTo>
                  <a:pt x="11173" y="7806"/>
                </a:moveTo>
                <a:lnTo>
                  <a:pt x="11581" y="8405"/>
                </a:lnTo>
                <a:cubicBezTo>
                  <a:pt x="11555" y="8428"/>
                  <a:pt x="11537" y="8481"/>
                  <a:pt x="11537" y="8542"/>
                </a:cubicBezTo>
                <a:cubicBezTo>
                  <a:pt x="11537" y="8585"/>
                  <a:pt x="11546" y="8623"/>
                  <a:pt x="11561" y="8650"/>
                </a:cubicBezTo>
                <a:cubicBezTo>
                  <a:pt x="11554" y="8659"/>
                  <a:pt x="11548" y="8667"/>
                  <a:pt x="11539" y="8672"/>
                </a:cubicBezTo>
                <a:cubicBezTo>
                  <a:pt x="11531" y="8677"/>
                  <a:pt x="11527" y="8693"/>
                  <a:pt x="11529" y="8708"/>
                </a:cubicBezTo>
                <a:cubicBezTo>
                  <a:pt x="11531" y="8727"/>
                  <a:pt x="11532" y="8742"/>
                  <a:pt x="11531" y="8758"/>
                </a:cubicBezTo>
                <a:cubicBezTo>
                  <a:pt x="11527" y="8754"/>
                  <a:pt x="11524" y="8746"/>
                  <a:pt x="11519" y="8736"/>
                </a:cubicBezTo>
                <a:cubicBezTo>
                  <a:pt x="11512" y="8720"/>
                  <a:pt x="11503" y="8700"/>
                  <a:pt x="11488" y="8700"/>
                </a:cubicBezTo>
                <a:cubicBezTo>
                  <a:pt x="11469" y="8700"/>
                  <a:pt x="11450" y="8739"/>
                  <a:pt x="11450" y="8777"/>
                </a:cubicBezTo>
                <a:cubicBezTo>
                  <a:pt x="11450" y="8784"/>
                  <a:pt x="11451" y="8791"/>
                  <a:pt x="11453" y="8797"/>
                </a:cubicBezTo>
                <a:lnTo>
                  <a:pt x="11489" y="8879"/>
                </a:lnTo>
                <a:cubicBezTo>
                  <a:pt x="11488" y="8882"/>
                  <a:pt x="11487" y="8886"/>
                  <a:pt x="11486" y="8890"/>
                </a:cubicBezTo>
                <a:cubicBezTo>
                  <a:pt x="11484" y="8899"/>
                  <a:pt x="11482" y="8909"/>
                  <a:pt x="11482" y="8922"/>
                </a:cubicBezTo>
                <a:cubicBezTo>
                  <a:pt x="11482" y="8945"/>
                  <a:pt x="11511" y="8998"/>
                  <a:pt x="11537" y="9035"/>
                </a:cubicBezTo>
                <a:cubicBezTo>
                  <a:pt x="11530" y="9038"/>
                  <a:pt x="11524" y="9043"/>
                  <a:pt x="11518" y="9050"/>
                </a:cubicBezTo>
                <a:cubicBezTo>
                  <a:pt x="11510" y="9039"/>
                  <a:pt x="11500" y="9031"/>
                  <a:pt x="11495" y="9020"/>
                </a:cubicBezTo>
                <a:cubicBezTo>
                  <a:pt x="11491" y="9011"/>
                  <a:pt x="11484" y="9009"/>
                  <a:pt x="11478" y="9014"/>
                </a:cubicBezTo>
                <a:cubicBezTo>
                  <a:pt x="11473" y="9018"/>
                  <a:pt x="11469" y="9028"/>
                  <a:pt x="11469" y="9041"/>
                </a:cubicBezTo>
                <a:lnTo>
                  <a:pt x="11469" y="9076"/>
                </a:lnTo>
                <a:cubicBezTo>
                  <a:pt x="11469" y="9080"/>
                  <a:pt x="11470" y="9084"/>
                  <a:pt x="11471" y="9088"/>
                </a:cubicBezTo>
                <a:cubicBezTo>
                  <a:pt x="11472" y="9091"/>
                  <a:pt x="11472" y="9093"/>
                  <a:pt x="11473" y="9095"/>
                </a:cubicBezTo>
                <a:lnTo>
                  <a:pt x="11422" y="9098"/>
                </a:lnTo>
                <a:cubicBezTo>
                  <a:pt x="11424" y="9094"/>
                  <a:pt x="11426" y="9090"/>
                  <a:pt x="11428" y="9087"/>
                </a:cubicBezTo>
                <a:cubicBezTo>
                  <a:pt x="11433" y="9079"/>
                  <a:pt x="11440" y="9070"/>
                  <a:pt x="11444" y="9057"/>
                </a:cubicBezTo>
                <a:cubicBezTo>
                  <a:pt x="11446" y="9048"/>
                  <a:pt x="11447" y="9036"/>
                  <a:pt x="11444" y="9027"/>
                </a:cubicBezTo>
                <a:cubicBezTo>
                  <a:pt x="11442" y="9017"/>
                  <a:pt x="11436" y="9011"/>
                  <a:pt x="11431" y="9011"/>
                </a:cubicBezTo>
                <a:lnTo>
                  <a:pt x="11399" y="9011"/>
                </a:lnTo>
                <a:cubicBezTo>
                  <a:pt x="11398" y="9006"/>
                  <a:pt x="11397" y="8998"/>
                  <a:pt x="11397" y="8994"/>
                </a:cubicBezTo>
                <a:cubicBezTo>
                  <a:pt x="11397" y="8991"/>
                  <a:pt x="11397" y="8988"/>
                  <a:pt x="11396" y="8986"/>
                </a:cubicBezTo>
                <a:cubicBezTo>
                  <a:pt x="11387" y="8917"/>
                  <a:pt x="11366" y="8873"/>
                  <a:pt x="11348" y="8837"/>
                </a:cubicBezTo>
                <a:cubicBezTo>
                  <a:pt x="11343" y="8826"/>
                  <a:pt x="11337" y="8817"/>
                  <a:pt x="11332" y="8807"/>
                </a:cubicBezTo>
                <a:cubicBezTo>
                  <a:pt x="11311" y="8770"/>
                  <a:pt x="11294" y="8739"/>
                  <a:pt x="11294" y="8680"/>
                </a:cubicBezTo>
                <a:lnTo>
                  <a:pt x="11294" y="8570"/>
                </a:lnTo>
                <a:cubicBezTo>
                  <a:pt x="11294" y="8490"/>
                  <a:pt x="11238" y="8394"/>
                  <a:pt x="11209" y="8364"/>
                </a:cubicBezTo>
                <a:cubicBezTo>
                  <a:pt x="11200" y="8356"/>
                  <a:pt x="11192" y="8348"/>
                  <a:pt x="11184" y="8342"/>
                </a:cubicBezTo>
                <a:cubicBezTo>
                  <a:pt x="11160" y="8324"/>
                  <a:pt x="11153" y="8317"/>
                  <a:pt x="11153" y="8297"/>
                </a:cubicBezTo>
                <a:cubicBezTo>
                  <a:pt x="11153" y="8281"/>
                  <a:pt x="11147" y="8269"/>
                  <a:pt x="11139" y="8268"/>
                </a:cubicBezTo>
                <a:lnTo>
                  <a:pt x="11172" y="7821"/>
                </a:lnTo>
                <a:lnTo>
                  <a:pt x="11173" y="7806"/>
                </a:lnTo>
                <a:close/>
                <a:moveTo>
                  <a:pt x="19194" y="7814"/>
                </a:moveTo>
                <a:cubicBezTo>
                  <a:pt x="19166" y="7818"/>
                  <a:pt x="19157" y="7841"/>
                  <a:pt x="19154" y="7860"/>
                </a:cubicBezTo>
                <a:cubicBezTo>
                  <a:pt x="19153" y="7866"/>
                  <a:pt x="19153" y="7871"/>
                  <a:pt x="19153" y="7876"/>
                </a:cubicBezTo>
                <a:cubicBezTo>
                  <a:pt x="19152" y="7882"/>
                  <a:pt x="19150" y="7888"/>
                  <a:pt x="19150" y="7895"/>
                </a:cubicBezTo>
                <a:cubicBezTo>
                  <a:pt x="19149" y="7898"/>
                  <a:pt x="19148" y="7900"/>
                  <a:pt x="19148" y="7903"/>
                </a:cubicBezTo>
                <a:cubicBezTo>
                  <a:pt x="19148" y="7904"/>
                  <a:pt x="19148" y="7905"/>
                  <a:pt x="19148" y="7906"/>
                </a:cubicBezTo>
                <a:cubicBezTo>
                  <a:pt x="19148" y="7909"/>
                  <a:pt x="19148" y="7913"/>
                  <a:pt x="19148" y="7916"/>
                </a:cubicBezTo>
                <a:cubicBezTo>
                  <a:pt x="19148" y="7944"/>
                  <a:pt x="19157" y="7959"/>
                  <a:pt x="19166" y="7959"/>
                </a:cubicBezTo>
                <a:cubicBezTo>
                  <a:pt x="19166" y="7959"/>
                  <a:pt x="19167" y="7958"/>
                  <a:pt x="19167" y="7958"/>
                </a:cubicBezTo>
                <a:cubicBezTo>
                  <a:pt x="19172" y="7963"/>
                  <a:pt x="19176" y="7970"/>
                  <a:pt x="19182" y="7970"/>
                </a:cubicBezTo>
                <a:cubicBezTo>
                  <a:pt x="19201" y="7970"/>
                  <a:pt x="19216" y="7940"/>
                  <a:pt x="19216" y="7903"/>
                </a:cubicBezTo>
                <a:cubicBezTo>
                  <a:pt x="19216" y="7894"/>
                  <a:pt x="19213" y="7887"/>
                  <a:pt x="19211" y="7879"/>
                </a:cubicBezTo>
                <a:cubicBezTo>
                  <a:pt x="19213" y="7871"/>
                  <a:pt x="19216" y="7859"/>
                  <a:pt x="19216" y="7848"/>
                </a:cubicBezTo>
                <a:cubicBezTo>
                  <a:pt x="19217" y="7839"/>
                  <a:pt x="19216" y="7831"/>
                  <a:pt x="19213" y="7825"/>
                </a:cubicBezTo>
                <a:cubicBezTo>
                  <a:pt x="19210" y="7818"/>
                  <a:pt x="19206" y="7814"/>
                  <a:pt x="19202" y="7814"/>
                </a:cubicBezTo>
                <a:cubicBezTo>
                  <a:pt x="19201" y="7814"/>
                  <a:pt x="19198" y="7814"/>
                  <a:pt x="19194" y="7814"/>
                </a:cubicBezTo>
                <a:close/>
                <a:moveTo>
                  <a:pt x="6476" y="7836"/>
                </a:moveTo>
                <a:cubicBezTo>
                  <a:pt x="6476" y="7837"/>
                  <a:pt x="6477" y="7839"/>
                  <a:pt x="6477" y="7840"/>
                </a:cubicBezTo>
                <a:lnTo>
                  <a:pt x="6478" y="7842"/>
                </a:lnTo>
                <a:lnTo>
                  <a:pt x="6478" y="7844"/>
                </a:lnTo>
                <a:cubicBezTo>
                  <a:pt x="6477" y="7848"/>
                  <a:pt x="6475" y="7852"/>
                  <a:pt x="6474" y="7856"/>
                </a:cubicBezTo>
                <a:cubicBezTo>
                  <a:pt x="6471" y="7867"/>
                  <a:pt x="6465" y="7887"/>
                  <a:pt x="6471" y="7907"/>
                </a:cubicBezTo>
                <a:cubicBezTo>
                  <a:pt x="6475" y="7924"/>
                  <a:pt x="6484" y="7930"/>
                  <a:pt x="6494" y="7932"/>
                </a:cubicBezTo>
                <a:lnTo>
                  <a:pt x="6494" y="7933"/>
                </a:lnTo>
                <a:lnTo>
                  <a:pt x="6494" y="7935"/>
                </a:lnTo>
                <a:cubicBezTo>
                  <a:pt x="6491" y="7944"/>
                  <a:pt x="6479" y="7958"/>
                  <a:pt x="6464" y="7958"/>
                </a:cubicBezTo>
                <a:cubicBezTo>
                  <a:pt x="6451" y="7958"/>
                  <a:pt x="6444" y="7948"/>
                  <a:pt x="6444" y="7942"/>
                </a:cubicBezTo>
                <a:cubicBezTo>
                  <a:pt x="6446" y="7924"/>
                  <a:pt x="6463" y="7862"/>
                  <a:pt x="6476" y="7836"/>
                </a:cubicBezTo>
                <a:close/>
                <a:moveTo>
                  <a:pt x="11987" y="7839"/>
                </a:moveTo>
                <a:cubicBezTo>
                  <a:pt x="11989" y="7839"/>
                  <a:pt x="12001" y="7847"/>
                  <a:pt x="12039" y="7934"/>
                </a:cubicBezTo>
                <a:cubicBezTo>
                  <a:pt x="12048" y="7955"/>
                  <a:pt x="12057" y="7977"/>
                  <a:pt x="12066" y="7998"/>
                </a:cubicBezTo>
                <a:lnTo>
                  <a:pt x="12082" y="8036"/>
                </a:lnTo>
                <a:cubicBezTo>
                  <a:pt x="12115" y="8116"/>
                  <a:pt x="12131" y="8147"/>
                  <a:pt x="12145" y="8155"/>
                </a:cubicBezTo>
                <a:cubicBezTo>
                  <a:pt x="12146" y="8155"/>
                  <a:pt x="12146" y="8155"/>
                  <a:pt x="12146" y="8155"/>
                </a:cubicBezTo>
                <a:cubicBezTo>
                  <a:pt x="12148" y="8156"/>
                  <a:pt x="12150" y="8157"/>
                  <a:pt x="12152" y="8157"/>
                </a:cubicBezTo>
                <a:cubicBezTo>
                  <a:pt x="12181" y="8157"/>
                  <a:pt x="12274" y="8080"/>
                  <a:pt x="12305" y="8027"/>
                </a:cubicBezTo>
                <a:cubicBezTo>
                  <a:pt x="12333" y="8137"/>
                  <a:pt x="12393" y="8192"/>
                  <a:pt x="12452" y="8244"/>
                </a:cubicBezTo>
                <a:cubicBezTo>
                  <a:pt x="12477" y="8267"/>
                  <a:pt x="12504" y="8290"/>
                  <a:pt x="12526" y="8318"/>
                </a:cubicBezTo>
                <a:cubicBezTo>
                  <a:pt x="12574" y="8376"/>
                  <a:pt x="12595" y="8442"/>
                  <a:pt x="12597" y="8533"/>
                </a:cubicBezTo>
                <a:cubicBezTo>
                  <a:pt x="12590" y="8541"/>
                  <a:pt x="12584" y="8549"/>
                  <a:pt x="12578" y="8557"/>
                </a:cubicBezTo>
                <a:cubicBezTo>
                  <a:pt x="12557" y="8584"/>
                  <a:pt x="12540" y="8607"/>
                  <a:pt x="12516" y="8607"/>
                </a:cubicBezTo>
                <a:lnTo>
                  <a:pt x="12397" y="8607"/>
                </a:lnTo>
                <a:cubicBezTo>
                  <a:pt x="12389" y="8606"/>
                  <a:pt x="12374" y="8601"/>
                  <a:pt x="12358" y="8594"/>
                </a:cubicBezTo>
                <a:cubicBezTo>
                  <a:pt x="12318" y="8576"/>
                  <a:pt x="12306" y="8556"/>
                  <a:pt x="12305" y="8552"/>
                </a:cubicBezTo>
                <a:cubicBezTo>
                  <a:pt x="12305" y="8536"/>
                  <a:pt x="12298" y="8523"/>
                  <a:pt x="12290" y="8523"/>
                </a:cubicBezTo>
                <a:cubicBezTo>
                  <a:pt x="12271" y="8523"/>
                  <a:pt x="12262" y="8512"/>
                  <a:pt x="12251" y="8497"/>
                </a:cubicBezTo>
                <a:cubicBezTo>
                  <a:pt x="12237" y="8480"/>
                  <a:pt x="12220" y="8459"/>
                  <a:pt x="12186" y="8459"/>
                </a:cubicBezTo>
                <a:cubicBezTo>
                  <a:pt x="12171" y="8459"/>
                  <a:pt x="12148" y="8459"/>
                  <a:pt x="12125" y="8463"/>
                </a:cubicBezTo>
                <a:cubicBezTo>
                  <a:pt x="12124" y="8464"/>
                  <a:pt x="12124" y="8465"/>
                  <a:pt x="12124" y="8465"/>
                </a:cubicBezTo>
                <a:cubicBezTo>
                  <a:pt x="12092" y="8471"/>
                  <a:pt x="12070" y="8482"/>
                  <a:pt x="12055" y="8501"/>
                </a:cubicBezTo>
                <a:lnTo>
                  <a:pt x="12044" y="8515"/>
                </a:lnTo>
                <a:cubicBezTo>
                  <a:pt x="12024" y="8541"/>
                  <a:pt x="11993" y="8581"/>
                  <a:pt x="11976" y="8581"/>
                </a:cubicBezTo>
                <a:lnTo>
                  <a:pt x="11911" y="8581"/>
                </a:lnTo>
                <a:cubicBezTo>
                  <a:pt x="11909" y="8581"/>
                  <a:pt x="11906" y="8581"/>
                  <a:pt x="11903" y="8580"/>
                </a:cubicBezTo>
                <a:cubicBezTo>
                  <a:pt x="11897" y="8579"/>
                  <a:pt x="11890" y="8578"/>
                  <a:pt x="11883" y="8578"/>
                </a:cubicBezTo>
                <a:cubicBezTo>
                  <a:pt x="11868" y="8578"/>
                  <a:pt x="11859" y="8585"/>
                  <a:pt x="11854" y="8594"/>
                </a:cubicBezTo>
                <a:cubicBezTo>
                  <a:pt x="11848" y="8582"/>
                  <a:pt x="11841" y="8571"/>
                  <a:pt x="11833" y="8557"/>
                </a:cubicBezTo>
                <a:cubicBezTo>
                  <a:pt x="11814" y="8524"/>
                  <a:pt x="11790" y="8483"/>
                  <a:pt x="11790" y="8438"/>
                </a:cubicBezTo>
                <a:cubicBezTo>
                  <a:pt x="11790" y="8429"/>
                  <a:pt x="11791" y="8417"/>
                  <a:pt x="11794" y="8403"/>
                </a:cubicBezTo>
                <a:cubicBezTo>
                  <a:pt x="11805" y="8355"/>
                  <a:pt x="11830" y="8300"/>
                  <a:pt x="11844" y="8271"/>
                </a:cubicBezTo>
                <a:cubicBezTo>
                  <a:pt x="11847" y="8266"/>
                  <a:pt x="11849" y="8258"/>
                  <a:pt x="11849" y="8250"/>
                </a:cubicBezTo>
                <a:lnTo>
                  <a:pt x="11849" y="8151"/>
                </a:lnTo>
                <a:cubicBezTo>
                  <a:pt x="11855" y="8141"/>
                  <a:pt x="11857" y="8125"/>
                  <a:pt x="11862" y="8087"/>
                </a:cubicBezTo>
                <a:cubicBezTo>
                  <a:pt x="11862" y="8085"/>
                  <a:pt x="11862" y="8082"/>
                  <a:pt x="11862" y="8080"/>
                </a:cubicBezTo>
                <a:cubicBezTo>
                  <a:pt x="11862" y="8052"/>
                  <a:pt x="11887" y="8041"/>
                  <a:pt x="11894" y="8038"/>
                </a:cubicBezTo>
                <a:cubicBezTo>
                  <a:pt x="11898" y="8036"/>
                  <a:pt x="11901" y="8031"/>
                  <a:pt x="11904" y="8024"/>
                </a:cubicBezTo>
                <a:cubicBezTo>
                  <a:pt x="11906" y="8017"/>
                  <a:pt x="11907" y="8010"/>
                  <a:pt x="11906" y="8002"/>
                </a:cubicBezTo>
                <a:cubicBezTo>
                  <a:pt x="11905" y="7994"/>
                  <a:pt x="11905" y="7986"/>
                  <a:pt x="11905" y="7976"/>
                </a:cubicBezTo>
                <a:cubicBezTo>
                  <a:pt x="11905" y="7972"/>
                  <a:pt x="11905" y="7969"/>
                  <a:pt x="11905" y="7965"/>
                </a:cubicBezTo>
                <a:cubicBezTo>
                  <a:pt x="11919" y="7951"/>
                  <a:pt x="11930" y="7931"/>
                  <a:pt x="11938" y="7912"/>
                </a:cubicBezTo>
                <a:cubicBezTo>
                  <a:pt x="11941" y="7905"/>
                  <a:pt x="11944" y="7899"/>
                  <a:pt x="11947" y="7892"/>
                </a:cubicBezTo>
                <a:cubicBezTo>
                  <a:pt x="11961" y="7858"/>
                  <a:pt x="11970" y="7839"/>
                  <a:pt x="11987" y="7839"/>
                </a:cubicBezTo>
                <a:close/>
                <a:moveTo>
                  <a:pt x="4930" y="7856"/>
                </a:moveTo>
                <a:cubicBezTo>
                  <a:pt x="4954" y="7856"/>
                  <a:pt x="4971" y="7870"/>
                  <a:pt x="4990" y="7884"/>
                </a:cubicBezTo>
                <a:cubicBezTo>
                  <a:pt x="5004" y="7895"/>
                  <a:pt x="5018" y="7905"/>
                  <a:pt x="5035" y="7910"/>
                </a:cubicBezTo>
                <a:cubicBezTo>
                  <a:pt x="5018" y="7915"/>
                  <a:pt x="4994" y="7910"/>
                  <a:pt x="4977" y="7906"/>
                </a:cubicBezTo>
                <a:cubicBezTo>
                  <a:pt x="4968" y="7904"/>
                  <a:pt x="4961" y="7903"/>
                  <a:pt x="4956" y="7903"/>
                </a:cubicBezTo>
                <a:cubicBezTo>
                  <a:pt x="4936" y="7903"/>
                  <a:pt x="4911" y="7920"/>
                  <a:pt x="4885" y="7951"/>
                </a:cubicBezTo>
                <a:lnTo>
                  <a:pt x="4880" y="7904"/>
                </a:lnTo>
                <a:lnTo>
                  <a:pt x="4880" y="7898"/>
                </a:lnTo>
                <a:cubicBezTo>
                  <a:pt x="4893" y="7894"/>
                  <a:pt x="4904" y="7881"/>
                  <a:pt x="4912" y="7871"/>
                </a:cubicBezTo>
                <a:cubicBezTo>
                  <a:pt x="4919" y="7862"/>
                  <a:pt x="4924" y="7856"/>
                  <a:pt x="4930" y="7856"/>
                </a:cubicBezTo>
                <a:close/>
                <a:moveTo>
                  <a:pt x="18142" y="7871"/>
                </a:moveTo>
                <a:cubicBezTo>
                  <a:pt x="18102" y="7871"/>
                  <a:pt x="18069" y="7938"/>
                  <a:pt x="18069" y="8019"/>
                </a:cubicBezTo>
                <a:cubicBezTo>
                  <a:pt x="18069" y="8101"/>
                  <a:pt x="18102" y="8167"/>
                  <a:pt x="18142" y="8167"/>
                </a:cubicBezTo>
                <a:cubicBezTo>
                  <a:pt x="18183" y="8167"/>
                  <a:pt x="18216" y="8101"/>
                  <a:pt x="18216" y="8019"/>
                </a:cubicBezTo>
                <a:cubicBezTo>
                  <a:pt x="18216" y="7938"/>
                  <a:pt x="18183" y="7871"/>
                  <a:pt x="18142" y="7871"/>
                </a:cubicBezTo>
                <a:close/>
                <a:moveTo>
                  <a:pt x="5377" y="7909"/>
                </a:moveTo>
                <a:cubicBezTo>
                  <a:pt x="5337" y="7909"/>
                  <a:pt x="5304" y="7975"/>
                  <a:pt x="5304" y="8057"/>
                </a:cubicBezTo>
                <a:cubicBezTo>
                  <a:pt x="5304" y="8138"/>
                  <a:pt x="5337" y="8205"/>
                  <a:pt x="5377" y="8205"/>
                </a:cubicBezTo>
                <a:cubicBezTo>
                  <a:pt x="5418" y="8205"/>
                  <a:pt x="5451" y="8138"/>
                  <a:pt x="5451" y="8057"/>
                </a:cubicBezTo>
                <a:cubicBezTo>
                  <a:pt x="5451" y="7975"/>
                  <a:pt x="5418" y="7909"/>
                  <a:pt x="5377" y="7909"/>
                </a:cubicBezTo>
                <a:close/>
                <a:moveTo>
                  <a:pt x="5066" y="7917"/>
                </a:moveTo>
                <a:cubicBezTo>
                  <a:pt x="5078" y="7925"/>
                  <a:pt x="5090" y="7931"/>
                  <a:pt x="5102" y="7937"/>
                </a:cubicBezTo>
                <a:cubicBezTo>
                  <a:pt x="5126" y="7949"/>
                  <a:pt x="5150" y="7961"/>
                  <a:pt x="5170" y="7988"/>
                </a:cubicBezTo>
                <a:cubicBezTo>
                  <a:pt x="5173" y="7991"/>
                  <a:pt x="5176" y="7993"/>
                  <a:pt x="5179" y="7993"/>
                </a:cubicBezTo>
                <a:lnTo>
                  <a:pt x="5192" y="7993"/>
                </a:lnTo>
                <a:lnTo>
                  <a:pt x="5229" y="7993"/>
                </a:lnTo>
                <a:cubicBezTo>
                  <a:pt x="5251" y="8022"/>
                  <a:pt x="5276" y="8057"/>
                  <a:pt x="5276" y="8102"/>
                </a:cubicBezTo>
                <a:cubicBezTo>
                  <a:pt x="5276" y="8106"/>
                  <a:pt x="5276" y="8123"/>
                  <a:pt x="5270" y="8123"/>
                </a:cubicBezTo>
                <a:cubicBezTo>
                  <a:pt x="5252" y="8123"/>
                  <a:pt x="5230" y="8079"/>
                  <a:pt x="5223" y="8064"/>
                </a:cubicBezTo>
                <a:lnTo>
                  <a:pt x="5221" y="8060"/>
                </a:lnTo>
                <a:cubicBezTo>
                  <a:pt x="5217" y="8052"/>
                  <a:pt x="5212" y="8049"/>
                  <a:pt x="5206" y="8052"/>
                </a:cubicBezTo>
                <a:cubicBezTo>
                  <a:pt x="5201" y="8055"/>
                  <a:pt x="5197" y="8064"/>
                  <a:pt x="5196" y="8074"/>
                </a:cubicBezTo>
                <a:cubicBezTo>
                  <a:pt x="5195" y="8083"/>
                  <a:pt x="5193" y="8095"/>
                  <a:pt x="5192" y="8108"/>
                </a:cubicBezTo>
                <a:cubicBezTo>
                  <a:pt x="5175" y="8253"/>
                  <a:pt x="5164" y="8304"/>
                  <a:pt x="5156" y="8319"/>
                </a:cubicBezTo>
                <a:cubicBezTo>
                  <a:pt x="5148" y="8301"/>
                  <a:pt x="5146" y="8283"/>
                  <a:pt x="5142" y="8245"/>
                </a:cubicBezTo>
                <a:cubicBezTo>
                  <a:pt x="5141" y="8236"/>
                  <a:pt x="5139" y="8225"/>
                  <a:pt x="5138" y="8214"/>
                </a:cubicBezTo>
                <a:cubicBezTo>
                  <a:pt x="5137" y="8206"/>
                  <a:pt x="5134" y="8199"/>
                  <a:pt x="5131" y="8195"/>
                </a:cubicBezTo>
                <a:cubicBezTo>
                  <a:pt x="5127" y="8191"/>
                  <a:pt x="5123" y="8191"/>
                  <a:pt x="5119" y="8193"/>
                </a:cubicBezTo>
                <a:cubicBezTo>
                  <a:pt x="5113" y="8197"/>
                  <a:pt x="5108" y="8201"/>
                  <a:pt x="5105" y="8205"/>
                </a:cubicBezTo>
                <a:cubicBezTo>
                  <a:pt x="5105" y="8203"/>
                  <a:pt x="5106" y="8200"/>
                  <a:pt x="5106" y="8198"/>
                </a:cubicBezTo>
                <a:cubicBezTo>
                  <a:pt x="5113" y="8167"/>
                  <a:pt x="5119" y="8135"/>
                  <a:pt x="5119" y="8094"/>
                </a:cubicBezTo>
                <a:cubicBezTo>
                  <a:pt x="5119" y="8043"/>
                  <a:pt x="5082" y="7993"/>
                  <a:pt x="5050" y="7963"/>
                </a:cubicBezTo>
                <a:cubicBezTo>
                  <a:pt x="5052" y="7962"/>
                  <a:pt x="5054" y="7962"/>
                  <a:pt x="5056" y="7961"/>
                </a:cubicBezTo>
                <a:cubicBezTo>
                  <a:pt x="5062" y="7957"/>
                  <a:pt x="5066" y="7946"/>
                  <a:pt x="5066" y="7933"/>
                </a:cubicBezTo>
                <a:lnTo>
                  <a:pt x="5066" y="7917"/>
                </a:lnTo>
                <a:close/>
                <a:moveTo>
                  <a:pt x="19061" y="7926"/>
                </a:moveTo>
                <a:cubicBezTo>
                  <a:pt x="19028" y="7926"/>
                  <a:pt x="19005" y="8018"/>
                  <a:pt x="19001" y="8037"/>
                </a:cubicBezTo>
                <a:cubicBezTo>
                  <a:pt x="19000" y="8041"/>
                  <a:pt x="19000" y="8047"/>
                  <a:pt x="19000" y="8051"/>
                </a:cubicBezTo>
                <a:cubicBezTo>
                  <a:pt x="18999" y="8063"/>
                  <a:pt x="18998" y="8077"/>
                  <a:pt x="19003" y="8089"/>
                </a:cubicBezTo>
                <a:cubicBezTo>
                  <a:pt x="19006" y="8096"/>
                  <a:pt x="19010" y="8100"/>
                  <a:pt x="19015" y="8100"/>
                </a:cubicBezTo>
                <a:cubicBezTo>
                  <a:pt x="19020" y="8100"/>
                  <a:pt x="19022" y="8095"/>
                  <a:pt x="19026" y="8093"/>
                </a:cubicBezTo>
                <a:cubicBezTo>
                  <a:pt x="19033" y="8108"/>
                  <a:pt x="19041" y="8120"/>
                  <a:pt x="19052" y="8120"/>
                </a:cubicBezTo>
                <a:cubicBezTo>
                  <a:pt x="19071" y="8120"/>
                  <a:pt x="19086" y="8090"/>
                  <a:pt x="19086" y="8052"/>
                </a:cubicBezTo>
                <a:cubicBezTo>
                  <a:pt x="19086" y="8040"/>
                  <a:pt x="19082" y="8031"/>
                  <a:pt x="19080" y="8022"/>
                </a:cubicBezTo>
                <a:cubicBezTo>
                  <a:pt x="19084" y="8019"/>
                  <a:pt x="19087" y="8015"/>
                  <a:pt x="19093" y="8015"/>
                </a:cubicBezTo>
                <a:cubicBezTo>
                  <a:pt x="19101" y="8015"/>
                  <a:pt x="19108" y="8002"/>
                  <a:pt x="19108" y="7986"/>
                </a:cubicBezTo>
                <a:lnTo>
                  <a:pt x="19108" y="7955"/>
                </a:lnTo>
                <a:cubicBezTo>
                  <a:pt x="19108" y="7946"/>
                  <a:pt x="19106" y="7938"/>
                  <a:pt x="19103" y="7932"/>
                </a:cubicBezTo>
                <a:cubicBezTo>
                  <a:pt x="19099" y="7926"/>
                  <a:pt x="19094" y="7924"/>
                  <a:pt x="19089" y="7926"/>
                </a:cubicBezTo>
                <a:cubicBezTo>
                  <a:pt x="19086" y="7928"/>
                  <a:pt x="19081" y="7927"/>
                  <a:pt x="19075" y="7926"/>
                </a:cubicBezTo>
                <a:cubicBezTo>
                  <a:pt x="19071" y="7926"/>
                  <a:pt x="19066" y="7926"/>
                  <a:pt x="19061" y="7926"/>
                </a:cubicBezTo>
                <a:close/>
                <a:moveTo>
                  <a:pt x="18680" y="7931"/>
                </a:moveTo>
                <a:cubicBezTo>
                  <a:pt x="18673" y="7922"/>
                  <a:pt x="18664" y="7925"/>
                  <a:pt x="18659" y="7939"/>
                </a:cubicBezTo>
                <a:cubicBezTo>
                  <a:pt x="18659" y="7941"/>
                  <a:pt x="18658" y="7943"/>
                  <a:pt x="18657" y="7945"/>
                </a:cubicBezTo>
                <a:cubicBezTo>
                  <a:pt x="18652" y="7957"/>
                  <a:pt x="18644" y="7977"/>
                  <a:pt x="18644" y="8011"/>
                </a:cubicBezTo>
                <a:cubicBezTo>
                  <a:pt x="18644" y="8031"/>
                  <a:pt x="18650" y="8043"/>
                  <a:pt x="18653" y="8051"/>
                </a:cubicBezTo>
                <a:cubicBezTo>
                  <a:pt x="18654" y="8052"/>
                  <a:pt x="18654" y="8054"/>
                  <a:pt x="18655" y="8055"/>
                </a:cubicBezTo>
                <a:cubicBezTo>
                  <a:pt x="18654" y="8119"/>
                  <a:pt x="18638" y="8244"/>
                  <a:pt x="18619" y="8244"/>
                </a:cubicBezTo>
                <a:cubicBezTo>
                  <a:pt x="18616" y="8244"/>
                  <a:pt x="18613" y="8245"/>
                  <a:pt x="18611" y="8245"/>
                </a:cubicBezTo>
                <a:cubicBezTo>
                  <a:pt x="18607" y="8246"/>
                  <a:pt x="18602" y="8246"/>
                  <a:pt x="18602" y="8245"/>
                </a:cubicBezTo>
                <a:cubicBezTo>
                  <a:pt x="18601" y="8245"/>
                  <a:pt x="18601" y="8245"/>
                  <a:pt x="18600" y="8244"/>
                </a:cubicBezTo>
                <a:cubicBezTo>
                  <a:pt x="18599" y="8243"/>
                  <a:pt x="18598" y="8242"/>
                  <a:pt x="18597" y="8241"/>
                </a:cubicBezTo>
                <a:cubicBezTo>
                  <a:pt x="18593" y="8232"/>
                  <a:pt x="18586" y="8229"/>
                  <a:pt x="18581" y="8234"/>
                </a:cubicBezTo>
                <a:cubicBezTo>
                  <a:pt x="18575" y="8238"/>
                  <a:pt x="18572" y="8250"/>
                  <a:pt x="18572" y="8262"/>
                </a:cubicBezTo>
                <a:lnTo>
                  <a:pt x="18572" y="8289"/>
                </a:lnTo>
                <a:cubicBezTo>
                  <a:pt x="18570" y="8294"/>
                  <a:pt x="18565" y="8304"/>
                  <a:pt x="18561" y="8311"/>
                </a:cubicBezTo>
                <a:cubicBezTo>
                  <a:pt x="18556" y="8320"/>
                  <a:pt x="18551" y="8330"/>
                  <a:pt x="18546" y="8341"/>
                </a:cubicBezTo>
                <a:cubicBezTo>
                  <a:pt x="18546" y="8341"/>
                  <a:pt x="18546" y="8342"/>
                  <a:pt x="18546" y="8342"/>
                </a:cubicBezTo>
                <a:cubicBezTo>
                  <a:pt x="18546" y="8343"/>
                  <a:pt x="18546" y="8343"/>
                  <a:pt x="18545" y="8343"/>
                </a:cubicBezTo>
                <a:cubicBezTo>
                  <a:pt x="18545" y="8344"/>
                  <a:pt x="18545" y="8344"/>
                  <a:pt x="18545" y="8345"/>
                </a:cubicBezTo>
                <a:cubicBezTo>
                  <a:pt x="18545" y="8345"/>
                  <a:pt x="18544" y="8345"/>
                  <a:pt x="18544" y="8346"/>
                </a:cubicBezTo>
                <a:cubicBezTo>
                  <a:pt x="18537" y="8365"/>
                  <a:pt x="18534" y="8383"/>
                  <a:pt x="18534" y="8402"/>
                </a:cubicBezTo>
                <a:cubicBezTo>
                  <a:pt x="18534" y="8421"/>
                  <a:pt x="18539" y="8435"/>
                  <a:pt x="18543" y="8443"/>
                </a:cubicBezTo>
                <a:cubicBezTo>
                  <a:pt x="18543" y="8444"/>
                  <a:pt x="18544" y="8446"/>
                  <a:pt x="18544" y="8447"/>
                </a:cubicBezTo>
                <a:lnTo>
                  <a:pt x="18544" y="8542"/>
                </a:lnTo>
                <a:cubicBezTo>
                  <a:pt x="18544" y="8558"/>
                  <a:pt x="18551" y="8572"/>
                  <a:pt x="18559" y="8572"/>
                </a:cubicBezTo>
                <a:lnTo>
                  <a:pt x="18572" y="8572"/>
                </a:lnTo>
                <a:cubicBezTo>
                  <a:pt x="18575" y="8572"/>
                  <a:pt x="18579" y="8569"/>
                  <a:pt x="18582" y="8564"/>
                </a:cubicBezTo>
                <a:cubicBezTo>
                  <a:pt x="18583" y="8562"/>
                  <a:pt x="18584" y="8561"/>
                  <a:pt x="18585" y="8559"/>
                </a:cubicBezTo>
                <a:cubicBezTo>
                  <a:pt x="18592" y="8575"/>
                  <a:pt x="18602" y="8581"/>
                  <a:pt x="18613" y="8585"/>
                </a:cubicBezTo>
                <a:cubicBezTo>
                  <a:pt x="18613" y="8586"/>
                  <a:pt x="18613" y="8588"/>
                  <a:pt x="18612" y="8589"/>
                </a:cubicBezTo>
                <a:cubicBezTo>
                  <a:pt x="18607" y="8590"/>
                  <a:pt x="18602" y="8592"/>
                  <a:pt x="18597" y="8598"/>
                </a:cubicBezTo>
                <a:cubicBezTo>
                  <a:pt x="18596" y="8598"/>
                  <a:pt x="18596" y="8597"/>
                  <a:pt x="18596" y="8598"/>
                </a:cubicBezTo>
                <a:cubicBezTo>
                  <a:pt x="18596" y="8598"/>
                  <a:pt x="18596" y="8598"/>
                  <a:pt x="18595" y="8599"/>
                </a:cubicBezTo>
                <a:cubicBezTo>
                  <a:pt x="18595" y="8599"/>
                  <a:pt x="18595" y="8600"/>
                  <a:pt x="18595" y="8600"/>
                </a:cubicBezTo>
                <a:cubicBezTo>
                  <a:pt x="18595" y="8600"/>
                  <a:pt x="18594" y="8600"/>
                  <a:pt x="18594" y="8600"/>
                </a:cubicBezTo>
                <a:cubicBezTo>
                  <a:pt x="18593" y="8601"/>
                  <a:pt x="18592" y="8603"/>
                  <a:pt x="18592" y="8603"/>
                </a:cubicBezTo>
                <a:cubicBezTo>
                  <a:pt x="18566" y="8637"/>
                  <a:pt x="18550" y="8727"/>
                  <a:pt x="18550" y="8777"/>
                </a:cubicBezTo>
                <a:cubicBezTo>
                  <a:pt x="18550" y="8796"/>
                  <a:pt x="18553" y="8807"/>
                  <a:pt x="18555" y="8814"/>
                </a:cubicBezTo>
                <a:cubicBezTo>
                  <a:pt x="18557" y="8820"/>
                  <a:pt x="18558" y="8820"/>
                  <a:pt x="18558" y="8827"/>
                </a:cubicBezTo>
                <a:cubicBezTo>
                  <a:pt x="18558" y="8839"/>
                  <a:pt x="18555" y="8853"/>
                  <a:pt x="18554" y="8866"/>
                </a:cubicBezTo>
                <a:cubicBezTo>
                  <a:pt x="18553" y="8868"/>
                  <a:pt x="18552" y="8870"/>
                  <a:pt x="18552" y="8873"/>
                </a:cubicBezTo>
                <a:cubicBezTo>
                  <a:pt x="18552" y="8874"/>
                  <a:pt x="18553" y="8874"/>
                  <a:pt x="18553" y="8875"/>
                </a:cubicBezTo>
                <a:cubicBezTo>
                  <a:pt x="18552" y="8887"/>
                  <a:pt x="18552" y="8896"/>
                  <a:pt x="18550" y="8909"/>
                </a:cubicBezTo>
                <a:cubicBezTo>
                  <a:pt x="18549" y="8909"/>
                  <a:pt x="18550" y="8910"/>
                  <a:pt x="18550" y="8910"/>
                </a:cubicBezTo>
                <a:cubicBezTo>
                  <a:pt x="18541" y="8958"/>
                  <a:pt x="18526" y="9009"/>
                  <a:pt x="18506" y="9055"/>
                </a:cubicBezTo>
                <a:cubicBezTo>
                  <a:pt x="18487" y="9100"/>
                  <a:pt x="18466" y="9134"/>
                  <a:pt x="18451" y="9144"/>
                </a:cubicBezTo>
                <a:cubicBezTo>
                  <a:pt x="18444" y="9149"/>
                  <a:pt x="18439" y="9157"/>
                  <a:pt x="18434" y="9164"/>
                </a:cubicBezTo>
                <a:cubicBezTo>
                  <a:pt x="18424" y="9107"/>
                  <a:pt x="18398" y="9065"/>
                  <a:pt x="18366" y="9065"/>
                </a:cubicBezTo>
                <a:cubicBezTo>
                  <a:pt x="18325" y="9065"/>
                  <a:pt x="18292" y="9131"/>
                  <a:pt x="18292" y="9213"/>
                </a:cubicBezTo>
                <a:cubicBezTo>
                  <a:pt x="18292" y="9257"/>
                  <a:pt x="18302" y="9296"/>
                  <a:pt x="18317" y="9323"/>
                </a:cubicBezTo>
                <a:cubicBezTo>
                  <a:pt x="18309" y="9348"/>
                  <a:pt x="18301" y="9372"/>
                  <a:pt x="18291" y="9372"/>
                </a:cubicBezTo>
                <a:lnTo>
                  <a:pt x="18262" y="9372"/>
                </a:lnTo>
                <a:cubicBezTo>
                  <a:pt x="18258" y="9369"/>
                  <a:pt x="18256" y="9363"/>
                  <a:pt x="18252" y="9363"/>
                </a:cubicBezTo>
                <a:cubicBezTo>
                  <a:pt x="18248" y="9363"/>
                  <a:pt x="18245" y="9369"/>
                  <a:pt x="18242" y="9372"/>
                </a:cubicBezTo>
                <a:lnTo>
                  <a:pt x="18159" y="9372"/>
                </a:lnTo>
                <a:cubicBezTo>
                  <a:pt x="18117" y="9372"/>
                  <a:pt x="18093" y="9422"/>
                  <a:pt x="18070" y="9472"/>
                </a:cubicBezTo>
                <a:cubicBezTo>
                  <a:pt x="18059" y="9497"/>
                  <a:pt x="18047" y="9523"/>
                  <a:pt x="18034" y="9541"/>
                </a:cubicBezTo>
                <a:cubicBezTo>
                  <a:pt x="18032" y="9543"/>
                  <a:pt x="18029" y="9545"/>
                  <a:pt x="18026" y="9548"/>
                </a:cubicBezTo>
                <a:cubicBezTo>
                  <a:pt x="18013" y="9557"/>
                  <a:pt x="17998" y="9568"/>
                  <a:pt x="17998" y="9598"/>
                </a:cubicBezTo>
                <a:cubicBezTo>
                  <a:pt x="17998" y="9606"/>
                  <a:pt x="17999" y="9613"/>
                  <a:pt x="18001" y="9619"/>
                </a:cubicBezTo>
                <a:cubicBezTo>
                  <a:pt x="18000" y="9619"/>
                  <a:pt x="18000" y="9619"/>
                  <a:pt x="18000" y="9619"/>
                </a:cubicBezTo>
                <a:cubicBezTo>
                  <a:pt x="17988" y="9619"/>
                  <a:pt x="17920" y="9707"/>
                  <a:pt x="17920" y="9755"/>
                </a:cubicBezTo>
                <a:cubicBezTo>
                  <a:pt x="17920" y="9773"/>
                  <a:pt x="17924" y="9792"/>
                  <a:pt x="17931" y="9806"/>
                </a:cubicBezTo>
                <a:cubicBezTo>
                  <a:pt x="17913" y="9834"/>
                  <a:pt x="17901" y="9874"/>
                  <a:pt x="17901" y="9922"/>
                </a:cubicBezTo>
                <a:cubicBezTo>
                  <a:pt x="17901" y="10004"/>
                  <a:pt x="17934" y="10070"/>
                  <a:pt x="17975" y="10070"/>
                </a:cubicBezTo>
                <a:cubicBezTo>
                  <a:pt x="17997" y="10070"/>
                  <a:pt x="18016" y="10050"/>
                  <a:pt x="18030" y="10020"/>
                </a:cubicBezTo>
                <a:cubicBezTo>
                  <a:pt x="18051" y="9982"/>
                  <a:pt x="18063" y="9900"/>
                  <a:pt x="18070" y="9834"/>
                </a:cubicBezTo>
                <a:cubicBezTo>
                  <a:pt x="18071" y="9834"/>
                  <a:pt x="18072" y="9833"/>
                  <a:pt x="18073" y="9832"/>
                </a:cubicBezTo>
                <a:cubicBezTo>
                  <a:pt x="18074" y="9832"/>
                  <a:pt x="18076" y="9831"/>
                  <a:pt x="18077" y="9831"/>
                </a:cubicBezTo>
                <a:cubicBezTo>
                  <a:pt x="18082" y="9831"/>
                  <a:pt x="18088" y="9826"/>
                  <a:pt x="18090" y="9817"/>
                </a:cubicBezTo>
                <a:cubicBezTo>
                  <a:pt x="18093" y="9807"/>
                  <a:pt x="18092" y="9797"/>
                  <a:pt x="18090" y="9788"/>
                </a:cubicBezTo>
                <a:cubicBezTo>
                  <a:pt x="18089" y="9786"/>
                  <a:pt x="18090" y="9781"/>
                  <a:pt x="18090" y="9777"/>
                </a:cubicBezTo>
                <a:cubicBezTo>
                  <a:pt x="18091" y="9771"/>
                  <a:pt x="18091" y="9765"/>
                  <a:pt x="18091" y="9759"/>
                </a:cubicBezTo>
                <a:cubicBezTo>
                  <a:pt x="18091" y="9750"/>
                  <a:pt x="18090" y="9742"/>
                  <a:pt x="18087" y="9737"/>
                </a:cubicBezTo>
                <a:lnTo>
                  <a:pt x="18069" y="9705"/>
                </a:lnTo>
                <a:cubicBezTo>
                  <a:pt x="18069" y="9703"/>
                  <a:pt x="18070" y="9700"/>
                  <a:pt x="18070" y="9698"/>
                </a:cubicBezTo>
                <a:cubicBezTo>
                  <a:pt x="18070" y="9692"/>
                  <a:pt x="18070" y="9686"/>
                  <a:pt x="18070" y="9682"/>
                </a:cubicBezTo>
                <a:cubicBezTo>
                  <a:pt x="18070" y="9665"/>
                  <a:pt x="18063" y="9653"/>
                  <a:pt x="18055" y="9653"/>
                </a:cubicBezTo>
                <a:cubicBezTo>
                  <a:pt x="18048" y="9653"/>
                  <a:pt x="18043" y="9648"/>
                  <a:pt x="18037" y="9643"/>
                </a:cubicBezTo>
                <a:cubicBezTo>
                  <a:pt x="18039" y="9643"/>
                  <a:pt x="18041" y="9643"/>
                  <a:pt x="18042" y="9643"/>
                </a:cubicBezTo>
                <a:cubicBezTo>
                  <a:pt x="18069" y="9643"/>
                  <a:pt x="18094" y="9633"/>
                  <a:pt x="18115" y="9619"/>
                </a:cubicBezTo>
                <a:cubicBezTo>
                  <a:pt x="18108" y="9630"/>
                  <a:pt x="18099" y="9642"/>
                  <a:pt x="18091" y="9654"/>
                </a:cubicBezTo>
                <a:cubicBezTo>
                  <a:pt x="18087" y="9659"/>
                  <a:pt x="18085" y="9669"/>
                  <a:pt x="18085" y="9678"/>
                </a:cubicBezTo>
                <a:cubicBezTo>
                  <a:pt x="18085" y="9708"/>
                  <a:pt x="18092" y="9724"/>
                  <a:pt x="18101" y="9739"/>
                </a:cubicBezTo>
                <a:cubicBezTo>
                  <a:pt x="18101" y="9760"/>
                  <a:pt x="18105" y="9784"/>
                  <a:pt x="18111" y="9799"/>
                </a:cubicBezTo>
                <a:cubicBezTo>
                  <a:pt x="18116" y="9812"/>
                  <a:pt x="18123" y="9818"/>
                  <a:pt x="18130" y="9818"/>
                </a:cubicBezTo>
                <a:cubicBezTo>
                  <a:pt x="18156" y="9818"/>
                  <a:pt x="18168" y="9777"/>
                  <a:pt x="18177" y="9744"/>
                </a:cubicBezTo>
                <a:cubicBezTo>
                  <a:pt x="18179" y="9736"/>
                  <a:pt x="18182" y="9729"/>
                  <a:pt x="18184" y="9723"/>
                </a:cubicBezTo>
                <a:cubicBezTo>
                  <a:pt x="18190" y="9732"/>
                  <a:pt x="18200" y="9742"/>
                  <a:pt x="18212" y="9742"/>
                </a:cubicBezTo>
                <a:cubicBezTo>
                  <a:pt x="18237" y="9742"/>
                  <a:pt x="18254" y="9668"/>
                  <a:pt x="18254" y="9619"/>
                </a:cubicBezTo>
                <a:cubicBezTo>
                  <a:pt x="18254" y="9596"/>
                  <a:pt x="18250" y="9575"/>
                  <a:pt x="18244" y="9560"/>
                </a:cubicBezTo>
                <a:cubicBezTo>
                  <a:pt x="18241" y="9553"/>
                  <a:pt x="18235" y="9545"/>
                  <a:pt x="18228" y="9539"/>
                </a:cubicBezTo>
                <a:cubicBezTo>
                  <a:pt x="18237" y="9542"/>
                  <a:pt x="18244" y="9547"/>
                  <a:pt x="18253" y="9555"/>
                </a:cubicBezTo>
                <a:cubicBezTo>
                  <a:pt x="18257" y="9559"/>
                  <a:pt x="18262" y="9564"/>
                  <a:pt x="18267" y="9567"/>
                </a:cubicBezTo>
                <a:cubicBezTo>
                  <a:pt x="18265" y="9583"/>
                  <a:pt x="18263" y="9600"/>
                  <a:pt x="18263" y="9618"/>
                </a:cubicBezTo>
                <a:cubicBezTo>
                  <a:pt x="18263" y="9620"/>
                  <a:pt x="18263" y="9622"/>
                  <a:pt x="18262" y="9625"/>
                </a:cubicBezTo>
                <a:cubicBezTo>
                  <a:pt x="18261" y="9636"/>
                  <a:pt x="18258" y="9654"/>
                  <a:pt x="18264" y="9669"/>
                </a:cubicBezTo>
                <a:cubicBezTo>
                  <a:pt x="18267" y="9677"/>
                  <a:pt x="18271" y="9680"/>
                  <a:pt x="18276" y="9681"/>
                </a:cubicBezTo>
                <a:cubicBezTo>
                  <a:pt x="18276" y="9685"/>
                  <a:pt x="18273" y="9688"/>
                  <a:pt x="18273" y="9693"/>
                </a:cubicBezTo>
                <a:cubicBezTo>
                  <a:pt x="18273" y="9731"/>
                  <a:pt x="18289" y="9761"/>
                  <a:pt x="18308" y="9761"/>
                </a:cubicBezTo>
                <a:cubicBezTo>
                  <a:pt x="18326" y="9761"/>
                  <a:pt x="18341" y="9731"/>
                  <a:pt x="18341" y="9693"/>
                </a:cubicBezTo>
                <a:cubicBezTo>
                  <a:pt x="18341" y="9684"/>
                  <a:pt x="18338" y="9678"/>
                  <a:pt x="18337" y="9670"/>
                </a:cubicBezTo>
                <a:cubicBezTo>
                  <a:pt x="18345" y="9647"/>
                  <a:pt x="18355" y="9616"/>
                  <a:pt x="18359" y="9614"/>
                </a:cubicBezTo>
                <a:cubicBezTo>
                  <a:pt x="18366" y="9614"/>
                  <a:pt x="18376" y="9614"/>
                  <a:pt x="18384" y="9608"/>
                </a:cubicBezTo>
                <a:cubicBezTo>
                  <a:pt x="18391" y="9604"/>
                  <a:pt x="18396" y="9590"/>
                  <a:pt x="18395" y="9576"/>
                </a:cubicBezTo>
                <a:cubicBezTo>
                  <a:pt x="18394" y="9567"/>
                  <a:pt x="18391" y="9560"/>
                  <a:pt x="18388" y="9556"/>
                </a:cubicBezTo>
                <a:cubicBezTo>
                  <a:pt x="18385" y="9550"/>
                  <a:pt x="18380" y="9534"/>
                  <a:pt x="18377" y="9522"/>
                </a:cubicBezTo>
                <a:cubicBezTo>
                  <a:pt x="18385" y="9544"/>
                  <a:pt x="18399" y="9580"/>
                  <a:pt x="18433" y="9580"/>
                </a:cubicBezTo>
                <a:cubicBezTo>
                  <a:pt x="18453" y="9580"/>
                  <a:pt x="18468" y="9555"/>
                  <a:pt x="18481" y="9529"/>
                </a:cubicBezTo>
                <a:lnTo>
                  <a:pt x="18488" y="9529"/>
                </a:lnTo>
                <a:cubicBezTo>
                  <a:pt x="18493" y="9541"/>
                  <a:pt x="18500" y="9550"/>
                  <a:pt x="18507" y="9550"/>
                </a:cubicBezTo>
                <a:cubicBezTo>
                  <a:pt x="18514" y="9550"/>
                  <a:pt x="18520" y="9542"/>
                  <a:pt x="18522" y="9529"/>
                </a:cubicBezTo>
                <a:cubicBezTo>
                  <a:pt x="18526" y="9501"/>
                  <a:pt x="18532" y="9491"/>
                  <a:pt x="18544" y="9477"/>
                </a:cubicBezTo>
                <a:cubicBezTo>
                  <a:pt x="18545" y="9484"/>
                  <a:pt x="18547" y="9491"/>
                  <a:pt x="18549" y="9500"/>
                </a:cubicBezTo>
                <a:cubicBezTo>
                  <a:pt x="18552" y="9513"/>
                  <a:pt x="18560" y="9520"/>
                  <a:pt x="18567" y="9515"/>
                </a:cubicBezTo>
                <a:cubicBezTo>
                  <a:pt x="18584" y="9504"/>
                  <a:pt x="18593" y="9482"/>
                  <a:pt x="18600" y="9464"/>
                </a:cubicBezTo>
                <a:cubicBezTo>
                  <a:pt x="18606" y="9450"/>
                  <a:pt x="18611" y="9437"/>
                  <a:pt x="18620" y="9428"/>
                </a:cubicBezTo>
                <a:cubicBezTo>
                  <a:pt x="18627" y="9421"/>
                  <a:pt x="18630" y="9406"/>
                  <a:pt x="18627" y="9391"/>
                </a:cubicBezTo>
                <a:cubicBezTo>
                  <a:pt x="18626" y="9384"/>
                  <a:pt x="18625" y="9378"/>
                  <a:pt x="18623" y="9372"/>
                </a:cubicBezTo>
                <a:cubicBezTo>
                  <a:pt x="18620" y="9356"/>
                  <a:pt x="18618" y="9343"/>
                  <a:pt x="18618" y="9320"/>
                </a:cubicBezTo>
                <a:cubicBezTo>
                  <a:pt x="18618" y="9300"/>
                  <a:pt x="18622" y="9284"/>
                  <a:pt x="18628" y="9267"/>
                </a:cubicBezTo>
                <a:cubicBezTo>
                  <a:pt x="18634" y="9249"/>
                  <a:pt x="18641" y="9228"/>
                  <a:pt x="18641" y="9201"/>
                </a:cubicBezTo>
                <a:cubicBezTo>
                  <a:pt x="18641" y="9193"/>
                  <a:pt x="18640" y="9183"/>
                  <a:pt x="18640" y="9171"/>
                </a:cubicBezTo>
                <a:cubicBezTo>
                  <a:pt x="18640" y="9156"/>
                  <a:pt x="18640" y="9140"/>
                  <a:pt x="18640" y="9122"/>
                </a:cubicBezTo>
                <a:cubicBezTo>
                  <a:pt x="18640" y="9090"/>
                  <a:pt x="18641" y="9065"/>
                  <a:pt x="18644" y="9050"/>
                </a:cubicBezTo>
                <a:cubicBezTo>
                  <a:pt x="18645" y="9043"/>
                  <a:pt x="18645" y="9040"/>
                  <a:pt x="18645" y="9039"/>
                </a:cubicBezTo>
                <a:cubicBezTo>
                  <a:pt x="18646" y="9039"/>
                  <a:pt x="18646" y="9040"/>
                  <a:pt x="18646" y="9039"/>
                </a:cubicBezTo>
                <a:cubicBezTo>
                  <a:pt x="18647" y="9039"/>
                  <a:pt x="18648" y="9039"/>
                  <a:pt x="18648" y="9039"/>
                </a:cubicBezTo>
                <a:cubicBezTo>
                  <a:pt x="18648" y="9039"/>
                  <a:pt x="18649" y="9039"/>
                  <a:pt x="18650" y="9039"/>
                </a:cubicBezTo>
                <a:cubicBezTo>
                  <a:pt x="18650" y="9039"/>
                  <a:pt x="18651" y="9038"/>
                  <a:pt x="18652" y="9038"/>
                </a:cubicBezTo>
                <a:cubicBezTo>
                  <a:pt x="18652" y="9038"/>
                  <a:pt x="18653" y="9038"/>
                  <a:pt x="18654" y="9038"/>
                </a:cubicBezTo>
                <a:cubicBezTo>
                  <a:pt x="18654" y="9038"/>
                  <a:pt x="18654" y="9038"/>
                  <a:pt x="18655" y="9038"/>
                </a:cubicBezTo>
                <a:cubicBezTo>
                  <a:pt x="18661" y="9037"/>
                  <a:pt x="18666" y="9031"/>
                  <a:pt x="18670" y="9023"/>
                </a:cubicBezTo>
                <a:cubicBezTo>
                  <a:pt x="18673" y="9017"/>
                  <a:pt x="18675" y="9010"/>
                  <a:pt x="18675" y="9002"/>
                </a:cubicBezTo>
                <a:lnTo>
                  <a:pt x="18675" y="8976"/>
                </a:lnTo>
                <a:cubicBezTo>
                  <a:pt x="18675" y="8962"/>
                  <a:pt x="18678" y="8953"/>
                  <a:pt x="18685" y="8937"/>
                </a:cubicBezTo>
                <a:cubicBezTo>
                  <a:pt x="18693" y="8917"/>
                  <a:pt x="18704" y="8891"/>
                  <a:pt x="18704" y="8845"/>
                </a:cubicBezTo>
                <a:cubicBezTo>
                  <a:pt x="18704" y="8806"/>
                  <a:pt x="18695" y="8778"/>
                  <a:pt x="18687" y="8754"/>
                </a:cubicBezTo>
                <a:cubicBezTo>
                  <a:pt x="18681" y="8734"/>
                  <a:pt x="18675" y="8716"/>
                  <a:pt x="18675" y="8695"/>
                </a:cubicBezTo>
                <a:cubicBezTo>
                  <a:pt x="18675" y="8690"/>
                  <a:pt x="18675" y="8686"/>
                  <a:pt x="18675" y="8680"/>
                </a:cubicBezTo>
                <a:cubicBezTo>
                  <a:pt x="18675" y="8655"/>
                  <a:pt x="18676" y="8629"/>
                  <a:pt x="18670" y="8601"/>
                </a:cubicBezTo>
                <a:cubicBezTo>
                  <a:pt x="18668" y="8590"/>
                  <a:pt x="18660" y="8577"/>
                  <a:pt x="18647" y="8568"/>
                </a:cubicBezTo>
                <a:cubicBezTo>
                  <a:pt x="18660" y="8551"/>
                  <a:pt x="18669" y="8526"/>
                  <a:pt x="18669" y="8493"/>
                </a:cubicBezTo>
                <a:cubicBezTo>
                  <a:pt x="18669" y="8459"/>
                  <a:pt x="18660" y="8435"/>
                  <a:pt x="18647" y="8417"/>
                </a:cubicBezTo>
                <a:cubicBezTo>
                  <a:pt x="18654" y="8415"/>
                  <a:pt x="18661" y="8408"/>
                  <a:pt x="18661" y="8392"/>
                </a:cubicBezTo>
                <a:cubicBezTo>
                  <a:pt x="18661" y="8392"/>
                  <a:pt x="18661" y="8392"/>
                  <a:pt x="18661" y="8391"/>
                </a:cubicBezTo>
                <a:cubicBezTo>
                  <a:pt x="18677" y="8410"/>
                  <a:pt x="18690" y="8422"/>
                  <a:pt x="18702" y="8434"/>
                </a:cubicBezTo>
                <a:cubicBezTo>
                  <a:pt x="18716" y="8447"/>
                  <a:pt x="18728" y="8459"/>
                  <a:pt x="18744" y="8479"/>
                </a:cubicBezTo>
                <a:cubicBezTo>
                  <a:pt x="18751" y="8487"/>
                  <a:pt x="18760" y="8483"/>
                  <a:pt x="18764" y="8469"/>
                </a:cubicBezTo>
                <a:cubicBezTo>
                  <a:pt x="18768" y="8458"/>
                  <a:pt x="18772" y="8445"/>
                  <a:pt x="18776" y="8431"/>
                </a:cubicBezTo>
                <a:cubicBezTo>
                  <a:pt x="18791" y="8374"/>
                  <a:pt x="18804" y="8334"/>
                  <a:pt x="18829" y="8334"/>
                </a:cubicBezTo>
                <a:cubicBezTo>
                  <a:pt x="18864" y="8334"/>
                  <a:pt x="18881" y="8319"/>
                  <a:pt x="18902" y="8291"/>
                </a:cubicBezTo>
                <a:cubicBezTo>
                  <a:pt x="18907" y="8284"/>
                  <a:pt x="18910" y="8272"/>
                  <a:pt x="18909" y="8261"/>
                </a:cubicBezTo>
                <a:cubicBezTo>
                  <a:pt x="18908" y="8249"/>
                  <a:pt x="18904" y="8239"/>
                  <a:pt x="18898" y="8236"/>
                </a:cubicBezTo>
                <a:cubicBezTo>
                  <a:pt x="18897" y="8236"/>
                  <a:pt x="18897" y="8236"/>
                  <a:pt x="18896" y="8235"/>
                </a:cubicBezTo>
                <a:cubicBezTo>
                  <a:pt x="18911" y="8231"/>
                  <a:pt x="18927" y="8208"/>
                  <a:pt x="18946" y="8163"/>
                </a:cubicBezTo>
                <a:cubicBezTo>
                  <a:pt x="18946" y="8162"/>
                  <a:pt x="18947" y="8162"/>
                  <a:pt x="18947" y="8162"/>
                </a:cubicBezTo>
                <a:cubicBezTo>
                  <a:pt x="18951" y="8150"/>
                  <a:pt x="18955" y="8140"/>
                  <a:pt x="18958" y="8132"/>
                </a:cubicBezTo>
                <a:cubicBezTo>
                  <a:pt x="18961" y="8121"/>
                  <a:pt x="18960" y="8105"/>
                  <a:pt x="18955" y="8095"/>
                </a:cubicBezTo>
                <a:cubicBezTo>
                  <a:pt x="18953" y="8086"/>
                  <a:pt x="18950" y="8078"/>
                  <a:pt x="18945" y="8075"/>
                </a:cubicBezTo>
                <a:lnTo>
                  <a:pt x="18939" y="8072"/>
                </a:lnTo>
                <a:cubicBezTo>
                  <a:pt x="18932" y="8068"/>
                  <a:pt x="18926" y="8073"/>
                  <a:pt x="18922" y="8083"/>
                </a:cubicBezTo>
                <a:cubicBezTo>
                  <a:pt x="18909" y="8094"/>
                  <a:pt x="18896" y="8114"/>
                  <a:pt x="18887" y="8132"/>
                </a:cubicBezTo>
                <a:cubicBezTo>
                  <a:pt x="18876" y="8121"/>
                  <a:pt x="18863" y="8124"/>
                  <a:pt x="18851" y="8131"/>
                </a:cubicBezTo>
                <a:cubicBezTo>
                  <a:pt x="18846" y="8134"/>
                  <a:pt x="18841" y="8138"/>
                  <a:pt x="18837" y="8138"/>
                </a:cubicBezTo>
                <a:cubicBezTo>
                  <a:pt x="18788" y="8138"/>
                  <a:pt x="18762" y="8085"/>
                  <a:pt x="18732" y="8023"/>
                </a:cubicBezTo>
                <a:cubicBezTo>
                  <a:pt x="18716" y="7991"/>
                  <a:pt x="18700" y="7958"/>
                  <a:pt x="18680" y="7931"/>
                </a:cubicBezTo>
                <a:close/>
                <a:moveTo>
                  <a:pt x="17684" y="7942"/>
                </a:moveTo>
                <a:cubicBezTo>
                  <a:pt x="17697" y="7966"/>
                  <a:pt x="17714" y="7981"/>
                  <a:pt x="17733" y="7981"/>
                </a:cubicBezTo>
                <a:cubicBezTo>
                  <a:pt x="17746" y="7981"/>
                  <a:pt x="17757" y="7973"/>
                  <a:pt x="17767" y="7962"/>
                </a:cubicBezTo>
                <a:lnTo>
                  <a:pt x="18083" y="8348"/>
                </a:lnTo>
                <a:cubicBezTo>
                  <a:pt x="18056" y="8339"/>
                  <a:pt x="18033" y="8328"/>
                  <a:pt x="18024" y="8324"/>
                </a:cubicBezTo>
                <a:cubicBezTo>
                  <a:pt x="18023" y="8323"/>
                  <a:pt x="18022" y="8323"/>
                  <a:pt x="18022" y="8322"/>
                </a:cubicBezTo>
                <a:cubicBezTo>
                  <a:pt x="18017" y="8321"/>
                  <a:pt x="18013" y="8324"/>
                  <a:pt x="18010" y="8329"/>
                </a:cubicBezTo>
                <a:cubicBezTo>
                  <a:pt x="17958" y="8413"/>
                  <a:pt x="17939" y="8485"/>
                  <a:pt x="17910" y="8603"/>
                </a:cubicBezTo>
                <a:cubicBezTo>
                  <a:pt x="17909" y="8607"/>
                  <a:pt x="17904" y="8614"/>
                  <a:pt x="17902" y="8619"/>
                </a:cubicBezTo>
                <a:cubicBezTo>
                  <a:pt x="17896" y="8577"/>
                  <a:pt x="17880" y="8543"/>
                  <a:pt x="17858" y="8543"/>
                </a:cubicBezTo>
                <a:cubicBezTo>
                  <a:pt x="17830" y="8543"/>
                  <a:pt x="17808" y="8587"/>
                  <a:pt x="17808" y="8642"/>
                </a:cubicBezTo>
                <a:cubicBezTo>
                  <a:pt x="17808" y="8681"/>
                  <a:pt x="17821" y="8708"/>
                  <a:pt x="17838" y="8723"/>
                </a:cubicBezTo>
                <a:cubicBezTo>
                  <a:pt x="17825" y="8743"/>
                  <a:pt x="17812" y="8756"/>
                  <a:pt x="17799" y="8756"/>
                </a:cubicBezTo>
                <a:cubicBezTo>
                  <a:pt x="17792" y="8756"/>
                  <a:pt x="17785" y="8768"/>
                  <a:pt x="17784" y="8783"/>
                </a:cubicBezTo>
                <a:cubicBezTo>
                  <a:pt x="17780" y="8849"/>
                  <a:pt x="17795" y="8889"/>
                  <a:pt x="17810" y="8923"/>
                </a:cubicBezTo>
                <a:cubicBezTo>
                  <a:pt x="17797" y="8950"/>
                  <a:pt x="17789" y="8986"/>
                  <a:pt x="17789" y="9027"/>
                </a:cubicBezTo>
                <a:cubicBezTo>
                  <a:pt x="17789" y="9108"/>
                  <a:pt x="17823" y="9175"/>
                  <a:pt x="17863" y="9175"/>
                </a:cubicBezTo>
                <a:cubicBezTo>
                  <a:pt x="17872" y="9175"/>
                  <a:pt x="17880" y="9170"/>
                  <a:pt x="17888" y="9164"/>
                </a:cubicBezTo>
                <a:cubicBezTo>
                  <a:pt x="17890" y="9179"/>
                  <a:pt x="17894" y="9190"/>
                  <a:pt x="17895" y="9206"/>
                </a:cubicBezTo>
                <a:lnTo>
                  <a:pt x="17750" y="9249"/>
                </a:lnTo>
                <a:cubicBezTo>
                  <a:pt x="17749" y="9248"/>
                  <a:pt x="17747" y="9247"/>
                  <a:pt x="17746" y="9247"/>
                </a:cubicBezTo>
                <a:cubicBezTo>
                  <a:pt x="17743" y="9239"/>
                  <a:pt x="17740" y="9236"/>
                  <a:pt x="17735" y="9231"/>
                </a:cubicBezTo>
                <a:lnTo>
                  <a:pt x="17735" y="9228"/>
                </a:lnTo>
                <a:cubicBezTo>
                  <a:pt x="17755" y="9217"/>
                  <a:pt x="17769" y="9183"/>
                  <a:pt x="17769" y="9147"/>
                </a:cubicBezTo>
                <a:cubicBezTo>
                  <a:pt x="17769" y="9124"/>
                  <a:pt x="17765" y="9106"/>
                  <a:pt x="17758" y="9090"/>
                </a:cubicBezTo>
                <a:cubicBezTo>
                  <a:pt x="17761" y="9080"/>
                  <a:pt x="17764" y="9071"/>
                  <a:pt x="17764" y="9059"/>
                </a:cubicBezTo>
                <a:cubicBezTo>
                  <a:pt x="17764" y="9021"/>
                  <a:pt x="17750" y="8990"/>
                  <a:pt x="17731" y="8990"/>
                </a:cubicBezTo>
                <a:cubicBezTo>
                  <a:pt x="17717" y="8990"/>
                  <a:pt x="17706" y="9010"/>
                  <a:pt x="17701" y="9035"/>
                </a:cubicBezTo>
                <a:cubicBezTo>
                  <a:pt x="17700" y="9035"/>
                  <a:pt x="17698" y="9032"/>
                  <a:pt x="17697" y="9032"/>
                </a:cubicBezTo>
                <a:cubicBezTo>
                  <a:pt x="17684" y="9032"/>
                  <a:pt x="17675" y="9043"/>
                  <a:pt x="17669" y="9050"/>
                </a:cubicBezTo>
                <a:cubicBezTo>
                  <a:pt x="17669" y="9050"/>
                  <a:pt x="17668" y="9052"/>
                  <a:pt x="17667" y="9052"/>
                </a:cubicBezTo>
                <a:cubicBezTo>
                  <a:pt x="17665" y="9045"/>
                  <a:pt x="17661" y="9025"/>
                  <a:pt x="17661" y="9011"/>
                </a:cubicBezTo>
                <a:cubicBezTo>
                  <a:pt x="17661" y="8998"/>
                  <a:pt x="17664" y="8994"/>
                  <a:pt x="17669" y="8985"/>
                </a:cubicBezTo>
                <a:cubicBezTo>
                  <a:pt x="17675" y="8973"/>
                  <a:pt x="17685" y="8955"/>
                  <a:pt x="17685" y="8922"/>
                </a:cubicBezTo>
                <a:cubicBezTo>
                  <a:pt x="17685" y="8898"/>
                  <a:pt x="17683" y="8884"/>
                  <a:pt x="17681" y="8873"/>
                </a:cubicBezTo>
                <a:cubicBezTo>
                  <a:pt x="17680" y="8860"/>
                  <a:pt x="17679" y="8857"/>
                  <a:pt x="17683" y="8841"/>
                </a:cubicBezTo>
                <a:cubicBezTo>
                  <a:pt x="17685" y="8832"/>
                  <a:pt x="17685" y="8821"/>
                  <a:pt x="17682" y="8812"/>
                </a:cubicBezTo>
                <a:cubicBezTo>
                  <a:pt x="17680" y="8803"/>
                  <a:pt x="17675" y="8798"/>
                  <a:pt x="17670" y="8798"/>
                </a:cubicBezTo>
                <a:cubicBezTo>
                  <a:pt x="17658" y="8798"/>
                  <a:pt x="17651" y="8789"/>
                  <a:pt x="17642" y="8779"/>
                </a:cubicBezTo>
                <a:cubicBezTo>
                  <a:pt x="17652" y="8755"/>
                  <a:pt x="17658" y="8724"/>
                  <a:pt x="17658" y="8691"/>
                </a:cubicBezTo>
                <a:cubicBezTo>
                  <a:pt x="17658" y="8652"/>
                  <a:pt x="17650" y="8618"/>
                  <a:pt x="17638" y="8592"/>
                </a:cubicBezTo>
                <a:lnTo>
                  <a:pt x="17651" y="8419"/>
                </a:lnTo>
                <a:lnTo>
                  <a:pt x="17684" y="7942"/>
                </a:lnTo>
                <a:close/>
                <a:moveTo>
                  <a:pt x="12394" y="7949"/>
                </a:moveTo>
                <a:cubicBezTo>
                  <a:pt x="12395" y="8029"/>
                  <a:pt x="12427" y="8093"/>
                  <a:pt x="12467" y="8093"/>
                </a:cubicBezTo>
                <a:cubicBezTo>
                  <a:pt x="12501" y="8093"/>
                  <a:pt x="12528" y="8047"/>
                  <a:pt x="12537" y="7986"/>
                </a:cubicBezTo>
                <a:lnTo>
                  <a:pt x="12584" y="8156"/>
                </a:lnTo>
                <a:cubicBezTo>
                  <a:pt x="12583" y="8158"/>
                  <a:pt x="12582" y="8160"/>
                  <a:pt x="12580" y="8163"/>
                </a:cubicBezTo>
                <a:cubicBezTo>
                  <a:pt x="12580" y="8163"/>
                  <a:pt x="12580" y="8164"/>
                  <a:pt x="12579" y="8165"/>
                </a:cubicBezTo>
                <a:cubicBezTo>
                  <a:pt x="12578" y="8168"/>
                  <a:pt x="12577" y="8170"/>
                  <a:pt x="12575" y="8173"/>
                </a:cubicBezTo>
                <a:cubicBezTo>
                  <a:pt x="12575" y="8174"/>
                  <a:pt x="12574" y="8176"/>
                  <a:pt x="12573" y="8177"/>
                </a:cubicBezTo>
                <a:cubicBezTo>
                  <a:pt x="12571" y="8181"/>
                  <a:pt x="12569" y="8186"/>
                  <a:pt x="12566" y="8192"/>
                </a:cubicBezTo>
                <a:cubicBezTo>
                  <a:pt x="12566" y="8192"/>
                  <a:pt x="12566" y="8193"/>
                  <a:pt x="12565" y="8193"/>
                </a:cubicBezTo>
                <a:cubicBezTo>
                  <a:pt x="12563" y="8198"/>
                  <a:pt x="12559" y="8204"/>
                  <a:pt x="12556" y="8211"/>
                </a:cubicBezTo>
                <a:cubicBezTo>
                  <a:pt x="12555" y="8212"/>
                  <a:pt x="12555" y="8213"/>
                  <a:pt x="12554" y="8214"/>
                </a:cubicBezTo>
                <a:cubicBezTo>
                  <a:pt x="12550" y="8221"/>
                  <a:pt x="12546" y="8229"/>
                  <a:pt x="12541" y="8239"/>
                </a:cubicBezTo>
                <a:cubicBezTo>
                  <a:pt x="12541" y="8239"/>
                  <a:pt x="12541" y="8239"/>
                  <a:pt x="12541" y="8240"/>
                </a:cubicBezTo>
                <a:cubicBezTo>
                  <a:pt x="12538" y="8245"/>
                  <a:pt x="12535" y="8249"/>
                  <a:pt x="12532" y="8255"/>
                </a:cubicBezTo>
                <a:cubicBezTo>
                  <a:pt x="12511" y="8230"/>
                  <a:pt x="12487" y="8210"/>
                  <a:pt x="12464" y="8190"/>
                </a:cubicBezTo>
                <a:cubicBezTo>
                  <a:pt x="12412" y="8142"/>
                  <a:pt x="12362" y="8097"/>
                  <a:pt x="12337" y="8018"/>
                </a:cubicBezTo>
                <a:cubicBezTo>
                  <a:pt x="12364" y="8000"/>
                  <a:pt x="12382" y="7977"/>
                  <a:pt x="12394" y="7949"/>
                </a:cubicBezTo>
                <a:close/>
                <a:moveTo>
                  <a:pt x="12085" y="7951"/>
                </a:moveTo>
                <a:cubicBezTo>
                  <a:pt x="12085" y="7951"/>
                  <a:pt x="12114" y="7956"/>
                  <a:pt x="12114" y="7956"/>
                </a:cubicBezTo>
                <a:lnTo>
                  <a:pt x="12096" y="7977"/>
                </a:lnTo>
                <a:lnTo>
                  <a:pt x="12089" y="7960"/>
                </a:lnTo>
                <a:cubicBezTo>
                  <a:pt x="12088" y="7957"/>
                  <a:pt x="12086" y="7954"/>
                  <a:pt x="12085" y="7951"/>
                </a:cubicBezTo>
                <a:close/>
                <a:moveTo>
                  <a:pt x="4956" y="7962"/>
                </a:moveTo>
                <a:cubicBezTo>
                  <a:pt x="4960" y="7962"/>
                  <a:pt x="4966" y="7964"/>
                  <a:pt x="4973" y="7966"/>
                </a:cubicBezTo>
                <a:cubicBezTo>
                  <a:pt x="4975" y="7966"/>
                  <a:pt x="4978" y="7966"/>
                  <a:pt x="4980" y="7967"/>
                </a:cubicBezTo>
                <a:cubicBezTo>
                  <a:pt x="4977" y="7976"/>
                  <a:pt x="4976" y="7987"/>
                  <a:pt x="4975" y="7995"/>
                </a:cubicBezTo>
                <a:cubicBezTo>
                  <a:pt x="4971" y="8021"/>
                  <a:pt x="4967" y="8045"/>
                  <a:pt x="4931" y="8050"/>
                </a:cubicBezTo>
                <a:cubicBezTo>
                  <a:pt x="4894" y="8054"/>
                  <a:pt x="4894" y="8183"/>
                  <a:pt x="4894" y="8261"/>
                </a:cubicBezTo>
                <a:lnTo>
                  <a:pt x="4894" y="8345"/>
                </a:lnTo>
                <a:lnTo>
                  <a:pt x="4894" y="8355"/>
                </a:lnTo>
                <a:lnTo>
                  <a:pt x="4894" y="8401"/>
                </a:lnTo>
                <a:cubicBezTo>
                  <a:pt x="4894" y="8449"/>
                  <a:pt x="4886" y="8528"/>
                  <a:pt x="4872" y="8549"/>
                </a:cubicBezTo>
                <a:cubicBezTo>
                  <a:pt x="4869" y="8553"/>
                  <a:pt x="4867" y="8553"/>
                  <a:pt x="4867" y="8553"/>
                </a:cubicBezTo>
                <a:cubicBezTo>
                  <a:pt x="4859" y="8553"/>
                  <a:pt x="4851" y="8547"/>
                  <a:pt x="4844" y="8536"/>
                </a:cubicBezTo>
                <a:cubicBezTo>
                  <a:pt x="4840" y="8529"/>
                  <a:pt x="4833" y="8515"/>
                  <a:pt x="4833" y="8497"/>
                </a:cubicBezTo>
                <a:cubicBezTo>
                  <a:pt x="4833" y="8383"/>
                  <a:pt x="4851" y="8179"/>
                  <a:pt x="4883" y="8095"/>
                </a:cubicBezTo>
                <a:cubicBezTo>
                  <a:pt x="4887" y="8086"/>
                  <a:pt x="4887" y="8074"/>
                  <a:pt x="4884" y="8064"/>
                </a:cubicBezTo>
                <a:cubicBezTo>
                  <a:pt x="4881" y="8052"/>
                  <a:pt x="4875" y="8047"/>
                  <a:pt x="4869" y="8047"/>
                </a:cubicBezTo>
                <a:cubicBezTo>
                  <a:pt x="4870" y="8045"/>
                  <a:pt x="4871" y="8043"/>
                  <a:pt x="4872" y="8041"/>
                </a:cubicBezTo>
                <a:cubicBezTo>
                  <a:pt x="4877" y="8037"/>
                  <a:pt x="4881" y="8032"/>
                  <a:pt x="4884" y="8023"/>
                </a:cubicBezTo>
                <a:cubicBezTo>
                  <a:pt x="4910" y="7987"/>
                  <a:pt x="4938" y="7962"/>
                  <a:pt x="4956" y="7962"/>
                </a:cubicBezTo>
                <a:close/>
                <a:moveTo>
                  <a:pt x="5880" y="7969"/>
                </a:moveTo>
                <a:cubicBezTo>
                  <a:pt x="5874" y="7959"/>
                  <a:pt x="5864" y="7962"/>
                  <a:pt x="5859" y="7975"/>
                </a:cubicBezTo>
                <a:lnTo>
                  <a:pt x="5857" y="7980"/>
                </a:lnTo>
                <a:cubicBezTo>
                  <a:pt x="5856" y="7983"/>
                  <a:pt x="5855" y="7986"/>
                  <a:pt x="5854" y="7989"/>
                </a:cubicBezTo>
                <a:cubicBezTo>
                  <a:pt x="5849" y="7999"/>
                  <a:pt x="5847" y="8008"/>
                  <a:pt x="5846" y="8015"/>
                </a:cubicBezTo>
                <a:cubicBezTo>
                  <a:pt x="5845" y="8016"/>
                  <a:pt x="5845" y="8017"/>
                  <a:pt x="5845" y="8018"/>
                </a:cubicBezTo>
                <a:cubicBezTo>
                  <a:pt x="5844" y="8023"/>
                  <a:pt x="5843" y="8028"/>
                  <a:pt x="5843" y="8033"/>
                </a:cubicBezTo>
                <a:cubicBezTo>
                  <a:pt x="5843" y="8044"/>
                  <a:pt x="5846" y="8053"/>
                  <a:pt x="5851" y="8059"/>
                </a:cubicBezTo>
                <a:cubicBezTo>
                  <a:pt x="5853" y="8062"/>
                  <a:pt x="5855" y="8064"/>
                  <a:pt x="5858" y="8064"/>
                </a:cubicBezTo>
                <a:cubicBezTo>
                  <a:pt x="5863" y="8064"/>
                  <a:pt x="5868" y="8058"/>
                  <a:pt x="5871" y="8048"/>
                </a:cubicBezTo>
                <a:cubicBezTo>
                  <a:pt x="5872" y="8045"/>
                  <a:pt x="5873" y="8041"/>
                  <a:pt x="5873" y="8037"/>
                </a:cubicBezTo>
                <a:cubicBezTo>
                  <a:pt x="5874" y="8035"/>
                  <a:pt x="5875" y="8032"/>
                  <a:pt x="5875" y="8031"/>
                </a:cubicBezTo>
                <a:cubicBezTo>
                  <a:pt x="5877" y="8026"/>
                  <a:pt x="5879" y="8021"/>
                  <a:pt x="5881" y="8016"/>
                </a:cubicBezTo>
                <a:lnTo>
                  <a:pt x="5883" y="8011"/>
                </a:lnTo>
                <a:cubicBezTo>
                  <a:pt x="5885" y="8006"/>
                  <a:pt x="5886" y="7999"/>
                  <a:pt x="5886" y="7993"/>
                </a:cubicBezTo>
                <a:cubicBezTo>
                  <a:pt x="5886" y="7984"/>
                  <a:pt x="5884" y="7975"/>
                  <a:pt x="5880" y="7969"/>
                </a:cubicBezTo>
                <a:close/>
                <a:moveTo>
                  <a:pt x="10909" y="7981"/>
                </a:moveTo>
                <a:cubicBezTo>
                  <a:pt x="10909" y="7985"/>
                  <a:pt x="10910" y="7989"/>
                  <a:pt x="10910" y="7993"/>
                </a:cubicBezTo>
                <a:cubicBezTo>
                  <a:pt x="10912" y="8025"/>
                  <a:pt x="10915" y="8085"/>
                  <a:pt x="10945" y="8085"/>
                </a:cubicBezTo>
                <a:lnTo>
                  <a:pt x="10995" y="8085"/>
                </a:lnTo>
                <a:cubicBezTo>
                  <a:pt x="11002" y="8163"/>
                  <a:pt x="11032" y="8253"/>
                  <a:pt x="11067" y="8298"/>
                </a:cubicBezTo>
                <a:cubicBezTo>
                  <a:pt x="11059" y="8311"/>
                  <a:pt x="11053" y="8328"/>
                  <a:pt x="11053" y="8350"/>
                </a:cubicBezTo>
                <a:cubicBezTo>
                  <a:pt x="11053" y="8388"/>
                  <a:pt x="11069" y="8418"/>
                  <a:pt x="11088" y="8418"/>
                </a:cubicBezTo>
                <a:cubicBezTo>
                  <a:pt x="11107" y="8418"/>
                  <a:pt x="11121" y="8388"/>
                  <a:pt x="11121" y="8350"/>
                </a:cubicBezTo>
                <a:cubicBezTo>
                  <a:pt x="11121" y="8341"/>
                  <a:pt x="11118" y="8335"/>
                  <a:pt x="11117" y="8327"/>
                </a:cubicBezTo>
                <a:lnTo>
                  <a:pt x="11122" y="8327"/>
                </a:lnTo>
                <a:lnTo>
                  <a:pt x="11126" y="8327"/>
                </a:lnTo>
                <a:cubicBezTo>
                  <a:pt x="11133" y="8369"/>
                  <a:pt x="11155" y="8386"/>
                  <a:pt x="11173" y="8399"/>
                </a:cubicBezTo>
                <a:cubicBezTo>
                  <a:pt x="11181" y="8405"/>
                  <a:pt x="11188" y="8411"/>
                  <a:pt x="11195" y="8418"/>
                </a:cubicBezTo>
                <a:cubicBezTo>
                  <a:pt x="11224" y="8447"/>
                  <a:pt x="11263" y="8528"/>
                  <a:pt x="11263" y="8570"/>
                </a:cubicBezTo>
                <a:lnTo>
                  <a:pt x="11263" y="8680"/>
                </a:lnTo>
                <a:cubicBezTo>
                  <a:pt x="11263" y="8766"/>
                  <a:pt x="11289" y="8811"/>
                  <a:pt x="11312" y="8852"/>
                </a:cubicBezTo>
                <a:cubicBezTo>
                  <a:pt x="11317" y="8861"/>
                  <a:pt x="11323" y="8870"/>
                  <a:pt x="11327" y="8880"/>
                </a:cubicBezTo>
                <a:cubicBezTo>
                  <a:pt x="11343" y="8911"/>
                  <a:pt x="11359" y="8947"/>
                  <a:pt x="11367" y="9000"/>
                </a:cubicBezTo>
                <a:cubicBezTo>
                  <a:pt x="11368" y="9022"/>
                  <a:pt x="11375" y="9069"/>
                  <a:pt x="11394" y="9071"/>
                </a:cubicBezTo>
                <a:cubicBezTo>
                  <a:pt x="11391" y="9080"/>
                  <a:pt x="11388" y="9091"/>
                  <a:pt x="11388" y="9105"/>
                </a:cubicBezTo>
                <a:cubicBezTo>
                  <a:pt x="11388" y="9114"/>
                  <a:pt x="11389" y="9124"/>
                  <a:pt x="11390" y="9133"/>
                </a:cubicBezTo>
                <a:cubicBezTo>
                  <a:pt x="11393" y="9164"/>
                  <a:pt x="11400" y="9196"/>
                  <a:pt x="11410" y="9220"/>
                </a:cubicBezTo>
                <a:cubicBezTo>
                  <a:pt x="11426" y="9255"/>
                  <a:pt x="11446" y="9275"/>
                  <a:pt x="11467" y="9275"/>
                </a:cubicBezTo>
                <a:lnTo>
                  <a:pt x="11497" y="9275"/>
                </a:lnTo>
                <a:cubicBezTo>
                  <a:pt x="11498" y="9275"/>
                  <a:pt x="11498" y="9271"/>
                  <a:pt x="11499" y="9270"/>
                </a:cubicBezTo>
                <a:cubicBezTo>
                  <a:pt x="11513" y="9302"/>
                  <a:pt x="11533" y="9324"/>
                  <a:pt x="11555" y="9324"/>
                </a:cubicBezTo>
                <a:cubicBezTo>
                  <a:pt x="11596" y="9324"/>
                  <a:pt x="11629" y="9258"/>
                  <a:pt x="11629" y="9176"/>
                </a:cubicBezTo>
                <a:cubicBezTo>
                  <a:pt x="11629" y="9117"/>
                  <a:pt x="11611" y="9067"/>
                  <a:pt x="11587" y="9043"/>
                </a:cubicBezTo>
                <a:cubicBezTo>
                  <a:pt x="11587" y="9042"/>
                  <a:pt x="11586" y="9041"/>
                  <a:pt x="11586" y="9041"/>
                </a:cubicBezTo>
                <a:cubicBezTo>
                  <a:pt x="11586" y="9024"/>
                  <a:pt x="11580" y="9011"/>
                  <a:pt x="11572" y="9011"/>
                </a:cubicBezTo>
                <a:cubicBezTo>
                  <a:pt x="11561" y="9007"/>
                  <a:pt x="11524" y="8944"/>
                  <a:pt x="11513" y="8917"/>
                </a:cubicBezTo>
                <a:cubicBezTo>
                  <a:pt x="11513" y="8916"/>
                  <a:pt x="11513" y="8916"/>
                  <a:pt x="11513" y="8916"/>
                </a:cubicBezTo>
                <a:cubicBezTo>
                  <a:pt x="11516" y="8906"/>
                  <a:pt x="11518" y="8894"/>
                  <a:pt x="11520" y="8876"/>
                </a:cubicBezTo>
                <a:cubicBezTo>
                  <a:pt x="11520" y="8868"/>
                  <a:pt x="11519" y="8858"/>
                  <a:pt x="11516" y="8852"/>
                </a:cubicBezTo>
                <a:lnTo>
                  <a:pt x="11482" y="8770"/>
                </a:lnTo>
                <a:cubicBezTo>
                  <a:pt x="11484" y="8765"/>
                  <a:pt x="11487" y="8761"/>
                  <a:pt x="11488" y="8761"/>
                </a:cubicBezTo>
                <a:cubicBezTo>
                  <a:pt x="11490" y="8761"/>
                  <a:pt x="11494" y="8770"/>
                  <a:pt x="11497" y="8777"/>
                </a:cubicBezTo>
                <a:cubicBezTo>
                  <a:pt x="11506" y="8796"/>
                  <a:pt x="11519" y="8824"/>
                  <a:pt x="11544" y="8824"/>
                </a:cubicBezTo>
                <a:cubicBezTo>
                  <a:pt x="11550" y="8824"/>
                  <a:pt x="11557" y="8815"/>
                  <a:pt x="11558" y="8802"/>
                </a:cubicBezTo>
                <a:cubicBezTo>
                  <a:pt x="11562" y="8772"/>
                  <a:pt x="11562" y="8747"/>
                  <a:pt x="11560" y="8720"/>
                </a:cubicBezTo>
                <a:cubicBezTo>
                  <a:pt x="11567" y="8714"/>
                  <a:pt x="11573" y="8707"/>
                  <a:pt x="11578" y="8700"/>
                </a:cubicBezTo>
                <a:cubicBezTo>
                  <a:pt x="11585" y="8692"/>
                  <a:pt x="11592" y="8689"/>
                  <a:pt x="11599" y="8685"/>
                </a:cubicBezTo>
                <a:cubicBezTo>
                  <a:pt x="11603" y="8686"/>
                  <a:pt x="11607" y="8690"/>
                  <a:pt x="11611" y="8690"/>
                </a:cubicBezTo>
                <a:cubicBezTo>
                  <a:pt x="11617" y="8690"/>
                  <a:pt x="11621" y="8685"/>
                  <a:pt x="11627" y="8683"/>
                </a:cubicBezTo>
                <a:cubicBezTo>
                  <a:pt x="11636" y="8690"/>
                  <a:pt x="11644" y="8701"/>
                  <a:pt x="11653" y="8714"/>
                </a:cubicBezTo>
                <a:cubicBezTo>
                  <a:pt x="11663" y="8729"/>
                  <a:pt x="11673" y="8746"/>
                  <a:pt x="11686" y="8755"/>
                </a:cubicBezTo>
                <a:cubicBezTo>
                  <a:pt x="11676" y="8774"/>
                  <a:pt x="11670" y="8797"/>
                  <a:pt x="11670" y="8828"/>
                </a:cubicBezTo>
                <a:cubicBezTo>
                  <a:pt x="11670" y="8861"/>
                  <a:pt x="11682" y="8878"/>
                  <a:pt x="11705" y="8880"/>
                </a:cubicBezTo>
                <a:cubicBezTo>
                  <a:pt x="11705" y="8880"/>
                  <a:pt x="11706" y="8881"/>
                  <a:pt x="11706" y="8882"/>
                </a:cubicBezTo>
                <a:cubicBezTo>
                  <a:pt x="11706" y="8886"/>
                  <a:pt x="11706" y="8891"/>
                  <a:pt x="11706" y="8901"/>
                </a:cubicBezTo>
                <a:cubicBezTo>
                  <a:pt x="11706" y="8939"/>
                  <a:pt x="11702" y="8946"/>
                  <a:pt x="11689" y="8961"/>
                </a:cubicBezTo>
                <a:cubicBezTo>
                  <a:pt x="11683" y="8969"/>
                  <a:pt x="11674" y="8979"/>
                  <a:pt x="11666" y="8995"/>
                </a:cubicBezTo>
                <a:cubicBezTo>
                  <a:pt x="11663" y="9002"/>
                  <a:pt x="11661" y="9011"/>
                  <a:pt x="11662" y="9021"/>
                </a:cubicBezTo>
                <a:cubicBezTo>
                  <a:pt x="11663" y="9030"/>
                  <a:pt x="11666" y="9039"/>
                  <a:pt x="11670" y="9043"/>
                </a:cubicBezTo>
                <a:cubicBezTo>
                  <a:pt x="11681" y="9053"/>
                  <a:pt x="11690" y="9059"/>
                  <a:pt x="11699" y="9065"/>
                </a:cubicBezTo>
                <a:cubicBezTo>
                  <a:pt x="11712" y="9074"/>
                  <a:pt x="11722" y="9081"/>
                  <a:pt x="11731" y="9099"/>
                </a:cubicBezTo>
                <a:cubicBezTo>
                  <a:pt x="11730" y="9105"/>
                  <a:pt x="11730" y="9113"/>
                  <a:pt x="11730" y="9120"/>
                </a:cubicBezTo>
                <a:cubicBezTo>
                  <a:pt x="11730" y="9120"/>
                  <a:pt x="11730" y="9121"/>
                  <a:pt x="11730" y="9121"/>
                </a:cubicBezTo>
                <a:cubicBezTo>
                  <a:pt x="11730" y="9123"/>
                  <a:pt x="11730" y="9126"/>
                  <a:pt x="11730" y="9128"/>
                </a:cubicBezTo>
                <a:cubicBezTo>
                  <a:pt x="11735" y="9167"/>
                  <a:pt x="11758" y="9201"/>
                  <a:pt x="11777" y="9228"/>
                </a:cubicBezTo>
                <a:cubicBezTo>
                  <a:pt x="11772" y="9234"/>
                  <a:pt x="11770" y="9245"/>
                  <a:pt x="11770" y="9257"/>
                </a:cubicBezTo>
                <a:cubicBezTo>
                  <a:pt x="11771" y="9272"/>
                  <a:pt x="11778" y="9283"/>
                  <a:pt x="11785" y="9283"/>
                </a:cubicBezTo>
                <a:lnTo>
                  <a:pt x="11808" y="9283"/>
                </a:lnTo>
                <a:cubicBezTo>
                  <a:pt x="11810" y="9283"/>
                  <a:pt x="11813" y="9283"/>
                  <a:pt x="11815" y="9281"/>
                </a:cubicBezTo>
                <a:cubicBezTo>
                  <a:pt x="11829" y="9267"/>
                  <a:pt x="11840" y="9286"/>
                  <a:pt x="11855" y="9310"/>
                </a:cubicBezTo>
                <a:cubicBezTo>
                  <a:pt x="11870" y="9334"/>
                  <a:pt x="11888" y="9360"/>
                  <a:pt x="11911" y="9360"/>
                </a:cubicBezTo>
                <a:cubicBezTo>
                  <a:pt x="11937" y="9360"/>
                  <a:pt x="11948" y="9325"/>
                  <a:pt x="11956" y="9301"/>
                </a:cubicBezTo>
                <a:cubicBezTo>
                  <a:pt x="11965" y="9275"/>
                  <a:pt x="11970" y="9262"/>
                  <a:pt x="11984" y="9262"/>
                </a:cubicBezTo>
                <a:cubicBezTo>
                  <a:pt x="11992" y="9262"/>
                  <a:pt x="11999" y="9266"/>
                  <a:pt x="12006" y="9275"/>
                </a:cubicBezTo>
                <a:cubicBezTo>
                  <a:pt x="12006" y="9275"/>
                  <a:pt x="12006" y="9275"/>
                  <a:pt x="12006" y="9275"/>
                </a:cubicBezTo>
                <a:cubicBezTo>
                  <a:pt x="12014" y="9283"/>
                  <a:pt x="12021" y="9296"/>
                  <a:pt x="12028" y="9309"/>
                </a:cubicBezTo>
                <a:cubicBezTo>
                  <a:pt x="12044" y="9337"/>
                  <a:pt x="12062" y="9368"/>
                  <a:pt x="12090" y="9368"/>
                </a:cubicBezTo>
                <a:cubicBezTo>
                  <a:pt x="12143" y="9368"/>
                  <a:pt x="12163" y="9331"/>
                  <a:pt x="12185" y="9291"/>
                </a:cubicBezTo>
                <a:cubicBezTo>
                  <a:pt x="12189" y="9285"/>
                  <a:pt x="12192" y="9278"/>
                  <a:pt x="12196" y="9271"/>
                </a:cubicBezTo>
                <a:cubicBezTo>
                  <a:pt x="12205" y="9284"/>
                  <a:pt x="12217" y="9287"/>
                  <a:pt x="12229" y="9290"/>
                </a:cubicBezTo>
                <a:cubicBezTo>
                  <a:pt x="12187" y="9293"/>
                  <a:pt x="12151" y="9342"/>
                  <a:pt x="12132" y="9411"/>
                </a:cubicBezTo>
                <a:cubicBezTo>
                  <a:pt x="12102" y="9430"/>
                  <a:pt x="12072" y="9446"/>
                  <a:pt x="12048" y="9468"/>
                </a:cubicBezTo>
                <a:cubicBezTo>
                  <a:pt x="12043" y="9473"/>
                  <a:pt x="12040" y="9484"/>
                  <a:pt x="12040" y="9495"/>
                </a:cubicBezTo>
                <a:cubicBezTo>
                  <a:pt x="12040" y="9512"/>
                  <a:pt x="12045" y="9530"/>
                  <a:pt x="12053" y="9539"/>
                </a:cubicBezTo>
                <a:cubicBezTo>
                  <a:pt x="12058" y="9557"/>
                  <a:pt x="12069" y="9567"/>
                  <a:pt x="12080" y="9567"/>
                </a:cubicBezTo>
                <a:cubicBezTo>
                  <a:pt x="12087" y="9567"/>
                  <a:pt x="12103" y="9563"/>
                  <a:pt x="12117" y="9555"/>
                </a:cubicBezTo>
                <a:cubicBezTo>
                  <a:pt x="12122" y="9648"/>
                  <a:pt x="12153" y="9723"/>
                  <a:pt x="12197" y="9752"/>
                </a:cubicBezTo>
                <a:lnTo>
                  <a:pt x="12197" y="9753"/>
                </a:lnTo>
                <a:cubicBezTo>
                  <a:pt x="12189" y="9804"/>
                  <a:pt x="12183" y="9846"/>
                  <a:pt x="12172" y="9914"/>
                </a:cubicBezTo>
                <a:cubicBezTo>
                  <a:pt x="12172" y="9915"/>
                  <a:pt x="12171" y="9915"/>
                  <a:pt x="12170" y="9916"/>
                </a:cubicBezTo>
                <a:cubicBezTo>
                  <a:pt x="12165" y="9923"/>
                  <a:pt x="12154" y="9939"/>
                  <a:pt x="12154" y="9972"/>
                </a:cubicBezTo>
                <a:cubicBezTo>
                  <a:pt x="12154" y="9974"/>
                  <a:pt x="12155" y="9976"/>
                  <a:pt x="12155" y="9978"/>
                </a:cubicBezTo>
                <a:cubicBezTo>
                  <a:pt x="12150" y="9981"/>
                  <a:pt x="12147" y="9985"/>
                  <a:pt x="12143" y="9988"/>
                </a:cubicBezTo>
                <a:cubicBezTo>
                  <a:pt x="12135" y="9996"/>
                  <a:pt x="12129" y="10001"/>
                  <a:pt x="12114" y="10001"/>
                </a:cubicBezTo>
                <a:cubicBezTo>
                  <a:pt x="12095" y="10001"/>
                  <a:pt x="12079" y="9991"/>
                  <a:pt x="12063" y="9978"/>
                </a:cubicBezTo>
                <a:cubicBezTo>
                  <a:pt x="12062" y="9976"/>
                  <a:pt x="12060" y="9975"/>
                  <a:pt x="12058" y="9975"/>
                </a:cubicBezTo>
                <a:lnTo>
                  <a:pt x="11931" y="9975"/>
                </a:lnTo>
                <a:cubicBezTo>
                  <a:pt x="11929" y="9975"/>
                  <a:pt x="11927" y="9975"/>
                  <a:pt x="11926" y="9977"/>
                </a:cubicBezTo>
                <a:lnTo>
                  <a:pt x="11922" y="9980"/>
                </a:lnTo>
                <a:cubicBezTo>
                  <a:pt x="11900" y="9996"/>
                  <a:pt x="11880" y="10010"/>
                  <a:pt x="11849" y="10010"/>
                </a:cubicBezTo>
                <a:cubicBezTo>
                  <a:pt x="11819" y="10010"/>
                  <a:pt x="11782" y="9999"/>
                  <a:pt x="11738" y="9977"/>
                </a:cubicBezTo>
                <a:cubicBezTo>
                  <a:pt x="11709" y="9961"/>
                  <a:pt x="11677" y="9941"/>
                  <a:pt x="11643" y="9917"/>
                </a:cubicBezTo>
                <a:cubicBezTo>
                  <a:pt x="11634" y="9910"/>
                  <a:pt x="11625" y="9904"/>
                  <a:pt x="11616" y="9897"/>
                </a:cubicBezTo>
                <a:cubicBezTo>
                  <a:pt x="11612" y="9894"/>
                  <a:pt x="11609" y="9894"/>
                  <a:pt x="11606" y="9893"/>
                </a:cubicBezTo>
                <a:cubicBezTo>
                  <a:pt x="11608" y="9878"/>
                  <a:pt x="11610" y="9864"/>
                  <a:pt x="11610" y="9847"/>
                </a:cubicBezTo>
                <a:cubicBezTo>
                  <a:pt x="11610" y="9766"/>
                  <a:pt x="11577" y="9699"/>
                  <a:pt x="11537" y="9699"/>
                </a:cubicBezTo>
                <a:cubicBezTo>
                  <a:pt x="11507" y="9699"/>
                  <a:pt x="11482" y="9735"/>
                  <a:pt x="11470" y="9785"/>
                </a:cubicBezTo>
                <a:lnTo>
                  <a:pt x="11431" y="9785"/>
                </a:lnTo>
                <a:lnTo>
                  <a:pt x="11424" y="9777"/>
                </a:lnTo>
                <a:cubicBezTo>
                  <a:pt x="11359" y="9819"/>
                  <a:pt x="11308" y="9818"/>
                  <a:pt x="11308" y="9955"/>
                </a:cubicBezTo>
                <a:lnTo>
                  <a:pt x="11308" y="9973"/>
                </a:lnTo>
                <a:cubicBezTo>
                  <a:pt x="11303" y="9967"/>
                  <a:pt x="11299" y="9960"/>
                  <a:pt x="11292" y="9960"/>
                </a:cubicBezTo>
                <a:cubicBezTo>
                  <a:pt x="11274" y="9960"/>
                  <a:pt x="11258" y="9991"/>
                  <a:pt x="11258" y="10029"/>
                </a:cubicBezTo>
                <a:cubicBezTo>
                  <a:pt x="11258" y="10046"/>
                  <a:pt x="11262" y="10060"/>
                  <a:pt x="11267" y="10072"/>
                </a:cubicBezTo>
                <a:cubicBezTo>
                  <a:pt x="11266" y="10072"/>
                  <a:pt x="11266" y="10073"/>
                  <a:pt x="11266" y="10073"/>
                </a:cubicBezTo>
                <a:cubicBezTo>
                  <a:pt x="11210" y="10073"/>
                  <a:pt x="11170" y="10026"/>
                  <a:pt x="11141" y="9984"/>
                </a:cubicBezTo>
                <a:cubicBezTo>
                  <a:pt x="11140" y="9982"/>
                  <a:pt x="11139" y="9980"/>
                  <a:pt x="11138" y="9979"/>
                </a:cubicBezTo>
                <a:cubicBezTo>
                  <a:pt x="11122" y="9955"/>
                  <a:pt x="11107" y="9929"/>
                  <a:pt x="11092" y="9903"/>
                </a:cubicBezTo>
                <a:cubicBezTo>
                  <a:pt x="11074" y="9873"/>
                  <a:pt x="11056" y="9846"/>
                  <a:pt x="11037" y="9819"/>
                </a:cubicBezTo>
                <a:cubicBezTo>
                  <a:pt x="11057" y="9793"/>
                  <a:pt x="11071" y="9749"/>
                  <a:pt x="11071" y="9698"/>
                </a:cubicBezTo>
                <a:cubicBezTo>
                  <a:pt x="11071" y="9616"/>
                  <a:pt x="11038" y="9550"/>
                  <a:pt x="10997" y="9550"/>
                </a:cubicBezTo>
                <a:cubicBezTo>
                  <a:pt x="10956" y="9550"/>
                  <a:pt x="10923" y="9616"/>
                  <a:pt x="10923" y="9698"/>
                </a:cubicBezTo>
                <a:cubicBezTo>
                  <a:pt x="10923" y="9711"/>
                  <a:pt x="10926" y="9723"/>
                  <a:pt x="10927" y="9735"/>
                </a:cubicBezTo>
                <a:cubicBezTo>
                  <a:pt x="10925" y="9735"/>
                  <a:pt x="10924" y="9734"/>
                  <a:pt x="10922" y="9734"/>
                </a:cubicBezTo>
                <a:lnTo>
                  <a:pt x="10869" y="9734"/>
                </a:lnTo>
                <a:lnTo>
                  <a:pt x="10863" y="9734"/>
                </a:lnTo>
                <a:cubicBezTo>
                  <a:pt x="10850" y="9734"/>
                  <a:pt x="10835" y="9720"/>
                  <a:pt x="10820" y="9697"/>
                </a:cubicBezTo>
                <a:cubicBezTo>
                  <a:pt x="10796" y="9660"/>
                  <a:pt x="10782" y="9611"/>
                  <a:pt x="10782" y="9564"/>
                </a:cubicBezTo>
                <a:cubicBezTo>
                  <a:pt x="10782" y="9540"/>
                  <a:pt x="10788" y="9520"/>
                  <a:pt x="10794" y="9498"/>
                </a:cubicBezTo>
                <a:cubicBezTo>
                  <a:pt x="10801" y="9472"/>
                  <a:pt x="10810" y="9443"/>
                  <a:pt x="10810" y="9403"/>
                </a:cubicBezTo>
                <a:cubicBezTo>
                  <a:pt x="10810" y="9371"/>
                  <a:pt x="10799" y="9350"/>
                  <a:pt x="10792" y="9334"/>
                </a:cubicBezTo>
                <a:cubicBezTo>
                  <a:pt x="10787" y="9325"/>
                  <a:pt x="10782" y="9315"/>
                  <a:pt x="10782" y="9309"/>
                </a:cubicBezTo>
                <a:cubicBezTo>
                  <a:pt x="10782" y="9296"/>
                  <a:pt x="10784" y="9292"/>
                  <a:pt x="10791" y="9281"/>
                </a:cubicBezTo>
                <a:cubicBezTo>
                  <a:pt x="10800" y="9267"/>
                  <a:pt x="10812" y="9246"/>
                  <a:pt x="10814" y="9200"/>
                </a:cubicBezTo>
                <a:cubicBezTo>
                  <a:pt x="10814" y="9191"/>
                  <a:pt x="10813" y="9182"/>
                  <a:pt x="10809" y="9176"/>
                </a:cubicBezTo>
                <a:cubicBezTo>
                  <a:pt x="10806" y="9170"/>
                  <a:pt x="10801" y="9167"/>
                  <a:pt x="10796" y="9169"/>
                </a:cubicBezTo>
                <a:cubicBezTo>
                  <a:pt x="10788" y="9172"/>
                  <a:pt x="10782" y="9180"/>
                  <a:pt x="10777" y="9186"/>
                </a:cubicBezTo>
                <a:cubicBezTo>
                  <a:pt x="10772" y="9192"/>
                  <a:pt x="10770" y="9194"/>
                  <a:pt x="10767" y="9194"/>
                </a:cubicBezTo>
                <a:cubicBezTo>
                  <a:pt x="10759" y="9194"/>
                  <a:pt x="10757" y="9189"/>
                  <a:pt x="10751" y="9171"/>
                </a:cubicBezTo>
                <a:cubicBezTo>
                  <a:pt x="10744" y="9150"/>
                  <a:pt x="10733" y="9117"/>
                  <a:pt x="10704" y="9117"/>
                </a:cubicBezTo>
                <a:cubicBezTo>
                  <a:pt x="10679" y="9117"/>
                  <a:pt x="10665" y="9138"/>
                  <a:pt x="10653" y="9155"/>
                </a:cubicBezTo>
                <a:cubicBezTo>
                  <a:pt x="10643" y="9170"/>
                  <a:pt x="10636" y="9180"/>
                  <a:pt x="10619" y="9180"/>
                </a:cubicBezTo>
                <a:cubicBezTo>
                  <a:pt x="10611" y="9180"/>
                  <a:pt x="10604" y="9175"/>
                  <a:pt x="10595" y="9169"/>
                </a:cubicBezTo>
                <a:cubicBezTo>
                  <a:pt x="10585" y="9161"/>
                  <a:pt x="10572" y="9151"/>
                  <a:pt x="10555" y="9151"/>
                </a:cubicBezTo>
                <a:cubicBezTo>
                  <a:pt x="10534" y="9151"/>
                  <a:pt x="10514" y="9173"/>
                  <a:pt x="10497" y="9191"/>
                </a:cubicBezTo>
                <a:cubicBezTo>
                  <a:pt x="10485" y="9203"/>
                  <a:pt x="10473" y="9215"/>
                  <a:pt x="10466" y="9215"/>
                </a:cubicBezTo>
                <a:cubicBezTo>
                  <a:pt x="10462" y="9215"/>
                  <a:pt x="10453" y="9207"/>
                  <a:pt x="10445" y="9200"/>
                </a:cubicBezTo>
                <a:cubicBezTo>
                  <a:pt x="10430" y="9188"/>
                  <a:pt x="10412" y="9173"/>
                  <a:pt x="10392" y="9173"/>
                </a:cubicBezTo>
                <a:cubicBezTo>
                  <a:pt x="10361" y="9173"/>
                  <a:pt x="10322" y="9185"/>
                  <a:pt x="10277" y="9208"/>
                </a:cubicBezTo>
                <a:cubicBezTo>
                  <a:pt x="10259" y="9217"/>
                  <a:pt x="10242" y="9231"/>
                  <a:pt x="10224" y="9242"/>
                </a:cubicBezTo>
                <a:cubicBezTo>
                  <a:pt x="10215" y="9225"/>
                  <a:pt x="10204" y="9214"/>
                  <a:pt x="10191" y="9214"/>
                </a:cubicBezTo>
                <a:cubicBezTo>
                  <a:pt x="10168" y="9214"/>
                  <a:pt x="10151" y="9250"/>
                  <a:pt x="10146" y="9295"/>
                </a:cubicBezTo>
                <a:cubicBezTo>
                  <a:pt x="10109" y="9323"/>
                  <a:pt x="10075" y="9353"/>
                  <a:pt x="10050" y="9376"/>
                </a:cubicBezTo>
                <a:cubicBezTo>
                  <a:pt x="10040" y="9386"/>
                  <a:pt x="10033" y="9399"/>
                  <a:pt x="10026" y="9410"/>
                </a:cubicBezTo>
                <a:cubicBezTo>
                  <a:pt x="10013" y="9432"/>
                  <a:pt x="10003" y="9449"/>
                  <a:pt x="9978" y="9449"/>
                </a:cubicBezTo>
                <a:cubicBezTo>
                  <a:pt x="9912" y="9449"/>
                  <a:pt x="9863" y="9422"/>
                  <a:pt x="9818" y="9362"/>
                </a:cubicBezTo>
                <a:cubicBezTo>
                  <a:pt x="9829" y="9354"/>
                  <a:pt x="9838" y="9343"/>
                  <a:pt x="9848" y="9332"/>
                </a:cubicBezTo>
                <a:cubicBezTo>
                  <a:pt x="9866" y="9311"/>
                  <a:pt x="9884" y="9292"/>
                  <a:pt x="9906" y="9292"/>
                </a:cubicBezTo>
                <a:cubicBezTo>
                  <a:pt x="9911" y="9292"/>
                  <a:pt x="9917" y="9290"/>
                  <a:pt x="9925" y="9288"/>
                </a:cubicBezTo>
                <a:cubicBezTo>
                  <a:pt x="9935" y="9284"/>
                  <a:pt x="9947" y="9280"/>
                  <a:pt x="9957" y="9280"/>
                </a:cubicBezTo>
                <a:cubicBezTo>
                  <a:pt x="9962" y="9280"/>
                  <a:pt x="9966" y="9281"/>
                  <a:pt x="9968" y="9282"/>
                </a:cubicBezTo>
                <a:cubicBezTo>
                  <a:pt x="9971" y="9284"/>
                  <a:pt x="9974" y="9284"/>
                  <a:pt x="9976" y="9282"/>
                </a:cubicBezTo>
                <a:cubicBezTo>
                  <a:pt x="9979" y="9283"/>
                  <a:pt x="9981" y="9283"/>
                  <a:pt x="9984" y="9283"/>
                </a:cubicBezTo>
                <a:cubicBezTo>
                  <a:pt x="10011" y="9283"/>
                  <a:pt x="10024" y="9241"/>
                  <a:pt x="10034" y="9210"/>
                </a:cubicBezTo>
                <a:cubicBezTo>
                  <a:pt x="10039" y="9193"/>
                  <a:pt x="10045" y="9175"/>
                  <a:pt x="10050" y="9170"/>
                </a:cubicBezTo>
                <a:cubicBezTo>
                  <a:pt x="10094" y="9129"/>
                  <a:pt x="10111" y="9075"/>
                  <a:pt x="10131" y="9014"/>
                </a:cubicBezTo>
                <a:lnTo>
                  <a:pt x="10142" y="8981"/>
                </a:lnTo>
                <a:cubicBezTo>
                  <a:pt x="10144" y="8974"/>
                  <a:pt x="10145" y="8964"/>
                  <a:pt x="10143" y="8955"/>
                </a:cubicBezTo>
                <a:cubicBezTo>
                  <a:pt x="10142" y="8947"/>
                  <a:pt x="10139" y="8940"/>
                  <a:pt x="10135" y="8937"/>
                </a:cubicBezTo>
                <a:cubicBezTo>
                  <a:pt x="10124" y="8928"/>
                  <a:pt x="10122" y="8922"/>
                  <a:pt x="10122" y="8909"/>
                </a:cubicBezTo>
                <a:cubicBezTo>
                  <a:pt x="10122" y="8868"/>
                  <a:pt x="10138" y="8800"/>
                  <a:pt x="10161" y="8740"/>
                </a:cubicBezTo>
                <a:cubicBezTo>
                  <a:pt x="10179" y="8693"/>
                  <a:pt x="10198" y="8659"/>
                  <a:pt x="10211" y="8654"/>
                </a:cubicBezTo>
                <a:cubicBezTo>
                  <a:pt x="10262" y="8629"/>
                  <a:pt x="10311" y="8594"/>
                  <a:pt x="10326" y="8497"/>
                </a:cubicBezTo>
                <a:cubicBezTo>
                  <a:pt x="10327" y="8492"/>
                  <a:pt x="10327" y="8485"/>
                  <a:pt x="10326" y="8480"/>
                </a:cubicBezTo>
                <a:lnTo>
                  <a:pt x="10314" y="8391"/>
                </a:lnTo>
                <a:cubicBezTo>
                  <a:pt x="10314" y="8373"/>
                  <a:pt x="10321" y="8358"/>
                  <a:pt x="10329" y="8346"/>
                </a:cubicBezTo>
                <a:cubicBezTo>
                  <a:pt x="10332" y="8342"/>
                  <a:pt x="10335" y="8341"/>
                  <a:pt x="10338" y="8335"/>
                </a:cubicBezTo>
                <a:cubicBezTo>
                  <a:pt x="10346" y="8327"/>
                  <a:pt x="10355" y="8319"/>
                  <a:pt x="10364" y="8319"/>
                </a:cubicBezTo>
                <a:cubicBezTo>
                  <a:pt x="10383" y="8319"/>
                  <a:pt x="10399" y="8329"/>
                  <a:pt x="10416" y="8340"/>
                </a:cubicBezTo>
                <a:cubicBezTo>
                  <a:pt x="10436" y="8352"/>
                  <a:pt x="10457" y="8366"/>
                  <a:pt x="10483" y="8366"/>
                </a:cubicBezTo>
                <a:cubicBezTo>
                  <a:pt x="10518" y="8366"/>
                  <a:pt x="10543" y="8329"/>
                  <a:pt x="10567" y="8294"/>
                </a:cubicBezTo>
                <a:cubicBezTo>
                  <a:pt x="10580" y="8277"/>
                  <a:pt x="10591" y="8260"/>
                  <a:pt x="10604" y="8248"/>
                </a:cubicBezTo>
                <a:cubicBezTo>
                  <a:pt x="10614" y="8239"/>
                  <a:pt x="10620" y="8225"/>
                  <a:pt x="10625" y="8212"/>
                </a:cubicBezTo>
                <a:cubicBezTo>
                  <a:pt x="10634" y="8193"/>
                  <a:pt x="10639" y="8178"/>
                  <a:pt x="10657" y="8178"/>
                </a:cubicBezTo>
                <a:cubicBezTo>
                  <a:pt x="10705" y="8178"/>
                  <a:pt x="10724" y="8252"/>
                  <a:pt x="10746" y="8338"/>
                </a:cubicBezTo>
                <a:cubicBezTo>
                  <a:pt x="10755" y="8371"/>
                  <a:pt x="10764" y="8406"/>
                  <a:pt x="10775" y="8436"/>
                </a:cubicBezTo>
                <a:cubicBezTo>
                  <a:pt x="10780" y="8461"/>
                  <a:pt x="10794" y="8476"/>
                  <a:pt x="10807" y="8490"/>
                </a:cubicBezTo>
                <a:cubicBezTo>
                  <a:pt x="10816" y="8499"/>
                  <a:pt x="10824" y="8509"/>
                  <a:pt x="10829" y="8518"/>
                </a:cubicBezTo>
                <a:lnTo>
                  <a:pt x="10837" y="8533"/>
                </a:lnTo>
                <a:cubicBezTo>
                  <a:pt x="10867" y="8595"/>
                  <a:pt x="10886" y="8634"/>
                  <a:pt x="10945" y="8663"/>
                </a:cubicBezTo>
                <a:cubicBezTo>
                  <a:pt x="10953" y="8689"/>
                  <a:pt x="10974" y="8703"/>
                  <a:pt x="10987" y="8708"/>
                </a:cubicBezTo>
                <a:cubicBezTo>
                  <a:pt x="10998" y="8744"/>
                  <a:pt x="11025" y="8802"/>
                  <a:pt x="11042" y="8826"/>
                </a:cubicBezTo>
                <a:cubicBezTo>
                  <a:pt x="11045" y="8840"/>
                  <a:pt x="11049" y="8851"/>
                  <a:pt x="11052" y="8861"/>
                </a:cubicBezTo>
                <a:cubicBezTo>
                  <a:pt x="11057" y="8879"/>
                  <a:pt x="11061" y="8894"/>
                  <a:pt x="11062" y="8925"/>
                </a:cubicBezTo>
                <a:cubicBezTo>
                  <a:pt x="11062" y="8926"/>
                  <a:pt x="11062" y="8927"/>
                  <a:pt x="11062" y="8927"/>
                </a:cubicBezTo>
                <a:cubicBezTo>
                  <a:pt x="11061" y="8942"/>
                  <a:pt x="11061" y="8958"/>
                  <a:pt x="11059" y="8972"/>
                </a:cubicBezTo>
                <a:cubicBezTo>
                  <a:pt x="11056" y="8990"/>
                  <a:pt x="11050" y="9011"/>
                  <a:pt x="11041" y="9011"/>
                </a:cubicBezTo>
                <a:cubicBezTo>
                  <a:pt x="11040" y="9011"/>
                  <a:pt x="11040" y="9015"/>
                  <a:pt x="11039" y="9015"/>
                </a:cubicBezTo>
                <a:cubicBezTo>
                  <a:pt x="11031" y="9002"/>
                  <a:pt x="11021" y="8990"/>
                  <a:pt x="11010" y="8990"/>
                </a:cubicBezTo>
                <a:cubicBezTo>
                  <a:pt x="10988" y="8990"/>
                  <a:pt x="10972" y="9023"/>
                  <a:pt x="10966" y="9064"/>
                </a:cubicBezTo>
                <a:cubicBezTo>
                  <a:pt x="10965" y="9064"/>
                  <a:pt x="10964" y="9065"/>
                  <a:pt x="10964" y="9065"/>
                </a:cubicBezTo>
                <a:cubicBezTo>
                  <a:pt x="10961" y="9066"/>
                  <a:pt x="10959" y="9066"/>
                  <a:pt x="10956" y="9066"/>
                </a:cubicBezTo>
                <a:cubicBezTo>
                  <a:pt x="10949" y="9066"/>
                  <a:pt x="10941" y="9061"/>
                  <a:pt x="10932" y="9055"/>
                </a:cubicBezTo>
                <a:cubicBezTo>
                  <a:pt x="10922" y="9047"/>
                  <a:pt x="10910" y="9037"/>
                  <a:pt x="10895" y="9037"/>
                </a:cubicBezTo>
                <a:cubicBezTo>
                  <a:pt x="10882" y="9037"/>
                  <a:pt x="10870" y="9043"/>
                  <a:pt x="10856" y="9056"/>
                </a:cubicBezTo>
                <a:cubicBezTo>
                  <a:pt x="10851" y="9061"/>
                  <a:pt x="10848" y="9072"/>
                  <a:pt x="10848" y="9084"/>
                </a:cubicBezTo>
                <a:lnTo>
                  <a:pt x="10848" y="9113"/>
                </a:lnTo>
                <a:cubicBezTo>
                  <a:pt x="10848" y="9118"/>
                  <a:pt x="10849" y="9125"/>
                  <a:pt x="10850" y="9129"/>
                </a:cubicBezTo>
                <a:cubicBezTo>
                  <a:pt x="10858" y="9157"/>
                  <a:pt x="10875" y="9160"/>
                  <a:pt x="10884" y="9162"/>
                </a:cubicBezTo>
                <a:cubicBezTo>
                  <a:pt x="10885" y="9162"/>
                  <a:pt x="10886" y="9162"/>
                  <a:pt x="10888" y="9163"/>
                </a:cubicBezTo>
                <a:cubicBezTo>
                  <a:pt x="10901" y="9171"/>
                  <a:pt x="10915" y="9191"/>
                  <a:pt x="10929" y="9212"/>
                </a:cubicBezTo>
                <a:cubicBezTo>
                  <a:pt x="10945" y="9235"/>
                  <a:pt x="10960" y="9258"/>
                  <a:pt x="10979" y="9270"/>
                </a:cubicBezTo>
                <a:cubicBezTo>
                  <a:pt x="10984" y="9284"/>
                  <a:pt x="10995" y="9292"/>
                  <a:pt x="11007" y="9292"/>
                </a:cubicBezTo>
                <a:cubicBezTo>
                  <a:pt x="11007" y="9292"/>
                  <a:pt x="11008" y="9292"/>
                  <a:pt x="11008" y="9292"/>
                </a:cubicBezTo>
                <a:cubicBezTo>
                  <a:pt x="11008" y="9292"/>
                  <a:pt x="11009" y="9292"/>
                  <a:pt x="11009" y="9292"/>
                </a:cubicBezTo>
                <a:cubicBezTo>
                  <a:pt x="11010" y="9292"/>
                  <a:pt x="11011" y="9292"/>
                  <a:pt x="11012" y="9291"/>
                </a:cubicBezTo>
                <a:cubicBezTo>
                  <a:pt x="11012" y="9291"/>
                  <a:pt x="11012" y="9291"/>
                  <a:pt x="11012" y="9291"/>
                </a:cubicBezTo>
                <a:cubicBezTo>
                  <a:pt x="11014" y="9290"/>
                  <a:pt x="11016" y="9289"/>
                  <a:pt x="11017" y="9288"/>
                </a:cubicBezTo>
                <a:cubicBezTo>
                  <a:pt x="11017" y="9288"/>
                  <a:pt x="11017" y="9287"/>
                  <a:pt x="11017" y="9287"/>
                </a:cubicBezTo>
                <a:cubicBezTo>
                  <a:pt x="11024" y="9280"/>
                  <a:pt x="11030" y="9268"/>
                  <a:pt x="11032" y="9254"/>
                </a:cubicBezTo>
                <a:cubicBezTo>
                  <a:pt x="11033" y="9254"/>
                  <a:pt x="11032" y="9253"/>
                  <a:pt x="11032" y="9253"/>
                </a:cubicBezTo>
                <a:cubicBezTo>
                  <a:pt x="11033" y="9248"/>
                  <a:pt x="11034" y="9243"/>
                  <a:pt x="11034" y="9240"/>
                </a:cubicBezTo>
                <a:cubicBezTo>
                  <a:pt x="11034" y="9239"/>
                  <a:pt x="11034" y="9238"/>
                  <a:pt x="11034" y="9238"/>
                </a:cubicBezTo>
                <a:cubicBezTo>
                  <a:pt x="11034" y="9236"/>
                  <a:pt x="11034" y="9234"/>
                  <a:pt x="11034" y="9233"/>
                </a:cubicBezTo>
                <a:cubicBezTo>
                  <a:pt x="11034" y="9207"/>
                  <a:pt x="11030" y="9191"/>
                  <a:pt x="11027" y="9180"/>
                </a:cubicBezTo>
                <a:cubicBezTo>
                  <a:pt x="11026" y="9177"/>
                  <a:pt x="11026" y="9176"/>
                  <a:pt x="11026" y="9175"/>
                </a:cubicBezTo>
                <a:cubicBezTo>
                  <a:pt x="11042" y="9162"/>
                  <a:pt x="11055" y="9135"/>
                  <a:pt x="11057" y="9098"/>
                </a:cubicBezTo>
                <a:cubicBezTo>
                  <a:pt x="11060" y="9099"/>
                  <a:pt x="11061" y="9101"/>
                  <a:pt x="11064" y="9101"/>
                </a:cubicBezTo>
                <a:cubicBezTo>
                  <a:pt x="11067" y="9101"/>
                  <a:pt x="11068" y="9099"/>
                  <a:pt x="11069" y="9099"/>
                </a:cubicBezTo>
                <a:cubicBezTo>
                  <a:pt x="11069" y="9099"/>
                  <a:pt x="11070" y="9099"/>
                  <a:pt x="11070" y="9099"/>
                </a:cubicBezTo>
                <a:cubicBezTo>
                  <a:pt x="11094" y="9092"/>
                  <a:pt x="11102" y="9046"/>
                  <a:pt x="11107" y="9013"/>
                </a:cubicBezTo>
                <a:cubicBezTo>
                  <a:pt x="11110" y="8998"/>
                  <a:pt x="11113" y="8984"/>
                  <a:pt x="11116" y="8973"/>
                </a:cubicBezTo>
                <a:cubicBezTo>
                  <a:pt x="11138" y="8970"/>
                  <a:pt x="11151" y="8951"/>
                  <a:pt x="11151" y="8922"/>
                </a:cubicBezTo>
                <a:cubicBezTo>
                  <a:pt x="11151" y="8881"/>
                  <a:pt x="11138" y="8857"/>
                  <a:pt x="11127" y="8838"/>
                </a:cubicBezTo>
                <a:cubicBezTo>
                  <a:pt x="11118" y="8822"/>
                  <a:pt x="11113" y="8813"/>
                  <a:pt x="11113" y="8799"/>
                </a:cubicBezTo>
                <a:cubicBezTo>
                  <a:pt x="11113" y="8774"/>
                  <a:pt x="11129" y="8761"/>
                  <a:pt x="11145" y="8761"/>
                </a:cubicBezTo>
                <a:cubicBezTo>
                  <a:pt x="11160" y="8761"/>
                  <a:pt x="11169" y="8774"/>
                  <a:pt x="11180" y="8791"/>
                </a:cubicBezTo>
                <a:cubicBezTo>
                  <a:pt x="11189" y="8805"/>
                  <a:pt x="11198" y="8819"/>
                  <a:pt x="11210" y="8824"/>
                </a:cubicBezTo>
                <a:cubicBezTo>
                  <a:pt x="11214" y="8825"/>
                  <a:pt x="11218" y="8824"/>
                  <a:pt x="11221" y="8819"/>
                </a:cubicBezTo>
                <a:cubicBezTo>
                  <a:pt x="11225" y="8814"/>
                  <a:pt x="11227" y="8806"/>
                  <a:pt x="11227" y="8798"/>
                </a:cubicBezTo>
                <a:cubicBezTo>
                  <a:pt x="11234" y="8699"/>
                  <a:pt x="11189" y="8657"/>
                  <a:pt x="11149" y="8619"/>
                </a:cubicBezTo>
                <a:cubicBezTo>
                  <a:pt x="11144" y="8613"/>
                  <a:pt x="11138" y="8608"/>
                  <a:pt x="11132" y="8602"/>
                </a:cubicBezTo>
                <a:cubicBezTo>
                  <a:pt x="11129" y="8599"/>
                  <a:pt x="11124" y="8595"/>
                  <a:pt x="11119" y="8592"/>
                </a:cubicBezTo>
                <a:cubicBezTo>
                  <a:pt x="11115" y="8589"/>
                  <a:pt x="11110" y="8585"/>
                  <a:pt x="11105" y="8581"/>
                </a:cubicBezTo>
                <a:cubicBezTo>
                  <a:pt x="11092" y="8571"/>
                  <a:pt x="11086" y="8561"/>
                  <a:pt x="11085" y="8556"/>
                </a:cubicBezTo>
                <a:cubicBezTo>
                  <a:pt x="11090" y="8540"/>
                  <a:pt x="11089" y="8522"/>
                  <a:pt x="11089" y="8509"/>
                </a:cubicBezTo>
                <a:cubicBezTo>
                  <a:pt x="11089" y="8492"/>
                  <a:pt x="11083" y="8480"/>
                  <a:pt x="11075" y="8480"/>
                </a:cubicBezTo>
                <a:cubicBezTo>
                  <a:pt x="11064" y="8480"/>
                  <a:pt x="11054" y="8481"/>
                  <a:pt x="11046" y="8483"/>
                </a:cubicBezTo>
                <a:cubicBezTo>
                  <a:pt x="11027" y="8488"/>
                  <a:pt x="11012" y="8489"/>
                  <a:pt x="10996" y="8474"/>
                </a:cubicBezTo>
                <a:cubicBezTo>
                  <a:pt x="10988" y="8466"/>
                  <a:pt x="10974" y="8420"/>
                  <a:pt x="10964" y="8347"/>
                </a:cubicBezTo>
                <a:cubicBezTo>
                  <a:pt x="10961" y="8332"/>
                  <a:pt x="10956" y="8306"/>
                  <a:pt x="10948" y="8282"/>
                </a:cubicBezTo>
                <a:cubicBezTo>
                  <a:pt x="10968" y="8269"/>
                  <a:pt x="10984" y="8238"/>
                  <a:pt x="10984" y="8194"/>
                </a:cubicBezTo>
                <a:cubicBezTo>
                  <a:pt x="10984" y="8140"/>
                  <a:pt x="10963" y="8095"/>
                  <a:pt x="10935" y="8095"/>
                </a:cubicBezTo>
                <a:cubicBezTo>
                  <a:pt x="10910" y="8095"/>
                  <a:pt x="10891" y="8135"/>
                  <a:pt x="10888" y="8184"/>
                </a:cubicBezTo>
                <a:cubicBezTo>
                  <a:pt x="10873" y="8168"/>
                  <a:pt x="10865" y="8151"/>
                  <a:pt x="10865" y="8118"/>
                </a:cubicBezTo>
                <a:cubicBezTo>
                  <a:pt x="10865" y="8099"/>
                  <a:pt x="10868" y="8077"/>
                  <a:pt x="10873" y="8052"/>
                </a:cubicBezTo>
                <a:cubicBezTo>
                  <a:pt x="10874" y="8043"/>
                  <a:pt x="10874" y="8032"/>
                  <a:pt x="10871" y="8024"/>
                </a:cubicBezTo>
                <a:cubicBezTo>
                  <a:pt x="10869" y="8019"/>
                  <a:pt x="10867" y="8016"/>
                  <a:pt x="10864" y="8014"/>
                </a:cubicBezTo>
                <a:cubicBezTo>
                  <a:pt x="10868" y="8006"/>
                  <a:pt x="10882" y="7998"/>
                  <a:pt x="10890" y="7994"/>
                </a:cubicBezTo>
                <a:cubicBezTo>
                  <a:pt x="10896" y="7990"/>
                  <a:pt x="10903" y="7986"/>
                  <a:pt x="10909" y="7981"/>
                </a:cubicBezTo>
                <a:close/>
                <a:moveTo>
                  <a:pt x="10835" y="7990"/>
                </a:moveTo>
                <a:cubicBezTo>
                  <a:pt x="10834" y="7998"/>
                  <a:pt x="10833" y="8007"/>
                  <a:pt x="10833" y="8017"/>
                </a:cubicBezTo>
                <a:cubicBezTo>
                  <a:pt x="10833" y="8028"/>
                  <a:pt x="10836" y="8042"/>
                  <a:pt x="10841" y="8053"/>
                </a:cubicBezTo>
                <a:cubicBezTo>
                  <a:pt x="10837" y="8075"/>
                  <a:pt x="10835" y="8097"/>
                  <a:pt x="10835" y="8118"/>
                </a:cubicBezTo>
                <a:cubicBezTo>
                  <a:pt x="10835" y="8205"/>
                  <a:pt x="10864" y="8236"/>
                  <a:pt x="10890" y="8254"/>
                </a:cubicBezTo>
                <a:cubicBezTo>
                  <a:pt x="10918" y="8272"/>
                  <a:pt x="10932" y="8344"/>
                  <a:pt x="10935" y="8364"/>
                </a:cubicBezTo>
                <a:cubicBezTo>
                  <a:pt x="10941" y="8405"/>
                  <a:pt x="10957" y="8501"/>
                  <a:pt x="10984" y="8528"/>
                </a:cubicBezTo>
                <a:cubicBezTo>
                  <a:pt x="10997" y="8541"/>
                  <a:pt x="11010" y="8547"/>
                  <a:pt x="11025" y="8547"/>
                </a:cubicBezTo>
                <a:cubicBezTo>
                  <a:pt x="11033" y="8547"/>
                  <a:pt x="11041" y="8545"/>
                  <a:pt x="11049" y="8543"/>
                </a:cubicBezTo>
                <a:cubicBezTo>
                  <a:pt x="11051" y="8542"/>
                  <a:pt x="11053" y="8542"/>
                  <a:pt x="11055" y="8542"/>
                </a:cubicBezTo>
                <a:cubicBezTo>
                  <a:pt x="11052" y="8567"/>
                  <a:pt x="11056" y="8599"/>
                  <a:pt x="11083" y="8627"/>
                </a:cubicBezTo>
                <a:lnTo>
                  <a:pt x="11070" y="8800"/>
                </a:lnTo>
                <a:cubicBezTo>
                  <a:pt x="11069" y="8790"/>
                  <a:pt x="11065" y="8783"/>
                  <a:pt x="11060" y="8779"/>
                </a:cubicBezTo>
                <a:cubicBezTo>
                  <a:pt x="11050" y="8766"/>
                  <a:pt x="11014" y="8692"/>
                  <a:pt x="11011" y="8676"/>
                </a:cubicBezTo>
                <a:cubicBezTo>
                  <a:pt x="11010" y="8662"/>
                  <a:pt x="11004" y="8652"/>
                  <a:pt x="10996" y="8651"/>
                </a:cubicBezTo>
                <a:cubicBezTo>
                  <a:pt x="10991" y="8651"/>
                  <a:pt x="10975" y="8639"/>
                  <a:pt x="10971" y="8631"/>
                </a:cubicBezTo>
                <a:cubicBezTo>
                  <a:pt x="10970" y="8620"/>
                  <a:pt x="10965" y="8611"/>
                  <a:pt x="10959" y="8608"/>
                </a:cubicBezTo>
                <a:cubicBezTo>
                  <a:pt x="10903" y="8583"/>
                  <a:pt x="10887" y="8552"/>
                  <a:pt x="10857" y="8491"/>
                </a:cubicBezTo>
                <a:lnTo>
                  <a:pt x="10850" y="8475"/>
                </a:lnTo>
                <a:cubicBezTo>
                  <a:pt x="10842" y="8460"/>
                  <a:pt x="10832" y="8449"/>
                  <a:pt x="10822" y="8438"/>
                </a:cubicBezTo>
                <a:cubicBezTo>
                  <a:pt x="10815" y="8430"/>
                  <a:pt x="10804" y="8418"/>
                  <a:pt x="10803" y="8412"/>
                </a:cubicBezTo>
                <a:cubicBezTo>
                  <a:pt x="10802" y="8409"/>
                  <a:pt x="10801" y="8405"/>
                  <a:pt x="10800" y="8402"/>
                </a:cubicBezTo>
                <a:cubicBezTo>
                  <a:pt x="10793" y="8383"/>
                  <a:pt x="10787" y="8359"/>
                  <a:pt x="10781" y="8335"/>
                </a:cubicBezTo>
                <a:cubicBezTo>
                  <a:pt x="10784" y="8337"/>
                  <a:pt x="10786" y="8343"/>
                  <a:pt x="10790" y="8343"/>
                </a:cubicBezTo>
                <a:cubicBezTo>
                  <a:pt x="10809" y="8343"/>
                  <a:pt x="10824" y="8314"/>
                  <a:pt x="10824" y="8276"/>
                </a:cubicBezTo>
                <a:cubicBezTo>
                  <a:pt x="10824" y="8238"/>
                  <a:pt x="10809" y="8207"/>
                  <a:pt x="10790" y="8207"/>
                </a:cubicBezTo>
                <a:cubicBezTo>
                  <a:pt x="10773" y="8207"/>
                  <a:pt x="10761" y="8233"/>
                  <a:pt x="10758" y="8264"/>
                </a:cubicBezTo>
                <a:cubicBezTo>
                  <a:pt x="10737" y="8190"/>
                  <a:pt x="10712" y="8118"/>
                  <a:pt x="10657" y="8118"/>
                </a:cubicBezTo>
                <a:cubicBezTo>
                  <a:pt x="10626" y="8118"/>
                  <a:pt x="10612" y="8149"/>
                  <a:pt x="10603" y="8172"/>
                </a:cubicBezTo>
                <a:cubicBezTo>
                  <a:pt x="10599" y="8182"/>
                  <a:pt x="10595" y="8189"/>
                  <a:pt x="10591" y="8193"/>
                </a:cubicBezTo>
                <a:cubicBezTo>
                  <a:pt x="10576" y="8208"/>
                  <a:pt x="10563" y="8227"/>
                  <a:pt x="10550" y="8245"/>
                </a:cubicBezTo>
                <a:cubicBezTo>
                  <a:pt x="10528" y="8277"/>
                  <a:pt x="10508" y="8305"/>
                  <a:pt x="10483" y="8305"/>
                </a:cubicBezTo>
                <a:cubicBezTo>
                  <a:pt x="10461" y="8305"/>
                  <a:pt x="10444" y="8294"/>
                  <a:pt x="10425" y="8283"/>
                </a:cubicBezTo>
                <a:cubicBezTo>
                  <a:pt x="10417" y="8277"/>
                  <a:pt x="10407" y="8271"/>
                  <a:pt x="10398" y="8266"/>
                </a:cubicBezTo>
                <a:lnTo>
                  <a:pt x="10486" y="8211"/>
                </a:lnTo>
                <a:cubicBezTo>
                  <a:pt x="10493" y="8223"/>
                  <a:pt x="10501" y="8232"/>
                  <a:pt x="10511" y="8232"/>
                </a:cubicBezTo>
                <a:cubicBezTo>
                  <a:pt x="10527" y="8232"/>
                  <a:pt x="10539" y="8207"/>
                  <a:pt x="10542" y="8176"/>
                </a:cubicBezTo>
                <a:lnTo>
                  <a:pt x="10835" y="7990"/>
                </a:lnTo>
                <a:close/>
                <a:moveTo>
                  <a:pt x="12143" y="7991"/>
                </a:moveTo>
                <a:lnTo>
                  <a:pt x="12140" y="8026"/>
                </a:lnTo>
                <a:lnTo>
                  <a:pt x="12137" y="8072"/>
                </a:lnTo>
                <a:cubicBezTo>
                  <a:pt x="12132" y="8061"/>
                  <a:pt x="12125" y="8046"/>
                  <a:pt x="12115" y="8024"/>
                </a:cubicBezTo>
                <a:cubicBezTo>
                  <a:pt x="12115" y="8024"/>
                  <a:pt x="12143" y="7991"/>
                  <a:pt x="12143" y="7991"/>
                </a:cubicBezTo>
                <a:close/>
                <a:moveTo>
                  <a:pt x="18675" y="7997"/>
                </a:moveTo>
                <a:cubicBezTo>
                  <a:pt x="18688" y="8018"/>
                  <a:pt x="18699" y="8042"/>
                  <a:pt x="18711" y="8065"/>
                </a:cubicBezTo>
                <a:cubicBezTo>
                  <a:pt x="18743" y="8130"/>
                  <a:pt x="18775" y="8198"/>
                  <a:pt x="18837" y="8198"/>
                </a:cubicBezTo>
                <a:cubicBezTo>
                  <a:pt x="18843" y="8198"/>
                  <a:pt x="18849" y="8195"/>
                  <a:pt x="18855" y="8192"/>
                </a:cubicBezTo>
                <a:cubicBezTo>
                  <a:pt x="18854" y="8197"/>
                  <a:pt x="18854" y="8204"/>
                  <a:pt x="18854" y="8211"/>
                </a:cubicBezTo>
                <a:cubicBezTo>
                  <a:pt x="18854" y="8231"/>
                  <a:pt x="18859" y="8249"/>
                  <a:pt x="18866" y="8263"/>
                </a:cubicBezTo>
                <a:cubicBezTo>
                  <a:pt x="18856" y="8271"/>
                  <a:pt x="18845" y="8275"/>
                  <a:pt x="18829" y="8275"/>
                </a:cubicBezTo>
                <a:cubicBezTo>
                  <a:pt x="18785" y="8275"/>
                  <a:pt x="18764" y="8348"/>
                  <a:pt x="18750" y="8402"/>
                </a:cubicBezTo>
                <a:cubicBezTo>
                  <a:pt x="18749" y="8405"/>
                  <a:pt x="18748" y="8409"/>
                  <a:pt x="18747" y="8412"/>
                </a:cubicBezTo>
                <a:cubicBezTo>
                  <a:pt x="18735" y="8399"/>
                  <a:pt x="18725" y="8389"/>
                  <a:pt x="18715" y="8380"/>
                </a:cubicBezTo>
                <a:cubicBezTo>
                  <a:pt x="18701" y="8366"/>
                  <a:pt x="18687" y="8353"/>
                  <a:pt x="18669" y="8329"/>
                </a:cubicBezTo>
                <a:cubicBezTo>
                  <a:pt x="18666" y="8326"/>
                  <a:pt x="18663" y="8325"/>
                  <a:pt x="18661" y="8325"/>
                </a:cubicBezTo>
                <a:cubicBezTo>
                  <a:pt x="18659" y="8325"/>
                  <a:pt x="18658" y="8326"/>
                  <a:pt x="18657" y="8327"/>
                </a:cubicBezTo>
                <a:cubicBezTo>
                  <a:pt x="18650" y="8331"/>
                  <a:pt x="18642" y="8342"/>
                  <a:pt x="18637" y="8357"/>
                </a:cubicBezTo>
                <a:cubicBezTo>
                  <a:pt x="18633" y="8356"/>
                  <a:pt x="18628" y="8354"/>
                  <a:pt x="18625" y="8353"/>
                </a:cubicBezTo>
                <a:cubicBezTo>
                  <a:pt x="18617" y="8350"/>
                  <a:pt x="18608" y="8347"/>
                  <a:pt x="18601" y="8347"/>
                </a:cubicBezTo>
                <a:cubicBezTo>
                  <a:pt x="18589" y="8347"/>
                  <a:pt x="18580" y="8355"/>
                  <a:pt x="18575" y="8370"/>
                </a:cubicBezTo>
                <a:lnTo>
                  <a:pt x="18574" y="8368"/>
                </a:lnTo>
                <a:cubicBezTo>
                  <a:pt x="18576" y="8363"/>
                  <a:pt x="18579" y="8360"/>
                  <a:pt x="18581" y="8355"/>
                </a:cubicBezTo>
                <a:cubicBezTo>
                  <a:pt x="18589" y="8341"/>
                  <a:pt x="18596" y="8328"/>
                  <a:pt x="18600" y="8312"/>
                </a:cubicBezTo>
                <a:cubicBezTo>
                  <a:pt x="18604" y="8313"/>
                  <a:pt x="18608" y="8311"/>
                  <a:pt x="18612" y="8305"/>
                </a:cubicBezTo>
                <a:cubicBezTo>
                  <a:pt x="18612" y="8305"/>
                  <a:pt x="18613" y="8305"/>
                  <a:pt x="18613" y="8305"/>
                </a:cubicBezTo>
                <a:cubicBezTo>
                  <a:pt x="18615" y="8305"/>
                  <a:pt x="18617" y="8304"/>
                  <a:pt x="18619" y="8304"/>
                </a:cubicBezTo>
                <a:cubicBezTo>
                  <a:pt x="18673" y="8304"/>
                  <a:pt x="18684" y="8092"/>
                  <a:pt x="18684" y="8053"/>
                </a:cubicBezTo>
                <a:cubicBezTo>
                  <a:pt x="18684" y="8033"/>
                  <a:pt x="18679" y="8020"/>
                  <a:pt x="18675" y="8012"/>
                </a:cubicBezTo>
                <a:cubicBezTo>
                  <a:pt x="18675" y="8011"/>
                  <a:pt x="18674" y="8009"/>
                  <a:pt x="18673" y="8008"/>
                </a:cubicBezTo>
                <a:cubicBezTo>
                  <a:pt x="18673" y="8004"/>
                  <a:pt x="18674" y="8000"/>
                  <a:pt x="18675" y="7997"/>
                </a:cubicBezTo>
                <a:close/>
                <a:moveTo>
                  <a:pt x="13280" y="8008"/>
                </a:moveTo>
                <a:cubicBezTo>
                  <a:pt x="13291" y="8008"/>
                  <a:pt x="13303" y="8012"/>
                  <a:pt x="13315" y="8017"/>
                </a:cubicBezTo>
                <a:cubicBezTo>
                  <a:pt x="13318" y="8018"/>
                  <a:pt x="13320" y="8019"/>
                  <a:pt x="13322" y="8019"/>
                </a:cubicBezTo>
                <a:lnTo>
                  <a:pt x="13338" y="8200"/>
                </a:lnTo>
                <a:lnTo>
                  <a:pt x="13343" y="8259"/>
                </a:lnTo>
                <a:cubicBezTo>
                  <a:pt x="13343" y="8259"/>
                  <a:pt x="13193" y="8061"/>
                  <a:pt x="13193" y="8061"/>
                </a:cubicBezTo>
                <a:cubicBezTo>
                  <a:pt x="13219" y="8037"/>
                  <a:pt x="13253" y="8008"/>
                  <a:pt x="13280" y="8008"/>
                </a:cubicBezTo>
                <a:close/>
                <a:moveTo>
                  <a:pt x="6223" y="8010"/>
                </a:moveTo>
                <a:cubicBezTo>
                  <a:pt x="6223" y="8013"/>
                  <a:pt x="6223" y="8017"/>
                  <a:pt x="6223" y="8019"/>
                </a:cubicBezTo>
                <a:cubicBezTo>
                  <a:pt x="6221" y="8021"/>
                  <a:pt x="6219" y="8021"/>
                  <a:pt x="6217" y="8023"/>
                </a:cubicBezTo>
                <a:cubicBezTo>
                  <a:pt x="6219" y="8018"/>
                  <a:pt x="6221" y="8014"/>
                  <a:pt x="6223" y="8010"/>
                </a:cubicBezTo>
                <a:close/>
                <a:moveTo>
                  <a:pt x="5034" y="8018"/>
                </a:moveTo>
                <a:cubicBezTo>
                  <a:pt x="5059" y="8040"/>
                  <a:pt x="5088" y="8073"/>
                  <a:pt x="5090" y="8094"/>
                </a:cubicBezTo>
                <a:cubicBezTo>
                  <a:pt x="5090" y="8123"/>
                  <a:pt x="5084" y="8148"/>
                  <a:pt x="5079" y="8176"/>
                </a:cubicBezTo>
                <a:cubicBezTo>
                  <a:pt x="5077" y="8185"/>
                  <a:pt x="5075" y="8194"/>
                  <a:pt x="5073" y="8204"/>
                </a:cubicBezTo>
                <a:lnTo>
                  <a:pt x="5042" y="8277"/>
                </a:lnTo>
                <a:lnTo>
                  <a:pt x="5035" y="8294"/>
                </a:lnTo>
                <a:cubicBezTo>
                  <a:pt x="5023" y="8243"/>
                  <a:pt x="4998" y="8207"/>
                  <a:pt x="4968" y="8207"/>
                </a:cubicBezTo>
                <a:cubicBezTo>
                  <a:pt x="4952" y="8207"/>
                  <a:pt x="4937" y="8219"/>
                  <a:pt x="4925" y="8237"/>
                </a:cubicBezTo>
                <a:cubicBezTo>
                  <a:pt x="4926" y="8146"/>
                  <a:pt x="4931" y="8114"/>
                  <a:pt x="4933" y="8109"/>
                </a:cubicBezTo>
                <a:cubicBezTo>
                  <a:pt x="4976" y="8104"/>
                  <a:pt x="4989" y="8071"/>
                  <a:pt x="4997" y="8036"/>
                </a:cubicBezTo>
                <a:cubicBezTo>
                  <a:pt x="5002" y="8043"/>
                  <a:pt x="5007" y="8048"/>
                  <a:pt x="5013" y="8048"/>
                </a:cubicBezTo>
                <a:cubicBezTo>
                  <a:pt x="5023" y="8048"/>
                  <a:pt x="5030" y="8035"/>
                  <a:pt x="5034" y="8018"/>
                </a:cubicBezTo>
                <a:close/>
                <a:moveTo>
                  <a:pt x="13038" y="8021"/>
                </a:moveTo>
                <a:cubicBezTo>
                  <a:pt x="13011" y="8021"/>
                  <a:pt x="12989" y="8065"/>
                  <a:pt x="12989" y="8120"/>
                </a:cubicBezTo>
                <a:cubicBezTo>
                  <a:pt x="12989" y="8174"/>
                  <a:pt x="13011" y="8218"/>
                  <a:pt x="13038" y="8218"/>
                </a:cubicBezTo>
                <a:cubicBezTo>
                  <a:pt x="13065" y="8218"/>
                  <a:pt x="13087" y="8174"/>
                  <a:pt x="13087" y="8120"/>
                </a:cubicBezTo>
                <a:cubicBezTo>
                  <a:pt x="13087" y="8065"/>
                  <a:pt x="13065" y="8021"/>
                  <a:pt x="13038" y="8021"/>
                </a:cubicBezTo>
                <a:close/>
                <a:moveTo>
                  <a:pt x="18026" y="8038"/>
                </a:moveTo>
                <a:cubicBezTo>
                  <a:pt x="18017" y="8040"/>
                  <a:pt x="18012" y="8054"/>
                  <a:pt x="18013" y="8071"/>
                </a:cubicBezTo>
                <a:cubicBezTo>
                  <a:pt x="18014" y="8091"/>
                  <a:pt x="18022" y="8102"/>
                  <a:pt x="18025" y="8106"/>
                </a:cubicBezTo>
                <a:cubicBezTo>
                  <a:pt x="18031" y="8114"/>
                  <a:pt x="18035" y="8122"/>
                  <a:pt x="18039" y="8131"/>
                </a:cubicBezTo>
                <a:cubicBezTo>
                  <a:pt x="18041" y="8138"/>
                  <a:pt x="18043" y="8146"/>
                  <a:pt x="18045" y="8153"/>
                </a:cubicBezTo>
                <a:cubicBezTo>
                  <a:pt x="18046" y="8163"/>
                  <a:pt x="18047" y="8174"/>
                  <a:pt x="18047" y="8186"/>
                </a:cubicBezTo>
                <a:cubicBezTo>
                  <a:pt x="18047" y="8203"/>
                  <a:pt x="18053" y="8216"/>
                  <a:pt x="18062" y="8216"/>
                </a:cubicBezTo>
                <a:cubicBezTo>
                  <a:pt x="18070" y="8216"/>
                  <a:pt x="18077" y="8203"/>
                  <a:pt x="18077" y="8187"/>
                </a:cubicBezTo>
                <a:cubicBezTo>
                  <a:pt x="18077" y="8134"/>
                  <a:pt x="18066" y="8089"/>
                  <a:pt x="18041" y="8055"/>
                </a:cubicBezTo>
                <a:cubicBezTo>
                  <a:pt x="18039" y="8044"/>
                  <a:pt x="18032" y="8036"/>
                  <a:pt x="18026" y="8038"/>
                </a:cubicBezTo>
                <a:close/>
                <a:moveTo>
                  <a:pt x="5619" y="8040"/>
                </a:moveTo>
                <a:cubicBezTo>
                  <a:pt x="5617" y="8042"/>
                  <a:pt x="5615" y="8044"/>
                  <a:pt x="5614" y="8046"/>
                </a:cubicBezTo>
                <a:cubicBezTo>
                  <a:pt x="5610" y="8053"/>
                  <a:pt x="5601" y="8070"/>
                  <a:pt x="5587" y="8096"/>
                </a:cubicBezTo>
                <a:cubicBezTo>
                  <a:pt x="5584" y="8102"/>
                  <a:pt x="5583" y="8111"/>
                  <a:pt x="5583" y="8118"/>
                </a:cubicBezTo>
                <a:cubicBezTo>
                  <a:pt x="5583" y="8123"/>
                  <a:pt x="5584" y="8128"/>
                  <a:pt x="5586" y="8132"/>
                </a:cubicBezTo>
                <a:cubicBezTo>
                  <a:pt x="5585" y="8137"/>
                  <a:pt x="5583" y="8141"/>
                  <a:pt x="5583" y="8146"/>
                </a:cubicBezTo>
                <a:cubicBezTo>
                  <a:pt x="5583" y="8175"/>
                  <a:pt x="5594" y="8198"/>
                  <a:pt x="5608" y="8198"/>
                </a:cubicBezTo>
                <a:cubicBezTo>
                  <a:pt x="5622" y="8198"/>
                  <a:pt x="5634" y="8175"/>
                  <a:pt x="5634" y="8146"/>
                </a:cubicBezTo>
                <a:cubicBezTo>
                  <a:pt x="5634" y="8130"/>
                  <a:pt x="5630" y="8117"/>
                  <a:pt x="5624" y="8108"/>
                </a:cubicBezTo>
                <a:cubicBezTo>
                  <a:pt x="5626" y="8103"/>
                  <a:pt x="5630" y="8096"/>
                  <a:pt x="5632" y="8094"/>
                </a:cubicBezTo>
                <a:cubicBezTo>
                  <a:pt x="5632" y="8094"/>
                  <a:pt x="5632" y="8094"/>
                  <a:pt x="5632" y="8094"/>
                </a:cubicBezTo>
                <a:cubicBezTo>
                  <a:pt x="5633" y="8093"/>
                  <a:pt x="5633" y="8093"/>
                  <a:pt x="5633" y="8093"/>
                </a:cubicBezTo>
                <a:cubicBezTo>
                  <a:pt x="5634" y="8092"/>
                  <a:pt x="5634" y="8092"/>
                  <a:pt x="5634" y="8092"/>
                </a:cubicBezTo>
                <a:cubicBezTo>
                  <a:pt x="5641" y="8082"/>
                  <a:pt x="5643" y="8064"/>
                  <a:pt x="5638" y="8051"/>
                </a:cubicBezTo>
                <a:cubicBezTo>
                  <a:pt x="5634" y="8038"/>
                  <a:pt x="5625" y="8034"/>
                  <a:pt x="5619" y="8040"/>
                </a:cubicBezTo>
                <a:close/>
                <a:moveTo>
                  <a:pt x="16903" y="8054"/>
                </a:moveTo>
                <a:cubicBezTo>
                  <a:pt x="16923" y="8094"/>
                  <a:pt x="16954" y="8155"/>
                  <a:pt x="16991" y="8227"/>
                </a:cubicBezTo>
                <a:cubicBezTo>
                  <a:pt x="16999" y="8244"/>
                  <a:pt x="17008" y="8262"/>
                  <a:pt x="17018" y="8280"/>
                </a:cubicBezTo>
                <a:cubicBezTo>
                  <a:pt x="17025" y="8296"/>
                  <a:pt x="17034" y="8311"/>
                  <a:pt x="17042" y="8327"/>
                </a:cubicBezTo>
                <a:cubicBezTo>
                  <a:pt x="17042" y="8328"/>
                  <a:pt x="17043" y="8329"/>
                  <a:pt x="17043" y="8331"/>
                </a:cubicBezTo>
                <a:cubicBezTo>
                  <a:pt x="17050" y="8343"/>
                  <a:pt x="17056" y="8356"/>
                  <a:pt x="17063" y="8369"/>
                </a:cubicBezTo>
                <a:cubicBezTo>
                  <a:pt x="17065" y="8373"/>
                  <a:pt x="17067" y="8378"/>
                  <a:pt x="17070" y="8382"/>
                </a:cubicBezTo>
                <a:cubicBezTo>
                  <a:pt x="17078" y="8398"/>
                  <a:pt x="17086" y="8414"/>
                  <a:pt x="17094" y="8431"/>
                </a:cubicBezTo>
                <a:cubicBezTo>
                  <a:pt x="17097" y="8437"/>
                  <a:pt x="17101" y="8443"/>
                  <a:pt x="17104" y="8450"/>
                </a:cubicBezTo>
                <a:cubicBezTo>
                  <a:pt x="17105" y="8451"/>
                  <a:pt x="17106" y="8453"/>
                  <a:pt x="17107" y="8454"/>
                </a:cubicBezTo>
                <a:cubicBezTo>
                  <a:pt x="17116" y="8472"/>
                  <a:pt x="17124" y="8490"/>
                  <a:pt x="17134" y="8508"/>
                </a:cubicBezTo>
                <a:cubicBezTo>
                  <a:pt x="17137" y="8515"/>
                  <a:pt x="17141" y="8523"/>
                  <a:pt x="17145" y="8530"/>
                </a:cubicBezTo>
                <a:cubicBezTo>
                  <a:pt x="17161" y="8563"/>
                  <a:pt x="17178" y="8596"/>
                  <a:pt x="17195" y="8629"/>
                </a:cubicBezTo>
                <a:cubicBezTo>
                  <a:pt x="17197" y="8633"/>
                  <a:pt x="17199" y="8638"/>
                  <a:pt x="17202" y="8642"/>
                </a:cubicBezTo>
                <a:cubicBezTo>
                  <a:pt x="17206" y="8651"/>
                  <a:pt x="17211" y="8660"/>
                  <a:pt x="17215" y="8669"/>
                </a:cubicBezTo>
                <a:cubicBezTo>
                  <a:pt x="17218" y="8675"/>
                  <a:pt x="17221" y="8680"/>
                  <a:pt x="17224" y="8686"/>
                </a:cubicBezTo>
                <a:cubicBezTo>
                  <a:pt x="17249" y="8736"/>
                  <a:pt x="17274" y="8785"/>
                  <a:pt x="17299" y="8833"/>
                </a:cubicBezTo>
                <a:cubicBezTo>
                  <a:pt x="17296" y="8836"/>
                  <a:pt x="17294" y="8839"/>
                  <a:pt x="17292" y="8842"/>
                </a:cubicBezTo>
                <a:cubicBezTo>
                  <a:pt x="17283" y="8854"/>
                  <a:pt x="17270" y="8860"/>
                  <a:pt x="17256" y="8865"/>
                </a:cubicBezTo>
                <a:cubicBezTo>
                  <a:pt x="17230" y="8874"/>
                  <a:pt x="17195" y="8887"/>
                  <a:pt x="17195" y="8968"/>
                </a:cubicBezTo>
                <a:cubicBezTo>
                  <a:pt x="17195" y="9019"/>
                  <a:pt x="17221" y="9043"/>
                  <a:pt x="17236" y="9057"/>
                </a:cubicBezTo>
                <a:cubicBezTo>
                  <a:pt x="17240" y="9060"/>
                  <a:pt x="17243" y="9062"/>
                  <a:pt x="17245" y="9065"/>
                </a:cubicBezTo>
                <a:cubicBezTo>
                  <a:pt x="17254" y="9079"/>
                  <a:pt x="17258" y="9093"/>
                  <a:pt x="17261" y="9110"/>
                </a:cubicBezTo>
                <a:cubicBezTo>
                  <a:pt x="17266" y="9132"/>
                  <a:pt x="17272" y="9158"/>
                  <a:pt x="17289" y="9180"/>
                </a:cubicBezTo>
                <a:cubicBezTo>
                  <a:pt x="17298" y="9192"/>
                  <a:pt x="17308" y="9198"/>
                  <a:pt x="17322" y="9198"/>
                </a:cubicBezTo>
                <a:cubicBezTo>
                  <a:pt x="17328" y="9198"/>
                  <a:pt x="17333" y="9197"/>
                  <a:pt x="17339" y="9196"/>
                </a:cubicBezTo>
                <a:cubicBezTo>
                  <a:pt x="17343" y="9195"/>
                  <a:pt x="17348" y="9194"/>
                  <a:pt x="17352" y="9194"/>
                </a:cubicBezTo>
                <a:cubicBezTo>
                  <a:pt x="17368" y="9194"/>
                  <a:pt x="17374" y="9159"/>
                  <a:pt x="17378" y="9131"/>
                </a:cubicBezTo>
                <a:cubicBezTo>
                  <a:pt x="17380" y="9123"/>
                  <a:pt x="17382" y="9108"/>
                  <a:pt x="17384" y="9101"/>
                </a:cubicBezTo>
                <a:cubicBezTo>
                  <a:pt x="17386" y="9102"/>
                  <a:pt x="17387" y="9107"/>
                  <a:pt x="17389" y="9108"/>
                </a:cubicBezTo>
                <a:cubicBezTo>
                  <a:pt x="17384" y="9129"/>
                  <a:pt x="17380" y="9151"/>
                  <a:pt x="17380" y="9176"/>
                </a:cubicBezTo>
                <a:cubicBezTo>
                  <a:pt x="17380" y="9202"/>
                  <a:pt x="17385" y="9225"/>
                  <a:pt x="17391" y="9247"/>
                </a:cubicBezTo>
                <a:cubicBezTo>
                  <a:pt x="17368" y="9271"/>
                  <a:pt x="17348" y="9300"/>
                  <a:pt x="17339" y="9351"/>
                </a:cubicBezTo>
                <a:cubicBezTo>
                  <a:pt x="17337" y="9365"/>
                  <a:pt x="17330" y="9374"/>
                  <a:pt x="17322" y="9386"/>
                </a:cubicBezTo>
                <a:cubicBezTo>
                  <a:pt x="17310" y="9401"/>
                  <a:pt x="17294" y="9423"/>
                  <a:pt x="17294" y="9466"/>
                </a:cubicBezTo>
                <a:cubicBezTo>
                  <a:pt x="17294" y="9506"/>
                  <a:pt x="17306" y="9539"/>
                  <a:pt x="17321" y="9563"/>
                </a:cubicBezTo>
                <a:lnTo>
                  <a:pt x="17154" y="9738"/>
                </a:lnTo>
                <a:cubicBezTo>
                  <a:pt x="17146" y="9696"/>
                  <a:pt x="17129" y="9662"/>
                  <a:pt x="17104" y="9662"/>
                </a:cubicBezTo>
                <a:cubicBezTo>
                  <a:pt x="17072" y="9662"/>
                  <a:pt x="17045" y="9715"/>
                  <a:pt x="17045" y="9781"/>
                </a:cubicBezTo>
                <a:cubicBezTo>
                  <a:pt x="17045" y="9804"/>
                  <a:pt x="17049" y="9823"/>
                  <a:pt x="17055" y="9841"/>
                </a:cubicBezTo>
                <a:lnTo>
                  <a:pt x="16945" y="9957"/>
                </a:lnTo>
                <a:lnTo>
                  <a:pt x="16941" y="9806"/>
                </a:lnTo>
                <a:cubicBezTo>
                  <a:pt x="16952" y="9791"/>
                  <a:pt x="16960" y="9771"/>
                  <a:pt x="16960" y="9744"/>
                </a:cubicBezTo>
                <a:cubicBezTo>
                  <a:pt x="16960" y="9714"/>
                  <a:pt x="16950" y="9693"/>
                  <a:pt x="16939" y="9678"/>
                </a:cubicBezTo>
                <a:lnTo>
                  <a:pt x="16926" y="9095"/>
                </a:lnTo>
                <a:cubicBezTo>
                  <a:pt x="16935" y="9080"/>
                  <a:pt x="16941" y="9060"/>
                  <a:pt x="16941" y="9035"/>
                </a:cubicBezTo>
                <a:cubicBezTo>
                  <a:pt x="16941" y="9008"/>
                  <a:pt x="16933" y="8987"/>
                  <a:pt x="16923" y="8972"/>
                </a:cubicBezTo>
                <a:lnTo>
                  <a:pt x="16903" y="8054"/>
                </a:lnTo>
                <a:close/>
                <a:moveTo>
                  <a:pt x="6276" y="8055"/>
                </a:moveTo>
                <a:lnTo>
                  <a:pt x="6296" y="8071"/>
                </a:lnTo>
                <a:lnTo>
                  <a:pt x="6333" y="8099"/>
                </a:lnTo>
                <a:cubicBezTo>
                  <a:pt x="6307" y="8120"/>
                  <a:pt x="6285" y="8136"/>
                  <a:pt x="6280" y="8138"/>
                </a:cubicBezTo>
                <a:cubicBezTo>
                  <a:pt x="6253" y="8155"/>
                  <a:pt x="6229" y="8201"/>
                  <a:pt x="6209" y="8237"/>
                </a:cubicBezTo>
                <a:cubicBezTo>
                  <a:pt x="6201" y="8252"/>
                  <a:pt x="6191" y="8270"/>
                  <a:pt x="6186" y="8276"/>
                </a:cubicBezTo>
                <a:cubicBezTo>
                  <a:pt x="6177" y="8266"/>
                  <a:pt x="6158" y="8221"/>
                  <a:pt x="6158" y="8200"/>
                </a:cubicBezTo>
                <a:cubicBezTo>
                  <a:pt x="6158" y="8130"/>
                  <a:pt x="6225" y="8068"/>
                  <a:pt x="6270" y="8060"/>
                </a:cubicBezTo>
                <a:cubicBezTo>
                  <a:pt x="6272" y="8060"/>
                  <a:pt x="6274" y="8058"/>
                  <a:pt x="6276" y="8055"/>
                </a:cubicBezTo>
                <a:close/>
                <a:moveTo>
                  <a:pt x="17526" y="8058"/>
                </a:moveTo>
                <a:cubicBezTo>
                  <a:pt x="17507" y="8058"/>
                  <a:pt x="17492" y="8089"/>
                  <a:pt x="17492" y="8127"/>
                </a:cubicBezTo>
                <a:cubicBezTo>
                  <a:pt x="17492" y="8164"/>
                  <a:pt x="17507" y="8194"/>
                  <a:pt x="17526" y="8194"/>
                </a:cubicBezTo>
                <a:cubicBezTo>
                  <a:pt x="17545" y="8194"/>
                  <a:pt x="17560" y="8164"/>
                  <a:pt x="17560" y="8127"/>
                </a:cubicBezTo>
                <a:cubicBezTo>
                  <a:pt x="17560" y="8089"/>
                  <a:pt x="17545" y="8058"/>
                  <a:pt x="17526" y="8058"/>
                </a:cubicBezTo>
                <a:close/>
                <a:moveTo>
                  <a:pt x="13161" y="8092"/>
                </a:moveTo>
                <a:cubicBezTo>
                  <a:pt x="13161" y="8092"/>
                  <a:pt x="13342" y="8329"/>
                  <a:pt x="13342" y="8329"/>
                </a:cubicBezTo>
                <a:lnTo>
                  <a:pt x="13283" y="8467"/>
                </a:lnTo>
                <a:cubicBezTo>
                  <a:pt x="13273" y="8407"/>
                  <a:pt x="13255" y="8360"/>
                  <a:pt x="13235" y="8312"/>
                </a:cubicBezTo>
                <a:cubicBezTo>
                  <a:pt x="13221" y="8277"/>
                  <a:pt x="13206" y="8242"/>
                  <a:pt x="13193" y="8198"/>
                </a:cubicBezTo>
                <a:cubicBezTo>
                  <a:pt x="13187" y="8174"/>
                  <a:pt x="13177" y="8160"/>
                  <a:pt x="13168" y="8149"/>
                </a:cubicBezTo>
                <a:cubicBezTo>
                  <a:pt x="13159" y="8136"/>
                  <a:pt x="13151" y="8126"/>
                  <a:pt x="13148" y="8104"/>
                </a:cubicBezTo>
                <a:cubicBezTo>
                  <a:pt x="13151" y="8101"/>
                  <a:pt x="13156" y="8097"/>
                  <a:pt x="13161" y="8092"/>
                </a:cubicBezTo>
                <a:close/>
                <a:moveTo>
                  <a:pt x="18736" y="8132"/>
                </a:moveTo>
                <a:cubicBezTo>
                  <a:pt x="18717" y="8132"/>
                  <a:pt x="18701" y="8163"/>
                  <a:pt x="18701" y="8201"/>
                </a:cubicBezTo>
                <a:cubicBezTo>
                  <a:pt x="18701" y="8239"/>
                  <a:pt x="18717" y="8269"/>
                  <a:pt x="18736" y="8269"/>
                </a:cubicBezTo>
                <a:cubicBezTo>
                  <a:pt x="18754" y="8269"/>
                  <a:pt x="18769" y="8239"/>
                  <a:pt x="18769" y="8201"/>
                </a:cubicBezTo>
                <a:cubicBezTo>
                  <a:pt x="18769" y="8163"/>
                  <a:pt x="18754" y="8132"/>
                  <a:pt x="18736" y="8132"/>
                </a:cubicBezTo>
                <a:close/>
                <a:moveTo>
                  <a:pt x="17826" y="8170"/>
                </a:moveTo>
                <a:cubicBezTo>
                  <a:pt x="17785" y="8170"/>
                  <a:pt x="17752" y="8236"/>
                  <a:pt x="17752" y="8318"/>
                </a:cubicBezTo>
                <a:cubicBezTo>
                  <a:pt x="17752" y="8400"/>
                  <a:pt x="17785" y="8466"/>
                  <a:pt x="17826" y="8466"/>
                </a:cubicBezTo>
                <a:cubicBezTo>
                  <a:pt x="17867" y="8466"/>
                  <a:pt x="17900" y="8400"/>
                  <a:pt x="17900" y="8318"/>
                </a:cubicBezTo>
                <a:cubicBezTo>
                  <a:pt x="17900" y="8236"/>
                  <a:pt x="17867" y="8170"/>
                  <a:pt x="17826" y="8170"/>
                </a:cubicBezTo>
                <a:close/>
                <a:moveTo>
                  <a:pt x="12590" y="8229"/>
                </a:moveTo>
                <a:lnTo>
                  <a:pt x="12594" y="8353"/>
                </a:lnTo>
                <a:cubicBezTo>
                  <a:pt x="12583" y="8326"/>
                  <a:pt x="12571" y="8306"/>
                  <a:pt x="12558" y="8289"/>
                </a:cubicBezTo>
                <a:cubicBezTo>
                  <a:pt x="12571" y="8264"/>
                  <a:pt x="12582" y="8245"/>
                  <a:pt x="12590" y="8229"/>
                </a:cubicBezTo>
                <a:close/>
                <a:moveTo>
                  <a:pt x="5516" y="8262"/>
                </a:moveTo>
                <a:cubicBezTo>
                  <a:pt x="5507" y="8303"/>
                  <a:pt x="5474" y="8324"/>
                  <a:pt x="5416" y="8324"/>
                </a:cubicBezTo>
                <a:cubicBezTo>
                  <a:pt x="5401" y="8324"/>
                  <a:pt x="5385" y="8322"/>
                  <a:pt x="5371" y="8321"/>
                </a:cubicBezTo>
                <a:cubicBezTo>
                  <a:pt x="5416" y="8296"/>
                  <a:pt x="5475" y="8269"/>
                  <a:pt x="5516" y="8262"/>
                </a:cubicBezTo>
                <a:close/>
                <a:moveTo>
                  <a:pt x="9661" y="8285"/>
                </a:moveTo>
                <a:cubicBezTo>
                  <a:pt x="9662" y="8286"/>
                  <a:pt x="9663" y="8287"/>
                  <a:pt x="9664" y="8289"/>
                </a:cubicBezTo>
                <a:cubicBezTo>
                  <a:pt x="9671" y="8296"/>
                  <a:pt x="9683" y="8307"/>
                  <a:pt x="9694" y="8301"/>
                </a:cubicBezTo>
                <a:lnTo>
                  <a:pt x="9697" y="8301"/>
                </a:lnTo>
                <a:cubicBezTo>
                  <a:pt x="9697" y="8306"/>
                  <a:pt x="9695" y="8309"/>
                  <a:pt x="9695" y="8313"/>
                </a:cubicBezTo>
                <a:cubicBezTo>
                  <a:pt x="9695" y="8326"/>
                  <a:pt x="9699" y="8336"/>
                  <a:pt x="9702" y="8346"/>
                </a:cubicBezTo>
                <a:lnTo>
                  <a:pt x="9661" y="8285"/>
                </a:lnTo>
                <a:close/>
                <a:moveTo>
                  <a:pt x="12622" y="8294"/>
                </a:moveTo>
                <a:lnTo>
                  <a:pt x="12626" y="8308"/>
                </a:lnTo>
                <a:lnTo>
                  <a:pt x="12903" y="9323"/>
                </a:lnTo>
                <a:cubicBezTo>
                  <a:pt x="12891" y="9302"/>
                  <a:pt x="12875" y="9289"/>
                  <a:pt x="12858" y="9289"/>
                </a:cubicBezTo>
                <a:cubicBezTo>
                  <a:pt x="12817" y="9289"/>
                  <a:pt x="12784" y="9355"/>
                  <a:pt x="12784" y="9437"/>
                </a:cubicBezTo>
                <a:cubicBezTo>
                  <a:pt x="12784" y="9494"/>
                  <a:pt x="12800" y="9543"/>
                  <a:pt x="12824" y="9567"/>
                </a:cubicBezTo>
                <a:lnTo>
                  <a:pt x="12681" y="9927"/>
                </a:lnTo>
                <a:cubicBezTo>
                  <a:pt x="12681" y="9927"/>
                  <a:pt x="12673" y="9691"/>
                  <a:pt x="12666" y="9523"/>
                </a:cubicBezTo>
                <a:cubicBezTo>
                  <a:pt x="12693" y="9523"/>
                  <a:pt x="12715" y="9479"/>
                  <a:pt x="12715" y="9425"/>
                </a:cubicBezTo>
                <a:cubicBezTo>
                  <a:pt x="12715" y="9371"/>
                  <a:pt x="12693" y="9326"/>
                  <a:pt x="12666" y="9326"/>
                </a:cubicBezTo>
                <a:cubicBezTo>
                  <a:pt x="12663" y="9326"/>
                  <a:pt x="12662" y="9331"/>
                  <a:pt x="12660" y="9332"/>
                </a:cubicBezTo>
                <a:cubicBezTo>
                  <a:pt x="12646" y="8954"/>
                  <a:pt x="12632" y="8564"/>
                  <a:pt x="12632" y="8564"/>
                </a:cubicBezTo>
                <a:cubicBezTo>
                  <a:pt x="12638" y="8555"/>
                  <a:pt x="12640" y="8539"/>
                  <a:pt x="12637" y="8525"/>
                </a:cubicBezTo>
                <a:cubicBezTo>
                  <a:pt x="12635" y="8519"/>
                  <a:pt x="12633" y="8514"/>
                  <a:pt x="12630" y="8511"/>
                </a:cubicBezTo>
                <a:lnTo>
                  <a:pt x="12626" y="8427"/>
                </a:lnTo>
                <a:lnTo>
                  <a:pt x="12622" y="8294"/>
                </a:lnTo>
                <a:close/>
                <a:moveTo>
                  <a:pt x="9761" y="8301"/>
                </a:moveTo>
                <a:lnTo>
                  <a:pt x="9782" y="8301"/>
                </a:lnTo>
                <a:cubicBezTo>
                  <a:pt x="9793" y="8316"/>
                  <a:pt x="9806" y="8321"/>
                  <a:pt x="9817" y="8325"/>
                </a:cubicBezTo>
                <a:lnTo>
                  <a:pt x="9821" y="8327"/>
                </a:lnTo>
                <a:cubicBezTo>
                  <a:pt x="9822" y="8328"/>
                  <a:pt x="9823" y="8327"/>
                  <a:pt x="9824" y="8327"/>
                </a:cubicBezTo>
                <a:lnTo>
                  <a:pt x="9875" y="8327"/>
                </a:lnTo>
                <a:lnTo>
                  <a:pt x="9857" y="8403"/>
                </a:lnTo>
                <a:lnTo>
                  <a:pt x="9826" y="8530"/>
                </a:lnTo>
                <a:lnTo>
                  <a:pt x="9720" y="8374"/>
                </a:lnTo>
                <a:cubicBezTo>
                  <a:pt x="9723" y="8376"/>
                  <a:pt x="9726" y="8381"/>
                  <a:pt x="9729" y="8381"/>
                </a:cubicBezTo>
                <a:cubicBezTo>
                  <a:pt x="9748" y="8381"/>
                  <a:pt x="9763" y="8351"/>
                  <a:pt x="9763" y="8313"/>
                </a:cubicBezTo>
                <a:cubicBezTo>
                  <a:pt x="9763" y="8309"/>
                  <a:pt x="9761" y="8306"/>
                  <a:pt x="9761" y="8301"/>
                </a:cubicBezTo>
                <a:close/>
                <a:moveTo>
                  <a:pt x="16600" y="8308"/>
                </a:moveTo>
                <a:lnTo>
                  <a:pt x="16629" y="8462"/>
                </a:lnTo>
                <a:cubicBezTo>
                  <a:pt x="16611" y="8489"/>
                  <a:pt x="16599" y="8530"/>
                  <a:pt x="16599" y="8579"/>
                </a:cubicBezTo>
                <a:cubicBezTo>
                  <a:pt x="16599" y="8661"/>
                  <a:pt x="16632" y="8727"/>
                  <a:pt x="16672" y="8727"/>
                </a:cubicBezTo>
                <a:cubicBezTo>
                  <a:pt x="16674" y="8727"/>
                  <a:pt x="16676" y="8725"/>
                  <a:pt x="16678" y="8725"/>
                </a:cubicBezTo>
                <a:lnTo>
                  <a:pt x="16911" y="9982"/>
                </a:lnTo>
                <a:lnTo>
                  <a:pt x="16647" y="10086"/>
                </a:lnTo>
                <a:cubicBezTo>
                  <a:pt x="16638" y="10078"/>
                  <a:pt x="16628" y="10072"/>
                  <a:pt x="16617" y="10072"/>
                </a:cubicBezTo>
                <a:cubicBezTo>
                  <a:pt x="16595" y="10072"/>
                  <a:pt x="16577" y="10090"/>
                  <a:pt x="16563" y="10119"/>
                </a:cubicBezTo>
                <a:lnTo>
                  <a:pt x="16118" y="10294"/>
                </a:lnTo>
                <a:cubicBezTo>
                  <a:pt x="16123" y="10282"/>
                  <a:pt x="16127" y="10269"/>
                  <a:pt x="16127" y="10253"/>
                </a:cubicBezTo>
                <a:cubicBezTo>
                  <a:pt x="16127" y="10215"/>
                  <a:pt x="16112" y="10184"/>
                  <a:pt x="16093" y="10184"/>
                </a:cubicBezTo>
                <a:cubicBezTo>
                  <a:pt x="16074" y="10184"/>
                  <a:pt x="16059" y="10215"/>
                  <a:pt x="16059" y="10253"/>
                </a:cubicBezTo>
                <a:cubicBezTo>
                  <a:pt x="16059" y="10280"/>
                  <a:pt x="16068" y="10299"/>
                  <a:pt x="16080" y="10310"/>
                </a:cubicBezTo>
                <a:lnTo>
                  <a:pt x="15926" y="10370"/>
                </a:lnTo>
                <a:cubicBezTo>
                  <a:pt x="15918" y="10337"/>
                  <a:pt x="15906" y="10312"/>
                  <a:pt x="15891" y="10293"/>
                </a:cubicBezTo>
                <a:cubicBezTo>
                  <a:pt x="15941" y="10153"/>
                  <a:pt x="16077" y="9772"/>
                  <a:pt x="16136" y="9607"/>
                </a:cubicBezTo>
                <a:cubicBezTo>
                  <a:pt x="16152" y="9601"/>
                  <a:pt x="16164" y="9577"/>
                  <a:pt x="16164" y="9544"/>
                </a:cubicBezTo>
                <a:cubicBezTo>
                  <a:pt x="16164" y="9541"/>
                  <a:pt x="16163" y="9538"/>
                  <a:pt x="16162" y="9535"/>
                </a:cubicBezTo>
                <a:cubicBezTo>
                  <a:pt x="16165" y="9528"/>
                  <a:pt x="16182" y="9479"/>
                  <a:pt x="16182" y="9479"/>
                </a:cubicBezTo>
                <a:lnTo>
                  <a:pt x="16227" y="9353"/>
                </a:lnTo>
                <a:cubicBezTo>
                  <a:pt x="16258" y="9335"/>
                  <a:pt x="16281" y="9281"/>
                  <a:pt x="16281" y="9213"/>
                </a:cubicBezTo>
                <a:cubicBezTo>
                  <a:pt x="16281" y="9210"/>
                  <a:pt x="16281" y="9208"/>
                  <a:pt x="16281" y="9205"/>
                </a:cubicBezTo>
                <a:lnTo>
                  <a:pt x="16394" y="8884"/>
                </a:lnTo>
                <a:cubicBezTo>
                  <a:pt x="16396" y="8882"/>
                  <a:pt x="16397" y="8878"/>
                  <a:pt x="16398" y="8875"/>
                </a:cubicBezTo>
                <a:lnTo>
                  <a:pt x="16600" y="8308"/>
                </a:lnTo>
                <a:close/>
                <a:moveTo>
                  <a:pt x="9630" y="8315"/>
                </a:moveTo>
                <a:lnTo>
                  <a:pt x="9713" y="8437"/>
                </a:lnTo>
                <a:lnTo>
                  <a:pt x="9821" y="8596"/>
                </a:lnTo>
                <a:cubicBezTo>
                  <a:pt x="9821" y="8597"/>
                  <a:pt x="9821" y="8597"/>
                  <a:pt x="9821" y="8598"/>
                </a:cubicBezTo>
                <a:cubicBezTo>
                  <a:pt x="9822" y="8600"/>
                  <a:pt x="9823" y="8603"/>
                  <a:pt x="9824" y="8606"/>
                </a:cubicBezTo>
                <a:cubicBezTo>
                  <a:pt x="9825" y="8609"/>
                  <a:pt x="9826" y="8611"/>
                  <a:pt x="9828" y="8613"/>
                </a:cubicBezTo>
                <a:cubicBezTo>
                  <a:pt x="9829" y="8613"/>
                  <a:pt x="9830" y="8613"/>
                  <a:pt x="9831" y="8614"/>
                </a:cubicBezTo>
                <a:cubicBezTo>
                  <a:pt x="9832" y="8615"/>
                  <a:pt x="9833" y="8616"/>
                  <a:pt x="9835" y="8616"/>
                </a:cubicBezTo>
                <a:lnTo>
                  <a:pt x="9867" y="8664"/>
                </a:lnTo>
                <a:cubicBezTo>
                  <a:pt x="9873" y="8706"/>
                  <a:pt x="9889" y="8740"/>
                  <a:pt x="9912" y="8740"/>
                </a:cubicBezTo>
                <a:cubicBezTo>
                  <a:pt x="9914" y="8740"/>
                  <a:pt x="9914" y="8737"/>
                  <a:pt x="9916" y="8736"/>
                </a:cubicBezTo>
                <a:lnTo>
                  <a:pt x="10029" y="8904"/>
                </a:lnTo>
                <a:cubicBezTo>
                  <a:pt x="10019" y="8922"/>
                  <a:pt x="10011" y="8948"/>
                  <a:pt x="10011" y="8978"/>
                </a:cubicBezTo>
                <a:cubicBezTo>
                  <a:pt x="10011" y="9032"/>
                  <a:pt x="10034" y="9076"/>
                  <a:pt x="10061" y="9076"/>
                </a:cubicBezTo>
                <a:cubicBezTo>
                  <a:pt x="10067" y="9076"/>
                  <a:pt x="10070" y="9067"/>
                  <a:pt x="10075" y="9064"/>
                </a:cubicBezTo>
                <a:cubicBezTo>
                  <a:pt x="10066" y="9084"/>
                  <a:pt x="10054" y="9101"/>
                  <a:pt x="10038" y="9116"/>
                </a:cubicBezTo>
                <a:cubicBezTo>
                  <a:pt x="10024" y="9129"/>
                  <a:pt x="10016" y="9155"/>
                  <a:pt x="10009" y="9178"/>
                </a:cubicBezTo>
                <a:cubicBezTo>
                  <a:pt x="9997" y="9217"/>
                  <a:pt x="9991" y="9230"/>
                  <a:pt x="9976" y="9221"/>
                </a:cubicBezTo>
                <a:cubicBezTo>
                  <a:pt x="9974" y="9220"/>
                  <a:pt x="9971" y="9220"/>
                  <a:pt x="9968" y="9221"/>
                </a:cubicBezTo>
                <a:cubicBezTo>
                  <a:pt x="9954" y="9217"/>
                  <a:pt x="9934" y="9223"/>
                  <a:pt x="9919" y="9228"/>
                </a:cubicBezTo>
                <a:cubicBezTo>
                  <a:pt x="9914" y="9230"/>
                  <a:pt x="9908" y="9232"/>
                  <a:pt x="9906" y="9232"/>
                </a:cubicBezTo>
                <a:cubicBezTo>
                  <a:pt x="9876" y="9232"/>
                  <a:pt x="9853" y="9257"/>
                  <a:pt x="9833" y="9280"/>
                </a:cubicBezTo>
                <a:cubicBezTo>
                  <a:pt x="9825" y="9289"/>
                  <a:pt x="9818" y="9297"/>
                  <a:pt x="9810" y="9304"/>
                </a:cubicBezTo>
                <a:cubicBezTo>
                  <a:pt x="9808" y="9254"/>
                  <a:pt x="9788" y="9214"/>
                  <a:pt x="9763" y="9214"/>
                </a:cubicBezTo>
                <a:cubicBezTo>
                  <a:pt x="9758" y="9214"/>
                  <a:pt x="9754" y="9223"/>
                  <a:pt x="9749" y="9226"/>
                </a:cubicBezTo>
                <a:cubicBezTo>
                  <a:pt x="9738" y="9192"/>
                  <a:pt x="9724" y="9161"/>
                  <a:pt x="9699" y="9161"/>
                </a:cubicBezTo>
                <a:cubicBezTo>
                  <a:pt x="9678" y="9161"/>
                  <a:pt x="9661" y="9169"/>
                  <a:pt x="9646" y="9177"/>
                </a:cubicBezTo>
                <a:cubicBezTo>
                  <a:pt x="9633" y="9184"/>
                  <a:pt x="9621" y="9190"/>
                  <a:pt x="9606" y="9190"/>
                </a:cubicBezTo>
                <a:cubicBezTo>
                  <a:pt x="9606" y="9189"/>
                  <a:pt x="9605" y="9186"/>
                  <a:pt x="9605" y="9185"/>
                </a:cubicBezTo>
                <a:lnTo>
                  <a:pt x="9605" y="9015"/>
                </a:lnTo>
                <a:cubicBezTo>
                  <a:pt x="9605" y="9008"/>
                  <a:pt x="9601" y="9007"/>
                  <a:pt x="9599" y="9002"/>
                </a:cubicBezTo>
                <a:cubicBezTo>
                  <a:pt x="9642" y="8966"/>
                  <a:pt x="9673" y="8881"/>
                  <a:pt x="9673" y="8782"/>
                </a:cubicBezTo>
                <a:cubicBezTo>
                  <a:pt x="9673" y="8692"/>
                  <a:pt x="9648" y="8618"/>
                  <a:pt x="9611" y="8577"/>
                </a:cubicBezTo>
                <a:cubicBezTo>
                  <a:pt x="9612" y="8561"/>
                  <a:pt x="9614" y="8547"/>
                  <a:pt x="9614" y="8531"/>
                </a:cubicBezTo>
                <a:cubicBezTo>
                  <a:pt x="9614" y="8489"/>
                  <a:pt x="9605" y="8449"/>
                  <a:pt x="9599" y="8418"/>
                </a:cubicBezTo>
                <a:cubicBezTo>
                  <a:pt x="9595" y="8402"/>
                  <a:pt x="9592" y="8386"/>
                  <a:pt x="9591" y="8375"/>
                </a:cubicBezTo>
                <a:cubicBezTo>
                  <a:pt x="9596" y="8364"/>
                  <a:pt x="9611" y="8340"/>
                  <a:pt x="9630" y="8315"/>
                </a:cubicBezTo>
                <a:close/>
                <a:moveTo>
                  <a:pt x="10275" y="8345"/>
                </a:moveTo>
                <a:cubicBezTo>
                  <a:pt x="10280" y="8350"/>
                  <a:pt x="10284" y="8353"/>
                  <a:pt x="10289" y="8356"/>
                </a:cubicBezTo>
                <a:cubicBezTo>
                  <a:pt x="10287" y="8369"/>
                  <a:pt x="10284" y="8380"/>
                  <a:pt x="10284" y="8395"/>
                </a:cubicBezTo>
                <a:cubicBezTo>
                  <a:pt x="10284" y="8397"/>
                  <a:pt x="10284" y="8400"/>
                  <a:pt x="10284" y="8403"/>
                </a:cubicBezTo>
                <a:lnTo>
                  <a:pt x="10296" y="8488"/>
                </a:lnTo>
                <a:cubicBezTo>
                  <a:pt x="10285" y="8547"/>
                  <a:pt x="10251" y="8573"/>
                  <a:pt x="10204" y="8595"/>
                </a:cubicBezTo>
                <a:cubicBezTo>
                  <a:pt x="10181" y="8606"/>
                  <a:pt x="10158" y="8653"/>
                  <a:pt x="10143" y="8688"/>
                </a:cubicBezTo>
                <a:lnTo>
                  <a:pt x="10008" y="8627"/>
                </a:lnTo>
                <a:lnTo>
                  <a:pt x="9953" y="8601"/>
                </a:lnTo>
                <a:cubicBezTo>
                  <a:pt x="9948" y="8581"/>
                  <a:pt x="9941" y="8567"/>
                  <a:pt x="9931" y="8558"/>
                </a:cubicBezTo>
                <a:lnTo>
                  <a:pt x="10275" y="8345"/>
                </a:lnTo>
                <a:close/>
                <a:moveTo>
                  <a:pt x="6103" y="8356"/>
                </a:moveTo>
                <a:cubicBezTo>
                  <a:pt x="6062" y="8356"/>
                  <a:pt x="6029" y="8423"/>
                  <a:pt x="6029" y="8504"/>
                </a:cubicBezTo>
                <a:cubicBezTo>
                  <a:pt x="6029" y="8586"/>
                  <a:pt x="6062" y="8652"/>
                  <a:pt x="6103" y="8652"/>
                </a:cubicBezTo>
                <a:cubicBezTo>
                  <a:pt x="6144" y="8652"/>
                  <a:pt x="6177" y="8586"/>
                  <a:pt x="6177" y="8504"/>
                </a:cubicBezTo>
                <a:cubicBezTo>
                  <a:pt x="6177" y="8423"/>
                  <a:pt x="6144" y="8356"/>
                  <a:pt x="6103" y="8356"/>
                </a:cubicBezTo>
                <a:close/>
                <a:moveTo>
                  <a:pt x="4069" y="8370"/>
                </a:moveTo>
                <a:lnTo>
                  <a:pt x="4467" y="8484"/>
                </a:lnTo>
                <a:cubicBezTo>
                  <a:pt x="4468" y="8511"/>
                  <a:pt x="4478" y="8533"/>
                  <a:pt x="4492" y="8533"/>
                </a:cubicBezTo>
                <a:cubicBezTo>
                  <a:pt x="4503" y="8533"/>
                  <a:pt x="4510" y="8518"/>
                  <a:pt x="4514" y="8498"/>
                </a:cubicBezTo>
                <a:lnTo>
                  <a:pt x="4828" y="8588"/>
                </a:lnTo>
                <a:cubicBezTo>
                  <a:pt x="4845" y="8612"/>
                  <a:pt x="4866" y="8623"/>
                  <a:pt x="4884" y="8603"/>
                </a:cubicBezTo>
                <a:lnTo>
                  <a:pt x="4888" y="8605"/>
                </a:lnTo>
                <a:lnTo>
                  <a:pt x="4910" y="8612"/>
                </a:lnTo>
                <a:cubicBezTo>
                  <a:pt x="4910" y="8612"/>
                  <a:pt x="4490" y="10190"/>
                  <a:pt x="4490" y="10190"/>
                </a:cubicBezTo>
                <a:cubicBezTo>
                  <a:pt x="4457" y="10189"/>
                  <a:pt x="4433" y="10216"/>
                  <a:pt x="4416" y="10245"/>
                </a:cubicBezTo>
                <a:lnTo>
                  <a:pt x="4391" y="10110"/>
                </a:lnTo>
                <a:lnTo>
                  <a:pt x="4391" y="10108"/>
                </a:lnTo>
                <a:cubicBezTo>
                  <a:pt x="4391" y="10073"/>
                  <a:pt x="4384" y="10042"/>
                  <a:pt x="4373" y="10016"/>
                </a:cubicBezTo>
                <a:lnTo>
                  <a:pt x="4069" y="8370"/>
                </a:lnTo>
                <a:close/>
                <a:moveTo>
                  <a:pt x="10682" y="8374"/>
                </a:moveTo>
                <a:cubicBezTo>
                  <a:pt x="10673" y="8377"/>
                  <a:pt x="10667" y="8390"/>
                  <a:pt x="10661" y="8401"/>
                </a:cubicBezTo>
                <a:cubicBezTo>
                  <a:pt x="10658" y="8407"/>
                  <a:pt x="10653" y="8416"/>
                  <a:pt x="10651" y="8416"/>
                </a:cubicBezTo>
                <a:cubicBezTo>
                  <a:pt x="10646" y="8416"/>
                  <a:pt x="10642" y="8420"/>
                  <a:pt x="10638" y="8423"/>
                </a:cubicBezTo>
                <a:cubicBezTo>
                  <a:pt x="10637" y="8424"/>
                  <a:pt x="10636" y="8424"/>
                  <a:pt x="10636" y="8424"/>
                </a:cubicBezTo>
                <a:cubicBezTo>
                  <a:pt x="10631" y="8424"/>
                  <a:pt x="10626" y="8431"/>
                  <a:pt x="10623" y="8440"/>
                </a:cubicBezTo>
                <a:cubicBezTo>
                  <a:pt x="10620" y="8450"/>
                  <a:pt x="10621" y="8461"/>
                  <a:pt x="10624" y="8470"/>
                </a:cubicBezTo>
                <a:cubicBezTo>
                  <a:pt x="10626" y="8479"/>
                  <a:pt x="10630" y="8501"/>
                  <a:pt x="10632" y="8522"/>
                </a:cubicBezTo>
                <a:cubicBezTo>
                  <a:pt x="10637" y="8556"/>
                  <a:pt x="10643" y="8588"/>
                  <a:pt x="10651" y="8613"/>
                </a:cubicBezTo>
                <a:cubicBezTo>
                  <a:pt x="10638" y="8593"/>
                  <a:pt x="10623" y="8580"/>
                  <a:pt x="10606" y="8580"/>
                </a:cubicBezTo>
                <a:cubicBezTo>
                  <a:pt x="10565" y="8580"/>
                  <a:pt x="10532" y="8646"/>
                  <a:pt x="10532" y="8728"/>
                </a:cubicBezTo>
                <a:cubicBezTo>
                  <a:pt x="10532" y="8810"/>
                  <a:pt x="10565" y="8876"/>
                  <a:pt x="10606" y="8876"/>
                </a:cubicBezTo>
                <a:cubicBezTo>
                  <a:pt x="10610" y="8876"/>
                  <a:pt x="10612" y="8874"/>
                  <a:pt x="10616" y="8873"/>
                </a:cubicBezTo>
                <a:cubicBezTo>
                  <a:pt x="10615" y="8874"/>
                  <a:pt x="10615" y="8875"/>
                  <a:pt x="10615" y="8876"/>
                </a:cubicBezTo>
                <a:cubicBezTo>
                  <a:pt x="10615" y="8877"/>
                  <a:pt x="10615" y="8878"/>
                  <a:pt x="10615" y="8880"/>
                </a:cubicBezTo>
                <a:cubicBezTo>
                  <a:pt x="10615" y="8915"/>
                  <a:pt x="10615" y="8999"/>
                  <a:pt x="10651" y="8999"/>
                </a:cubicBezTo>
                <a:cubicBezTo>
                  <a:pt x="10677" y="8999"/>
                  <a:pt x="10721" y="8925"/>
                  <a:pt x="10721" y="8849"/>
                </a:cubicBezTo>
                <a:cubicBezTo>
                  <a:pt x="10721" y="8836"/>
                  <a:pt x="10722" y="8824"/>
                  <a:pt x="10722" y="8813"/>
                </a:cubicBezTo>
                <a:cubicBezTo>
                  <a:pt x="10723" y="8764"/>
                  <a:pt x="10724" y="8722"/>
                  <a:pt x="10707" y="8661"/>
                </a:cubicBezTo>
                <a:cubicBezTo>
                  <a:pt x="10705" y="8653"/>
                  <a:pt x="10701" y="8647"/>
                  <a:pt x="10696" y="8645"/>
                </a:cubicBezTo>
                <a:cubicBezTo>
                  <a:pt x="10696" y="8644"/>
                  <a:pt x="10695" y="8644"/>
                  <a:pt x="10695" y="8643"/>
                </a:cubicBezTo>
                <a:cubicBezTo>
                  <a:pt x="10693" y="8640"/>
                  <a:pt x="10690" y="8637"/>
                  <a:pt x="10688" y="8634"/>
                </a:cubicBezTo>
                <a:cubicBezTo>
                  <a:pt x="10692" y="8616"/>
                  <a:pt x="10695" y="8582"/>
                  <a:pt x="10700" y="8529"/>
                </a:cubicBezTo>
                <a:cubicBezTo>
                  <a:pt x="10703" y="8503"/>
                  <a:pt x="10706" y="8477"/>
                  <a:pt x="10708" y="8458"/>
                </a:cubicBezTo>
                <a:cubicBezTo>
                  <a:pt x="10710" y="8445"/>
                  <a:pt x="10707" y="8430"/>
                  <a:pt x="10701" y="8424"/>
                </a:cubicBezTo>
                <a:cubicBezTo>
                  <a:pt x="10700" y="8421"/>
                  <a:pt x="10700" y="8414"/>
                  <a:pt x="10700" y="8403"/>
                </a:cubicBezTo>
                <a:cubicBezTo>
                  <a:pt x="10700" y="8394"/>
                  <a:pt x="10698" y="8385"/>
                  <a:pt x="10695" y="8380"/>
                </a:cubicBezTo>
                <a:cubicBezTo>
                  <a:pt x="10691" y="8374"/>
                  <a:pt x="10686" y="8372"/>
                  <a:pt x="10682" y="8374"/>
                </a:cubicBezTo>
                <a:close/>
                <a:moveTo>
                  <a:pt x="14107" y="8374"/>
                </a:moveTo>
                <a:lnTo>
                  <a:pt x="14238" y="8411"/>
                </a:lnTo>
                <a:cubicBezTo>
                  <a:pt x="14238" y="8416"/>
                  <a:pt x="14235" y="8420"/>
                  <a:pt x="14235" y="8425"/>
                </a:cubicBezTo>
                <a:cubicBezTo>
                  <a:pt x="14235" y="8463"/>
                  <a:pt x="14251" y="8493"/>
                  <a:pt x="14270" y="8493"/>
                </a:cubicBezTo>
                <a:cubicBezTo>
                  <a:pt x="14288" y="8493"/>
                  <a:pt x="14301" y="8465"/>
                  <a:pt x="14302" y="8430"/>
                </a:cubicBezTo>
                <a:lnTo>
                  <a:pt x="14430" y="8466"/>
                </a:lnTo>
                <a:cubicBezTo>
                  <a:pt x="14414" y="8493"/>
                  <a:pt x="14403" y="8533"/>
                  <a:pt x="14403" y="8579"/>
                </a:cubicBezTo>
                <a:cubicBezTo>
                  <a:pt x="14403" y="8661"/>
                  <a:pt x="14436" y="8727"/>
                  <a:pt x="14477" y="8727"/>
                </a:cubicBezTo>
                <a:cubicBezTo>
                  <a:pt x="14517" y="8727"/>
                  <a:pt x="14551" y="8661"/>
                  <a:pt x="14551" y="8579"/>
                </a:cubicBezTo>
                <a:cubicBezTo>
                  <a:pt x="14551" y="8548"/>
                  <a:pt x="14545" y="8520"/>
                  <a:pt x="14537" y="8496"/>
                </a:cubicBezTo>
                <a:lnTo>
                  <a:pt x="14664" y="8533"/>
                </a:lnTo>
                <a:cubicBezTo>
                  <a:pt x="14664" y="8536"/>
                  <a:pt x="14663" y="8539"/>
                  <a:pt x="14663" y="8542"/>
                </a:cubicBezTo>
                <a:cubicBezTo>
                  <a:pt x="14663" y="8586"/>
                  <a:pt x="14673" y="8625"/>
                  <a:pt x="14689" y="8652"/>
                </a:cubicBezTo>
                <a:cubicBezTo>
                  <a:pt x="14672" y="8656"/>
                  <a:pt x="14656" y="8663"/>
                  <a:pt x="14637" y="8663"/>
                </a:cubicBezTo>
                <a:cubicBezTo>
                  <a:pt x="14588" y="8663"/>
                  <a:pt x="14543" y="8890"/>
                  <a:pt x="14538" y="8965"/>
                </a:cubicBezTo>
                <a:cubicBezTo>
                  <a:pt x="14537" y="8980"/>
                  <a:pt x="14541" y="8994"/>
                  <a:pt x="14549" y="8997"/>
                </a:cubicBezTo>
                <a:cubicBezTo>
                  <a:pt x="14554" y="9000"/>
                  <a:pt x="14559" y="9003"/>
                  <a:pt x="14564" y="9006"/>
                </a:cubicBezTo>
                <a:cubicBezTo>
                  <a:pt x="14572" y="9010"/>
                  <a:pt x="14580" y="9002"/>
                  <a:pt x="14583" y="8986"/>
                </a:cubicBezTo>
                <a:cubicBezTo>
                  <a:pt x="14583" y="8983"/>
                  <a:pt x="14583" y="8980"/>
                  <a:pt x="14583" y="8978"/>
                </a:cubicBezTo>
                <a:cubicBezTo>
                  <a:pt x="14583" y="8965"/>
                  <a:pt x="14579" y="8952"/>
                  <a:pt x="14572" y="8948"/>
                </a:cubicBezTo>
                <a:cubicBezTo>
                  <a:pt x="14571" y="8948"/>
                  <a:pt x="14570" y="8948"/>
                  <a:pt x="14570" y="8947"/>
                </a:cubicBezTo>
                <a:cubicBezTo>
                  <a:pt x="14575" y="8908"/>
                  <a:pt x="14584" y="8863"/>
                  <a:pt x="14595" y="8824"/>
                </a:cubicBezTo>
                <a:cubicBezTo>
                  <a:pt x="14599" y="8808"/>
                  <a:pt x="14604" y="8793"/>
                  <a:pt x="14608" y="8779"/>
                </a:cubicBezTo>
                <a:cubicBezTo>
                  <a:pt x="14619" y="8746"/>
                  <a:pt x="14630" y="8722"/>
                  <a:pt x="14637" y="8722"/>
                </a:cubicBezTo>
                <a:cubicBezTo>
                  <a:pt x="14729" y="8722"/>
                  <a:pt x="14805" y="8677"/>
                  <a:pt x="14863" y="8589"/>
                </a:cubicBezTo>
                <a:lnTo>
                  <a:pt x="14904" y="8601"/>
                </a:lnTo>
                <a:cubicBezTo>
                  <a:pt x="14912" y="8617"/>
                  <a:pt x="14923" y="8628"/>
                  <a:pt x="14936" y="8628"/>
                </a:cubicBezTo>
                <a:cubicBezTo>
                  <a:pt x="14940" y="8628"/>
                  <a:pt x="14943" y="8621"/>
                  <a:pt x="14947" y="8619"/>
                </a:cubicBezTo>
                <a:lnTo>
                  <a:pt x="14898" y="8805"/>
                </a:lnTo>
                <a:cubicBezTo>
                  <a:pt x="14885" y="8782"/>
                  <a:pt x="14868" y="8767"/>
                  <a:pt x="14849" y="8767"/>
                </a:cubicBezTo>
                <a:cubicBezTo>
                  <a:pt x="14808" y="8767"/>
                  <a:pt x="14775" y="8833"/>
                  <a:pt x="14775" y="8915"/>
                </a:cubicBezTo>
                <a:cubicBezTo>
                  <a:pt x="14775" y="8984"/>
                  <a:pt x="14799" y="9039"/>
                  <a:pt x="14831" y="9056"/>
                </a:cubicBezTo>
                <a:lnTo>
                  <a:pt x="14551" y="10106"/>
                </a:lnTo>
                <a:cubicBezTo>
                  <a:pt x="14545" y="10067"/>
                  <a:pt x="14530" y="10035"/>
                  <a:pt x="14508" y="10035"/>
                </a:cubicBezTo>
                <a:cubicBezTo>
                  <a:pt x="14481" y="10035"/>
                  <a:pt x="14459" y="10080"/>
                  <a:pt x="14459" y="10134"/>
                </a:cubicBezTo>
                <a:cubicBezTo>
                  <a:pt x="14459" y="10189"/>
                  <a:pt x="14481" y="10232"/>
                  <a:pt x="14508" y="10232"/>
                </a:cubicBezTo>
                <a:cubicBezTo>
                  <a:pt x="14513" y="10232"/>
                  <a:pt x="14516" y="10225"/>
                  <a:pt x="14520" y="10223"/>
                </a:cubicBezTo>
                <a:lnTo>
                  <a:pt x="14478" y="10380"/>
                </a:lnTo>
                <a:cubicBezTo>
                  <a:pt x="14478" y="10380"/>
                  <a:pt x="14386" y="9884"/>
                  <a:pt x="14295" y="9389"/>
                </a:cubicBezTo>
                <a:cubicBezTo>
                  <a:pt x="14324" y="9370"/>
                  <a:pt x="14346" y="9316"/>
                  <a:pt x="14346" y="9250"/>
                </a:cubicBezTo>
                <a:cubicBezTo>
                  <a:pt x="14346" y="9169"/>
                  <a:pt x="14313" y="9102"/>
                  <a:pt x="14272" y="9102"/>
                </a:cubicBezTo>
                <a:cubicBezTo>
                  <a:pt x="14262" y="9102"/>
                  <a:pt x="14252" y="9107"/>
                  <a:pt x="14244" y="9114"/>
                </a:cubicBezTo>
                <a:cubicBezTo>
                  <a:pt x="14180" y="8769"/>
                  <a:pt x="14107" y="8374"/>
                  <a:pt x="14107" y="8374"/>
                </a:cubicBezTo>
                <a:close/>
                <a:moveTo>
                  <a:pt x="3317" y="8388"/>
                </a:moveTo>
                <a:lnTo>
                  <a:pt x="3360" y="8820"/>
                </a:lnTo>
                <a:cubicBezTo>
                  <a:pt x="3332" y="8864"/>
                  <a:pt x="3313" y="8929"/>
                  <a:pt x="3313" y="9006"/>
                </a:cubicBezTo>
                <a:cubicBezTo>
                  <a:pt x="3313" y="9115"/>
                  <a:pt x="3350" y="9203"/>
                  <a:pt x="3400" y="9232"/>
                </a:cubicBezTo>
                <a:lnTo>
                  <a:pt x="3442" y="9667"/>
                </a:lnTo>
                <a:lnTo>
                  <a:pt x="3064" y="9809"/>
                </a:lnTo>
                <a:cubicBezTo>
                  <a:pt x="3027" y="9694"/>
                  <a:pt x="2938" y="9613"/>
                  <a:pt x="2847" y="9542"/>
                </a:cubicBezTo>
                <a:cubicBezTo>
                  <a:pt x="2846" y="9541"/>
                  <a:pt x="2845" y="9541"/>
                  <a:pt x="2844" y="9533"/>
                </a:cubicBezTo>
                <a:lnTo>
                  <a:pt x="2919" y="9353"/>
                </a:lnTo>
                <a:cubicBezTo>
                  <a:pt x="2926" y="9357"/>
                  <a:pt x="2932" y="9361"/>
                  <a:pt x="2940" y="9361"/>
                </a:cubicBezTo>
                <a:cubicBezTo>
                  <a:pt x="2981" y="9361"/>
                  <a:pt x="3014" y="9295"/>
                  <a:pt x="3014" y="9213"/>
                </a:cubicBezTo>
                <a:cubicBezTo>
                  <a:pt x="3014" y="9188"/>
                  <a:pt x="3010" y="9166"/>
                  <a:pt x="3004" y="9145"/>
                </a:cubicBezTo>
                <a:lnTo>
                  <a:pt x="3317" y="8388"/>
                </a:lnTo>
                <a:close/>
                <a:moveTo>
                  <a:pt x="4041" y="8391"/>
                </a:moveTo>
                <a:lnTo>
                  <a:pt x="4059" y="8495"/>
                </a:lnTo>
                <a:cubicBezTo>
                  <a:pt x="4047" y="8479"/>
                  <a:pt x="4034" y="8468"/>
                  <a:pt x="4019" y="8468"/>
                </a:cubicBezTo>
                <a:cubicBezTo>
                  <a:pt x="4014" y="8468"/>
                  <a:pt x="4010" y="8472"/>
                  <a:pt x="4005" y="8474"/>
                </a:cubicBezTo>
                <a:cubicBezTo>
                  <a:pt x="4013" y="8456"/>
                  <a:pt x="4041" y="8391"/>
                  <a:pt x="4041" y="8391"/>
                </a:cubicBezTo>
                <a:close/>
                <a:moveTo>
                  <a:pt x="13355" y="8391"/>
                </a:moveTo>
                <a:lnTo>
                  <a:pt x="13370" y="8538"/>
                </a:lnTo>
                <a:cubicBezTo>
                  <a:pt x="13367" y="8528"/>
                  <a:pt x="13365" y="8519"/>
                  <a:pt x="13365" y="8508"/>
                </a:cubicBezTo>
                <a:cubicBezTo>
                  <a:pt x="13365" y="8499"/>
                  <a:pt x="13362" y="8491"/>
                  <a:pt x="13359" y="8486"/>
                </a:cubicBezTo>
                <a:cubicBezTo>
                  <a:pt x="13356" y="8481"/>
                  <a:pt x="13353" y="8480"/>
                  <a:pt x="13350" y="8480"/>
                </a:cubicBezTo>
                <a:cubicBezTo>
                  <a:pt x="13349" y="8480"/>
                  <a:pt x="13348" y="8480"/>
                  <a:pt x="13347" y="8480"/>
                </a:cubicBezTo>
                <a:cubicBezTo>
                  <a:pt x="13338" y="8483"/>
                  <a:pt x="13322" y="8496"/>
                  <a:pt x="13304" y="8514"/>
                </a:cubicBezTo>
                <a:cubicBezTo>
                  <a:pt x="13304" y="8514"/>
                  <a:pt x="13342" y="8423"/>
                  <a:pt x="13342" y="8423"/>
                </a:cubicBezTo>
                <a:lnTo>
                  <a:pt x="13355" y="8391"/>
                </a:lnTo>
                <a:close/>
                <a:moveTo>
                  <a:pt x="5236" y="8394"/>
                </a:moveTo>
                <a:cubicBezTo>
                  <a:pt x="5222" y="8394"/>
                  <a:pt x="5211" y="8416"/>
                  <a:pt x="5211" y="8445"/>
                </a:cubicBezTo>
                <a:cubicBezTo>
                  <a:pt x="5211" y="8453"/>
                  <a:pt x="5213" y="8459"/>
                  <a:pt x="5215" y="8466"/>
                </a:cubicBezTo>
                <a:cubicBezTo>
                  <a:pt x="5190" y="8466"/>
                  <a:pt x="5164" y="8471"/>
                  <a:pt x="5146" y="8508"/>
                </a:cubicBezTo>
                <a:cubicBezTo>
                  <a:pt x="5143" y="8514"/>
                  <a:pt x="5141" y="8520"/>
                  <a:pt x="5138" y="8526"/>
                </a:cubicBezTo>
                <a:cubicBezTo>
                  <a:pt x="5134" y="8539"/>
                  <a:pt x="5133" y="8542"/>
                  <a:pt x="5127" y="8542"/>
                </a:cubicBezTo>
                <a:cubicBezTo>
                  <a:pt x="5123" y="8542"/>
                  <a:pt x="5115" y="8528"/>
                  <a:pt x="5108" y="8504"/>
                </a:cubicBezTo>
                <a:cubicBezTo>
                  <a:pt x="5104" y="8493"/>
                  <a:pt x="5097" y="8488"/>
                  <a:pt x="5091" y="8491"/>
                </a:cubicBezTo>
                <a:cubicBezTo>
                  <a:pt x="5084" y="8495"/>
                  <a:pt x="5080" y="8507"/>
                  <a:pt x="5080" y="8521"/>
                </a:cubicBezTo>
                <a:cubicBezTo>
                  <a:pt x="5080" y="8576"/>
                  <a:pt x="5092" y="8657"/>
                  <a:pt x="5124" y="8657"/>
                </a:cubicBezTo>
                <a:cubicBezTo>
                  <a:pt x="5170" y="8657"/>
                  <a:pt x="5238" y="8595"/>
                  <a:pt x="5292" y="8542"/>
                </a:cubicBezTo>
                <a:cubicBezTo>
                  <a:pt x="5292" y="8541"/>
                  <a:pt x="5293" y="8540"/>
                  <a:pt x="5294" y="8539"/>
                </a:cubicBezTo>
                <a:cubicBezTo>
                  <a:pt x="5294" y="8539"/>
                  <a:pt x="5295" y="8538"/>
                  <a:pt x="5295" y="8538"/>
                </a:cubicBezTo>
                <a:lnTo>
                  <a:pt x="5329" y="8504"/>
                </a:lnTo>
                <a:cubicBezTo>
                  <a:pt x="5333" y="8500"/>
                  <a:pt x="5336" y="8494"/>
                  <a:pt x="5337" y="8484"/>
                </a:cubicBezTo>
                <a:cubicBezTo>
                  <a:pt x="5337" y="8478"/>
                  <a:pt x="5337" y="8471"/>
                  <a:pt x="5336" y="8465"/>
                </a:cubicBezTo>
                <a:cubicBezTo>
                  <a:pt x="5334" y="8460"/>
                  <a:pt x="5332" y="8455"/>
                  <a:pt x="5330" y="8452"/>
                </a:cubicBezTo>
                <a:cubicBezTo>
                  <a:pt x="5325" y="8446"/>
                  <a:pt x="5320" y="8446"/>
                  <a:pt x="5315" y="8451"/>
                </a:cubicBezTo>
                <a:cubicBezTo>
                  <a:pt x="5310" y="8455"/>
                  <a:pt x="5305" y="8462"/>
                  <a:pt x="5298" y="8468"/>
                </a:cubicBezTo>
                <a:lnTo>
                  <a:pt x="5282" y="8484"/>
                </a:lnTo>
                <a:cubicBezTo>
                  <a:pt x="5282" y="8485"/>
                  <a:pt x="5282" y="8485"/>
                  <a:pt x="5281" y="8486"/>
                </a:cubicBezTo>
                <a:cubicBezTo>
                  <a:pt x="5280" y="8485"/>
                  <a:pt x="5277" y="8482"/>
                  <a:pt x="5274" y="8480"/>
                </a:cubicBezTo>
                <a:cubicBezTo>
                  <a:pt x="5270" y="8477"/>
                  <a:pt x="5262" y="8476"/>
                  <a:pt x="5256" y="8473"/>
                </a:cubicBezTo>
                <a:cubicBezTo>
                  <a:pt x="5259" y="8464"/>
                  <a:pt x="5262" y="8456"/>
                  <a:pt x="5262" y="8445"/>
                </a:cubicBezTo>
                <a:cubicBezTo>
                  <a:pt x="5262" y="8416"/>
                  <a:pt x="5250" y="8394"/>
                  <a:pt x="5236" y="8394"/>
                </a:cubicBezTo>
                <a:close/>
                <a:moveTo>
                  <a:pt x="6414" y="8394"/>
                </a:moveTo>
                <a:cubicBezTo>
                  <a:pt x="6386" y="8394"/>
                  <a:pt x="6364" y="8438"/>
                  <a:pt x="6364" y="8493"/>
                </a:cubicBezTo>
                <a:cubicBezTo>
                  <a:pt x="6364" y="8547"/>
                  <a:pt x="6386" y="8591"/>
                  <a:pt x="6414" y="8591"/>
                </a:cubicBezTo>
                <a:cubicBezTo>
                  <a:pt x="6441" y="8591"/>
                  <a:pt x="6462" y="8547"/>
                  <a:pt x="6462" y="8493"/>
                </a:cubicBezTo>
                <a:cubicBezTo>
                  <a:pt x="6462" y="8438"/>
                  <a:pt x="6441" y="8394"/>
                  <a:pt x="6414" y="8394"/>
                </a:cubicBezTo>
                <a:close/>
                <a:moveTo>
                  <a:pt x="14078" y="8395"/>
                </a:moveTo>
                <a:lnTo>
                  <a:pt x="14194" y="9031"/>
                </a:lnTo>
                <a:lnTo>
                  <a:pt x="14213" y="9137"/>
                </a:lnTo>
                <a:cubicBezTo>
                  <a:pt x="14206" y="9124"/>
                  <a:pt x="14197" y="9108"/>
                  <a:pt x="14184" y="9108"/>
                </a:cubicBezTo>
                <a:cubicBezTo>
                  <a:pt x="14179" y="9108"/>
                  <a:pt x="14174" y="9110"/>
                  <a:pt x="14167" y="9113"/>
                </a:cubicBezTo>
                <a:cubicBezTo>
                  <a:pt x="14159" y="9116"/>
                  <a:pt x="14149" y="9120"/>
                  <a:pt x="14140" y="9120"/>
                </a:cubicBezTo>
                <a:cubicBezTo>
                  <a:pt x="14132" y="9120"/>
                  <a:pt x="14130" y="9116"/>
                  <a:pt x="14130" y="9116"/>
                </a:cubicBezTo>
                <a:cubicBezTo>
                  <a:pt x="14129" y="9100"/>
                  <a:pt x="14121" y="9089"/>
                  <a:pt x="14113" y="9092"/>
                </a:cubicBezTo>
                <a:cubicBezTo>
                  <a:pt x="14105" y="9095"/>
                  <a:pt x="14099" y="9111"/>
                  <a:pt x="14100" y="9127"/>
                </a:cubicBezTo>
                <a:cubicBezTo>
                  <a:pt x="14102" y="9147"/>
                  <a:pt x="14110" y="9180"/>
                  <a:pt x="14140" y="9180"/>
                </a:cubicBezTo>
                <a:cubicBezTo>
                  <a:pt x="14151" y="9180"/>
                  <a:pt x="14163" y="9176"/>
                  <a:pt x="14173" y="9172"/>
                </a:cubicBezTo>
                <a:cubicBezTo>
                  <a:pt x="14177" y="9171"/>
                  <a:pt x="14181" y="9169"/>
                  <a:pt x="14184" y="9169"/>
                </a:cubicBezTo>
                <a:cubicBezTo>
                  <a:pt x="14186" y="9169"/>
                  <a:pt x="14189" y="9176"/>
                  <a:pt x="14193" y="9184"/>
                </a:cubicBezTo>
                <a:cubicBezTo>
                  <a:pt x="14196" y="9189"/>
                  <a:pt x="14200" y="9194"/>
                  <a:pt x="14203" y="9199"/>
                </a:cubicBezTo>
                <a:cubicBezTo>
                  <a:pt x="14203" y="9203"/>
                  <a:pt x="14203" y="9209"/>
                  <a:pt x="14202" y="9213"/>
                </a:cubicBezTo>
                <a:lnTo>
                  <a:pt x="13893" y="9410"/>
                </a:lnTo>
                <a:cubicBezTo>
                  <a:pt x="13891" y="9400"/>
                  <a:pt x="13886" y="9394"/>
                  <a:pt x="13880" y="9394"/>
                </a:cubicBezTo>
                <a:cubicBezTo>
                  <a:pt x="13877" y="9394"/>
                  <a:pt x="13871" y="9385"/>
                  <a:pt x="13866" y="9379"/>
                </a:cubicBezTo>
                <a:cubicBezTo>
                  <a:pt x="13857" y="9367"/>
                  <a:pt x="13847" y="9354"/>
                  <a:pt x="13835" y="9354"/>
                </a:cubicBezTo>
                <a:cubicBezTo>
                  <a:pt x="13832" y="9354"/>
                  <a:pt x="13829" y="9355"/>
                  <a:pt x="13827" y="9356"/>
                </a:cubicBezTo>
                <a:cubicBezTo>
                  <a:pt x="13826" y="9346"/>
                  <a:pt x="13826" y="9335"/>
                  <a:pt x="13825" y="9325"/>
                </a:cubicBezTo>
                <a:cubicBezTo>
                  <a:pt x="13825" y="9309"/>
                  <a:pt x="13818" y="9296"/>
                  <a:pt x="13810" y="9296"/>
                </a:cubicBezTo>
                <a:cubicBezTo>
                  <a:pt x="13802" y="9296"/>
                  <a:pt x="13796" y="9310"/>
                  <a:pt x="13796" y="9326"/>
                </a:cubicBezTo>
                <a:lnTo>
                  <a:pt x="13795" y="9335"/>
                </a:lnTo>
                <a:cubicBezTo>
                  <a:pt x="13795" y="9359"/>
                  <a:pt x="13795" y="9383"/>
                  <a:pt x="13799" y="9405"/>
                </a:cubicBezTo>
                <a:cubicBezTo>
                  <a:pt x="13795" y="9404"/>
                  <a:pt x="13792" y="9401"/>
                  <a:pt x="13788" y="9401"/>
                </a:cubicBezTo>
                <a:cubicBezTo>
                  <a:pt x="13752" y="9401"/>
                  <a:pt x="13724" y="9454"/>
                  <a:pt x="13717" y="9522"/>
                </a:cubicBezTo>
                <a:lnTo>
                  <a:pt x="13544" y="9633"/>
                </a:lnTo>
                <a:lnTo>
                  <a:pt x="13747" y="9163"/>
                </a:lnTo>
                <a:cubicBezTo>
                  <a:pt x="13748" y="9163"/>
                  <a:pt x="13748" y="9164"/>
                  <a:pt x="13749" y="9164"/>
                </a:cubicBezTo>
                <a:cubicBezTo>
                  <a:pt x="13767" y="9164"/>
                  <a:pt x="13782" y="9134"/>
                  <a:pt x="13782" y="9097"/>
                </a:cubicBezTo>
                <a:cubicBezTo>
                  <a:pt x="13782" y="9092"/>
                  <a:pt x="13780" y="9090"/>
                  <a:pt x="13780" y="9086"/>
                </a:cubicBezTo>
                <a:lnTo>
                  <a:pt x="13949" y="8695"/>
                </a:lnTo>
                <a:cubicBezTo>
                  <a:pt x="13958" y="8721"/>
                  <a:pt x="13970" y="8740"/>
                  <a:pt x="13987" y="8740"/>
                </a:cubicBezTo>
                <a:cubicBezTo>
                  <a:pt x="14014" y="8740"/>
                  <a:pt x="14036" y="8696"/>
                  <a:pt x="14036" y="8642"/>
                </a:cubicBezTo>
                <a:cubicBezTo>
                  <a:pt x="14036" y="8603"/>
                  <a:pt x="14023" y="8577"/>
                  <a:pt x="14007" y="8560"/>
                </a:cubicBezTo>
                <a:lnTo>
                  <a:pt x="14078" y="8395"/>
                </a:lnTo>
                <a:close/>
                <a:moveTo>
                  <a:pt x="18601" y="8406"/>
                </a:moveTo>
                <a:cubicBezTo>
                  <a:pt x="18601" y="8406"/>
                  <a:pt x="18603" y="8407"/>
                  <a:pt x="18604" y="8408"/>
                </a:cubicBezTo>
                <a:cubicBezTo>
                  <a:pt x="18602" y="8409"/>
                  <a:pt x="18600" y="8410"/>
                  <a:pt x="18598" y="8412"/>
                </a:cubicBezTo>
                <a:cubicBezTo>
                  <a:pt x="18598" y="8411"/>
                  <a:pt x="18598" y="8408"/>
                  <a:pt x="18598" y="8408"/>
                </a:cubicBezTo>
                <a:cubicBezTo>
                  <a:pt x="18598" y="8407"/>
                  <a:pt x="18599" y="8406"/>
                  <a:pt x="18601" y="8406"/>
                </a:cubicBezTo>
                <a:close/>
                <a:moveTo>
                  <a:pt x="14938" y="8410"/>
                </a:moveTo>
                <a:cubicBezTo>
                  <a:pt x="14938" y="8410"/>
                  <a:pt x="14940" y="8428"/>
                  <a:pt x="14941" y="8436"/>
                </a:cubicBezTo>
                <a:cubicBezTo>
                  <a:pt x="14939" y="8435"/>
                  <a:pt x="14938" y="8431"/>
                  <a:pt x="14936" y="8431"/>
                </a:cubicBezTo>
                <a:cubicBezTo>
                  <a:pt x="14934" y="8431"/>
                  <a:pt x="14932" y="8435"/>
                  <a:pt x="14930" y="8436"/>
                </a:cubicBezTo>
                <a:cubicBezTo>
                  <a:pt x="14932" y="8429"/>
                  <a:pt x="14934" y="8423"/>
                  <a:pt x="14936" y="8417"/>
                </a:cubicBezTo>
                <a:cubicBezTo>
                  <a:pt x="14937" y="8415"/>
                  <a:pt x="14938" y="8412"/>
                  <a:pt x="14938" y="8410"/>
                </a:cubicBezTo>
                <a:close/>
                <a:moveTo>
                  <a:pt x="3033" y="8431"/>
                </a:moveTo>
                <a:cubicBezTo>
                  <a:pt x="2992" y="8431"/>
                  <a:pt x="2959" y="8497"/>
                  <a:pt x="2959" y="8579"/>
                </a:cubicBezTo>
                <a:cubicBezTo>
                  <a:pt x="2959" y="8661"/>
                  <a:pt x="2992" y="8727"/>
                  <a:pt x="3033" y="8727"/>
                </a:cubicBezTo>
                <a:cubicBezTo>
                  <a:pt x="3074" y="8727"/>
                  <a:pt x="3107" y="8661"/>
                  <a:pt x="3107" y="8579"/>
                </a:cubicBezTo>
                <a:cubicBezTo>
                  <a:pt x="3107" y="8497"/>
                  <a:pt x="3074" y="8431"/>
                  <a:pt x="3033" y="8431"/>
                </a:cubicBezTo>
                <a:close/>
                <a:moveTo>
                  <a:pt x="15275" y="8431"/>
                </a:moveTo>
                <a:cubicBezTo>
                  <a:pt x="15256" y="8431"/>
                  <a:pt x="15240" y="8462"/>
                  <a:pt x="15240" y="8500"/>
                </a:cubicBezTo>
                <a:cubicBezTo>
                  <a:pt x="15240" y="8537"/>
                  <a:pt x="15256" y="8567"/>
                  <a:pt x="15275" y="8567"/>
                </a:cubicBezTo>
                <a:cubicBezTo>
                  <a:pt x="15293" y="8567"/>
                  <a:pt x="15308" y="8537"/>
                  <a:pt x="15308" y="8500"/>
                </a:cubicBezTo>
                <a:cubicBezTo>
                  <a:pt x="15308" y="8462"/>
                  <a:pt x="15293" y="8431"/>
                  <a:pt x="15275" y="8431"/>
                </a:cubicBezTo>
                <a:close/>
                <a:moveTo>
                  <a:pt x="16993" y="8431"/>
                </a:moveTo>
                <a:cubicBezTo>
                  <a:pt x="16970" y="8431"/>
                  <a:pt x="16952" y="8467"/>
                  <a:pt x="16952" y="8512"/>
                </a:cubicBezTo>
                <a:cubicBezTo>
                  <a:pt x="16952" y="8558"/>
                  <a:pt x="16970" y="8595"/>
                  <a:pt x="16993" y="8595"/>
                </a:cubicBezTo>
                <a:cubicBezTo>
                  <a:pt x="17015" y="8595"/>
                  <a:pt x="17034" y="8558"/>
                  <a:pt x="17034" y="8512"/>
                </a:cubicBezTo>
                <a:cubicBezTo>
                  <a:pt x="17034" y="8467"/>
                  <a:pt x="17015" y="8431"/>
                  <a:pt x="16993" y="8431"/>
                </a:cubicBezTo>
                <a:close/>
                <a:moveTo>
                  <a:pt x="17321" y="8431"/>
                </a:moveTo>
                <a:cubicBezTo>
                  <a:pt x="17303" y="8431"/>
                  <a:pt x="17287" y="8462"/>
                  <a:pt x="17287" y="8500"/>
                </a:cubicBezTo>
                <a:cubicBezTo>
                  <a:pt x="17287" y="8537"/>
                  <a:pt x="17303" y="8567"/>
                  <a:pt x="17321" y="8567"/>
                </a:cubicBezTo>
                <a:cubicBezTo>
                  <a:pt x="17340" y="8567"/>
                  <a:pt x="17355" y="8537"/>
                  <a:pt x="17355" y="8500"/>
                </a:cubicBezTo>
                <a:cubicBezTo>
                  <a:pt x="17355" y="8462"/>
                  <a:pt x="17340" y="8431"/>
                  <a:pt x="17321" y="8431"/>
                </a:cubicBezTo>
                <a:close/>
                <a:moveTo>
                  <a:pt x="11760" y="8450"/>
                </a:moveTo>
                <a:cubicBezTo>
                  <a:pt x="11763" y="8516"/>
                  <a:pt x="11792" y="8566"/>
                  <a:pt x="11813" y="8602"/>
                </a:cubicBezTo>
                <a:cubicBezTo>
                  <a:pt x="11814" y="8604"/>
                  <a:pt x="11815" y="8605"/>
                  <a:pt x="11816" y="8607"/>
                </a:cubicBezTo>
                <a:cubicBezTo>
                  <a:pt x="11816" y="8607"/>
                  <a:pt x="11815" y="8608"/>
                  <a:pt x="11814" y="8608"/>
                </a:cubicBezTo>
                <a:cubicBezTo>
                  <a:pt x="11813" y="8608"/>
                  <a:pt x="11813" y="8609"/>
                  <a:pt x="11812" y="8609"/>
                </a:cubicBezTo>
                <a:cubicBezTo>
                  <a:pt x="11807" y="8613"/>
                  <a:pt x="11802" y="8613"/>
                  <a:pt x="11796" y="8613"/>
                </a:cubicBezTo>
                <a:lnTo>
                  <a:pt x="11788" y="8613"/>
                </a:lnTo>
                <a:cubicBezTo>
                  <a:pt x="11784" y="8613"/>
                  <a:pt x="11780" y="8613"/>
                  <a:pt x="11776" y="8614"/>
                </a:cubicBezTo>
                <a:lnTo>
                  <a:pt x="11708" y="8512"/>
                </a:lnTo>
                <a:cubicBezTo>
                  <a:pt x="11708" y="8512"/>
                  <a:pt x="11715" y="8503"/>
                  <a:pt x="11715" y="8503"/>
                </a:cubicBezTo>
                <a:lnTo>
                  <a:pt x="11760" y="8450"/>
                </a:lnTo>
                <a:close/>
                <a:moveTo>
                  <a:pt x="10675" y="8455"/>
                </a:moveTo>
                <a:cubicBezTo>
                  <a:pt x="10676" y="8457"/>
                  <a:pt x="10677" y="8459"/>
                  <a:pt x="10677" y="8460"/>
                </a:cubicBezTo>
                <a:cubicBezTo>
                  <a:pt x="10675" y="8477"/>
                  <a:pt x="10673" y="8498"/>
                  <a:pt x="10671" y="8518"/>
                </a:cubicBezTo>
                <a:cubicBezTo>
                  <a:pt x="10670" y="8529"/>
                  <a:pt x="10669" y="8541"/>
                  <a:pt x="10668" y="8552"/>
                </a:cubicBezTo>
                <a:cubicBezTo>
                  <a:pt x="10665" y="8536"/>
                  <a:pt x="10663" y="8518"/>
                  <a:pt x="10661" y="8507"/>
                </a:cubicBezTo>
                <a:cubicBezTo>
                  <a:pt x="10660" y="8495"/>
                  <a:pt x="10658" y="8485"/>
                  <a:pt x="10657" y="8475"/>
                </a:cubicBezTo>
                <a:cubicBezTo>
                  <a:pt x="10665" y="8473"/>
                  <a:pt x="10670" y="8464"/>
                  <a:pt x="10675" y="8455"/>
                </a:cubicBezTo>
                <a:close/>
                <a:moveTo>
                  <a:pt x="4939" y="8491"/>
                </a:moveTo>
                <a:cubicBezTo>
                  <a:pt x="4943" y="8495"/>
                  <a:pt x="4948" y="8494"/>
                  <a:pt x="4952" y="8496"/>
                </a:cubicBezTo>
                <a:lnTo>
                  <a:pt x="4942" y="8521"/>
                </a:lnTo>
                <a:lnTo>
                  <a:pt x="4939" y="8491"/>
                </a:lnTo>
                <a:close/>
                <a:moveTo>
                  <a:pt x="2644" y="8510"/>
                </a:moveTo>
                <a:lnTo>
                  <a:pt x="2793" y="9056"/>
                </a:lnTo>
                <a:lnTo>
                  <a:pt x="2873" y="9348"/>
                </a:lnTo>
                <a:lnTo>
                  <a:pt x="2854" y="9394"/>
                </a:lnTo>
                <a:cubicBezTo>
                  <a:pt x="2854" y="9394"/>
                  <a:pt x="2835" y="9444"/>
                  <a:pt x="2835" y="9444"/>
                </a:cubicBezTo>
                <a:cubicBezTo>
                  <a:pt x="2824" y="9396"/>
                  <a:pt x="2810" y="9359"/>
                  <a:pt x="2798" y="9325"/>
                </a:cubicBezTo>
                <a:cubicBezTo>
                  <a:pt x="2774" y="9258"/>
                  <a:pt x="2755" y="9205"/>
                  <a:pt x="2761" y="9106"/>
                </a:cubicBezTo>
                <a:cubicBezTo>
                  <a:pt x="2762" y="9090"/>
                  <a:pt x="2757" y="9074"/>
                  <a:pt x="2748" y="9072"/>
                </a:cubicBezTo>
                <a:cubicBezTo>
                  <a:pt x="2717" y="9063"/>
                  <a:pt x="2677" y="8920"/>
                  <a:pt x="2648" y="8816"/>
                </a:cubicBezTo>
                <a:cubicBezTo>
                  <a:pt x="2642" y="8796"/>
                  <a:pt x="2637" y="8777"/>
                  <a:pt x="2632" y="8760"/>
                </a:cubicBezTo>
                <a:cubicBezTo>
                  <a:pt x="2631" y="8754"/>
                  <a:pt x="2628" y="8746"/>
                  <a:pt x="2648" y="8719"/>
                </a:cubicBezTo>
                <a:cubicBezTo>
                  <a:pt x="2655" y="8710"/>
                  <a:pt x="2657" y="8694"/>
                  <a:pt x="2654" y="8680"/>
                </a:cubicBezTo>
                <a:cubicBezTo>
                  <a:pt x="2643" y="8638"/>
                  <a:pt x="2644" y="8578"/>
                  <a:pt x="2644" y="8514"/>
                </a:cubicBezTo>
                <a:cubicBezTo>
                  <a:pt x="2644" y="8512"/>
                  <a:pt x="2644" y="8512"/>
                  <a:pt x="2644" y="8510"/>
                </a:cubicBezTo>
                <a:close/>
                <a:moveTo>
                  <a:pt x="12186" y="8518"/>
                </a:moveTo>
                <a:cubicBezTo>
                  <a:pt x="12212" y="8518"/>
                  <a:pt x="12222" y="8532"/>
                  <a:pt x="12234" y="8547"/>
                </a:cubicBezTo>
                <a:cubicBezTo>
                  <a:pt x="12239" y="8553"/>
                  <a:pt x="12247" y="8556"/>
                  <a:pt x="12253" y="8561"/>
                </a:cubicBezTo>
                <a:cubicBezTo>
                  <a:pt x="12238" y="8578"/>
                  <a:pt x="12226" y="8605"/>
                  <a:pt x="12226" y="8642"/>
                </a:cubicBezTo>
                <a:cubicBezTo>
                  <a:pt x="12226" y="8693"/>
                  <a:pt x="12246" y="8732"/>
                  <a:pt x="12271" y="8736"/>
                </a:cubicBezTo>
                <a:cubicBezTo>
                  <a:pt x="12237" y="8798"/>
                  <a:pt x="12202" y="8864"/>
                  <a:pt x="12174" y="8915"/>
                </a:cubicBezTo>
                <a:cubicBezTo>
                  <a:pt x="12173" y="8917"/>
                  <a:pt x="12171" y="8919"/>
                  <a:pt x="12170" y="8922"/>
                </a:cubicBezTo>
                <a:cubicBezTo>
                  <a:pt x="12164" y="8933"/>
                  <a:pt x="12158" y="8944"/>
                  <a:pt x="12152" y="8954"/>
                </a:cubicBezTo>
                <a:cubicBezTo>
                  <a:pt x="12134" y="8987"/>
                  <a:pt x="12118" y="9016"/>
                  <a:pt x="12106" y="9038"/>
                </a:cubicBezTo>
                <a:cubicBezTo>
                  <a:pt x="12106" y="9038"/>
                  <a:pt x="12140" y="8522"/>
                  <a:pt x="12140" y="8522"/>
                </a:cubicBezTo>
                <a:cubicBezTo>
                  <a:pt x="12157" y="8519"/>
                  <a:pt x="12174" y="8518"/>
                  <a:pt x="12186" y="8518"/>
                </a:cubicBezTo>
                <a:close/>
                <a:moveTo>
                  <a:pt x="5221" y="8524"/>
                </a:moveTo>
                <a:lnTo>
                  <a:pt x="5237" y="8525"/>
                </a:lnTo>
                <a:cubicBezTo>
                  <a:pt x="5238" y="8525"/>
                  <a:pt x="5239" y="8525"/>
                  <a:pt x="5240" y="8525"/>
                </a:cubicBezTo>
                <a:cubicBezTo>
                  <a:pt x="5209" y="8554"/>
                  <a:pt x="5175" y="8581"/>
                  <a:pt x="5147" y="8592"/>
                </a:cubicBezTo>
                <a:cubicBezTo>
                  <a:pt x="5155" y="8583"/>
                  <a:pt x="5160" y="8569"/>
                  <a:pt x="5163" y="8560"/>
                </a:cubicBezTo>
                <a:cubicBezTo>
                  <a:pt x="5164" y="8556"/>
                  <a:pt x="5165" y="8553"/>
                  <a:pt x="5167" y="8550"/>
                </a:cubicBezTo>
                <a:cubicBezTo>
                  <a:pt x="5178" y="8527"/>
                  <a:pt x="5200" y="8524"/>
                  <a:pt x="5221" y="8524"/>
                </a:cubicBezTo>
                <a:close/>
                <a:moveTo>
                  <a:pt x="12108" y="8529"/>
                </a:moveTo>
                <a:lnTo>
                  <a:pt x="12075" y="9060"/>
                </a:lnTo>
                <a:lnTo>
                  <a:pt x="11852" y="8728"/>
                </a:lnTo>
                <a:cubicBezTo>
                  <a:pt x="11865" y="8724"/>
                  <a:pt x="11875" y="8718"/>
                  <a:pt x="11883" y="8711"/>
                </a:cubicBezTo>
                <a:cubicBezTo>
                  <a:pt x="11889" y="8704"/>
                  <a:pt x="11892" y="8690"/>
                  <a:pt x="11891" y="8677"/>
                </a:cubicBezTo>
                <a:cubicBezTo>
                  <a:pt x="11888" y="8656"/>
                  <a:pt x="11883" y="8645"/>
                  <a:pt x="11879" y="8638"/>
                </a:cubicBezTo>
                <a:cubicBezTo>
                  <a:pt x="11884" y="8638"/>
                  <a:pt x="11894" y="8638"/>
                  <a:pt x="11900" y="8640"/>
                </a:cubicBezTo>
                <a:cubicBezTo>
                  <a:pt x="11904" y="8640"/>
                  <a:pt x="11908" y="8642"/>
                  <a:pt x="11911" y="8642"/>
                </a:cubicBezTo>
                <a:lnTo>
                  <a:pt x="11955" y="8642"/>
                </a:lnTo>
                <a:cubicBezTo>
                  <a:pt x="11950" y="8654"/>
                  <a:pt x="11947" y="8669"/>
                  <a:pt x="11947" y="8686"/>
                </a:cubicBezTo>
                <a:cubicBezTo>
                  <a:pt x="11947" y="8724"/>
                  <a:pt x="11962" y="8754"/>
                  <a:pt x="11981" y="8754"/>
                </a:cubicBezTo>
                <a:cubicBezTo>
                  <a:pt x="12000" y="8754"/>
                  <a:pt x="12015" y="8724"/>
                  <a:pt x="12015" y="8686"/>
                </a:cubicBezTo>
                <a:cubicBezTo>
                  <a:pt x="12015" y="8660"/>
                  <a:pt x="12006" y="8642"/>
                  <a:pt x="11996" y="8630"/>
                </a:cubicBezTo>
                <a:cubicBezTo>
                  <a:pt x="12018" y="8617"/>
                  <a:pt x="12041" y="8591"/>
                  <a:pt x="12061" y="8565"/>
                </a:cubicBezTo>
                <a:lnTo>
                  <a:pt x="12071" y="8552"/>
                </a:lnTo>
                <a:cubicBezTo>
                  <a:pt x="12077" y="8545"/>
                  <a:pt x="12088" y="8536"/>
                  <a:pt x="12108" y="8529"/>
                </a:cubicBezTo>
                <a:close/>
                <a:moveTo>
                  <a:pt x="4913" y="8530"/>
                </a:moveTo>
                <a:cubicBezTo>
                  <a:pt x="4913" y="8530"/>
                  <a:pt x="4915" y="8552"/>
                  <a:pt x="4915" y="8552"/>
                </a:cubicBezTo>
                <a:lnTo>
                  <a:pt x="4910" y="8551"/>
                </a:lnTo>
                <a:lnTo>
                  <a:pt x="4908" y="8550"/>
                </a:lnTo>
                <a:cubicBezTo>
                  <a:pt x="4910" y="8543"/>
                  <a:pt x="4911" y="8537"/>
                  <a:pt x="4913" y="8530"/>
                </a:cubicBezTo>
                <a:close/>
                <a:moveTo>
                  <a:pt x="11684" y="8556"/>
                </a:moveTo>
                <a:lnTo>
                  <a:pt x="11742" y="8642"/>
                </a:lnTo>
                <a:cubicBezTo>
                  <a:pt x="11736" y="8652"/>
                  <a:pt x="11731" y="8662"/>
                  <a:pt x="11726" y="8671"/>
                </a:cubicBezTo>
                <a:cubicBezTo>
                  <a:pt x="11717" y="8691"/>
                  <a:pt x="11711" y="8700"/>
                  <a:pt x="11702" y="8700"/>
                </a:cubicBezTo>
                <a:cubicBezTo>
                  <a:pt x="11692" y="8700"/>
                  <a:pt x="11683" y="8685"/>
                  <a:pt x="11672" y="8668"/>
                </a:cubicBezTo>
                <a:cubicBezTo>
                  <a:pt x="11668" y="8662"/>
                  <a:pt x="11664" y="8657"/>
                  <a:pt x="11660" y="8651"/>
                </a:cubicBezTo>
                <a:cubicBezTo>
                  <a:pt x="11673" y="8627"/>
                  <a:pt x="11682" y="8594"/>
                  <a:pt x="11684" y="8556"/>
                </a:cubicBezTo>
                <a:close/>
                <a:moveTo>
                  <a:pt x="14808" y="8574"/>
                </a:moveTo>
                <a:lnTo>
                  <a:pt x="14819" y="8578"/>
                </a:lnTo>
                <a:cubicBezTo>
                  <a:pt x="14815" y="8582"/>
                  <a:pt x="14810" y="8583"/>
                  <a:pt x="14806" y="8587"/>
                </a:cubicBezTo>
                <a:cubicBezTo>
                  <a:pt x="14807" y="8583"/>
                  <a:pt x="14807" y="8579"/>
                  <a:pt x="14808" y="8574"/>
                </a:cubicBezTo>
                <a:close/>
                <a:moveTo>
                  <a:pt x="5311" y="8580"/>
                </a:moveTo>
                <a:cubicBezTo>
                  <a:pt x="5296" y="8580"/>
                  <a:pt x="5285" y="8603"/>
                  <a:pt x="5285" y="8631"/>
                </a:cubicBezTo>
                <a:cubicBezTo>
                  <a:pt x="5285" y="8660"/>
                  <a:pt x="5296" y="8683"/>
                  <a:pt x="5311" y="8683"/>
                </a:cubicBezTo>
                <a:cubicBezTo>
                  <a:pt x="5325" y="8683"/>
                  <a:pt x="5336" y="8660"/>
                  <a:pt x="5336" y="8631"/>
                </a:cubicBezTo>
                <a:cubicBezTo>
                  <a:pt x="5336" y="8603"/>
                  <a:pt x="5325" y="8580"/>
                  <a:pt x="5311" y="8580"/>
                </a:cubicBezTo>
                <a:close/>
                <a:moveTo>
                  <a:pt x="12603" y="8596"/>
                </a:moveTo>
                <a:lnTo>
                  <a:pt x="12630" y="9358"/>
                </a:lnTo>
                <a:cubicBezTo>
                  <a:pt x="12622" y="9375"/>
                  <a:pt x="12616" y="9399"/>
                  <a:pt x="12616" y="9425"/>
                </a:cubicBezTo>
                <a:cubicBezTo>
                  <a:pt x="12616" y="9456"/>
                  <a:pt x="12625" y="9481"/>
                  <a:pt x="12636" y="9499"/>
                </a:cubicBezTo>
                <a:lnTo>
                  <a:pt x="12653" y="9975"/>
                </a:lnTo>
                <a:lnTo>
                  <a:pt x="12186" y="9975"/>
                </a:lnTo>
                <a:lnTo>
                  <a:pt x="12184" y="9970"/>
                </a:lnTo>
                <a:cubicBezTo>
                  <a:pt x="12185" y="9968"/>
                  <a:pt x="12187" y="9967"/>
                  <a:pt x="12187" y="9966"/>
                </a:cubicBezTo>
                <a:cubicBezTo>
                  <a:pt x="12191" y="9961"/>
                  <a:pt x="12198" y="9951"/>
                  <a:pt x="12200" y="9935"/>
                </a:cubicBezTo>
                <a:cubicBezTo>
                  <a:pt x="12211" y="9866"/>
                  <a:pt x="12217" y="9822"/>
                  <a:pt x="12225" y="9769"/>
                </a:cubicBezTo>
                <a:lnTo>
                  <a:pt x="12226" y="9763"/>
                </a:lnTo>
                <a:cubicBezTo>
                  <a:pt x="12228" y="9764"/>
                  <a:pt x="12231" y="9767"/>
                  <a:pt x="12233" y="9767"/>
                </a:cubicBezTo>
                <a:cubicBezTo>
                  <a:pt x="12299" y="9767"/>
                  <a:pt x="12352" y="9660"/>
                  <a:pt x="12352" y="9528"/>
                </a:cubicBezTo>
                <a:cubicBezTo>
                  <a:pt x="12352" y="9430"/>
                  <a:pt x="12323" y="9346"/>
                  <a:pt x="12281" y="9309"/>
                </a:cubicBezTo>
                <a:cubicBezTo>
                  <a:pt x="12282" y="9306"/>
                  <a:pt x="12282" y="9305"/>
                  <a:pt x="12285" y="9301"/>
                </a:cubicBezTo>
                <a:cubicBezTo>
                  <a:pt x="12287" y="9298"/>
                  <a:pt x="12288" y="9295"/>
                  <a:pt x="12290" y="9292"/>
                </a:cubicBezTo>
                <a:cubicBezTo>
                  <a:pt x="12293" y="9287"/>
                  <a:pt x="12294" y="9278"/>
                  <a:pt x="12294" y="9270"/>
                </a:cubicBezTo>
                <a:lnTo>
                  <a:pt x="12294" y="9228"/>
                </a:lnTo>
                <a:cubicBezTo>
                  <a:pt x="12294" y="9218"/>
                  <a:pt x="12291" y="9209"/>
                  <a:pt x="12287" y="9204"/>
                </a:cubicBezTo>
                <a:cubicBezTo>
                  <a:pt x="12283" y="9198"/>
                  <a:pt x="12279" y="9197"/>
                  <a:pt x="12274" y="9200"/>
                </a:cubicBezTo>
                <a:cubicBezTo>
                  <a:pt x="12265" y="9207"/>
                  <a:pt x="12259" y="9215"/>
                  <a:pt x="12254" y="9222"/>
                </a:cubicBezTo>
                <a:cubicBezTo>
                  <a:pt x="12247" y="9232"/>
                  <a:pt x="12244" y="9236"/>
                  <a:pt x="12239" y="9236"/>
                </a:cubicBezTo>
                <a:cubicBezTo>
                  <a:pt x="12222" y="9236"/>
                  <a:pt x="12212" y="9223"/>
                  <a:pt x="12207" y="9212"/>
                </a:cubicBezTo>
                <a:cubicBezTo>
                  <a:pt x="12202" y="9201"/>
                  <a:pt x="12193" y="9199"/>
                  <a:pt x="12187" y="9208"/>
                </a:cubicBezTo>
                <a:cubicBezTo>
                  <a:pt x="12179" y="9221"/>
                  <a:pt x="12172" y="9235"/>
                  <a:pt x="12165" y="9247"/>
                </a:cubicBezTo>
                <a:cubicBezTo>
                  <a:pt x="12146" y="9283"/>
                  <a:pt x="12131" y="9309"/>
                  <a:pt x="12090" y="9309"/>
                </a:cubicBezTo>
                <a:cubicBezTo>
                  <a:pt x="12074" y="9309"/>
                  <a:pt x="12061" y="9288"/>
                  <a:pt x="12047" y="9263"/>
                </a:cubicBezTo>
                <a:cubicBezTo>
                  <a:pt x="12044" y="9258"/>
                  <a:pt x="12041" y="9252"/>
                  <a:pt x="12037" y="9247"/>
                </a:cubicBezTo>
                <a:lnTo>
                  <a:pt x="12095" y="9140"/>
                </a:lnTo>
                <a:cubicBezTo>
                  <a:pt x="12098" y="9137"/>
                  <a:pt x="12101" y="9133"/>
                  <a:pt x="12102" y="9127"/>
                </a:cubicBezTo>
                <a:lnTo>
                  <a:pt x="12118" y="9098"/>
                </a:lnTo>
                <a:cubicBezTo>
                  <a:pt x="12134" y="9068"/>
                  <a:pt x="12159" y="9023"/>
                  <a:pt x="12189" y="8969"/>
                </a:cubicBezTo>
                <a:cubicBezTo>
                  <a:pt x="12189" y="8968"/>
                  <a:pt x="12190" y="8966"/>
                  <a:pt x="12191" y="8965"/>
                </a:cubicBezTo>
                <a:cubicBezTo>
                  <a:pt x="12195" y="8957"/>
                  <a:pt x="12199" y="8949"/>
                  <a:pt x="12204" y="8941"/>
                </a:cubicBezTo>
                <a:cubicBezTo>
                  <a:pt x="12205" y="8939"/>
                  <a:pt x="12206" y="8937"/>
                  <a:pt x="12208" y="8934"/>
                </a:cubicBezTo>
                <a:cubicBezTo>
                  <a:pt x="12212" y="8927"/>
                  <a:pt x="12215" y="8920"/>
                  <a:pt x="12219" y="8912"/>
                </a:cubicBezTo>
                <a:cubicBezTo>
                  <a:pt x="12220" y="8911"/>
                  <a:pt x="12221" y="8909"/>
                  <a:pt x="12222" y="8908"/>
                </a:cubicBezTo>
                <a:cubicBezTo>
                  <a:pt x="12227" y="8899"/>
                  <a:pt x="12232" y="8890"/>
                  <a:pt x="12237" y="8881"/>
                </a:cubicBezTo>
                <a:cubicBezTo>
                  <a:pt x="12275" y="8811"/>
                  <a:pt x="12317" y="8733"/>
                  <a:pt x="12359" y="8656"/>
                </a:cubicBezTo>
                <a:cubicBezTo>
                  <a:pt x="12375" y="8662"/>
                  <a:pt x="12388" y="8666"/>
                  <a:pt x="12396" y="8668"/>
                </a:cubicBezTo>
                <a:lnTo>
                  <a:pt x="12453" y="8668"/>
                </a:lnTo>
                <a:cubicBezTo>
                  <a:pt x="12451" y="8674"/>
                  <a:pt x="12449" y="8679"/>
                  <a:pt x="12449" y="8686"/>
                </a:cubicBezTo>
                <a:cubicBezTo>
                  <a:pt x="12449" y="8724"/>
                  <a:pt x="12464" y="8754"/>
                  <a:pt x="12483" y="8754"/>
                </a:cubicBezTo>
                <a:cubicBezTo>
                  <a:pt x="12502" y="8754"/>
                  <a:pt x="12517" y="8724"/>
                  <a:pt x="12517" y="8686"/>
                </a:cubicBezTo>
                <a:cubicBezTo>
                  <a:pt x="12517" y="8679"/>
                  <a:pt x="12515" y="8674"/>
                  <a:pt x="12514" y="8668"/>
                </a:cubicBezTo>
                <a:lnTo>
                  <a:pt x="12516" y="8668"/>
                </a:lnTo>
                <a:cubicBezTo>
                  <a:pt x="12549" y="8668"/>
                  <a:pt x="12572" y="8636"/>
                  <a:pt x="12594" y="8607"/>
                </a:cubicBezTo>
                <a:cubicBezTo>
                  <a:pt x="12597" y="8603"/>
                  <a:pt x="12600" y="8600"/>
                  <a:pt x="12603" y="8596"/>
                </a:cubicBezTo>
                <a:close/>
                <a:moveTo>
                  <a:pt x="3946" y="8612"/>
                </a:moveTo>
                <a:cubicBezTo>
                  <a:pt x="3946" y="8613"/>
                  <a:pt x="3945" y="8615"/>
                  <a:pt x="3945" y="8616"/>
                </a:cubicBezTo>
                <a:cubicBezTo>
                  <a:pt x="3945" y="8698"/>
                  <a:pt x="3978" y="8764"/>
                  <a:pt x="4019" y="8764"/>
                </a:cubicBezTo>
                <a:cubicBezTo>
                  <a:pt x="4052" y="8764"/>
                  <a:pt x="4080" y="8719"/>
                  <a:pt x="4089" y="8658"/>
                </a:cubicBezTo>
                <a:lnTo>
                  <a:pt x="4092" y="8679"/>
                </a:lnTo>
                <a:lnTo>
                  <a:pt x="4186" y="9197"/>
                </a:lnTo>
                <a:lnTo>
                  <a:pt x="3891" y="9384"/>
                </a:lnTo>
                <a:cubicBezTo>
                  <a:pt x="3877" y="9350"/>
                  <a:pt x="3857" y="9326"/>
                  <a:pt x="3833" y="9326"/>
                </a:cubicBezTo>
                <a:cubicBezTo>
                  <a:pt x="3793" y="9326"/>
                  <a:pt x="3761" y="9390"/>
                  <a:pt x="3760" y="9468"/>
                </a:cubicBezTo>
                <a:lnTo>
                  <a:pt x="3506" y="9629"/>
                </a:lnTo>
                <a:lnTo>
                  <a:pt x="3763" y="9036"/>
                </a:lnTo>
                <a:cubicBezTo>
                  <a:pt x="3763" y="9036"/>
                  <a:pt x="3863" y="8802"/>
                  <a:pt x="3946" y="8612"/>
                </a:cubicBezTo>
                <a:close/>
                <a:moveTo>
                  <a:pt x="12323" y="8635"/>
                </a:moveTo>
                <a:cubicBezTo>
                  <a:pt x="12324" y="8636"/>
                  <a:pt x="12324" y="8638"/>
                  <a:pt x="12325" y="8638"/>
                </a:cubicBezTo>
                <a:cubicBezTo>
                  <a:pt x="12325" y="8639"/>
                  <a:pt x="12324" y="8640"/>
                  <a:pt x="12324" y="8641"/>
                </a:cubicBezTo>
                <a:cubicBezTo>
                  <a:pt x="12324" y="8638"/>
                  <a:pt x="12323" y="8637"/>
                  <a:pt x="12323" y="8635"/>
                </a:cubicBezTo>
                <a:close/>
                <a:moveTo>
                  <a:pt x="4937" y="8640"/>
                </a:moveTo>
                <a:lnTo>
                  <a:pt x="5045" y="8877"/>
                </a:lnTo>
                <a:cubicBezTo>
                  <a:pt x="5048" y="8917"/>
                  <a:pt x="5062" y="8944"/>
                  <a:pt x="5081" y="8954"/>
                </a:cubicBezTo>
                <a:lnTo>
                  <a:pt x="5269" y="9366"/>
                </a:lnTo>
                <a:lnTo>
                  <a:pt x="5405" y="9663"/>
                </a:lnTo>
                <a:cubicBezTo>
                  <a:pt x="5399" y="9670"/>
                  <a:pt x="5393" y="9676"/>
                  <a:pt x="5386" y="9683"/>
                </a:cubicBezTo>
                <a:cubicBezTo>
                  <a:pt x="5297" y="9776"/>
                  <a:pt x="5195" y="9881"/>
                  <a:pt x="5195" y="10164"/>
                </a:cubicBezTo>
                <a:cubicBezTo>
                  <a:pt x="5195" y="10244"/>
                  <a:pt x="5213" y="10296"/>
                  <a:pt x="5228" y="10343"/>
                </a:cubicBezTo>
                <a:cubicBezTo>
                  <a:pt x="5236" y="10366"/>
                  <a:pt x="5243" y="10389"/>
                  <a:pt x="5248" y="10414"/>
                </a:cubicBezTo>
                <a:lnTo>
                  <a:pt x="5194" y="10414"/>
                </a:lnTo>
                <a:lnTo>
                  <a:pt x="5137" y="10415"/>
                </a:lnTo>
                <a:lnTo>
                  <a:pt x="5137" y="10414"/>
                </a:lnTo>
                <a:cubicBezTo>
                  <a:pt x="5127" y="10293"/>
                  <a:pt x="5116" y="10156"/>
                  <a:pt x="5041" y="10156"/>
                </a:cubicBezTo>
                <a:cubicBezTo>
                  <a:pt x="5025" y="10156"/>
                  <a:pt x="5015" y="10177"/>
                  <a:pt x="5007" y="10192"/>
                </a:cubicBezTo>
                <a:cubicBezTo>
                  <a:pt x="5002" y="10202"/>
                  <a:pt x="4997" y="10211"/>
                  <a:pt x="4994" y="10211"/>
                </a:cubicBezTo>
                <a:cubicBezTo>
                  <a:pt x="4981" y="10211"/>
                  <a:pt x="4969" y="10194"/>
                  <a:pt x="4955" y="10174"/>
                </a:cubicBezTo>
                <a:cubicBezTo>
                  <a:pt x="4938" y="10149"/>
                  <a:pt x="4916" y="10121"/>
                  <a:pt x="4888" y="10117"/>
                </a:cubicBezTo>
                <a:cubicBezTo>
                  <a:pt x="4879" y="10091"/>
                  <a:pt x="4867" y="10072"/>
                  <a:pt x="4851" y="10072"/>
                </a:cubicBezTo>
                <a:cubicBezTo>
                  <a:pt x="4834" y="10072"/>
                  <a:pt x="4822" y="10091"/>
                  <a:pt x="4813" y="10115"/>
                </a:cubicBezTo>
                <a:cubicBezTo>
                  <a:pt x="4812" y="10115"/>
                  <a:pt x="4811" y="10114"/>
                  <a:pt x="4810" y="10114"/>
                </a:cubicBezTo>
                <a:cubicBezTo>
                  <a:pt x="4797" y="10121"/>
                  <a:pt x="4780" y="10123"/>
                  <a:pt x="4763" y="10126"/>
                </a:cubicBezTo>
                <a:cubicBezTo>
                  <a:pt x="4740" y="10129"/>
                  <a:pt x="4717" y="10134"/>
                  <a:pt x="4695" y="10149"/>
                </a:cubicBezTo>
                <a:cubicBezTo>
                  <a:pt x="4689" y="10153"/>
                  <a:pt x="4684" y="10165"/>
                  <a:pt x="4684" y="10178"/>
                </a:cubicBezTo>
                <a:cubicBezTo>
                  <a:pt x="4684" y="10191"/>
                  <a:pt x="4689" y="10203"/>
                  <a:pt x="4695" y="10206"/>
                </a:cubicBezTo>
                <a:lnTo>
                  <a:pt x="4701" y="10210"/>
                </a:lnTo>
                <a:cubicBezTo>
                  <a:pt x="4705" y="10212"/>
                  <a:pt x="4708" y="10213"/>
                  <a:pt x="4710" y="10214"/>
                </a:cubicBezTo>
                <a:cubicBezTo>
                  <a:pt x="4710" y="10217"/>
                  <a:pt x="4710" y="10221"/>
                  <a:pt x="4709" y="10224"/>
                </a:cubicBezTo>
                <a:cubicBezTo>
                  <a:pt x="4706" y="10247"/>
                  <a:pt x="4703" y="10272"/>
                  <a:pt x="4708" y="10297"/>
                </a:cubicBezTo>
                <a:cubicBezTo>
                  <a:pt x="4686" y="10301"/>
                  <a:pt x="4663" y="10274"/>
                  <a:pt x="4641" y="10247"/>
                </a:cubicBezTo>
                <a:cubicBezTo>
                  <a:pt x="4621" y="10222"/>
                  <a:pt x="4601" y="10198"/>
                  <a:pt x="4581" y="10198"/>
                </a:cubicBezTo>
                <a:cubicBezTo>
                  <a:pt x="4569" y="10198"/>
                  <a:pt x="4560" y="10212"/>
                  <a:pt x="4555" y="10223"/>
                </a:cubicBezTo>
                <a:cubicBezTo>
                  <a:pt x="4553" y="10226"/>
                  <a:pt x="4550" y="10231"/>
                  <a:pt x="4549" y="10232"/>
                </a:cubicBezTo>
                <a:cubicBezTo>
                  <a:pt x="4541" y="10232"/>
                  <a:pt x="4535" y="10225"/>
                  <a:pt x="4527" y="10216"/>
                </a:cubicBezTo>
                <a:cubicBezTo>
                  <a:pt x="4524" y="10213"/>
                  <a:pt x="4522" y="10209"/>
                  <a:pt x="4519" y="10206"/>
                </a:cubicBezTo>
                <a:lnTo>
                  <a:pt x="4937" y="8640"/>
                </a:lnTo>
                <a:close/>
                <a:moveTo>
                  <a:pt x="14975" y="8642"/>
                </a:moveTo>
                <a:lnTo>
                  <a:pt x="15266" y="9278"/>
                </a:lnTo>
                <a:cubicBezTo>
                  <a:pt x="15264" y="9290"/>
                  <a:pt x="15259" y="9300"/>
                  <a:pt x="15259" y="9313"/>
                </a:cubicBezTo>
                <a:cubicBezTo>
                  <a:pt x="15259" y="9368"/>
                  <a:pt x="15281" y="9411"/>
                  <a:pt x="15308" y="9411"/>
                </a:cubicBezTo>
                <a:cubicBezTo>
                  <a:pt x="15314" y="9411"/>
                  <a:pt x="15317" y="9403"/>
                  <a:pt x="15322" y="9400"/>
                </a:cubicBezTo>
                <a:lnTo>
                  <a:pt x="15514" y="9820"/>
                </a:lnTo>
                <a:cubicBezTo>
                  <a:pt x="15485" y="9840"/>
                  <a:pt x="15464" y="9894"/>
                  <a:pt x="15464" y="9959"/>
                </a:cubicBezTo>
                <a:cubicBezTo>
                  <a:pt x="15464" y="10041"/>
                  <a:pt x="15497" y="10107"/>
                  <a:pt x="15537" y="10107"/>
                </a:cubicBezTo>
                <a:cubicBezTo>
                  <a:pt x="15567" y="10107"/>
                  <a:pt x="15593" y="10070"/>
                  <a:pt x="15605" y="10019"/>
                </a:cubicBezTo>
                <a:lnTo>
                  <a:pt x="15758" y="10354"/>
                </a:lnTo>
                <a:cubicBezTo>
                  <a:pt x="15753" y="10373"/>
                  <a:pt x="15749" y="10392"/>
                  <a:pt x="15747" y="10414"/>
                </a:cubicBezTo>
                <a:lnTo>
                  <a:pt x="15643" y="10415"/>
                </a:lnTo>
                <a:cubicBezTo>
                  <a:pt x="15634" y="10390"/>
                  <a:pt x="15622" y="10371"/>
                  <a:pt x="15606" y="10371"/>
                </a:cubicBezTo>
                <a:cubicBezTo>
                  <a:pt x="15589" y="10371"/>
                  <a:pt x="15577" y="10390"/>
                  <a:pt x="15568" y="10415"/>
                </a:cubicBezTo>
                <a:lnTo>
                  <a:pt x="15441" y="10416"/>
                </a:lnTo>
                <a:cubicBezTo>
                  <a:pt x="15445" y="10412"/>
                  <a:pt x="15447" y="10410"/>
                  <a:pt x="15450" y="10410"/>
                </a:cubicBezTo>
                <a:cubicBezTo>
                  <a:pt x="15458" y="10410"/>
                  <a:pt x="15465" y="10397"/>
                  <a:pt x="15465" y="10380"/>
                </a:cubicBezTo>
                <a:cubicBezTo>
                  <a:pt x="15465" y="10363"/>
                  <a:pt x="15458" y="10351"/>
                  <a:pt x="15450" y="10351"/>
                </a:cubicBezTo>
                <a:cubicBezTo>
                  <a:pt x="15440" y="10351"/>
                  <a:pt x="15434" y="10357"/>
                  <a:pt x="15428" y="10363"/>
                </a:cubicBezTo>
                <a:cubicBezTo>
                  <a:pt x="15423" y="10368"/>
                  <a:pt x="15418" y="10372"/>
                  <a:pt x="15411" y="10372"/>
                </a:cubicBezTo>
                <a:lnTo>
                  <a:pt x="15322" y="10372"/>
                </a:lnTo>
                <a:cubicBezTo>
                  <a:pt x="15292" y="10372"/>
                  <a:pt x="15275" y="10343"/>
                  <a:pt x="15256" y="10310"/>
                </a:cubicBezTo>
                <a:cubicBezTo>
                  <a:pt x="15248" y="10297"/>
                  <a:pt x="15240" y="10283"/>
                  <a:pt x="15231" y="10270"/>
                </a:cubicBezTo>
                <a:cubicBezTo>
                  <a:pt x="15224" y="10261"/>
                  <a:pt x="15215" y="10265"/>
                  <a:pt x="15210" y="10279"/>
                </a:cubicBezTo>
                <a:cubicBezTo>
                  <a:pt x="15208" y="10284"/>
                  <a:pt x="15208" y="10289"/>
                  <a:pt x="15208" y="10295"/>
                </a:cubicBezTo>
                <a:cubicBezTo>
                  <a:pt x="15208" y="10305"/>
                  <a:pt x="15210" y="10315"/>
                  <a:pt x="15214" y="10321"/>
                </a:cubicBezTo>
                <a:cubicBezTo>
                  <a:pt x="15214" y="10321"/>
                  <a:pt x="15215" y="10320"/>
                  <a:pt x="15215" y="10321"/>
                </a:cubicBezTo>
                <a:cubicBezTo>
                  <a:pt x="15222" y="10331"/>
                  <a:pt x="15229" y="10343"/>
                  <a:pt x="15237" y="10356"/>
                </a:cubicBezTo>
                <a:cubicBezTo>
                  <a:pt x="15250" y="10378"/>
                  <a:pt x="15264" y="10402"/>
                  <a:pt x="15283" y="10417"/>
                </a:cubicBezTo>
                <a:lnTo>
                  <a:pt x="15082" y="10418"/>
                </a:lnTo>
                <a:lnTo>
                  <a:pt x="14895" y="10420"/>
                </a:lnTo>
                <a:cubicBezTo>
                  <a:pt x="14890" y="10393"/>
                  <a:pt x="14880" y="10371"/>
                  <a:pt x="14865" y="10371"/>
                </a:cubicBezTo>
                <a:cubicBezTo>
                  <a:pt x="14850" y="10371"/>
                  <a:pt x="14839" y="10393"/>
                  <a:pt x="14835" y="10421"/>
                </a:cubicBezTo>
                <a:lnTo>
                  <a:pt x="14501" y="10423"/>
                </a:lnTo>
                <a:lnTo>
                  <a:pt x="14709" y="9639"/>
                </a:lnTo>
                <a:cubicBezTo>
                  <a:pt x="14714" y="9647"/>
                  <a:pt x="14720" y="9653"/>
                  <a:pt x="14726" y="9653"/>
                </a:cubicBezTo>
                <a:cubicBezTo>
                  <a:pt x="14740" y="9653"/>
                  <a:pt x="14752" y="9630"/>
                  <a:pt x="14752" y="9601"/>
                </a:cubicBezTo>
                <a:cubicBezTo>
                  <a:pt x="14752" y="9577"/>
                  <a:pt x="14743" y="9560"/>
                  <a:pt x="14732" y="9555"/>
                </a:cubicBezTo>
                <a:lnTo>
                  <a:pt x="14865" y="9056"/>
                </a:lnTo>
                <a:cubicBezTo>
                  <a:pt x="14897" y="9041"/>
                  <a:pt x="14923" y="8985"/>
                  <a:pt x="14923" y="8915"/>
                </a:cubicBezTo>
                <a:cubicBezTo>
                  <a:pt x="14923" y="8895"/>
                  <a:pt x="14920" y="8877"/>
                  <a:pt x="14917" y="8860"/>
                </a:cubicBezTo>
                <a:lnTo>
                  <a:pt x="14975" y="8642"/>
                </a:lnTo>
                <a:close/>
                <a:moveTo>
                  <a:pt x="11112" y="8650"/>
                </a:moveTo>
                <a:cubicBezTo>
                  <a:pt x="11115" y="8652"/>
                  <a:pt x="11117" y="8654"/>
                  <a:pt x="11119" y="8656"/>
                </a:cubicBezTo>
                <a:cubicBezTo>
                  <a:pt x="11125" y="8662"/>
                  <a:pt x="11131" y="8667"/>
                  <a:pt x="11137" y="8672"/>
                </a:cubicBezTo>
                <a:cubicBezTo>
                  <a:pt x="11153" y="8688"/>
                  <a:pt x="11166" y="8702"/>
                  <a:pt x="11177" y="8716"/>
                </a:cubicBezTo>
                <a:cubicBezTo>
                  <a:pt x="11168" y="8708"/>
                  <a:pt x="11158" y="8700"/>
                  <a:pt x="11145" y="8700"/>
                </a:cubicBezTo>
                <a:cubicBezTo>
                  <a:pt x="11130" y="8700"/>
                  <a:pt x="11117" y="8708"/>
                  <a:pt x="11107" y="8720"/>
                </a:cubicBezTo>
                <a:lnTo>
                  <a:pt x="11112" y="8650"/>
                </a:lnTo>
                <a:close/>
                <a:moveTo>
                  <a:pt x="11846" y="8655"/>
                </a:moveTo>
                <a:cubicBezTo>
                  <a:pt x="11847" y="8660"/>
                  <a:pt x="11849" y="8664"/>
                  <a:pt x="11850" y="8668"/>
                </a:cubicBezTo>
                <a:cubicBezTo>
                  <a:pt x="11839" y="8672"/>
                  <a:pt x="11825" y="8675"/>
                  <a:pt x="11812" y="8678"/>
                </a:cubicBezTo>
                <a:cubicBezTo>
                  <a:pt x="11812" y="8678"/>
                  <a:pt x="11812" y="8678"/>
                  <a:pt x="11812" y="8678"/>
                </a:cubicBezTo>
                <a:cubicBezTo>
                  <a:pt x="11812" y="8678"/>
                  <a:pt x="11811" y="8679"/>
                  <a:pt x="11811" y="8679"/>
                </a:cubicBezTo>
                <a:cubicBezTo>
                  <a:pt x="11794" y="8683"/>
                  <a:pt x="11775" y="8688"/>
                  <a:pt x="11758" y="8694"/>
                </a:cubicBezTo>
                <a:cubicBezTo>
                  <a:pt x="11761" y="8688"/>
                  <a:pt x="11765" y="8681"/>
                  <a:pt x="11770" y="8677"/>
                </a:cubicBezTo>
                <a:cubicBezTo>
                  <a:pt x="11770" y="8677"/>
                  <a:pt x="11771" y="8677"/>
                  <a:pt x="11772" y="8677"/>
                </a:cubicBezTo>
                <a:lnTo>
                  <a:pt x="11774" y="8676"/>
                </a:lnTo>
                <a:cubicBezTo>
                  <a:pt x="11775" y="8676"/>
                  <a:pt x="11775" y="8675"/>
                  <a:pt x="11775" y="8674"/>
                </a:cubicBezTo>
                <a:cubicBezTo>
                  <a:pt x="11775" y="8674"/>
                  <a:pt x="11775" y="8675"/>
                  <a:pt x="11776" y="8674"/>
                </a:cubicBezTo>
                <a:cubicBezTo>
                  <a:pt x="11780" y="8673"/>
                  <a:pt x="11784" y="8672"/>
                  <a:pt x="11788" y="8672"/>
                </a:cubicBezTo>
                <a:lnTo>
                  <a:pt x="11796" y="8673"/>
                </a:lnTo>
                <a:cubicBezTo>
                  <a:pt x="11803" y="8673"/>
                  <a:pt x="11811" y="8672"/>
                  <a:pt x="11820" y="8666"/>
                </a:cubicBezTo>
                <a:cubicBezTo>
                  <a:pt x="11822" y="8666"/>
                  <a:pt x="11824" y="8666"/>
                  <a:pt x="11826" y="8665"/>
                </a:cubicBezTo>
                <a:cubicBezTo>
                  <a:pt x="11832" y="8664"/>
                  <a:pt x="11839" y="8662"/>
                  <a:pt x="11846" y="8655"/>
                </a:cubicBezTo>
                <a:close/>
                <a:moveTo>
                  <a:pt x="4987" y="8661"/>
                </a:moveTo>
                <a:lnTo>
                  <a:pt x="5490" y="9042"/>
                </a:lnTo>
                <a:cubicBezTo>
                  <a:pt x="5490" y="9042"/>
                  <a:pt x="5490" y="9042"/>
                  <a:pt x="5490" y="9043"/>
                </a:cubicBezTo>
                <a:cubicBezTo>
                  <a:pt x="5490" y="9105"/>
                  <a:pt x="5502" y="9161"/>
                  <a:pt x="5522" y="9204"/>
                </a:cubicBezTo>
                <a:cubicBezTo>
                  <a:pt x="5521" y="9211"/>
                  <a:pt x="5521" y="9217"/>
                  <a:pt x="5520" y="9221"/>
                </a:cubicBezTo>
                <a:cubicBezTo>
                  <a:pt x="5514" y="9245"/>
                  <a:pt x="5516" y="9263"/>
                  <a:pt x="5527" y="9284"/>
                </a:cubicBezTo>
                <a:cubicBezTo>
                  <a:pt x="5530" y="9290"/>
                  <a:pt x="5533" y="9293"/>
                  <a:pt x="5537" y="9294"/>
                </a:cubicBezTo>
                <a:cubicBezTo>
                  <a:pt x="5537" y="9294"/>
                  <a:pt x="5537" y="9305"/>
                  <a:pt x="5537" y="9305"/>
                </a:cubicBezTo>
                <a:cubicBezTo>
                  <a:pt x="5537" y="9320"/>
                  <a:pt x="5527" y="9328"/>
                  <a:pt x="5524" y="9328"/>
                </a:cubicBezTo>
                <a:cubicBezTo>
                  <a:pt x="5519" y="9328"/>
                  <a:pt x="5513" y="9333"/>
                  <a:pt x="5511" y="9342"/>
                </a:cubicBezTo>
                <a:cubicBezTo>
                  <a:pt x="5508" y="9352"/>
                  <a:pt x="5508" y="9364"/>
                  <a:pt x="5511" y="9373"/>
                </a:cubicBezTo>
                <a:cubicBezTo>
                  <a:pt x="5515" y="9390"/>
                  <a:pt x="5521" y="9400"/>
                  <a:pt x="5527" y="9408"/>
                </a:cubicBezTo>
                <a:lnTo>
                  <a:pt x="5520" y="9408"/>
                </a:lnTo>
                <a:cubicBezTo>
                  <a:pt x="5512" y="9408"/>
                  <a:pt x="5505" y="9422"/>
                  <a:pt x="5505" y="9438"/>
                </a:cubicBezTo>
                <a:lnTo>
                  <a:pt x="5505" y="9472"/>
                </a:lnTo>
                <a:cubicBezTo>
                  <a:pt x="5505" y="9482"/>
                  <a:pt x="5508" y="9492"/>
                  <a:pt x="5512" y="9498"/>
                </a:cubicBezTo>
                <a:lnTo>
                  <a:pt x="5523" y="9510"/>
                </a:lnTo>
                <a:cubicBezTo>
                  <a:pt x="5521" y="9515"/>
                  <a:pt x="5519" y="9518"/>
                  <a:pt x="5517" y="9519"/>
                </a:cubicBezTo>
                <a:cubicBezTo>
                  <a:pt x="5500" y="9525"/>
                  <a:pt x="5489" y="9541"/>
                  <a:pt x="5479" y="9553"/>
                </a:cubicBezTo>
                <a:cubicBezTo>
                  <a:pt x="5473" y="9561"/>
                  <a:pt x="5468" y="9568"/>
                  <a:pt x="5462" y="9571"/>
                </a:cubicBezTo>
                <a:cubicBezTo>
                  <a:pt x="5441" y="9585"/>
                  <a:pt x="5434" y="9598"/>
                  <a:pt x="5427" y="9618"/>
                </a:cubicBezTo>
                <a:cubicBezTo>
                  <a:pt x="5427" y="9618"/>
                  <a:pt x="5427" y="9619"/>
                  <a:pt x="5426" y="9620"/>
                </a:cubicBezTo>
                <a:lnTo>
                  <a:pt x="5117" y="8944"/>
                </a:lnTo>
                <a:cubicBezTo>
                  <a:pt x="5131" y="8927"/>
                  <a:pt x="5141" y="8901"/>
                  <a:pt x="5141" y="8866"/>
                </a:cubicBezTo>
                <a:cubicBezTo>
                  <a:pt x="5141" y="8811"/>
                  <a:pt x="5120" y="8767"/>
                  <a:pt x="5092" y="8767"/>
                </a:cubicBezTo>
                <a:cubicBezTo>
                  <a:pt x="5076" y="8767"/>
                  <a:pt x="5064" y="8784"/>
                  <a:pt x="5055" y="8809"/>
                </a:cubicBezTo>
                <a:lnTo>
                  <a:pt x="4987" y="8661"/>
                </a:lnTo>
                <a:close/>
                <a:moveTo>
                  <a:pt x="18645" y="8663"/>
                </a:moveTo>
                <a:cubicBezTo>
                  <a:pt x="18645" y="8668"/>
                  <a:pt x="18645" y="8673"/>
                  <a:pt x="18645" y="8678"/>
                </a:cubicBezTo>
                <a:cubicBezTo>
                  <a:pt x="18645" y="8684"/>
                  <a:pt x="18645" y="8689"/>
                  <a:pt x="18645" y="8695"/>
                </a:cubicBezTo>
                <a:cubicBezTo>
                  <a:pt x="18645" y="8734"/>
                  <a:pt x="18654" y="8762"/>
                  <a:pt x="18662" y="8786"/>
                </a:cubicBezTo>
                <a:cubicBezTo>
                  <a:pt x="18669" y="8806"/>
                  <a:pt x="18675" y="8824"/>
                  <a:pt x="18675" y="8845"/>
                </a:cubicBezTo>
                <a:cubicBezTo>
                  <a:pt x="18675" y="8869"/>
                  <a:pt x="18670" y="8881"/>
                  <a:pt x="18662" y="8898"/>
                </a:cubicBezTo>
                <a:cubicBezTo>
                  <a:pt x="18660" y="8903"/>
                  <a:pt x="18658" y="8907"/>
                  <a:pt x="18656" y="8912"/>
                </a:cubicBezTo>
                <a:cubicBezTo>
                  <a:pt x="18648" y="8853"/>
                  <a:pt x="18637" y="8773"/>
                  <a:pt x="18625" y="8678"/>
                </a:cubicBezTo>
                <a:cubicBezTo>
                  <a:pt x="18631" y="8678"/>
                  <a:pt x="18638" y="8674"/>
                  <a:pt x="18645" y="8663"/>
                </a:cubicBezTo>
                <a:close/>
                <a:moveTo>
                  <a:pt x="9956" y="8664"/>
                </a:moveTo>
                <a:lnTo>
                  <a:pt x="10124" y="8741"/>
                </a:lnTo>
                <a:cubicBezTo>
                  <a:pt x="10108" y="8793"/>
                  <a:pt x="10094" y="8855"/>
                  <a:pt x="10093" y="8906"/>
                </a:cubicBezTo>
                <a:cubicBezTo>
                  <a:pt x="10086" y="8892"/>
                  <a:pt x="10076" y="8886"/>
                  <a:pt x="10065" y="8883"/>
                </a:cubicBezTo>
                <a:lnTo>
                  <a:pt x="9947" y="8706"/>
                </a:lnTo>
                <a:cubicBezTo>
                  <a:pt x="9952" y="8695"/>
                  <a:pt x="9954" y="8679"/>
                  <a:pt x="9956" y="8664"/>
                </a:cubicBezTo>
                <a:close/>
                <a:moveTo>
                  <a:pt x="15025" y="8664"/>
                </a:moveTo>
                <a:lnTo>
                  <a:pt x="15038" y="8673"/>
                </a:lnTo>
                <a:lnTo>
                  <a:pt x="15063" y="8692"/>
                </a:lnTo>
                <a:cubicBezTo>
                  <a:pt x="15070" y="8706"/>
                  <a:pt x="15078" y="8716"/>
                  <a:pt x="15088" y="8716"/>
                </a:cubicBezTo>
                <a:cubicBezTo>
                  <a:pt x="15090" y="8716"/>
                  <a:pt x="15090" y="8714"/>
                  <a:pt x="15091" y="8714"/>
                </a:cubicBezTo>
                <a:lnTo>
                  <a:pt x="15656" y="9142"/>
                </a:lnTo>
                <a:lnTo>
                  <a:pt x="15660" y="9180"/>
                </a:lnTo>
                <a:cubicBezTo>
                  <a:pt x="15659" y="9180"/>
                  <a:pt x="15658" y="9177"/>
                  <a:pt x="15657" y="9177"/>
                </a:cubicBezTo>
                <a:cubicBezTo>
                  <a:pt x="15642" y="9177"/>
                  <a:pt x="15631" y="9200"/>
                  <a:pt x="15631" y="9228"/>
                </a:cubicBezTo>
                <a:cubicBezTo>
                  <a:pt x="15631" y="9257"/>
                  <a:pt x="15642" y="9280"/>
                  <a:pt x="15657" y="9280"/>
                </a:cubicBezTo>
                <a:cubicBezTo>
                  <a:pt x="15662" y="9280"/>
                  <a:pt x="15666" y="9274"/>
                  <a:pt x="15671" y="9268"/>
                </a:cubicBezTo>
                <a:lnTo>
                  <a:pt x="15691" y="9447"/>
                </a:lnTo>
                <a:cubicBezTo>
                  <a:pt x="15678" y="9458"/>
                  <a:pt x="15668" y="9478"/>
                  <a:pt x="15668" y="9507"/>
                </a:cubicBezTo>
                <a:cubicBezTo>
                  <a:pt x="15668" y="9545"/>
                  <a:pt x="15684" y="9574"/>
                  <a:pt x="15702" y="9574"/>
                </a:cubicBezTo>
                <a:cubicBezTo>
                  <a:pt x="15703" y="9574"/>
                  <a:pt x="15704" y="9572"/>
                  <a:pt x="15705" y="9572"/>
                </a:cubicBezTo>
                <a:lnTo>
                  <a:pt x="15733" y="9817"/>
                </a:lnTo>
                <a:cubicBezTo>
                  <a:pt x="15718" y="9824"/>
                  <a:pt x="15705" y="9848"/>
                  <a:pt x="15705" y="9880"/>
                </a:cubicBezTo>
                <a:cubicBezTo>
                  <a:pt x="15705" y="9918"/>
                  <a:pt x="15721" y="9948"/>
                  <a:pt x="15740" y="9948"/>
                </a:cubicBezTo>
                <a:cubicBezTo>
                  <a:pt x="15742" y="9948"/>
                  <a:pt x="15744" y="9943"/>
                  <a:pt x="15747" y="9942"/>
                </a:cubicBezTo>
                <a:lnTo>
                  <a:pt x="15787" y="10295"/>
                </a:lnTo>
                <a:cubicBezTo>
                  <a:pt x="15784" y="10299"/>
                  <a:pt x="15780" y="10303"/>
                  <a:pt x="15778" y="10308"/>
                </a:cubicBezTo>
                <a:cubicBezTo>
                  <a:pt x="15767" y="10284"/>
                  <a:pt x="15692" y="10119"/>
                  <a:pt x="15609" y="9939"/>
                </a:cubicBezTo>
                <a:cubicBezTo>
                  <a:pt x="15605" y="9878"/>
                  <a:pt x="15583" y="9832"/>
                  <a:pt x="15553" y="9818"/>
                </a:cubicBezTo>
                <a:cubicBezTo>
                  <a:pt x="15456" y="9606"/>
                  <a:pt x="15357" y="9389"/>
                  <a:pt x="15357" y="9389"/>
                </a:cubicBezTo>
                <a:lnTo>
                  <a:pt x="15346" y="9366"/>
                </a:lnTo>
                <a:cubicBezTo>
                  <a:pt x="15351" y="9350"/>
                  <a:pt x="15357" y="9334"/>
                  <a:pt x="15357" y="9313"/>
                </a:cubicBezTo>
                <a:cubicBezTo>
                  <a:pt x="15357" y="9259"/>
                  <a:pt x="15335" y="9214"/>
                  <a:pt x="15308" y="9214"/>
                </a:cubicBezTo>
                <a:cubicBezTo>
                  <a:pt x="15299" y="9214"/>
                  <a:pt x="15293" y="9225"/>
                  <a:pt x="15286" y="9233"/>
                </a:cubicBezTo>
                <a:lnTo>
                  <a:pt x="15209" y="9065"/>
                </a:lnTo>
                <a:cubicBezTo>
                  <a:pt x="15229" y="9053"/>
                  <a:pt x="15245" y="9022"/>
                  <a:pt x="15245" y="8978"/>
                </a:cubicBezTo>
                <a:cubicBezTo>
                  <a:pt x="15245" y="8923"/>
                  <a:pt x="15224" y="8879"/>
                  <a:pt x="15197" y="8879"/>
                </a:cubicBezTo>
                <a:cubicBezTo>
                  <a:pt x="15176" y="8879"/>
                  <a:pt x="15161" y="8908"/>
                  <a:pt x="15154" y="8945"/>
                </a:cubicBezTo>
                <a:lnTo>
                  <a:pt x="15025" y="8664"/>
                </a:lnTo>
                <a:close/>
                <a:moveTo>
                  <a:pt x="18593" y="8688"/>
                </a:moveTo>
                <a:lnTo>
                  <a:pt x="18603" y="8760"/>
                </a:lnTo>
                <a:lnTo>
                  <a:pt x="18613" y="8840"/>
                </a:lnTo>
                <a:cubicBezTo>
                  <a:pt x="18608" y="8820"/>
                  <a:pt x="18599" y="8804"/>
                  <a:pt x="18587" y="8804"/>
                </a:cubicBezTo>
                <a:cubicBezTo>
                  <a:pt x="18586" y="8804"/>
                  <a:pt x="18585" y="8806"/>
                  <a:pt x="18584" y="8806"/>
                </a:cubicBezTo>
                <a:cubicBezTo>
                  <a:pt x="18583" y="8797"/>
                  <a:pt x="18582" y="8785"/>
                  <a:pt x="18580" y="8781"/>
                </a:cubicBezTo>
                <a:cubicBezTo>
                  <a:pt x="18580" y="8779"/>
                  <a:pt x="18579" y="8779"/>
                  <a:pt x="18579" y="8777"/>
                </a:cubicBezTo>
                <a:cubicBezTo>
                  <a:pt x="18579" y="8755"/>
                  <a:pt x="18585" y="8717"/>
                  <a:pt x="18593" y="8688"/>
                </a:cubicBezTo>
                <a:close/>
                <a:moveTo>
                  <a:pt x="10676" y="8690"/>
                </a:moveTo>
                <a:cubicBezTo>
                  <a:pt x="10678" y="8693"/>
                  <a:pt x="10680" y="8696"/>
                  <a:pt x="10683" y="8699"/>
                </a:cubicBezTo>
                <a:cubicBezTo>
                  <a:pt x="10693" y="8740"/>
                  <a:pt x="10693" y="8768"/>
                  <a:pt x="10692" y="8811"/>
                </a:cubicBezTo>
                <a:cubicBezTo>
                  <a:pt x="10692" y="8823"/>
                  <a:pt x="10692" y="8836"/>
                  <a:pt x="10692" y="8849"/>
                </a:cubicBezTo>
                <a:cubicBezTo>
                  <a:pt x="10692" y="8893"/>
                  <a:pt x="10660" y="8938"/>
                  <a:pt x="10651" y="8938"/>
                </a:cubicBezTo>
                <a:cubicBezTo>
                  <a:pt x="10645" y="8938"/>
                  <a:pt x="10645" y="8901"/>
                  <a:pt x="10645" y="8882"/>
                </a:cubicBezTo>
                <a:cubicBezTo>
                  <a:pt x="10645" y="8871"/>
                  <a:pt x="10648" y="8860"/>
                  <a:pt x="10650" y="8849"/>
                </a:cubicBezTo>
                <a:cubicBezTo>
                  <a:pt x="10651" y="8847"/>
                  <a:pt x="10651" y="8844"/>
                  <a:pt x="10651" y="8842"/>
                </a:cubicBezTo>
                <a:cubicBezTo>
                  <a:pt x="10668" y="8815"/>
                  <a:pt x="10680" y="8775"/>
                  <a:pt x="10680" y="8728"/>
                </a:cubicBezTo>
                <a:cubicBezTo>
                  <a:pt x="10680" y="8714"/>
                  <a:pt x="10678" y="8702"/>
                  <a:pt x="10676" y="8690"/>
                </a:cubicBezTo>
                <a:close/>
                <a:moveTo>
                  <a:pt x="13322" y="8701"/>
                </a:moveTo>
                <a:lnTo>
                  <a:pt x="13386" y="8701"/>
                </a:lnTo>
                <a:lnTo>
                  <a:pt x="13419" y="9041"/>
                </a:lnTo>
                <a:cubicBezTo>
                  <a:pt x="13414" y="9052"/>
                  <a:pt x="13414" y="9070"/>
                  <a:pt x="13420" y="9081"/>
                </a:cubicBezTo>
                <a:cubicBezTo>
                  <a:pt x="13421" y="9084"/>
                  <a:pt x="13422" y="9086"/>
                  <a:pt x="13424" y="9087"/>
                </a:cubicBezTo>
                <a:lnTo>
                  <a:pt x="13442" y="9271"/>
                </a:lnTo>
                <a:lnTo>
                  <a:pt x="13445" y="9306"/>
                </a:lnTo>
                <a:cubicBezTo>
                  <a:pt x="13429" y="9323"/>
                  <a:pt x="13417" y="9350"/>
                  <a:pt x="13417" y="9388"/>
                </a:cubicBezTo>
                <a:cubicBezTo>
                  <a:pt x="13417" y="9439"/>
                  <a:pt x="13437" y="9478"/>
                  <a:pt x="13462" y="9482"/>
                </a:cubicBezTo>
                <a:lnTo>
                  <a:pt x="13480" y="9669"/>
                </a:lnTo>
                <a:lnTo>
                  <a:pt x="12919" y="9880"/>
                </a:lnTo>
                <a:cubicBezTo>
                  <a:pt x="12913" y="9862"/>
                  <a:pt x="12904" y="9848"/>
                  <a:pt x="12893" y="9848"/>
                </a:cubicBezTo>
                <a:cubicBezTo>
                  <a:pt x="12877" y="9848"/>
                  <a:pt x="12865" y="9872"/>
                  <a:pt x="12861" y="9902"/>
                </a:cubicBezTo>
                <a:lnTo>
                  <a:pt x="12794" y="9928"/>
                </a:lnTo>
                <a:cubicBezTo>
                  <a:pt x="12794" y="9924"/>
                  <a:pt x="12796" y="9921"/>
                  <a:pt x="12796" y="9917"/>
                </a:cubicBezTo>
                <a:cubicBezTo>
                  <a:pt x="12796" y="9879"/>
                  <a:pt x="12781" y="9848"/>
                  <a:pt x="12762" y="9848"/>
                </a:cubicBezTo>
                <a:cubicBezTo>
                  <a:pt x="12757" y="9848"/>
                  <a:pt x="12753" y="9856"/>
                  <a:pt x="12748" y="9860"/>
                </a:cubicBezTo>
                <a:cubicBezTo>
                  <a:pt x="12788" y="9766"/>
                  <a:pt x="12829" y="9665"/>
                  <a:pt x="12863" y="9583"/>
                </a:cubicBezTo>
                <a:cubicBezTo>
                  <a:pt x="12901" y="9577"/>
                  <a:pt x="12932" y="9515"/>
                  <a:pt x="12932" y="9437"/>
                </a:cubicBezTo>
                <a:cubicBezTo>
                  <a:pt x="12932" y="9431"/>
                  <a:pt x="12930" y="9426"/>
                  <a:pt x="12930" y="9421"/>
                </a:cubicBezTo>
                <a:lnTo>
                  <a:pt x="13052" y="9124"/>
                </a:lnTo>
                <a:cubicBezTo>
                  <a:pt x="13052" y="9125"/>
                  <a:pt x="13053" y="9125"/>
                  <a:pt x="13053" y="9126"/>
                </a:cubicBezTo>
                <a:cubicBezTo>
                  <a:pt x="13063" y="9172"/>
                  <a:pt x="13085" y="9172"/>
                  <a:pt x="13094" y="9172"/>
                </a:cubicBezTo>
                <a:cubicBezTo>
                  <a:pt x="13097" y="9172"/>
                  <a:pt x="13101" y="9173"/>
                  <a:pt x="13105" y="9172"/>
                </a:cubicBezTo>
                <a:cubicBezTo>
                  <a:pt x="13112" y="9172"/>
                  <a:pt x="13119" y="9170"/>
                  <a:pt x="13124" y="9172"/>
                </a:cubicBezTo>
                <a:cubicBezTo>
                  <a:pt x="13130" y="9175"/>
                  <a:pt x="13133" y="9186"/>
                  <a:pt x="13139" y="9205"/>
                </a:cubicBezTo>
                <a:cubicBezTo>
                  <a:pt x="13143" y="9217"/>
                  <a:pt x="13148" y="9230"/>
                  <a:pt x="13153" y="9241"/>
                </a:cubicBezTo>
                <a:cubicBezTo>
                  <a:pt x="13173" y="9280"/>
                  <a:pt x="13216" y="9277"/>
                  <a:pt x="13247" y="9276"/>
                </a:cubicBezTo>
                <a:cubicBezTo>
                  <a:pt x="13252" y="9276"/>
                  <a:pt x="13257" y="9275"/>
                  <a:pt x="13261" y="9275"/>
                </a:cubicBezTo>
                <a:cubicBezTo>
                  <a:pt x="13299" y="9275"/>
                  <a:pt x="13340" y="9261"/>
                  <a:pt x="13364" y="9248"/>
                </a:cubicBezTo>
                <a:cubicBezTo>
                  <a:pt x="13371" y="9245"/>
                  <a:pt x="13375" y="9233"/>
                  <a:pt x="13375" y="9219"/>
                </a:cubicBezTo>
                <a:lnTo>
                  <a:pt x="13375" y="9143"/>
                </a:lnTo>
                <a:cubicBezTo>
                  <a:pt x="13375" y="9136"/>
                  <a:pt x="13374" y="9130"/>
                  <a:pt x="13372" y="9124"/>
                </a:cubicBezTo>
                <a:cubicBezTo>
                  <a:pt x="13365" y="9108"/>
                  <a:pt x="13354" y="9074"/>
                  <a:pt x="13354" y="9053"/>
                </a:cubicBezTo>
                <a:cubicBezTo>
                  <a:pt x="13354" y="9043"/>
                  <a:pt x="13356" y="9037"/>
                  <a:pt x="13360" y="9024"/>
                </a:cubicBezTo>
                <a:cubicBezTo>
                  <a:pt x="13364" y="9008"/>
                  <a:pt x="13370" y="8988"/>
                  <a:pt x="13370" y="8955"/>
                </a:cubicBezTo>
                <a:cubicBezTo>
                  <a:pt x="13370" y="8874"/>
                  <a:pt x="13343" y="8783"/>
                  <a:pt x="13298" y="8755"/>
                </a:cubicBezTo>
                <a:cubicBezTo>
                  <a:pt x="13303" y="8721"/>
                  <a:pt x="13314" y="8701"/>
                  <a:pt x="13322" y="8701"/>
                </a:cubicBezTo>
                <a:close/>
                <a:moveTo>
                  <a:pt x="11809" y="8740"/>
                </a:moveTo>
                <a:lnTo>
                  <a:pt x="11810" y="8740"/>
                </a:lnTo>
                <a:lnTo>
                  <a:pt x="12015" y="9045"/>
                </a:lnTo>
                <a:cubicBezTo>
                  <a:pt x="12009" y="9055"/>
                  <a:pt x="12006" y="9069"/>
                  <a:pt x="12005" y="9085"/>
                </a:cubicBezTo>
                <a:lnTo>
                  <a:pt x="11897" y="9087"/>
                </a:lnTo>
                <a:lnTo>
                  <a:pt x="11763" y="9091"/>
                </a:lnTo>
                <a:cubicBezTo>
                  <a:pt x="11763" y="9087"/>
                  <a:pt x="11762" y="9082"/>
                  <a:pt x="11761" y="9079"/>
                </a:cubicBezTo>
                <a:cubicBezTo>
                  <a:pt x="11745" y="9033"/>
                  <a:pt x="11727" y="9021"/>
                  <a:pt x="11709" y="9009"/>
                </a:cubicBezTo>
                <a:cubicBezTo>
                  <a:pt x="11708" y="9009"/>
                  <a:pt x="11708" y="9008"/>
                  <a:pt x="11708" y="9008"/>
                </a:cubicBezTo>
                <a:cubicBezTo>
                  <a:pt x="11722" y="8990"/>
                  <a:pt x="11737" y="8968"/>
                  <a:pt x="11737" y="8901"/>
                </a:cubicBezTo>
                <a:cubicBezTo>
                  <a:pt x="11737" y="8886"/>
                  <a:pt x="11736" y="8877"/>
                  <a:pt x="11735" y="8870"/>
                </a:cubicBezTo>
                <a:cubicBezTo>
                  <a:pt x="11735" y="8869"/>
                  <a:pt x="11734" y="8867"/>
                  <a:pt x="11734" y="8866"/>
                </a:cubicBezTo>
                <a:cubicBezTo>
                  <a:pt x="11734" y="8866"/>
                  <a:pt x="11735" y="8865"/>
                  <a:pt x="11736" y="8861"/>
                </a:cubicBezTo>
                <a:cubicBezTo>
                  <a:pt x="11737" y="8852"/>
                  <a:pt x="11737" y="8841"/>
                  <a:pt x="11734" y="8833"/>
                </a:cubicBezTo>
                <a:cubicBezTo>
                  <a:pt x="11731" y="8825"/>
                  <a:pt x="11727" y="8820"/>
                  <a:pt x="11722" y="8820"/>
                </a:cubicBezTo>
                <a:lnTo>
                  <a:pt x="11709" y="8820"/>
                </a:lnTo>
                <a:cubicBezTo>
                  <a:pt x="11705" y="8820"/>
                  <a:pt x="11702" y="8819"/>
                  <a:pt x="11701" y="8819"/>
                </a:cubicBezTo>
                <a:cubicBezTo>
                  <a:pt x="11706" y="8766"/>
                  <a:pt x="11764" y="8751"/>
                  <a:pt x="11809" y="8740"/>
                </a:cubicBezTo>
                <a:close/>
                <a:moveTo>
                  <a:pt x="4776" y="8767"/>
                </a:moveTo>
                <a:cubicBezTo>
                  <a:pt x="4749" y="8767"/>
                  <a:pt x="4727" y="8811"/>
                  <a:pt x="4727" y="8866"/>
                </a:cubicBezTo>
                <a:cubicBezTo>
                  <a:pt x="4727" y="8920"/>
                  <a:pt x="4749" y="8964"/>
                  <a:pt x="4776" y="8964"/>
                </a:cubicBezTo>
                <a:cubicBezTo>
                  <a:pt x="4803" y="8964"/>
                  <a:pt x="4825" y="8920"/>
                  <a:pt x="4825" y="8866"/>
                </a:cubicBezTo>
                <a:cubicBezTo>
                  <a:pt x="4825" y="8811"/>
                  <a:pt x="4803" y="8767"/>
                  <a:pt x="4776" y="8767"/>
                </a:cubicBezTo>
                <a:close/>
                <a:moveTo>
                  <a:pt x="10299" y="8784"/>
                </a:moveTo>
                <a:cubicBezTo>
                  <a:pt x="10287" y="8788"/>
                  <a:pt x="10278" y="8798"/>
                  <a:pt x="10268" y="8809"/>
                </a:cubicBezTo>
                <a:cubicBezTo>
                  <a:pt x="10266" y="8811"/>
                  <a:pt x="10264" y="8814"/>
                  <a:pt x="10261" y="8817"/>
                </a:cubicBezTo>
                <a:cubicBezTo>
                  <a:pt x="10257" y="8821"/>
                  <a:pt x="10254" y="8830"/>
                  <a:pt x="10253" y="8840"/>
                </a:cubicBezTo>
                <a:cubicBezTo>
                  <a:pt x="10253" y="8850"/>
                  <a:pt x="10254" y="8860"/>
                  <a:pt x="10258" y="8867"/>
                </a:cubicBezTo>
                <a:cubicBezTo>
                  <a:pt x="10274" y="8898"/>
                  <a:pt x="10285" y="8911"/>
                  <a:pt x="10295" y="8911"/>
                </a:cubicBezTo>
                <a:cubicBezTo>
                  <a:pt x="10308" y="8911"/>
                  <a:pt x="10327" y="8893"/>
                  <a:pt x="10327" y="8860"/>
                </a:cubicBezTo>
                <a:cubicBezTo>
                  <a:pt x="10327" y="8844"/>
                  <a:pt x="10322" y="8830"/>
                  <a:pt x="10318" y="8817"/>
                </a:cubicBezTo>
                <a:cubicBezTo>
                  <a:pt x="10317" y="8813"/>
                  <a:pt x="10317" y="8810"/>
                  <a:pt x="10316" y="8807"/>
                </a:cubicBezTo>
                <a:cubicBezTo>
                  <a:pt x="10315" y="8801"/>
                  <a:pt x="10313" y="8796"/>
                  <a:pt x="10311" y="8791"/>
                </a:cubicBezTo>
                <a:cubicBezTo>
                  <a:pt x="10308" y="8785"/>
                  <a:pt x="10303" y="8783"/>
                  <a:pt x="10299" y="8784"/>
                </a:cubicBezTo>
                <a:close/>
                <a:moveTo>
                  <a:pt x="4391" y="8841"/>
                </a:moveTo>
                <a:cubicBezTo>
                  <a:pt x="4350" y="8841"/>
                  <a:pt x="4317" y="8908"/>
                  <a:pt x="4317" y="8989"/>
                </a:cubicBezTo>
                <a:cubicBezTo>
                  <a:pt x="4317" y="9071"/>
                  <a:pt x="4350" y="9137"/>
                  <a:pt x="4391" y="9137"/>
                </a:cubicBezTo>
                <a:cubicBezTo>
                  <a:pt x="4432" y="9137"/>
                  <a:pt x="4465" y="9071"/>
                  <a:pt x="4465" y="8989"/>
                </a:cubicBezTo>
                <a:cubicBezTo>
                  <a:pt x="4465" y="8908"/>
                  <a:pt x="4432" y="8841"/>
                  <a:pt x="4391" y="8841"/>
                </a:cubicBezTo>
                <a:close/>
                <a:moveTo>
                  <a:pt x="11096" y="8862"/>
                </a:moveTo>
                <a:cubicBezTo>
                  <a:pt x="11100" y="8870"/>
                  <a:pt x="11104" y="8877"/>
                  <a:pt x="11107" y="8883"/>
                </a:cubicBezTo>
                <a:cubicBezTo>
                  <a:pt x="11114" y="8894"/>
                  <a:pt x="11118" y="8903"/>
                  <a:pt x="11120" y="8911"/>
                </a:cubicBezTo>
                <a:cubicBezTo>
                  <a:pt x="11113" y="8914"/>
                  <a:pt x="11104" y="8911"/>
                  <a:pt x="11098" y="8922"/>
                </a:cubicBezTo>
                <a:cubicBezTo>
                  <a:pt x="11096" y="8927"/>
                  <a:pt x="11094" y="8932"/>
                  <a:pt x="11092" y="8938"/>
                </a:cubicBezTo>
                <a:cubicBezTo>
                  <a:pt x="11092" y="8934"/>
                  <a:pt x="11092" y="8930"/>
                  <a:pt x="11092" y="8926"/>
                </a:cubicBezTo>
                <a:lnTo>
                  <a:pt x="11096" y="8862"/>
                </a:lnTo>
                <a:close/>
                <a:moveTo>
                  <a:pt x="18619" y="8880"/>
                </a:moveTo>
                <a:lnTo>
                  <a:pt x="18631" y="8967"/>
                </a:lnTo>
                <a:lnTo>
                  <a:pt x="18600" y="8930"/>
                </a:lnTo>
                <a:cubicBezTo>
                  <a:pt x="18610" y="8920"/>
                  <a:pt x="18618" y="8903"/>
                  <a:pt x="18619" y="8880"/>
                </a:cubicBezTo>
                <a:close/>
                <a:moveTo>
                  <a:pt x="3841" y="8953"/>
                </a:moveTo>
                <a:cubicBezTo>
                  <a:pt x="3826" y="8953"/>
                  <a:pt x="3815" y="8976"/>
                  <a:pt x="3815" y="9004"/>
                </a:cubicBezTo>
                <a:cubicBezTo>
                  <a:pt x="3815" y="9033"/>
                  <a:pt x="3826" y="9056"/>
                  <a:pt x="3841" y="9056"/>
                </a:cubicBezTo>
                <a:cubicBezTo>
                  <a:pt x="3855" y="9056"/>
                  <a:pt x="3866" y="9033"/>
                  <a:pt x="3866" y="9004"/>
                </a:cubicBezTo>
                <a:cubicBezTo>
                  <a:pt x="3866" y="8976"/>
                  <a:pt x="3855" y="8953"/>
                  <a:pt x="3841" y="8953"/>
                </a:cubicBezTo>
                <a:close/>
                <a:moveTo>
                  <a:pt x="17160" y="8953"/>
                </a:moveTo>
                <a:cubicBezTo>
                  <a:pt x="17138" y="8953"/>
                  <a:pt x="17120" y="8989"/>
                  <a:pt x="17120" y="9035"/>
                </a:cubicBezTo>
                <a:cubicBezTo>
                  <a:pt x="17120" y="9080"/>
                  <a:pt x="17138" y="9117"/>
                  <a:pt x="17160" y="9117"/>
                </a:cubicBezTo>
                <a:cubicBezTo>
                  <a:pt x="17183" y="9117"/>
                  <a:pt x="17202" y="9080"/>
                  <a:pt x="17202" y="9035"/>
                </a:cubicBezTo>
                <a:cubicBezTo>
                  <a:pt x="17202" y="8989"/>
                  <a:pt x="17183" y="8953"/>
                  <a:pt x="17160" y="8953"/>
                </a:cubicBezTo>
                <a:close/>
                <a:moveTo>
                  <a:pt x="18570" y="8964"/>
                </a:moveTo>
                <a:lnTo>
                  <a:pt x="18612" y="9015"/>
                </a:lnTo>
                <a:lnTo>
                  <a:pt x="18555" y="9032"/>
                </a:lnTo>
                <a:lnTo>
                  <a:pt x="18551" y="9034"/>
                </a:lnTo>
                <a:cubicBezTo>
                  <a:pt x="18559" y="9011"/>
                  <a:pt x="18565" y="8987"/>
                  <a:pt x="18570" y="8964"/>
                </a:cubicBezTo>
                <a:close/>
                <a:moveTo>
                  <a:pt x="13541" y="8975"/>
                </a:moveTo>
                <a:cubicBezTo>
                  <a:pt x="13528" y="8994"/>
                  <a:pt x="13518" y="9001"/>
                  <a:pt x="13503" y="9006"/>
                </a:cubicBezTo>
                <a:cubicBezTo>
                  <a:pt x="13495" y="9008"/>
                  <a:pt x="13490" y="9023"/>
                  <a:pt x="13491" y="9039"/>
                </a:cubicBezTo>
                <a:cubicBezTo>
                  <a:pt x="13492" y="9054"/>
                  <a:pt x="13498" y="9065"/>
                  <a:pt x="13506" y="9065"/>
                </a:cubicBezTo>
                <a:cubicBezTo>
                  <a:pt x="13506" y="9065"/>
                  <a:pt x="13507" y="9064"/>
                  <a:pt x="13508" y="9064"/>
                </a:cubicBezTo>
                <a:cubicBezTo>
                  <a:pt x="13522" y="9059"/>
                  <a:pt x="13539" y="9052"/>
                  <a:pt x="13559" y="9024"/>
                </a:cubicBezTo>
                <a:cubicBezTo>
                  <a:pt x="13565" y="9015"/>
                  <a:pt x="13567" y="8996"/>
                  <a:pt x="13562" y="8982"/>
                </a:cubicBezTo>
                <a:cubicBezTo>
                  <a:pt x="13557" y="8969"/>
                  <a:pt x="13548" y="8966"/>
                  <a:pt x="13541" y="8975"/>
                </a:cubicBezTo>
                <a:close/>
                <a:moveTo>
                  <a:pt x="14361" y="9013"/>
                </a:moveTo>
                <a:cubicBezTo>
                  <a:pt x="14354" y="9003"/>
                  <a:pt x="14344" y="9008"/>
                  <a:pt x="14339" y="9021"/>
                </a:cubicBezTo>
                <a:cubicBezTo>
                  <a:pt x="14336" y="9029"/>
                  <a:pt x="14332" y="9042"/>
                  <a:pt x="14331" y="9044"/>
                </a:cubicBezTo>
                <a:cubicBezTo>
                  <a:pt x="14329" y="9044"/>
                  <a:pt x="14326" y="9044"/>
                  <a:pt x="14323" y="9045"/>
                </a:cubicBezTo>
                <a:cubicBezTo>
                  <a:pt x="14314" y="9047"/>
                  <a:pt x="14309" y="9063"/>
                  <a:pt x="14310" y="9079"/>
                </a:cubicBezTo>
                <a:cubicBezTo>
                  <a:pt x="14311" y="9094"/>
                  <a:pt x="14317" y="9106"/>
                  <a:pt x="14324" y="9106"/>
                </a:cubicBezTo>
                <a:cubicBezTo>
                  <a:pt x="14325" y="9106"/>
                  <a:pt x="14326" y="9105"/>
                  <a:pt x="14327" y="9105"/>
                </a:cubicBezTo>
                <a:cubicBezTo>
                  <a:pt x="14327" y="9105"/>
                  <a:pt x="14327" y="9105"/>
                  <a:pt x="14327" y="9105"/>
                </a:cubicBezTo>
                <a:lnTo>
                  <a:pt x="14328" y="9105"/>
                </a:lnTo>
                <a:cubicBezTo>
                  <a:pt x="14329" y="9104"/>
                  <a:pt x="14330" y="9104"/>
                  <a:pt x="14331" y="9103"/>
                </a:cubicBezTo>
                <a:cubicBezTo>
                  <a:pt x="14346" y="9103"/>
                  <a:pt x="14355" y="9079"/>
                  <a:pt x="14363" y="9056"/>
                </a:cubicBezTo>
                <a:lnTo>
                  <a:pt x="14353" y="9036"/>
                </a:lnTo>
                <a:lnTo>
                  <a:pt x="14364" y="9053"/>
                </a:lnTo>
                <a:cubicBezTo>
                  <a:pt x="14369" y="9040"/>
                  <a:pt x="14368" y="9022"/>
                  <a:pt x="14361" y="9013"/>
                </a:cubicBezTo>
                <a:close/>
                <a:moveTo>
                  <a:pt x="2623" y="9028"/>
                </a:moveTo>
                <a:cubicBezTo>
                  <a:pt x="2583" y="9028"/>
                  <a:pt x="2550" y="9094"/>
                  <a:pt x="2550" y="9176"/>
                </a:cubicBezTo>
                <a:cubicBezTo>
                  <a:pt x="2550" y="9257"/>
                  <a:pt x="2583" y="9324"/>
                  <a:pt x="2623" y="9324"/>
                </a:cubicBezTo>
                <a:cubicBezTo>
                  <a:pt x="2664" y="9324"/>
                  <a:pt x="2697" y="9257"/>
                  <a:pt x="2697" y="9176"/>
                </a:cubicBezTo>
                <a:cubicBezTo>
                  <a:pt x="2697" y="9094"/>
                  <a:pt x="2664" y="9028"/>
                  <a:pt x="2623" y="9028"/>
                </a:cubicBezTo>
                <a:close/>
                <a:moveTo>
                  <a:pt x="14713" y="9028"/>
                </a:moveTo>
                <a:cubicBezTo>
                  <a:pt x="14686" y="9028"/>
                  <a:pt x="14663" y="9072"/>
                  <a:pt x="14663" y="9127"/>
                </a:cubicBezTo>
                <a:cubicBezTo>
                  <a:pt x="14663" y="9144"/>
                  <a:pt x="14669" y="9157"/>
                  <a:pt x="14673" y="9171"/>
                </a:cubicBezTo>
                <a:cubicBezTo>
                  <a:pt x="14668" y="9169"/>
                  <a:pt x="14663" y="9166"/>
                  <a:pt x="14660" y="9165"/>
                </a:cubicBezTo>
                <a:cubicBezTo>
                  <a:pt x="14645" y="9160"/>
                  <a:pt x="14645" y="9160"/>
                  <a:pt x="14645" y="9136"/>
                </a:cubicBezTo>
                <a:lnTo>
                  <a:pt x="14646" y="9117"/>
                </a:lnTo>
                <a:cubicBezTo>
                  <a:pt x="14648" y="9101"/>
                  <a:pt x="14643" y="9086"/>
                  <a:pt x="14635" y="9083"/>
                </a:cubicBezTo>
                <a:cubicBezTo>
                  <a:pt x="14628" y="9080"/>
                  <a:pt x="14622" y="9086"/>
                  <a:pt x="14619" y="9098"/>
                </a:cubicBezTo>
                <a:cubicBezTo>
                  <a:pt x="14599" y="9091"/>
                  <a:pt x="14583" y="9091"/>
                  <a:pt x="14562" y="9091"/>
                </a:cubicBezTo>
                <a:cubicBezTo>
                  <a:pt x="14561" y="9091"/>
                  <a:pt x="14560" y="9091"/>
                  <a:pt x="14560" y="9091"/>
                </a:cubicBezTo>
                <a:cubicBezTo>
                  <a:pt x="14559" y="9091"/>
                  <a:pt x="14558" y="9091"/>
                  <a:pt x="14558" y="9091"/>
                </a:cubicBezTo>
                <a:cubicBezTo>
                  <a:pt x="14535" y="9091"/>
                  <a:pt x="14519" y="9106"/>
                  <a:pt x="14503" y="9124"/>
                </a:cubicBezTo>
                <a:cubicBezTo>
                  <a:pt x="14499" y="9130"/>
                  <a:pt x="14496" y="9141"/>
                  <a:pt x="14496" y="9151"/>
                </a:cubicBezTo>
                <a:cubicBezTo>
                  <a:pt x="14496" y="9156"/>
                  <a:pt x="14496" y="9162"/>
                  <a:pt x="14498" y="9166"/>
                </a:cubicBezTo>
                <a:cubicBezTo>
                  <a:pt x="14502" y="9181"/>
                  <a:pt x="14511" y="9185"/>
                  <a:pt x="14518" y="9177"/>
                </a:cubicBezTo>
                <a:cubicBezTo>
                  <a:pt x="14531" y="9162"/>
                  <a:pt x="14542" y="9150"/>
                  <a:pt x="14558" y="9150"/>
                </a:cubicBezTo>
                <a:cubicBezTo>
                  <a:pt x="14558" y="9150"/>
                  <a:pt x="14559" y="9150"/>
                  <a:pt x="14560" y="9150"/>
                </a:cubicBezTo>
                <a:cubicBezTo>
                  <a:pt x="14560" y="9150"/>
                  <a:pt x="14561" y="9150"/>
                  <a:pt x="14562" y="9150"/>
                </a:cubicBezTo>
                <a:cubicBezTo>
                  <a:pt x="14582" y="9150"/>
                  <a:pt x="14597" y="9151"/>
                  <a:pt x="14616" y="9158"/>
                </a:cubicBezTo>
                <a:cubicBezTo>
                  <a:pt x="14620" y="9213"/>
                  <a:pt x="14639" y="9219"/>
                  <a:pt x="14655" y="9225"/>
                </a:cubicBezTo>
                <a:cubicBezTo>
                  <a:pt x="14662" y="9227"/>
                  <a:pt x="14668" y="9228"/>
                  <a:pt x="14677" y="9234"/>
                </a:cubicBezTo>
                <a:cubicBezTo>
                  <a:pt x="14679" y="9235"/>
                  <a:pt x="14680" y="9237"/>
                  <a:pt x="14681" y="9241"/>
                </a:cubicBezTo>
                <a:cubicBezTo>
                  <a:pt x="14683" y="9252"/>
                  <a:pt x="14688" y="9259"/>
                  <a:pt x="14694" y="9259"/>
                </a:cubicBezTo>
                <a:cubicBezTo>
                  <a:pt x="14696" y="9259"/>
                  <a:pt x="14699" y="9258"/>
                  <a:pt x="14701" y="9256"/>
                </a:cubicBezTo>
                <a:cubicBezTo>
                  <a:pt x="14707" y="9250"/>
                  <a:pt x="14710" y="9234"/>
                  <a:pt x="14708" y="9220"/>
                </a:cubicBezTo>
                <a:cubicBezTo>
                  <a:pt x="14710" y="9221"/>
                  <a:pt x="14711" y="9225"/>
                  <a:pt x="14713" y="9225"/>
                </a:cubicBezTo>
                <a:cubicBezTo>
                  <a:pt x="14740" y="9225"/>
                  <a:pt x="14762" y="9181"/>
                  <a:pt x="14762" y="9127"/>
                </a:cubicBezTo>
                <a:cubicBezTo>
                  <a:pt x="14762" y="9072"/>
                  <a:pt x="14740" y="9028"/>
                  <a:pt x="14713" y="9028"/>
                </a:cubicBezTo>
                <a:close/>
                <a:moveTo>
                  <a:pt x="18155" y="9065"/>
                </a:moveTo>
                <a:cubicBezTo>
                  <a:pt x="18128" y="9065"/>
                  <a:pt x="18106" y="9110"/>
                  <a:pt x="18106" y="9164"/>
                </a:cubicBezTo>
                <a:cubicBezTo>
                  <a:pt x="18106" y="9219"/>
                  <a:pt x="18128" y="9262"/>
                  <a:pt x="18155" y="9262"/>
                </a:cubicBezTo>
                <a:cubicBezTo>
                  <a:pt x="18182" y="9262"/>
                  <a:pt x="18204" y="9219"/>
                  <a:pt x="18204" y="9164"/>
                </a:cubicBezTo>
                <a:cubicBezTo>
                  <a:pt x="18204" y="9110"/>
                  <a:pt x="18182" y="9065"/>
                  <a:pt x="18155" y="9065"/>
                </a:cubicBezTo>
                <a:close/>
                <a:moveTo>
                  <a:pt x="18611" y="9077"/>
                </a:moveTo>
                <a:cubicBezTo>
                  <a:pt x="18611" y="9088"/>
                  <a:pt x="18610" y="9100"/>
                  <a:pt x="18610" y="9113"/>
                </a:cubicBezTo>
                <a:lnTo>
                  <a:pt x="18550" y="9289"/>
                </a:lnTo>
                <a:cubicBezTo>
                  <a:pt x="18550" y="9289"/>
                  <a:pt x="18550" y="9289"/>
                  <a:pt x="18550" y="9289"/>
                </a:cubicBezTo>
                <a:cubicBezTo>
                  <a:pt x="18531" y="9289"/>
                  <a:pt x="18515" y="9320"/>
                  <a:pt x="18515" y="9358"/>
                </a:cubicBezTo>
                <a:cubicBezTo>
                  <a:pt x="18515" y="9366"/>
                  <a:pt x="18518" y="9371"/>
                  <a:pt x="18519" y="9379"/>
                </a:cubicBezTo>
                <a:lnTo>
                  <a:pt x="18488" y="9470"/>
                </a:lnTo>
                <a:lnTo>
                  <a:pt x="18475" y="9470"/>
                </a:lnTo>
                <a:cubicBezTo>
                  <a:pt x="18471" y="9470"/>
                  <a:pt x="18466" y="9475"/>
                  <a:pt x="18463" y="9480"/>
                </a:cubicBezTo>
                <a:cubicBezTo>
                  <a:pt x="18452" y="9502"/>
                  <a:pt x="18443" y="9521"/>
                  <a:pt x="18433" y="9521"/>
                </a:cubicBezTo>
                <a:cubicBezTo>
                  <a:pt x="18413" y="9521"/>
                  <a:pt x="18407" y="9504"/>
                  <a:pt x="18400" y="9485"/>
                </a:cubicBezTo>
                <a:cubicBezTo>
                  <a:pt x="18394" y="9469"/>
                  <a:pt x="18387" y="9449"/>
                  <a:pt x="18372" y="9449"/>
                </a:cubicBezTo>
                <a:cubicBezTo>
                  <a:pt x="18355" y="9449"/>
                  <a:pt x="18344" y="9486"/>
                  <a:pt x="18344" y="9512"/>
                </a:cubicBezTo>
                <a:cubicBezTo>
                  <a:pt x="18344" y="9520"/>
                  <a:pt x="18347" y="9538"/>
                  <a:pt x="18352" y="9556"/>
                </a:cubicBezTo>
                <a:cubicBezTo>
                  <a:pt x="18337" y="9564"/>
                  <a:pt x="18323" y="9598"/>
                  <a:pt x="18312" y="9628"/>
                </a:cubicBezTo>
                <a:cubicBezTo>
                  <a:pt x="18311" y="9628"/>
                  <a:pt x="18309" y="9625"/>
                  <a:pt x="18308" y="9625"/>
                </a:cubicBezTo>
                <a:cubicBezTo>
                  <a:pt x="18303" y="9625"/>
                  <a:pt x="18300" y="9632"/>
                  <a:pt x="18295" y="9635"/>
                </a:cubicBezTo>
                <a:cubicBezTo>
                  <a:pt x="18294" y="9633"/>
                  <a:pt x="18294" y="9631"/>
                  <a:pt x="18292" y="9629"/>
                </a:cubicBezTo>
                <a:cubicBezTo>
                  <a:pt x="18293" y="9626"/>
                  <a:pt x="18293" y="9623"/>
                  <a:pt x="18293" y="9619"/>
                </a:cubicBezTo>
                <a:cubicBezTo>
                  <a:pt x="18293" y="9609"/>
                  <a:pt x="18294" y="9594"/>
                  <a:pt x="18296" y="9583"/>
                </a:cubicBezTo>
                <a:cubicBezTo>
                  <a:pt x="18298" y="9570"/>
                  <a:pt x="18299" y="9558"/>
                  <a:pt x="18299" y="9546"/>
                </a:cubicBezTo>
                <a:cubicBezTo>
                  <a:pt x="18299" y="9533"/>
                  <a:pt x="18295" y="9521"/>
                  <a:pt x="18288" y="9517"/>
                </a:cubicBezTo>
                <a:cubicBezTo>
                  <a:pt x="18280" y="9513"/>
                  <a:pt x="18272" y="9506"/>
                  <a:pt x="18265" y="9500"/>
                </a:cubicBezTo>
                <a:cubicBezTo>
                  <a:pt x="18262" y="9498"/>
                  <a:pt x="18259" y="9498"/>
                  <a:pt x="18256" y="9496"/>
                </a:cubicBezTo>
                <a:cubicBezTo>
                  <a:pt x="18273" y="9491"/>
                  <a:pt x="18286" y="9466"/>
                  <a:pt x="18286" y="9432"/>
                </a:cubicBezTo>
                <a:cubicBezTo>
                  <a:pt x="18286" y="9432"/>
                  <a:pt x="18286" y="9431"/>
                  <a:pt x="18286" y="9431"/>
                </a:cubicBezTo>
                <a:lnTo>
                  <a:pt x="18291" y="9431"/>
                </a:lnTo>
                <a:cubicBezTo>
                  <a:pt x="18316" y="9431"/>
                  <a:pt x="18331" y="9389"/>
                  <a:pt x="18342" y="9352"/>
                </a:cubicBezTo>
                <a:cubicBezTo>
                  <a:pt x="18350" y="9357"/>
                  <a:pt x="18358" y="9361"/>
                  <a:pt x="18366" y="9361"/>
                </a:cubicBezTo>
                <a:cubicBezTo>
                  <a:pt x="18404" y="9361"/>
                  <a:pt x="18434" y="9303"/>
                  <a:pt x="18438" y="9229"/>
                </a:cubicBezTo>
                <a:cubicBezTo>
                  <a:pt x="18439" y="9227"/>
                  <a:pt x="18441" y="9225"/>
                  <a:pt x="18442" y="9224"/>
                </a:cubicBezTo>
                <a:cubicBezTo>
                  <a:pt x="18448" y="9214"/>
                  <a:pt x="18453" y="9205"/>
                  <a:pt x="18461" y="9200"/>
                </a:cubicBezTo>
                <a:cubicBezTo>
                  <a:pt x="18480" y="9187"/>
                  <a:pt x="18503" y="9152"/>
                  <a:pt x="18525" y="9102"/>
                </a:cubicBezTo>
                <a:lnTo>
                  <a:pt x="18611" y="9077"/>
                </a:lnTo>
                <a:close/>
                <a:moveTo>
                  <a:pt x="14088" y="9083"/>
                </a:moveTo>
                <a:cubicBezTo>
                  <a:pt x="14066" y="9083"/>
                  <a:pt x="14049" y="9097"/>
                  <a:pt x="14035" y="9128"/>
                </a:cubicBezTo>
                <a:cubicBezTo>
                  <a:pt x="14029" y="9140"/>
                  <a:pt x="14029" y="9159"/>
                  <a:pt x="14035" y="9170"/>
                </a:cubicBezTo>
                <a:cubicBezTo>
                  <a:pt x="14038" y="9175"/>
                  <a:pt x="14042" y="9178"/>
                  <a:pt x="14045" y="9178"/>
                </a:cubicBezTo>
                <a:cubicBezTo>
                  <a:pt x="14049" y="9178"/>
                  <a:pt x="14053" y="9175"/>
                  <a:pt x="14056" y="9169"/>
                </a:cubicBezTo>
                <a:cubicBezTo>
                  <a:pt x="14065" y="9150"/>
                  <a:pt x="14075" y="9142"/>
                  <a:pt x="14088" y="9142"/>
                </a:cubicBezTo>
                <a:cubicBezTo>
                  <a:pt x="14096" y="9142"/>
                  <a:pt x="14102" y="9128"/>
                  <a:pt x="14102" y="9112"/>
                </a:cubicBezTo>
                <a:cubicBezTo>
                  <a:pt x="14102" y="9095"/>
                  <a:pt x="14096" y="9083"/>
                  <a:pt x="14088" y="9083"/>
                </a:cubicBezTo>
                <a:close/>
                <a:moveTo>
                  <a:pt x="10887" y="9102"/>
                </a:moveTo>
                <a:cubicBezTo>
                  <a:pt x="10899" y="9099"/>
                  <a:pt x="10911" y="9102"/>
                  <a:pt x="10922" y="9110"/>
                </a:cubicBezTo>
                <a:cubicBezTo>
                  <a:pt x="10934" y="9120"/>
                  <a:pt x="10949" y="9131"/>
                  <a:pt x="10967" y="9124"/>
                </a:cubicBezTo>
                <a:lnTo>
                  <a:pt x="10968" y="9124"/>
                </a:lnTo>
                <a:cubicBezTo>
                  <a:pt x="10973" y="9150"/>
                  <a:pt x="10982" y="9167"/>
                  <a:pt x="10996" y="9176"/>
                </a:cubicBezTo>
                <a:cubicBezTo>
                  <a:pt x="10997" y="9190"/>
                  <a:pt x="10999" y="9204"/>
                  <a:pt x="11001" y="9212"/>
                </a:cubicBezTo>
                <a:cubicBezTo>
                  <a:pt x="11003" y="9217"/>
                  <a:pt x="11003" y="9219"/>
                  <a:pt x="11004" y="9224"/>
                </a:cubicBezTo>
                <a:lnTo>
                  <a:pt x="11004" y="9225"/>
                </a:lnTo>
                <a:lnTo>
                  <a:pt x="11002" y="9228"/>
                </a:lnTo>
                <a:cubicBezTo>
                  <a:pt x="11000" y="9222"/>
                  <a:pt x="10997" y="9217"/>
                  <a:pt x="10994" y="9215"/>
                </a:cubicBezTo>
                <a:cubicBezTo>
                  <a:pt x="10977" y="9208"/>
                  <a:pt x="10962" y="9186"/>
                  <a:pt x="10946" y="9163"/>
                </a:cubicBezTo>
                <a:cubicBezTo>
                  <a:pt x="10931" y="9140"/>
                  <a:pt x="10915" y="9117"/>
                  <a:pt x="10897" y="9106"/>
                </a:cubicBezTo>
                <a:cubicBezTo>
                  <a:pt x="10894" y="9104"/>
                  <a:pt x="10891" y="9103"/>
                  <a:pt x="10887" y="9102"/>
                </a:cubicBezTo>
                <a:close/>
                <a:moveTo>
                  <a:pt x="12015" y="9147"/>
                </a:moveTo>
                <a:cubicBezTo>
                  <a:pt x="12021" y="9157"/>
                  <a:pt x="12028" y="9164"/>
                  <a:pt x="12037" y="9164"/>
                </a:cubicBezTo>
                <a:lnTo>
                  <a:pt x="12011" y="9213"/>
                </a:lnTo>
                <a:cubicBezTo>
                  <a:pt x="12003" y="9206"/>
                  <a:pt x="11994" y="9203"/>
                  <a:pt x="11984" y="9203"/>
                </a:cubicBezTo>
                <a:cubicBezTo>
                  <a:pt x="11953" y="9203"/>
                  <a:pt x="11941" y="9240"/>
                  <a:pt x="11931" y="9268"/>
                </a:cubicBezTo>
                <a:cubicBezTo>
                  <a:pt x="11923" y="9292"/>
                  <a:pt x="11920" y="9301"/>
                  <a:pt x="11911" y="9301"/>
                </a:cubicBezTo>
                <a:cubicBezTo>
                  <a:pt x="11898" y="9301"/>
                  <a:pt x="11886" y="9281"/>
                  <a:pt x="11874" y="9262"/>
                </a:cubicBezTo>
                <a:cubicBezTo>
                  <a:pt x="11860" y="9240"/>
                  <a:pt x="11845" y="9215"/>
                  <a:pt x="11824" y="9215"/>
                </a:cubicBezTo>
                <a:cubicBezTo>
                  <a:pt x="11822" y="9215"/>
                  <a:pt x="11819" y="9217"/>
                  <a:pt x="11816" y="9218"/>
                </a:cubicBezTo>
                <a:cubicBezTo>
                  <a:pt x="11815" y="9214"/>
                  <a:pt x="11814" y="9210"/>
                  <a:pt x="11812" y="9207"/>
                </a:cubicBezTo>
                <a:cubicBezTo>
                  <a:pt x="11808" y="9200"/>
                  <a:pt x="11802" y="9191"/>
                  <a:pt x="11795" y="9180"/>
                </a:cubicBezTo>
                <a:cubicBezTo>
                  <a:pt x="11790" y="9174"/>
                  <a:pt x="11783" y="9162"/>
                  <a:pt x="11776" y="9151"/>
                </a:cubicBezTo>
                <a:cubicBezTo>
                  <a:pt x="11776" y="9151"/>
                  <a:pt x="11964" y="9148"/>
                  <a:pt x="12015" y="9147"/>
                </a:cubicBezTo>
                <a:close/>
                <a:moveTo>
                  <a:pt x="14413" y="9158"/>
                </a:moveTo>
                <a:cubicBezTo>
                  <a:pt x="14407" y="9162"/>
                  <a:pt x="14403" y="9173"/>
                  <a:pt x="14403" y="9186"/>
                </a:cubicBezTo>
                <a:cubicBezTo>
                  <a:pt x="14403" y="9189"/>
                  <a:pt x="14403" y="9193"/>
                  <a:pt x="14403" y="9196"/>
                </a:cubicBezTo>
                <a:cubicBezTo>
                  <a:pt x="14409" y="9232"/>
                  <a:pt x="14421" y="9252"/>
                  <a:pt x="14439" y="9252"/>
                </a:cubicBezTo>
                <a:cubicBezTo>
                  <a:pt x="14447" y="9252"/>
                  <a:pt x="14454" y="9238"/>
                  <a:pt x="14454" y="9221"/>
                </a:cubicBezTo>
                <a:cubicBezTo>
                  <a:pt x="14454" y="9205"/>
                  <a:pt x="14447" y="9191"/>
                  <a:pt x="14439" y="9191"/>
                </a:cubicBezTo>
                <a:cubicBezTo>
                  <a:pt x="14436" y="9191"/>
                  <a:pt x="14434" y="9191"/>
                  <a:pt x="14432" y="9178"/>
                </a:cubicBezTo>
                <a:cubicBezTo>
                  <a:pt x="14430" y="9162"/>
                  <a:pt x="14421" y="9154"/>
                  <a:pt x="14413" y="9158"/>
                </a:cubicBezTo>
                <a:close/>
                <a:moveTo>
                  <a:pt x="11199" y="9177"/>
                </a:moveTo>
                <a:cubicBezTo>
                  <a:pt x="11181" y="9177"/>
                  <a:pt x="11165" y="9208"/>
                  <a:pt x="11165" y="9246"/>
                </a:cubicBezTo>
                <a:cubicBezTo>
                  <a:pt x="11165" y="9283"/>
                  <a:pt x="11181" y="9313"/>
                  <a:pt x="11199" y="9313"/>
                </a:cubicBezTo>
                <a:cubicBezTo>
                  <a:pt x="11218" y="9313"/>
                  <a:pt x="11233" y="9283"/>
                  <a:pt x="11233" y="9246"/>
                </a:cubicBezTo>
                <a:cubicBezTo>
                  <a:pt x="11233" y="9208"/>
                  <a:pt x="11218" y="9177"/>
                  <a:pt x="11199" y="9177"/>
                </a:cubicBezTo>
                <a:close/>
                <a:moveTo>
                  <a:pt x="10704" y="9178"/>
                </a:moveTo>
                <a:cubicBezTo>
                  <a:pt x="10717" y="9178"/>
                  <a:pt x="10720" y="9186"/>
                  <a:pt x="10727" y="9205"/>
                </a:cubicBezTo>
                <a:cubicBezTo>
                  <a:pt x="10733" y="9223"/>
                  <a:pt x="10742" y="9250"/>
                  <a:pt x="10762" y="9254"/>
                </a:cubicBezTo>
                <a:cubicBezTo>
                  <a:pt x="10757" y="9267"/>
                  <a:pt x="10752" y="9283"/>
                  <a:pt x="10752" y="9309"/>
                </a:cubicBezTo>
                <a:cubicBezTo>
                  <a:pt x="10752" y="9340"/>
                  <a:pt x="10763" y="9361"/>
                  <a:pt x="10770" y="9376"/>
                </a:cubicBezTo>
                <a:cubicBezTo>
                  <a:pt x="10775" y="9386"/>
                  <a:pt x="10780" y="9396"/>
                  <a:pt x="10780" y="9403"/>
                </a:cubicBezTo>
                <a:cubicBezTo>
                  <a:pt x="10780" y="9427"/>
                  <a:pt x="10774" y="9446"/>
                  <a:pt x="10768" y="9468"/>
                </a:cubicBezTo>
                <a:cubicBezTo>
                  <a:pt x="10760" y="9495"/>
                  <a:pt x="10752" y="9524"/>
                  <a:pt x="10752" y="9564"/>
                </a:cubicBezTo>
                <a:cubicBezTo>
                  <a:pt x="10752" y="9621"/>
                  <a:pt x="10766" y="9678"/>
                  <a:pt x="10789" y="9724"/>
                </a:cubicBezTo>
                <a:lnTo>
                  <a:pt x="10729" y="9864"/>
                </a:lnTo>
                <a:lnTo>
                  <a:pt x="10604" y="9678"/>
                </a:lnTo>
                <a:cubicBezTo>
                  <a:pt x="10599" y="9606"/>
                  <a:pt x="10569" y="9550"/>
                  <a:pt x="10532" y="9550"/>
                </a:cubicBezTo>
                <a:cubicBezTo>
                  <a:pt x="10528" y="9550"/>
                  <a:pt x="10524" y="9553"/>
                  <a:pt x="10520" y="9555"/>
                </a:cubicBezTo>
                <a:lnTo>
                  <a:pt x="10315" y="9252"/>
                </a:lnTo>
                <a:cubicBezTo>
                  <a:pt x="10345" y="9239"/>
                  <a:pt x="10370" y="9233"/>
                  <a:pt x="10392" y="9233"/>
                </a:cubicBezTo>
                <a:cubicBezTo>
                  <a:pt x="10406" y="9233"/>
                  <a:pt x="10420" y="9245"/>
                  <a:pt x="10433" y="9256"/>
                </a:cubicBezTo>
                <a:cubicBezTo>
                  <a:pt x="10445" y="9266"/>
                  <a:pt x="10456" y="9275"/>
                  <a:pt x="10466" y="9275"/>
                </a:cubicBezTo>
                <a:cubicBezTo>
                  <a:pt x="10481" y="9275"/>
                  <a:pt x="10495" y="9260"/>
                  <a:pt x="10511" y="9243"/>
                </a:cubicBezTo>
                <a:cubicBezTo>
                  <a:pt x="10526" y="9228"/>
                  <a:pt x="10542" y="9212"/>
                  <a:pt x="10555" y="9212"/>
                </a:cubicBezTo>
                <a:cubicBezTo>
                  <a:pt x="10567" y="9212"/>
                  <a:pt x="10575" y="9217"/>
                  <a:pt x="10584" y="9225"/>
                </a:cubicBezTo>
                <a:cubicBezTo>
                  <a:pt x="10594" y="9232"/>
                  <a:pt x="10605" y="9241"/>
                  <a:pt x="10619" y="9241"/>
                </a:cubicBezTo>
                <a:cubicBezTo>
                  <a:pt x="10645" y="9241"/>
                  <a:pt x="10660" y="9220"/>
                  <a:pt x="10671" y="9203"/>
                </a:cubicBezTo>
                <a:cubicBezTo>
                  <a:pt x="10681" y="9188"/>
                  <a:pt x="10689" y="9178"/>
                  <a:pt x="10704" y="9178"/>
                </a:cubicBezTo>
                <a:close/>
                <a:moveTo>
                  <a:pt x="11476" y="9179"/>
                </a:moveTo>
                <a:cubicBezTo>
                  <a:pt x="11474" y="9190"/>
                  <a:pt x="11473" y="9202"/>
                  <a:pt x="11473" y="9215"/>
                </a:cubicBezTo>
                <a:lnTo>
                  <a:pt x="11467" y="9215"/>
                </a:lnTo>
                <a:cubicBezTo>
                  <a:pt x="11461" y="9215"/>
                  <a:pt x="11455" y="9212"/>
                  <a:pt x="11449" y="9206"/>
                </a:cubicBezTo>
                <a:cubicBezTo>
                  <a:pt x="11449" y="9206"/>
                  <a:pt x="11476" y="9179"/>
                  <a:pt x="11476" y="9179"/>
                </a:cubicBezTo>
                <a:close/>
                <a:moveTo>
                  <a:pt x="4577" y="9214"/>
                </a:moveTo>
                <a:cubicBezTo>
                  <a:pt x="4536" y="9214"/>
                  <a:pt x="4503" y="9281"/>
                  <a:pt x="4503" y="9362"/>
                </a:cubicBezTo>
                <a:cubicBezTo>
                  <a:pt x="4503" y="9444"/>
                  <a:pt x="4536" y="9510"/>
                  <a:pt x="4577" y="9510"/>
                </a:cubicBezTo>
                <a:cubicBezTo>
                  <a:pt x="4618" y="9510"/>
                  <a:pt x="4651" y="9444"/>
                  <a:pt x="4651" y="9362"/>
                </a:cubicBezTo>
                <a:cubicBezTo>
                  <a:pt x="4651" y="9281"/>
                  <a:pt x="4618" y="9214"/>
                  <a:pt x="4577" y="9214"/>
                </a:cubicBezTo>
                <a:close/>
                <a:moveTo>
                  <a:pt x="10507" y="9252"/>
                </a:moveTo>
                <a:cubicBezTo>
                  <a:pt x="10480" y="9252"/>
                  <a:pt x="10458" y="9296"/>
                  <a:pt x="10458" y="9351"/>
                </a:cubicBezTo>
                <a:cubicBezTo>
                  <a:pt x="10458" y="9405"/>
                  <a:pt x="10480" y="9449"/>
                  <a:pt x="10507" y="9449"/>
                </a:cubicBezTo>
                <a:cubicBezTo>
                  <a:pt x="10535" y="9449"/>
                  <a:pt x="10556" y="9405"/>
                  <a:pt x="10556" y="9351"/>
                </a:cubicBezTo>
                <a:cubicBezTo>
                  <a:pt x="10556" y="9296"/>
                  <a:pt x="10535" y="9252"/>
                  <a:pt x="10507" y="9252"/>
                </a:cubicBezTo>
                <a:close/>
                <a:moveTo>
                  <a:pt x="4196" y="9253"/>
                </a:moveTo>
                <a:lnTo>
                  <a:pt x="4331" y="9966"/>
                </a:lnTo>
                <a:cubicBezTo>
                  <a:pt x="4326" y="9964"/>
                  <a:pt x="4322" y="9960"/>
                  <a:pt x="4317" y="9960"/>
                </a:cubicBezTo>
                <a:cubicBezTo>
                  <a:pt x="4276" y="9960"/>
                  <a:pt x="4243" y="10027"/>
                  <a:pt x="4243" y="10108"/>
                </a:cubicBezTo>
                <a:cubicBezTo>
                  <a:pt x="4243" y="10190"/>
                  <a:pt x="4276" y="10256"/>
                  <a:pt x="4317" y="10256"/>
                </a:cubicBezTo>
                <a:cubicBezTo>
                  <a:pt x="4340" y="10256"/>
                  <a:pt x="4360" y="10233"/>
                  <a:pt x="4374" y="10198"/>
                </a:cubicBezTo>
                <a:lnTo>
                  <a:pt x="4391" y="10290"/>
                </a:lnTo>
                <a:cubicBezTo>
                  <a:pt x="4386" y="10301"/>
                  <a:pt x="4382" y="10311"/>
                  <a:pt x="4377" y="10322"/>
                </a:cubicBezTo>
                <a:cubicBezTo>
                  <a:pt x="4372" y="10334"/>
                  <a:pt x="4367" y="10346"/>
                  <a:pt x="4362" y="10356"/>
                </a:cubicBezTo>
                <a:cubicBezTo>
                  <a:pt x="4362" y="10356"/>
                  <a:pt x="4361" y="10357"/>
                  <a:pt x="4361" y="10358"/>
                </a:cubicBezTo>
                <a:lnTo>
                  <a:pt x="3885" y="9988"/>
                </a:lnTo>
                <a:cubicBezTo>
                  <a:pt x="3886" y="9979"/>
                  <a:pt x="3888" y="9970"/>
                  <a:pt x="3888" y="9959"/>
                </a:cubicBezTo>
                <a:cubicBezTo>
                  <a:pt x="3888" y="9877"/>
                  <a:pt x="3855" y="9811"/>
                  <a:pt x="3814" y="9811"/>
                </a:cubicBezTo>
                <a:cubicBezTo>
                  <a:pt x="3787" y="9811"/>
                  <a:pt x="3765" y="9842"/>
                  <a:pt x="3752" y="9885"/>
                </a:cubicBezTo>
                <a:lnTo>
                  <a:pt x="3505" y="9693"/>
                </a:lnTo>
                <a:lnTo>
                  <a:pt x="3764" y="9528"/>
                </a:lnTo>
                <a:cubicBezTo>
                  <a:pt x="3775" y="9583"/>
                  <a:pt x="3802" y="9622"/>
                  <a:pt x="3833" y="9622"/>
                </a:cubicBezTo>
                <a:cubicBezTo>
                  <a:pt x="3874" y="9622"/>
                  <a:pt x="3907" y="9556"/>
                  <a:pt x="3907" y="9474"/>
                </a:cubicBezTo>
                <a:cubicBezTo>
                  <a:pt x="3907" y="9462"/>
                  <a:pt x="3905" y="9451"/>
                  <a:pt x="3903" y="9439"/>
                </a:cubicBezTo>
                <a:lnTo>
                  <a:pt x="4196" y="9253"/>
                </a:lnTo>
                <a:close/>
                <a:moveTo>
                  <a:pt x="18593" y="9268"/>
                </a:moveTo>
                <a:cubicBezTo>
                  <a:pt x="18590" y="9283"/>
                  <a:pt x="18587" y="9300"/>
                  <a:pt x="18587" y="9320"/>
                </a:cubicBezTo>
                <a:cubicBezTo>
                  <a:pt x="18587" y="9352"/>
                  <a:pt x="18591" y="9372"/>
                  <a:pt x="18595" y="9389"/>
                </a:cubicBezTo>
                <a:cubicBezTo>
                  <a:pt x="18588" y="9399"/>
                  <a:pt x="18583" y="9411"/>
                  <a:pt x="18579" y="9421"/>
                </a:cubicBezTo>
                <a:cubicBezTo>
                  <a:pt x="18579" y="9413"/>
                  <a:pt x="18576" y="9408"/>
                  <a:pt x="18574" y="9402"/>
                </a:cubicBezTo>
                <a:cubicBezTo>
                  <a:pt x="18579" y="9390"/>
                  <a:pt x="18583" y="9375"/>
                  <a:pt x="18583" y="9358"/>
                </a:cubicBezTo>
                <a:cubicBezTo>
                  <a:pt x="18583" y="9343"/>
                  <a:pt x="18580" y="9330"/>
                  <a:pt x="18576" y="9319"/>
                </a:cubicBezTo>
                <a:lnTo>
                  <a:pt x="18593" y="9268"/>
                </a:lnTo>
                <a:close/>
                <a:moveTo>
                  <a:pt x="10277" y="9270"/>
                </a:moveTo>
                <a:lnTo>
                  <a:pt x="10488" y="9581"/>
                </a:lnTo>
                <a:cubicBezTo>
                  <a:pt x="10470" y="9609"/>
                  <a:pt x="10458" y="9650"/>
                  <a:pt x="10458" y="9698"/>
                </a:cubicBezTo>
                <a:cubicBezTo>
                  <a:pt x="10458" y="9780"/>
                  <a:pt x="10491" y="9846"/>
                  <a:pt x="10532" y="9846"/>
                </a:cubicBezTo>
                <a:cubicBezTo>
                  <a:pt x="10564" y="9846"/>
                  <a:pt x="10590" y="9805"/>
                  <a:pt x="10600" y="9748"/>
                </a:cubicBezTo>
                <a:lnTo>
                  <a:pt x="10703" y="9901"/>
                </a:lnTo>
                <a:lnTo>
                  <a:pt x="10688" y="9913"/>
                </a:lnTo>
                <a:lnTo>
                  <a:pt x="10606" y="9978"/>
                </a:lnTo>
                <a:lnTo>
                  <a:pt x="10602" y="9981"/>
                </a:lnTo>
                <a:cubicBezTo>
                  <a:pt x="10602" y="9981"/>
                  <a:pt x="10493" y="10066"/>
                  <a:pt x="10411" y="10131"/>
                </a:cubicBezTo>
                <a:cubicBezTo>
                  <a:pt x="10390" y="10096"/>
                  <a:pt x="10364" y="10072"/>
                  <a:pt x="10335" y="10072"/>
                </a:cubicBezTo>
                <a:cubicBezTo>
                  <a:pt x="10275" y="10072"/>
                  <a:pt x="10227" y="10164"/>
                  <a:pt x="10219" y="10281"/>
                </a:cubicBezTo>
                <a:lnTo>
                  <a:pt x="10083" y="10388"/>
                </a:lnTo>
                <a:cubicBezTo>
                  <a:pt x="10078" y="10316"/>
                  <a:pt x="10048" y="10259"/>
                  <a:pt x="10011" y="10259"/>
                </a:cubicBezTo>
                <a:cubicBezTo>
                  <a:pt x="9970" y="10259"/>
                  <a:pt x="9937" y="10325"/>
                  <a:pt x="9937" y="10407"/>
                </a:cubicBezTo>
                <a:cubicBezTo>
                  <a:pt x="9937" y="10439"/>
                  <a:pt x="9943" y="10467"/>
                  <a:pt x="9951" y="10491"/>
                </a:cubicBezTo>
                <a:lnTo>
                  <a:pt x="9482" y="10860"/>
                </a:lnTo>
                <a:lnTo>
                  <a:pt x="9444" y="10515"/>
                </a:lnTo>
                <a:cubicBezTo>
                  <a:pt x="9454" y="10527"/>
                  <a:pt x="9464" y="10535"/>
                  <a:pt x="9475" y="10535"/>
                </a:cubicBezTo>
                <a:cubicBezTo>
                  <a:pt x="9508" y="10535"/>
                  <a:pt x="9535" y="10481"/>
                  <a:pt x="9535" y="10415"/>
                </a:cubicBezTo>
                <a:cubicBezTo>
                  <a:pt x="9535" y="10386"/>
                  <a:pt x="9529" y="10360"/>
                  <a:pt x="9520" y="10339"/>
                </a:cubicBezTo>
                <a:cubicBezTo>
                  <a:pt x="9537" y="10305"/>
                  <a:pt x="9552" y="10268"/>
                  <a:pt x="9558" y="10232"/>
                </a:cubicBezTo>
                <a:cubicBezTo>
                  <a:pt x="9570" y="10159"/>
                  <a:pt x="9570" y="10103"/>
                  <a:pt x="9570" y="10058"/>
                </a:cubicBezTo>
                <a:cubicBezTo>
                  <a:pt x="9570" y="10002"/>
                  <a:pt x="9571" y="9962"/>
                  <a:pt x="9592" y="9910"/>
                </a:cubicBezTo>
                <a:cubicBezTo>
                  <a:pt x="9620" y="9838"/>
                  <a:pt x="9654" y="9766"/>
                  <a:pt x="9686" y="9697"/>
                </a:cubicBezTo>
                <a:cubicBezTo>
                  <a:pt x="9716" y="9634"/>
                  <a:pt x="9746" y="9569"/>
                  <a:pt x="9772" y="9506"/>
                </a:cubicBezTo>
                <a:cubicBezTo>
                  <a:pt x="9774" y="9500"/>
                  <a:pt x="9775" y="9493"/>
                  <a:pt x="9775" y="9486"/>
                </a:cubicBezTo>
                <a:cubicBezTo>
                  <a:pt x="9778" y="9475"/>
                  <a:pt x="9781" y="9465"/>
                  <a:pt x="9784" y="9456"/>
                </a:cubicBezTo>
                <a:cubicBezTo>
                  <a:pt x="9789" y="9439"/>
                  <a:pt x="9794" y="9425"/>
                  <a:pt x="9800" y="9411"/>
                </a:cubicBezTo>
                <a:cubicBezTo>
                  <a:pt x="9851" y="9479"/>
                  <a:pt x="9906" y="9509"/>
                  <a:pt x="9978" y="9509"/>
                </a:cubicBezTo>
                <a:cubicBezTo>
                  <a:pt x="10014" y="9509"/>
                  <a:pt x="10031" y="9479"/>
                  <a:pt x="10045" y="9456"/>
                </a:cubicBezTo>
                <a:cubicBezTo>
                  <a:pt x="10051" y="9445"/>
                  <a:pt x="10057" y="9437"/>
                  <a:pt x="10064" y="9430"/>
                </a:cubicBezTo>
                <a:cubicBezTo>
                  <a:pt x="10086" y="9408"/>
                  <a:pt x="10117" y="9382"/>
                  <a:pt x="10150" y="9355"/>
                </a:cubicBezTo>
                <a:cubicBezTo>
                  <a:pt x="10159" y="9387"/>
                  <a:pt x="10172" y="9411"/>
                  <a:pt x="10191" y="9411"/>
                </a:cubicBezTo>
                <a:cubicBezTo>
                  <a:pt x="10218" y="9411"/>
                  <a:pt x="10240" y="9368"/>
                  <a:pt x="10240" y="9313"/>
                </a:cubicBezTo>
                <a:cubicBezTo>
                  <a:pt x="10240" y="9307"/>
                  <a:pt x="10237" y="9303"/>
                  <a:pt x="10236" y="9297"/>
                </a:cubicBezTo>
                <a:cubicBezTo>
                  <a:pt x="10250" y="9288"/>
                  <a:pt x="10263" y="9278"/>
                  <a:pt x="10277" y="9270"/>
                </a:cubicBezTo>
                <a:close/>
                <a:moveTo>
                  <a:pt x="17867" y="9275"/>
                </a:moveTo>
                <a:cubicBezTo>
                  <a:pt x="17867" y="9281"/>
                  <a:pt x="17864" y="9285"/>
                  <a:pt x="17864" y="9292"/>
                </a:cubicBezTo>
                <a:cubicBezTo>
                  <a:pt x="17864" y="9327"/>
                  <a:pt x="17877" y="9351"/>
                  <a:pt x="17892" y="9361"/>
                </a:cubicBezTo>
                <a:cubicBezTo>
                  <a:pt x="17886" y="9398"/>
                  <a:pt x="17877" y="9419"/>
                  <a:pt x="17866" y="9425"/>
                </a:cubicBezTo>
                <a:cubicBezTo>
                  <a:pt x="17864" y="9427"/>
                  <a:pt x="17858" y="9428"/>
                  <a:pt x="17852" y="9430"/>
                </a:cubicBezTo>
                <a:cubicBezTo>
                  <a:pt x="17841" y="9433"/>
                  <a:pt x="17829" y="9438"/>
                  <a:pt x="17819" y="9445"/>
                </a:cubicBezTo>
                <a:cubicBezTo>
                  <a:pt x="17815" y="9443"/>
                  <a:pt x="17813" y="9438"/>
                  <a:pt x="17810" y="9438"/>
                </a:cubicBezTo>
                <a:cubicBezTo>
                  <a:pt x="17792" y="9438"/>
                  <a:pt x="17780" y="9464"/>
                  <a:pt x="17775" y="9496"/>
                </a:cubicBezTo>
                <a:cubicBezTo>
                  <a:pt x="17769" y="9501"/>
                  <a:pt x="17763" y="9503"/>
                  <a:pt x="17757" y="9513"/>
                </a:cubicBezTo>
                <a:lnTo>
                  <a:pt x="17755" y="9513"/>
                </a:lnTo>
                <a:cubicBezTo>
                  <a:pt x="17757" y="9507"/>
                  <a:pt x="17758" y="9501"/>
                  <a:pt x="17759" y="9494"/>
                </a:cubicBezTo>
                <a:cubicBezTo>
                  <a:pt x="17760" y="9480"/>
                  <a:pt x="17756" y="9464"/>
                  <a:pt x="17749" y="9459"/>
                </a:cubicBezTo>
                <a:cubicBezTo>
                  <a:pt x="17748" y="9455"/>
                  <a:pt x="17748" y="9449"/>
                  <a:pt x="17748" y="9445"/>
                </a:cubicBezTo>
                <a:cubicBezTo>
                  <a:pt x="17748" y="9434"/>
                  <a:pt x="17755" y="9406"/>
                  <a:pt x="17759" y="9391"/>
                </a:cubicBezTo>
                <a:cubicBezTo>
                  <a:pt x="17764" y="9371"/>
                  <a:pt x="17767" y="9359"/>
                  <a:pt x="17767" y="9347"/>
                </a:cubicBezTo>
                <a:cubicBezTo>
                  <a:pt x="17767" y="9332"/>
                  <a:pt x="17765" y="9318"/>
                  <a:pt x="17763" y="9306"/>
                </a:cubicBezTo>
                <a:lnTo>
                  <a:pt x="17867" y="9275"/>
                </a:lnTo>
                <a:close/>
                <a:moveTo>
                  <a:pt x="14201" y="9276"/>
                </a:moveTo>
                <a:cubicBezTo>
                  <a:pt x="14207" y="9337"/>
                  <a:pt x="14230" y="9384"/>
                  <a:pt x="14260" y="9394"/>
                </a:cubicBezTo>
                <a:lnTo>
                  <a:pt x="14320" y="9710"/>
                </a:lnTo>
                <a:cubicBezTo>
                  <a:pt x="14315" y="9706"/>
                  <a:pt x="14312" y="9699"/>
                  <a:pt x="14307" y="9699"/>
                </a:cubicBezTo>
                <a:cubicBezTo>
                  <a:pt x="14288" y="9699"/>
                  <a:pt x="14273" y="9730"/>
                  <a:pt x="14273" y="9768"/>
                </a:cubicBezTo>
                <a:cubicBezTo>
                  <a:pt x="14273" y="9806"/>
                  <a:pt x="14288" y="9836"/>
                  <a:pt x="14307" y="9836"/>
                </a:cubicBezTo>
                <a:cubicBezTo>
                  <a:pt x="14321" y="9836"/>
                  <a:pt x="14330" y="9817"/>
                  <a:pt x="14335" y="9794"/>
                </a:cubicBezTo>
                <a:lnTo>
                  <a:pt x="14449" y="10401"/>
                </a:lnTo>
                <a:lnTo>
                  <a:pt x="14364" y="10335"/>
                </a:lnTo>
                <a:cubicBezTo>
                  <a:pt x="14364" y="10334"/>
                  <a:pt x="14364" y="10333"/>
                  <a:pt x="14364" y="10332"/>
                </a:cubicBezTo>
                <a:cubicBezTo>
                  <a:pt x="14364" y="10251"/>
                  <a:pt x="14331" y="10184"/>
                  <a:pt x="14291" y="10184"/>
                </a:cubicBezTo>
                <a:cubicBezTo>
                  <a:pt x="14269" y="10184"/>
                  <a:pt x="14249" y="10204"/>
                  <a:pt x="14236" y="10234"/>
                </a:cubicBezTo>
                <a:lnTo>
                  <a:pt x="14129" y="10152"/>
                </a:lnTo>
                <a:lnTo>
                  <a:pt x="13970" y="10028"/>
                </a:lnTo>
                <a:cubicBezTo>
                  <a:pt x="13971" y="10017"/>
                  <a:pt x="13974" y="10008"/>
                  <a:pt x="13974" y="9996"/>
                </a:cubicBezTo>
                <a:cubicBezTo>
                  <a:pt x="13974" y="9915"/>
                  <a:pt x="13941" y="9848"/>
                  <a:pt x="13900" y="9848"/>
                </a:cubicBezTo>
                <a:cubicBezTo>
                  <a:pt x="13873" y="9848"/>
                  <a:pt x="13850" y="9880"/>
                  <a:pt x="13837" y="9924"/>
                </a:cubicBezTo>
                <a:lnTo>
                  <a:pt x="13543" y="9696"/>
                </a:lnTo>
                <a:cubicBezTo>
                  <a:pt x="13543" y="9696"/>
                  <a:pt x="13664" y="9618"/>
                  <a:pt x="13718" y="9584"/>
                </a:cubicBezTo>
                <a:cubicBezTo>
                  <a:pt x="13726" y="9648"/>
                  <a:pt x="13754" y="9697"/>
                  <a:pt x="13788" y="9697"/>
                </a:cubicBezTo>
                <a:cubicBezTo>
                  <a:pt x="13829" y="9697"/>
                  <a:pt x="13862" y="9631"/>
                  <a:pt x="13862" y="9549"/>
                </a:cubicBezTo>
                <a:cubicBezTo>
                  <a:pt x="13862" y="9530"/>
                  <a:pt x="13860" y="9513"/>
                  <a:pt x="13857" y="9496"/>
                </a:cubicBezTo>
                <a:lnTo>
                  <a:pt x="13865" y="9491"/>
                </a:lnTo>
                <a:lnTo>
                  <a:pt x="14053" y="9370"/>
                </a:lnTo>
                <a:cubicBezTo>
                  <a:pt x="14052" y="9377"/>
                  <a:pt x="14049" y="9381"/>
                  <a:pt x="14049" y="9388"/>
                </a:cubicBezTo>
                <a:cubicBezTo>
                  <a:pt x="14049" y="9442"/>
                  <a:pt x="14072" y="9486"/>
                  <a:pt x="14099" y="9486"/>
                </a:cubicBezTo>
                <a:cubicBezTo>
                  <a:pt x="14126" y="9486"/>
                  <a:pt x="14148" y="9442"/>
                  <a:pt x="14148" y="9388"/>
                </a:cubicBezTo>
                <a:cubicBezTo>
                  <a:pt x="14148" y="9361"/>
                  <a:pt x="14142" y="9337"/>
                  <a:pt x="14133" y="9319"/>
                </a:cubicBezTo>
                <a:lnTo>
                  <a:pt x="14201" y="9276"/>
                </a:lnTo>
                <a:close/>
                <a:moveTo>
                  <a:pt x="12251" y="9294"/>
                </a:moveTo>
                <a:cubicBezTo>
                  <a:pt x="12251" y="9294"/>
                  <a:pt x="12251" y="9295"/>
                  <a:pt x="12251" y="9296"/>
                </a:cubicBezTo>
                <a:cubicBezTo>
                  <a:pt x="12249" y="9295"/>
                  <a:pt x="12248" y="9295"/>
                  <a:pt x="12247" y="9295"/>
                </a:cubicBezTo>
                <a:cubicBezTo>
                  <a:pt x="12248" y="9294"/>
                  <a:pt x="12249" y="9294"/>
                  <a:pt x="12251" y="9294"/>
                </a:cubicBezTo>
                <a:close/>
                <a:moveTo>
                  <a:pt x="14883" y="9306"/>
                </a:moveTo>
                <a:cubicBezTo>
                  <a:pt x="14874" y="9307"/>
                  <a:pt x="14868" y="9319"/>
                  <a:pt x="14868" y="9335"/>
                </a:cubicBezTo>
                <a:cubicBezTo>
                  <a:pt x="14868" y="9352"/>
                  <a:pt x="14874" y="9366"/>
                  <a:pt x="14883" y="9366"/>
                </a:cubicBezTo>
                <a:cubicBezTo>
                  <a:pt x="14891" y="9366"/>
                  <a:pt x="14907" y="9392"/>
                  <a:pt x="14920" y="9417"/>
                </a:cubicBezTo>
                <a:cubicBezTo>
                  <a:pt x="14911" y="9430"/>
                  <a:pt x="14905" y="9448"/>
                  <a:pt x="14905" y="9471"/>
                </a:cubicBezTo>
                <a:cubicBezTo>
                  <a:pt x="14905" y="9510"/>
                  <a:pt x="14921" y="9542"/>
                  <a:pt x="14940" y="9542"/>
                </a:cubicBezTo>
                <a:cubicBezTo>
                  <a:pt x="14960" y="9542"/>
                  <a:pt x="14976" y="9510"/>
                  <a:pt x="14976" y="9471"/>
                </a:cubicBezTo>
                <a:cubicBezTo>
                  <a:pt x="14976" y="9445"/>
                  <a:pt x="14968" y="9427"/>
                  <a:pt x="14958" y="9415"/>
                </a:cubicBezTo>
                <a:cubicBezTo>
                  <a:pt x="14942" y="9361"/>
                  <a:pt x="14903" y="9306"/>
                  <a:pt x="14883" y="9306"/>
                </a:cubicBezTo>
                <a:close/>
                <a:moveTo>
                  <a:pt x="11813" y="9363"/>
                </a:moveTo>
                <a:cubicBezTo>
                  <a:pt x="11795" y="9363"/>
                  <a:pt x="11779" y="9395"/>
                  <a:pt x="11779" y="9432"/>
                </a:cubicBezTo>
                <a:cubicBezTo>
                  <a:pt x="11779" y="9470"/>
                  <a:pt x="11795" y="9500"/>
                  <a:pt x="11813" y="9500"/>
                </a:cubicBezTo>
                <a:cubicBezTo>
                  <a:pt x="11832" y="9500"/>
                  <a:pt x="11847" y="9470"/>
                  <a:pt x="11847" y="9432"/>
                </a:cubicBezTo>
                <a:cubicBezTo>
                  <a:pt x="11847" y="9395"/>
                  <a:pt x="11832" y="9363"/>
                  <a:pt x="11813" y="9363"/>
                </a:cubicBezTo>
                <a:close/>
                <a:moveTo>
                  <a:pt x="5080" y="9401"/>
                </a:moveTo>
                <a:cubicBezTo>
                  <a:pt x="5039" y="9401"/>
                  <a:pt x="5006" y="9467"/>
                  <a:pt x="5006" y="9549"/>
                </a:cubicBezTo>
                <a:cubicBezTo>
                  <a:pt x="5006" y="9631"/>
                  <a:pt x="5039" y="9697"/>
                  <a:pt x="5080" y="9697"/>
                </a:cubicBezTo>
                <a:cubicBezTo>
                  <a:pt x="5120" y="9697"/>
                  <a:pt x="5154" y="9631"/>
                  <a:pt x="5154" y="9549"/>
                </a:cubicBezTo>
                <a:cubicBezTo>
                  <a:pt x="5154" y="9467"/>
                  <a:pt x="5120" y="9401"/>
                  <a:pt x="5080" y="9401"/>
                </a:cubicBezTo>
                <a:close/>
                <a:moveTo>
                  <a:pt x="11615" y="9421"/>
                </a:moveTo>
                <a:cubicBezTo>
                  <a:pt x="11591" y="9416"/>
                  <a:pt x="11569" y="9417"/>
                  <a:pt x="11549" y="9424"/>
                </a:cubicBezTo>
                <a:cubicBezTo>
                  <a:pt x="11543" y="9426"/>
                  <a:pt x="11538" y="9436"/>
                  <a:pt x="11537" y="9449"/>
                </a:cubicBezTo>
                <a:cubicBezTo>
                  <a:pt x="11536" y="9461"/>
                  <a:pt x="11539" y="9474"/>
                  <a:pt x="11545" y="9480"/>
                </a:cubicBezTo>
                <a:cubicBezTo>
                  <a:pt x="11570" y="9507"/>
                  <a:pt x="11612" y="9517"/>
                  <a:pt x="11633" y="9517"/>
                </a:cubicBezTo>
                <a:cubicBezTo>
                  <a:pt x="11635" y="9517"/>
                  <a:pt x="11638" y="9519"/>
                  <a:pt x="11641" y="9521"/>
                </a:cubicBezTo>
                <a:cubicBezTo>
                  <a:pt x="11646" y="9523"/>
                  <a:pt x="11652" y="9526"/>
                  <a:pt x="11659" y="9526"/>
                </a:cubicBezTo>
                <a:cubicBezTo>
                  <a:pt x="11670" y="9526"/>
                  <a:pt x="11680" y="9519"/>
                  <a:pt x="11692" y="9506"/>
                </a:cubicBezTo>
                <a:cubicBezTo>
                  <a:pt x="11698" y="9500"/>
                  <a:pt x="11701" y="9489"/>
                  <a:pt x="11701" y="9477"/>
                </a:cubicBezTo>
                <a:cubicBezTo>
                  <a:pt x="11700" y="9464"/>
                  <a:pt x="11695" y="9454"/>
                  <a:pt x="11690" y="9451"/>
                </a:cubicBezTo>
                <a:cubicBezTo>
                  <a:pt x="11663" y="9435"/>
                  <a:pt x="11638" y="9425"/>
                  <a:pt x="11615" y="9421"/>
                </a:cubicBezTo>
                <a:close/>
                <a:moveTo>
                  <a:pt x="13833" y="9421"/>
                </a:moveTo>
                <a:cubicBezTo>
                  <a:pt x="13838" y="9423"/>
                  <a:pt x="13842" y="9428"/>
                  <a:pt x="13847" y="9433"/>
                </a:cubicBezTo>
                <a:cubicBezTo>
                  <a:pt x="13848" y="9435"/>
                  <a:pt x="13849" y="9436"/>
                  <a:pt x="13850" y="9437"/>
                </a:cubicBezTo>
                <a:lnTo>
                  <a:pt x="13841" y="9444"/>
                </a:lnTo>
                <a:cubicBezTo>
                  <a:pt x="13840" y="9444"/>
                  <a:pt x="13840" y="9444"/>
                  <a:pt x="13840" y="9444"/>
                </a:cubicBezTo>
                <a:cubicBezTo>
                  <a:pt x="13837" y="9438"/>
                  <a:pt x="13833" y="9434"/>
                  <a:pt x="13829" y="9429"/>
                </a:cubicBezTo>
                <a:cubicBezTo>
                  <a:pt x="13831" y="9426"/>
                  <a:pt x="13832" y="9423"/>
                  <a:pt x="13833" y="9421"/>
                </a:cubicBezTo>
                <a:close/>
                <a:moveTo>
                  <a:pt x="18159" y="9431"/>
                </a:moveTo>
                <a:lnTo>
                  <a:pt x="18217" y="9431"/>
                </a:lnTo>
                <a:cubicBezTo>
                  <a:pt x="18217" y="9431"/>
                  <a:pt x="18217" y="9432"/>
                  <a:pt x="18217" y="9432"/>
                </a:cubicBezTo>
                <a:cubicBezTo>
                  <a:pt x="18217" y="9453"/>
                  <a:pt x="18223" y="9470"/>
                  <a:pt x="18230" y="9482"/>
                </a:cubicBezTo>
                <a:cubicBezTo>
                  <a:pt x="18227" y="9481"/>
                  <a:pt x="18225" y="9478"/>
                  <a:pt x="18221" y="9478"/>
                </a:cubicBezTo>
                <a:cubicBezTo>
                  <a:pt x="18205" y="9478"/>
                  <a:pt x="18197" y="9502"/>
                  <a:pt x="18193" y="9513"/>
                </a:cubicBezTo>
                <a:cubicBezTo>
                  <a:pt x="18193" y="9514"/>
                  <a:pt x="18192" y="9515"/>
                  <a:pt x="18192" y="9516"/>
                </a:cubicBezTo>
                <a:cubicBezTo>
                  <a:pt x="18188" y="9520"/>
                  <a:pt x="18183" y="9519"/>
                  <a:pt x="18177" y="9519"/>
                </a:cubicBezTo>
                <a:cubicBezTo>
                  <a:pt x="18175" y="9518"/>
                  <a:pt x="18172" y="9517"/>
                  <a:pt x="18169" y="9517"/>
                </a:cubicBezTo>
                <a:cubicBezTo>
                  <a:pt x="18163" y="9517"/>
                  <a:pt x="18155" y="9519"/>
                  <a:pt x="18147" y="9528"/>
                </a:cubicBezTo>
                <a:cubicBezTo>
                  <a:pt x="18139" y="9535"/>
                  <a:pt x="18128" y="9545"/>
                  <a:pt x="18116" y="9553"/>
                </a:cubicBezTo>
                <a:cubicBezTo>
                  <a:pt x="18117" y="9550"/>
                  <a:pt x="18118" y="9548"/>
                  <a:pt x="18118" y="9544"/>
                </a:cubicBezTo>
                <a:cubicBezTo>
                  <a:pt x="18118" y="9522"/>
                  <a:pt x="18112" y="9504"/>
                  <a:pt x="18104" y="9492"/>
                </a:cubicBezTo>
                <a:cubicBezTo>
                  <a:pt x="18120" y="9458"/>
                  <a:pt x="18136" y="9431"/>
                  <a:pt x="18159" y="9431"/>
                </a:cubicBezTo>
                <a:close/>
                <a:moveTo>
                  <a:pt x="11326" y="9438"/>
                </a:moveTo>
                <a:cubicBezTo>
                  <a:pt x="11299" y="9438"/>
                  <a:pt x="11277" y="9483"/>
                  <a:pt x="11277" y="9537"/>
                </a:cubicBezTo>
                <a:cubicBezTo>
                  <a:pt x="11277" y="9592"/>
                  <a:pt x="11299" y="9635"/>
                  <a:pt x="11326" y="9635"/>
                </a:cubicBezTo>
                <a:cubicBezTo>
                  <a:pt x="11353" y="9635"/>
                  <a:pt x="11375" y="9592"/>
                  <a:pt x="11375" y="9537"/>
                </a:cubicBezTo>
                <a:cubicBezTo>
                  <a:pt x="11375" y="9483"/>
                  <a:pt x="11353" y="9438"/>
                  <a:pt x="11326" y="9438"/>
                </a:cubicBezTo>
                <a:close/>
                <a:moveTo>
                  <a:pt x="4343" y="9475"/>
                </a:moveTo>
                <a:cubicBezTo>
                  <a:pt x="4329" y="9475"/>
                  <a:pt x="4317" y="9498"/>
                  <a:pt x="4317" y="9527"/>
                </a:cubicBezTo>
                <a:cubicBezTo>
                  <a:pt x="4317" y="9555"/>
                  <a:pt x="4329" y="9578"/>
                  <a:pt x="4343" y="9578"/>
                </a:cubicBezTo>
                <a:cubicBezTo>
                  <a:pt x="4357" y="9578"/>
                  <a:pt x="4369" y="9555"/>
                  <a:pt x="4369" y="9527"/>
                </a:cubicBezTo>
                <a:cubicBezTo>
                  <a:pt x="4369" y="9498"/>
                  <a:pt x="4357" y="9475"/>
                  <a:pt x="4343" y="9475"/>
                </a:cubicBezTo>
                <a:close/>
                <a:moveTo>
                  <a:pt x="10716" y="9475"/>
                </a:moveTo>
                <a:cubicBezTo>
                  <a:pt x="10697" y="9475"/>
                  <a:pt x="10681" y="9506"/>
                  <a:pt x="10681" y="9544"/>
                </a:cubicBezTo>
                <a:cubicBezTo>
                  <a:pt x="10681" y="9582"/>
                  <a:pt x="10697" y="9612"/>
                  <a:pt x="10716" y="9612"/>
                </a:cubicBezTo>
                <a:cubicBezTo>
                  <a:pt x="10734" y="9612"/>
                  <a:pt x="10749" y="9582"/>
                  <a:pt x="10749" y="9544"/>
                </a:cubicBezTo>
                <a:cubicBezTo>
                  <a:pt x="10749" y="9506"/>
                  <a:pt x="10734" y="9475"/>
                  <a:pt x="10716" y="9475"/>
                </a:cubicBezTo>
                <a:close/>
                <a:moveTo>
                  <a:pt x="12119" y="9475"/>
                </a:moveTo>
                <a:cubicBezTo>
                  <a:pt x="12119" y="9479"/>
                  <a:pt x="12118" y="9482"/>
                  <a:pt x="12118" y="9486"/>
                </a:cubicBezTo>
                <a:cubicBezTo>
                  <a:pt x="12106" y="9496"/>
                  <a:pt x="12092" y="9508"/>
                  <a:pt x="12080" y="9508"/>
                </a:cubicBezTo>
                <a:cubicBezTo>
                  <a:pt x="12080" y="9508"/>
                  <a:pt x="12079" y="9508"/>
                  <a:pt x="12079" y="9508"/>
                </a:cubicBezTo>
                <a:cubicBezTo>
                  <a:pt x="12079" y="9507"/>
                  <a:pt x="12079" y="9506"/>
                  <a:pt x="12079" y="9506"/>
                </a:cubicBezTo>
                <a:cubicBezTo>
                  <a:pt x="12091" y="9496"/>
                  <a:pt x="12105" y="9485"/>
                  <a:pt x="12119" y="9475"/>
                </a:cubicBezTo>
                <a:close/>
                <a:moveTo>
                  <a:pt x="18057" y="9579"/>
                </a:moveTo>
                <a:cubicBezTo>
                  <a:pt x="18057" y="9580"/>
                  <a:pt x="18057" y="9581"/>
                  <a:pt x="18058" y="9581"/>
                </a:cubicBezTo>
                <a:cubicBezTo>
                  <a:pt x="18057" y="9582"/>
                  <a:pt x="18056" y="9582"/>
                  <a:pt x="18055" y="9583"/>
                </a:cubicBezTo>
                <a:cubicBezTo>
                  <a:pt x="18056" y="9582"/>
                  <a:pt x="18056" y="9580"/>
                  <a:pt x="18057" y="9579"/>
                </a:cubicBezTo>
                <a:close/>
                <a:moveTo>
                  <a:pt x="16751" y="9587"/>
                </a:moveTo>
                <a:cubicBezTo>
                  <a:pt x="16728" y="9587"/>
                  <a:pt x="16710" y="9624"/>
                  <a:pt x="16710" y="9669"/>
                </a:cubicBezTo>
                <a:cubicBezTo>
                  <a:pt x="16710" y="9714"/>
                  <a:pt x="16728" y="9752"/>
                  <a:pt x="16751" y="9752"/>
                </a:cubicBezTo>
                <a:cubicBezTo>
                  <a:pt x="16774" y="9752"/>
                  <a:pt x="16792" y="9714"/>
                  <a:pt x="16792" y="9669"/>
                </a:cubicBezTo>
                <a:cubicBezTo>
                  <a:pt x="16792" y="9624"/>
                  <a:pt x="16774" y="9587"/>
                  <a:pt x="16751" y="9587"/>
                </a:cubicBezTo>
                <a:close/>
                <a:moveTo>
                  <a:pt x="18212" y="9593"/>
                </a:moveTo>
                <a:cubicBezTo>
                  <a:pt x="18221" y="9593"/>
                  <a:pt x="18222" y="9599"/>
                  <a:pt x="18223" y="9607"/>
                </a:cubicBezTo>
                <a:cubicBezTo>
                  <a:pt x="18227" y="9635"/>
                  <a:pt x="18216" y="9677"/>
                  <a:pt x="18212" y="9682"/>
                </a:cubicBezTo>
                <a:cubicBezTo>
                  <a:pt x="18206" y="9682"/>
                  <a:pt x="18201" y="9675"/>
                  <a:pt x="18197" y="9668"/>
                </a:cubicBezTo>
                <a:cubicBezTo>
                  <a:pt x="18193" y="9662"/>
                  <a:pt x="18189" y="9657"/>
                  <a:pt x="18185" y="9654"/>
                </a:cubicBezTo>
                <a:cubicBezTo>
                  <a:pt x="18180" y="9650"/>
                  <a:pt x="18174" y="9653"/>
                  <a:pt x="18170" y="9661"/>
                </a:cubicBezTo>
                <a:cubicBezTo>
                  <a:pt x="18162" y="9677"/>
                  <a:pt x="18156" y="9697"/>
                  <a:pt x="18151" y="9714"/>
                </a:cubicBezTo>
                <a:cubicBezTo>
                  <a:pt x="18144" y="9741"/>
                  <a:pt x="18140" y="9754"/>
                  <a:pt x="18133" y="9757"/>
                </a:cubicBezTo>
                <a:cubicBezTo>
                  <a:pt x="18132" y="9750"/>
                  <a:pt x="18131" y="9738"/>
                  <a:pt x="18131" y="9731"/>
                </a:cubicBezTo>
                <a:cubicBezTo>
                  <a:pt x="18133" y="9719"/>
                  <a:pt x="18130" y="9706"/>
                  <a:pt x="18125" y="9699"/>
                </a:cubicBezTo>
                <a:cubicBezTo>
                  <a:pt x="18121" y="9695"/>
                  <a:pt x="18119" y="9691"/>
                  <a:pt x="18117" y="9689"/>
                </a:cubicBezTo>
                <a:cubicBezTo>
                  <a:pt x="18131" y="9669"/>
                  <a:pt x="18139" y="9656"/>
                  <a:pt x="18145" y="9647"/>
                </a:cubicBezTo>
                <a:cubicBezTo>
                  <a:pt x="18166" y="9653"/>
                  <a:pt x="18181" y="9631"/>
                  <a:pt x="18192" y="9614"/>
                </a:cubicBezTo>
                <a:cubicBezTo>
                  <a:pt x="18200" y="9601"/>
                  <a:pt x="18205" y="9593"/>
                  <a:pt x="18212" y="9593"/>
                </a:cubicBezTo>
                <a:close/>
                <a:moveTo>
                  <a:pt x="17352" y="9598"/>
                </a:moveTo>
                <a:cubicBezTo>
                  <a:pt x="17353" y="9621"/>
                  <a:pt x="17353" y="9650"/>
                  <a:pt x="17353" y="9655"/>
                </a:cubicBezTo>
                <a:cubicBezTo>
                  <a:pt x="17354" y="9664"/>
                  <a:pt x="17356" y="9672"/>
                  <a:pt x="17360" y="9677"/>
                </a:cubicBezTo>
                <a:cubicBezTo>
                  <a:pt x="17361" y="9679"/>
                  <a:pt x="17362" y="9682"/>
                  <a:pt x="17363" y="9684"/>
                </a:cubicBezTo>
                <a:cubicBezTo>
                  <a:pt x="17371" y="9693"/>
                  <a:pt x="17374" y="9712"/>
                  <a:pt x="17377" y="9732"/>
                </a:cubicBezTo>
                <a:cubicBezTo>
                  <a:pt x="17378" y="9745"/>
                  <a:pt x="17380" y="9757"/>
                  <a:pt x="17384" y="9768"/>
                </a:cubicBezTo>
                <a:cubicBezTo>
                  <a:pt x="17420" y="9879"/>
                  <a:pt x="17441" y="9939"/>
                  <a:pt x="17441" y="10117"/>
                </a:cubicBezTo>
                <a:cubicBezTo>
                  <a:pt x="17441" y="10119"/>
                  <a:pt x="17441" y="10121"/>
                  <a:pt x="17441" y="10124"/>
                </a:cubicBezTo>
                <a:lnTo>
                  <a:pt x="17412" y="10115"/>
                </a:lnTo>
                <a:lnTo>
                  <a:pt x="16979" y="9989"/>
                </a:lnTo>
                <a:lnTo>
                  <a:pt x="17082" y="9881"/>
                </a:lnTo>
                <a:cubicBezTo>
                  <a:pt x="17090" y="9888"/>
                  <a:pt x="17096" y="9899"/>
                  <a:pt x="17104" y="9899"/>
                </a:cubicBezTo>
                <a:cubicBezTo>
                  <a:pt x="17134" y="9899"/>
                  <a:pt x="17157" y="9854"/>
                  <a:pt x="17161" y="9797"/>
                </a:cubicBezTo>
                <a:lnTo>
                  <a:pt x="17295" y="9657"/>
                </a:lnTo>
                <a:cubicBezTo>
                  <a:pt x="17295" y="9657"/>
                  <a:pt x="17352" y="9598"/>
                  <a:pt x="17352" y="9598"/>
                </a:cubicBezTo>
                <a:close/>
                <a:moveTo>
                  <a:pt x="16335" y="9625"/>
                </a:moveTo>
                <a:cubicBezTo>
                  <a:pt x="16316" y="9625"/>
                  <a:pt x="16301" y="9656"/>
                  <a:pt x="16301" y="9693"/>
                </a:cubicBezTo>
                <a:cubicBezTo>
                  <a:pt x="16301" y="9731"/>
                  <a:pt x="16316" y="9761"/>
                  <a:pt x="16335" y="9761"/>
                </a:cubicBezTo>
                <a:cubicBezTo>
                  <a:pt x="16354" y="9761"/>
                  <a:pt x="16369" y="9731"/>
                  <a:pt x="16369" y="9693"/>
                </a:cubicBezTo>
                <a:cubicBezTo>
                  <a:pt x="16369" y="9656"/>
                  <a:pt x="16354" y="9625"/>
                  <a:pt x="16335" y="9625"/>
                </a:cubicBezTo>
                <a:close/>
                <a:moveTo>
                  <a:pt x="4798" y="9662"/>
                </a:moveTo>
                <a:cubicBezTo>
                  <a:pt x="4779" y="9662"/>
                  <a:pt x="4764" y="9693"/>
                  <a:pt x="4764" y="9731"/>
                </a:cubicBezTo>
                <a:cubicBezTo>
                  <a:pt x="4764" y="9768"/>
                  <a:pt x="4779" y="9798"/>
                  <a:pt x="4798" y="9798"/>
                </a:cubicBezTo>
                <a:cubicBezTo>
                  <a:pt x="4817" y="9798"/>
                  <a:pt x="4832" y="9768"/>
                  <a:pt x="4832" y="9731"/>
                </a:cubicBezTo>
                <a:cubicBezTo>
                  <a:pt x="4832" y="9693"/>
                  <a:pt x="4817" y="9662"/>
                  <a:pt x="4798" y="9662"/>
                </a:cubicBezTo>
                <a:close/>
                <a:moveTo>
                  <a:pt x="18002" y="9678"/>
                </a:moveTo>
                <a:cubicBezTo>
                  <a:pt x="18006" y="9679"/>
                  <a:pt x="18010" y="9685"/>
                  <a:pt x="18015" y="9690"/>
                </a:cubicBezTo>
                <a:cubicBezTo>
                  <a:pt x="18022" y="9697"/>
                  <a:pt x="18029" y="9704"/>
                  <a:pt x="18039" y="9709"/>
                </a:cubicBezTo>
                <a:cubicBezTo>
                  <a:pt x="18039" y="9721"/>
                  <a:pt x="18040" y="9732"/>
                  <a:pt x="18044" y="9742"/>
                </a:cubicBezTo>
                <a:cubicBezTo>
                  <a:pt x="18046" y="9746"/>
                  <a:pt x="18048" y="9750"/>
                  <a:pt x="18050" y="9752"/>
                </a:cubicBezTo>
                <a:lnTo>
                  <a:pt x="18060" y="9770"/>
                </a:lnTo>
                <a:cubicBezTo>
                  <a:pt x="18060" y="9771"/>
                  <a:pt x="18061" y="9772"/>
                  <a:pt x="18060" y="9773"/>
                </a:cubicBezTo>
                <a:cubicBezTo>
                  <a:pt x="18057" y="9771"/>
                  <a:pt x="18055" y="9771"/>
                  <a:pt x="18052" y="9774"/>
                </a:cubicBezTo>
                <a:cubicBezTo>
                  <a:pt x="18047" y="9778"/>
                  <a:pt x="18044" y="9786"/>
                  <a:pt x="18043" y="9796"/>
                </a:cubicBezTo>
                <a:cubicBezTo>
                  <a:pt x="18041" y="9816"/>
                  <a:pt x="18039" y="9829"/>
                  <a:pt x="18037" y="9846"/>
                </a:cubicBezTo>
                <a:cubicBezTo>
                  <a:pt x="18029" y="9823"/>
                  <a:pt x="18020" y="9802"/>
                  <a:pt x="18008" y="9790"/>
                </a:cubicBezTo>
                <a:cubicBezTo>
                  <a:pt x="18006" y="9784"/>
                  <a:pt x="18006" y="9775"/>
                  <a:pt x="18003" y="9773"/>
                </a:cubicBezTo>
                <a:cubicBezTo>
                  <a:pt x="17999" y="9770"/>
                  <a:pt x="17998" y="9763"/>
                  <a:pt x="17996" y="9740"/>
                </a:cubicBezTo>
                <a:cubicBezTo>
                  <a:pt x="17994" y="9725"/>
                  <a:pt x="17987" y="9715"/>
                  <a:pt x="17980" y="9717"/>
                </a:cubicBezTo>
                <a:cubicBezTo>
                  <a:pt x="17972" y="9718"/>
                  <a:pt x="17966" y="9730"/>
                  <a:pt x="17966" y="9746"/>
                </a:cubicBezTo>
                <a:cubicBezTo>
                  <a:pt x="17966" y="9747"/>
                  <a:pt x="17966" y="9751"/>
                  <a:pt x="17966" y="9753"/>
                </a:cubicBezTo>
                <a:cubicBezTo>
                  <a:pt x="17965" y="9755"/>
                  <a:pt x="17965" y="9759"/>
                  <a:pt x="17965" y="9762"/>
                </a:cubicBezTo>
                <a:cubicBezTo>
                  <a:pt x="17962" y="9764"/>
                  <a:pt x="17960" y="9766"/>
                  <a:pt x="17958" y="9768"/>
                </a:cubicBezTo>
                <a:cubicBezTo>
                  <a:pt x="17957" y="9770"/>
                  <a:pt x="17955" y="9771"/>
                  <a:pt x="17956" y="9771"/>
                </a:cubicBezTo>
                <a:cubicBezTo>
                  <a:pt x="17954" y="9771"/>
                  <a:pt x="17951" y="9764"/>
                  <a:pt x="17950" y="9759"/>
                </a:cubicBezTo>
                <a:cubicBezTo>
                  <a:pt x="17957" y="9738"/>
                  <a:pt x="17991" y="9689"/>
                  <a:pt x="18002" y="9678"/>
                </a:cubicBezTo>
                <a:close/>
                <a:moveTo>
                  <a:pt x="3458" y="9721"/>
                </a:moveTo>
                <a:lnTo>
                  <a:pt x="3742" y="9942"/>
                </a:lnTo>
                <a:cubicBezTo>
                  <a:pt x="3742" y="9948"/>
                  <a:pt x="3740" y="9953"/>
                  <a:pt x="3740" y="9959"/>
                </a:cubicBezTo>
                <a:cubicBezTo>
                  <a:pt x="3740" y="9989"/>
                  <a:pt x="3746" y="10015"/>
                  <a:pt x="3754" y="10038"/>
                </a:cubicBezTo>
                <a:cubicBezTo>
                  <a:pt x="3724" y="9989"/>
                  <a:pt x="3689" y="9968"/>
                  <a:pt x="3643" y="9944"/>
                </a:cubicBezTo>
                <a:lnTo>
                  <a:pt x="3636" y="9941"/>
                </a:lnTo>
                <a:lnTo>
                  <a:pt x="3629" y="9998"/>
                </a:lnTo>
                <a:lnTo>
                  <a:pt x="3636" y="10002"/>
                </a:lnTo>
                <a:cubicBezTo>
                  <a:pt x="3702" y="10037"/>
                  <a:pt x="3736" y="10055"/>
                  <a:pt x="3768" y="10163"/>
                </a:cubicBezTo>
                <a:cubicBezTo>
                  <a:pt x="3771" y="10173"/>
                  <a:pt x="3775" y="10177"/>
                  <a:pt x="3781" y="10177"/>
                </a:cubicBezTo>
                <a:cubicBezTo>
                  <a:pt x="3783" y="10177"/>
                  <a:pt x="3786" y="10176"/>
                  <a:pt x="3788" y="10174"/>
                </a:cubicBezTo>
                <a:cubicBezTo>
                  <a:pt x="3795" y="10165"/>
                  <a:pt x="3798" y="10147"/>
                  <a:pt x="3793" y="10133"/>
                </a:cubicBezTo>
                <a:cubicBezTo>
                  <a:pt x="3787" y="10111"/>
                  <a:pt x="3780" y="10096"/>
                  <a:pt x="3774" y="10079"/>
                </a:cubicBezTo>
                <a:cubicBezTo>
                  <a:pt x="3785" y="10095"/>
                  <a:pt x="3799" y="10107"/>
                  <a:pt x="3814" y="10107"/>
                </a:cubicBezTo>
                <a:cubicBezTo>
                  <a:pt x="3839" y="10107"/>
                  <a:pt x="3860" y="10081"/>
                  <a:pt x="3874" y="10043"/>
                </a:cubicBezTo>
                <a:lnTo>
                  <a:pt x="4302" y="10377"/>
                </a:lnTo>
                <a:cubicBezTo>
                  <a:pt x="4300" y="10379"/>
                  <a:pt x="4298" y="10382"/>
                  <a:pt x="4295" y="10385"/>
                </a:cubicBezTo>
                <a:lnTo>
                  <a:pt x="4275" y="10380"/>
                </a:lnTo>
                <a:lnTo>
                  <a:pt x="4075" y="10330"/>
                </a:lnTo>
                <a:cubicBezTo>
                  <a:pt x="4054" y="10256"/>
                  <a:pt x="4021" y="10177"/>
                  <a:pt x="3955" y="10177"/>
                </a:cubicBezTo>
                <a:cubicBezTo>
                  <a:pt x="3947" y="10177"/>
                  <a:pt x="3940" y="10191"/>
                  <a:pt x="3940" y="10207"/>
                </a:cubicBezTo>
                <a:cubicBezTo>
                  <a:pt x="3940" y="10224"/>
                  <a:pt x="3947" y="10237"/>
                  <a:pt x="3955" y="10237"/>
                </a:cubicBezTo>
                <a:cubicBezTo>
                  <a:pt x="3990" y="10237"/>
                  <a:pt x="4015" y="10262"/>
                  <a:pt x="4036" y="10321"/>
                </a:cubicBezTo>
                <a:lnTo>
                  <a:pt x="3925" y="10293"/>
                </a:lnTo>
                <a:cubicBezTo>
                  <a:pt x="3926" y="10290"/>
                  <a:pt x="3927" y="10288"/>
                  <a:pt x="3928" y="10286"/>
                </a:cubicBezTo>
                <a:cubicBezTo>
                  <a:pt x="3928" y="10284"/>
                  <a:pt x="3929" y="10282"/>
                  <a:pt x="3929" y="10281"/>
                </a:cubicBezTo>
                <a:cubicBezTo>
                  <a:pt x="3930" y="10276"/>
                  <a:pt x="3931" y="10272"/>
                  <a:pt x="3931" y="10267"/>
                </a:cubicBezTo>
                <a:cubicBezTo>
                  <a:pt x="3931" y="10256"/>
                  <a:pt x="3928" y="10245"/>
                  <a:pt x="3922" y="10240"/>
                </a:cubicBezTo>
                <a:cubicBezTo>
                  <a:pt x="3915" y="10233"/>
                  <a:pt x="3906" y="10238"/>
                  <a:pt x="3902" y="10253"/>
                </a:cubicBezTo>
                <a:cubicBezTo>
                  <a:pt x="3902" y="10253"/>
                  <a:pt x="3902" y="10254"/>
                  <a:pt x="3902" y="10254"/>
                </a:cubicBezTo>
                <a:cubicBezTo>
                  <a:pt x="3899" y="10267"/>
                  <a:pt x="3896" y="10277"/>
                  <a:pt x="3892" y="10284"/>
                </a:cubicBezTo>
                <a:cubicBezTo>
                  <a:pt x="3892" y="10284"/>
                  <a:pt x="3787" y="10259"/>
                  <a:pt x="3703" y="10238"/>
                </a:cubicBezTo>
                <a:cubicBezTo>
                  <a:pt x="3689" y="10206"/>
                  <a:pt x="3669" y="10184"/>
                  <a:pt x="3647" y="10184"/>
                </a:cubicBezTo>
                <a:cubicBezTo>
                  <a:pt x="3631" y="10184"/>
                  <a:pt x="3617" y="10196"/>
                  <a:pt x="3605" y="10213"/>
                </a:cubicBezTo>
                <a:cubicBezTo>
                  <a:pt x="3463" y="10178"/>
                  <a:pt x="3322" y="10143"/>
                  <a:pt x="3322" y="10143"/>
                </a:cubicBezTo>
                <a:cubicBezTo>
                  <a:pt x="3321" y="10135"/>
                  <a:pt x="3320" y="10127"/>
                  <a:pt x="3319" y="10119"/>
                </a:cubicBezTo>
                <a:cubicBezTo>
                  <a:pt x="3315" y="10082"/>
                  <a:pt x="3311" y="10046"/>
                  <a:pt x="3296" y="10031"/>
                </a:cubicBezTo>
                <a:cubicBezTo>
                  <a:pt x="3281" y="10018"/>
                  <a:pt x="3267" y="10010"/>
                  <a:pt x="3254" y="10002"/>
                </a:cubicBezTo>
                <a:cubicBezTo>
                  <a:pt x="3234" y="9991"/>
                  <a:pt x="3217" y="9981"/>
                  <a:pt x="3202" y="9952"/>
                </a:cubicBezTo>
                <a:cubicBezTo>
                  <a:pt x="3199" y="9946"/>
                  <a:pt x="3195" y="9944"/>
                  <a:pt x="3190" y="9944"/>
                </a:cubicBezTo>
                <a:cubicBezTo>
                  <a:pt x="3186" y="9945"/>
                  <a:pt x="3183" y="9949"/>
                  <a:pt x="3180" y="9956"/>
                </a:cubicBezTo>
                <a:cubicBezTo>
                  <a:pt x="3171" y="9978"/>
                  <a:pt x="3172" y="10005"/>
                  <a:pt x="3172" y="10022"/>
                </a:cubicBezTo>
                <a:lnTo>
                  <a:pt x="3172" y="10029"/>
                </a:lnTo>
                <a:cubicBezTo>
                  <a:pt x="3172" y="10045"/>
                  <a:pt x="3174" y="10060"/>
                  <a:pt x="3175" y="10075"/>
                </a:cubicBezTo>
                <a:cubicBezTo>
                  <a:pt x="3162" y="10051"/>
                  <a:pt x="3145" y="10035"/>
                  <a:pt x="3126" y="10035"/>
                </a:cubicBezTo>
                <a:cubicBezTo>
                  <a:pt x="3122" y="10035"/>
                  <a:pt x="3118" y="10038"/>
                  <a:pt x="3114" y="10040"/>
                </a:cubicBezTo>
                <a:cubicBezTo>
                  <a:pt x="3108" y="10021"/>
                  <a:pt x="3103" y="10003"/>
                  <a:pt x="3098" y="9988"/>
                </a:cubicBezTo>
                <a:cubicBezTo>
                  <a:pt x="3087" y="9955"/>
                  <a:pt x="3077" y="9925"/>
                  <a:pt x="3069" y="9871"/>
                </a:cubicBezTo>
                <a:lnTo>
                  <a:pt x="3069" y="9868"/>
                </a:lnTo>
                <a:lnTo>
                  <a:pt x="3181" y="9826"/>
                </a:lnTo>
                <a:cubicBezTo>
                  <a:pt x="3179" y="9830"/>
                  <a:pt x="3177" y="9836"/>
                  <a:pt x="3177" y="9841"/>
                </a:cubicBezTo>
                <a:cubicBezTo>
                  <a:pt x="3176" y="9856"/>
                  <a:pt x="3180" y="9869"/>
                  <a:pt x="3187" y="9874"/>
                </a:cubicBezTo>
                <a:lnTo>
                  <a:pt x="3414" y="10023"/>
                </a:lnTo>
                <a:cubicBezTo>
                  <a:pt x="3422" y="10028"/>
                  <a:pt x="3430" y="10019"/>
                  <a:pt x="3432" y="10003"/>
                </a:cubicBezTo>
                <a:cubicBezTo>
                  <a:pt x="3435" y="9988"/>
                  <a:pt x="3431" y="9971"/>
                  <a:pt x="3423" y="9966"/>
                </a:cubicBezTo>
                <a:lnTo>
                  <a:pt x="3199" y="9819"/>
                </a:lnTo>
                <a:lnTo>
                  <a:pt x="3278" y="9789"/>
                </a:lnTo>
                <a:lnTo>
                  <a:pt x="3458" y="9721"/>
                </a:lnTo>
                <a:close/>
                <a:moveTo>
                  <a:pt x="13496" y="9725"/>
                </a:moveTo>
                <a:lnTo>
                  <a:pt x="13824" y="9979"/>
                </a:lnTo>
                <a:cubicBezTo>
                  <a:pt x="13823" y="9983"/>
                  <a:pt x="13823" y="9988"/>
                  <a:pt x="13823" y="9993"/>
                </a:cubicBezTo>
                <a:cubicBezTo>
                  <a:pt x="13823" y="9993"/>
                  <a:pt x="13823" y="9994"/>
                  <a:pt x="13823" y="9994"/>
                </a:cubicBezTo>
                <a:cubicBezTo>
                  <a:pt x="13823" y="10002"/>
                  <a:pt x="13822" y="10008"/>
                  <a:pt x="13821" y="10014"/>
                </a:cubicBezTo>
                <a:cubicBezTo>
                  <a:pt x="13821" y="10017"/>
                  <a:pt x="13820" y="10021"/>
                  <a:pt x="13820" y="10024"/>
                </a:cubicBezTo>
                <a:cubicBezTo>
                  <a:pt x="13820" y="10037"/>
                  <a:pt x="13824" y="10048"/>
                  <a:pt x="13829" y="10052"/>
                </a:cubicBezTo>
                <a:cubicBezTo>
                  <a:pt x="13830" y="10053"/>
                  <a:pt x="13830" y="10050"/>
                  <a:pt x="13831" y="10050"/>
                </a:cubicBezTo>
                <a:cubicBezTo>
                  <a:pt x="13842" y="10105"/>
                  <a:pt x="13869" y="10145"/>
                  <a:pt x="13900" y="10145"/>
                </a:cubicBezTo>
                <a:cubicBezTo>
                  <a:pt x="13924" y="10145"/>
                  <a:pt x="13945" y="10119"/>
                  <a:pt x="13958" y="10083"/>
                </a:cubicBezTo>
                <a:lnTo>
                  <a:pt x="14221" y="10288"/>
                </a:lnTo>
                <a:cubicBezTo>
                  <a:pt x="14219" y="10302"/>
                  <a:pt x="14217" y="10316"/>
                  <a:pt x="14217" y="10332"/>
                </a:cubicBezTo>
                <a:cubicBezTo>
                  <a:pt x="14217" y="10342"/>
                  <a:pt x="14219" y="10351"/>
                  <a:pt x="14220" y="10360"/>
                </a:cubicBezTo>
                <a:cubicBezTo>
                  <a:pt x="14138" y="10340"/>
                  <a:pt x="13952" y="10293"/>
                  <a:pt x="13700" y="10231"/>
                </a:cubicBezTo>
                <a:cubicBezTo>
                  <a:pt x="13696" y="10229"/>
                  <a:pt x="13694" y="10221"/>
                  <a:pt x="13689" y="10221"/>
                </a:cubicBezTo>
                <a:cubicBezTo>
                  <a:pt x="13687" y="10221"/>
                  <a:pt x="13685" y="10225"/>
                  <a:pt x="13683" y="10226"/>
                </a:cubicBezTo>
                <a:cubicBezTo>
                  <a:pt x="13605" y="10207"/>
                  <a:pt x="13603" y="10206"/>
                  <a:pt x="13524" y="10186"/>
                </a:cubicBezTo>
                <a:cubicBezTo>
                  <a:pt x="13516" y="10122"/>
                  <a:pt x="13488" y="10072"/>
                  <a:pt x="13453" y="10072"/>
                </a:cubicBezTo>
                <a:cubicBezTo>
                  <a:pt x="13425" y="10072"/>
                  <a:pt x="13401" y="10106"/>
                  <a:pt x="13389" y="10154"/>
                </a:cubicBezTo>
                <a:cubicBezTo>
                  <a:pt x="13293" y="10130"/>
                  <a:pt x="13267" y="10123"/>
                  <a:pt x="13189" y="10104"/>
                </a:cubicBezTo>
                <a:cubicBezTo>
                  <a:pt x="13190" y="10093"/>
                  <a:pt x="13192" y="10083"/>
                  <a:pt x="13192" y="10071"/>
                </a:cubicBezTo>
                <a:cubicBezTo>
                  <a:pt x="13192" y="9989"/>
                  <a:pt x="13159" y="9923"/>
                  <a:pt x="13118" y="9923"/>
                </a:cubicBezTo>
                <a:cubicBezTo>
                  <a:pt x="13078" y="9923"/>
                  <a:pt x="13046" y="9988"/>
                  <a:pt x="13045" y="10068"/>
                </a:cubicBezTo>
                <a:cubicBezTo>
                  <a:pt x="12964" y="10048"/>
                  <a:pt x="12766" y="9999"/>
                  <a:pt x="12766" y="9999"/>
                </a:cubicBezTo>
                <a:lnTo>
                  <a:pt x="12862" y="9963"/>
                </a:lnTo>
                <a:lnTo>
                  <a:pt x="12868" y="9960"/>
                </a:lnTo>
                <a:cubicBezTo>
                  <a:pt x="12874" y="9975"/>
                  <a:pt x="12882" y="9985"/>
                  <a:pt x="12893" y="9985"/>
                </a:cubicBezTo>
                <a:cubicBezTo>
                  <a:pt x="12907" y="9985"/>
                  <a:pt x="12917" y="9965"/>
                  <a:pt x="12922" y="9941"/>
                </a:cubicBezTo>
                <a:lnTo>
                  <a:pt x="13496" y="9725"/>
                </a:lnTo>
                <a:close/>
                <a:moveTo>
                  <a:pt x="10813" y="9761"/>
                </a:moveTo>
                <a:cubicBezTo>
                  <a:pt x="10817" y="9766"/>
                  <a:pt x="10821" y="9771"/>
                  <a:pt x="10825" y="9775"/>
                </a:cubicBezTo>
                <a:cubicBezTo>
                  <a:pt x="10825" y="9775"/>
                  <a:pt x="10792" y="9809"/>
                  <a:pt x="10792" y="9809"/>
                </a:cubicBezTo>
                <a:lnTo>
                  <a:pt x="10804" y="9782"/>
                </a:lnTo>
                <a:lnTo>
                  <a:pt x="10813" y="9761"/>
                </a:lnTo>
                <a:close/>
                <a:moveTo>
                  <a:pt x="11218" y="9774"/>
                </a:moveTo>
                <a:cubicBezTo>
                  <a:pt x="11199" y="9774"/>
                  <a:pt x="11184" y="9805"/>
                  <a:pt x="11184" y="9843"/>
                </a:cubicBezTo>
                <a:cubicBezTo>
                  <a:pt x="11184" y="9880"/>
                  <a:pt x="11199" y="9910"/>
                  <a:pt x="11218" y="9910"/>
                </a:cubicBezTo>
                <a:cubicBezTo>
                  <a:pt x="11237" y="9910"/>
                  <a:pt x="11252" y="9880"/>
                  <a:pt x="11252" y="9843"/>
                </a:cubicBezTo>
                <a:cubicBezTo>
                  <a:pt x="11252" y="9805"/>
                  <a:pt x="11237" y="9774"/>
                  <a:pt x="11218" y="9774"/>
                </a:cubicBezTo>
                <a:close/>
                <a:moveTo>
                  <a:pt x="10888" y="9794"/>
                </a:moveTo>
                <a:lnTo>
                  <a:pt x="10922" y="9794"/>
                </a:lnTo>
                <a:cubicBezTo>
                  <a:pt x="10930" y="9794"/>
                  <a:pt x="10936" y="9798"/>
                  <a:pt x="10944" y="9801"/>
                </a:cubicBezTo>
                <a:cubicBezTo>
                  <a:pt x="10957" y="9829"/>
                  <a:pt x="10976" y="9846"/>
                  <a:pt x="10997" y="9846"/>
                </a:cubicBezTo>
                <a:cubicBezTo>
                  <a:pt x="11000" y="9846"/>
                  <a:pt x="11002" y="9843"/>
                  <a:pt x="11005" y="9843"/>
                </a:cubicBezTo>
                <a:cubicBezTo>
                  <a:pt x="11028" y="9871"/>
                  <a:pt x="11050" y="9908"/>
                  <a:pt x="11073" y="9948"/>
                </a:cubicBezTo>
                <a:cubicBezTo>
                  <a:pt x="11078" y="9957"/>
                  <a:pt x="11083" y="9966"/>
                  <a:pt x="11088" y="9975"/>
                </a:cubicBezTo>
                <a:lnTo>
                  <a:pt x="10741" y="9975"/>
                </a:lnTo>
                <a:lnTo>
                  <a:pt x="10741" y="9975"/>
                </a:lnTo>
                <a:lnTo>
                  <a:pt x="10690" y="9975"/>
                </a:lnTo>
                <a:cubicBezTo>
                  <a:pt x="10690" y="9975"/>
                  <a:pt x="10730" y="9945"/>
                  <a:pt x="10730" y="9945"/>
                </a:cubicBezTo>
                <a:cubicBezTo>
                  <a:pt x="10730" y="9945"/>
                  <a:pt x="10731" y="9944"/>
                  <a:pt x="10732" y="9943"/>
                </a:cubicBezTo>
                <a:cubicBezTo>
                  <a:pt x="10732" y="9942"/>
                  <a:pt x="10733" y="9942"/>
                  <a:pt x="10734" y="9942"/>
                </a:cubicBezTo>
                <a:cubicBezTo>
                  <a:pt x="10734" y="9941"/>
                  <a:pt x="10734" y="9941"/>
                  <a:pt x="10734" y="9941"/>
                </a:cubicBezTo>
                <a:lnTo>
                  <a:pt x="10739" y="9937"/>
                </a:lnTo>
                <a:cubicBezTo>
                  <a:pt x="10741" y="9936"/>
                  <a:pt x="10743" y="9933"/>
                  <a:pt x="10744" y="9931"/>
                </a:cubicBezTo>
                <a:cubicBezTo>
                  <a:pt x="10744" y="9931"/>
                  <a:pt x="10745" y="9930"/>
                  <a:pt x="10745" y="9929"/>
                </a:cubicBezTo>
                <a:cubicBezTo>
                  <a:pt x="10746" y="9927"/>
                  <a:pt x="10747" y="9925"/>
                  <a:pt x="10748" y="9922"/>
                </a:cubicBezTo>
                <a:cubicBezTo>
                  <a:pt x="10748" y="9922"/>
                  <a:pt x="10747" y="9921"/>
                  <a:pt x="10748" y="9921"/>
                </a:cubicBezTo>
                <a:lnTo>
                  <a:pt x="10831" y="9836"/>
                </a:lnTo>
                <a:cubicBezTo>
                  <a:pt x="10831" y="9838"/>
                  <a:pt x="10830" y="9840"/>
                  <a:pt x="10830" y="9843"/>
                </a:cubicBezTo>
                <a:cubicBezTo>
                  <a:pt x="10830" y="9880"/>
                  <a:pt x="10846" y="9910"/>
                  <a:pt x="10864" y="9910"/>
                </a:cubicBezTo>
                <a:cubicBezTo>
                  <a:pt x="10883" y="9910"/>
                  <a:pt x="10898" y="9880"/>
                  <a:pt x="10898" y="9843"/>
                </a:cubicBezTo>
                <a:cubicBezTo>
                  <a:pt x="10898" y="9824"/>
                  <a:pt x="10894" y="9806"/>
                  <a:pt x="10888" y="9794"/>
                </a:cubicBezTo>
                <a:close/>
                <a:moveTo>
                  <a:pt x="14772" y="9811"/>
                </a:moveTo>
                <a:cubicBezTo>
                  <a:pt x="14753" y="9811"/>
                  <a:pt x="14738" y="9842"/>
                  <a:pt x="14738" y="9880"/>
                </a:cubicBezTo>
                <a:cubicBezTo>
                  <a:pt x="14738" y="9918"/>
                  <a:pt x="14753" y="9948"/>
                  <a:pt x="14772" y="9948"/>
                </a:cubicBezTo>
                <a:cubicBezTo>
                  <a:pt x="14791" y="9948"/>
                  <a:pt x="14806" y="9918"/>
                  <a:pt x="14806" y="9880"/>
                </a:cubicBezTo>
                <a:cubicBezTo>
                  <a:pt x="14806" y="9842"/>
                  <a:pt x="14791" y="9811"/>
                  <a:pt x="14772" y="9811"/>
                </a:cubicBezTo>
                <a:close/>
                <a:moveTo>
                  <a:pt x="15178" y="9848"/>
                </a:moveTo>
                <a:cubicBezTo>
                  <a:pt x="15151" y="9848"/>
                  <a:pt x="15129" y="9893"/>
                  <a:pt x="15129" y="9948"/>
                </a:cubicBezTo>
                <a:cubicBezTo>
                  <a:pt x="15129" y="10002"/>
                  <a:pt x="15151" y="10045"/>
                  <a:pt x="15178" y="10045"/>
                </a:cubicBezTo>
                <a:cubicBezTo>
                  <a:pt x="15205" y="10045"/>
                  <a:pt x="15227" y="10002"/>
                  <a:pt x="15227" y="9948"/>
                </a:cubicBezTo>
                <a:cubicBezTo>
                  <a:pt x="15227" y="9893"/>
                  <a:pt x="15205" y="9848"/>
                  <a:pt x="15178" y="9848"/>
                </a:cubicBezTo>
                <a:close/>
                <a:moveTo>
                  <a:pt x="4050" y="9886"/>
                </a:moveTo>
                <a:cubicBezTo>
                  <a:pt x="4023" y="9886"/>
                  <a:pt x="4001" y="9930"/>
                  <a:pt x="4001" y="9985"/>
                </a:cubicBezTo>
                <a:cubicBezTo>
                  <a:pt x="4001" y="10039"/>
                  <a:pt x="4023" y="10083"/>
                  <a:pt x="4050" y="10083"/>
                </a:cubicBezTo>
                <a:cubicBezTo>
                  <a:pt x="4078" y="10083"/>
                  <a:pt x="4099" y="10039"/>
                  <a:pt x="4099" y="9985"/>
                </a:cubicBezTo>
                <a:cubicBezTo>
                  <a:pt x="4099" y="9930"/>
                  <a:pt x="4078" y="9886"/>
                  <a:pt x="4050" y="9886"/>
                </a:cubicBezTo>
                <a:close/>
                <a:moveTo>
                  <a:pt x="12732" y="9900"/>
                </a:moveTo>
                <a:cubicBezTo>
                  <a:pt x="12731" y="9906"/>
                  <a:pt x="12728" y="9910"/>
                  <a:pt x="12728" y="9917"/>
                </a:cubicBezTo>
                <a:cubicBezTo>
                  <a:pt x="12728" y="9930"/>
                  <a:pt x="12732" y="9940"/>
                  <a:pt x="12735" y="9950"/>
                </a:cubicBezTo>
                <a:lnTo>
                  <a:pt x="12707" y="9960"/>
                </a:lnTo>
                <a:cubicBezTo>
                  <a:pt x="12707" y="9960"/>
                  <a:pt x="12726" y="9913"/>
                  <a:pt x="12732" y="9900"/>
                </a:cubicBezTo>
                <a:close/>
                <a:moveTo>
                  <a:pt x="14877" y="9978"/>
                </a:moveTo>
                <a:lnTo>
                  <a:pt x="14863" y="9986"/>
                </a:lnTo>
                <a:lnTo>
                  <a:pt x="14849" y="9998"/>
                </a:lnTo>
                <a:cubicBezTo>
                  <a:pt x="14856" y="10034"/>
                  <a:pt x="14876" y="10038"/>
                  <a:pt x="14887" y="10040"/>
                </a:cubicBezTo>
                <a:cubicBezTo>
                  <a:pt x="14890" y="10040"/>
                  <a:pt x="14892" y="10040"/>
                  <a:pt x="14892" y="10041"/>
                </a:cubicBezTo>
                <a:cubicBezTo>
                  <a:pt x="14897" y="10043"/>
                  <a:pt x="14900" y="10047"/>
                  <a:pt x="14904" y="10051"/>
                </a:cubicBezTo>
                <a:lnTo>
                  <a:pt x="14906" y="10054"/>
                </a:lnTo>
                <a:cubicBezTo>
                  <a:pt x="14909" y="10056"/>
                  <a:pt x="14911" y="10058"/>
                  <a:pt x="14913" y="10058"/>
                </a:cubicBezTo>
                <a:cubicBezTo>
                  <a:pt x="14919" y="10058"/>
                  <a:pt x="14924" y="10052"/>
                  <a:pt x="14927" y="10042"/>
                </a:cubicBezTo>
                <a:cubicBezTo>
                  <a:pt x="14931" y="10027"/>
                  <a:pt x="14928" y="10009"/>
                  <a:pt x="14921" y="10001"/>
                </a:cubicBezTo>
                <a:lnTo>
                  <a:pt x="14918" y="9999"/>
                </a:lnTo>
                <a:cubicBezTo>
                  <a:pt x="14914" y="9994"/>
                  <a:pt x="14909" y="9987"/>
                  <a:pt x="14901" y="9982"/>
                </a:cubicBezTo>
                <a:cubicBezTo>
                  <a:pt x="14898" y="9981"/>
                  <a:pt x="14894" y="9981"/>
                  <a:pt x="14890" y="9980"/>
                </a:cubicBezTo>
                <a:cubicBezTo>
                  <a:pt x="14887" y="9980"/>
                  <a:pt x="14881" y="9978"/>
                  <a:pt x="14879" y="9978"/>
                </a:cubicBezTo>
                <a:cubicBezTo>
                  <a:pt x="14878" y="9978"/>
                  <a:pt x="14878" y="9978"/>
                  <a:pt x="14877" y="9978"/>
                </a:cubicBezTo>
                <a:close/>
                <a:moveTo>
                  <a:pt x="3202" y="10027"/>
                </a:moveTo>
                <a:cubicBezTo>
                  <a:pt x="3216" y="10043"/>
                  <a:pt x="3232" y="10051"/>
                  <a:pt x="3246" y="10059"/>
                </a:cubicBezTo>
                <a:cubicBezTo>
                  <a:pt x="3258" y="10066"/>
                  <a:pt x="3271" y="10074"/>
                  <a:pt x="3282" y="10085"/>
                </a:cubicBezTo>
                <a:cubicBezTo>
                  <a:pt x="3285" y="10090"/>
                  <a:pt x="3288" y="10116"/>
                  <a:pt x="3290" y="10132"/>
                </a:cubicBezTo>
                <a:cubicBezTo>
                  <a:pt x="3292" y="10148"/>
                  <a:pt x="3293" y="10165"/>
                  <a:pt x="3296" y="10181"/>
                </a:cubicBezTo>
                <a:cubicBezTo>
                  <a:pt x="3300" y="10201"/>
                  <a:pt x="3305" y="10217"/>
                  <a:pt x="3311" y="10228"/>
                </a:cubicBezTo>
                <a:cubicBezTo>
                  <a:pt x="3317" y="10241"/>
                  <a:pt x="3320" y="10264"/>
                  <a:pt x="3322" y="10288"/>
                </a:cubicBezTo>
                <a:cubicBezTo>
                  <a:pt x="3326" y="10318"/>
                  <a:pt x="3330" y="10352"/>
                  <a:pt x="3342" y="10378"/>
                </a:cubicBezTo>
                <a:cubicBezTo>
                  <a:pt x="3353" y="10400"/>
                  <a:pt x="3364" y="10422"/>
                  <a:pt x="3375" y="10445"/>
                </a:cubicBezTo>
                <a:cubicBezTo>
                  <a:pt x="3387" y="10471"/>
                  <a:pt x="3400" y="10497"/>
                  <a:pt x="3414" y="10526"/>
                </a:cubicBezTo>
                <a:cubicBezTo>
                  <a:pt x="3420" y="10536"/>
                  <a:pt x="3428" y="10537"/>
                  <a:pt x="3434" y="10528"/>
                </a:cubicBezTo>
                <a:cubicBezTo>
                  <a:pt x="3439" y="10588"/>
                  <a:pt x="3465" y="10619"/>
                  <a:pt x="3485" y="10645"/>
                </a:cubicBezTo>
                <a:cubicBezTo>
                  <a:pt x="3500" y="10663"/>
                  <a:pt x="3514" y="10681"/>
                  <a:pt x="3520" y="10704"/>
                </a:cubicBezTo>
                <a:cubicBezTo>
                  <a:pt x="3520" y="10705"/>
                  <a:pt x="3519" y="10707"/>
                  <a:pt x="3520" y="10708"/>
                </a:cubicBezTo>
                <a:cubicBezTo>
                  <a:pt x="3518" y="10708"/>
                  <a:pt x="3518" y="10706"/>
                  <a:pt x="3517" y="10706"/>
                </a:cubicBezTo>
                <a:cubicBezTo>
                  <a:pt x="3476" y="10706"/>
                  <a:pt x="3443" y="10773"/>
                  <a:pt x="3443" y="10854"/>
                </a:cubicBezTo>
                <a:cubicBezTo>
                  <a:pt x="3443" y="10873"/>
                  <a:pt x="3445" y="10890"/>
                  <a:pt x="3448" y="10907"/>
                </a:cubicBezTo>
                <a:cubicBezTo>
                  <a:pt x="3440" y="10872"/>
                  <a:pt x="3433" y="10833"/>
                  <a:pt x="3426" y="10792"/>
                </a:cubicBezTo>
                <a:cubicBezTo>
                  <a:pt x="3424" y="10778"/>
                  <a:pt x="3422" y="10765"/>
                  <a:pt x="3420" y="10751"/>
                </a:cubicBezTo>
                <a:cubicBezTo>
                  <a:pt x="3412" y="10703"/>
                  <a:pt x="3397" y="10666"/>
                  <a:pt x="3383" y="10631"/>
                </a:cubicBezTo>
                <a:cubicBezTo>
                  <a:pt x="3368" y="10595"/>
                  <a:pt x="3355" y="10562"/>
                  <a:pt x="3348" y="10518"/>
                </a:cubicBezTo>
                <a:lnTo>
                  <a:pt x="3346" y="10500"/>
                </a:lnTo>
                <a:cubicBezTo>
                  <a:pt x="3336" y="10436"/>
                  <a:pt x="3330" y="10391"/>
                  <a:pt x="3300" y="10331"/>
                </a:cubicBezTo>
                <a:cubicBezTo>
                  <a:pt x="3290" y="10311"/>
                  <a:pt x="3279" y="10298"/>
                  <a:pt x="3269" y="10288"/>
                </a:cubicBezTo>
                <a:cubicBezTo>
                  <a:pt x="3256" y="10273"/>
                  <a:pt x="3246" y="10262"/>
                  <a:pt x="3239" y="10232"/>
                </a:cubicBezTo>
                <a:cubicBezTo>
                  <a:pt x="3235" y="10216"/>
                  <a:pt x="3231" y="10201"/>
                  <a:pt x="3227" y="10185"/>
                </a:cubicBezTo>
                <a:cubicBezTo>
                  <a:pt x="3223" y="10169"/>
                  <a:pt x="3219" y="10152"/>
                  <a:pt x="3215" y="10135"/>
                </a:cubicBezTo>
                <a:cubicBezTo>
                  <a:pt x="3214" y="10132"/>
                  <a:pt x="3213" y="10129"/>
                  <a:pt x="3212" y="10126"/>
                </a:cubicBezTo>
                <a:cubicBezTo>
                  <a:pt x="3205" y="10092"/>
                  <a:pt x="3202" y="10062"/>
                  <a:pt x="3202" y="10029"/>
                </a:cubicBezTo>
                <a:cubicBezTo>
                  <a:pt x="3202" y="10029"/>
                  <a:pt x="3202" y="10027"/>
                  <a:pt x="3202" y="10027"/>
                </a:cubicBezTo>
                <a:close/>
                <a:moveTo>
                  <a:pt x="10730" y="10035"/>
                </a:moveTo>
                <a:lnTo>
                  <a:pt x="10768" y="10253"/>
                </a:lnTo>
                <a:lnTo>
                  <a:pt x="10855" y="10752"/>
                </a:lnTo>
                <a:cubicBezTo>
                  <a:pt x="10852" y="10750"/>
                  <a:pt x="10850" y="10744"/>
                  <a:pt x="10846" y="10744"/>
                </a:cubicBezTo>
                <a:cubicBezTo>
                  <a:pt x="10827" y="10744"/>
                  <a:pt x="10812" y="10775"/>
                  <a:pt x="10812" y="10813"/>
                </a:cubicBezTo>
                <a:cubicBezTo>
                  <a:pt x="10812" y="10850"/>
                  <a:pt x="10827" y="10880"/>
                  <a:pt x="10846" y="10880"/>
                </a:cubicBezTo>
                <a:cubicBezTo>
                  <a:pt x="10857" y="10880"/>
                  <a:pt x="10866" y="10866"/>
                  <a:pt x="10872" y="10849"/>
                </a:cubicBezTo>
                <a:lnTo>
                  <a:pt x="11025" y="11725"/>
                </a:lnTo>
                <a:cubicBezTo>
                  <a:pt x="10998" y="11747"/>
                  <a:pt x="10979" y="11800"/>
                  <a:pt x="10979" y="11862"/>
                </a:cubicBezTo>
                <a:cubicBezTo>
                  <a:pt x="10979" y="11943"/>
                  <a:pt x="11012" y="12010"/>
                  <a:pt x="11053" y="12010"/>
                </a:cubicBezTo>
                <a:cubicBezTo>
                  <a:pt x="11060" y="12010"/>
                  <a:pt x="11067" y="12006"/>
                  <a:pt x="11073" y="12002"/>
                </a:cubicBezTo>
                <a:lnTo>
                  <a:pt x="11266" y="13107"/>
                </a:lnTo>
                <a:cubicBezTo>
                  <a:pt x="11261" y="13103"/>
                  <a:pt x="11257" y="13094"/>
                  <a:pt x="11252" y="13094"/>
                </a:cubicBezTo>
                <a:cubicBezTo>
                  <a:pt x="11225" y="13094"/>
                  <a:pt x="11202" y="13138"/>
                  <a:pt x="11202" y="13193"/>
                </a:cubicBezTo>
                <a:cubicBezTo>
                  <a:pt x="11202" y="13247"/>
                  <a:pt x="11225" y="13291"/>
                  <a:pt x="11252" y="13291"/>
                </a:cubicBezTo>
                <a:cubicBezTo>
                  <a:pt x="11269" y="13291"/>
                  <a:pt x="11281" y="13270"/>
                  <a:pt x="11290" y="13243"/>
                </a:cubicBezTo>
                <a:lnTo>
                  <a:pt x="11473" y="14292"/>
                </a:lnTo>
                <a:cubicBezTo>
                  <a:pt x="11461" y="14297"/>
                  <a:pt x="11452" y="14313"/>
                  <a:pt x="11448" y="14335"/>
                </a:cubicBezTo>
                <a:lnTo>
                  <a:pt x="10416" y="10486"/>
                </a:lnTo>
                <a:cubicBezTo>
                  <a:pt x="10439" y="10442"/>
                  <a:pt x="10454" y="10381"/>
                  <a:pt x="10454" y="10311"/>
                </a:cubicBezTo>
                <a:cubicBezTo>
                  <a:pt x="10454" y="10261"/>
                  <a:pt x="10445" y="10217"/>
                  <a:pt x="10432" y="10178"/>
                </a:cubicBezTo>
                <a:lnTo>
                  <a:pt x="10612" y="10037"/>
                </a:lnTo>
                <a:cubicBezTo>
                  <a:pt x="10612" y="10037"/>
                  <a:pt x="10730" y="10035"/>
                  <a:pt x="10730" y="10035"/>
                </a:cubicBezTo>
                <a:close/>
                <a:moveTo>
                  <a:pt x="10768" y="10253"/>
                </a:moveTo>
                <a:cubicBezTo>
                  <a:pt x="10768" y="10215"/>
                  <a:pt x="10753" y="10184"/>
                  <a:pt x="10734" y="10184"/>
                </a:cubicBezTo>
                <a:cubicBezTo>
                  <a:pt x="10715" y="10184"/>
                  <a:pt x="10700" y="10215"/>
                  <a:pt x="10700" y="10253"/>
                </a:cubicBezTo>
                <a:cubicBezTo>
                  <a:pt x="10700" y="10291"/>
                  <a:pt x="10715" y="10321"/>
                  <a:pt x="10734" y="10321"/>
                </a:cubicBezTo>
                <a:cubicBezTo>
                  <a:pt x="10753" y="10321"/>
                  <a:pt x="10768" y="10291"/>
                  <a:pt x="10768" y="10253"/>
                </a:cubicBezTo>
                <a:close/>
                <a:moveTo>
                  <a:pt x="10762" y="10035"/>
                </a:moveTo>
                <a:cubicBezTo>
                  <a:pt x="10762" y="10035"/>
                  <a:pt x="11126" y="10035"/>
                  <a:pt x="11126" y="10035"/>
                </a:cubicBezTo>
                <a:cubicBezTo>
                  <a:pt x="11159" y="10082"/>
                  <a:pt x="11203" y="10134"/>
                  <a:pt x="11266" y="10134"/>
                </a:cubicBezTo>
                <a:cubicBezTo>
                  <a:pt x="11282" y="10134"/>
                  <a:pt x="11299" y="10109"/>
                  <a:pt x="11310" y="10082"/>
                </a:cubicBezTo>
                <a:cubicBezTo>
                  <a:pt x="11318" y="10071"/>
                  <a:pt x="11324" y="10056"/>
                  <a:pt x="11325" y="10035"/>
                </a:cubicBezTo>
                <a:lnTo>
                  <a:pt x="11606" y="10035"/>
                </a:lnTo>
                <a:lnTo>
                  <a:pt x="11610" y="10035"/>
                </a:lnTo>
                <a:lnTo>
                  <a:pt x="11562" y="10323"/>
                </a:lnTo>
                <a:cubicBezTo>
                  <a:pt x="11554" y="10308"/>
                  <a:pt x="11543" y="10296"/>
                  <a:pt x="11531" y="10296"/>
                </a:cubicBezTo>
                <a:cubicBezTo>
                  <a:pt x="11504" y="10296"/>
                  <a:pt x="11481" y="10341"/>
                  <a:pt x="11481" y="10395"/>
                </a:cubicBezTo>
                <a:cubicBezTo>
                  <a:pt x="11481" y="10450"/>
                  <a:pt x="11504" y="10493"/>
                  <a:pt x="11531" y="10493"/>
                </a:cubicBezTo>
                <a:cubicBezTo>
                  <a:pt x="11532" y="10493"/>
                  <a:pt x="11533" y="10490"/>
                  <a:pt x="11535" y="10490"/>
                </a:cubicBezTo>
                <a:lnTo>
                  <a:pt x="11490" y="10759"/>
                </a:lnTo>
                <a:cubicBezTo>
                  <a:pt x="11486" y="10730"/>
                  <a:pt x="11476" y="10706"/>
                  <a:pt x="11460" y="10706"/>
                </a:cubicBezTo>
                <a:cubicBezTo>
                  <a:pt x="11441" y="10706"/>
                  <a:pt x="11426" y="10737"/>
                  <a:pt x="11426" y="10775"/>
                </a:cubicBezTo>
                <a:cubicBezTo>
                  <a:pt x="11426" y="10813"/>
                  <a:pt x="11441" y="10843"/>
                  <a:pt x="11460" y="10843"/>
                </a:cubicBezTo>
                <a:cubicBezTo>
                  <a:pt x="11467" y="10843"/>
                  <a:pt x="11473" y="10835"/>
                  <a:pt x="11479" y="10826"/>
                </a:cubicBezTo>
                <a:lnTo>
                  <a:pt x="11390" y="11366"/>
                </a:lnTo>
                <a:cubicBezTo>
                  <a:pt x="11379" y="11351"/>
                  <a:pt x="11365" y="11341"/>
                  <a:pt x="11351" y="11341"/>
                </a:cubicBezTo>
                <a:cubicBezTo>
                  <a:pt x="11310" y="11341"/>
                  <a:pt x="11277" y="11407"/>
                  <a:pt x="11277" y="11489"/>
                </a:cubicBezTo>
                <a:cubicBezTo>
                  <a:pt x="11277" y="11567"/>
                  <a:pt x="11307" y="11629"/>
                  <a:pt x="11345" y="11634"/>
                </a:cubicBezTo>
                <a:lnTo>
                  <a:pt x="11263" y="12131"/>
                </a:lnTo>
                <a:cubicBezTo>
                  <a:pt x="11260" y="12129"/>
                  <a:pt x="11258" y="12124"/>
                  <a:pt x="11255" y="12124"/>
                </a:cubicBezTo>
                <a:cubicBezTo>
                  <a:pt x="11236" y="12124"/>
                  <a:pt x="11221" y="12155"/>
                  <a:pt x="11221" y="12193"/>
                </a:cubicBezTo>
                <a:cubicBezTo>
                  <a:pt x="11221" y="12221"/>
                  <a:pt x="11231" y="12241"/>
                  <a:pt x="11244" y="12251"/>
                </a:cubicBezTo>
                <a:lnTo>
                  <a:pt x="11203" y="12498"/>
                </a:lnTo>
                <a:lnTo>
                  <a:pt x="11146" y="12182"/>
                </a:lnTo>
                <a:lnTo>
                  <a:pt x="11107" y="11961"/>
                </a:lnTo>
                <a:cubicBezTo>
                  <a:pt x="11119" y="11934"/>
                  <a:pt x="11127" y="11900"/>
                  <a:pt x="11127" y="11862"/>
                </a:cubicBezTo>
                <a:cubicBezTo>
                  <a:pt x="11127" y="11788"/>
                  <a:pt x="11099" y="11729"/>
                  <a:pt x="11063" y="11718"/>
                </a:cubicBezTo>
                <a:lnTo>
                  <a:pt x="10762" y="10035"/>
                </a:lnTo>
                <a:close/>
                <a:moveTo>
                  <a:pt x="11662" y="10035"/>
                </a:moveTo>
                <a:lnTo>
                  <a:pt x="11733" y="10035"/>
                </a:lnTo>
                <a:cubicBezTo>
                  <a:pt x="11779" y="10058"/>
                  <a:pt x="11817" y="10070"/>
                  <a:pt x="11849" y="10070"/>
                </a:cubicBezTo>
                <a:cubicBezTo>
                  <a:pt x="11886" y="10070"/>
                  <a:pt x="11910" y="10053"/>
                  <a:pt x="11933" y="10036"/>
                </a:cubicBezTo>
                <a:lnTo>
                  <a:pt x="12055" y="10035"/>
                </a:lnTo>
                <a:cubicBezTo>
                  <a:pt x="12072" y="10048"/>
                  <a:pt x="12090" y="10062"/>
                  <a:pt x="12114" y="10062"/>
                </a:cubicBezTo>
                <a:cubicBezTo>
                  <a:pt x="12136" y="10062"/>
                  <a:pt x="12146" y="10051"/>
                  <a:pt x="12156" y="10042"/>
                </a:cubicBezTo>
                <a:cubicBezTo>
                  <a:pt x="12158" y="10040"/>
                  <a:pt x="12161" y="10037"/>
                  <a:pt x="12163" y="10035"/>
                </a:cubicBezTo>
                <a:lnTo>
                  <a:pt x="12166" y="10035"/>
                </a:lnTo>
                <a:cubicBezTo>
                  <a:pt x="12166" y="10037"/>
                  <a:pt x="12167" y="10039"/>
                  <a:pt x="12167" y="10041"/>
                </a:cubicBezTo>
                <a:cubicBezTo>
                  <a:pt x="12171" y="10055"/>
                  <a:pt x="12179" y="10061"/>
                  <a:pt x="12187" y="10055"/>
                </a:cubicBezTo>
                <a:cubicBezTo>
                  <a:pt x="12191" y="10051"/>
                  <a:pt x="12194" y="10043"/>
                  <a:pt x="12195" y="10035"/>
                </a:cubicBezTo>
                <a:lnTo>
                  <a:pt x="12334" y="10035"/>
                </a:lnTo>
                <a:lnTo>
                  <a:pt x="12669" y="10035"/>
                </a:lnTo>
                <a:cubicBezTo>
                  <a:pt x="12669" y="10035"/>
                  <a:pt x="12670" y="10035"/>
                  <a:pt x="12670" y="10035"/>
                </a:cubicBezTo>
                <a:lnTo>
                  <a:pt x="12641" y="10983"/>
                </a:lnTo>
                <a:cubicBezTo>
                  <a:pt x="12641" y="10983"/>
                  <a:pt x="12619" y="11697"/>
                  <a:pt x="12619" y="11697"/>
                </a:cubicBezTo>
                <a:cubicBezTo>
                  <a:pt x="12593" y="11633"/>
                  <a:pt x="12562" y="11537"/>
                  <a:pt x="12562" y="11470"/>
                </a:cubicBezTo>
                <a:cubicBezTo>
                  <a:pt x="12562" y="11456"/>
                  <a:pt x="12557" y="11444"/>
                  <a:pt x="12550" y="11441"/>
                </a:cubicBezTo>
                <a:cubicBezTo>
                  <a:pt x="12490" y="11413"/>
                  <a:pt x="12470" y="11352"/>
                  <a:pt x="12470" y="11188"/>
                </a:cubicBezTo>
                <a:cubicBezTo>
                  <a:pt x="12470" y="11123"/>
                  <a:pt x="12459" y="11087"/>
                  <a:pt x="12450" y="11054"/>
                </a:cubicBezTo>
                <a:cubicBezTo>
                  <a:pt x="12443" y="11032"/>
                  <a:pt x="12437" y="11011"/>
                  <a:pt x="12434" y="10982"/>
                </a:cubicBezTo>
                <a:cubicBezTo>
                  <a:pt x="12433" y="10975"/>
                  <a:pt x="12431" y="10968"/>
                  <a:pt x="12429" y="10964"/>
                </a:cubicBezTo>
                <a:cubicBezTo>
                  <a:pt x="12422" y="10954"/>
                  <a:pt x="12415" y="10938"/>
                  <a:pt x="12409" y="10926"/>
                </a:cubicBezTo>
                <a:cubicBezTo>
                  <a:pt x="12406" y="10920"/>
                  <a:pt x="12404" y="10915"/>
                  <a:pt x="12402" y="10912"/>
                </a:cubicBezTo>
                <a:cubicBezTo>
                  <a:pt x="12393" y="10895"/>
                  <a:pt x="12380" y="10893"/>
                  <a:pt x="12369" y="10891"/>
                </a:cubicBezTo>
                <a:cubicBezTo>
                  <a:pt x="12366" y="10890"/>
                  <a:pt x="12361" y="10889"/>
                  <a:pt x="12359" y="10888"/>
                </a:cubicBezTo>
                <a:cubicBezTo>
                  <a:pt x="12355" y="10877"/>
                  <a:pt x="12354" y="10851"/>
                  <a:pt x="12354" y="10833"/>
                </a:cubicBezTo>
                <a:cubicBezTo>
                  <a:pt x="12353" y="10816"/>
                  <a:pt x="12353" y="10800"/>
                  <a:pt x="12351" y="10789"/>
                </a:cubicBezTo>
                <a:cubicBezTo>
                  <a:pt x="12345" y="10751"/>
                  <a:pt x="12334" y="10719"/>
                  <a:pt x="12325" y="10695"/>
                </a:cubicBezTo>
                <a:cubicBezTo>
                  <a:pt x="12323" y="10689"/>
                  <a:pt x="12321" y="10683"/>
                  <a:pt x="12319" y="10678"/>
                </a:cubicBezTo>
                <a:lnTo>
                  <a:pt x="12300" y="10619"/>
                </a:lnTo>
                <a:cubicBezTo>
                  <a:pt x="12282" y="10567"/>
                  <a:pt x="12266" y="10519"/>
                  <a:pt x="12250" y="10466"/>
                </a:cubicBezTo>
                <a:cubicBezTo>
                  <a:pt x="12247" y="10457"/>
                  <a:pt x="12241" y="10442"/>
                  <a:pt x="12234" y="10425"/>
                </a:cubicBezTo>
                <a:cubicBezTo>
                  <a:pt x="12228" y="10410"/>
                  <a:pt x="12219" y="10386"/>
                  <a:pt x="12216" y="10375"/>
                </a:cubicBezTo>
                <a:cubicBezTo>
                  <a:pt x="12216" y="10358"/>
                  <a:pt x="12219" y="10331"/>
                  <a:pt x="12222" y="10303"/>
                </a:cubicBezTo>
                <a:cubicBezTo>
                  <a:pt x="12223" y="10286"/>
                  <a:pt x="12225" y="10268"/>
                  <a:pt x="12227" y="10251"/>
                </a:cubicBezTo>
                <a:cubicBezTo>
                  <a:pt x="12228" y="10241"/>
                  <a:pt x="12226" y="10230"/>
                  <a:pt x="12222" y="10224"/>
                </a:cubicBezTo>
                <a:cubicBezTo>
                  <a:pt x="12227" y="10218"/>
                  <a:pt x="12230" y="10209"/>
                  <a:pt x="12230" y="10198"/>
                </a:cubicBezTo>
                <a:cubicBezTo>
                  <a:pt x="12230" y="10193"/>
                  <a:pt x="12230" y="10187"/>
                  <a:pt x="12229" y="10182"/>
                </a:cubicBezTo>
                <a:lnTo>
                  <a:pt x="12227" y="10177"/>
                </a:lnTo>
                <a:cubicBezTo>
                  <a:pt x="12224" y="10163"/>
                  <a:pt x="12217" y="10155"/>
                  <a:pt x="12209" y="10160"/>
                </a:cubicBezTo>
                <a:cubicBezTo>
                  <a:pt x="12202" y="10164"/>
                  <a:pt x="12198" y="10179"/>
                  <a:pt x="12199" y="10193"/>
                </a:cubicBezTo>
                <a:lnTo>
                  <a:pt x="12200" y="10202"/>
                </a:lnTo>
                <a:cubicBezTo>
                  <a:pt x="12200" y="10209"/>
                  <a:pt x="12202" y="10216"/>
                  <a:pt x="12204" y="10220"/>
                </a:cubicBezTo>
                <a:cubicBezTo>
                  <a:pt x="12201" y="10224"/>
                  <a:pt x="12199" y="10229"/>
                  <a:pt x="12198" y="10237"/>
                </a:cubicBezTo>
                <a:cubicBezTo>
                  <a:pt x="12193" y="10272"/>
                  <a:pt x="12182" y="10326"/>
                  <a:pt x="12173" y="10372"/>
                </a:cubicBezTo>
                <a:cubicBezTo>
                  <a:pt x="12170" y="10389"/>
                  <a:pt x="12167" y="10405"/>
                  <a:pt x="12164" y="10418"/>
                </a:cubicBezTo>
                <a:cubicBezTo>
                  <a:pt x="12145" y="10395"/>
                  <a:pt x="12126" y="10331"/>
                  <a:pt x="12109" y="10277"/>
                </a:cubicBezTo>
                <a:cubicBezTo>
                  <a:pt x="12095" y="10232"/>
                  <a:pt x="12081" y="10189"/>
                  <a:pt x="12067" y="10160"/>
                </a:cubicBezTo>
                <a:cubicBezTo>
                  <a:pt x="12063" y="10151"/>
                  <a:pt x="12056" y="10148"/>
                  <a:pt x="12051" y="10153"/>
                </a:cubicBezTo>
                <a:cubicBezTo>
                  <a:pt x="12045" y="10157"/>
                  <a:pt x="12041" y="10169"/>
                  <a:pt x="12041" y="10181"/>
                </a:cubicBezTo>
                <a:lnTo>
                  <a:pt x="12041" y="10253"/>
                </a:lnTo>
                <a:cubicBezTo>
                  <a:pt x="12041" y="10258"/>
                  <a:pt x="12042" y="10264"/>
                  <a:pt x="12044" y="10268"/>
                </a:cubicBezTo>
                <a:lnTo>
                  <a:pt x="12243" y="10972"/>
                </a:lnTo>
                <a:cubicBezTo>
                  <a:pt x="12239" y="11038"/>
                  <a:pt x="12261" y="11121"/>
                  <a:pt x="12286" y="11195"/>
                </a:cubicBezTo>
                <a:cubicBezTo>
                  <a:pt x="12272" y="11222"/>
                  <a:pt x="12263" y="11260"/>
                  <a:pt x="12263" y="11302"/>
                </a:cubicBezTo>
                <a:cubicBezTo>
                  <a:pt x="12263" y="11378"/>
                  <a:pt x="12292" y="11438"/>
                  <a:pt x="12328" y="11447"/>
                </a:cubicBezTo>
                <a:lnTo>
                  <a:pt x="12328" y="11520"/>
                </a:lnTo>
                <a:cubicBezTo>
                  <a:pt x="12328" y="11524"/>
                  <a:pt x="12328" y="11527"/>
                  <a:pt x="12329" y="11531"/>
                </a:cubicBezTo>
                <a:cubicBezTo>
                  <a:pt x="12343" y="11607"/>
                  <a:pt x="12365" y="11638"/>
                  <a:pt x="12387" y="11668"/>
                </a:cubicBezTo>
                <a:cubicBezTo>
                  <a:pt x="12401" y="11688"/>
                  <a:pt x="12415" y="11706"/>
                  <a:pt x="12426" y="11737"/>
                </a:cubicBezTo>
                <a:cubicBezTo>
                  <a:pt x="12443" y="11781"/>
                  <a:pt x="12446" y="11827"/>
                  <a:pt x="12450" y="11876"/>
                </a:cubicBezTo>
                <a:cubicBezTo>
                  <a:pt x="12454" y="11929"/>
                  <a:pt x="12458" y="11984"/>
                  <a:pt x="12481" y="12030"/>
                </a:cubicBezTo>
                <a:cubicBezTo>
                  <a:pt x="12503" y="12074"/>
                  <a:pt x="12521" y="12093"/>
                  <a:pt x="12540" y="12114"/>
                </a:cubicBezTo>
                <a:cubicBezTo>
                  <a:pt x="12552" y="12126"/>
                  <a:pt x="12563" y="12140"/>
                  <a:pt x="12578" y="12160"/>
                </a:cubicBezTo>
                <a:cubicBezTo>
                  <a:pt x="12586" y="12173"/>
                  <a:pt x="12594" y="12199"/>
                  <a:pt x="12603" y="12225"/>
                </a:cubicBezTo>
                <a:lnTo>
                  <a:pt x="12600" y="12326"/>
                </a:lnTo>
                <a:lnTo>
                  <a:pt x="12598" y="12389"/>
                </a:lnTo>
                <a:lnTo>
                  <a:pt x="12014" y="10920"/>
                </a:lnTo>
                <a:cubicBezTo>
                  <a:pt x="12013" y="10893"/>
                  <a:pt x="12004" y="10874"/>
                  <a:pt x="11992" y="10865"/>
                </a:cubicBezTo>
                <a:lnTo>
                  <a:pt x="11866" y="10549"/>
                </a:lnTo>
                <a:cubicBezTo>
                  <a:pt x="11900" y="10536"/>
                  <a:pt x="11927" y="10479"/>
                  <a:pt x="11927" y="10407"/>
                </a:cubicBezTo>
                <a:cubicBezTo>
                  <a:pt x="11927" y="10325"/>
                  <a:pt x="11894" y="10259"/>
                  <a:pt x="11853" y="10259"/>
                </a:cubicBezTo>
                <a:cubicBezTo>
                  <a:pt x="11823" y="10259"/>
                  <a:pt x="11797" y="10296"/>
                  <a:pt x="11786" y="10347"/>
                </a:cubicBezTo>
                <a:lnTo>
                  <a:pt x="11662" y="10035"/>
                </a:lnTo>
                <a:close/>
                <a:moveTo>
                  <a:pt x="12334" y="10035"/>
                </a:moveTo>
                <a:cubicBezTo>
                  <a:pt x="12316" y="10035"/>
                  <a:pt x="12300" y="10066"/>
                  <a:pt x="12300" y="10104"/>
                </a:cubicBezTo>
                <a:cubicBezTo>
                  <a:pt x="12300" y="10142"/>
                  <a:pt x="12316" y="10171"/>
                  <a:pt x="12334" y="10171"/>
                </a:cubicBezTo>
                <a:cubicBezTo>
                  <a:pt x="12353" y="10171"/>
                  <a:pt x="12368" y="10142"/>
                  <a:pt x="12368" y="10104"/>
                </a:cubicBezTo>
                <a:cubicBezTo>
                  <a:pt x="12368" y="10066"/>
                  <a:pt x="12353" y="10035"/>
                  <a:pt x="12334" y="10035"/>
                </a:cubicBezTo>
                <a:close/>
                <a:moveTo>
                  <a:pt x="16946" y="10041"/>
                </a:moveTo>
                <a:lnTo>
                  <a:pt x="17434" y="10199"/>
                </a:lnTo>
                <a:cubicBezTo>
                  <a:pt x="17431" y="10219"/>
                  <a:pt x="17428" y="10236"/>
                  <a:pt x="17424" y="10253"/>
                </a:cubicBezTo>
                <a:cubicBezTo>
                  <a:pt x="17418" y="10284"/>
                  <a:pt x="17411" y="10315"/>
                  <a:pt x="17409" y="10354"/>
                </a:cubicBezTo>
                <a:cubicBezTo>
                  <a:pt x="17367" y="10397"/>
                  <a:pt x="17315" y="10572"/>
                  <a:pt x="17309" y="10597"/>
                </a:cubicBezTo>
                <a:cubicBezTo>
                  <a:pt x="17304" y="10616"/>
                  <a:pt x="17300" y="10639"/>
                  <a:pt x="17295" y="10663"/>
                </a:cubicBezTo>
                <a:cubicBezTo>
                  <a:pt x="17293" y="10673"/>
                  <a:pt x="17291" y="10682"/>
                  <a:pt x="17289" y="10692"/>
                </a:cubicBezTo>
                <a:cubicBezTo>
                  <a:pt x="17275" y="10657"/>
                  <a:pt x="17255" y="10632"/>
                  <a:pt x="17231" y="10632"/>
                </a:cubicBezTo>
                <a:cubicBezTo>
                  <a:pt x="17190" y="10632"/>
                  <a:pt x="17157" y="10698"/>
                  <a:pt x="17157" y="10780"/>
                </a:cubicBezTo>
                <a:cubicBezTo>
                  <a:pt x="17157" y="10834"/>
                  <a:pt x="17172" y="10879"/>
                  <a:pt x="17193" y="10905"/>
                </a:cubicBezTo>
                <a:cubicBezTo>
                  <a:pt x="17176" y="10926"/>
                  <a:pt x="17161" y="10951"/>
                  <a:pt x="17147" y="10976"/>
                </a:cubicBezTo>
                <a:cubicBezTo>
                  <a:pt x="17115" y="11033"/>
                  <a:pt x="17086" y="11082"/>
                  <a:pt x="17025" y="11082"/>
                </a:cubicBezTo>
                <a:cubicBezTo>
                  <a:pt x="17018" y="11082"/>
                  <a:pt x="17013" y="11075"/>
                  <a:pt x="17006" y="11068"/>
                </a:cubicBezTo>
                <a:cubicBezTo>
                  <a:pt x="16999" y="11061"/>
                  <a:pt x="16990" y="11057"/>
                  <a:pt x="16981" y="11053"/>
                </a:cubicBezTo>
                <a:cubicBezTo>
                  <a:pt x="16977" y="11042"/>
                  <a:pt x="16973" y="11032"/>
                  <a:pt x="16967" y="11025"/>
                </a:cubicBezTo>
                <a:lnTo>
                  <a:pt x="16948" y="10108"/>
                </a:lnTo>
                <a:lnTo>
                  <a:pt x="16946" y="10041"/>
                </a:lnTo>
                <a:close/>
                <a:moveTo>
                  <a:pt x="16917" y="10042"/>
                </a:moveTo>
                <a:lnTo>
                  <a:pt x="16929" y="10646"/>
                </a:lnTo>
                <a:cubicBezTo>
                  <a:pt x="16924" y="10639"/>
                  <a:pt x="16919" y="10632"/>
                  <a:pt x="16912" y="10632"/>
                </a:cubicBezTo>
                <a:cubicBezTo>
                  <a:pt x="16893" y="10632"/>
                  <a:pt x="16878" y="10663"/>
                  <a:pt x="16878" y="10701"/>
                </a:cubicBezTo>
                <a:cubicBezTo>
                  <a:pt x="16878" y="10738"/>
                  <a:pt x="16893" y="10768"/>
                  <a:pt x="16912" y="10768"/>
                </a:cubicBezTo>
                <a:cubicBezTo>
                  <a:pt x="16920" y="10768"/>
                  <a:pt x="16926" y="10761"/>
                  <a:pt x="16932" y="10752"/>
                </a:cubicBezTo>
                <a:lnTo>
                  <a:pt x="16937" y="11005"/>
                </a:lnTo>
                <a:cubicBezTo>
                  <a:pt x="16904" y="11005"/>
                  <a:pt x="16878" y="11058"/>
                  <a:pt x="16878" y="11124"/>
                </a:cubicBezTo>
                <a:cubicBezTo>
                  <a:pt x="16878" y="11143"/>
                  <a:pt x="16880" y="11159"/>
                  <a:pt x="16884" y="11175"/>
                </a:cubicBezTo>
                <a:cubicBezTo>
                  <a:pt x="16869" y="11181"/>
                  <a:pt x="16852" y="11187"/>
                  <a:pt x="16834" y="11204"/>
                </a:cubicBezTo>
                <a:cubicBezTo>
                  <a:pt x="16829" y="11209"/>
                  <a:pt x="16819" y="11215"/>
                  <a:pt x="16810" y="11221"/>
                </a:cubicBezTo>
                <a:cubicBezTo>
                  <a:pt x="16802" y="11225"/>
                  <a:pt x="16797" y="11233"/>
                  <a:pt x="16790" y="11238"/>
                </a:cubicBezTo>
                <a:cubicBezTo>
                  <a:pt x="16786" y="11236"/>
                  <a:pt x="16783" y="11229"/>
                  <a:pt x="16778" y="11229"/>
                </a:cubicBezTo>
                <a:cubicBezTo>
                  <a:pt x="16762" y="11229"/>
                  <a:pt x="16750" y="11247"/>
                  <a:pt x="16740" y="11271"/>
                </a:cubicBezTo>
                <a:cubicBezTo>
                  <a:pt x="16740" y="11261"/>
                  <a:pt x="16739" y="11250"/>
                  <a:pt x="16735" y="11246"/>
                </a:cubicBezTo>
                <a:cubicBezTo>
                  <a:pt x="16711" y="11224"/>
                  <a:pt x="16692" y="11221"/>
                  <a:pt x="16675" y="11218"/>
                </a:cubicBezTo>
                <a:cubicBezTo>
                  <a:pt x="16660" y="11216"/>
                  <a:pt x="16647" y="11213"/>
                  <a:pt x="16632" y="11198"/>
                </a:cubicBezTo>
                <a:cubicBezTo>
                  <a:pt x="16626" y="11192"/>
                  <a:pt x="16618" y="11197"/>
                  <a:pt x="16614" y="11210"/>
                </a:cubicBezTo>
                <a:cubicBezTo>
                  <a:pt x="16599" y="11256"/>
                  <a:pt x="16575" y="11288"/>
                  <a:pt x="16550" y="11323"/>
                </a:cubicBezTo>
                <a:cubicBezTo>
                  <a:pt x="16519" y="11367"/>
                  <a:pt x="16487" y="11413"/>
                  <a:pt x="16472" y="11487"/>
                </a:cubicBezTo>
                <a:lnTo>
                  <a:pt x="16264" y="11135"/>
                </a:lnTo>
                <a:cubicBezTo>
                  <a:pt x="16268" y="11120"/>
                  <a:pt x="16270" y="11104"/>
                  <a:pt x="16270" y="11086"/>
                </a:cubicBezTo>
                <a:cubicBezTo>
                  <a:pt x="16270" y="11021"/>
                  <a:pt x="16244" y="10968"/>
                  <a:pt x="16211" y="10968"/>
                </a:cubicBezTo>
                <a:cubicBezTo>
                  <a:pt x="16199" y="10968"/>
                  <a:pt x="16188" y="10977"/>
                  <a:pt x="16179" y="10990"/>
                </a:cubicBezTo>
                <a:lnTo>
                  <a:pt x="16077" y="10817"/>
                </a:lnTo>
                <a:lnTo>
                  <a:pt x="16046" y="10766"/>
                </a:lnTo>
                <a:cubicBezTo>
                  <a:pt x="16049" y="10757"/>
                  <a:pt x="16052" y="10749"/>
                  <a:pt x="16055" y="10740"/>
                </a:cubicBezTo>
                <a:cubicBezTo>
                  <a:pt x="16069" y="10696"/>
                  <a:pt x="16086" y="10646"/>
                  <a:pt x="16086" y="10550"/>
                </a:cubicBezTo>
                <a:cubicBezTo>
                  <a:pt x="16086" y="10534"/>
                  <a:pt x="16079" y="10520"/>
                  <a:pt x="16071" y="10520"/>
                </a:cubicBezTo>
                <a:cubicBezTo>
                  <a:pt x="16062" y="10520"/>
                  <a:pt x="16056" y="10534"/>
                  <a:pt x="16056" y="10550"/>
                </a:cubicBezTo>
                <a:cubicBezTo>
                  <a:pt x="16056" y="10628"/>
                  <a:pt x="16043" y="10666"/>
                  <a:pt x="16030" y="10706"/>
                </a:cubicBezTo>
                <a:cubicBezTo>
                  <a:pt x="16028" y="10713"/>
                  <a:pt x="16026" y="10720"/>
                  <a:pt x="16023" y="10727"/>
                </a:cubicBezTo>
                <a:lnTo>
                  <a:pt x="15921" y="10554"/>
                </a:lnTo>
                <a:cubicBezTo>
                  <a:pt x="15930" y="10524"/>
                  <a:pt x="15936" y="10491"/>
                  <a:pt x="15936" y="10453"/>
                </a:cubicBezTo>
                <a:cubicBezTo>
                  <a:pt x="15936" y="10450"/>
                  <a:pt x="15935" y="10447"/>
                  <a:pt x="15935" y="10443"/>
                </a:cubicBezTo>
                <a:lnTo>
                  <a:pt x="16546" y="10193"/>
                </a:lnTo>
                <a:cubicBezTo>
                  <a:pt x="16545" y="10203"/>
                  <a:pt x="16543" y="10211"/>
                  <a:pt x="16543" y="10220"/>
                </a:cubicBezTo>
                <a:cubicBezTo>
                  <a:pt x="16543" y="10302"/>
                  <a:pt x="16576" y="10368"/>
                  <a:pt x="16617" y="10368"/>
                </a:cubicBezTo>
                <a:cubicBezTo>
                  <a:pt x="16657" y="10368"/>
                  <a:pt x="16690" y="10302"/>
                  <a:pt x="16690" y="10220"/>
                </a:cubicBezTo>
                <a:cubicBezTo>
                  <a:pt x="16690" y="10190"/>
                  <a:pt x="16685" y="10163"/>
                  <a:pt x="16677" y="10140"/>
                </a:cubicBezTo>
                <a:lnTo>
                  <a:pt x="16917" y="10042"/>
                </a:lnTo>
                <a:close/>
                <a:moveTo>
                  <a:pt x="12726" y="10050"/>
                </a:moveTo>
                <a:lnTo>
                  <a:pt x="13017" y="10122"/>
                </a:lnTo>
                <a:cubicBezTo>
                  <a:pt x="13005" y="10154"/>
                  <a:pt x="12998" y="10201"/>
                  <a:pt x="12998" y="10248"/>
                </a:cubicBezTo>
                <a:cubicBezTo>
                  <a:pt x="12998" y="10292"/>
                  <a:pt x="12998" y="10315"/>
                  <a:pt x="13003" y="10353"/>
                </a:cubicBezTo>
                <a:cubicBezTo>
                  <a:pt x="13016" y="10458"/>
                  <a:pt x="13072" y="10633"/>
                  <a:pt x="13124" y="10675"/>
                </a:cubicBezTo>
                <a:cubicBezTo>
                  <a:pt x="13126" y="10695"/>
                  <a:pt x="13130" y="10709"/>
                  <a:pt x="13133" y="10722"/>
                </a:cubicBezTo>
                <a:cubicBezTo>
                  <a:pt x="13136" y="10732"/>
                  <a:pt x="13137" y="10741"/>
                  <a:pt x="13138" y="10753"/>
                </a:cubicBezTo>
                <a:cubicBezTo>
                  <a:pt x="13139" y="10762"/>
                  <a:pt x="13141" y="10769"/>
                  <a:pt x="13144" y="10774"/>
                </a:cubicBezTo>
                <a:cubicBezTo>
                  <a:pt x="13148" y="10779"/>
                  <a:pt x="13152" y="10781"/>
                  <a:pt x="13157" y="10779"/>
                </a:cubicBezTo>
                <a:cubicBezTo>
                  <a:pt x="13168" y="10773"/>
                  <a:pt x="13175" y="10761"/>
                  <a:pt x="13181" y="10748"/>
                </a:cubicBezTo>
                <a:cubicBezTo>
                  <a:pt x="13179" y="10758"/>
                  <a:pt x="13178" y="10768"/>
                  <a:pt x="13176" y="10779"/>
                </a:cubicBezTo>
                <a:cubicBezTo>
                  <a:pt x="13175" y="10783"/>
                  <a:pt x="13175" y="10789"/>
                  <a:pt x="13174" y="10794"/>
                </a:cubicBezTo>
                <a:cubicBezTo>
                  <a:pt x="13164" y="10806"/>
                  <a:pt x="13156" y="10825"/>
                  <a:pt x="13156" y="10850"/>
                </a:cubicBezTo>
                <a:cubicBezTo>
                  <a:pt x="13156" y="10878"/>
                  <a:pt x="13166" y="10897"/>
                  <a:pt x="13178" y="10907"/>
                </a:cubicBezTo>
                <a:cubicBezTo>
                  <a:pt x="13198" y="10957"/>
                  <a:pt x="13245" y="10976"/>
                  <a:pt x="13270" y="10976"/>
                </a:cubicBezTo>
                <a:cubicBezTo>
                  <a:pt x="13375" y="10976"/>
                  <a:pt x="13415" y="10882"/>
                  <a:pt x="13453" y="10792"/>
                </a:cubicBezTo>
                <a:cubicBezTo>
                  <a:pt x="13460" y="10774"/>
                  <a:pt x="13468" y="10756"/>
                  <a:pt x="13476" y="10739"/>
                </a:cubicBezTo>
                <a:cubicBezTo>
                  <a:pt x="13478" y="10753"/>
                  <a:pt x="13480" y="10766"/>
                  <a:pt x="13483" y="10779"/>
                </a:cubicBezTo>
                <a:lnTo>
                  <a:pt x="13483" y="10814"/>
                </a:lnTo>
                <a:cubicBezTo>
                  <a:pt x="13483" y="10818"/>
                  <a:pt x="13484" y="10822"/>
                  <a:pt x="13485" y="10826"/>
                </a:cubicBezTo>
                <a:cubicBezTo>
                  <a:pt x="13517" y="10957"/>
                  <a:pt x="13560" y="10984"/>
                  <a:pt x="13620" y="11021"/>
                </a:cubicBezTo>
                <a:lnTo>
                  <a:pt x="13626" y="11026"/>
                </a:lnTo>
                <a:cubicBezTo>
                  <a:pt x="13633" y="11029"/>
                  <a:pt x="13638" y="11049"/>
                  <a:pt x="13642" y="11069"/>
                </a:cubicBezTo>
                <a:cubicBezTo>
                  <a:pt x="13647" y="11090"/>
                  <a:pt x="13652" y="11113"/>
                  <a:pt x="13663" y="11125"/>
                </a:cubicBezTo>
                <a:cubicBezTo>
                  <a:pt x="13670" y="11141"/>
                  <a:pt x="13680" y="11148"/>
                  <a:pt x="13687" y="11154"/>
                </a:cubicBezTo>
                <a:cubicBezTo>
                  <a:pt x="13690" y="11157"/>
                  <a:pt x="13695" y="11161"/>
                  <a:pt x="13696" y="11162"/>
                </a:cubicBezTo>
                <a:cubicBezTo>
                  <a:pt x="13696" y="11199"/>
                  <a:pt x="13684" y="11226"/>
                  <a:pt x="13670" y="11257"/>
                </a:cubicBezTo>
                <a:cubicBezTo>
                  <a:pt x="13657" y="11285"/>
                  <a:pt x="13643" y="11317"/>
                  <a:pt x="13637" y="11359"/>
                </a:cubicBezTo>
                <a:cubicBezTo>
                  <a:pt x="13630" y="11351"/>
                  <a:pt x="13624" y="11341"/>
                  <a:pt x="13615" y="11341"/>
                </a:cubicBezTo>
                <a:cubicBezTo>
                  <a:pt x="13588" y="11341"/>
                  <a:pt x="13565" y="11385"/>
                  <a:pt x="13565" y="11440"/>
                </a:cubicBezTo>
                <a:cubicBezTo>
                  <a:pt x="13565" y="11452"/>
                  <a:pt x="13570" y="11460"/>
                  <a:pt x="13572" y="11470"/>
                </a:cubicBezTo>
                <a:cubicBezTo>
                  <a:pt x="13570" y="11481"/>
                  <a:pt x="13569" y="11492"/>
                  <a:pt x="13568" y="11503"/>
                </a:cubicBezTo>
                <a:cubicBezTo>
                  <a:pt x="13564" y="11546"/>
                  <a:pt x="13561" y="11557"/>
                  <a:pt x="13556" y="11557"/>
                </a:cubicBezTo>
                <a:cubicBezTo>
                  <a:pt x="13531" y="11557"/>
                  <a:pt x="13519" y="11604"/>
                  <a:pt x="13511" y="11637"/>
                </a:cubicBezTo>
                <a:cubicBezTo>
                  <a:pt x="13505" y="11664"/>
                  <a:pt x="13501" y="11681"/>
                  <a:pt x="13495" y="11681"/>
                </a:cubicBezTo>
                <a:cubicBezTo>
                  <a:pt x="13488" y="11681"/>
                  <a:pt x="13481" y="11685"/>
                  <a:pt x="13473" y="11694"/>
                </a:cubicBezTo>
                <a:lnTo>
                  <a:pt x="12958" y="10561"/>
                </a:lnTo>
                <a:cubicBezTo>
                  <a:pt x="12947" y="10507"/>
                  <a:pt x="12927" y="10464"/>
                  <a:pt x="12902" y="10437"/>
                </a:cubicBezTo>
                <a:lnTo>
                  <a:pt x="12726" y="10050"/>
                </a:lnTo>
                <a:close/>
                <a:moveTo>
                  <a:pt x="11636" y="10068"/>
                </a:moveTo>
                <a:lnTo>
                  <a:pt x="11782" y="10434"/>
                </a:lnTo>
                <a:cubicBezTo>
                  <a:pt x="11787" y="10484"/>
                  <a:pt x="11802" y="10526"/>
                  <a:pt x="11826" y="10544"/>
                </a:cubicBezTo>
                <a:lnTo>
                  <a:pt x="11957" y="10874"/>
                </a:lnTo>
                <a:cubicBezTo>
                  <a:pt x="11951" y="10887"/>
                  <a:pt x="11947" y="10905"/>
                  <a:pt x="11947" y="10924"/>
                </a:cubicBezTo>
                <a:cubicBezTo>
                  <a:pt x="11947" y="10962"/>
                  <a:pt x="11962" y="10992"/>
                  <a:pt x="11981" y="10992"/>
                </a:cubicBezTo>
                <a:cubicBezTo>
                  <a:pt x="11988" y="10992"/>
                  <a:pt x="11993" y="10985"/>
                  <a:pt x="11998" y="10978"/>
                </a:cubicBezTo>
                <a:lnTo>
                  <a:pt x="12580" y="12441"/>
                </a:lnTo>
                <a:cubicBezTo>
                  <a:pt x="12580" y="12441"/>
                  <a:pt x="12576" y="12441"/>
                  <a:pt x="12576" y="12441"/>
                </a:cubicBezTo>
                <a:cubicBezTo>
                  <a:pt x="12569" y="12433"/>
                  <a:pt x="12563" y="12422"/>
                  <a:pt x="12554" y="12422"/>
                </a:cubicBezTo>
                <a:cubicBezTo>
                  <a:pt x="12543" y="12422"/>
                  <a:pt x="12535" y="12434"/>
                  <a:pt x="12526" y="12446"/>
                </a:cubicBezTo>
                <a:cubicBezTo>
                  <a:pt x="12457" y="12452"/>
                  <a:pt x="12312" y="12464"/>
                  <a:pt x="12312" y="12464"/>
                </a:cubicBezTo>
                <a:lnTo>
                  <a:pt x="12272" y="12468"/>
                </a:lnTo>
                <a:cubicBezTo>
                  <a:pt x="12273" y="12463"/>
                  <a:pt x="12275" y="12459"/>
                  <a:pt x="12275" y="12454"/>
                </a:cubicBezTo>
                <a:cubicBezTo>
                  <a:pt x="12275" y="12416"/>
                  <a:pt x="12260" y="12385"/>
                  <a:pt x="12241" y="12385"/>
                </a:cubicBezTo>
                <a:cubicBezTo>
                  <a:pt x="12223" y="12385"/>
                  <a:pt x="12207" y="12416"/>
                  <a:pt x="12207" y="12454"/>
                </a:cubicBezTo>
                <a:cubicBezTo>
                  <a:pt x="12207" y="12461"/>
                  <a:pt x="12210" y="12466"/>
                  <a:pt x="12211" y="12473"/>
                </a:cubicBezTo>
                <a:lnTo>
                  <a:pt x="12087" y="12484"/>
                </a:lnTo>
                <a:cubicBezTo>
                  <a:pt x="12085" y="12450"/>
                  <a:pt x="12073" y="12422"/>
                  <a:pt x="12055" y="12422"/>
                </a:cubicBezTo>
                <a:cubicBezTo>
                  <a:pt x="12037" y="12422"/>
                  <a:pt x="12022" y="12452"/>
                  <a:pt x="12022" y="12489"/>
                </a:cubicBezTo>
                <a:lnTo>
                  <a:pt x="11787" y="12510"/>
                </a:lnTo>
                <a:cubicBezTo>
                  <a:pt x="11783" y="12482"/>
                  <a:pt x="11773" y="12460"/>
                  <a:pt x="11758" y="12460"/>
                </a:cubicBezTo>
                <a:cubicBezTo>
                  <a:pt x="11741" y="12460"/>
                  <a:pt x="11730" y="12484"/>
                  <a:pt x="11726" y="12515"/>
                </a:cubicBezTo>
                <a:lnTo>
                  <a:pt x="11542" y="12531"/>
                </a:lnTo>
                <a:cubicBezTo>
                  <a:pt x="11537" y="12512"/>
                  <a:pt x="11528" y="12497"/>
                  <a:pt x="11516" y="12497"/>
                </a:cubicBezTo>
                <a:cubicBezTo>
                  <a:pt x="11503" y="12497"/>
                  <a:pt x="11494" y="12514"/>
                  <a:pt x="11488" y="12536"/>
                </a:cubicBezTo>
                <a:lnTo>
                  <a:pt x="11225" y="12558"/>
                </a:lnTo>
                <a:lnTo>
                  <a:pt x="11277" y="12243"/>
                </a:lnTo>
                <a:cubicBezTo>
                  <a:pt x="11284" y="12231"/>
                  <a:pt x="11289" y="12214"/>
                  <a:pt x="11289" y="12193"/>
                </a:cubicBezTo>
                <a:cubicBezTo>
                  <a:pt x="11289" y="12189"/>
                  <a:pt x="11287" y="12186"/>
                  <a:pt x="11287" y="12182"/>
                </a:cubicBezTo>
                <a:lnTo>
                  <a:pt x="11333" y="11901"/>
                </a:lnTo>
                <a:lnTo>
                  <a:pt x="11378" y="11625"/>
                </a:lnTo>
                <a:lnTo>
                  <a:pt x="11379" y="11625"/>
                </a:lnTo>
                <a:cubicBezTo>
                  <a:pt x="11406" y="11603"/>
                  <a:pt x="11424" y="11550"/>
                  <a:pt x="11424" y="11489"/>
                </a:cubicBezTo>
                <a:cubicBezTo>
                  <a:pt x="11424" y="11461"/>
                  <a:pt x="11420" y="11437"/>
                  <a:pt x="11413" y="11415"/>
                </a:cubicBezTo>
                <a:lnTo>
                  <a:pt x="11636" y="10068"/>
                </a:lnTo>
                <a:close/>
                <a:moveTo>
                  <a:pt x="12698" y="10078"/>
                </a:moveTo>
                <a:lnTo>
                  <a:pt x="12806" y="10315"/>
                </a:lnTo>
                <a:lnTo>
                  <a:pt x="12849" y="10408"/>
                </a:lnTo>
                <a:cubicBezTo>
                  <a:pt x="12848" y="10408"/>
                  <a:pt x="12848" y="10408"/>
                  <a:pt x="12847" y="10408"/>
                </a:cubicBezTo>
                <a:cubicBezTo>
                  <a:pt x="12781" y="10408"/>
                  <a:pt x="12728" y="10515"/>
                  <a:pt x="12728" y="10647"/>
                </a:cubicBezTo>
                <a:cubicBezTo>
                  <a:pt x="12728" y="10779"/>
                  <a:pt x="12781" y="10886"/>
                  <a:pt x="12847" y="10886"/>
                </a:cubicBezTo>
                <a:cubicBezTo>
                  <a:pt x="12910" y="10886"/>
                  <a:pt x="12960" y="10788"/>
                  <a:pt x="12965" y="10664"/>
                </a:cubicBezTo>
                <a:lnTo>
                  <a:pt x="13240" y="11271"/>
                </a:lnTo>
                <a:cubicBezTo>
                  <a:pt x="13237" y="11270"/>
                  <a:pt x="13234" y="11266"/>
                  <a:pt x="13230" y="11266"/>
                </a:cubicBezTo>
                <a:cubicBezTo>
                  <a:pt x="13189" y="11266"/>
                  <a:pt x="13156" y="11332"/>
                  <a:pt x="13156" y="11414"/>
                </a:cubicBezTo>
                <a:cubicBezTo>
                  <a:pt x="13156" y="11496"/>
                  <a:pt x="13189" y="11562"/>
                  <a:pt x="13230" y="11562"/>
                </a:cubicBezTo>
                <a:cubicBezTo>
                  <a:pt x="13271" y="11562"/>
                  <a:pt x="13304" y="11496"/>
                  <a:pt x="13304" y="11414"/>
                </a:cubicBezTo>
                <a:cubicBezTo>
                  <a:pt x="13304" y="11412"/>
                  <a:pt x="13303" y="11411"/>
                  <a:pt x="13303" y="11409"/>
                </a:cubicBezTo>
                <a:lnTo>
                  <a:pt x="13449" y="11729"/>
                </a:lnTo>
                <a:cubicBezTo>
                  <a:pt x="13437" y="11751"/>
                  <a:pt x="13426" y="11780"/>
                  <a:pt x="13422" y="11808"/>
                </a:cubicBezTo>
                <a:cubicBezTo>
                  <a:pt x="13329" y="11843"/>
                  <a:pt x="13233" y="11890"/>
                  <a:pt x="13233" y="11996"/>
                </a:cubicBezTo>
                <a:cubicBezTo>
                  <a:pt x="13233" y="12004"/>
                  <a:pt x="13234" y="12012"/>
                  <a:pt x="13236" y="12020"/>
                </a:cubicBezTo>
                <a:cubicBezTo>
                  <a:pt x="13196" y="12053"/>
                  <a:pt x="13148" y="12077"/>
                  <a:pt x="13105" y="12098"/>
                </a:cubicBezTo>
                <a:lnTo>
                  <a:pt x="13087" y="12107"/>
                </a:lnTo>
                <a:cubicBezTo>
                  <a:pt x="13071" y="12115"/>
                  <a:pt x="13042" y="12151"/>
                  <a:pt x="13000" y="12204"/>
                </a:cubicBezTo>
                <a:cubicBezTo>
                  <a:pt x="12980" y="12229"/>
                  <a:pt x="12961" y="12253"/>
                  <a:pt x="12950" y="12264"/>
                </a:cubicBezTo>
                <a:lnTo>
                  <a:pt x="12888" y="12264"/>
                </a:lnTo>
                <a:cubicBezTo>
                  <a:pt x="12885" y="12264"/>
                  <a:pt x="12882" y="12265"/>
                  <a:pt x="12879" y="12269"/>
                </a:cubicBezTo>
                <a:cubicBezTo>
                  <a:pt x="12870" y="12282"/>
                  <a:pt x="12862" y="12295"/>
                  <a:pt x="12855" y="12306"/>
                </a:cubicBezTo>
                <a:cubicBezTo>
                  <a:pt x="12838" y="12336"/>
                  <a:pt x="12829" y="12349"/>
                  <a:pt x="12801" y="12349"/>
                </a:cubicBezTo>
                <a:cubicBezTo>
                  <a:pt x="12799" y="12349"/>
                  <a:pt x="12796" y="12351"/>
                  <a:pt x="12794" y="12354"/>
                </a:cubicBezTo>
                <a:lnTo>
                  <a:pt x="12786" y="12363"/>
                </a:lnTo>
                <a:cubicBezTo>
                  <a:pt x="12781" y="12359"/>
                  <a:pt x="12768" y="12348"/>
                  <a:pt x="12740" y="12321"/>
                </a:cubicBezTo>
                <a:cubicBezTo>
                  <a:pt x="12741" y="12307"/>
                  <a:pt x="12738" y="12291"/>
                  <a:pt x="12732" y="12273"/>
                </a:cubicBezTo>
                <a:cubicBezTo>
                  <a:pt x="12708" y="12200"/>
                  <a:pt x="12697" y="12138"/>
                  <a:pt x="12697" y="12072"/>
                </a:cubicBezTo>
                <a:cubicBezTo>
                  <a:pt x="12697" y="12057"/>
                  <a:pt x="12692" y="12045"/>
                  <a:pt x="12685" y="12042"/>
                </a:cubicBezTo>
                <a:cubicBezTo>
                  <a:pt x="12684" y="12029"/>
                  <a:pt x="12689" y="11996"/>
                  <a:pt x="12691" y="11981"/>
                </a:cubicBezTo>
                <a:cubicBezTo>
                  <a:pt x="12692" y="11972"/>
                  <a:pt x="12694" y="11963"/>
                  <a:pt x="12694" y="11956"/>
                </a:cubicBezTo>
                <a:cubicBezTo>
                  <a:pt x="12705" y="11862"/>
                  <a:pt x="12677" y="11813"/>
                  <a:pt x="12655" y="11773"/>
                </a:cubicBezTo>
                <a:cubicBezTo>
                  <a:pt x="12652" y="11768"/>
                  <a:pt x="12649" y="11764"/>
                  <a:pt x="12647" y="11759"/>
                </a:cubicBezTo>
                <a:lnTo>
                  <a:pt x="12665" y="11183"/>
                </a:lnTo>
                <a:lnTo>
                  <a:pt x="12698" y="10078"/>
                </a:lnTo>
                <a:close/>
                <a:moveTo>
                  <a:pt x="13055" y="10143"/>
                </a:moveTo>
                <a:cubicBezTo>
                  <a:pt x="13068" y="10188"/>
                  <a:pt x="13091" y="10219"/>
                  <a:pt x="13118" y="10219"/>
                </a:cubicBezTo>
                <a:cubicBezTo>
                  <a:pt x="13121" y="10219"/>
                  <a:pt x="13122" y="10217"/>
                  <a:pt x="13125" y="10217"/>
                </a:cubicBezTo>
                <a:cubicBezTo>
                  <a:pt x="13148" y="10265"/>
                  <a:pt x="13165" y="10323"/>
                  <a:pt x="13171" y="10350"/>
                </a:cubicBezTo>
                <a:cubicBezTo>
                  <a:pt x="13172" y="10352"/>
                  <a:pt x="13172" y="10358"/>
                  <a:pt x="13172" y="10363"/>
                </a:cubicBezTo>
                <a:cubicBezTo>
                  <a:pt x="13172" y="10382"/>
                  <a:pt x="13172" y="10411"/>
                  <a:pt x="13185" y="10436"/>
                </a:cubicBezTo>
                <a:cubicBezTo>
                  <a:pt x="13199" y="10465"/>
                  <a:pt x="13216" y="10472"/>
                  <a:pt x="13232" y="10478"/>
                </a:cubicBezTo>
                <a:cubicBezTo>
                  <a:pt x="13245" y="10483"/>
                  <a:pt x="13257" y="10488"/>
                  <a:pt x="13267" y="10508"/>
                </a:cubicBezTo>
                <a:cubicBezTo>
                  <a:pt x="13272" y="10518"/>
                  <a:pt x="13277" y="10528"/>
                  <a:pt x="13282" y="10539"/>
                </a:cubicBezTo>
                <a:cubicBezTo>
                  <a:pt x="13298" y="10575"/>
                  <a:pt x="13316" y="10615"/>
                  <a:pt x="13346" y="10634"/>
                </a:cubicBezTo>
                <a:cubicBezTo>
                  <a:pt x="13347" y="10635"/>
                  <a:pt x="13349" y="10635"/>
                  <a:pt x="13350" y="10635"/>
                </a:cubicBezTo>
                <a:lnTo>
                  <a:pt x="13456" y="10635"/>
                </a:lnTo>
                <a:cubicBezTo>
                  <a:pt x="13460" y="10635"/>
                  <a:pt x="13464" y="10633"/>
                  <a:pt x="13467" y="10627"/>
                </a:cubicBezTo>
                <a:cubicBezTo>
                  <a:pt x="13470" y="10621"/>
                  <a:pt x="13473" y="10612"/>
                  <a:pt x="13477" y="10605"/>
                </a:cubicBezTo>
                <a:cubicBezTo>
                  <a:pt x="13486" y="10583"/>
                  <a:pt x="13491" y="10571"/>
                  <a:pt x="13501" y="10571"/>
                </a:cubicBezTo>
                <a:cubicBezTo>
                  <a:pt x="13504" y="10571"/>
                  <a:pt x="13506" y="10578"/>
                  <a:pt x="13509" y="10581"/>
                </a:cubicBezTo>
                <a:cubicBezTo>
                  <a:pt x="13494" y="10598"/>
                  <a:pt x="13483" y="10625"/>
                  <a:pt x="13477" y="10659"/>
                </a:cubicBezTo>
                <a:cubicBezTo>
                  <a:pt x="13460" y="10689"/>
                  <a:pt x="13443" y="10721"/>
                  <a:pt x="13429" y="10753"/>
                </a:cubicBezTo>
                <a:cubicBezTo>
                  <a:pt x="13393" y="10840"/>
                  <a:pt x="13361" y="10916"/>
                  <a:pt x="13270" y="10916"/>
                </a:cubicBezTo>
                <a:cubicBezTo>
                  <a:pt x="13250" y="10916"/>
                  <a:pt x="13231" y="10903"/>
                  <a:pt x="13217" y="10887"/>
                </a:cubicBezTo>
                <a:cubicBezTo>
                  <a:pt x="13220" y="10876"/>
                  <a:pt x="13224" y="10864"/>
                  <a:pt x="13224" y="10850"/>
                </a:cubicBezTo>
                <a:cubicBezTo>
                  <a:pt x="13224" y="10823"/>
                  <a:pt x="13216" y="10804"/>
                  <a:pt x="13205" y="10793"/>
                </a:cubicBezTo>
                <a:cubicBezTo>
                  <a:pt x="13209" y="10772"/>
                  <a:pt x="13213" y="10749"/>
                  <a:pt x="13213" y="10720"/>
                </a:cubicBezTo>
                <a:cubicBezTo>
                  <a:pt x="13213" y="10702"/>
                  <a:pt x="13212" y="10687"/>
                  <a:pt x="13210" y="10667"/>
                </a:cubicBezTo>
                <a:cubicBezTo>
                  <a:pt x="13208" y="10651"/>
                  <a:pt x="13200" y="10642"/>
                  <a:pt x="13192" y="10645"/>
                </a:cubicBezTo>
                <a:cubicBezTo>
                  <a:pt x="13175" y="10651"/>
                  <a:pt x="13168" y="10676"/>
                  <a:pt x="13163" y="10694"/>
                </a:cubicBezTo>
                <a:cubicBezTo>
                  <a:pt x="13162" y="10697"/>
                  <a:pt x="13162" y="10699"/>
                  <a:pt x="13161" y="10702"/>
                </a:cubicBezTo>
                <a:cubicBezTo>
                  <a:pt x="13160" y="10700"/>
                  <a:pt x="13160" y="10697"/>
                  <a:pt x="13159" y="10695"/>
                </a:cubicBezTo>
                <a:cubicBezTo>
                  <a:pt x="13157" y="10688"/>
                  <a:pt x="13157" y="10680"/>
                  <a:pt x="13156" y="10674"/>
                </a:cubicBezTo>
                <a:cubicBezTo>
                  <a:pt x="13180" y="10667"/>
                  <a:pt x="13199" y="10631"/>
                  <a:pt x="13199" y="10582"/>
                </a:cubicBezTo>
                <a:cubicBezTo>
                  <a:pt x="13199" y="10527"/>
                  <a:pt x="13177" y="10483"/>
                  <a:pt x="13150" y="10483"/>
                </a:cubicBezTo>
                <a:cubicBezTo>
                  <a:pt x="13125" y="10483"/>
                  <a:pt x="13106" y="10522"/>
                  <a:pt x="13103" y="10571"/>
                </a:cubicBezTo>
                <a:cubicBezTo>
                  <a:pt x="13071" y="10509"/>
                  <a:pt x="13040" y="10406"/>
                  <a:pt x="13032" y="10339"/>
                </a:cubicBezTo>
                <a:cubicBezTo>
                  <a:pt x="13028" y="10309"/>
                  <a:pt x="13028" y="10291"/>
                  <a:pt x="13028" y="10248"/>
                </a:cubicBezTo>
                <a:cubicBezTo>
                  <a:pt x="13028" y="10206"/>
                  <a:pt x="13037" y="10145"/>
                  <a:pt x="13055" y="10143"/>
                </a:cubicBezTo>
                <a:close/>
                <a:moveTo>
                  <a:pt x="13175" y="10162"/>
                </a:moveTo>
                <a:lnTo>
                  <a:pt x="13380" y="10212"/>
                </a:lnTo>
                <a:cubicBezTo>
                  <a:pt x="13380" y="10215"/>
                  <a:pt x="13379" y="10217"/>
                  <a:pt x="13379" y="10220"/>
                </a:cubicBezTo>
                <a:cubicBezTo>
                  <a:pt x="13379" y="10302"/>
                  <a:pt x="13412" y="10368"/>
                  <a:pt x="13453" y="10368"/>
                </a:cubicBezTo>
                <a:cubicBezTo>
                  <a:pt x="13489" y="10368"/>
                  <a:pt x="13517" y="10316"/>
                  <a:pt x="13524" y="10248"/>
                </a:cubicBezTo>
                <a:lnTo>
                  <a:pt x="13649" y="10279"/>
                </a:lnTo>
                <a:cubicBezTo>
                  <a:pt x="13645" y="10292"/>
                  <a:pt x="13640" y="10304"/>
                  <a:pt x="13640" y="10321"/>
                </a:cubicBezTo>
                <a:cubicBezTo>
                  <a:pt x="13640" y="10375"/>
                  <a:pt x="13662" y="10418"/>
                  <a:pt x="13689" y="10418"/>
                </a:cubicBezTo>
                <a:cubicBezTo>
                  <a:pt x="13716" y="10418"/>
                  <a:pt x="13738" y="10375"/>
                  <a:pt x="13738" y="10321"/>
                </a:cubicBezTo>
                <a:cubicBezTo>
                  <a:pt x="13738" y="10312"/>
                  <a:pt x="13735" y="10307"/>
                  <a:pt x="13734" y="10300"/>
                </a:cubicBezTo>
                <a:lnTo>
                  <a:pt x="14023" y="10372"/>
                </a:lnTo>
                <a:cubicBezTo>
                  <a:pt x="13997" y="10373"/>
                  <a:pt x="13975" y="10416"/>
                  <a:pt x="13975" y="10470"/>
                </a:cubicBezTo>
                <a:cubicBezTo>
                  <a:pt x="13975" y="10524"/>
                  <a:pt x="13997" y="10568"/>
                  <a:pt x="14024" y="10568"/>
                </a:cubicBezTo>
                <a:cubicBezTo>
                  <a:pt x="14051" y="10568"/>
                  <a:pt x="14073" y="10524"/>
                  <a:pt x="14073" y="10470"/>
                </a:cubicBezTo>
                <a:cubicBezTo>
                  <a:pt x="14073" y="10417"/>
                  <a:pt x="14052" y="10374"/>
                  <a:pt x="14026" y="10372"/>
                </a:cubicBezTo>
                <a:lnTo>
                  <a:pt x="14234" y="10423"/>
                </a:lnTo>
                <a:cubicBezTo>
                  <a:pt x="14247" y="10457"/>
                  <a:pt x="14267" y="10480"/>
                  <a:pt x="14291" y="10480"/>
                </a:cubicBezTo>
                <a:cubicBezTo>
                  <a:pt x="14307" y="10480"/>
                  <a:pt x="14322" y="10467"/>
                  <a:pt x="14334" y="10449"/>
                </a:cubicBezTo>
                <a:lnTo>
                  <a:pt x="14444" y="10476"/>
                </a:lnTo>
                <a:cubicBezTo>
                  <a:pt x="14443" y="10482"/>
                  <a:pt x="14441" y="10488"/>
                  <a:pt x="14440" y="10495"/>
                </a:cubicBezTo>
                <a:cubicBezTo>
                  <a:pt x="14439" y="10499"/>
                  <a:pt x="14439" y="10502"/>
                  <a:pt x="14438" y="10506"/>
                </a:cubicBezTo>
                <a:cubicBezTo>
                  <a:pt x="14437" y="10510"/>
                  <a:pt x="14436" y="10514"/>
                  <a:pt x="14435" y="10519"/>
                </a:cubicBezTo>
                <a:cubicBezTo>
                  <a:pt x="14435" y="10523"/>
                  <a:pt x="14434" y="10526"/>
                  <a:pt x="14433" y="10530"/>
                </a:cubicBezTo>
                <a:cubicBezTo>
                  <a:pt x="14432" y="10535"/>
                  <a:pt x="14432" y="10540"/>
                  <a:pt x="14431" y="10544"/>
                </a:cubicBezTo>
                <a:cubicBezTo>
                  <a:pt x="14430" y="10549"/>
                  <a:pt x="14429" y="10555"/>
                  <a:pt x="14428" y="10561"/>
                </a:cubicBezTo>
                <a:cubicBezTo>
                  <a:pt x="14427" y="10564"/>
                  <a:pt x="14427" y="10567"/>
                  <a:pt x="14426" y="10570"/>
                </a:cubicBezTo>
                <a:cubicBezTo>
                  <a:pt x="14422" y="10594"/>
                  <a:pt x="14416" y="10621"/>
                  <a:pt x="14411" y="10650"/>
                </a:cubicBezTo>
                <a:cubicBezTo>
                  <a:pt x="14411" y="10652"/>
                  <a:pt x="14411" y="10653"/>
                  <a:pt x="14410" y="10654"/>
                </a:cubicBezTo>
                <a:cubicBezTo>
                  <a:pt x="14409" y="10664"/>
                  <a:pt x="14407" y="10675"/>
                  <a:pt x="14405" y="10685"/>
                </a:cubicBezTo>
                <a:cubicBezTo>
                  <a:pt x="14404" y="10687"/>
                  <a:pt x="14404" y="10690"/>
                  <a:pt x="14404" y="10691"/>
                </a:cubicBezTo>
                <a:cubicBezTo>
                  <a:pt x="14393" y="10750"/>
                  <a:pt x="14380" y="10817"/>
                  <a:pt x="14366" y="10895"/>
                </a:cubicBezTo>
                <a:cubicBezTo>
                  <a:pt x="14365" y="10900"/>
                  <a:pt x="14365" y="10906"/>
                  <a:pt x="14364" y="10910"/>
                </a:cubicBezTo>
                <a:cubicBezTo>
                  <a:pt x="14362" y="10922"/>
                  <a:pt x="14359" y="10934"/>
                  <a:pt x="14357" y="10947"/>
                </a:cubicBezTo>
                <a:cubicBezTo>
                  <a:pt x="14356" y="10952"/>
                  <a:pt x="14356" y="10958"/>
                  <a:pt x="14355" y="10963"/>
                </a:cubicBezTo>
                <a:cubicBezTo>
                  <a:pt x="14351" y="10985"/>
                  <a:pt x="14346" y="11008"/>
                  <a:pt x="14342" y="11032"/>
                </a:cubicBezTo>
                <a:cubicBezTo>
                  <a:pt x="14340" y="11041"/>
                  <a:pt x="14338" y="11050"/>
                  <a:pt x="14337" y="11060"/>
                </a:cubicBezTo>
                <a:cubicBezTo>
                  <a:pt x="14319" y="11052"/>
                  <a:pt x="14304" y="11051"/>
                  <a:pt x="14287" y="11051"/>
                </a:cubicBezTo>
                <a:cubicBezTo>
                  <a:pt x="14252" y="11051"/>
                  <a:pt x="14194" y="10976"/>
                  <a:pt x="14175" y="10917"/>
                </a:cubicBezTo>
                <a:cubicBezTo>
                  <a:pt x="14170" y="10902"/>
                  <a:pt x="14166" y="10882"/>
                  <a:pt x="14161" y="10860"/>
                </a:cubicBezTo>
                <a:cubicBezTo>
                  <a:pt x="14149" y="10806"/>
                  <a:pt x="14135" y="10751"/>
                  <a:pt x="14111" y="10734"/>
                </a:cubicBezTo>
                <a:cubicBezTo>
                  <a:pt x="14101" y="10729"/>
                  <a:pt x="14092" y="10726"/>
                  <a:pt x="14081" y="10726"/>
                </a:cubicBezTo>
                <a:cubicBezTo>
                  <a:pt x="14075" y="10726"/>
                  <a:pt x="14069" y="10727"/>
                  <a:pt x="14063" y="10727"/>
                </a:cubicBezTo>
                <a:cubicBezTo>
                  <a:pt x="14057" y="10728"/>
                  <a:pt x="14050" y="10729"/>
                  <a:pt x="14043" y="10729"/>
                </a:cubicBezTo>
                <a:cubicBezTo>
                  <a:pt x="14029" y="10729"/>
                  <a:pt x="14021" y="10739"/>
                  <a:pt x="14013" y="10747"/>
                </a:cubicBezTo>
                <a:cubicBezTo>
                  <a:pt x="14012" y="10747"/>
                  <a:pt x="14011" y="10744"/>
                  <a:pt x="14009" y="10744"/>
                </a:cubicBezTo>
                <a:cubicBezTo>
                  <a:pt x="14001" y="10744"/>
                  <a:pt x="13995" y="10751"/>
                  <a:pt x="13989" y="10760"/>
                </a:cubicBezTo>
                <a:lnTo>
                  <a:pt x="13939" y="10734"/>
                </a:lnTo>
                <a:cubicBezTo>
                  <a:pt x="13936" y="10732"/>
                  <a:pt x="13932" y="10732"/>
                  <a:pt x="13928" y="10736"/>
                </a:cubicBezTo>
                <a:cubicBezTo>
                  <a:pt x="13921" y="10743"/>
                  <a:pt x="13915" y="10754"/>
                  <a:pt x="13910" y="10764"/>
                </a:cubicBezTo>
                <a:lnTo>
                  <a:pt x="13841" y="10772"/>
                </a:lnTo>
                <a:cubicBezTo>
                  <a:pt x="13840" y="10772"/>
                  <a:pt x="13839" y="10772"/>
                  <a:pt x="13838" y="10773"/>
                </a:cubicBezTo>
                <a:cubicBezTo>
                  <a:pt x="13837" y="10773"/>
                  <a:pt x="13837" y="10772"/>
                  <a:pt x="13836" y="10772"/>
                </a:cubicBezTo>
                <a:cubicBezTo>
                  <a:pt x="13834" y="10771"/>
                  <a:pt x="13832" y="10772"/>
                  <a:pt x="13831" y="10772"/>
                </a:cubicBezTo>
                <a:cubicBezTo>
                  <a:pt x="13814" y="10772"/>
                  <a:pt x="13785" y="10761"/>
                  <a:pt x="13754" y="10750"/>
                </a:cubicBezTo>
                <a:cubicBezTo>
                  <a:pt x="13716" y="10736"/>
                  <a:pt x="13673" y="10720"/>
                  <a:pt x="13641" y="10720"/>
                </a:cubicBezTo>
                <a:cubicBezTo>
                  <a:pt x="13638" y="10720"/>
                  <a:pt x="13627" y="10714"/>
                  <a:pt x="13620" y="10710"/>
                </a:cubicBezTo>
                <a:cubicBezTo>
                  <a:pt x="13620" y="10708"/>
                  <a:pt x="13620" y="10707"/>
                  <a:pt x="13620" y="10705"/>
                </a:cubicBezTo>
                <a:cubicBezTo>
                  <a:pt x="13620" y="10624"/>
                  <a:pt x="13587" y="10557"/>
                  <a:pt x="13546" y="10557"/>
                </a:cubicBezTo>
                <a:cubicBezTo>
                  <a:pt x="13546" y="10557"/>
                  <a:pt x="13545" y="10558"/>
                  <a:pt x="13545" y="10558"/>
                </a:cubicBezTo>
                <a:cubicBezTo>
                  <a:pt x="13535" y="10532"/>
                  <a:pt x="13522" y="10512"/>
                  <a:pt x="13501" y="10512"/>
                </a:cubicBezTo>
                <a:cubicBezTo>
                  <a:pt x="13476" y="10512"/>
                  <a:pt x="13463" y="10544"/>
                  <a:pt x="13453" y="10568"/>
                </a:cubicBezTo>
                <a:cubicBezTo>
                  <a:pt x="13452" y="10571"/>
                  <a:pt x="13451" y="10573"/>
                  <a:pt x="13450" y="10576"/>
                </a:cubicBezTo>
                <a:lnTo>
                  <a:pt x="13353" y="10576"/>
                </a:lnTo>
                <a:cubicBezTo>
                  <a:pt x="13332" y="10561"/>
                  <a:pt x="13318" y="10531"/>
                  <a:pt x="13304" y="10499"/>
                </a:cubicBezTo>
                <a:cubicBezTo>
                  <a:pt x="13299" y="10488"/>
                  <a:pt x="13294" y="10475"/>
                  <a:pt x="13289" y="10465"/>
                </a:cubicBezTo>
                <a:cubicBezTo>
                  <a:pt x="13273" y="10432"/>
                  <a:pt x="13254" y="10425"/>
                  <a:pt x="13238" y="10418"/>
                </a:cubicBezTo>
                <a:cubicBezTo>
                  <a:pt x="13224" y="10413"/>
                  <a:pt x="13214" y="10409"/>
                  <a:pt x="13206" y="10393"/>
                </a:cubicBezTo>
                <a:cubicBezTo>
                  <a:pt x="13202" y="10385"/>
                  <a:pt x="13202" y="10375"/>
                  <a:pt x="13201" y="10360"/>
                </a:cubicBezTo>
                <a:cubicBezTo>
                  <a:pt x="13201" y="10349"/>
                  <a:pt x="13201" y="10336"/>
                  <a:pt x="13198" y="10324"/>
                </a:cubicBezTo>
                <a:cubicBezTo>
                  <a:pt x="13190" y="10292"/>
                  <a:pt x="13174" y="10243"/>
                  <a:pt x="13154" y="10197"/>
                </a:cubicBezTo>
                <a:cubicBezTo>
                  <a:pt x="13162" y="10188"/>
                  <a:pt x="13170" y="10176"/>
                  <a:pt x="13175" y="10162"/>
                </a:cubicBezTo>
                <a:close/>
                <a:moveTo>
                  <a:pt x="3198" y="10203"/>
                </a:moveTo>
                <a:cubicBezTo>
                  <a:pt x="3199" y="10206"/>
                  <a:pt x="3199" y="10210"/>
                  <a:pt x="3200" y="10213"/>
                </a:cubicBezTo>
                <a:cubicBezTo>
                  <a:pt x="3204" y="10228"/>
                  <a:pt x="3208" y="10242"/>
                  <a:pt x="3212" y="10258"/>
                </a:cubicBezTo>
                <a:cubicBezTo>
                  <a:pt x="3223" y="10305"/>
                  <a:pt x="3240" y="10324"/>
                  <a:pt x="3256" y="10340"/>
                </a:cubicBezTo>
                <a:cubicBezTo>
                  <a:pt x="3264" y="10350"/>
                  <a:pt x="3272" y="10359"/>
                  <a:pt x="3279" y="10373"/>
                </a:cubicBezTo>
                <a:cubicBezTo>
                  <a:pt x="3303" y="10422"/>
                  <a:pt x="3308" y="10455"/>
                  <a:pt x="3317" y="10516"/>
                </a:cubicBezTo>
                <a:lnTo>
                  <a:pt x="3319" y="10535"/>
                </a:lnTo>
                <a:cubicBezTo>
                  <a:pt x="3328" y="10591"/>
                  <a:pt x="3344" y="10631"/>
                  <a:pt x="3360" y="10669"/>
                </a:cubicBezTo>
                <a:cubicBezTo>
                  <a:pt x="3373" y="10701"/>
                  <a:pt x="3385" y="10732"/>
                  <a:pt x="3392" y="10769"/>
                </a:cubicBezTo>
                <a:cubicBezTo>
                  <a:pt x="3394" y="10783"/>
                  <a:pt x="3396" y="10796"/>
                  <a:pt x="3398" y="10810"/>
                </a:cubicBezTo>
                <a:cubicBezTo>
                  <a:pt x="3411" y="10895"/>
                  <a:pt x="3426" y="10983"/>
                  <a:pt x="3457" y="11035"/>
                </a:cubicBezTo>
                <a:cubicBezTo>
                  <a:pt x="3444" y="11025"/>
                  <a:pt x="3432" y="10997"/>
                  <a:pt x="3421" y="10970"/>
                </a:cubicBezTo>
                <a:cubicBezTo>
                  <a:pt x="3412" y="10947"/>
                  <a:pt x="3403" y="10926"/>
                  <a:pt x="3393" y="10914"/>
                </a:cubicBezTo>
                <a:lnTo>
                  <a:pt x="3386" y="10905"/>
                </a:lnTo>
                <a:cubicBezTo>
                  <a:pt x="3381" y="10898"/>
                  <a:pt x="3380" y="10897"/>
                  <a:pt x="3378" y="10892"/>
                </a:cubicBezTo>
                <a:lnTo>
                  <a:pt x="3378" y="10789"/>
                </a:lnTo>
                <a:cubicBezTo>
                  <a:pt x="3378" y="10781"/>
                  <a:pt x="3377" y="10774"/>
                  <a:pt x="3374" y="10768"/>
                </a:cubicBezTo>
                <a:cubicBezTo>
                  <a:pt x="3363" y="10745"/>
                  <a:pt x="3352" y="10722"/>
                  <a:pt x="3343" y="10699"/>
                </a:cubicBezTo>
                <a:cubicBezTo>
                  <a:pt x="3333" y="10677"/>
                  <a:pt x="3323" y="10654"/>
                  <a:pt x="3313" y="10632"/>
                </a:cubicBezTo>
                <a:cubicBezTo>
                  <a:pt x="3296" y="10599"/>
                  <a:pt x="3276" y="10586"/>
                  <a:pt x="3258" y="10574"/>
                </a:cubicBezTo>
                <a:cubicBezTo>
                  <a:pt x="3255" y="10572"/>
                  <a:pt x="3253" y="10569"/>
                  <a:pt x="3250" y="10568"/>
                </a:cubicBezTo>
                <a:cubicBezTo>
                  <a:pt x="3256" y="10563"/>
                  <a:pt x="3260" y="10557"/>
                  <a:pt x="3263" y="10546"/>
                </a:cubicBezTo>
                <a:cubicBezTo>
                  <a:pt x="3266" y="10534"/>
                  <a:pt x="3268" y="10515"/>
                  <a:pt x="3259" y="10488"/>
                </a:cubicBezTo>
                <a:cubicBezTo>
                  <a:pt x="3233" y="10414"/>
                  <a:pt x="3205" y="10345"/>
                  <a:pt x="3174" y="10293"/>
                </a:cubicBezTo>
                <a:cubicBezTo>
                  <a:pt x="3187" y="10270"/>
                  <a:pt x="3195" y="10239"/>
                  <a:pt x="3198" y="10203"/>
                </a:cubicBezTo>
                <a:close/>
                <a:moveTo>
                  <a:pt x="3340" y="10209"/>
                </a:moveTo>
                <a:lnTo>
                  <a:pt x="3581" y="10268"/>
                </a:lnTo>
                <a:cubicBezTo>
                  <a:pt x="3576" y="10288"/>
                  <a:pt x="3573" y="10309"/>
                  <a:pt x="3573" y="10332"/>
                </a:cubicBezTo>
                <a:cubicBezTo>
                  <a:pt x="3573" y="10414"/>
                  <a:pt x="3606" y="10480"/>
                  <a:pt x="3647" y="10480"/>
                </a:cubicBezTo>
                <a:cubicBezTo>
                  <a:pt x="3688" y="10480"/>
                  <a:pt x="3721" y="10414"/>
                  <a:pt x="3721" y="10332"/>
                </a:cubicBezTo>
                <a:cubicBezTo>
                  <a:pt x="3721" y="10321"/>
                  <a:pt x="3719" y="10312"/>
                  <a:pt x="3718" y="10302"/>
                </a:cubicBezTo>
                <a:lnTo>
                  <a:pt x="3881" y="10343"/>
                </a:lnTo>
                <a:lnTo>
                  <a:pt x="3882" y="10357"/>
                </a:lnTo>
                <a:cubicBezTo>
                  <a:pt x="3887" y="10356"/>
                  <a:pt x="3892" y="10354"/>
                  <a:pt x="3896" y="10351"/>
                </a:cubicBezTo>
                <a:cubicBezTo>
                  <a:pt x="3898" y="10350"/>
                  <a:pt x="3899" y="10349"/>
                  <a:pt x="3900" y="10347"/>
                </a:cubicBezTo>
                <a:lnTo>
                  <a:pt x="4057" y="10386"/>
                </a:lnTo>
                <a:cubicBezTo>
                  <a:pt x="4057" y="10388"/>
                  <a:pt x="4058" y="10390"/>
                  <a:pt x="4059" y="10393"/>
                </a:cubicBezTo>
                <a:cubicBezTo>
                  <a:pt x="4062" y="10408"/>
                  <a:pt x="4071" y="10413"/>
                  <a:pt x="4078" y="10406"/>
                </a:cubicBezTo>
                <a:cubicBezTo>
                  <a:pt x="4081" y="10403"/>
                  <a:pt x="4084" y="10398"/>
                  <a:pt x="4085" y="10393"/>
                </a:cubicBezTo>
                <a:lnTo>
                  <a:pt x="4264" y="10437"/>
                </a:lnTo>
                <a:cubicBezTo>
                  <a:pt x="4241" y="10495"/>
                  <a:pt x="4227" y="10581"/>
                  <a:pt x="4227" y="10675"/>
                </a:cubicBezTo>
                <a:cubicBezTo>
                  <a:pt x="4227" y="10687"/>
                  <a:pt x="4229" y="10698"/>
                  <a:pt x="4232" y="10706"/>
                </a:cubicBezTo>
                <a:cubicBezTo>
                  <a:pt x="4231" y="10712"/>
                  <a:pt x="4231" y="10717"/>
                  <a:pt x="4232" y="10723"/>
                </a:cubicBezTo>
                <a:lnTo>
                  <a:pt x="4236" y="10750"/>
                </a:lnTo>
                <a:cubicBezTo>
                  <a:pt x="4239" y="10767"/>
                  <a:pt x="4241" y="10779"/>
                  <a:pt x="4241" y="10794"/>
                </a:cubicBezTo>
                <a:cubicBezTo>
                  <a:pt x="4241" y="10835"/>
                  <a:pt x="4236" y="10860"/>
                  <a:pt x="4231" y="10889"/>
                </a:cubicBezTo>
                <a:cubicBezTo>
                  <a:pt x="4227" y="10910"/>
                  <a:pt x="4223" y="10931"/>
                  <a:pt x="4220" y="10958"/>
                </a:cubicBezTo>
                <a:cubicBezTo>
                  <a:pt x="4220" y="10960"/>
                  <a:pt x="4220" y="10962"/>
                  <a:pt x="4220" y="10964"/>
                </a:cubicBezTo>
                <a:lnTo>
                  <a:pt x="4220" y="11198"/>
                </a:lnTo>
                <a:cubicBezTo>
                  <a:pt x="4217" y="11236"/>
                  <a:pt x="4228" y="11269"/>
                  <a:pt x="4235" y="11289"/>
                </a:cubicBezTo>
                <a:cubicBezTo>
                  <a:pt x="4236" y="11294"/>
                  <a:pt x="4238" y="11297"/>
                  <a:pt x="4238" y="11299"/>
                </a:cubicBezTo>
                <a:cubicBezTo>
                  <a:pt x="4241" y="11311"/>
                  <a:pt x="4241" y="11322"/>
                  <a:pt x="4241" y="11336"/>
                </a:cubicBezTo>
                <a:cubicBezTo>
                  <a:pt x="4240" y="11348"/>
                  <a:pt x="4240" y="11362"/>
                  <a:pt x="4241" y="11378"/>
                </a:cubicBezTo>
                <a:cubicBezTo>
                  <a:pt x="4241" y="11381"/>
                  <a:pt x="4240" y="11383"/>
                  <a:pt x="4239" y="11386"/>
                </a:cubicBezTo>
                <a:cubicBezTo>
                  <a:pt x="4209" y="11405"/>
                  <a:pt x="4187" y="11459"/>
                  <a:pt x="4187" y="11526"/>
                </a:cubicBezTo>
                <a:cubicBezTo>
                  <a:pt x="4187" y="11556"/>
                  <a:pt x="4192" y="11582"/>
                  <a:pt x="4200" y="11605"/>
                </a:cubicBezTo>
                <a:cubicBezTo>
                  <a:pt x="4190" y="11660"/>
                  <a:pt x="4181" y="11715"/>
                  <a:pt x="4171" y="11770"/>
                </a:cubicBezTo>
                <a:cubicBezTo>
                  <a:pt x="4171" y="11771"/>
                  <a:pt x="4170" y="11772"/>
                  <a:pt x="4170" y="11773"/>
                </a:cubicBezTo>
                <a:cubicBezTo>
                  <a:pt x="4164" y="11807"/>
                  <a:pt x="4158" y="11840"/>
                  <a:pt x="4152" y="11873"/>
                </a:cubicBezTo>
                <a:cubicBezTo>
                  <a:pt x="4150" y="11884"/>
                  <a:pt x="4148" y="11893"/>
                  <a:pt x="4146" y="11904"/>
                </a:cubicBezTo>
                <a:cubicBezTo>
                  <a:pt x="4137" y="11892"/>
                  <a:pt x="4130" y="11884"/>
                  <a:pt x="4124" y="11878"/>
                </a:cubicBezTo>
                <a:cubicBezTo>
                  <a:pt x="4125" y="11865"/>
                  <a:pt x="4128" y="11854"/>
                  <a:pt x="4128" y="11841"/>
                </a:cubicBezTo>
                <a:cubicBezTo>
                  <a:pt x="4128" y="11709"/>
                  <a:pt x="4074" y="11602"/>
                  <a:pt x="4009" y="11602"/>
                </a:cubicBezTo>
                <a:cubicBezTo>
                  <a:pt x="3967" y="11602"/>
                  <a:pt x="3933" y="11646"/>
                  <a:pt x="3911" y="11710"/>
                </a:cubicBezTo>
                <a:cubicBezTo>
                  <a:pt x="3910" y="11708"/>
                  <a:pt x="3907" y="11707"/>
                  <a:pt x="3906" y="11704"/>
                </a:cubicBezTo>
                <a:cubicBezTo>
                  <a:pt x="3894" y="11679"/>
                  <a:pt x="3874" y="11660"/>
                  <a:pt x="3856" y="11641"/>
                </a:cubicBezTo>
                <a:cubicBezTo>
                  <a:pt x="3838" y="11624"/>
                  <a:pt x="3815" y="11600"/>
                  <a:pt x="3813" y="11582"/>
                </a:cubicBezTo>
                <a:cubicBezTo>
                  <a:pt x="3811" y="11568"/>
                  <a:pt x="3805" y="11559"/>
                  <a:pt x="3798" y="11559"/>
                </a:cubicBezTo>
                <a:cubicBezTo>
                  <a:pt x="3790" y="11559"/>
                  <a:pt x="3781" y="11530"/>
                  <a:pt x="3781" y="11504"/>
                </a:cubicBezTo>
                <a:cubicBezTo>
                  <a:pt x="3781" y="11488"/>
                  <a:pt x="3785" y="11476"/>
                  <a:pt x="3790" y="11460"/>
                </a:cubicBezTo>
                <a:cubicBezTo>
                  <a:pt x="3796" y="11439"/>
                  <a:pt x="3803" y="11416"/>
                  <a:pt x="3803" y="11385"/>
                </a:cubicBezTo>
                <a:cubicBezTo>
                  <a:pt x="3803" y="11340"/>
                  <a:pt x="3793" y="11315"/>
                  <a:pt x="3786" y="11297"/>
                </a:cubicBezTo>
                <a:cubicBezTo>
                  <a:pt x="3784" y="11290"/>
                  <a:pt x="3782" y="11284"/>
                  <a:pt x="3781" y="11278"/>
                </a:cubicBezTo>
                <a:cubicBezTo>
                  <a:pt x="3758" y="11139"/>
                  <a:pt x="3700" y="11026"/>
                  <a:pt x="3653" y="10936"/>
                </a:cubicBezTo>
                <a:cubicBezTo>
                  <a:pt x="3646" y="10922"/>
                  <a:pt x="3639" y="10908"/>
                  <a:pt x="3633" y="10895"/>
                </a:cubicBezTo>
                <a:cubicBezTo>
                  <a:pt x="3621" y="10871"/>
                  <a:pt x="3606" y="10855"/>
                  <a:pt x="3591" y="10839"/>
                </a:cubicBezTo>
                <a:cubicBezTo>
                  <a:pt x="3590" y="10838"/>
                  <a:pt x="3590" y="10837"/>
                  <a:pt x="3589" y="10836"/>
                </a:cubicBezTo>
                <a:cubicBezTo>
                  <a:pt x="3585" y="10787"/>
                  <a:pt x="3571" y="10746"/>
                  <a:pt x="3550" y="10724"/>
                </a:cubicBezTo>
                <a:cubicBezTo>
                  <a:pt x="3549" y="10709"/>
                  <a:pt x="3550" y="10696"/>
                  <a:pt x="3546" y="10678"/>
                </a:cubicBezTo>
                <a:cubicBezTo>
                  <a:pt x="3536" y="10639"/>
                  <a:pt x="3518" y="10615"/>
                  <a:pt x="3501" y="10595"/>
                </a:cubicBezTo>
                <a:cubicBezTo>
                  <a:pt x="3478" y="10565"/>
                  <a:pt x="3463" y="10545"/>
                  <a:pt x="3463" y="10505"/>
                </a:cubicBezTo>
                <a:cubicBezTo>
                  <a:pt x="3463" y="10491"/>
                  <a:pt x="3458" y="10479"/>
                  <a:pt x="3451" y="10476"/>
                </a:cubicBezTo>
                <a:cubicBezTo>
                  <a:pt x="3447" y="10474"/>
                  <a:pt x="3444" y="10471"/>
                  <a:pt x="3442" y="10470"/>
                </a:cubicBezTo>
                <a:cubicBezTo>
                  <a:pt x="3436" y="10467"/>
                  <a:pt x="3432" y="10466"/>
                  <a:pt x="3428" y="10467"/>
                </a:cubicBezTo>
                <a:cubicBezTo>
                  <a:pt x="3417" y="10445"/>
                  <a:pt x="3407" y="10424"/>
                  <a:pt x="3397" y="10403"/>
                </a:cubicBezTo>
                <a:cubicBezTo>
                  <a:pt x="3386" y="10380"/>
                  <a:pt x="3374" y="10357"/>
                  <a:pt x="3363" y="10335"/>
                </a:cubicBezTo>
                <a:cubicBezTo>
                  <a:pt x="3357" y="10321"/>
                  <a:pt x="3354" y="10299"/>
                  <a:pt x="3351" y="10275"/>
                </a:cubicBezTo>
                <a:cubicBezTo>
                  <a:pt x="3349" y="10253"/>
                  <a:pt x="3346" y="10230"/>
                  <a:pt x="3340" y="10209"/>
                </a:cubicBezTo>
                <a:close/>
                <a:moveTo>
                  <a:pt x="11295" y="10221"/>
                </a:moveTo>
                <a:cubicBezTo>
                  <a:pt x="11254" y="10221"/>
                  <a:pt x="11221" y="10288"/>
                  <a:pt x="11221" y="10370"/>
                </a:cubicBezTo>
                <a:cubicBezTo>
                  <a:pt x="11221" y="10451"/>
                  <a:pt x="11254" y="10518"/>
                  <a:pt x="11295" y="10518"/>
                </a:cubicBezTo>
                <a:cubicBezTo>
                  <a:pt x="11335" y="10518"/>
                  <a:pt x="11369" y="10451"/>
                  <a:pt x="11369" y="10370"/>
                </a:cubicBezTo>
                <a:cubicBezTo>
                  <a:pt x="11369" y="10288"/>
                  <a:pt x="11335" y="10221"/>
                  <a:pt x="11295" y="10221"/>
                </a:cubicBezTo>
                <a:close/>
                <a:moveTo>
                  <a:pt x="11051" y="10296"/>
                </a:moveTo>
                <a:cubicBezTo>
                  <a:pt x="11032" y="10296"/>
                  <a:pt x="11016" y="10327"/>
                  <a:pt x="11016" y="10365"/>
                </a:cubicBezTo>
                <a:cubicBezTo>
                  <a:pt x="11016" y="10403"/>
                  <a:pt x="11032" y="10432"/>
                  <a:pt x="11051" y="10432"/>
                </a:cubicBezTo>
                <a:cubicBezTo>
                  <a:pt x="11069" y="10432"/>
                  <a:pt x="11084" y="10403"/>
                  <a:pt x="11084" y="10365"/>
                </a:cubicBezTo>
                <a:cubicBezTo>
                  <a:pt x="11084" y="10327"/>
                  <a:pt x="11069" y="10296"/>
                  <a:pt x="11051" y="10296"/>
                </a:cubicBezTo>
                <a:close/>
                <a:moveTo>
                  <a:pt x="16428" y="10333"/>
                </a:moveTo>
                <a:cubicBezTo>
                  <a:pt x="16409" y="10333"/>
                  <a:pt x="16394" y="10364"/>
                  <a:pt x="16394" y="10402"/>
                </a:cubicBezTo>
                <a:cubicBezTo>
                  <a:pt x="16394" y="10440"/>
                  <a:pt x="16409" y="10470"/>
                  <a:pt x="16428" y="10470"/>
                </a:cubicBezTo>
                <a:cubicBezTo>
                  <a:pt x="16447" y="10470"/>
                  <a:pt x="16462" y="10440"/>
                  <a:pt x="16462" y="10402"/>
                </a:cubicBezTo>
                <a:cubicBezTo>
                  <a:pt x="16462" y="10364"/>
                  <a:pt x="16447" y="10333"/>
                  <a:pt x="16428" y="10333"/>
                </a:cubicBezTo>
                <a:close/>
                <a:moveTo>
                  <a:pt x="10220" y="10345"/>
                </a:moveTo>
                <a:cubicBezTo>
                  <a:pt x="10227" y="10443"/>
                  <a:pt x="10262" y="10518"/>
                  <a:pt x="10310" y="10540"/>
                </a:cubicBezTo>
                <a:cubicBezTo>
                  <a:pt x="10310" y="10682"/>
                  <a:pt x="10310" y="10832"/>
                  <a:pt x="10310" y="11119"/>
                </a:cubicBezTo>
                <a:cubicBezTo>
                  <a:pt x="10309" y="11119"/>
                  <a:pt x="10308" y="11117"/>
                  <a:pt x="10307" y="11117"/>
                </a:cubicBezTo>
                <a:cubicBezTo>
                  <a:pt x="10287" y="11117"/>
                  <a:pt x="10272" y="11148"/>
                  <a:pt x="10272" y="11187"/>
                </a:cubicBezTo>
                <a:cubicBezTo>
                  <a:pt x="10272" y="11226"/>
                  <a:pt x="10287" y="11258"/>
                  <a:pt x="10307" y="11258"/>
                </a:cubicBezTo>
                <a:cubicBezTo>
                  <a:pt x="10308" y="11258"/>
                  <a:pt x="10309" y="11256"/>
                  <a:pt x="10310" y="11256"/>
                </a:cubicBezTo>
                <a:cubicBezTo>
                  <a:pt x="10310" y="11661"/>
                  <a:pt x="10310" y="12026"/>
                  <a:pt x="10310" y="12070"/>
                </a:cubicBezTo>
                <a:cubicBezTo>
                  <a:pt x="10287" y="12096"/>
                  <a:pt x="10272" y="12142"/>
                  <a:pt x="10272" y="12197"/>
                </a:cubicBezTo>
                <a:cubicBezTo>
                  <a:pt x="10272" y="12253"/>
                  <a:pt x="10287" y="12299"/>
                  <a:pt x="10310" y="12325"/>
                </a:cubicBezTo>
                <a:lnTo>
                  <a:pt x="10310" y="12844"/>
                </a:lnTo>
                <a:cubicBezTo>
                  <a:pt x="10310" y="12845"/>
                  <a:pt x="10309" y="12846"/>
                  <a:pt x="10309" y="12847"/>
                </a:cubicBezTo>
                <a:cubicBezTo>
                  <a:pt x="10309" y="12848"/>
                  <a:pt x="10310" y="12848"/>
                  <a:pt x="10310" y="12849"/>
                </a:cubicBezTo>
                <a:lnTo>
                  <a:pt x="10310" y="13057"/>
                </a:lnTo>
                <a:cubicBezTo>
                  <a:pt x="10309" y="13057"/>
                  <a:pt x="10309" y="13057"/>
                  <a:pt x="10309" y="13057"/>
                </a:cubicBezTo>
                <a:cubicBezTo>
                  <a:pt x="10275" y="13057"/>
                  <a:pt x="10248" y="13102"/>
                  <a:pt x="10239" y="13163"/>
                </a:cubicBezTo>
                <a:cubicBezTo>
                  <a:pt x="10202" y="13181"/>
                  <a:pt x="10168" y="13204"/>
                  <a:pt x="10135" y="13230"/>
                </a:cubicBezTo>
                <a:lnTo>
                  <a:pt x="9999" y="12738"/>
                </a:lnTo>
                <a:cubicBezTo>
                  <a:pt x="10012" y="12730"/>
                  <a:pt x="10024" y="12709"/>
                  <a:pt x="10024" y="12678"/>
                </a:cubicBezTo>
                <a:cubicBezTo>
                  <a:pt x="10024" y="12640"/>
                  <a:pt x="10009" y="12609"/>
                  <a:pt x="9990" y="12609"/>
                </a:cubicBezTo>
                <a:cubicBezTo>
                  <a:pt x="9981" y="12609"/>
                  <a:pt x="9974" y="12617"/>
                  <a:pt x="9968" y="12628"/>
                </a:cubicBezTo>
                <a:lnTo>
                  <a:pt x="9514" y="10994"/>
                </a:lnTo>
                <a:cubicBezTo>
                  <a:pt x="9514" y="10993"/>
                  <a:pt x="9514" y="10993"/>
                  <a:pt x="9514" y="10992"/>
                </a:cubicBezTo>
                <a:cubicBezTo>
                  <a:pt x="9514" y="10959"/>
                  <a:pt x="9505" y="10934"/>
                  <a:pt x="9493" y="10916"/>
                </a:cubicBezTo>
                <a:lnTo>
                  <a:pt x="9757" y="10709"/>
                </a:lnTo>
                <a:cubicBezTo>
                  <a:pt x="9754" y="10718"/>
                  <a:pt x="9751" y="10727"/>
                  <a:pt x="9751" y="10738"/>
                </a:cubicBezTo>
                <a:cubicBezTo>
                  <a:pt x="9751" y="10776"/>
                  <a:pt x="9766" y="10806"/>
                  <a:pt x="9785" y="10806"/>
                </a:cubicBezTo>
                <a:cubicBezTo>
                  <a:pt x="9804" y="10806"/>
                  <a:pt x="9819" y="10776"/>
                  <a:pt x="9819" y="10738"/>
                </a:cubicBezTo>
                <a:cubicBezTo>
                  <a:pt x="9819" y="10708"/>
                  <a:pt x="9809" y="10687"/>
                  <a:pt x="9796" y="10677"/>
                </a:cubicBezTo>
                <a:lnTo>
                  <a:pt x="9882" y="10610"/>
                </a:lnTo>
                <a:lnTo>
                  <a:pt x="9976" y="10536"/>
                </a:lnTo>
                <a:cubicBezTo>
                  <a:pt x="9987" y="10547"/>
                  <a:pt x="9998" y="10555"/>
                  <a:pt x="10011" y="10555"/>
                </a:cubicBezTo>
                <a:cubicBezTo>
                  <a:pt x="10043" y="10555"/>
                  <a:pt x="10070" y="10512"/>
                  <a:pt x="10080" y="10455"/>
                </a:cubicBezTo>
                <a:lnTo>
                  <a:pt x="10220" y="10345"/>
                </a:lnTo>
                <a:close/>
                <a:moveTo>
                  <a:pt x="10526" y="10371"/>
                </a:moveTo>
                <a:cubicBezTo>
                  <a:pt x="10499" y="10371"/>
                  <a:pt x="10477" y="10415"/>
                  <a:pt x="10477" y="10470"/>
                </a:cubicBezTo>
                <a:cubicBezTo>
                  <a:pt x="10477" y="10524"/>
                  <a:pt x="10499" y="10568"/>
                  <a:pt x="10526" y="10568"/>
                </a:cubicBezTo>
                <a:cubicBezTo>
                  <a:pt x="10553" y="10568"/>
                  <a:pt x="10575" y="10524"/>
                  <a:pt x="10575" y="10470"/>
                </a:cubicBezTo>
                <a:cubicBezTo>
                  <a:pt x="10575" y="10415"/>
                  <a:pt x="10553" y="10371"/>
                  <a:pt x="10526" y="10371"/>
                </a:cubicBezTo>
                <a:close/>
                <a:moveTo>
                  <a:pt x="12316" y="10371"/>
                </a:moveTo>
                <a:cubicBezTo>
                  <a:pt x="12297" y="10371"/>
                  <a:pt x="12282" y="10402"/>
                  <a:pt x="12282" y="10439"/>
                </a:cubicBezTo>
                <a:cubicBezTo>
                  <a:pt x="12282" y="10477"/>
                  <a:pt x="12297" y="10507"/>
                  <a:pt x="12316" y="10507"/>
                </a:cubicBezTo>
                <a:cubicBezTo>
                  <a:pt x="12335" y="10507"/>
                  <a:pt x="12350" y="10477"/>
                  <a:pt x="12350" y="10439"/>
                </a:cubicBezTo>
                <a:cubicBezTo>
                  <a:pt x="12350" y="10402"/>
                  <a:pt x="12335" y="10371"/>
                  <a:pt x="12316" y="10371"/>
                </a:cubicBezTo>
                <a:close/>
                <a:moveTo>
                  <a:pt x="12560" y="10371"/>
                </a:moveTo>
                <a:cubicBezTo>
                  <a:pt x="12519" y="10371"/>
                  <a:pt x="12486" y="10437"/>
                  <a:pt x="12486" y="10519"/>
                </a:cubicBezTo>
                <a:cubicBezTo>
                  <a:pt x="12486" y="10600"/>
                  <a:pt x="12519" y="10667"/>
                  <a:pt x="12560" y="10667"/>
                </a:cubicBezTo>
                <a:cubicBezTo>
                  <a:pt x="12601" y="10667"/>
                  <a:pt x="12634" y="10600"/>
                  <a:pt x="12634" y="10519"/>
                </a:cubicBezTo>
                <a:cubicBezTo>
                  <a:pt x="12634" y="10437"/>
                  <a:pt x="12601" y="10371"/>
                  <a:pt x="12560" y="10371"/>
                </a:cubicBezTo>
                <a:close/>
                <a:moveTo>
                  <a:pt x="17310" y="10371"/>
                </a:moveTo>
                <a:cubicBezTo>
                  <a:pt x="17297" y="10371"/>
                  <a:pt x="17287" y="10391"/>
                  <a:pt x="17287" y="10417"/>
                </a:cubicBezTo>
                <a:cubicBezTo>
                  <a:pt x="17287" y="10443"/>
                  <a:pt x="17297" y="10464"/>
                  <a:pt x="17310" y="10464"/>
                </a:cubicBezTo>
                <a:cubicBezTo>
                  <a:pt x="17323" y="10464"/>
                  <a:pt x="17334" y="10443"/>
                  <a:pt x="17334" y="10417"/>
                </a:cubicBezTo>
                <a:cubicBezTo>
                  <a:pt x="17334" y="10391"/>
                  <a:pt x="17323" y="10371"/>
                  <a:pt x="17310" y="10371"/>
                </a:cubicBezTo>
                <a:close/>
                <a:moveTo>
                  <a:pt x="12119" y="10411"/>
                </a:moveTo>
                <a:cubicBezTo>
                  <a:pt x="12134" y="10451"/>
                  <a:pt x="12151" y="10480"/>
                  <a:pt x="12171" y="10486"/>
                </a:cubicBezTo>
                <a:cubicBezTo>
                  <a:pt x="12178" y="10488"/>
                  <a:pt x="12185" y="10480"/>
                  <a:pt x="12187" y="10466"/>
                </a:cubicBezTo>
                <a:cubicBezTo>
                  <a:pt x="12189" y="10456"/>
                  <a:pt x="12192" y="10440"/>
                  <a:pt x="12195" y="10422"/>
                </a:cubicBezTo>
                <a:cubicBezTo>
                  <a:pt x="12199" y="10432"/>
                  <a:pt x="12205" y="10446"/>
                  <a:pt x="12211" y="10463"/>
                </a:cubicBezTo>
                <a:cubicBezTo>
                  <a:pt x="12217" y="10477"/>
                  <a:pt x="12222" y="10491"/>
                  <a:pt x="12225" y="10498"/>
                </a:cubicBezTo>
                <a:cubicBezTo>
                  <a:pt x="12242" y="10551"/>
                  <a:pt x="12257" y="10599"/>
                  <a:pt x="12275" y="10652"/>
                </a:cubicBezTo>
                <a:lnTo>
                  <a:pt x="12294" y="10711"/>
                </a:lnTo>
                <a:cubicBezTo>
                  <a:pt x="12296" y="10717"/>
                  <a:pt x="12298" y="10723"/>
                  <a:pt x="12301" y="10730"/>
                </a:cubicBezTo>
                <a:cubicBezTo>
                  <a:pt x="12309" y="10752"/>
                  <a:pt x="12318" y="10776"/>
                  <a:pt x="12322" y="10807"/>
                </a:cubicBezTo>
                <a:cubicBezTo>
                  <a:pt x="12323" y="10812"/>
                  <a:pt x="12324" y="10826"/>
                  <a:pt x="12324" y="10837"/>
                </a:cubicBezTo>
                <a:cubicBezTo>
                  <a:pt x="12325" y="10869"/>
                  <a:pt x="12326" y="10909"/>
                  <a:pt x="12339" y="10934"/>
                </a:cubicBezTo>
                <a:cubicBezTo>
                  <a:pt x="12345" y="10947"/>
                  <a:pt x="12355" y="10948"/>
                  <a:pt x="12366" y="10950"/>
                </a:cubicBezTo>
                <a:cubicBezTo>
                  <a:pt x="12370" y="10951"/>
                  <a:pt x="12379" y="10952"/>
                  <a:pt x="12381" y="10954"/>
                </a:cubicBezTo>
                <a:cubicBezTo>
                  <a:pt x="12383" y="10957"/>
                  <a:pt x="12384" y="10961"/>
                  <a:pt x="12387" y="10966"/>
                </a:cubicBezTo>
                <a:cubicBezTo>
                  <a:pt x="12392" y="10978"/>
                  <a:pt x="12399" y="10993"/>
                  <a:pt x="12406" y="11005"/>
                </a:cubicBezTo>
                <a:cubicBezTo>
                  <a:pt x="12410" y="11038"/>
                  <a:pt x="12418" y="11062"/>
                  <a:pt x="12424" y="11084"/>
                </a:cubicBezTo>
                <a:cubicBezTo>
                  <a:pt x="12433" y="11114"/>
                  <a:pt x="12440" y="11140"/>
                  <a:pt x="12440" y="11188"/>
                </a:cubicBezTo>
                <a:cubicBezTo>
                  <a:pt x="12440" y="11344"/>
                  <a:pt x="12456" y="11451"/>
                  <a:pt x="12533" y="11494"/>
                </a:cubicBezTo>
                <a:cubicBezTo>
                  <a:pt x="12540" y="11609"/>
                  <a:pt x="12599" y="11749"/>
                  <a:pt x="12621" y="11792"/>
                </a:cubicBezTo>
                <a:cubicBezTo>
                  <a:pt x="12621" y="11792"/>
                  <a:pt x="12621" y="11792"/>
                  <a:pt x="12621" y="11792"/>
                </a:cubicBezTo>
                <a:cubicBezTo>
                  <a:pt x="12626" y="11801"/>
                  <a:pt x="12630" y="11809"/>
                  <a:pt x="12635" y="11817"/>
                </a:cubicBezTo>
                <a:cubicBezTo>
                  <a:pt x="12658" y="11858"/>
                  <a:pt x="12672" y="11886"/>
                  <a:pt x="12665" y="11942"/>
                </a:cubicBezTo>
                <a:cubicBezTo>
                  <a:pt x="12665" y="11948"/>
                  <a:pt x="12664" y="11956"/>
                  <a:pt x="12662" y="11964"/>
                </a:cubicBezTo>
                <a:cubicBezTo>
                  <a:pt x="12657" y="12004"/>
                  <a:pt x="12650" y="12049"/>
                  <a:pt x="12661" y="12079"/>
                </a:cubicBezTo>
                <a:cubicBezTo>
                  <a:pt x="12662" y="12083"/>
                  <a:pt x="12665" y="12088"/>
                  <a:pt x="12668" y="12093"/>
                </a:cubicBezTo>
                <a:cubicBezTo>
                  <a:pt x="12670" y="12163"/>
                  <a:pt x="12682" y="12231"/>
                  <a:pt x="12707" y="12306"/>
                </a:cubicBezTo>
                <a:cubicBezTo>
                  <a:pt x="12709" y="12310"/>
                  <a:pt x="12709" y="12313"/>
                  <a:pt x="12710" y="12315"/>
                </a:cubicBezTo>
                <a:cubicBezTo>
                  <a:pt x="12707" y="12321"/>
                  <a:pt x="12706" y="12326"/>
                  <a:pt x="12706" y="12333"/>
                </a:cubicBezTo>
                <a:cubicBezTo>
                  <a:pt x="12670" y="12330"/>
                  <a:pt x="12650" y="12266"/>
                  <a:pt x="12630" y="12202"/>
                </a:cubicBezTo>
                <a:cubicBezTo>
                  <a:pt x="12620" y="12168"/>
                  <a:pt x="12610" y="12133"/>
                  <a:pt x="12596" y="12111"/>
                </a:cubicBezTo>
                <a:cubicBezTo>
                  <a:pt x="12580" y="12088"/>
                  <a:pt x="12566" y="12074"/>
                  <a:pt x="12554" y="12061"/>
                </a:cubicBezTo>
                <a:cubicBezTo>
                  <a:pt x="12536" y="12042"/>
                  <a:pt x="12521" y="12026"/>
                  <a:pt x="12502" y="11988"/>
                </a:cubicBezTo>
                <a:cubicBezTo>
                  <a:pt x="12486" y="11956"/>
                  <a:pt x="12483" y="11914"/>
                  <a:pt x="12479" y="11866"/>
                </a:cubicBezTo>
                <a:cubicBezTo>
                  <a:pt x="12475" y="11815"/>
                  <a:pt x="12471" y="11758"/>
                  <a:pt x="12450" y="11702"/>
                </a:cubicBezTo>
                <a:cubicBezTo>
                  <a:pt x="12436" y="11663"/>
                  <a:pt x="12419" y="11640"/>
                  <a:pt x="12404" y="11619"/>
                </a:cubicBezTo>
                <a:cubicBezTo>
                  <a:pt x="12385" y="11593"/>
                  <a:pt x="12369" y="11569"/>
                  <a:pt x="12358" y="11514"/>
                </a:cubicBezTo>
                <a:lnTo>
                  <a:pt x="12358" y="11442"/>
                </a:lnTo>
                <a:cubicBezTo>
                  <a:pt x="12388" y="11424"/>
                  <a:pt x="12411" y="11369"/>
                  <a:pt x="12411" y="11302"/>
                </a:cubicBezTo>
                <a:cubicBezTo>
                  <a:pt x="12411" y="11220"/>
                  <a:pt x="12378" y="11154"/>
                  <a:pt x="12337" y="11154"/>
                </a:cubicBezTo>
                <a:cubicBezTo>
                  <a:pt x="12328" y="11154"/>
                  <a:pt x="12319" y="11158"/>
                  <a:pt x="12311" y="11165"/>
                </a:cubicBezTo>
                <a:cubicBezTo>
                  <a:pt x="12288" y="11095"/>
                  <a:pt x="12268" y="11019"/>
                  <a:pt x="12273" y="10975"/>
                </a:cubicBezTo>
                <a:cubicBezTo>
                  <a:pt x="12274" y="10967"/>
                  <a:pt x="12273" y="10959"/>
                  <a:pt x="12271" y="10952"/>
                </a:cubicBezTo>
                <a:lnTo>
                  <a:pt x="12119" y="10411"/>
                </a:lnTo>
                <a:close/>
                <a:moveTo>
                  <a:pt x="5255" y="10473"/>
                </a:moveTo>
                <a:cubicBezTo>
                  <a:pt x="5255" y="10477"/>
                  <a:pt x="5255" y="10480"/>
                  <a:pt x="5255" y="10484"/>
                </a:cubicBezTo>
                <a:lnTo>
                  <a:pt x="5255" y="10505"/>
                </a:lnTo>
                <a:cubicBezTo>
                  <a:pt x="5255" y="10507"/>
                  <a:pt x="5255" y="10509"/>
                  <a:pt x="5255" y="10512"/>
                </a:cubicBezTo>
                <a:cubicBezTo>
                  <a:pt x="5258" y="10532"/>
                  <a:pt x="5262" y="10551"/>
                  <a:pt x="5266" y="10569"/>
                </a:cubicBezTo>
                <a:cubicBezTo>
                  <a:pt x="5274" y="10601"/>
                  <a:pt x="5280" y="10631"/>
                  <a:pt x="5280" y="10675"/>
                </a:cubicBezTo>
                <a:cubicBezTo>
                  <a:pt x="5280" y="10739"/>
                  <a:pt x="5275" y="10815"/>
                  <a:pt x="5249" y="10815"/>
                </a:cubicBezTo>
                <a:cubicBezTo>
                  <a:pt x="5239" y="10815"/>
                  <a:pt x="5236" y="10805"/>
                  <a:pt x="5229" y="10768"/>
                </a:cubicBezTo>
                <a:cubicBezTo>
                  <a:pt x="5226" y="10752"/>
                  <a:pt x="5223" y="10737"/>
                  <a:pt x="5218" y="10720"/>
                </a:cubicBezTo>
                <a:cubicBezTo>
                  <a:pt x="5207" y="10691"/>
                  <a:pt x="5197" y="10670"/>
                  <a:pt x="5188" y="10652"/>
                </a:cubicBezTo>
                <a:cubicBezTo>
                  <a:pt x="5175" y="10625"/>
                  <a:pt x="5165" y="10604"/>
                  <a:pt x="5156" y="10568"/>
                </a:cubicBezTo>
                <a:cubicBezTo>
                  <a:pt x="5149" y="10541"/>
                  <a:pt x="5145" y="10508"/>
                  <a:pt x="5142" y="10474"/>
                </a:cubicBezTo>
                <a:lnTo>
                  <a:pt x="5197" y="10474"/>
                </a:lnTo>
                <a:cubicBezTo>
                  <a:pt x="5197" y="10474"/>
                  <a:pt x="5255" y="10473"/>
                  <a:pt x="5255" y="10473"/>
                </a:cubicBezTo>
                <a:close/>
                <a:moveTo>
                  <a:pt x="9410" y="10474"/>
                </a:moveTo>
                <a:lnTo>
                  <a:pt x="9451" y="10864"/>
                </a:lnTo>
                <a:lnTo>
                  <a:pt x="9261" y="10794"/>
                </a:lnTo>
                <a:cubicBezTo>
                  <a:pt x="9285" y="10704"/>
                  <a:pt x="9313" y="10615"/>
                  <a:pt x="9337" y="10547"/>
                </a:cubicBezTo>
                <a:cubicBezTo>
                  <a:pt x="9353" y="10504"/>
                  <a:pt x="9378" y="10491"/>
                  <a:pt x="9405" y="10477"/>
                </a:cubicBezTo>
                <a:cubicBezTo>
                  <a:pt x="9406" y="10476"/>
                  <a:pt x="9408" y="10475"/>
                  <a:pt x="9410" y="10474"/>
                </a:cubicBezTo>
                <a:close/>
                <a:moveTo>
                  <a:pt x="15378" y="10477"/>
                </a:moveTo>
                <a:lnTo>
                  <a:pt x="15558" y="10479"/>
                </a:lnTo>
                <a:cubicBezTo>
                  <a:pt x="15561" y="10528"/>
                  <a:pt x="15581" y="10568"/>
                  <a:pt x="15606" y="10568"/>
                </a:cubicBezTo>
                <a:cubicBezTo>
                  <a:pt x="15631" y="10568"/>
                  <a:pt x="15650" y="10529"/>
                  <a:pt x="15652" y="10480"/>
                </a:cubicBezTo>
                <a:lnTo>
                  <a:pt x="15746" y="10481"/>
                </a:lnTo>
                <a:cubicBezTo>
                  <a:pt x="15753" y="10575"/>
                  <a:pt x="15791" y="10647"/>
                  <a:pt x="15840" y="10647"/>
                </a:cubicBezTo>
                <a:cubicBezTo>
                  <a:pt x="15863" y="10647"/>
                  <a:pt x="15884" y="10627"/>
                  <a:pt x="15901" y="10599"/>
                </a:cubicBezTo>
                <a:lnTo>
                  <a:pt x="16010" y="10782"/>
                </a:lnTo>
                <a:cubicBezTo>
                  <a:pt x="16004" y="10813"/>
                  <a:pt x="16001" y="10845"/>
                  <a:pt x="16001" y="10881"/>
                </a:cubicBezTo>
                <a:cubicBezTo>
                  <a:pt x="16001" y="10898"/>
                  <a:pt x="16007" y="10912"/>
                  <a:pt x="16015" y="10912"/>
                </a:cubicBezTo>
                <a:cubicBezTo>
                  <a:pt x="16024" y="10912"/>
                  <a:pt x="16030" y="10898"/>
                  <a:pt x="16030" y="10881"/>
                </a:cubicBezTo>
                <a:cubicBezTo>
                  <a:pt x="16030" y="10860"/>
                  <a:pt x="16032" y="10842"/>
                  <a:pt x="16034" y="10824"/>
                </a:cubicBezTo>
                <a:lnTo>
                  <a:pt x="16158" y="11035"/>
                </a:lnTo>
                <a:cubicBezTo>
                  <a:pt x="16155" y="11051"/>
                  <a:pt x="16152" y="11068"/>
                  <a:pt x="16152" y="11086"/>
                </a:cubicBezTo>
                <a:cubicBezTo>
                  <a:pt x="16152" y="11118"/>
                  <a:pt x="16158" y="11147"/>
                  <a:pt x="16168" y="11168"/>
                </a:cubicBezTo>
                <a:cubicBezTo>
                  <a:pt x="16146" y="11161"/>
                  <a:pt x="16131" y="11121"/>
                  <a:pt x="16125" y="11081"/>
                </a:cubicBezTo>
                <a:cubicBezTo>
                  <a:pt x="16123" y="11065"/>
                  <a:pt x="16115" y="11056"/>
                  <a:pt x="16107" y="11061"/>
                </a:cubicBezTo>
                <a:cubicBezTo>
                  <a:pt x="16099" y="11066"/>
                  <a:pt x="16094" y="11082"/>
                  <a:pt x="16097" y="11098"/>
                </a:cubicBezTo>
                <a:cubicBezTo>
                  <a:pt x="16109" y="11182"/>
                  <a:pt x="16139" y="11233"/>
                  <a:pt x="16174" y="11233"/>
                </a:cubicBezTo>
                <a:cubicBezTo>
                  <a:pt x="16175" y="11233"/>
                  <a:pt x="16175" y="11233"/>
                  <a:pt x="16176" y="11233"/>
                </a:cubicBezTo>
                <a:cubicBezTo>
                  <a:pt x="16175" y="11237"/>
                  <a:pt x="16175" y="11242"/>
                  <a:pt x="16175" y="11246"/>
                </a:cubicBezTo>
                <a:cubicBezTo>
                  <a:pt x="16175" y="11255"/>
                  <a:pt x="16176" y="11264"/>
                  <a:pt x="16180" y="11269"/>
                </a:cubicBezTo>
                <a:cubicBezTo>
                  <a:pt x="16183" y="11274"/>
                  <a:pt x="16186" y="11275"/>
                  <a:pt x="16189" y="11275"/>
                </a:cubicBezTo>
                <a:cubicBezTo>
                  <a:pt x="16194" y="11275"/>
                  <a:pt x="16198" y="11272"/>
                  <a:pt x="16201" y="11265"/>
                </a:cubicBezTo>
                <a:cubicBezTo>
                  <a:pt x="16205" y="11256"/>
                  <a:pt x="16208" y="11248"/>
                  <a:pt x="16211" y="11239"/>
                </a:cubicBezTo>
                <a:cubicBezTo>
                  <a:pt x="16212" y="11244"/>
                  <a:pt x="16213" y="11248"/>
                  <a:pt x="16215" y="11252"/>
                </a:cubicBezTo>
                <a:cubicBezTo>
                  <a:pt x="16220" y="11265"/>
                  <a:pt x="16229" y="11266"/>
                  <a:pt x="16236" y="11256"/>
                </a:cubicBezTo>
                <a:cubicBezTo>
                  <a:pt x="16242" y="11245"/>
                  <a:pt x="16243" y="11226"/>
                  <a:pt x="16238" y="11214"/>
                </a:cubicBezTo>
                <a:cubicBezTo>
                  <a:pt x="16237" y="11210"/>
                  <a:pt x="16236" y="11203"/>
                  <a:pt x="16236" y="11195"/>
                </a:cubicBezTo>
                <a:cubicBezTo>
                  <a:pt x="16236" y="11194"/>
                  <a:pt x="16235" y="11194"/>
                  <a:pt x="16235" y="11194"/>
                </a:cubicBezTo>
                <a:cubicBezTo>
                  <a:pt x="16239" y="11190"/>
                  <a:pt x="16242" y="11186"/>
                  <a:pt x="16245" y="11181"/>
                </a:cubicBezTo>
                <a:lnTo>
                  <a:pt x="16462" y="11548"/>
                </a:lnTo>
                <a:cubicBezTo>
                  <a:pt x="16445" y="11567"/>
                  <a:pt x="16431" y="11596"/>
                  <a:pt x="16431" y="11638"/>
                </a:cubicBezTo>
                <a:cubicBezTo>
                  <a:pt x="16431" y="11699"/>
                  <a:pt x="16456" y="11749"/>
                  <a:pt x="16486" y="11749"/>
                </a:cubicBezTo>
                <a:cubicBezTo>
                  <a:pt x="16498" y="11749"/>
                  <a:pt x="16507" y="11735"/>
                  <a:pt x="16516" y="11723"/>
                </a:cubicBezTo>
                <a:cubicBezTo>
                  <a:pt x="16523" y="11740"/>
                  <a:pt x="16530" y="11756"/>
                  <a:pt x="16536" y="11773"/>
                </a:cubicBezTo>
                <a:cubicBezTo>
                  <a:pt x="16559" y="11834"/>
                  <a:pt x="16580" y="11892"/>
                  <a:pt x="16614" y="11935"/>
                </a:cubicBezTo>
                <a:cubicBezTo>
                  <a:pt x="16632" y="11959"/>
                  <a:pt x="16648" y="12008"/>
                  <a:pt x="16661" y="12065"/>
                </a:cubicBezTo>
                <a:cubicBezTo>
                  <a:pt x="16654" y="12072"/>
                  <a:pt x="16649" y="12079"/>
                  <a:pt x="16645" y="12093"/>
                </a:cubicBezTo>
                <a:lnTo>
                  <a:pt x="16453" y="11943"/>
                </a:lnTo>
                <a:cubicBezTo>
                  <a:pt x="16443" y="11918"/>
                  <a:pt x="16429" y="11900"/>
                  <a:pt x="16412" y="11900"/>
                </a:cubicBezTo>
                <a:cubicBezTo>
                  <a:pt x="16409" y="11900"/>
                  <a:pt x="16408" y="11905"/>
                  <a:pt x="16405" y="11906"/>
                </a:cubicBezTo>
                <a:lnTo>
                  <a:pt x="16253" y="11787"/>
                </a:lnTo>
                <a:lnTo>
                  <a:pt x="16124" y="11688"/>
                </a:lnTo>
                <a:lnTo>
                  <a:pt x="16019" y="11606"/>
                </a:lnTo>
                <a:cubicBezTo>
                  <a:pt x="16021" y="11578"/>
                  <a:pt x="16025" y="11553"/>
                  <a:pt x="16031" y="11531"/>
                </a:cubicBezTo>
                <a:cubicBezTo>
                  <a:pt x="16032" y="11529"/>
                  <a:pt x="16032" y="11527"/>
                  <a:pt x="16033" y="11525"/>
                </a:cubicBezTo>
                <a:cubicBezTo>
                  <a:pt x="16034" y="11520"/>
                  <a:pt x="16035" y="11515"/>
                  <a:pt x="16035" y="11510"/>
                </a:cubicBezTo>
                <a:cubicBezTo>
                  <a:pt x="16035" y="11499"/>
                  <a:pt x="16032" y="11490"/>
                  <a:pt x="16028" y="11484"/>
                </a:cubicBezTo>
                <a:cubicBezTo>
                  <a:pt x="16020" y="11476"/>
                  <a:pt x="16011" y="11480"/>
                  <a:pt x="16007" y="11494"/>
                </a:cubicBezTo>
                <a:cubicBezTo>
                  <a:pt x="16007" y="11497"/>
                  <a:pt x="16006" y="11498"/>
                  <a:pt x="16005" y="11500"/>
                </a:cubicBezTo>
                <a:cubicBezTo>
                  <a:pt x="15999" y="11525"/>
                  <a:pt x="15994" y="11554"/>
                  <a:pt x="15991" y="11584"/>
                </a:cubicBezTo>
                <a:lnTo>
                  <a:pt x="15847" y="11472"/>
                </a:lnTo>
                <a:cubicBezTo>
                  <a:pt x="15851" y="11454"/>
                  <a:pt x="15853" y="11435"/>
                  <a:pt x="15853" y="11414"/>
                </a:cubicBezTo>
                <a:cubicBezTo>
                  <a:pt x="15853" y="11332"/>
                  <a:pt x="15820" y="11266"/>
                  <a:pt x="15779" y="11266"/>
                </a:cubicBezTo>
                <a:cubicBezTo>
                  <a:pt x="15747" y="11266"/>
                  <a:pt x="15720" y="11308"/>
                  <a:pt x="15710" y="11365"/>
                </a:cubicBezTo>
                <a:lnTo>
                  <a:pt x="15687" y="11348"/>
                </a:lnTo>
                <a:cubicBezTo>
                  <a:pt x="15685" y="11342"/>
                  <a:pt x="15683" y="11336"/>
                  <a:pt x="15680" y="11329"/>
                </a:cubicBezTo>
                <a:cubicBezTo>
                  <a:pt x="15672" y="11303"/>
                  <a:pt x="15670" y="11270"/>
                  <a:pt x="15668" y="11236"/>
                </a:cubicBezTo>
                <a:cubicBezTo>
                  <a:pt x="15666" y="11212"/>
                  <a:pt x="15665" y="11188"/>
                  <a:pt x="15661" y="11167"/>
                </a:cubicBezTo>
                <a:cubicBezTo>
                  <a:pt x="15660" y="11159"/>
                  <a:pt x="15656" y="11155"/>
                  <a:pt x="15654" y="11148"/>
                </a:cubicBezTo>
                <a:cubicBezTo>
                  <a:pt x="15658" y="11137"/>
                  <a:pt x="15662" y="11126"/>
                  <a:pt x="15662" y="11111"/>
                </a:cubicBezTo>
                <a:cubicBezTo>
                  <a:pt x="15662" y="11073"/>
                  <a:pt x="15647" y="11042"/>
                  <a:pt x="15628" y="11042"/>
                </a:cubicBezTo>
                <a:cubicBezTo>
                  <a:pt x="15617" y="11042"/>
                  <a:pt x="15608" y="11054"/>
                  <a:pt x="15602" y="11070"/>
                </a:cubicBezTo>
                <a:cubicBezTo>
                  <a:pt x="15592" y="11063"/>
                  <a:pt x="15585" y="11053"/>
                  <a:pt x="15573" y="11048"/>
                </a:cubicBezTo>
                <a:cubicBezTo>
                  <a:pt x="15569" y="11046"/>
                  <a:pt x="15564" y="11048"/>
                  <a:pt x="15561" y="11054"/>
                </a:cubicBezTo>
                <a:cubicBezTo>
                  <a:pt x="15557" y="11060"/>
                  <a:pt x="15555" y="11068"/>
                  <a:pt x="15555" y="11077"/>
                </a:cubicBezTo>
                <a:cubicBezTo>
                  <a:pt x="15555" y="11120"/>
                  <a:pt x="15548" y="11178"/>
                  <a:pt x="15491" y="11195"/>
                </a:cubicBezTo>
                <a:lnTo>
                  <a:pt x="15420" y="11140"/>
                </a:lnTo>
                <a:cubicBezTo>
                  <a:pt x="15410" y="11084"/>
                  <a:pt x="15383" y="11042"/>
                  <a:pt x="15351" y="11042"/>
                </a:cubicBezTo>
                <a:cubicBezTo>
                  <a:pt x="15339" y="11042"/>
                  <a:pt x="15328" y="11049"/>
                  <a:pt x="15318" y="11060"/>
                </a:cubicBezTo>
                <a:lnTo>
                  <a:pt x="14577" y="10484"/>
                </a:lnTo>
                <a:cubicBezTo>
                  <a:pt x="14577" y="10483"/>
                  <a:pt x="14576" y="10483"/>
                  <a:pt x="14576" y="10483"/>
                </a:cubicBezTo>
                <a:lnTo>
                  <a:pt x="14839" y="10480"/>
                </a:lnTo>
                <a:cubicBezTo>
                  <a:pt x="14845" y="10496"/>
                  <a:pt x="14854" y="10507"/>
                  <a:pt x="14865" y="10507"/>
                </a:cubicBezTo>
                <a:cubicBezTo>
                  <a:pt x="14876" y="10507"/>
                  <a:pt x="14885" y="10495"/>
                  <a:pt x="14891" y="10479"/>
                </a:cubicBezTo>
                <a:lnTo>
                  <a:pt x="14933" y="10479"/>
                </a:lnTo>
                <a:lnTo>
                  <a:pt x="15378" y="10477"/>
                </a:lnTo>
                <a:close/>
                <a:moveTo>
                  <a:pt x="4771" y="10483"/>
                </a:moveTo>
                <a:cubicBezTo>
                  <a:pt x="4706" y="10483"/>
                  <a:pt x="4652" y="10590"/>
                  <a:pt x="4652" y="10722"/>
                </a:cubicBezTo>
                <a:cubicBezTo>
                  <a:pt x="4652" y="10854"/>
                  <a:pt x="4706" y="10961"/>
                  <a:pt x="4771" y="10961"/>
                </a:cubicBezTo>
                <a:cubicBezTo>
                  <a:pt x="4837" y="10961"/>
                  <a:pt x="4891" y="10854"/>
                  <a:pt x="4891" y="10722"/>
                </a:cubicBezTo>
                <a:cubicBezTo>
                  <a:pt x="4891" y="10590"/>
                  <a:pt x="4837" y="10483"/>
                  <a:pt x="4771" y="10483"/>
                </a:cubicBezTo>
                <a:close/>
                <a:moveTo>
                  <a:pt x="15029" y="10483"/>
                </a:moveTo>
                <a:cubicBezTo>
                  <a:pt x="15002" y="10483"/>
                  <a:pt x="14980" y="10527"/>
                  <a:pt x="14980" y="10582"/>
                </a:cubicBezTo>
                <a:cubicBezTo>
                  <a:pt x="14980" y="10636"/>
                  <a:pt x="15002" y="10680"/>
                  <a:pt x="15029" y="10680"/>
                </a:cubicBezTo>
                <a:cubicBezTo>
                  <a:pt x="15056" y="10680"/>
                  <a:pt x="15078" y="10636"/>
                  <a:pt x="15078" y="10582"/>
                </a:cubicBezTo>
                <a:cubicBezTo>
                  <a:pt x="15078" y="10527"/>
                  <a:pt x="15056" y="10483"/>
                  <a:pt x="15029" y="10483"/>
                </a:cubicBezTo>
                <a:close/>
                <a:moveTo>
                  <a:pt x="14493" y="10484"/>
                </a:moveTo>
                <a:lnTo>
                  <a:pt x="14517" y="10502"/>
                </a:lnTo>
                <a:cubicBezTo>
                  <a:pt x="14516" y="10507"/>
                  <a:pt x="14514" y="10510"/>
                  <a:pt x="14514" y="10514"/>
                </a:cubicBezTo>
                <a:cubicBezTo>
                  <a:pt x="14514" y="10552"/>
                  <a:pt x="14530" y="10582"/>
                  <a:pt x="14549" y="10582"/>
                </a:cubicBezTo>
                <a:cubicBezTo>
                  <a:pt x="14561" y="10582"/>
                  <a:pt x="14570" y="10567"/>
                  <a:pt x="14576" y="10548"/>
                </a:cubicBezTo>
                <a:lnTo>
                  <a:pt x="14910" y="10808"/>
                </a:lnTo>
                <a:lnTo>
                  <a:pt x="15293" y="11105"/>
                </a:lnTo>
                <a:cubicBezTo>
                  <a:pt x="15284" y="11130"/>
                  <a:pt x="15277" y="11158"/>
                  <a:pt x="15277" y="11190"/>
                </a:cubicBezTo>
                <a:cubicBezTo>
                  <a:pt x="15277" y="11250"/>
                  <a:pt x="15295" y="11301"/>
                  <a:pt x="15320" y="11324"/>
                </a:cubicBezTo>
                <a:cubicBezTo>
                  <a:pt x="15320" y="11329"/>
                  <a:pt x="15319" y="11334"/>
                  <a:pt x="15319" y="11338"/>
                </a:cubicBezTo>
                <a:cubicBezTo>
                  <a:pt x="15315" y="11373"/>
                  <a:pt x="15313" y="11397"/>
                  <a:pt x="15303" y="11418"/>
                </a:cubicBezTo>
                <a:cubicBezTo>
                  <a:pt x="15285" y="11453"/>
                  <a:pt x="15261" y="11477"/>
                  <a:pt x="15237" y="11500"/>
                </a:cubicBezTo>
                <a:cubicBezTo>
                  <a:pt x="15213" y="11523"/>
                  <a:pt x="15188" y="11547"/>
                  <a:pt x="15170" y="11583"/>
                </a:cubicBezTo>
                <a:cubicBezTo>
                  <a:pt x="15153" y="11616"/>
                  <a:pt x="15138" y="11648"/>
                  <a:pt x="15123" y="11680"/>
                </a:cubicBezTo>
                <a:cubicBezTo>
                  <a:pt x="15110" y="11655"/>
                  <a:pt x="15092" y="11639"/>
                  <a:pt x="15072" y="11639"/>
                </a:cubicBezTo>
                <a:cubicBezTo>
                  <a:pt x="15031" y="11639"/>
                  <a:pt x="14998" y="11705"/>
                  <a:pt x="14998" y="11787"/>
                </a:cubicBezTo>
                <a:cubicBezTo>
                  <a:pt x="14998" y="11826"/>
                  <a:pt x="15006" y="11862"/>
                  <a:pt x="15019" y="11889"/>
                </a:cubicBezTo>
                <a:cubicBezTo>
                  <a:pt x="15012" y="11901"/>
                  <a:pt x="15004" y="11919"/>
                  <a:pt x="14999" y="11921"/>
                </a:cubicBezTo>
                <a:cubicBezTo>
                  <a:pt x="14994" y="11925"/>
                  <a:pt x="14989" y="11927"/>
                  <a:pt x="14983" y="11930"/>
                </a:cubicBezTo>
                <a:cubicBezTo>
                  <a:pt x="14949" y="11951"/>
                  <a:pt x="14906" y="11977"/>
                  <a:pt x="14906" y="12076"/>
                </a:cubicBezTo>
                <a:cubicBezTo>
                  <a:pt x="14906" y="12119"/>
                  <a:pt x="14911" y="12154"/>
                  <a:pt x="14915" y="12183"/>
                </a:cubicBezTo>
                <a:cubicBezTo>
                  <a:pt x="14918" y="12210"/>
                  <a:pt x="14922" y="12235"/>
                  <a:pt x="14922" y="12264"/>
                </a:cubicBezTo>
                <a:cubicBezTo>
                  <a:pt x="14922" y="12316"/>
                  <a:pt x="14915" y="12359"/>
                  <a:pt x="14908" y="12400"/>
                </a:cubicBezTo>
                <a:cubicBezTo>
                  <a:pt x="14902" y="12440"/>
                  <a:pt x="14896" y="12476"/>
                  <a:pt x="14896" y="12518"/>
                </a:cubicBezTo>
                <a:cubicBezTo>
                  <a:pt x="14896" y="12520"/>
                  <a:pt x="14896" y="12522"/>
                  <a:pt x="14896" y="12524"/>
                </a:cubicBezTo>
                <a:lnTo>
                  <a:pt x="14904" y="12607"/>
                </a:lnTo>
                <a:cubicBezTo>
                  <a:pt x="14902" y="12609"/>
                  <a:pt x="14900" y="12612"/>
                  <a:pt x="14899" y="12616"/>
                </a:cubicBezTo>
                <a:cubicBezTo>
                  <a:pt x="14897" y="12617"/>
                  <a:pt x="14895" y="12618"/>
                  <a:pt x="14894" y="12618"/>
                </a:cubicBezTo>
                <a:cubicBezTo>
                  <a:pt x="14891" y="12620"/>
                  <a:pt x="14887" y="12621"/>
                  <a:pt x="14885" y="12622"/>
                </a:cubicBezTo>
                <a:cubicBezTo>
                  <a:pt x="14863" y="12635"/>
                  <a:pt x="14855" y="12678"/>
                  <a:pt x="14850" y="12715"/>
                </a:cubicBezTo>
                <a:lnTo>
                  <a:pt x="14756" y="12124"/>
                </a:lnTo>
                <a:lnTo>
                  <a:pt x="14722" y="11908"/>
                </a:lnTo>
                <a:cubicBezTo>
                  <a:pt x="14741" y="11882"/>
                  <a:pt x="14755" y="11838"/>
                  <a:pt x="14755" y="11787"/>
                </a:cubicBezTo>
                <a:cubicBezTo>
                  <a:pt x="14755" y="11705"/>
                  <a:pt x="14722" y="11639"/>
                  <a:pt x="14681" y="11639"/>
                </a:cubicBezTo>
                <a:cubicBezTo>
                  <a:pt x="14680" y="11639"/>
                  <a:pt x="14679" y="11640"/>
                  <a:pt x="14678" y="11640"/>
                </a:cubicBezTo>
                <a:lnTo>
                  <a:pt x="14633" y="11357"/>
                </a:lnTo>
                <a:cubicBezTo>
                  <a:pt x="14646" y="11348"/>
                  <a:pt x="14657" y="11327"/>
                  <a:pt x="14657" y="11297"/>
                </a:cubicBezTo>
                <a:cubicBezTo>
                  <a:pt x="14657" y="11260"/>
                  <a:pt x="14642" y="11229"/>
                  <a:pt x="14623" y="11229"/>
                </a:cubicBezTo>
                <a:cubicBezTo>
                  <a:pt x="14619" y="11229"/>
                  <a:pt x="14617" y="11234"/>
                  <a:pt x="14613" y="11237"/>
                </a:cubicBezTo>
                <a:lnTo>
                  <a:pt x="14493" y="10484"/>
                </a:lnTo>
                <a:close/>
                <a:moveTo>
                  <a:pt x="10391" y="10520"/>
                </a:moveTo>
                <a:cubicBezTo>
                  <a:pt x="10462" y="10786"/>
                  <a:pt x="10951" y="12609"/>
                  <a:pt x="11263" y="13774"/>
                </a:cubicBezTo>
                <a:cubicBezTo>
                  <a:pt x="11250" y="13783"/>
                  <a:pt x="11239" y="13805"/>
                  <a:pt x="11239" y="13834"/>
                </a:cubicBezTo>
                <a:cubicBezTo>
                  <a:pt x="11239" y="13872"/>
                  <a:pt x="11255" y="13902"/>
                  <a:pt x="11274" y="13902"/>
                </a:cubicBezTo>
                <a:cubicBezTo>
                  <a:pt x="11282" y="13902"/>
                  <a:pt x="11288" y="13894"/>
                  <a:pt x="11294" y="13885"/>
                </a:cubicBezTo>
                <a:cubicBezTo>
                  <a:pt x="11377" y="14195"/>
                  <a:pt x="11545" y="14823"/>
                  <a:pt x="11545" y="14823"/>
                </a:cubicBezTo>
                <a:lnTo>
                  <a:pt x="11089" y="13798"/>
                </a:lnTo>
                <a:cubicBezTo>
                  <a:pt x="11088" y="13726"/>
                  <a:pt x="11062" y="13670"/>
                  <a:pt x="11027" y="13658"/>
                </a:cubicBezTo>
                <a:lnTo>
                  <a:pt x="10871" y="13307"/>
                </a:lnTo>
                <a:cubicBezTo>
                  <a:pt x="10869" y="13304"/>
                  <a:pt x="10868" y="13301"/>
                  <a:pt x="10867" y="13298"/>
                </a:cubicBezTo>
                <a:lnTo>
                  <a:pt x="10409" y="12269"/>
                </a:lnTo>
                <a:cubicBezTo>
                  <a:pt x="10415" y="12247"/>
                  <a:pt x="10420" y="12224"/>
                  <a:pt x="10420" y="12197"/>
                </a:cubicBezTo>
                <a:cubicBezTo>
                  <a:pt x="10420" y="12116"/>
                  <a:pt x="10386" y="12049"/>
                  <a:pt x="10346" y="12049"/>
                </a:cubicBezTo>
                <a:cubicBezTo>
                  <a:pt x="10343" y="12049"/>
                  <a:pt x="10342" y="12051"/>
                  <a:pt x="10339" y="12052"/>
                </a:cubicBezTo>
                <a:lnTo>
                  <a:pt x="10339" y="11201"/>
                </a:lnTo>
                <a:cubicBezTo>
                  <a:pt x="10340" y="11196"/>
                  <a:pt x="10342" y="11192"/>
                  <a:pt x="10342" y="11187"/>
                </a:cubicBezTo>
                <a:cubicBezTo>
                  <a:pt x="10342" y="11181"/>
                  <a:pt x="10340" y="11178"/>
                  <a:pt x="10339" y="11173"/>
                </a:cubicBezTo>
                <a:lnTo>
                  <a:pt x="10339" y="10549"/>
                </a:lnTo>
                <a:cubicBezTo>
                  <a:pt x="10358" y="10548"/>
                  <a:pt x="10375" y="10536"/>
                  <a:pt x="10391" y="10520"/>
                </a:cubicBezTo>
                <a:close/>
                <a:moveTo>
                  <a:pt x="14467" y="10525"/>
                </a:moveTo>
                <a:cubicBezTo>
                  <a:pt x="14468" y="10533"/>
                  <a:pt x="14469" y="10542"/>
                  <a:pt x="14471" y="10551"/>
                </a:cubicBezTo>
                <a:cubicBezTo>
                  <a:pt x="14471" y="10553"/>
                  <a:pt x="14471" y="10554"/>
                  <a:pt x="14471" y="10556"/>
                </a:cubicBezTo>
                <a:cubicBezTo>
                  <a:pt x="14473" y="10565"/>
                  <a:pt x="14475" y="10575"/>
                  <a:pt x="14476" y="10585"/>
                </a:cubicBezTo>
                <a:cubicBezTo>
                  <a:pt x="14477" y="10588"/>
                  <a:pt x="14477" y="10590"/>
                  <a:pt x="14477" y="10593"/>
                </a:cubicBezTo>
                <a:cubicBezTo>
                  <a:pt x="14479" y="10603"/>
                  <a:pt x="14480" y="10612"/>
                  <a:pt x="14482" y="10622"/>
                </a:cubicBezTo>
                <a:cubicBezTo>
                  <a:pt x="14483" y="10627"/>
                  <a:pt x="14483" y="10631"/>
                  <a:pt x="14484" y="10635"/>
                </a:cubicBezTo>
                <a:cubicBezTo>
                  <a:pt x="14485" y="10646"/>
                  <a:pt x="14487" y="10657"/>
                  <a:pt x="14489" y="10668"/>
                </a:cubicBezTo>
                <a:cubicBezTo>
                  <a:pt x="14489" y="10671"/>
                  <a:pt x="14490" y="10674"/>
                  <a:pt x="14491" y="10677"/>
                </a:cubicBezTo>
                <a:cubicBezTo>
                  <a:pt x="14493" y="10690"/>
                  <a:pt x="14494" y="10702"/>
                  <a:pt x="14496" y="10715"/>
                </a:cubicBezTo>
                <a:cubicBezTo>
                  <a:pt x="14497" y="10718"/>
                  <a:pt x="14498" y="10723"/>
                  <a:pt x="14498" y="10726"/>
                </a:cubicBezTo>
                <a:cubicBezTo>
                  <a:pt x="14500" y="10740"/>
                  <a:pt x="14502" y="10753"/>
                  <a:pt x="14505" y="10767"/>
                </a:cubicBezTo>
                <a:cubicBezTo>
                  <a:pt x="14505" y="10769"/>
                  <a:pt x="14505" y="10771"/>
                  <a:pt x="14506" y="10773"/>
                </a:cubicBezTo>
                <a:cubicBezTo>
                  <a:pt x="14508" y="10788"/>
                  <a:pt x="14510" y="10804"/>
                  <a:pt x="14513" y="10821"/>
                </a:cubicBezTo>
                <a:cubicBezTo>
                  <a:pt x="14516" y="10840"/>
                  <a:pt x="14519" y="10859"/>
                  <a:pt x="14523" y="10879"/>
                </a:cubicBezTo>
                <a:cubicBezTo>
                  <a:pt x="14524" y="10885"/>
                  <a:pt x="14525" y="10892"/>
                  <a:pt x="14526" y="10899"/>
                </a:cubicBezTo>
                <a:cubicBezTo>
                  <a:pt x="14528" y="10913"/>
                  <a:pt x="14530" y="10927"/>
                  <a:pt x="14532" y="10941"/>
                </a:cubicBezTo>
                <a:cubicBezTo>
                  <a:pt x="14534" y="10951"/>
                  <a:pt x="14535" y="10962"/>
                  <a:pt x="14537" y="10973"/>
                </a:cubicBezTo>
                <a:cubicBezTo>
                  <a:pt x="14539" y="10985"/>
                  <a:pt x="14541" y="10997"/>
                  <a:pt x="14543" y="11010"/>
                </a:cubicBezTo>
                <a:cubicBezTo>
                  <a:pt x="14544" y="11018"/>
                  <a:pt x="14546" y="11027"/>
                  <a:pt x="14548" y="11036"/>
                </a:cubicBezTo>
                <a:cubicBezTo>
                  <a:pt x="14550" y="11051"/>
                  <a:pt x="14552" y="11066"/>
                  <a:pt x="14555" y="11082"/>
                </a:cubicBezTo>
                <a:cubicBezTo>
                  <a:pt x="14556" y="11089"/>
                  <a:pt x="14557" y="11097"/>
                  <a:pt x="14558" y="11105"/>
                </a:cubicBezTo>
                <a:cubicBezTo>
                  <a:pt x="14561" y="11122"/>
                  <a:pt x="14564" y="11140"/>
                  <a:pt x="14567" y="11158"/>
                </a:cubicBezTo>
                <a:cubicBezTo>
                  <a:pt x="14568" y="11164"/>
                  <a:pt x="14569" y="11170"/>
                  <a:pt x="14570" y="11177"/>
                </a:cubicBezTo>
                <a:cubicBezTo>
                  <a:pt x="14575" y="11212"/>
                  <a:pt x="14583" y="11262"/>
                  <a:pt x="14589" y="11297"/>
                </a:cubicBezTo>
                <a:cubicBezTo>
                  <a:pt x="14589" y="11298"/>
                  <a:pt x="14589" y="11299"/>
                  <a:pt x="14590" y="11300"/>
                </a:cubicBezTo>
                <a:cubicBezTo>
                  <a:pt x="14607" y="11407"/>
                  <a:pt x="14628" y="11540"/>
                  <a:pt x="14647" y="11658"/>
                </a:cubicBezTo>
                <a:cubicBezTo>
                  <a:pt x="14624" y="11683"/>
                  <a:pt x="14608" y="11730"/>
                  <a:pt x="14608" y="11787"/>
                </a:cubicBezTo>
                <a:cubicBezTo>
                  <a:pt x="14608" y="11869"/>
                  <a:pt x="14641" y="11935"/>
                  <a:pt x="14681" y="11935"/>
                </a:cubicBezTo>
                <a:cubicBezTo>
                  <a:pt x="14685" y="11935"/>
                  <a:pt x="14687" y="11932"/>
                  <a:pt x="14691" y="11932"/>
                </a:cubicBezTo>
                <a:cubicBezTo>
                  <a:pt x="14737" y="12222"/>
                  <a:pt x="14781" y="12494"/>
                  <a:pt x="14827" y="12780"/>
                </a:cubicBezTo>
                <a:cubicBezTo>
                  <a:pt x="14827" y="12781"/>
                  <a:pt x="14826" y="12781"/>
                  <a:pt x="14826" y="12781"/>
                </a:cubicBezTo>
                <a:cubicBezTo>
                  <a:pt x="14817" y="12787"/>
                  <a:pt x="14810" y="12796"/>
                  <a:pt x="14803" y="12813"/>
                </a:cubicBezTo>
                <a:cubicBezTo>
                  <a:pt x="14799" y="12783"/>
                  <a:pt x="14788" y="12758"/>
                  <a:pt x="14772" y="12758"/>
                </a:cubicBezTo>
                <a:cubicBezTo>
                  <a:pt x="14756" y="12758"/>
                  <a:pt x="14743" y="12783"/>
                  <a:pt x="14740" y="12814"/>
                </a:cubicBezTo>
                <a:cubicBezTo>
                  <a:pt x="14732" y="12770"/>
                  <a:pt x="14724" y="12727"/>
                  <a:pt x="14715" y="12687"/>
                </a:cubicBezTo>
                <a:cubicBezTo>
                  <a:pt x="14706" y="12643"/>
                  <a:pt x="14697" y="12602"/>
                  <a:pt x="14690" y="12561"/>
                </a:cubicBezTo>
                <a:cubicBezTo>
                  <a:pt x="14684" y="12518"/>
                  <a:pt x="14668" y="12484"/>
                  <a:pt x="14656" y="12456"/>
                </a:cubicBezTo>
                <a:cubicBezTo>
                  <a:pt x="14650" y="12442"/>
                  <a:pt x="14644" y="12429"/>
                  <a:pt x="14642" y="12420"/>
                </a:cubicBezTo>
                <a:cubicBezTo>
                  <a:pt x="14635" y="12392"/>
                  <a:pt x="14633" y="12366"/>
                  <a:pt x="14632" y="12338"/>
                </a:cubicBezTo>
                <a:cubicBezTo>
                  <a:pt x="14630" y="12307"/>
                  <a:pt x="14628" y="12275"/>
                  <a:pt x="14618" y="12244"/>
                </a:cubicBezTo>
                <a:cubicBezTo>
                  <a:pt x="14607" y="12207"/>
                  <a:pt x="14604" y="12185"/>
                  <a:pt x="14600" y="12154"/>
                </a:cubicBezTo>
                <a:cubicBezTo>
                  <a:pt x="14598" y="12142"/>
                  <a:pt x="14597" y="12130"/>
                  <a:pt x="14594" y="12115"/>
                </a:cubicBezTo>
                <a:cubicBezTo>
                  <a:pt x="14589" y="12084"/>
                  <a:pt x="14579" y="12041"/>
                  <a:pt x="14567" y="11991"/>
                </a:cubicBezTo>
                <a:cubicBezTo>
                  <a:pt x="14554" y="11933"/>
                  <a:pt x="14539" y="11867"/>
                  <a:pt x="14531" y="11817"/>
                </a:cubicBezTo>
                <a:cubicBezTo>
                  <a:pt x="14526" y="11788"/>
                  <a:pt x="14521" y="11760"/>
                  <a:pt x="14516" y="11732"/>
                </a:cubicBezTo>
                <a:cubicBezTo>
                  <a:pt x="14505" y="11679"/>
                  <a:pt x="14495" y="11627"/>
                  <a:pt x="14495" y="11578"/>
                </a:cubicBezTo>
                <a:cubicBezTo>
                  <a:pt x="14495" y="11571"/>
                  <a:pt x="14494" y="11558"/>
                  <a:pt x="14494" y="11545"/>
                </a:cubicBezTo>
                <a:cubicBezTo>
                  <a:pt x="14493" y="11540"/>
                  <a:pt x="14493" y="11536"/>
                  <a:pt x="14492" y="11532"/>
                </a:cubicBezTo>
                <a:cubicBezTo>
                  <a:pt x="14493" y="11529"/>
                  <a:pt x="14494" y="11526"/>
                  <a:pt x="14494" y="11522"/>
                </a:cubicBezTo>
                <a:cubicBezTo>
                  <a:pt x="14494" y="11498"/>
                  <a:pt x="14496" y="11485"/>
                  <a:pt x="14498" y="11469"/>
                </a:cubicBezTo>
                <a:cubicBezTo>
                  <a:pt x="14501" y="11451"/>
                  <a:pt x="14503" y="11431"/>
                  <a:pt x="14503" y="11400"/>
                </a:cubicBezTo>
                <a:cubicBezTo>
                  <a:pt x="14503" y="11359"/>
                  <a:pt x="14497" y="11325"/>
                  <a:pt x="14491" y="11294"/>
                </a:cubicBezTo>
                <a:cubicBezTo>
                  <a:pt x="14487" y="11270"/>
                  <a:pt x="14483" y="11249"/>
                  <a:pt x="14483" y="11229"/>
                </a:cubicBezTo>
                <a:cubicBezTo>
                  <a:pt x="14483" y="11225"/>
                  <a:pt x="14485" y="11219"/>
                  <a:pt x="14486" y="11215"/>
                </a:cubicBezTo>
                <a:cubicBezTo>
                  <a:pt x="14490" y="11199"/>
                  <a:pt x="14495" y="11184"/>
                  <a:pt x="14495" y="11167"/>
                </a:cubicBezTo>
                <a:cubicBezTo>
                  <a:pt x="14495" y="11150"/>
                  <a:pt x="14488" y="11137"/>
                  <a:pt x="14480" y="11137"/>
                </a:cubicBezTo>
                <a:lnTo>
                  <a:pt x="14463" y="11137"/>
                </a:lnTo>
                <a:cubicBezTo>
                  <a:pt x="14459" y="11137"/>
                  <a:pt x="14456" y="11140"/>
                  <a:pt x="14453" y="11146"/>
                </a:cubicBezTo>
                <a:cubicBezTo>
                  <a:pt x="14441" y="11169"/>
                  <a:pt x="14434" y="11202"/>
                  <a:pt x="14427" y="11235"/>
                </a:cubicBezTo>
                <a:cubicBezTo>
                  <a:pt x="14413" y="11298"/>
                  <a:pt x="14403" y="11336"/>
                  <a:pt x="14378" y="11336"/>
                </a:cubicBezTo>
                <a:cubicBezTo>
                  <a:pt x="14359" y="11336"/>
                  <a:pt x="14343" y="11322"/>
                  <a:pt x="14327" y="11293"/>
                </a:cubicBezTo>
                <a:cubicBezTo>
                  <a:pt x="14349" y="11167"/>
                  <a:pt x="14366" y="11076"/>
                  <a:pt x="14384" y="10978"/>
                </a:cubicBezTo>
                <a:cubicBezTo>
                  <a:pt x="14389" y="10984"/>
                  <a:pt x="14394" y="10992"/>
                  <a:pt x="14400" y="10992"/>
                </a:cubicBezTo>
                <a:cubicBezTo>
                  <a:pt x="14419" y="10992"/>
                  <a:pt x="14434" y="10962"/>
                  <a:pt x="14434" y="10924"/>
                </a:cubicBezTo>
                <a:cubicBezTo>
                  <a:pt x="14434" y="10890"/>
                  <a:pt x="14421" y="10864"/>
                  <a:pt x="14405" y="10859"/>
                </a:cubicBezTo>
                <a:cubicBezTo>
                  <a:pt x="14407" y="10847"/>
                  <a:pt x="14411" y="10828"/>
                  <a:pt x="14413" y="10816"/>
                </a:cubicBezTo>
                <a:cubicBezTo>
                  <a:pt x="14414" y="10811"/>
                  <a:pt x="14414" y="10807"/>
                  <a:pt x="14415" y="10802"/>
                </a:cubicBezTo>
                <a:cubicBezTo>
                  <a:pt x="14417" y="10790"/>
                  <a:pt x="14419" y="10779"/>
                  <a:pt x="14421" y="10768"/>
                </a:cubicBezTo>
                <a:cubicBezTo>
                  <a:pt x="14423" y="10761"/>
                  <a:pt x="14424" y="10754"/>
                  <a:pt x="14425" y="10747"/>
                </a:cubicBezTo>
                <a:cubicBezTo>
                  <a:pt x="14426" y="10739"/>
                  <a:pt x="14428" y="10731"/>
                  <a:pt x="14430" y="10723"/>
                </a:cubicBezTo>
                <a:cubicBezTo>
                  <a:pt x="14432" y="10710"/>
                  <a:pt x="14434" y="10698"/>
                  <a:pt x="14437" y="10687"/>
                </a:cubicBezTo>
                <a:cubicBezTo>
                  <a:pt x="14437" y="10683"/>
                  <a:pt x="14438" y="10680"/>
                  <a:pt x="14438" y="10676"/>
                </a:cubicBezTo>
                <a:cubicBezTo>
                  <a:pt x="14441" y="10662"/>
                  <a:pt x="14443" y="10648"/>
                  <a:pt x="14446" y="10635"/>
                </a:cubicBezTo>
                <a:cubicBezTo>
                  <a:pt x="14446" y="10632"/>
                  <a:pt x="14447" y="10629"/>
                  <a:pt x="14448" y="10626"/>
                </a:cubicBezTo>
                <a:cubicBezTo>
                  <a:pt x="14449" y="10616"/>
                  <a:pt x="14451" y="10606"/>
                  <a:pt x="14453" y="10597"/>
                </a:cubicBezTo>
                <a:cubicBezTo>
                  <a:pt x="14454" y="10593"/>
                  <a:pt x="14454" y="10589"/>
                  <a:pt x="14455" y="10585"/>
                </a:cubicBezTo>
                <a:cubicBezTo>
                  <a:pt x="14457" y="10578"/>
                  <a:pt x="14458" y="10570"/>
                  <a:pt x="14459" y="10563"/>
                </a:cubicBezTo>
                <a:cubicBezTo>
                  <a:pt x="14460" y="10559"/>
                  <a:pt x="14461" y="10556"/>
                  <a:pt x="14462" y="10553"/>
                </a:cubicBezTo>
                <a:cubicBezTo>
                  <a:pt x="14463" y="10545"/>
                  <a:pt x="14464" y="10538"/>
                  <a:pt x="14465" y="10532"/>
                </a:cubicBezTo>
                <a:cubicBezTo>
                  <a:pt x="14465" y="10529"/>
                  <a:pt x="14466" y="10527"/>
                  <a:pt x="14467" y="10525"/>
                </a:cubicBezTo>
                <a:close/>
                <a:moveTo>
                  <a:pt x="15181" y="10557"/>
                </a:moveTo>
                <a:cubicBezTo>
                  <a:pt x="15163" y="10557"/>
                  <a:pt x="15147" y="10588"/>
                  <a:pt x="15147" y="10626"/>
                </a:cubicBezTo>
                <a:cubicBezTo>
                  <a:pt x="15147" y="10664"/>
                  <a:pt x="15163" y="10694"/>
                  <a:pt x="15181" y="10694"/>
                </a:cubicBezTo>
                <a:cubicBezTo>
                  <a:pt x="15200" y="10694"/>
                  <a:pt x="15215" y="10664"/>
                  <a:pt x="15215" y="10626"/>
                </a:cubicBezTo>
                <a:cubicBezTo>
                  <a:pt x="15215" y="10588"/>
                  <a:pt x="15200" y="10557"/>
                  <a:pt x="15181" y="10557"/>
                </a:cubicBezTo>
                <a:close/>
                <a:moveTo>
                  <a:pt x="4373" y="10595"/>
                </a:moveTo>
                <a:cubicBezTo>
                  <a:pt x="4332" y="10595"/>
                  <a:pt x="4299" y="10661"/>
                  <a:pt x="4299" y="10743"/>
                </a:cubicBezTo>
                <a:cubicBezTo>
                  <a:pt x="4299" y="10824"/>
                  <a:pt x="4332" y="10891"/>
                  <a:pt x="4373" y="10891"/>
                </a:cubicBezTo>
                <a:cubicBezTo>
                  <a:pt x="4413" y="10891"/>
                  <a:pt x="4446" y="10824"/>
                  <a:pt x="4446" y="10743"/>
                </a:cubicBezTo>
                <a:cubicBezTo>
                  <a:pt x="4446" y="10661"/>
                  <a:pt x="4413" y="10595"/>
                  <a:pt x="4373" y="10595"/>
                </a:cubicBezTo>
                <a:close/>
                <a:moveTo>
                  <a:pt x="5385" y="10612"/>
                </a:moveTo>
                <a:cubicBezTo>
                  <a:pt x="5369" y="10612"/>
                  <a:pt x="5349" y="10635"/>
                  <a:pt x="5342" y="10662"/>
                </a:cubicBezTo>
                <a:cubicBezTo>
                  <a:pt x="5340" y="10671"/>
                  <a:pt x="5340" y="10682"/>
                  <a:pt x="5343" y="10691"/>
                </a:cubicBezTo>
                <a:cubicBezTo>
                  <a:pt x="5346" y="10700"/>
                  <a:pt x="5350" y="10705"/>
                  <a:pt x="5355" y="10705"/>
                </a:cubicBezTo>
                <a:cubicBezTo>
                  <a:pt x="5359" y="10705"/>
                  <a:pt x="5363" y="10706"/>
                  <a:pt x="5368" y="10706"/>
                </a:cubicBezTo>
                <a:cubicBezTo>
                  <a:pt x="5375" y="10707"/>
                  <a:pt x="5382" y="10708"/>
                  <a:pt x="5390" y="10708"/>
                </a:cubicBezTo>
                <a:cubicBezTo>
                  <a:pt x="5397" y="10708"/>
                  <a:pt x="5405" y="10707"/>
                  <a:pt x="5412" y="10705"/>
                </a:cubicBezTo>
                <a:cubicBezTo>
                  <a:pt x="5418" y="10704"/>
                  <a:pt x="5422" y="10697"/>
                  <a:pt x="5424" y="10688"/>
                </a:cubicBezTo>
                <a:cubicBezTo>
                  <a:pt x="5426" y="10678"/>
                  <a:pt x="5426" y="10666"/>
                  <a:pt x="5423" y="10657"/>
                </a:cubicBezTo>
                <a:cubicBezTo>
                  <a:pt x="5418" y="10643"/>
                  <a:pt x="5407" y="10612"/>
                  <a:pt x="5385" y="10612"/>
                </a:cubicBezTo>
                <a:close/>
                <a:moveTo>
                  <a:pt x="5447" y="10649"/>
                </a:moveTo>
                <a:cubicBezTo>
                  <a:pt x="5441" y="10651"/>
                  <a:pt x="5436" y="10659"/>
                  <a:pt x="5434" y="10670"/>
                </a:cubicBezTo>
                <a:cubicBezTo>
                  <a:pt x="5432" y="10689"/>
                  <a:pt x="5435" y="10710"/>
                  <a:pt x="5440" y="10723"/>
                </a:cubicBezTo>
                <a:cubicBezTo>
                  <a:pt x="5445" y="10735"/>
                  <a:pt x="5451" y="10743"/>
                  <a:pt x="5458" y="10743"/>
                </a:cubicBezTo>
                <a:cubicBezTo>
                  <a:pt x="5460" y="10743"/>
                  <a:pt x="5463" y="10741"/>
                  <a:pt x="5465" y="10740"/>
                </a:cubicBezTo>
                <a:cubicBezTo>
                  <a:pt x="5469" y="10737"/>
                  <a:pt x="5472" y="10730"/>
                  <a:pt x="5473" y="10722"/>
                </a:cubicBezTo>
                <a:cubicBezTo>
                  <a:pt x="5475" y="10713"/>
                  <a:pt x="5475" y="10704"/>
                  <a:pt x="5472" y="10696"/>
                </a:cubicBezTo>
                <a:lnTo>
                  <a:pt x="5462" y="10662"/>
                </a:lnTo>
                <a:cubicBezTo>
                  <a:pt x="5459" y="10652"/>
                  <a:pt x="5453" y="10648"/>
                  <a:pt x="5447" y="10649"/>
                </a:cubicBezTo>
                <a:close/>
                <a:moveTo>
                  <a:pt x="17432" y="10724"/>
                </a:moveTo>
                <a:cubicBezTo>
                  <a:pt x="17390" y="10724"/>
                  <a:pt x="17343" y="10909"/>
                  <a:pt x="17343" y="11008"/>
                </a:cubicBezTo>
                <a:cubicBezTo>
                  <a:pt x="17343" y="11016"/>
                  <a:pt x="17343" y="11024"/>
                  <a:pt x="17343" y="11032"/>
                </a:cubicBezTo>
                <a:cubicBezTo>
                  <a:pt x="17342" y="11069"/>
                  <a:pt x="17342" y="11107"/>
                  <a:pt x="17355" y="11133"/>
                </a:cubicBezTo>
                <a:cubicBezTo>
                  <a:pt x="17363" y="11150"/>
                  <a:pt x="17374" y="11158"/>
                  <a:pt x="17390" y="11158"/>
                </a:cubicBezTo>
                <a:cubicBezTo>
                  <a:pt x="17415" y="11158"/>
                  <a:pt x="17435" y="11104"/>
                  <a:pt x="17449" y="11038"/>
                </a:cubicBezTo>
                <a:cubicBezTo>
                  <a:pt x="17451" y="11038"/>
                  <a:pt x="17452" y="11040"/>
                  <a:pt x="17454" y="11040"/>
                </a:cubicBezTo>
                <a:cubicBezTo>
                  <a:pt x="17495" y="11040"/>
                  <a:pt x="17528" y="10973"/>
                  <a:pt x="17528" y="10892"/>
                </a:cubicBezTo>
                <a:cubicBezTo>
                  <a:pt x="17528" y="10811"/>
                  <a:pt x="17495" y="10745"/>
                  <a:pt x="17455" y="10744"/>
                </a:cubicBezTo>
                <a:cubicBezTo>
                  <a:pt x="17449" y="10732"/>
                  <a:pt x="17441" y="10724"/>
                  <a:pt x="17432" y="10724"/>
                </a:cubicBezTo>
                <a:close/>
                <a:moveTo>
                  <a:pt x="12130" y="10744"/>
                </a:moveTo>
                <a:cubicBezTo>
                  <a:pt x="12111" y="10744"/>
                  <a:pt x="12095" y="10775"/>
                  <a:pt x="12095" y="10813"/>
                </a:cubicBezTo>
                <a:cubicBezTo>
                  <a:pt x="12095" y="10850"/>
                  <a:pt x="12111" y="10880"/>
                  <a:pt x="12130" y="10880"/>
                </a:cubicBezTo>
                <a:cubicBezTo>
                  <a:pt x="12149" y="10880"/>
                  <a:pt x="12163" y="10850"/>
                  <a:pt x="12163" y="10813"/>
                </a:cubicBezTo>
                <a:cubicBezTo>
                  <a:pt x="12163" y="10775"/>
                  <a:pt x="12149" y="10744"/>
                  <a:pt x="12130" y="10744"/>
                </a:cubicBezTo>
                <a:close/>
                <a:moveTo>
                  <a:pt x="14694" y="10818"/>
                </a:moveTo>
                <a:cubicBezTo>
                  <a:pt x="14667" y="10818"/>
                  <a:pt x="14645" y="10863"/>
                  <a:pt x="14645" y="10917"/>
                </a:cubicBezTo>
                <a:cubicBezTo>
                  <a:pt x="14645" y="10972"/>
                  <a:pt x="14667" y="11015"/>
                  <a:pt x="14694" y="11015"/>
                </a:cubicBezTo>
                <a:cubicBezTo>
                  <a:pt x="14721" y="11015"/>
                  <a:pt x="14743" y="10972"/>
                  <a:pt x="14743" y="10917"/>
                </a:cubicBezTo>
                <a:cubicBezTo>
                  <a:pt x="14743" y="10863"/>
                  <a:pt x="14721" y="10818"/>
                  <a:pt x="14694" y="10818"/>
                </a:cubicBezTo>
                <a:close/>
                <a:moveTo>
                  <a:pt x="5401" y="10836"/>
                </a:moveTo>
                <a:cubicBezTo>
                  <a:pt x="5385" y="10830"/>
                  <a:pt x="5378" y="10848"/>
                  <a:pt x="5378" y="10866"/>
                </a:cubicBezTo>
                <a:cubicBezTo>
                  <a:pt x="5378" y="10899"/>
                  <a:pt x="5378" y="10977"/>
                  <a:pt x="5414" y="10977"/>
                </a:cubicBezTo>
                <a:cubicBezTo>
                  <a:pt x="5426" y="10977"/>
                  <a:pt x="5440" y="10950"/>
                  <a:pt x="5440" y="10926"/>
                </a:cubicBezTo>
                <a:cubicBezTo>
                  <a:pt x="5440" y="10877"/>
                  <a:pt x="5426" y="10843"/>
                  <a:pt x="5404" y="10837"/>
                </a:cubicBezTo>
                <a:cubicBezTo>
                  <a:pt x="5403" y="10837"/>
                  <a:pt x="5401" y="10836"/>
                  <a:pt x="5401" y="10836"/>
                </a:cubicBezTo>
                <a:close/>
                <a:moveTo>
                  <a:pt x="9246" y="10849"/>
                </a:moveTo>
                <a:lnTo>
                  <a:pt x="9423" y="10914"/>
                </a:lnTo>
                <a:lnTo>
                  <a:pt x="9214" y="11123"/>
                </a:lnTo>
                <a:cubicBezTo>
                  <a:pt x="9207" y="11108"/>
                  <a:pt x="9199" y="11098"/>
                  <a:pt x="9191" y="11088"/>
                </a:cubicBezTo>
                <a:cubicBezTo>
                  <a:pt x="9193" y="11081"/>
                  <a:pt x="9196" y="11077"/>
                  <a:pt x="9197" y="11070"/>
                </a:cubicBezTo>
                <a:cubicBezTo>
                  <a:pt x="9208" y="11008"/>
                  <a:pt x="9224" y="10932"/>
                  <a:pt x="9246" y="10849"/>
                </a:cubicBezTo>
                <a:close/>
                <a:moveTo>
                  <a:pt x="11183" y="10856"/>
                </a:moveTo>
                <a:cubicBezTo>
                  <a:pt x="11142" y="10856"/>
                  <a:pt x="11109" y="10922"/>
                  <a:pt x="11109" y="11004"/>
                </a:cubicBezTo>
                <a:cubicBezTo>
                  <a:pt x="11109" y="11085"/>
                  <a:pt x="11142" y="11152"/>
                  <a:pt x="11183" y="11152"/>
                </a:cubicBezTo>
                <a:cubicBezTo>
                  <a:pt x="11224" y="11152"/>
                  <a:pt x="11257" y="11085"/>
                  <a:pt x="11257" y="11004"/>
                </a:cubicBezTo>
                <a:cubicBezTo>
                  <a:pt x="11257" y="10922"/>
                  <a:pt x="11224" y="10856"/>
                  <a:pt x="11183" y="10856"/>
                </a:cubicBezTo>
                <a:close/>
                <a:moveTo>
                  <a:pt x="17384" y="10924"/>
                </a:moveTo>
                <a:cubicBezTo>
                  <a:pt x="17389" y="10966"/>
                  <a:pt x="17401" y="11001"/>
                  <a:pt x="17420" y="11021"/>
                </a:cubicBezTo>
                <a:cubicBezTo>
                  <a:pt x="17410" y="11065"/>
                  <a:pt x="17398" y="11097"/>
                  <a:pt x="17390" y="11097"/>
                </a:cubicBezTo>
                <a:cubicBezTo>
                  <a:pt x="17383" y="11097"/>
                  <a:pt x="17378" y="11095"/>
                  <a:pt x="17376" y="11091"/>
                </a:cubicBezTo>
                <a:cubicBezTo>
                  <a:pt x="17372" y="11083"/>
                  <a:pt x="17372" y="11056"/>
                  <a:pt x="17373" y="11033"/>
                </a:cubicBezTo>
                <a:cubicBezTo>
                  <a:pt x="17373" y="11025"/>
                  <a:pt x="17373" y="11017"/>
                  <a:pt x="17373" y="11008"/>
                </a:cubicBezTo>
                <a:cubicBezTo>
                  <a:pt x="17373" y="10983"/>
                  <a:pt x="17378" y="10954"/>
                  <a:pt x="17384" y="10924"/>
                </a:cubicBezTo>
                <a:close/>
                <a:moveTo>
                  <a:pt x="3467" y="10962"/>
                </a:moveTo>
                <a:cubicBezTo>
                  <a:pt x="3472" y="10971"/>
                  <a:pt x="3477" y="10979"/>
                  <a:pt x="3483" y="10985"/>
                </a:cubicBezTo>
                <a:cubicBezTo>
                  <a:pt x="3480" y="10985"/>
                  <a:pt x="3478" y="10986"/>
                  <a:pt x="3475" y="10987"/>
                </a:cubicBezTo>
                <a:cubicBezTo>
                  <a:pt x="3471" y="10981"/>
                  <a:pt x="3470" y="10969"/>
                  <a:pt x="3467" y="10962"/>
                </a:cubicBezTo>
                <a:close/>
                <a:moveTo>
                  <a:pt x="5080" y="10968"/>
                </a:moveTo>
                <a:cubicBezTo>
                  <a:pt x="5039" y="10968"/>
                  <a:pt x="5006" y="11034"/>
                  <a:pt x="5006" y="11116"/>
                </a:cubicBezTo>
                <a:cubicBezTo>
                  <a:pt x="5006" y="11151"/>
                  <a:pt x="5013" y="11182"/>
                  <a:pt x="5023" y="11208"/>
                </a:cubicBezTo>
                <a:cubicBezTo>
                  <a:pt x="5011" y="11233"/>
                  <a:pt x="4999" y="11263"/>
                  <a:pt x="4989" y="11299"/>
                </a:cubicBezTo>
                <a:cubicBezTo>
                  <a:pt x="4986" y="11308"/>
                  <a:pt x="4986" y="11318"/>
                  <a:pt x="4989" y="11328"/>
                </a:cubicBezTo>
                <a:cubicBezTo>
                  <a:pt x="4992" y="11337"/>
                  <a:pt x="4996" y="11343"/>
                  <a:pt x="5002" y="11343"/>
                </a:cubicBezTo>
                <a:lnTo>
                  <a:pt x="5021" y="11343"/>
                </a:lnTo>
                <a:cubicBezTo>
                  <a:pt x="5025" y="11343"/>
                  <a:pt x="5029" y="11340"/>
                  <a:pt x="5032" y="11335"/>
                </a:cubicBezTo>
                <a:cubicBezTo>
                  <a:pt x="5046" y="11307"/>
                  <a:pt x="5077" y="11277"/>
                  <a:pt x="5107" y="11259"/>
                </a:cubicBezTo>
                <a:cubicBezTo>
                  <a:pt x="5104" y="11264"/>
                  <a:pt x="5099" y="11266"/>
                  <a:pt x="5099" y="11275"/>
                </a:cubicBezTo>
                <a:lnTo>
                  <a:pt x="5099" y="11282"/>
                </a:lnTo>
                <a:cubicBezTo>
                  <a:pt x="5089" y="11292"/>
                  <a:pt x="5080" y="11311"/>
                  <a:pt x="5080" y="11343"/>
                </a:cubicBezTo>
                <a:cubicBezTo>
                  <a:pt x="5080" y="11351"/>
                  <a:pt x="5082" y="11377"/>
                  <a:pt x="5102" y="11377"/>
                </a:cubicBezTo>
                <a:cubicBezTo>
                  <a:pt x="5109" y="11377"/>
                  <a:pt x="5118" y="11374"/>
                  <a:pt x="5123" y="11373"/>
                </a:cubicBezTo>
                <a:lnTo>
                  <a:pt x="5124" y="11373"/>
                </a:lnTo>
                <a:cubicBezTo>
                  <a:pt x="5130" y="11373"/>
                  <a:pt x="5136" y="11366"/>
                  <a:pt x="5138" y="11355"/>
                </a:cubicBezTo>
                <a:cubicBezTo>
                  <a:pt x="5144" y="11325"/>
                  <a:pt x="5142" y="11298"/>
                  <a:pt x="5139" y="11273"/>
                </a:cubicBezTo>
                <a:cubicBezTo>
                  <a:pt x="5138" y="11262"/>
                  <a:pt x="5134" y="11254"/>
                  <a:pt x="5129" y="11251"/>
                </a:cubicBezTo>
                <a:lnTo>
                  <a:pt x="5126" y="11249"/>
                </a:lnTo>
                <a:cubicBezTo>
                  <a:pt x="5130" y="11247"/>
                  <a:pt x="5135" y="11242"/>
                  <a:pt x="5140" y="11242"/>
                </a:cubicBezTo>
                <a:cubicBezTo>
                  <a:pt x="5141" y="11242"/>
                  <a:pt x="5143" y="11240"/>
                  <a:pt x="5145" y="11240"/>
                </a:cubicBezTo>
                <a:lnTo>
                  <a:pt x="5149" y="11240"/>
                </a:lnTo>
                <a:cubicBezTo>
                  <a:pt x="5149" y="11243"/>
                  <a:pt x="5149" y="11247"/>
                  <a:pt x="5149" y="11250"/>
                </a:cubicBezTo>
                <a:cubicBezTo>
                  <a:pt x="5150" y="11268"/>
                  <a:pt x="5156" y="11283"/>
                  <a:pt x="5165" y="11296"/>
                </a:cubicBezTo>
                <a:cubicBezTo>
                  <a:pt x="5168" y="11300"/>
                  <a:pt x="5171" y="11301"/>
                  <a:pt x="5174" y="11301"/>
                </a:cubicBezTo>
                <a:lnTo>
                  <a:pt x="5236" y="11301"/>
                </a:lnTo>
                <a:cubicBezTo>
                  <a:pt x="5246" y="11301"/>
                  <a:pt x="5254" y="11313"/>
                  <a:pt x="5264" y="11327"/>
                </a:cubicBezTo>
                <a:cubicBezTo>
                  <a:pt x="5276" y="11344"/>
                  <a:pt x="5290" y="11364"/>
                  <a:pt x="5309" y="11364"/>
                </a:cubicBezTo>
                <a:cubicBezTo>
                  <a:pt x="5315" y="11364"/>
                  <a:pt x="5321" y="11363"/>
                  <a:pt x="5326" y="11362"/>
                </a:cubicBezTo>
                <a:cubicBezTo>
                  <a:pt x="5331" y="11360"/>
                  <a:pt x="5336" y="11361"/>
                  <a:pt x="5342" y="11364"/>
                </a:cubicBezTo>
                <a:cubicBezTo>
                  <a:pt x="5344" y="11366"/>
                  <a:pt x="5346" y="11366"/>
                  <a:pt x="5348" y="11369"/>
                </a:cubicBezTo>
                <a:cubicBezTo>
                  <a:pt x="5350" y="11378"/>
                  <a:pt x="5355" y="11396"/>
                  <a:pt x="5366" y="11404"/>
                </a:cubicBezTo>
                <a:cubicBezTo>
                  <a:pt x="5375" y="11449"/>
                  <a:pt x="5397" y="11463"/>
                  <a:pt x="5417" y="11475"/>
                </a:cubicBezTo>
                <a:cubicBezTo>
                  <a:pt x="5418" y="11476"/>
                  <a:pt x="5420" y="11477"/>
                  <a:pt x="5422" y="11478"/>
                </a:cubicBezTo>
                <a:cubicBezTo>
                  <a:pt x="5417" y="11483"/>
                  <a:pt x="5413" y="11493"/>
                  <a:pt x="5413" y="11505"/>
                </a:cubicBezTo>
                <a:lnTo>
                  <a:pt x="5413" y="11531"/>
                </a:lnTo>
                <a:cubicBezTo>
                  <a:pt x="5413" y="11547"/>
                  <a:pt x="5420" y="11560"/>
                  <a:pt x="5429" y="11560"/>
                </a:cubicBezTo>
                <a:cubicBezTo>
                  <a:pt x="5446" y="11560"/>
                  <a:pt x="5463" y="11567"/>
                  <a:pt x="5481" y="11574"/>
                </a:cubicBezTo>
                <a:cubicBezTo>
                  <a:pt x="5491" y="11578"/>
                  <a:pt x="5504" y="11579"/>
                  <a:pt x="5515" y="11582"/>
                </a:cubicBezTo>
                <a:cubicBezTo>
                  <a:pt x="5522" y="11620"/>
                  <a:pt x="5536" y="11650"/>
                  <a:pt x="5558" y="11650"/>
                </a:cubicBezTo>
                <a:cubicBezTo>
                  <a:pt x="5579" y="11650"/>
                  <a:pt x="5593" y="11620"/>
                  <a:pt x="5600" y="11582"/>
                </a:cubicBezTo>
                <a:cubicBezTo>
                  <a:pt x="5618" y="11574"/>
                  <a:pt x="5635" y="11558"/>
                  <a:pt x="5645" y="11524"/>
                </a:cubicBezTo>
                <a:cubicBezTo>
                  <a:pt x="5647" y="11516"/>
                  <a:pt x="5647" y="11507"/>
                  <a:pt x="5646" y="11499"/>
                </a:cubicBezTo>
                <a:cubicBezTo>
                  <a:pt x="5645" y="11491"/>
                  <a:pt x="5641" y="11484"/>
                  <a:pt x="5637" y="11480"/>
                </a:cubicBezTo>
                <a:cubicBezTo>
                  <a:pt x="5635" y="11478"/>
                  <a:pt x="5630" y="11466"/>
                  <a:pt x="5626" y="11456"/>
                </a:cubicBezTo>
                <a:cubicBezTo>
                  <a:pt x="5617" y="11433"/>
                  <a:pt x="5605" y="11404"/>
                  <a:pt x="5587" y="11394"/>
                </a:cubicBezTo>
                <a:cubicBezTo>
                  <a:pt x="5586" y="11394"/>
                  <a:pt x="5585" y="11394"/>
                  <a:pt x="5584" y="11394"/>
                </a:cubicBezTo>
                <a:lnTo>
                  <a:pt x="5566" y="11392"/>
                </a:lnTo>
                <a:cubicBezTo>
                  <a:pt x="5566" y="11391"/>
                  <a:pt x="5566" y="11390"/>
                  <a:pt x="5566" y="11390"/>
                </a:cubicBezTo>
                <a:cubicBezTo>
                  <a:pt x="5566" y="11373"/>
                  <a:pt x="5560" y="11359"/>
                  <a:pt x="5551" y="11359"/>
                </a:cubicBezTo>
                <a:cubicBezTo>
                  <a:pt x="5509" y="11359"/>
                  <a:pt x="5459" y="11319"/>
                  <a:pt x="5430" y="11262"/>
                </a:cubicBezTo>
                <a:lnTo>
                  <a:pt x="5429" y="11259"/>
                </a:lnTo>
                <a:cubicBezTo>
                  <a:pt x="5419" y="11237"/>
                  <a:pt x="5407" y="11218"/>
                  <a:pt x="5394" y="11210"/>
                </a:cubicBezTo>
                <a:cubicBezTo>
                  <a:pt x="5387" y="11202"/>
                  <a:pt x="5380" y="11191"/>
                  <a:pt x="5372" y="11191"/>
                </a:cubicBezTo>
                <a:cubicBezTo>
                  <a:pt x="5369" y="11191"/>
                  <a:pt x="5367" y="11196"/>
                  <a:pt x="5365" y="11197"/>
                </a:cubicBezTo>
                <a:cubicBezTo>
                  <a:pt x="5343" y="11190"/>
                  <a:pt x="5323" y="11176"/>
                  <a:pt x="5301" y="11158"/>
                </a:cubicBezTo>
                <a:cubicBezTo>
                  <a:pt x="5267" y="11129"/>
                  <a:pt x="5229" y="11097"/>
                  <a:pt x="5176" y="11097"/>
                </a:cubicBezTo>
                <a:cubicBezTo>
                  <a:pt x="5167" y="11097"/>
                  <a:pt x="5160" y="11101"/>
                  <a:pt x="5152" y="11102"/>
                </a:cubicBezTo>
                <a:cubicBezTo>
                  <a:pt x="5149" y="11027"/>
                  <a:pt x="5118" y="10968"/>
                  <a:pt x="5080" y="10968"/>
                </a:cubicBezTo>
                <a:close/>
                <a:moveTo>
                  <a:pt x="16488" y="10986"/>
                </a:moveTo>
                <a:cubicBezTo>
                  <a:pt x="16480" y="10981"/>
                  <a:pt x="16471" y="10990"/>
                  <a:pt x="16469" y="11006"/>
                </a:cubicBezTo>
                <a:cubicBezTo>
                  <a:pt x="16468" y="11009"/>
                  <a:pt x="16468" y="11011"/>
                  <a:pt x="16468" y="11014"/>
                </a:cubicBezTo>
                <a:cubicBezTo>
                  <a:pt x="16468" y="11027"/>
                  <a:pt x="16472" y="11039"/>
                  <a:pt x="16479" y="11043"/>
                </a:cubicBezTo>
                <a:cubicBezTo>
                  <a:pt x="16479" y="11043"/>
                  <a:pt x="16479" y="11043"/>
                  <a:pt x="16479" y="11043"/>
                </a:cubicBezTo>
                <a:cubicBezTo>
                  <a:pt x="16486" y="11047"/>
                  <a:pt x="16492" y="11052"/>
                  <a:pt x="16498" y="11057"/>
                </a:cubicBezTo>
                <a:cubicBezTo>
                  <a:pt x="16509" y="11067"/>
                  <a:pt x="16522" y="11077"/>
                  <a:pt x="16536" y="11082"/>
                </a:cubicBezTo>
                <a:cubicBezTo>
                  <a:pt x="16538" y="11109"/>
                  <a:pt x="16543" y="11134"/>
                  <a:pt x="16550" y="11156"/>
                </a:cubicBezTo>
                <a:cubicBezTo>
                  <a:pt x="16553" y="11165"/>
                  <a:pt x="16558" y="11170"/>
                  <a:pt x="16563" y="11170"/>
                </a:cubicBezTo>
                <a:cubicBezTo>
                  <a:pt x="16566" y="11170"/>
                  <a:pt x="16569" y="11168"/>
                  <a:pt x="16571" y="11165"/>
                </a:cubicBezTo>
                <a:cubicBezTo>
                  <a:pt x="16578" y="11155"/>
                  <a:pt x="16580" y="11138"/>
                  <a:pt x="16575" y="11124"/>
                </a:cubicBezTo>
                <a:cubicBezTo>
                  <a:pt x="16569" y="11104"/>
                  <a:pt x="16565" y="11081"/>
                  <a:pt x="16565" y="11054"/>
                </a:cubicBezTo>
                <a:cubicBezTo>
                  <a:pt x="16565" y="11037"/>
                  <a:pt x="16559" y="11025"/>
                  <a:pt x="16551" y="11025"/>
                </a:cubicBezTo>
                <a:cubicBezTo>
                  <a:pt x="16536" y="11025"/>
                  <a:pt x="16523" y="11014"/>
                  <a:pt x="16510" y="11003"/>
                </a:cubicBezTo>
                <a:cubicBezTo>
                  <a:pt x="16502" y="10996"/>
                  <a:pt x="16495" y="10991"/>
                  <a:pt x="16488" y="10986"/>
                </a:cubicBezTo>
                <a:close/>
                <a:moveTo>
                  <a:pt x="9416" y="10987"/>
                </a:moveTo>
                <a:cubicBezTo>
                  <a:pt x="9416" y="10989"/>
                  <a:pt x="9416" y="10990"/>
                  <a:pt x="9416" y="10992"/>
                </a:cubicBezTo>
                <a:cubicBezTo>
                  <a:pt x="9416" y="11047"/>
                  <a:pt x="9438" y="11090"/>
                  <a:pt x="9465" y="11090"/>
                </a:cubicBezTo>
                <a:cubicBezTo>
                  <a:pt x="9478" y="11090"/>
                  <a:pt x="9490" y="11080"/>
                  <a:pt x="9498" y="11063"/>
                </a:cubicBezTo>
                <a:lnTo>
                  <a:pt x="9817" y="12209"/>
                </a:lnTo>
                <a:cubicBezTo>
                  <a:pt x="9813" y="12205"/>
                  <a:pt x="9809" y="12199"/>
                  <a:pt x="9804" y="12199"/>
                </a:cubicBezTo>
                <a:cubicBezTo>
                  <a:pt x="9785" y="12199"/>
                  <a:pt x="9769" y="12230"/>
                  <a:pt x="9769" y="12267"/>
                </a:cubicBezTo>
                <a:cubicBezTo>
                  <a:pt x="9769" y="12305"/>
                  <a:pt x="9785" y="12335"/>
                  <a:pt x="9804" y="12335"/>
                </a:cubicBezTo>
                <a:cubicBezTo>
                  <a:pt x="9821" y="12335"/>
                  <a:pt x="9833" y="12309"/>
                  <a:pt x="9836" y="12277"/>
                </a:cubicBezTo>
                <a:lnTo>
                  <a:pt x="10107" y="13254"/>
                </a:lnTo>
                <a:cubicBezTo>
                  <a:pt x="10093" y="13265"/>
                  <a:pt x="10078" y="13276"/>
                  <a:pt x="10063" y="13285"/>
                </a:cubicBezTo>
                <a:cubicBezTo>
                  <a:pt x="10046" y="13296"/>
                  <a:pt x="10035" y="13314"/>
                  <a:pt x="10025" y="13329"/>
                </a:cubicBezTo>
                <a:cubicBezTo>
                  <a:pt x="10013" y="13349"/>
                  <a:pt x="10006" y="13361"/>
                  <a:pt x="9993" y="13361"/>
                </a:cubicBezTo>
                <a:cubicBezTo>
                  <a:pt x="9981" y="13361"/>
                  <a:pt x="9963" y="13347"/>
                  <a:pt x="9943" y="13333"/>
                </a:cubicBezTo>
                <a:cubicBezTo>
                  <a:pt x="9931" y="13324"/>
                  <a:pt x="9917" y="13321"/>
                  <a:pt x="9904" y="13314"/>
                </a:cubicBezTo>
                <a:cubicBezTo>
                  <a:pt x="9908" y="13303"/>
                  <a:pt x="9912" y="13290"/>
                  <a:pt x="9912" y="13275"/>
                </a:cubicBezTo>
                <a:cubicBezTo>
                  <a:pt x="9912" y="13237"/>
                  <a:pt x="9897" y="13206"/>
                  <a:pt x="9878" y="13206"/>
                </a:cubicBezTo>
                <a:cubicBezTo>
                  <a:pt x="9859" y="13206"/>
                  <a:pt x="9844" y="13237"/>
                  <a:pt x="9844" y="13275"/>
                </a:cubicBezTo>
                <a:cubicBezTo>
                  <a:pt x="9844" y="13285"/>
                  <a:pt x="9847" y="13292"/>
                  <a:pt x="9849" y="13300"/>
                </a:cubicBezTo>
                <a:cubicBezTo>
                  <a:pt x="9815" y="13305"/>
                  <a:pt x="9786" y="13321"/>
                  <a:pt x="9760" y="13340"/>
                </a:cubicBezTo>
                <a:cubicBezTo>
                  <a:pt x="9731" y="13361"/>
                  <a:pt x="9704" y="13381"/>
                  <a:pt x="9665" y="13381"/>
                </a:cubicBezTo>
                <a:cubicBezTo>
                  <a:pt x="9661" y="13381"/>
                  <a:pt x="9660" y="13377"/>
                  <a:pt x="9656" y="13376"/>
                </a:cubicBezTo>
                <a:cubicBezTo>
                  <a:pt x="9668" y="13350"/>
                  <a:pt x="9675" y="13317"/>
                  <a:pt x="9675" y="13279"/>
                </a:cubicBezTo>
                <a:cubicBezTo>
                  <a:pt x="9675" y="13198"/>
                  <a:pt x="9642" y="13131"/>
                  <a:pt x="9601" y="13131"/>
                </a:cubicBezTo>
                <a:cubicBezTo>
                  <a:pt x="9567" y="13131"/>
                  <a:pt x="9540" y="13179"/>
                  <a:pt x="9532" y="13242"/>
                </a:cubicBezTo>
                <a:cubicBezTo>
                  <a:pt x="9476" y="13164"/>
                  <a:pt x="9414" y="13076"/>
                  <a:pt x="9386" y="12991"/>
                </a:cubicBezTo>
                <a:cubicBezTo>
                  <a:pt x="9373" y="12952"/>
                  <a:pt x="9364" y="12914"/>
                  <a:pt x="9354" y="12878"/>
                </a:cubicBezTo>
                <a:cubicBezTo>
                  <a:pt x="9334" y="12804"/>
                  <a:pt x="9315" y="12735"/>
                  <a:pt x="9277" y="12673"/>
                </a:cubicBezTo>
                <a:cubicBezTo>
                  <a:pt x="9272" y="12666"/>
                  <a:pt x="9254" y="12629"/>
                  <a:pt x="9238" y="12601"/>
                </a:cubicBezTo>
                <a:cubicBezTo>
                  <a:pt x="9243" y="12580"/>
                  <a:pt x="9247" y="12558"/>
                  <a:pt x="9247" y="12533"/>
                </a:cubicBezTo>
                <a:cubicBezTo>
                  <a:pt x="9247" y="12451"/>
                  <a:pt x="9214" y="12385"/>
                  <a:pt x="9173" y="12385"/>
                </a:cubicBezTo>
                <a:cubicBezTo>
                  <a:pt x="9160" y="12385"/>
                  <a:pt x="9148" y="12395"/>
                  <a:pt x="9137" y="12407"/>
                </a:cubicBezTo>
                <a:cubicBezTo>
                  <a:pt x="9136" y="12406"/>
                  <a:pt x="9135" y="12404"/>
                  <a:pt x="9134" y="12403"/>
                </a:cubicBezTo>
                <a:cubicBezTo>
                  <a:pt x="9135" y="12402"/>
                  <a:pt x="9134" y="12400"/>
                  <a:pt x="9134" y="12399"/>
                </a:cubicBezTo>
                <a:cubicBezTo>
                  <a:pt x="9134" y="12359"/>
                  <a:pt x="9131" y="12330"/>
                  <a:pt x="9127" y="12306"/>
                </a:cubicBezTo>
                <a:cubicBezTo>
                  <a:pt x="9125" y="12289"/>
                  <a:pt x="9124" y="12277"/>
                  <a:pt x="9124" y="12264"/>
                </a:cubicBezTo>
                <a:cubicBezTo>
                  <a:pt x="9124" y="12215"/>
                  <a:pt x="9114" y="12186"/>
                  <a:pt x="9104" y="12155"/>
                </a:cubicBezTo>
                <a:cubicBezTo>
                  <a:pt x="9102" y="12148"/>
                  <a:pt x="9099" y="12141"/>
                  <a:pt x="9097" y="12133"/>
                </a:cubicBezTo>
                <a:cubicBezTo>
                  <a:pt x="9145" y="12055"/>
                  <a:pt x="9181" y="11836"/>
                  <a:pt x="9181" y="11740"/>
                </a:cubicBezTo>
                <a:cubicBezTo>
                  <a:pt x="9181" y="11650"/>
                  <a:pt x="9171" y="11577"/>
                  <a:pt x="9161" y="11506"/>
                </a:cubicBezTo>
                <a:cubicBezTo>
                  <a:pt x="9209" y="11476"/>
                  <a:pt x="9245" y="11388"/>
                  <a:pt x="9245" y="11281"/>
                </a:cubicBezTo>
                <a:cubicBezTo>
                  <a:pt x="9245" y="11241"/>
                  <a:pt x="9239" y="11206"/>
                  <a:pt x="9230" y="11173"/>
                </a:cubicBezTo>
                <a:lnTo>
                  <a:pt x="9416" y="10987"/>
                </a:lnTo>
                <a:close/>
                <a:moveTo>
                  <a:pt x="3483" y="11044"/>
                </a:moveTo>
                <a:cubicBezTo>
                  <a:pt x="3489" y="11046"/>
                  <a:pt x="3501" y="11081"/>
                  <a:pt x="3501" y="11096"/>
                </a:cubicBezTo>
                <a:cubicBezTo>
                  <a:pt x="3501" y="11100"/>
                  <a:pt x="3500" y="11107"/>
                  <a:pt x="3499" y="11113"/>
                </a:cubicBezTo>
                <a:cubicBezTo>
                  <a:pt x="3492" y="11094"/>
                  <a:pt x="3483" y="11069"/>
                  <a:pt x="3481" y="11062"/>
                </a:cubicBezTo>
                <a:cubicBezTo>
                  <a:pt x="3481" y="11058"/>
                  <a:pt x="3480" y="11055"/>
                  <a:pt x="3479" y="11051"/>
                </a:cubicBezTo>
                <a:cubicBezTo>
                  <a:pt x="3481" y="11050"/>
                  <a:pt x="3482" y="11047"/>
                  <a:pt x="3483" y="11044"/>
                </a:cubicBezTo>
                <a:close/>
                <a:moveTo>
                  <a:pt x="14791" y="11117"/>
                </a:moveTo>
                <a:cubicBezTo>
                  <a:pt x="14772" y="11117"/>
                  <a:pt x="14756" y="11148"/>
                  <a:pt x="14756" y="11186"/>
                </a:cubicBezTo>
                <a:cubicBezTo>
                  <a:pt x="14756" y="11223"/>
                  <a:pt x="14772" y="11253"/>
                  <a:pt x="14791" y="11253"/>
                </a:cubicBezTo>
                <a:cubicBezTo>
                  <a:pt x="14810" y="11253"/>
                  <a:pt x="14824" y="11223"/>
                  <a:pt x="14824" y="11186"/>
                </a:cubicBezTo>
                <a:cubicBezTo>
                  <a:pt x="14824" y="11148"/>
                  <a:pt x="14810" y="11117"/>
                  <a:pt x="14791" y="11117"/>
                </a:cubicBezTo>
                <a:close/>
                <a:moveTo>
                  <a:pt x="12986" y="11154"/>
                </a:moveTo>
                <a:cubicBezTo>
                  <a:pt x="12967" y="11154"/>
                  <a:pt x="12951" y="11185"/>
                  <a:pt x="12951" y="11223"/>
                </a:cubicBezTo>
                <a:cubicBezTo>
                  <a:pt x="12951" y="11261"/>
                  <a:pt x="12967" y="11290"/>
                  <a:pt x="12986" y="11290"/>
                </a:cubicBezTo>
                <a:cubicBezTo>
                  <a:pt x="13005" y="11290"/>
                  <a:pt x="13019" y="11261"/>
                  <a:pt x="13019" y="11223"/>
                </a:cubicBezTo>
                <a:cubicBezTo>
                  <a:pt x="13019" y="11185"/>
                  <a:pt x="13005" y="11154"/>
                  <a:pt x="12986" y="11154"/>
                </a:cubicBezTo>
                <a:close/>
                <a:moveTo>
                  <a:pt x="5176" y="11156"/>
                </a:moveTo>
                <a:cubicBezTo>
                  <a:pt x="5223" y="11156"/>
                  <a:pt x="5257" y="11185"/>
                  <a:pt x="5290" y="11212"/>
                </a:cubicBezTo>
                <a:cubicBezTo>
                  <a:pt x="5304" y="11224"/>
                  <a:pt x="5317" y="11236"/>
                  <a:pt x="5331" y="11245"/>
                </a:cubicBezTo>
                <a:cubicBezTo>
                  <a:pt x="5327" y="11259"/>
                  <a:pt x="5322" y="11273"/>
                  <a:pt x="5322" y="11290"/>
                </a:cubicBezTo>
                <a:cubicBezTo>
                  <a:pt x="5322" y="11295"/>
                  <a:pt x="5324" y="11299"/>
                  <a:pt x="5324" y="11303"/>
                </a:cubicBezTo>
                <a:cubicBezTo>
                  <a:pt x="5324" y="11303"/>
                  <a:pt x="5323" y="11302"/>
                  <a:pt x="5322" y="11302"/>
                </a:cubicBezTo>
                <a:cubicBezTo>
                  <a:pt x="5318" y="11303"/>
                  <a:pt x="5314" y="11304"/>
                  <a:pt x="5309" y="11304"/>
                </a:cubicBezTo>
                <a:cubicBezTo>
                  <a:pt x="5299" y="11304"/>
                  <a:pt x="5291" y="11293"/>
                  <a:pt x="5281" y="11279"/>
                </a:cubicBezTo>
                <a:cubicBezTo>
                  <a:pt x="5269" y="11261"/>
                  <a:pt x="5255" y="11242"/>
                  <a:pt x="5236" y="11242"/>
                </a:cubicBezTo>
                <a:lnTo>
                  <a:pt x="5182" y="11242"/>
                </a:lnTo>
                <a:cubicBezTo>
                  <a:pt x="5186" y="11230"/>
                  <a:pt x="5185" y="11213"/>
                  <a:pt x="5180" y="11203"/>
                </a:cubicBezTo>
                <a:cubicBezTo>
                  <a:pt x="5168" y="11179"/>
                  <a:pt x="5156" y="11180"/>
                  <a:pt x="5145" y="11181"/>
                </a:cubicBezTo>
                <a:cubicBezTo>
                  <a:pt x="5146" y="11175"/>
                  <a:pt x="5148" y="11170"/>
                  <a:pt x="5149" y="11165"/>
                </a:cubicBezTo>
                <a:cubicBezTo>
                  <a:pt x="5158" y="11163"/>
                  <a:pt x="5165" y="11156"/>
                  <a:pt x="5176" y="11156"/>
                </a:cubicBezTo>
                <a:close/>
                <a:moveTo>
                  <a:pt x="14315" y="11182"/>
                </a:moveTo>
                <a:cubicBezTo>
                  <a:pt x="14311" y="11202"/>
                  <a:pt x="14307" y="11223"/>
                  <a:pt x="14303" y="11244"/>
                </a:cubicBezTo>
                <a:cubicBezTo>
                  <a:pt x="14299" y="11234"/>
                  <a:pt x="14296" y="11223"/>
                  <a:pt x="14292" y="11212"/>
                </a:cubicBezTo>
                <a:cubicBezTo>
                  <a:pt x="14289" y="11204"/>
                  <a:pt x="14286" y="11196"/>
                  <a:pt x="14282" y="11188"/>
                </a:cubicBezTo>
                <a:cubicBezTo>
                  <a:pt x="14283" y="11188"/>
                  <a:pt x="14284" y="11188"/>
                  <a:pt x="14285" y="11188"/>
                </a:cubicBezTo>
                <a:cubicBezTo>
                  <a:pt x="14288" y="11188"/>
                  <a:pt x="14291" y="11188"/>
                  <a:pt x="14294" y="11188"/>
                </a:cubicBezTo>
                <a:cubicBezTo>
                  <a:pt x="14298" y="11188"/>
                  <a:pt x="14305" y="11188"/>
                  <a:pt x="14312" y="11183"/>
                </a:cubicBezTo>
                <a:cubicBezTo>
                  <a:pt x="14313" y="11183"/>
                  <a:pt x="14314" y="11183"/>
                  <a:pt x="14315" y="11182"/>
                </a:cubicBezTo>
                <a:close/>
                <a:moveTo>
                  <a:pt x="5719" y="11285"/>
                </a:moveTo>
                <a:cubicBezTo>
                  <a:pt x="5712" y="11281"/>
                  <a:pt x="5706" y="11285"/>
                  <a:pt x="5702" y="11296"/>
                </a:cubicBezTo>
                <a:cubicBezTo>
                  <a:pt x="5697" y="11311"/>
                  <a:pt x="5686" y="11327"/>
                  <a:pt x="5676" y="11322"/>
                </a:cubicBezTo>
                <a:cubicBezTo>
                  <a:pt x="5671" y="11320"/>
                  <a:pt x="5667" y="11322"/>
                  <a:pt x="5663" y="11328"/>
                </a:cubicBezTo>
                <a:cubicBezTo>
                  <a:pt x="5659" y="11333"/>
                  <a:pt x="5657" y="11342"/>
                  <a:pt x="5657" y="11351"/>
                </a:cubicBezTo>
                <a:lnTo>
                  <a:pt x="5657" y="11377"/>
                </a:lnTo>
                <a:cubicBezTo>
                  <a:pt x="5657" y="11392"/>
                  <a:pt x="5663" y="11408"/>
                  <a:pt x="5673" y="11408"/>
                </a:cubicBezTo>
                <a:cubicBezTo>
                  <a:pt x="5675" y="11408"/>
                  <a:pt x="5678" y="11408"/>
                  <a:pt x="5680" y="11407"/>
                </a:cubicBezTo>
                <a:cubicBezTo>
                  <a:pt x="5694" y="11407"/>
                  <a:pt x="5713" y="11396"/>
                  <a:pt x="5725" y="11372"/>
                </a:cubicBezTo>
                <a:cubicBezTo>
                  <a:pt x="5727" y="11366"/>
                  <a:pt x="5729" y="11359"/>
                  <a:pt x="5729" y="11351"/>
                </a:cubicBezTo>
                <a:lnTo>
                  <a:pt x="5729" y="11313"/>
                </a:lnTo>
                <a:cubicBezTo>
                  <a:pt x="5729" y="11299"/>
                  <a:pt x="5725" y="11288"/>
                  <a:pt x="5719" y="11285"/>
                </a:cubicBezTo>
                <a:close/>
                <a:moveTo>
                  <a:pt x="10753" y="11303"/>
                </a:moveTo>
                <a:cubicBezTo>
                  <a:pt x="10734" y="11303"/>
                  <a:pt x="10718" y="11334"/>
                  <a:pt x="10718" y="11372"/>
                </a:cubicBezTo>
                <a:cubicBezTo>
                  <a:pt x="10718" y="11410"/>
                  <a:pt x="10734" y="11440"/>
                  <a:pt x="10753" y="11440"/>
                </a:cubicBezTo>
                <a:cubicBezTo>
                  <a:pt x="10772" y="11440"/>
                  <a:pt x="10787" y="11410"/>
                  <a:pt x="10787" y="11372"/>
                </a:cubicBezTo>
                <a:cubicBezTo>
                  <a:pt x="10787" y="11334"/>
                  <a:pt x="10772" y="11303"/>
                  <a:pt x="10753" y="11303"/>
                </a:cubicBezTo>
                <a:close/>
                <a:moveTo>
                  <a:pt x="5416" y="11313"/>
                </a:moveTo>
                <a:cubicBezTo>
                  <a:pt x="5447" y="11369"/>
                  <a:pt x="5492" y="11411"/>
                  <a:pt x="5536" y="11419"/>
                </a:cubicBezTo>
                <a:cubicBezTo>
                  <a:pt x="5536" y="11424"/>
                  <a:pt x="5537" y="11428"/>
                  <a:pt x="5538" y="11433"/>
                </a:cubicBezTo>
                <a:cubicBezTo>
                  <a:pt x="5540" y="11442"/>
                  <a:pt x="5545" y="11448"/>
                  <a:pt x="5550" y="11449"/>
                </a:cubicBezTo>
                <a:lnTo>
                  <a:pt x="5580" y="11454"/>
                </a:lnTo>
                <a:cubicBezTo>
                  <a:pt x="5589" y="11459"/>
                  <a:pt x="5596" y="11477"/>
                  <a:pt x="5602" y="11493"/>
                </a:cubicBezTo>
                <a:cubicBezTo>
                  <a:pt x="5605" y="11499"/>
                  <a:pt x="5607" y="11505"/>
                  <a:pt x="5610" y="11511"/>
                </a:cubicBezTo>
                <a:cubicBezTo>
                  <a:pt x="5607" y="11514"/>
                  <a:pt x="5603" y="11514"/>
                  <a:pt x="5600" y="11517"/>
                </a:cubicBezTo>
                <a:cubicBezTo>
                  <a:pt x="5592" y="11481"/>
                  <a:pt x="5578" y="11453"/>
                  <a:pt x="5558" y="11453"/>
                </a:cubicBezTo>
                <a:cubicBezTo>
                  <a:pt x="5536" y="11453"/>
                  <a:pt x="5522" y="11483"/>
                  <a:pt x="5515" y="11521"/>
                </a:cubicBezTo>
                <a:cubicBezTo>
                  <a:pt x="5506" y="11519"/>
                  <a:pt x="5495" y="11518"/>
                  <a:pt x="5487" y="11514"/>
                </a:cubicBezTo>
                <a:cubicBezTo>
                  <a:pt x="5477" y="11511"/>
                  <a:pt x="5467" y="11508"/>
                  <a:pt x="5457" y="11505"/>
                </a:cubicBezTo>
                <a:cubicBezTo>
                  <a:pt x="5460" y="11496"/>
                  <a:pt x="5463" y="11484"/>
                  <a:pt x="5464" y="11472"/>
                </a:cubicBezTo>
                <a:cubicBezTo>
                  <a:pt x="5465" y="11459"/>
                  <a:pt x="5462" y="11446"/>
                  <a:pt x="5456" y="11440"/>
                </a:cubicBezTo>
                <a:cubicBezTo>
                  <a:pt x="5445" y="11430"/>
                  <a:pt x="5435" y="11423"/>
                  <a:pt x="5426" y="11418"/>
                </a:cubicBezTo>
                <a:cubicBezTo>
                  <a:pt x="5403" y="11404"/>
                  <a:pt x="5394" y="11396"/>
                  <a:pt x="5392" y="11371"/>
                </a:cubicBezTo>
                <a:cubicBezTo>
                  <a:pt x="5404" y="11358"/>
                  <a:pt x="5412" y="11340"/>
                  <a:pt x="5416" y="11313"/>
                </a:cubicBezTo>
                <a:close/>
                <a:moveTo>
                  <a:pt x="4797" y="11338"/>
                </a:moveTo>
                <a:cubicBezTo>
                  <a:pt x="4821" y="11338"/>
                  <a:pt x="4830" y="11345"/>
                  <a:pt x="4833" y="11348"/>
                </a:cubicBezTo>
                <a:cubicBezTo>
                  <a:pt x="4833" y="11349"/>
                  <a:pt x="4834" y="11349"/>
                  <a:pt x="4835" y="11350"/>
                </a:cubicBezTo>
                <a:cubicBezTo>
                  <a:pt x="4843" y="11354"/>
                  <a:pt x="4860" y="11357"/>
                  <a:pt x="4873" y="11358"/>
                </a:cubicBezTo>
                <a:lnTo>
                  <a:pt x="4873" y="11367"/>
                </a:lnTo>
                <a:cubicBezTo>
                  <a:pt x="4873" y="11388"/>
                  <a:pt x="4866" y="11417"/>
                  <a:pt x="4859" y="11447"/>
                </a:cubicBezTo>
                <a:cubicBezTo>
                  <a:pt x="4849" y="11488"/>
                  <a:pt x="4837" y="11534"/>
                  <a:pt x="4837" y="11584"/>
                </a:cubicBezTo>
                <a:cubicBezTo>
                  <a:pt x="4837" y="11620"/>
                  <a:pt x="4833" y="11642"/>
                  <a:pt x="4827" y="11665"/>
                </a:cubicBezTo>
                <a:cubicBezTo>
                  <a:pt x="4827" y="11665"/>
                  <a:pt x="4827" y="11665"/>
                  <a:pt x="4827" y="11665"/>
                </a:cubicBezTo>
                <a:lnTo>
                  <a:pt x="4810" y="11665"/>
                </a:lnTo>
                <a:cubicBezTo>
                  <a:pt x="4802" y="11665"/>
                  <a:pt x="4795" y="11678"/>
                  <a:pt x="4795" y="11695"/>
                </a:cubicBezTo>
                <a:lnTo>
                  <a:pt x="4795" y="11899"/>
                </a:lnTo>
                <a:cubicBezTo>
                  <a:pt x="4795" y="11912"/>
                  <a:pt x="4788" y="11922"/>
                  <a:pt x="4777" y="11937"/>
                </a:cubicBezTo>
                <a:cubicBezTo>
                  <a:pt x="4771" y="11945"/>
                  <a:pt x="4766" y="11954"/>
                  <a:pt x="4761" y="11963"/>
                </a:cubicBezTo>
                <a:cubicBezTo>
                  <a:pt x="4758" y="11969"/>
                  <a:pt x="4756" y="11976"/>
                  <a:pt x="4756" y="11984"/>
                </a:cubicBezTo>
                <a:lnTo>
                  <a:pt x="4756" y="12005"/>
                </a:lnTo>
                <a:cubicBezTo>
                  <a:pt x="4756" y="12053"/>
                  <a:pt x="4777" y="12082"/>
                  <a:pt x="4797" y="12082"/>
                </a:cubicBezTo>
                <a:cubicBezTo>
                  <a:pt x="4832" y="12082"/>
                  <a:pt x="4865" y="12075"/>
                  <a:pt x="4896" y="12069"/>
                </a:cubicBezTo>
                <a:cubicBezTo>
                  <a:pt x="4928" y="12063"/>
                  <a:pt x="4961" y="12056"/>
                  <a:pt x="4998" y="12056"/>
                </a:cubicBezTo>
                <a:cubicBezTo>
                  <a:pt x="5023" y="12056"/>
                  <a:pt x="5036" y="12075"/>
                  <a:pt x="5052" y="12098"/>
                </a:cubicBezTo>
                <a:cubicBezTo>
                  <a:pt x="5061" y="12112"/>
                  <a:pt x="5072" y="12128"/>
                  <a:pt x="5085" y="12138"/>
                </a:cubicBezTo>
                <a:lnTo>
                  <a:pt x="5085" y="12180"/>
                </a:lnTo>
                <a:cubicBezTo>
                  <a:pt x="5085" y="12244"/>
                  <a:pt x="5081" y="12324"/>
                  <a:pt x="5073" y="12351"/>
                </a:cubicBezTo>
                <a:cubicBezTo>
                  <a:pt x="5071" y="12356"/>
                  <a:pt x="5070" y="12361"/>
                  <a:pt x="5070" y="12366"/>
                </a:cubicBezTo>
                <a:lnTo>
                  <a:pt x="5070" y="12626"/>
                </a:lnTo>
                <a:cubicBezTo>
                  <a:pt x="5070" y="12733"/>
                  <a:pt x="5117" y="12779"/>
                  <a:pt x="5151" y="12813"/>
                </a:cubicBezTo>
                <a:lnTo>
                  <a:pt x="5158" y="12819"/>
                </a:lnTo>
                <a:cubicBezTo>
                  <a:pt x="5160" y="12821"/>
                  <a:pt x="5162" y="12830"/>
                  <a:pt x="5164" y="12835"/>
                </a:cubicBezTo>
                <a:cubicBezTo>
                  <a:pt x="5140" y="12838"/>
                  <a:pt x="5121" y="12876"/>
                  <a:pt x="5119" y="12925"/>
                </a:cubicBezTo>
                <a:cubicBezTo>
                  <a:pt x="5112" y="12917"/>
                  <a:pt x="5108" y="12905"/>
                  <a:pt x="5104" y="12885"/>
                </a:cubicBezTo>
                <a:cubicBezTo>
                  <a:pt x="5102" y="12876"/>
                  <a:pt x="5100" y="12867"/>
                  <a:pt x="5098" y="12858"/>
                </a:cubicBezTo>
                <a:cubicBezTo>
                  <a:pt x="5091" y="12832"/>
                  <a:pt x="5017" y="12728"/>
                  <a:pt x="5005" y="12728"/>
                </a:cubicBezTo>
                <a:cubicBezTo>
                  <a:pt x="5000" y="12728"/>
                  <a:pt x="4995" y="12732"/>
                  <a:pt x="4992" y="12741"/>
                </a:cubicBezTo>
                <a:cubicBezTo>
                  <a:pt x="4990" y="12748"/>
                  <a:pt x="4988" y="12756"/>
                  <a:pt x="4987" y="12764"/>
                </a:cubicBezTo>
                <a:cubicBezTo>
                  <a:pt x="4979" y="12750"/>
                  <a:pt x="4980" y="12733"/>
                  <a:pt x="4980" y="12701"/>
                </a:cubicBezTo>
                <a:cubicBezTo>
                  <a:pt x="4981" y="12677"/>
                  <a:pt x="4982" y="12650"/>
                  <a:pt x="4977" y="12622"/>
                </a:cubicBezTo>
                <a:cubicBezTo>
                  <a:pt x="4971" y="12581"/>
                  <a:pt x="4961" y="12564"/>
                  <a:pt x="4952" y="12548"/>
                </a:cubicBezTo>
                <a:cubicBezTo>
                  <a:pt x="4950" y="12545"/>
                  <a:pt x="4947" y="12541"/>
                  <a:pt x="4945" y="12537"/>
                </a:cubicBezTo>
                <a:cubicBezTo>
                  <a:pt x="4937" y="12520"/>
                  <a:pt x="4928" y="12505"/>
                  <a:pt x="4920" y="12490"/>
                </a:cubicBezTo>
                <a:cubicBezTo>
                  <a:pt x="4895" y="12446"/>
                  <a:pt x="4875" y="12410"/>
                  <a:pt x="4866" y="12342"/>
                </a:cubicBezTo>
                <a:cubicBezTo>
                  <a:pt x="4865" y="12329"/>
                  <a:pt x="4859" y="12320"/>
                  <a:pt x="4852" y="12320"/>
                </a:cubicBezTo>
                <a:lnTo>
                  <a:pt x="4840" y="12320"/>
                </a:lnTo>
                <a:cubicBezTo>
                  <a:pt x="4829" y="12320"/>
                  <a:pt x="4820" y="12327"/>
                  <a:pt x="4813" y="12333"/>
                </a:cubicBezTo>
                <a:cubicBezTo>
                  <a:pt x="4808" y="12337"/>
                  <a:pt x="4803" y="12341"/>
                  <a:pt x="4799" y="12341"/>
                </a:cubicBezTo>
                <a:cubicBezTo>
                  <a:pt x="4777" y="12341"/>
                  <a:pt x="4762" y="12325"/>
                  <a:pt x="4748" y="12307"/>
                </a:cubicBezTo>
                <a:lnTo>
                  <a:pt x="4667" y="11805"/>
                </a:lnTo>
                <a:lnTo>
                  <a:pt x="4641" y="11644"/>
                </a:lnTo>
                <a:cubicBezTo>
                  <a:pt x="4645" y="11630"/>
                  <a:pt x="4650" y="11615"/>
                  <a:pt x="4656" y="11598"/>
                </a:cubicBezTo>
                <a:cubicBezTo>
                  <a:pt x="4664" y="11577"/>
                  <a:pt x="4672" y="11553"/>
                  <a:pt x="4677" y="11527"/>
                </a:cubicBezTo>
                <a:cubicBezTo>
                  <a:pt x="4697" y="11515"/>
                  <a:pt x="4713" y="11484"/>
                  <a:pt x="4713" y="11440"/>
                </a:cubicBezTo>
                <a:cubicBezTo>
                  <a:pt x="4713" y="11422"/>
                  <a:pt x="4708" y="11409"/>
                  <a:pt x="4704" y="11394"/>
                </a:cubicBezTo>
                <a:cubicBezTo>
                  <a:pt x="4734" y="11342"/>
                  <a:pt x="4789" y="11338"/>
                  <a:pt x="4797" y="11338"/>
                </a:cubicBezTo>
                <a:close/>
                <a:moveTo>
                  <a:pt x="14865" y="11341"/>
                </a:moveTo>
                <a:cubicBezTo>
                  <a:pt x="14846" y="11341"/>
                  <a:pt x="14831" y="11372"/>
                  <a:pt x="14831" y="11409"/>
                </a:cubicBezTo>
                <a:cubicBezTo>
                  <a:pt x="14831" y="11447"/>
                  <a:pt x="14846" y="11477"/>
                  <a:pt x="14865" y="11477"/>
                </a:cubicBezTo>
                <a:cubicBezTo>
                  <a:pt x="14884" y="11477"/>
                  <a:pt x="14899" y="11447"/>
                  <a:pt x="14899" y="11409"/>
                </a:cubicBezTo>
                <a:cubicBezTo>
                  <a:pt x="14899" y="11372"/>
                  <a:pt x="14884" y="11341"/>
                  <a:pt x="14865" y="11341"/>
                </a:cubicBezTo>
                <a:close/>
                <a:moveTo>
                  <a:pt x="15144" y="11341"/>
                </a:moveTo>
                <a:cubicBezTo>
                  <a:pt x="15125" y="11341"/>
                  <a:pt x="15110" y="11372"/>
                  <a:pt x="15110" y="11409"/>
                </a:cubicBezTo>
                <a:cubicBezTo>
                  <a:pt x="15110" y="11447"/>
                  <a:pt x="15125" y="11477"/>
                  <a:pt x="15144" y="11477"/>
                </a:cubicBezTo>
                <a:cubicBezTo>
                  <a:pt x="15163" y="11477"/>
                  <a:pt x="15178" y="11447"/>
                  <a:pt x="15178" y="11409"/>
                </a:cubicBezTo>
                <a:cubicBezTo>
                  <a:pt x="15178" y="11372"/>
                  <a:pt x="15163" y="11341"/>
                  <a:pt x="15144" y="11341"/>
                </a:cubicBezTo>
                <a:close/>
                <a:moveTo>
                  <a:pt x="9875" y="11415"/>
                </a:moveTo>
                <a:cubicBezTo>
                  <a:pt x="9848" y="11415"/>
                  <a:pt x="9825" y="11460"/>
                  <a:pt x="9825" y="11514"/>
                </a:cubicBezTo>
                <a:cubicBezTo>
                  <a:pt x="9825" y="11569"/>
                  <a:pt x="9848" y="11612"/>
                  <a:pt x="9875" y="11612"/>
                </a:cubicBezTo>
                <a:cubicBezTo>
                  <a:pt x="9902" y="11612"/>
                  <a:pt x="9924" y="11569"/>
                  <a:pt x="9924" y="11514"/>
                </a:cubicBezTo>
                <a:cubicBezTo>
                  <a:pt x="9924" y="11460"/>
                  <a:pt x="9902" y="11415"/>
                  <a:pt x="9875" y="11415"/>
                </a:cubicBezTo>
                <a:close/>
                <a:moveTo>
                  <a:pt x="14567" y="11415"/>
                </a:moveTo>
                <a:cubicBezTo>
                  <a:pt x="14549" y="11415"/>
                  <a:pt x="14533" y="11446"/>
                  <a:pt x="14533" y="11484"/>
                </a:cubicBezTo>
                <a:cubicBezTo>
                  <a:pt x="14533" y="11522"/>
                  <a:pt x="14549" y="11552"/>
                  <a:pt x="14567" y="11552"/>
                </a:cubicBezTo>
                <a:cubicBezTo>
                  <a:pt x="14586" y="11552"/>
                  <a:pt x="14601" y="11522"/>
                  <a:pt x="14601" y="11484"/>
                </a:cubicBezTo>
                <a:cubicBezTo>
                  <a:pt x="14601" y="11446"/>
                  <a:pt x="14586" y="11415"/>
                  <a:pt x="14567" y="11415"/>
                </a:cubicBezTo>
                <a:close/>
                <a:moveTo>
                  <a:pt x="16317" y="11415"/>
                </a:moveTo>
                <a:cubicBezTo>
                  <a:pt x="16298" y="11415"/>
                  <a:pt x="16282" y="11446"/>
                  <a:pt x="16282" y="11484"/>
                </a:cubicBezTo>
                <a:cubicBezTo>
                  <a:pt x="16282" y="11522"/>
                  <a:pt x="16298" y="11552"/>
                  <a:pt x="16317" y="11552"/>
                </a:cubicBezTo>
                <a:cubicBezTo>
                  <a:pt x="16335" y="11552"/>
                  <a:pt x="16350" y="11522"/>
                  <a:pt x="16350" y="11484"/>
                </a:cubicBezTo>
                <a:cubicBezTo>
                  <a:pt x="16350" y="11446"/>
                  <a:pt x="16335" y="11415"/>
                  <a:pt x="16317" y="11415"/>
                </a:cubicBezTo>
                <a:close/>
                <a:moveTo>
                  <a:pt x="16776" y="11433"/>
                </a:moveTo>
                <a:cubicBezTo>
                  <a:pt x="16748" y="11433"/>
                  <a:pt x="16676" y="11539"/>
                  <a:pt x="16659" y="11539"/>
                </a:cubicBezTo>
                <a:cubicBezTo>
                  <a:pt x="16649" y="11539"/>
                  <a:pt x="16659" y="11577"/>
                  <a:pt x="16659" y="11603"/>
                </a:cubicBezTo>
                <a:cubicBezTo>
                  <a:pt x="16659" y="11658"/>
                  <a:pt x="16673" y="11687"/>
                  <a:pt x="16706" y="11687"/>
                </a:cubicBezTo>
                <a:cubicBezTo>
                  <a:pt x="16737" y="11687"/>
                  <a:pt x="16801" y="11555"/>
                  <a:pt x="16801" y="11496"/>
                </a:cubicBezTo>
                <a:cubicBezTo>
                  <a:pt x="16801" y="11471"/>
                  <a:pt x="16787" y="11433"/>
                  <a:pt x="16776" y="11433"/>
                </a:cubicBezTo>
                <a:close/>
                <a:moveTo>
                  <a:pt x="5715" y="11470"/>
                </a:moveTo>
                <a:cubicBezTo>
                  <a:pt x="5701" y="11470"/>
                  <a:pt x="5683" y="11499"/>
                  <a:pt x="5683" y="11529"/>
                </a:cubicBezTo>
                <a:cubicBezTo>
                  <a:pt x="5683" y="11563"/>
                  <a:pt x="5696" y="11590"/>
                  <a:pt x="5711" y="11601"/>
                </a:cubicBezTo>
                <a:cubicBezTo>
                  <a:pt x="5712" y="11616"/>
                  <a:pt x="5714" y="11632"/>
                  <a:pt x="5717" y="11647"/>
                </a:cubicBezTo>
                <a:cubicBezTo>
                  <a:pt x="5710" y="11648"/>
                  <a:pt x="5700" y="11647"/>
                  <a:pt x="5690" y="11645"/>
                </a:cubicBezTo>
                <a:cubicBezTo>
                  <a:pt x="5678" y="11642"/>
                  <a:pt x="5663" y="11639"/>
                  <a:pt x="5645" y="11639"/>
                </a:cubicBezTo>
                <a:cubicBezTo>
                  <a:pt x="5641" y="11639"/>
                  <a:pt x="5637" y="11642"/>
                  <a:pt x="5634" y="11648"/>
                </a:cubicBezTo>
                <a:lnTo>
                  <a:pt x="5632" y="11653"/>
                </a:lnTo>
                <a:cubicBezTo>
                  <a:pt x="5632" y="11654"/>
                  <a:pt x="5631" y="11656"/>
                  <a:pt x="5630" y="11658"/>
                </a:cubicBezTo>
                <a:cubicBezTo>
                  <a:pt x="5624" y="11661"/>
                  <a:pt x="5620" y="11672"/>
                  <a:pt x="5620" y="11686"/>
                </a:cubicBezTo>
                <a:cubicBezTo>
                  <a:pt x="5620" y="11725"/>
                  <a:pt x="5637" y="11777"/>
                  <a:pt x="5658" y="11784"/>
                </a:cubicBezTo>
                <a:cubicBezTo>
                  <a:pt x="5662" y="11785"/>
                  <a:pt x="5667" y="11782"/>
                  <a:pt x="5670" y="11777"/>
                </a:cubicBezTo>
                <a:cubicBezTo>
                  <a:pt x="5673" y="11771"/>
                  <a:pt x="5675" y="11763"/>
                  <a:pt x="5675" y="11754"/>
                </a:cubicBezTo>
                <a:cubicBezTo>
                  <a:pt x="5677" y="11754"/>
                  <a:pt x="5678" y="11753"/>
                  <a:pt x="5680" y="11752"/>
                </a:cubicBezTo>
                <a:cubicBezTo>
                  <a:pt x="5682" y="11751"/>
                  <a:pt x="5684" y="11750"/>
                  <a:pt x="5687" y="11750"/>
                </a:cubicBezTo>
                <a:cubicBezTo>
                  <a:pt x="5693" y="11750"/>
                  <a:pt x="5701" y="11749"/>
                  <a:pt x="5709" y="11749"/>
                </a:cubicBezTo>
                <a:cubicBezTo>
                  <a:pt x="5718" y="11748"/>
                  <a:pt x="5728" y="11747"/>
                  <a:pt x="5737" y="11747"/>
                </a:cubicBezTo>
                <a:cubicBezTo>
                  <a:pt x="5763" y="11747"/>
                  <a:pt x="5771" y="11754"/>
                  <a:pt x="5775" y="11758"/>
                </a:cubicBezTo>
                <a:cubicBezTo>
                  <a:pt x="5775" y="11759"/>
                  <a:pt x="5776" y="11765"/>
                  <a:pt x="5777" y="11768"/>
                </a:cubicBezTo>
                <a:cubicBezTo>
                  <a:pt x="5780" y="11785"/>
                  <a:pt x="5787" y="11819"/>
                  <a:pt x="5808" y="11819"/>
                </a:cubicBezTo>
                <a:cubicBezTo>
                  <a:pt x="5828" y="11819"/>
                  <a:pt x="5837" y="11788"/>
                  <a:pt x="5843" y="11768"/>
                </a:cubicBezTo>
                <a:cubicBezTo>
                  <a:pt x="5849" y="11750"/>
                  <a:pt x="5851" y="11743"/>
                  <a:pt x="5855" y="11742"/>
                </a:cubicBezTo>
                <a:cubicBezTo>
                  <a:pt x="5859" y="11749"/>
                  <a:pt x="5865" y="11764"/>
                  <a:pt x="5879" y="11764"/>
                </a:cubicBezTo>
                <a:cubicBezTo>
                  <a:pt x="5894" y="11764"/>
                  <a:pt x="5905" y="11750"/>
                  <a:pt x="5915" y="11737"/>
                </a:cubicBezTo>
                <a:cubicBezTo>
                  <a:pt x="5917" y="11734"/>
                  <a:pt x="5918" y="11731"/>
                  <a:pt x="5921" y="11729"/>
                </a:cubicBezTo>
                <a:lnTo>
                  <a:pt x="5995" y="11729"/>
                </a:lnTo>
                <a:cubicBezTo>
                  <a:pt x="6003" y="11729"/>
                  <a:pt x="6011" y="11715"/>
                  <a:pt x="6011" y="11698"/>
                </a:cubicBezTo>
                <a:cubicBezTo>
                  <a:pt x="6011" y="11690"/>
                  <a:pt x="6008" y="11682"/>
                  <a:pt x="6005" y="11676"/>
                </a:cubicBezTo>
                <a:cubicBezTo>
                  <a:pt x="5994" y="11646"/>
                  <a:pt x="5981" y="11628"/>
                  <a:pt x="5967" y="11610"/>
                </a:cubicBezTo>
                <a:cubicBezTo>
                  <a:pt x="5963" y="11604"/>
                  <a:pt x="5959" y="11598"/>
                  <a:pt x="5954" y="11591"/>
                </a:cubicBezTo>
                <a:cubicBezTo>
                  <a:pt x="5954" y="11591"/>
                  <a:pt x="5954" y="11591"/>
                  <a:pt x="5954" y="11591"/>
                </a:cubicBezTo>
                <a:lnTo>
                  <a:pt x="5952" y="11589"/>
                </a:lnTo>
                <a:cubicBezTo>
                  <a:pt x="5950" y="11587"/>
                  <a:pt x="5949" y="11584"/>
                  <a:pt x="5947" y="11582"/>
                </a:cubicBezTo>
                <a:cubicBezTo>
                  <a:pt x="5945" y="11578"/>
                  <a:pt x="5943" y="11577"/>
                  <a:pt x="5940" y="11576"/>
                </a:cubicBezTo>
                <a:cubicBezTo>
                  <a:pt x="5936" y="11570"/>
                  <a:pt x="5931" y="11564"/>
                  <a:pt x="5927" y="11556"/>
                </a:cubicBezTo>
                <a:cubicBezTo>
                  <a:pt x="5906" y="11522"/>
                  <a:pt x="5881" y="11482"/>
                  <a:pt x="5830" y="11482"/>
                </a:cubicBezTo>
                <a:cubicBezTo>
                  <a:pt x="5824" y="11482"/>
                  <a:pt x="5819" y="11483"/>
                  <a:pt x="5813" y="11485"/>
                </a:cubicBezTo>
                <a:cubicBezTo>
                  <a:pt x="5808" y="11487"/>
                  <a:pt x="5803" y="11489"/>
                  <a:pt x="5798" y="11491"/>
                </a:cubicBezTo>
                <a:cubicBezTo>
                  <a:pt x="5788" y="11495"/>
                  <a:pt x="5779" y="11499"/>
                  <a:pt x="5766" y="11499"/>
                </a:cubicBezTo>
                <a:cubicBezTo>
                  <a:pt x="5760" y="11499"/>
                  <a:pt x="5754" y="11494"/>
                  <a:pt x="5747" y="11487"/>
                </a:cubicBezTo>
                <a:cubicBezTo>
                  <a:pt x="5738" y="11479"/>
                  <a:pt x="5728" y="11470"/>
                  <a:pt x="5715" y="11470"/>
                </a:cubicBezTo>
                <a:close/>
                <a:moveTo>
                  <a:pt x="10513" y="11490"/>
                </a:moveTo>
                <a:cubicBezTo>
                  <a:pt x="10472" y="11490"/>
                  <a:pt x="10439" y="11556"/>
                  <a:pt x="10439" y="11638"/>
                </a:cubicBezTo>
                <a:cubicBezTo>
                  <a:pt x="10439" y="11720"/>
                  <a:pt x="10472" y="11786"/>
                  <a:pt x="10513" y="11786"/>
                </a:cubicBezTo>
                <a:cubicBezTo>
                  <a:pt x="10554" y="11786"/>
                  <a:pt x="10587" y="11720"/>
                  <a:pt x="10587" y="11638"/>
                </a:cubicBezTo>
                <a:cubicBezTo>
                  <a:pt x="10587" y="11556"/>
                  <a:pt x="10554" y="11490"/>
                  <a:pt x="10513" y="11490"/>
                </a:cubicBezTo>
                <a:close/>
                <a:moveTo>
                  <a:pt x="15829" y="11522"/>
                </a:moveTo>
                <a:lnTo>
                  <a:pt x="15905" y="11582"/>
                </a:lnTo>
                <a:cubicBezTo>
                  <a:pt x="15897" y="11595"/>
                  <a:pt x="15891" y="11612"/>
                  <a:pt x="15891" y="11633"/>
                </a:cubicBezTo>
                <a:cubicBezTo>
                  <a:pt x="15891" y="11671"/>
                  <a:pt x="15907" y="11701"/>
                  <a:pt x="15926" y="11701"/>
                </a:cubicBezTo>
                <a:cubicBezTo>
                  <a:pt x="15945" y="11701"/>
                  <a:pt x="15960" y="11671"/>
                  <a:pt x="15960" y="11633"/>
                </a:cubicBezTo>
                <a:cubicBezTo>
                  <a:pt x="15960" y="11629"/>
                  <a:pt x="15958" y="11626"/>
                  <a:pt x="15957" y="11622"/>
                </a:cubicBezTo>
                <a:lnTo>
                  <a:pt x="15988" y="11646"/>
                </a:lnTo>
                <a:cubicBezTo>
                  <a:pt x="15989" y="11656"/>
                  <a:pt x="15991" y="11665"/>
                  <a:pt x="15996" y="11669"/>
                </a:cubicBezTo>
                <a:cubicBezTo>
                  <a:pt x="15992" y="11678"/>
                  <a:pt x="15991" y="11690"/>
                  <a:pt x="15994" y="11701"/>
                </a:cubicBezTo>
                <a:cubicBezTo>
                  <a:pt x="16000" y="11726"/>
                  <a:pt x="16010" y="11741"/>
                  <a:pt x="16018" y="11752"/>
                </a:cubicBezTo>
                <a:cubicBezTo>
                  <a:pt x="16022" y="11758"/>
                  <a:pt x="16025" y="11763"/>
                  <a:pt x="16028" y="11768"/>
                </a:cubicBezTo>
                <a:cubicBezTo>
                  <a:pt x="16024" y="11786"/>
                  <a:pt x="16022" y="11804"/>
                  <a:pt x="16022" y="11824"/>
                </a:cubicBezTo>
                <a:cubicBezTo>
                  <a:pt x="16022" y="11866"/>
                  <a:pt x="16031" y="11904"/>
                  <a:pt x="16044" y="11930"/>
                </a:cubicBezTo>
                <a:cubicBezTo>
                  <a:pt x="16044" y="11936"/>
                  <a:pt x="16045" y="11938"/>
                  <a:pt x="16045" y="11944"/>
                </a:cubicBezTo>
                <a:cubicBezTo>
                  <a:pt x="16045" y="11961"/>
                  <a:pt x="16038" y="11988"/>
                  <a:pt x="16032" y="12003"/>
                </a:cubicBezTo>
                <a:cubicBezTo>
                  <a:pt x="16027" y="12008"/>
                  <a:pt x="16024" y="12018"/>
                  <a:pt x="16024" y="12030"/>
                </a:cubicBezTo>
                <a:cubicBezTo>
                  <a:pt x="16024" y="12033"/>
                  <a:pt x="16023" y="12037"/>
                  <a:pt x="16023" y="12042"/>
                </a:cubicBezTo>
                <a:cubicBezTo>
                  <a:pt x="16023" y="12047"/>
                  <a:pt x="16023" y="12050"/>
                  <a:pt x="16023" y="12054"/>
                </a:cubicBezTo>
                <a:cubicBezTo>
                  <a:pt x="16022" y="12058"/>
                  <a:pt x="16022" y="12063"/>
                  <a:pt x="16022" y="12068"/>
                </a:cubicBezTo>
                <a:cubicBezTo>
                  <a:pt x="16022" y="12117"/>
                  <a:pt x="16039" y="12145"/>
                  <a:pt x="16053" y="12167"/>
                </a:cubicBezTo>
                <a:cubicBezTo>
                  <a:pt x="16057" y="12174"/>
                  <a:pt x="16061" y="12180"/>
                  <a:pt x="16064" y="12187"/>
                </a:cubicBezTo>
                <a:cubicBezTo>
                  <a:pt x="16070" y="12199"/>
                  <a:pt x="16080" y="12199"/>
                  <a:pt x="16086" y="12187"/>
                </a:cubicBezTo>
                <a:cubicBezTo>
                  <a:pt x="16092" y="12175"/>
                  <a:pt x="16092" y="12157"/>
                  <a:pt x="16086" y="12145"/>
                </a:cubicBezTo>
                <a:cubicBezTo>
                  <a:pt x="16081" y="12136"/>
                  <a:pt x="16077" y="12128"/>
                  <a:pt x="16072" y="12120"/>
                </a:cubicBezTo>
                <a:cubicBezTo>
                  <a:pt x="16059" y="12101"/>
                  <a:pt x="16052" y="12087"/>
                  <a:pt x="16052" y="12068"/>
                </a:cubicBezTo>
                <a:cubicBezTo>
                  <a:pt x="16052" y="12065"/>
                  <a:pt x="16052" y="12062"/>
                  <a:pt x="16051" y="12060"/>
                </a:cubicBezTo>
                <a:cubicBezTo>
                  <a:pt x="16052" y="12057"/>
                  <a:pt x="16052" y="12054"/>
                  <a:pt x="16053" y="12051"/>
                </a:cubicBezTo>
                <a:cubicBezTo>
                  <a:pt x="16053" y="12049"/>
                  <a:pt x="16053" y="12048"/>
                  <a:pt x="16053" y="12047"/>
                </a:cubicBezTo>
                <a:cubicBezTo>
                  <a:pt x="16060" y="12030"/>
                  <a:pt x="16070" y="11996"/>
                  <a:pt x="16073" y="11963"/>
                </a:cubicBezTo>
                <a:cubicBezTo>
                  <a:pt x="16080" y="11968"/>
                  <a:pt x="16088" y="11972"/>
                  <a:pt x="16096" y="11972"/>
                </a:cubicBezTo>
                <a:cubicBezTo>
                  <a:pt x="16136" y="11972"/>
                  <a:pt x="16169" y="11906"/>
                  <a:pt x="16169" y="11824"/>
                </a:cubicBezTo>
                <a:cubicBezTo>
                  <a:pt x="16169" y="11810"/>
                  <a:pt x="16167" y="11797"/>
                  <a:pt x="16165" y="11784"/>
                </a:cubicBezTo>
                <a:lnTo>
                  <a:pt x="16371" y="11943"/>
                </a:lnTo>
                <a:cubicBezTo>
                  <a:pt x="16363" y="11962"/>
                  <a:pt x="16357" y="11985"/>
                  <a:pt x="16357" y="12011"/>
                </a:cubicBezTo>
                <a:cubicBezTo>
                  <a:pt x="16357" y="12072"/>
                  <a:pt x="16381" y="12122"/>
                  <a:pt x="16412" y="12122"/>
                </a:cubicBezTo>
                <a:cubicBezTo>
                  <a:pt x="16441" y="12122"/>
                  <a:pt x="16464" y="12075"/>
                  <a:pt x="16466" y="12018"/>
                </a:cubicBezTo>
                <a:lnTo>
                  <a:pt x="16639" y="12153"/>
                </a:lnTo>
                <a:cubicBezTo>
                  <a:pt x="16643" y="12193"/>
                  <a:pt x="16658" y="12225"/>
                  <a:pt x="16679" y="12225"/>
                </a:cubicBezTo>
                <a:cubicBezTo>
                  <a:pt x="16682" y="12225"/>
                  <a:pt x="16684" y="12221"/>
                  <a:pt x="16686" y="12220"/>
                </a:cubicBezTo>
                <a:cubicBezTo>
                  <a:pt x="16688" y="12239"/>
                  <a:pt x="16689" y="12257"/>
                  <a:pt x="16690" y="12274"/>
                </a:cubicBezTo>
                <a:cubicBezTo>
                  <a:pt x="16660" y="12276"/>
                  <a:pt x="16636" y="12324"/>
                  <a:pt x="16636" y="12384"/>
                </a:cubicBezTo>
                <a:cubicBezTo>
                  <a:pt x="16636" y="12429"/>
                  <a:pt x="16651" y="12460"/>
                  <a:pt x="16670" y="12477"/>
                </a:cubicBezTo>
                <a:cubicBezTo>
                  <a:pt x="16669" y="12483"/>
                  <a:pt x="16668" y="12488"/>
                  <a:pt x="16667" y="12495"/>
                </a:cubicBezTo>
                <a:cubicBezTo>
                  <a:pt x="16630" y="12516"/>
                  <a:pt x="16611" y="12543"/>
                  <a:pt x="16592" y="12570"/>
                </a:cubicBezTo>
                <a:cubicBezTo>
                  <a:pt x="16585" y="12550"/>
                  <a:pt x="16575" y="12534"/>
                  <a:pt x="16562" y="12534"/>
                </a:cubicBezTo>
                <a:cubicBezTo>
                  <a:pt x="16541" y="12534"/>
                  <a:pt x="16524" y="12569"/>
                  <a:pt x="16524" y="12610"/>
                </a:cubicBezTo>
                <a:cubicBezTo>
                  <a:pt x="16524" y="12626"/>
                  <a:pt x="16528" y="12638"/>
                  <a:pt x="16532" y="12650"/>
                </a:cubicBezTo>
                <a:cubicBezTo>
                  <a:pt x="16525" y="12664"/>
                  <a:pt x="16520" y="12680"/>
                  <a:pt x="16517" y="12693"/>
                </a:cubicBezTo>
                <a:cubicBezTo>
                  <a:pt x="16515" y="12697"/>
                  <a:pt x="16515" y="12700"/>
                  <a:pt x="16514" y="12703"/>
                </a:cubicBezTo>
                <a:cubicBezTo>
                  <a:pt x="16512" y="12690"/>
                  <a:pt x="16506" y="12680"/>
                  <a:pt x="16499" y="12680"/>
                </a:cubicBezTo>
                <a:cubicBezTo>
                  <a:pt x="16491" y="12680"/>
                  <a:pt x="16484" y="12694"/>
                  <a:pt x="16484" y="12710"/>
                </a:cubicBezTo>
                <a:lnTo>
                  <a:pt x="16484" y="12757"/>
                </a:lnTo>
                <a:cubicBezTo>
                  <a:pt x="16484" y="12773"/>
                  <a:pt x="16464" y="12811"/>
                  <a:pt x="16452" y="12827"/>
                </a:cubicBezTo>
                <a:cubicBezTo>
                  <a:pt x="16449" y="12813"/>
                  <a:pt x="16446" y="12791"/>
                  <a:pt x="16446" y="12778"/>
                </a:cubicBezTo>
                <a:cubicBezTo>
                  <a:pt x="16446" y="12764"/>
                  <a:pt x="16446" y="12748"/>
                  <a:pt x="16446" y="12745"/>
                </a:cubicBezTo>
                <a:cubicBezTo>
                  <a:pt x="16451" y="12740"/>
                  <a:pt x="16455" y="12730"/>
                  <a:pt x="16455" y="12719"/>
                </a:cubicBezTo>
                <a:cubicBezTo>
                  <a:pt x="16455" y="12714"/>
                  <a:pt x="16453" y="12713"/>
                  <a:pt x="16452" y="12709"/>
                </a:cubicBezTo>
                <a:cubicBezTo>
                  <a:pt x="16464" y="12691"/>
                  <a:pt x="16474" y="12666"/>
                  <a:pt x="16474" y="12633"/>
                </a:cubicBezTo>
                <a:cubicBezTo>
                  <a:pt x="16474" y="12579"/>
                  <a:pt x="16452" y="12534"/>
                  <a:pt x="16425" y="12534"/>
                </a:cubicBezTo>
                <a:cubicBezTo>
                  <a:pt x="16403" y="12534"/>
                  <a:pt x="16388" y="12566"/>
                  <a:pt x="16381" y="12605"/>
                </a:cubicBezTo>
                <a:cubicBezTo>
                  <a:pt x="16373" y="12597"/>
                  <a:pt x="16366" y="12585"/>
                  <a:pt x="16366" y="12569"/>
                </a:cubicBezTo>
                <a:cubicBezTo>
                  <a:pt x="16366" y="12553"/>
                  <a:pt x="16359" y="12539"/>
                  <a:pt x="16351" y="12539"/>
                </a:cubicBezTo>
                <a:cubicBezTo>
                  <a:pt x="16335" y="12539"/>
                  <a:pt x="16334" y="12537"/>
                  <a:pt x="16331" y="12510"/>
                </a:cubicBezTo>
                <a:cubicBezTo>
                  <a:pt x="16329" y="12489"/>
                  <a:pt x="16326" y="12460"/>
                  <a:pt x="16312" y="12433"/>
                </a:cubicBezTo>
                <a:cubicBezTo>
                  <a:pt x="16286" y="12381"/>
                  <a:pt x="16260" y="12366"/>
                  <a:pt x="16234" y="12352"/>
                </a:cubicBezTo>
                <a:cubicBezTo>
                  <a:pt x="16229" y="12350"/>
                  <a:pt x="16223" y="12348"/>
                  <a:pt x="16218" y="12344"/>
                </a:cubicBezTo>
                <a:cubicBezTo>
                  <a:pt x="16216" y="12336"/>
                  <a:pt x="16214" y="12321"/>
                  <a:pt x="16212" y="12307"/>
                </a:cubicBezTo>
                <a:cubicBezTo>
                  <a:pt x="16202" y="12230"/>
                  <a:pt x="16157" y="12230"/>
                  <a:pt x="16143" y="12230"/>
                </a:cubicBezTo>
                <a:cubicBezTo>
                  <a:pt x="16133" y="12230"/>
                  <a:pt x="16126" y="12235"/>
                  <a:pt x="16121" y="12245"/>
                </a:cubicBezTo>
                <a:cubicBezTo>
                  <a:pt x="16114" y="12260"/>
                  <a:pt x="16115" y="12280"/>
                  <a:pt x="16115" y="12294"/>
                </a:cubicBezTo>
                <a:cubicBezTo>
                  <a:pt x="16108" y="12284"/>
                  <a:pt x="16100" y="12273"/>
                  <a:pt x="16090" y="12273"/>
                </a:cubicBezTo>
                <a:cubicBezTo>
                  <a:pt x="16075" y="12273"/>
                  <a:pt x="16063" y="12288"/>
                  <a:pt x="16054" y="12308"/>
                </a:cubicBezTo>
                <a:cubicBezTo>
                  <a:pt x="16050" y="12289"/>
                  <a:pt x="16047" y="12269"/>
                  <a:pt x="16043" y="12251"/>
                </a:cubicBezTo>
                <a:cubicBezTo>
                  <a:pt x="16031" y="12190"/>
                  <a:pt x="16020" y="12138"/>
                  <a:pt x="16020" y="12081"/>
                </a:cubicBezTo>
                <a:cubicBezTo>
                  <a:pt x="16020" y="12068"/>
                  <a:pt x="16015" y="12057"/>
                  <a:pt x="16009" y="12053"/>
                </a:cubicBezTo>
                <a:cubicBezTo>
                  <a:pt x="16009" y="12043"/>
                  <a:pt x="16010" y="12025"/>
                  <a:pt x="16011" y="12012"/>
                </a:cubicBezTo>
                <a:cubicBezTo>
                  <a:pt x="16014" y="11968"/>
                  <a:pt x="16018" y="11914"/>
                  <a:pt x="16005" y="11875"/>
                </a:cubicBezTo>
                <a:cubicBezTo>
                  <a:pt x="15997" y="11849"/>
                  <a:pt x="15983" y="11845"/>
                  <a:pt x="15975" y="11843"/>
                </a:cubicBezTo>
                <a:cubicBezTo>
                  <a:pt x="15975" y="11843"/>
                  <a:pt x="15974" y="11843"/>
                  <a:pt x="15973" y="11843"/>
                </a:cubicBezTo>
                <a:cubicBezTo>
                  <a:pt x="15971" y="11838"/>
                  <a:pt x="15970" y="11833"/>
                  <a:pt x="15969" y="11826"/>
                </a:cubicBezTo>
                <a:cubicBezTo>
                  <a:pt x="15968" y="11813"/>
                  <a:pt x="15965" y="11797"/>
                  <a:pt x="15956" y="11779"/>
                </a:cubicBezTo>
                <a:cubicBezTo>
                  <a:pt x="15950" y="11767"/>
                  <a:pt x="15941" y="11767"/>
                  <a:pt x="15935" y="11779"/>
                </a:cubicBezTo>
                <a:cubicBezTo>
                  <a:pt x="15923" y="11803"/>
                  <a:pt x="15914" y="11832"/>
                  <a:pt x="15904" y="11859"/>
                </a:cubicBezTo>
                <a:cubicBezTo>
                  <a:pt x="15885" y="11916"/>
                  <a:pt x="15868" y="11965"/>
                  <a:pt x="15835" y="11965"/>
                </a:cubicBezTo>
                <a:cubicBezTo>
                  <a:pt x="15822" y="11965"/>
                  <a:pt x="15816" y="11959"/>
                  <a:pt x="15816" y="11890"/>
                </a:cubicBezTo>
                <a:cubicBezTo>
                  <a:pt x="15816" y="11865"/>
                  <a:pt x="15819" y="11847"/>
                  <a:pt x="15822" y="11828"/>
                </a:cubicBezTo>
                <a:cubicBezTo>
                  <a:pt x="15824" y="11808"/>
                  <a:pt x="15827" y="11788"/>
                  <a:pt x="15827" y="11761"/>
                </a:cubicBezTo>
                <a:cubicBezTo>
                  <a:pt x="15827" y="11741"/>
                  <a:pt x="15822" y="11726"/>
                  <a:pt x="15818" y="11715"/>
                </a:cubicBezTo>
                <a:cubicBezTo>
                  <a:pt x="15816" y="11709"/>
                  <a:pt x="15814" y="11704"/>
                  <a:pt x="15814" y="11697"/>
                </a:cubicBezTo>
                <a:cubicBezTo>
                  <a:pt x="15805" y="11646"/>
                  <a:pt x="15793" y="11603"/>
                  <a:pt x="15780" y="11562"/>
                </a:cubicBezTo>
                <a:cubicBezTo>
                  <a:pt x="15799" y="11561"/>
                  <a:pt x="15816" y="11546"/>
                  <a:pt x="15829" y="11522"/>
                </a:cubicBezTo>
                <a:close/>
                <a:moveTo>
                  <a:pt x="5715" y="11529"/>
                </a:moveTo>
                <a:cubicBezTo>
                  <a:pt x="5722" y="11529"/>
                  <a:pt x="5727" y="11535"/>
                  <a:pt x="5734" y="11541"/>
                </a:cubicBezTo>
                <a:cubicBezTo>
                  <a:pt x="5743" y="11549"/>
                  <a:pt x="5754" y="11559"/>
                  <a:pt x="5766" y="11559"/>
                </a:cubicBezTo>
                <a:cubicBezTo>
                  <a:pt x="5782" y="11559"/>
                  <a:pt x="5794" y="11554"/>
                  <a:pt x="5804" y="11549"/>
                </a:cubicBezTo>
                <a:cubicBezTo>
                  <a:pt x="5807" y="11548"/>
                  <a:pt x="5810" y="11547"/>
                  <a:pt x="5814" y="11546"/>
                </a:cubicBezTo>
                <a:cubicBezTo>
                  <a:pt x="5799" y="11563"/>
                  <a:pt x="5787" y="11590"/>
                  <a:pt x="5787" y="11626"/>
                </a:cubicBezTo>
                <a:cubicBezTo>
                  <a:pt x="5787" y="11673"/>
                  <a:pt x="5805" y="11706"/>
                  <a:pt x="5826" y="11716"/>
                </a:cubicBezTo>
                <a:cubicBezTo>
                  <a:pt x="5823" y="11723"/>
                  <a:pt x="5820" y="11730"/>
                  <a:pt x="5818" y="11737"/>
                </a:cubicBezTo>
                <a:cubicBezTo>
                  <a:pt x="5813" y="11753"/>
                  <a:pt x="5811" y="11758"/>
                  <a:pt x="5808" y="11758"/>
                </a:cubicBezTo>
                <a:lnTo>
                  <a:pt x="5808" y="11759"/>
                </a:lnTo>
                <a:cubicBezTo>
                  <a:pt x="5807" y="11758"/>
                  <a:pt x="5806" y="11750"/>
                  <a:pt x="5805" y="11746"/>
                </a:cubicBezTo>
                <a:cubicBezTo>
                  <a:pt x="5802" y="11734"/>
                  <a:pt x="5799" y="11718"/>
                  <a:pt x="5791" y="11709"/>
                </a:cubicBezTo>
                <a:cubicBezTo>
                  <a:pt x="5782" y="11697"/>
                  <a:pt x="5769" y="11690"/>
                  <a:pt x="5750" y="11688"/>
                </a:cubicBezTo>
                <a:cubicBezTo>
                  <a:pt x="5753" y="11683"/>
                  <a:pt x="5755" y="11677"/>
                  <a:pt x="5755" y="11671"/>
                </a:cubicBezTo>
                <a:cubicBezTo>
                  <a:pt x="5756" y="11661"/>
                  <a:pt x="5755" y="11651"/>
                  <a:pt x="5751" y="11644"/>
                </a:cubicBezTo>
                <a:cubicBezTo>
                  <a:pt x="5743" y="11626"/>
                  <a:pt x="5741" y="11606"/>
                  <a:pt x="5741" y="11576"/>
                </a:cubicBezTo>
                <a:cubicBezTo>
                  <a:pt x="5741" y="11560"/>
                  <a:pt x="5734" y="11546"/>
                  <a:pt x="5726" y="11546"/>
                </a:cubicBezTo>
                <a:cubicBezTo>
                  <a:pt x="5721" y="11546"/>
                  <a:pt x="5715" y="11539"/>
                  <a:pt x="5714" y="11533"/>
                </a:cubicBezTo>
                <a:cubicBezTo>
                  <a:pt x="5714" y="11531"/>
                  <a:pt x="5715" y="11530"/>
                  <a:pt x="5715" y="11529"/>
                </a:cubicBezTo>
                <a:close/>
                <a:moveTo>
                  <a:pt x="5880" y="11597"/>
                </a:moveTo>
                <a:lnTo>
                  <a:pt x="5931" y="11637"/>
                </a:lnTo>
                <a:cubicBezTo>
                  <a:pt x="5934" y="11641"/>
                  <a:pt x="5938" y="11646"/>
                  <a:pt x="5942" y="11650"/>
                </a:cubicBezTo>
                <a:cubicBezTo>
                  <a:pt x="5943" y="11650"/>
                  <a:pt x="5943" y="11651"/>
                  <a:pt x="5944" y="11652"/>
                </a:cubicBezTo>
                <a:cubicBezTo>
                  <a:pt x="5946" y="11654"/>
                  <a:pt x="5948" y="11656"/>
                  <a:pt x="5950" y="11659"/>
                </a:cubicBezTo>
                <a:cubicBezTo>
                  <a:pt x="5953" y="11662"/>
                  <a:pt x="5955" y="11666"/>
                  <a:pt x="5957" y="11669"/>
                </a:cubicBezTo>
                <a:lnTo>
                  <a:pt x="5916" y="11669"/>
                </a:lnTo>
                <a:cubicBezTo>
                  <a:pt x="5914" y="11669"/>
                  <a:pt x="5912" y="11670"/>
                  <a:pt x="5909" y="11673"/>
                </a:cubicBezTo>
                <a:cubicBezTo>
                  <a:pt x="5905" y="11677"/>
                  <a:pt x="5902" y="11683"/>
                  <a:pt x="5898" y="11687"/>
                </a:cubicBezTo>
                <a:cubicBezTo>
                  <a:pt x="5890" y="11698"/>
                  <a:pt x="5885" y="11703"/>
                  <a:pt x="5878" y="11702"/>
                </a:cubicBezTo>
                <a:cubicBezTo>
                  <a:pt x="5877" y="11700"/>
                  <a:pt x="5873" y="11699"/>
                  <a:pt x="5871" y="11696"/>
                </a:cubicBezTo>
                <a:cubicBezTo>
                  <a:pt x="5871" y="11696"/>
                  <a:pt x="5871" y="11695"/>
                  <a:pt x="5871" y="11695"/>
                </a:cubicBezTo>
                <a:cubicBezTo>
                  <a:pt x="5880" y="11677"/>
                  <a:pt x="5886" y="11653"/>
                  <a:pt x="5886" y="11626"/>
                </a:cubicBezTo>
                <a:cubicBezTo>
                  <a:pt x="5886" y="11615"/>
                  <a:pt x="5882" y="11607"/>
                  <a:pt x="5880" y="11597"/>
                </a:cubicBezTo>
                <a:close/>
                <a:moveTo>
                  <a:pt x="4324" y="11599"/>
                </a:moveTo>
                <a:cubicBezTo>
                  <a:pt x="4325" y="11602"/>
                  <a:pt x="4326" y="11604"/>
                  <a:pt x="4327" y="11606"/>
                </a:cubicBezTo>
                <a:cubicBezTo>
                  <a:pt x="4342" y="11654"/>
                  <a:pt x="4357" y="11699"/>
                  <a:pt x="4398" y="11724"/>
                </a:cubicBezTo>
                <a:cubicBezTo>
                  <a:pt x="4402" y="11727"/>
                  <a:pt x="4405" y="11733"/>
                  <a:pt x="4409" y="11743"/>
                </a:cubicBezTo>
                <a:cubicBezTo>
                  <a:pt x="4415" y="11756"/>
                  <a:pt x="4422" y="11777"/>
                  <a:pt x="4438" y="11777"/>
                </a:cubicBezTo>
                <a:cubicBezTo>
                  <a:pt x="4461" y="11777"/>
                  <a:pt x="4482" y="11760"/>
                  <a:pt x="4501" y="11744"/>
                </a:cubicBezTo>
                <a:cubicBezTo>
                  <a:pt x="4519" y="11729"/>
                  <a:pt x="4537" y="11716"/>
                  <a:pt x="4555" y="11716"/>
                </a:cubicBezTo>
                <a:cubicBezTo>
                  <a:pt x="4566" y="11716"/>
                  <a:pt x="4572" y="11723"/>
                  <a:pt x="4578" y="11730"/>
                </a:cubicBezTo>
                <a:cubicBezTo>
                  <a:pt x="4583" y="11736"/>
                  <a:pt x="4588" y="11742"/>
                  <a:pt x="4595" y="11742"/>
                </a:cubicBezTo>
                <a:cubicBezTo>
                  <a:pt x="4605" y="11742"/>
                  <a:pt x="4613" y="11734"/>
                  <a:pt x="4620" y="11722"/>
                </a:cubicBezTo>
                <a:cubicBezTo>
                  <a:pt x="4644" y="11872"/>
                  <a:pt x="4669" y="12030"/>
                  <a:pt x="4694" y="12187"/>
                </a:cubicBezTo>
                <a:cubicBezTo>
                  <a:pt x="4686" y="12173"/>
                  <a:pt x="4676" y="12161"/>
                  <a:pt x="4664" y="12161"/>
                </a:cubicBezTo>
                <a:cubicBezTo>
                  <a:pt x="4645" y="12161"/>
                  <a:pt x="4630" y="12189"/>
                  <a:pt x="4623" y="12223"/>
                </a:cubicBezTo>
                <a:cubicBezTo>
                  <a:pt x="4616" y="12219"/>
                  <a:pt x="4611" y="12219"/>
                  <a:pt x="4604" y="12213"/>
                </a:cubicBezTo>
                <a:cubicBezTo>
                  <a:pt x="4573" y="12182"/>
                  <a:pt x="4556" y="12144"/>
                  <a:pt x="4538" y="12104"/>
                </a:cubicBezTo>
                <a:cubicBezTo>
                  <a:pt x="4521" y="12065"/>
                  <a:pt x="4503" y="12025"/>
                  <a:pt x="4473" y="11996"/>
                </a:cubicBezTo>
                <a:cubicBezTo>
                  <a:pt x="4471" y="11994"/>
                  <a:pt x="4468" y="11992"/>
                  <a:pt x="4466" y="11992"/>
                </a:cubicBezTo>
                <a:lnTo>
                  <a:pt x="4457" y="11992"/>
                </a:lnTo>
                <a:cubicBezTo>
                  <a:pt x="4442" y="11973"/>
                  <a:pt x="4427" y="11958"/>
                  <a:pt x="4407" y="11958"/>
                </a:cubicBezTo>
                <a:cubicBezTo>
                  <a:pt x="4381" y="11958"/>
                  <a:pt x="4366" y="11988"/>
                  <a:pt x="4355" y="12011"/>
                </a:cubicBezTo>
                <a:cubicBezTo>
                  <a:pt x="4344" y="12032"/>
                  <a:pt x="4337" y="12044"/>
                  <a:pt x="4326" y="12044"/>
                </a:cubicBezTo>
                <a:cubicBezTo>
                  <a:pt x="4318" y="12044"/>
                  <a:pt x="4308" y="12030"/>
                  <a:pt x="4300" y="12020"/>
                </a:cubicBezTo>
                <a:cubicBezTo>
                  <a:pt x="4296" y="12015"/>
                  <a:pt x="4293" y="12011"/>
                  <a:pt x="4291" y="12009"/>
                </a:cubicBezTo>
                <a:cubicBezTo>
                  <a:pt x="4278" y="11996"/>
                  <a:pt x="4267" y="11995"/>
                  <a:pt x="4259" y="11995"/>
                </a:cubicBezTo>
                <a:cubicBezTo>
                  <a:pt x="4255" y="11995"/>
                  <a:pt x="4251" y="11995"/>
                  <a:pt x="4246" y="11996"/>
                </a:cubicBezTo>
                <a:cubicBezTo>
                  <a:pt x="4243" y="11996"/>
                  <a:pt x="4239" y="11996"/>
                  <a:pt x="4235" y="11996"/>
                </a:cubicBezTo>
                <a:cubicBezTo>
                  <a:pt x="4224" y="11996"/>
                  <a:pt x="4192" y="11960"/>
                  <a:pt x="4173" y="11936"/>
                </a:cubicBezTo>
                <a:cubicBezTo>
                  <a:pt x="4174" y="11930"/>
                  <a:pt x="4175" y="11924"/>
                  <a:pt x="4176" y="11918"/>
                </a:cubicBezTo>
                <a:cubicBezTo>
                  <a:pt x="4188" y="11853"/>
                  <a:pt x="4199" y="11787"/>
                  <a:pt x="4211" y="11722"/>
                </a:cubicBezTo>
                <a:cubicBezTo>
                  <a:pt x="4213" y="11708"/>
                  <a:pt x="4215" y="11696"/>
                  <a:pt x="4218" y="11682"/>
                </a:cubicBezTo>
                <a:cubicBezTo>
                  <a:pt x="4220" y="11672"/>
                  <a:pt x="4222" y="11661"/>
                  <a:pt x="4224" y="11651"/>
                </a:cubicBezTo>
                <a:cubicBezTo>
                  <a:pt x="4235" y="11664"/>
                  <a:pt x="4247" y="11674"/>
                  <a:pt x="4261" y="11674"/>
                </a:cubicBezTo>
                <a:cubicBezTo>
                  <a:pt x="4288" y="11674"/>
                  <a:pt x="4311" y="11643"/>
                  <a:pt x="4324" y="11599"/>
                </a:cubicBezTo>
                <a:close/>
                <a:moveTo>
                  <a:pt x="17377" y="11619"/>
                </a:moveTo>
                <a:cubicBezTo>
                  <a:pt x="17367" y="11619"/>
                  <a:pt x="17346" y="11630"/>
                  <a:pt x="17343" y="11708"/>
                </a:cubicBezTo>
                <a:cubicBezTo>
                  <a:pt x="17343" y="11713"/>
                  <a:pt x="17342" y="11715"/>
                  <a:pt x="17342" y="11721"/>
                </a:cubicBezTo>
                <a:cubicBezTo>
                  <a:pt x="17341" y="11745"/>
                  <a:pt x="17344" y="11766"/>
                  <a:pt x="17346" y="11785"/>
                </a:cubicBezTo>
                <a:cubicBezTo>
                  <a:pt x="17346" y="11785"/>
                  <a:pt x="17346" y="11786"/>
                  <a:pt x="17346" y="11786"/>
                </a:cubicBezTo>
                <a:cubicBezTo>
                  <a:pt x="17346" y="11787"/>
                  <a:pt x="17346" y="11788"/>
                  <a:pt x="17346" y="11788"/>
                </a:cubicBezTo>
                <a:cubicBezTo>
                  <a:pt x="17349" y="11806"/>
                  <a:pt x="17351" y="11822"/>
                  <a:pt x="17350" y="11841"/>
                </a:cubicBezTo>
                <a:cubicBezTo>
                  <a:pt x="17350" y="11866"/>
                  <a:pt x="17347" y="11900"/>
                  <a:pt x="17343" y="11922"/>
                </a:cubicBezTo>
                <a:cubicBezTo>
                  <a:pt x="17339" y="11925"/>
                  <a:pt x="17336" y="11930"/>
                  <a:pt x="17334" y="11935"/>
                </a:cubicBezTo>
                <a:cubicBezTo>
                  <a:pt x="17323" y="11957"/>
                  <a:pt x="17323" y="11995"/>
                  <a:pt x="17324" y="12040"/>
                </a:cubicBezTo>
                <a:cubicBezTo>
                  <a:pt x="17324" y="12041"/>
                  <a:pt x="17324" y="12042"/>
                  <a:pt x="17324" y="12044"/>
                </a:cubicBezTo>
                <a:cubicBezTo>
                  <a:pt x="17325" y="12056"/>
                  <a:pt x="17325" y="12068"/>
                  <a:pt x="17325" y="12080"/>
                </a:cubicBezTo>
                <a:cubicBezTo>
                  <a:pt x="17324" y="12125"/>
                  <a:pt x="17369" y="12177"/>
                  <a:pt x="17382" y="12178"/>
                </a:cubicBezTo>
                <a:cubicBezTo>
                  <a:pt x="17381" y="12184"/>
                  <a:pt x="17380" y="12192"/>
                  <a:pt x="17380" y="12200"/>
                </a:cubicBezTo>
                <a:cubicBezTo>
                  <a:pt x="17380" y="12220"/>
                  <a:pt x="17386" y="12238"/>
                  <a:pt x="17391" y="12249"/>
                </a:cubicBezTo>
                <a:lnTo>
                  <a:pt x="17389" y="12249"/>
                </a:lnTo>
                <a:cubicBezTo>
                  <a:pt x="17384" y="12245"/>
                  <a:pt x="17380" y="12236"/>
                  <a:pt x="17374" y="12236"/>
                </a:cubicBezTo>
                <a:cubicBezTo>
                  <a:pt x="17347" y="12236"/>
                  <a:pt x="17324" y="12280"/>
                  <a:pt x="17324" y="12335"/>
                </a:cubicBezTo>
                <a:cubicBezTo>
                  <a:pt x="17324" y="12389"/>
                  <a:pt x="17347" y="12433"/>
                  <a:pt x="17374" y="12433"/>
                </a:cubicBezTo>
                <a:cubicBezTo>
                  <a:pt x="17388" y="12433"/>
                  <a:pt x="17400" y="12421"/>
                  <a:pt x="17409" y="12401"/>
                </a:cubicBezTo>
                <a:cubicBezTo>
                  <a:pt x="17423" y="12437"/>
                  <a:pt x="17431" y="12450"/>
                  <a:pt x="17439" y="12450"/>
                </a:cubicBezTo>
                <a:cubicBezTo>
                  <a:pt x="17439" y="12450"/>
                  <a:pt x="17439" y="12450"/>
                  <a:pt x="17439" y="12450"/>
                </a:cubicBezTo>
                <a:cubicBezTo>
                  <a:pt x="17458" y="12450"/>
                  <a:pt x="17468" y="12400"/>
                  <a:pt x="17469" y="12364"/>
                </a:cubicBezTo>
                <a:cubicBezTo>
                  <a:pt x="17469" y="12364"/>
                  <a:pt x="17469" y="12363"/>
                  <a:pt x="17469" y="12363"/>
                </a:cubicBezTo>
                <a:cubicBezTo>
                  <a:pt x="17469" y="12355"/>
                  <a:pt x="17469" y="12348"/>
                  <a:pt x="17468" y="12340"/>
                </a:cubicBezTo>
                <a:cubicBezTo>
                  <a:pt x="17468" y="12339"/>
                  <a:pt x="17468" y="12338"/>
                  <a:pt x="17468" y="12337"/>
                </a:cubicBezTo>
                <a:cubicBezTo>
                  <a:pt x="17468" y="12337"/>
                  <a:pt x="17468" y="12337"/>
                  <a:pt x="17469" y="12337"/>
                </a:cubicBezTo>
                <a:cubicBezTo>
                  <a:pt x="17475" y="12337"/>
                  <a:pt x="17481" y="12334"/>
                  <a:pt x="17485" y="12330"/>
                </a:cubicBezTo>
                <a:cubicBezTo>
                  <a:pt x="17486" y="12330"/>
                  <a:pt x="17486" y="12330"/>
                  <a:pt x="17487" y="12329"/>
                </a:cubicBezTo>
                <a:cubicBezTo>
                  <a:pt x="17493" y="12339"/>
                  <a:pt x="17500" y="12345"/>
                  <a:pt x="17510" y="12345"/>
                </a:cubicBezTo>
                <a:cubicBezTo>
                  <a:pt x="17510" y="12345"/>
                  <a:pt x="17510" y="12345"/>
                  <a:pt x="17510" y="12345"/>
                </a:cubicBezTo>
                <a:cubicBezTo>
                  <a:pt x="17518" y="12346"/>
                  <a:pt x="17525" y="12332"/>
                  <a:pt x="17525" y="12315"/>
                </a:cubicBezTo>
                <a:cubicBezTo>
                  <a:pt x="17525" y="12313"/>
                  <a:pt x="17525" y="12312"/>
                  <a:pt x="17525" y="12311"/>
                </a:cubicBezTo>
                <a:cubicBezTo>
                  <a:pt x="17527" y="12313"/>
                  <a:pt x="17529" y="12314"/>
                  <a:pt x="17530" y="12316"/>
                </a:cubicBezTo>
                <a:cubicBezTo>
                  <a:pt x="17542" y="12332"/>
                  <a:pt x="17555" y="12349"/>
                  <a:pt x="17561" y="12365"/>
                </a:cubicBezTo>
                <a:lnTo>
                  <a:pt x="17546" y="12364"/>
                </a:lnTo>
                <a:cubicBezTo>
                  <a:pt x="17538" y="12364"/>
                  <a:pt x="17532" y="12377"/>
                  <a:pt x="17531" y="12393"/>
                </a:cubicBezTo>
                <a:cubicBezTo>
                  <a:pt x="17531" y="12402"/>
                  <a:pt x="17531" y="12411"/>
                  <a:pt x="17531" y="12421"/>
                </a:cubicBezTo>
                <a:lnTo>
                  <a:pt x="17531" y="12445"/>
                </a:lnTo>
                <a:cubicBezTo>
                  <a:pt x="17523" y="12433"/>
                  <a:pt x="17515" y="12422"/>
                  <a:pt x="17504" y="12422"/>
                </a:cubicBezTo>
                <a:cubicBezTo>
                  <a:pt x="17477" y="12422"/>
                  <a:pt x="17455" y="12467"/>
                  <a:pt x="17455" y="12522"/>
                </a:cubicBezTo>
                <a:cubicBezTo>
                  <a:pt x="17455" y="12543"/>
                  <a:pt x="17460" y="12560"/>
                  <a:pt x="17466" y="12576"/>
                </a:cubicBezTo>
                <a:cubicBezTo>
                  <a:pt x="17468" y="12603"/>
                  <a:pt x="17469" y="12631"/>
                  <a:pt x="17469" y="12658"/>
                </a:cubicBezTo>
                <a:cubicBezTo>
                  <a:pt x="17469" y="12669"/>
                  <a:pt x="17472" y="12679"/>
                  <a:pt x="17477" y="12685"/>
                </a:cubicBezTo>
                <a:cubicBezTo>
                  <a:pt x="17479" y="12687"/>
                  <a:pt x="17481" y="12688"/>
                  <a:pt x="17484" y="12688"/>
                </a:cubicBezTo>
                <a:cubicBezTo>
                  <a:pt x="17486" y="12688"/>
                  <a:pt x="17489" y="12688"/>
                  <a:pt x="17492" y="12685"/>
                </a:cubicBezTo>
                <a:cubicBezTo>
                  <a:pt x="17495" y="12681"/>
                  <a:pt x="17499" y="12677"/>
                  <a:pt x="17503" y="12672"/>
                </a:cubicBezTo>
                <a:cubicBezTo>
                  <a:pt x="17510" y="12665"/>
                  <a:pt x="17518" y="12656"/>
                  <a:pt x="17526" y="12646"/>
                </a:cubicBezTo>
                <a:cubicBezTo>
                  <a:pt x="17525" y="12657"/>
                  <a:pt x="17523" y="12668"/>
                  <a:pt x="17523" y="12677"/>
                </a:cubicBezTo>
                <a:cubicBezTo>
                  <a:pt x="17513" y="12684"/>
                  <a:pt x="17503" y="12699"/>
                  <a:pt x="17503" y="12722"/>
                </a:cubicBezTo>
                <a:cubicBezTo>
                  <a:pt x="17503" y="12750"/>
                  <a:pt x="17517" y="12786"/>
                  <a:pt x="17530" y="12811"/>
                </a:cubicBezTo>
                <a:cubicBezTo>
                  <a:pt x="17532" y="12816"/>
                  <a:pt x="17533" y="12818"/>
                  <a:pt x="17535" y="12822"/>
                </a:cubicBezTo>
                <a:cubicBezTo>
                  <a:pt x="17537" y="12829"/>
                  <a:pt x="17539" y="12835"/>
                  <a:pt x="17542" y="12840"/>
                </a:cubicBezTo>
                <a:cubicBezTo>
                  <a:pt x="17537" y="12848"/>
                  <a:pt x="17534" y="12858"/>
                  <a:pt x="17531" y="12867"/>
                </a:cubicBezTo>
                <a:cubicBezTo>
                  <a:pt x="17524" y="12885"/>
                  <a:pt x="17520" y="12896"/>
                  <a:pt x="17507" y="12896"/>
                </a:cubicBezTo>
                <a:cubicBezTo>
                  <a:pt x="17500" y="12895"/>
                  <a:pt x="17493" y="12905"/>
                  <a:pt x="17492" y="12919"/>
                </a:cubicBezTo>
                <a:cubicBezTo>
                  <a:pt x="17490" y="12932"/>
                  <a:pt x="17488" y="12943"/>
                  <a:pt x="17487" y="12953"/>
                </a:cubicBezTo>
                <a:cubicBezTo>
                  <a:pt x="17483" y="12973"/>
                  <a:pt x="17480" y="12993"/>
                  <a:pt x="17480" y="13020"/>
                </a:cubicBezTo>
                <a:cubicBezTo>
                  <a:pt x="17479" y="13035"/>
                  <a:pt x="17482" y="13047"/>
                  <a:pt x="17485" y="13055"/>
                </a:cubicBezTo>
                <a:cubicBezTo>
                  <a:pt x="17485" y="13057"/>
                  <a:pt x="17486" y="13059"/>
                  <a:pt x="17487" y="13060"/>
                </a:cubicBezTo>
                <a:cubicBezTo>
                  <a:pt x="17486" y="13063"/>
                  <a:pt x="17485" y="13067"/>
                  <a:pt x="17485" y="13072"/>
                </a:cubicBezTo>
                <a:cubicBezTo>
                  <a:pt x="17481" y="13101"/>
                  <a:pt x="17475" y="13134"/>
                  <a:pt x="17484" y="13157"/>
                </a:cubicBezTo>
                <a:cubicBezTo>
                  <a:pt x="17488" y="13167"/>
                  <a:pt x="17494" y="13173"/>
                  <a:pt x="17501" y="13173"/>
                </a:cubicBezTo>
                <a:cubicBezTo>
                  <a:pt x="17524" y="13173"/>
                  <a:pt x="17530" y="13122"/>
                  <a:pt x="17536" y="13076"/>
                </a:cubicBezTo>
                <a:cubicBezTo>
                  <a:pt x="17543" y="13113"/>
                  <a:pt x="17558" y="13142"/>
                  <a:pt x="17578" y="13142"/>
                </a:cubicBezTo>
                <a:cubicBezTo>
                  <a:pt x="17586" y="13142"/>
                  <a:pt x="17591" y="13132"/>
                  <a:pt x="17597" y="13127"/>
                </a:cubicBezTo>
                <a:cubicBezTo>
                  <a:pt x="17606" y="13186"/>
                  <a:pt x="17629" y="13229"/>
                  <a:pt x="17657" y="13230"/>
                </a:cubicBezTo>
                <a:cubicBezTo>
                  <a:pt x="17658" y="13230"/>
                  <a:pt x="17659" y="13231"/>
                  <a:pt x="17660" y="13231"/>
                </a:cubicBezTo>
                <a:cubicBezTo>
                  <a:pt x="17662" y="13232"/>
                  <a:pt x="17664" y="13231"/>
                  <a:pt x="17666" y="13231"/>
                </a:cubicBezTo>
                <a:cubicBezTo>
                  <a:pt x="17668" y="13236"/>
                  <a:pt x="17669" y="13240"/>
                  <a:pt x="17671" y="13244"/>
                </a:cubicBezTo>
                <a:cubicBezTo>
                  <a:pt x="17675" y="13253"/>
                  <a:pt x="17679" y="13258"/>
                  <a:pt x="17686" y="13258"/>
                </a:cubicBezTo>
                <a:cubicBezTo>
                  <a:pt x="17707" y="13258"/>
                  <a:pt x="17722" y="13224"/>
                  <a:pt x="17723" y="13177"/>
                </a:cubicBezTo>
                <a:cubicBezTo>
                  <a:pt x="17723" y="13174"/>
                  <a:pt x="17723" y="13172"/>
                  <a:pt x="17723" y="13170"/>
                </a:cubicBezTo>
                <a:cubicBezTo>
                  <a:pt x="17726" y="13177"/>
                  <a:pt x="17729" y="13183"/>
                  <a:pt x="17733" y="13185"/>
                </a:cubicBezTo>
                <a:cubicBezTo>
                  <a:pt x="17738" y="13187"/>
                  <a:pt x="17742" y="13185"/>
                  <a:pt x="17746" y="13179"/>
                </a:cubicBezTo>
                <a:cubicBezTo>
                  <a:pt x="17750" y="13173"/>
                  <a:pt x="17752" y="13165"/>
                  <a:pt x="17752" y="13156"/>
                </a:cubicBezTo>
                <a:cubicBezTo>
                  <a:pt x="17752" y="13130"/>
                  <a:pt x="17757" y="13115"/>
                  <a:pt x="17763" y="13096"/>
                </a:cubicBezTo>
                <a:cubicBezTo>
                  <a:pt x="17769" y="13079"/>
                  <a:pt x="17776" y="13059"/>
                  <a:pt x="17776" y="13031"/>
                </a:cubicBezTo>
                <a:cubicBezTo>
                  <a:pt x="17776" y="13029"/>
                  <a:pt x="17775" y="13019"/>
                  <a:pt x="17774" y="13017"/>
                </a:cubicBezTo>
                <a:cubicBezTo>
                  <a:pt x="17779" y="13005"/>
                  <a:pt x="17783" y="12992"/>
                  <a:pt x="17783" y="12976"/>
                </a:cubicBezTo>
                <a:cubicBezTo>
                  <a:pt x="17783" y="12949"/>
                  <a:pt x="17774" y="12930"/>
                  <a:pt x="17763" y="12919"/>
                </a:cubicBezTo>
                <a:cubicBezTo>
                  <a:pt x="17753" y="12839"/>
                  <a:pt x="17738" y="12750"/>
                  <a:pt x="17725" y="12724"/>
                </a:cubicBezTo>
                <a:cubicBezTo>
                  <a:pt x="17717" y="12708"/>
                  <a:pt x="17704" y="12684"/>
                  <a:pt x="17685" y="12684"/>
                </a:cubicBezTo>
                <a:cubicBezTo>
                  <a:pt x="17685" y="12684"/>
                  <a:pt x="17684" y="12684"/>
                  <a:pt x="17684" y="12684"/>
                </a:cubicBezTo>
                <a:lnTo>
                  <a:pt x="17684" y="12665"/>
                </a:lnTo>
                <a:cubicBezTo>
                  <a:pt x="17684" y="12653"/>
                  <a:pt x="17682" y="12644"/>
                  <a:pt x="17677" y="12639"/>
                </a:cubicBezTo>
                <a:cubicBezTo>
                  <a:pt x="17676" y="12637"/>
                  <a:pt x="17674" y="12630"/>
                  <a:pt x="17672" y="12621"/>
                </a:cubicBezTo>
                <a:lnTo>
                  <a:pt x="17682" y="12621"/>
                </a:lnTo>
                <a:cubicBezTo>
                  <a:pt x="17690" y="12620"/>
                  <a:pt x="17695" y="12612"/>
                  <a:pt x="17696" y="12598"/>
                </a:cubicBezTo>
                <a:cubicBezTo>
                  <a:pt x="17697" y="12594"/>
                  <a:pt x="17698" y="12590"/>
                  <a:pt x="17699" y="12586"/>
                </a:cubicBezTo>
                <a:cubicBezTo>
                  <a:pt x="17701" y="12577"/>
                  <a:pt x="17703" y="12565"/>
                  <a:pt x="17705" y="12549"/>
                </a:cubicBezTo>
                <a:cubicBezTo>
                  <a:pt x="17706" y="12541"/>
                  <a:pt x="17705" y="12532"/>
                  <a:pt x="17702" y="12525"/>
                </a:cubicBezTo>
                <a:cubicBezTo>
                  <a:pt x="17701" y="12522"/>
                  <a:pt x="17699" y="12520"/>
                  <a:pt x="17698" y="12518"/>
                </a:cubicBezTo>
                <a:cubicBezTo>
                  <a:pt x="17696" y="12515"/>
                  <a:pt x="17693" y="12508"/>
                  <a:pt x="17690" y="12501"/>
                </a:cubicBezTo>
                <a:cubicBezTo>
                  <a:pt x="17691" y="12486"/>
                  <a:pt x="17691" y="12463"/>
                  <a:pt x="17690" y="12446"/>
                </a:cubicBezTo>
                <a:cubicBezTo>
                  <a:pt x="17689" y="12434"/>
                  <a:pt x="17685" y="12425"/>
                  <a:pt x="17679" y="12422"/>
                </a:cubicBezTo>
                <a:cubicBezTo>
                  <a:pt x="17679" y="12419"/>
                  <a:pt x="17679" y="12416"/>
                  <a:pt x="17679" y="12413"/>
                </a:cubicBezTo>
                <a:cubicBezTo>
                  <a:pt x="17679" y="12398"/>
                  <a:pt x="17673" y="12386"/>
                  <a:pt x="17665" y="12385"/>
                </a:cubicBezTo>
                <a:cubicBezTo>
                  <a:pt x="17665" y="12385"/>
                  <a:pt x="17665" y="12384"/>
                  <a:pt x="17664" y="12384"/>
                </a:cubicBezTo>
                <a:cubicBezTo>
                  <a:pt x="17659" y="12364"/>
                  <a:pt x="17650" y="12348"/>
                  <a:pt x="17638" y="12348"/>
                </a:cubicBezTo>
                <a:cubicBezTo>
                  <a:pt x="17627" y="12348"/>
                  <a:pt x="17619" y="12358"/>
                  <a:pt x="17613" y="12372"/>
                </a:cubicBezTo>
                <a:cubicBezTo>
                  <a:pt x="17612" y="12373"/>
                  <a:pt x="17610" y="12373"/>
                  <a:pt x="17609" y="12373"/>
                </a:cubicBezTo>
                <a:cubicBezTo>
                  <a:pt x="17609" y="12371"/>
                  <a:pt x="17610" y="12369"/>
                  <a:pt x="17610" y="12366"/>
                </a:cubicBezTo>
                <a:lnTo>
                  <a:pt x="17610" y="12356"/>
                </a:lnTo>
                <a:lnTo>
                  <a:pt x="17610" y="12337"/>
                </a:lnTo>
                <a:cubicBezTo>
                  <a:pt x="17610" y="12321"/>
                  <a:pt x="17603" y="12307"/>
                  <a:pt x="17595" y="12307"/>
                </a:cubicBezTo>
                <a:cubicBezTo>
                  <a:pt x="17592" y="12307"/>
                  <a:pt x="17588" y="12305"/>
                  <a:pt x="17587" y="12301"/>
                </a:cubicBezTo>
                <a:cubicBezTo>
                  <a:pt x="17586" y="12300"/>
                  <a:pt x="17585" y="12298"/>
                  <a:pt x="17585" y="12292"/>
                </a:cubicBezTo>
                <a:cubicBezTo>
                  <a:pt x="17585" y="12283"/>
                  <a:pt x="17583" y="12277"/>
                  <a:pt x="17580" y="12271"/>
                </a:cubicBezTo>
                <a:cubicBezTo>
                  <a:pt x="17581" y="12266"/>
                  <a:pt x="17582" y="12260"/>
                  <a:pt x="17583" y="12253"/>
                </a:cubicBezTo>
                <a:cubicBezTo>
                  <a:pt x="17584" y="12245"/>
                  <a:pt x="17583" y="12236"/>
                  <a:pt x="17580" y="12229"/>
                </a:cubicBezTo>
                <a:cubicBezTo>
                  <a:pt x="17578" y="12223"/>
                  <a:pt x="17574" y="12218"/>
                  <a:pt x="17570" y="12217"/>
                </a:cubicBezTo>
                <a:cubicBezTo>
                  <a:pt x="17570" y="12217"/>
                  <a:pt x="17570" y="12218"/>
                  <a:pt x="17570" y="12217"/>
                </a:cubicBezTo>
                <a:cubicBezTo>
                  <a:pt x="17567" y="12214"/>
                  <a:pt x="17563" y="12209"/>
                  <a:pt x="17557" y="12209"/>
                </a:cubicBezTo>
                <a:cubicBezTo>
                  <a:pt x="17550" y="12209"/>
                  <a:pt x="17545" y="12216"/>
                  <a:pt x="17541" y="12223"/>
                </a:cubicBezTo>
                <a:cubicBezTo>
                  <a:pt x="17541" y="12221"/>
                  <a:pt x="17540" y="12220"/>
                  <a:pt x="17540" y="12218"/>
                </a:cubicBezTo>
                <a:cubicBezTo>
                  <a:pt x="17533" y="12191"/>
                  <a:pt x="17523" y="12150"/>
                  <a:pt x="17499" y="12148"/>
                </a:cubicBezTo>
                <a:cubicBezTo>
                  <a:pt x="17488" y="12148"/>
                  <a:pt x="17477" y="12158"/>
                  <a:pt x="17470" y="12173"/>
                </a:cubicBezTo>
                <a:cubicBezTo>
                  <a:pt x="17458" y="12142"/>
                  <a:pt x="17446" y="12091"/>
                  <a:pt x="17446" y="12058"/>
                </a:cubicBezTo>
                <a:cubicBezTo>
                  <a:pt x="17446" y="12030"/>
                  <a:pt x="17452" y="12016"/>
                  <a:pt x="17460" y="11997"/>
                </a:cubicBezTo>
                <a:cubicBezTo>
                  <a:pt x="17470" y="11974"/>
                  <a:pt x="17482" y="11945"/>
                  <a:pt x="17482" y="11893"/>
                </a:cubicBezTo>
                <a:cubicBezTo>
                  <a:pt x="17483" y="11853"/>
                  <a:pt x="17475" y="11817"/>
                  <a:pt x="17468" y="11786"/>
                </a:cubicBezTo>
                <a:cubicBezTo>
                  <a:pt x="17463" y="11763"/>
                  <a:pt x="17458" y="11742"/>
                  <a:pt x="17459" y="11726"/>
                </a:cubicBezTo>
                <a:cubicBezTo>
                  <a:pt x="17459" y="11716"/>
                  <a:pt x="17457" y="11707"/>
                  <a:pt x="17456" y="11700"/>
                </a:cubicBezTo>
                <a:cubicBezTo>
                  <a:pt x="17455" y="11698"/>
                  <a:pt x="17455" y="11697"/>
                  <a:pt x="17455" y="11696"/>
                </a:cubicBezTo>
                <a:cubicBezTo>
                  <a:pt x="17454" y="11688"/>
                  <a:pt x="17452" y="11681"/>
                  <a:pt x="17450" y="11673"/>
                </a:cubicBezTo>
                <a:cubicBezTo>
                  <a:pt x="17450" y="11666"/>
                  <a:pt x="17448" y="11659"/>
                  <a:pt x="17445" y="11655"/>
                </a:cubicBezTo>
                <a:cubicBezTo>
                  <a:pt x="17440" y="11650"/>
                  <a:pt x="17435" y="11649"/>
                  <a:pt x="17430" y="11653"/>
                </a:cubicBezTo>
                <a:cubicBezTo>
                  <a:pt x="17424" y="11658"/>
                  <a:pt x="17420" y="11667"/>
                  <a:pt x="17417" y="11675"/>
                </a:cubicBezTo>
                <a:cubicBezTo>
                  <a:pt x="17416" y="11678"/>
                  <a:pt x="17413" y="11682"/>
                  <a:pt x="17412" y="11685"/>
                </a:cubicBezTo>
                <a:cubicBezTo>
                  <a:pt x="17411" y="11681"/>
                  <a:pt x="17410" y="11677"/>
                  <a:pt x="17409" y="11673"/>
                </a:cubicBezTo>
                <a:cubicBezTo>
                  <a:pt x="17405" y="11654"/>
                  <a:pt x="17398" y="11620"/>
                  <a:pt x="17377" y="11619"/>
                </a:cubicBezTo>
                <a:close/>
                <a:moveTo>
                  <a:pt x="12132" y="11639"/>
                </a:moveTo>
                <a:cubicBezTo>
                  <a:pt x="12091" y="11639"/>
                  <a:pt x="12058" y="11705"/>
                  <a:pt x="12058" y="11787"/>
                </a:cubicBezTo>
                <a:cubicBezTo>
                  <a:pt x="12058" y="11869"/>
                  <a:pt x="12091" y="11935"/>
                  <a:pt x="12132" y="11935"/>
                </a:cubicBezTo>
                <a:cubicBezTo>
                  <a:pt x="12173" y="11935"/>
                  <a:pt x="12206" y="11869"/>
                  <a:pt x="12206" y="11787"/>
                </a:cubicBezTo>
                <a:cubicBezTo>
                  <a:pt x="12206" y="11705"/>
                  <a:pt x="12173" y="11639"/>
                  <a:pt x="12132" y="11639"/>
                </a:cubicBezTo>
                <a:close/>
                <a:moveTo>
                  <a:pt x="5433" y="11657"/>
                </a:moveTo>
                <a:cubicBezTo>
                  <a:pt x="5415" y="11657"/>
                  <a:pt x="5397" y="11676"/>
                  <a:pt x="5397" y="11711"/>
                </a:cubicBezTo>
                <a:cubicBezTo>
                  <a:pt x="5397" y="11760"/>
                  <a:pt x="5420" y="11806"/>
                  <a:pt x="5445" y="11806"/>
                </a:cubicBezTo>
                <a:cubicBezTo>
                  <a:pt x="5463" y="11806"/>
                  <a:pt x="5478" y="11798"/>
                  <a:pt x="5493" y="11791"/>
                </a:cubicBezTo>
                <a:cubicBezTo>
                  <a:pt x="5500" y="11787"/>
                  <a:pt x="5509" y="11783"/>
                  <a:pt x="5518" y="11780"/>
                </a:cubicBezTo>
                <a:cubicBezTo>
                  <a:pt x="5522" y="11779"/>
                  <a:pt x="5526" y="11773"/>
                  <a:pt x="5528" y="11766"/>
                </a:cubicBezTo>
                <a:cubicBezTo>
                  <a:pt x="5530" y="11759"/>
                  <a:pt x="5531" y="11751"/>
                  <a:pt x="5530" y="11743"/>
                </a:cubicBezTo>
                <a:cubicBezTo>
                  <a:pt x="5526" y="11713"/>
                  <a:pt x="5517" y="11694"/>
                  <a:pt x="5501" y="11683"/>
                </a:cubicBezTo>
                <a:cubicBezTo>
                  <a:pt x="5498" y="11682"/>
                  <a:pt x="5495" y="11681"/>
                  <a:pt x="5493" y="11682"/>
                </a:cubicBezTo>
                <a:cubicBezTo>
                  <a:pt x="5477" y="11671"/>
                  <a:pt x="5454" y="11657"/>
                  <a:pt x="5433" y="11657"/>
                </a:cubicBezTo>
                <a:close/>
                <a:moveTo>
                  <a:pt x="6105" y="11657"/>
                </a:moveTo>
                <a:cubicBezTo>
                  <a:pt x="6086" y="11657"/>
                  <a:pt x="6066" y="11674"/>
                  <a:pt x="6066" y="11712"/>
                </a:cubicBezTo>
                <a:cubicBezTo>
                  <a:pt x="6066" y="11721"/>
                  <a:pt x="6067" y="11727"/>
                  <a:pt x="6068" y="11732"/>
                </a:cubicBezTo>
                <a:lnTo>
                  <a:pt x="6068" y="11732"/>
                </a:lnTo>
                <a:cubicBezTo>
                  <a:pt x="6071" y="11752"/>
                  <a:pt x="6079" y="11763"/>
                  <a:pt x="6086" y="11771"/>
                </a:cubicBezTo>
                <a:cubicBezTo>
                  <a:pt x="6086" y="11773"/>
                  <a:pt x="6085" y="11774"/>
                  <a:pt x="6085" y="11775"/>
                </a:cubicBezTo>
                <a:cubicBezTo>
                  <a:pt x="6085" y="11830"/>
                  <a:pt x="6107" y="11873"/>
                  <a:pt x="6135" y="11873"/>
                </a:cubicBezTo>
                <a:cubicBezTo>
                  <a:pt x="6162" y="11873"/>
                  <a:pt x="6183" y="11830"/>
                  <a:pt x="6183" y="11775"/>
                </a:cubicBezTo>
                <a:cubicBezTo>
                  <a:pt x="6183" y="11766"/>
                  <a:pt x="6180" y="11760"/>
                  <a:pt x="6179" y="11752"/>
                </a:cubicBezTo>
                <a:cubicBezTo>
                  <a:pt x="6180" y="11750"/>
                  <a:pt x="6181" y="11749"/>
                  <a:pt x="6182" y="11746"/>
                </a:cubicBezTo>
                <a:cubicBezTo>
                  <a:pt x="6184" y="11738"/>
                  <a:pt x="6184" y="11728"/>
                  <a:pt x="6182" y="11719"/>
                </a:cubicBezTo>
                <a:cubicBezTo>
                  <a:pt x="6170" y="11673"/>
                  <a:pt x="6105" y="11657"/>
                  <a:pt x="6105" y="11657"/>
                </a:cubicBezTo>
                <a:close/>
                <a:moveTo>
                  <a:pt x="16020" y="11671"/>
                </a:moveTo>
                <a:lnTo>
                  <a:pt x="16058" y="11700"/>
                </a:lnTo>
                <a:cubicBezTo>
                  <a:pt x="16053" y="11706"/>
                  <a:pt x="16047" y="11711"/>
                  <a:pt x="16043" y="11719"/>
                </a:cubicBezTo>
                <a:cubicBezTo>
                  <a:pt x="16040" y="11715"/>
                  <a:pt x="16038" y="11707"/>
                  <a:pt x="16035" y="11703"/>
                </a:cubicBezTo>
                <a:cubicBezTo>
                  <a:pt x="16029" y="11694"/>
                  <a:pt x="16023" y="11687"/>
                  <a:pt x="16021" y="11675"/>
                </a:cubicBezTo>
                <a:cubicBezTo>
                  <a:pt x="16020" y="11674"/>
                  <a:pt x="16020" y="11672"/>
                  <a:pt x="16020" y="11671"/>
                </a:cubicBezTo>
                <a:close/>
                <a:moveTo>
                  <a:pt x="9432" y="11676"/>
                </a:moveTo>
                <a:cubicBezTo>
                  <a:pt x="9413" y="11676"/>
                  <a:pt x="9397" y="11707"/>
                  <a:pt x="9397" y="11745"/>
                </a:cubicBezTo>
                <a:cubicBezTo>
                  <a:pt x="9397" y="11783"/>
                  <a:pt x="9413" y="11813"/>
                  <a:pt x="9432" y="11813"/>
                </a:cubicBezTo>
                <a:cubicBezTo>
                  <a:pt x="9450" y="11813"/>
                  <a:pt x="9465" y="11783"/>
                  <a:pt x="9465" y="11745"/>
                </a:cubicBezTo>
                <a:cubicBezTo>
                  <a:pt x="9465" y="11707"/>
                  <a:pt x="9450" y="11676"/>
                  <a:pt x="9432" y="11676"/>
                </a:cubicBezTo>
                <a:close/>
                <a:moveTo>
                  <a:pt x="5433" y="11716"/>
                </a:moveTo>
                <a:cubicBezTo>
                  <a:pt x="5447" y="11716"/>
                  <a:pt x="5465" y="11726"/>
                  <a:pt x="5479" y="11736"/>
                </a:cubicBezTo>
                <a:cubicBezTo>
                  <a:pt x="5468" y="11741"/>
                  <a:pt x="5457" y="11745"/>
                  <a:pt x="5445" y="11745"/>
                </a:cubicBezTo>
                <a:cubicBezTo>
                  <a:pt x="5437" y="11745"/>
                  <a:pt x="5429" y="11732"/>
                  <a:pt x="5427" y="11718"/>
                </a:cubicBezTo>
                <a:cubicBezTo>
                  <a:pt x="5428" y="11717"/>
                  <a:pt x="5431" y="11716"/>
                  <a:pt x="5433" y="11716"/>
                </a:cubicBezTo>
                <a:close/>
                <a:moveTo>
                  <a:pt x="17429" y="11735"/>
                </a:moveTo>
                <a:cubicBezTo>
                  <a:pt x="17430" y="11760"/>
                  <a:pt x="17435" y="11786"/>
                  <a:pt x="17441" y="11810"/>
                </a:cubicBezTo>
                <a:cubicBezTo>
                  <a:pt x="17446" y="11837"/>
                  <a:pt x="17452" y="11865"/>
                  <a:pt x="17452" y="11892"/>
                </a:cubicBezTo>
                <a:cubicBezTo>
                  <a:pt x="17452" y="11923"/>
                  <a:pt x="17445" y="11939"/>
                  <a:pt x="17437" y="11958"/>
                </a:cubicBezTo>
                <a:cubicBezTo>
                  <a:pt x="17428" y="11981"/>
                  <a:pt x="17416" y="12008"/>
                  <a:pt x="17416" y="12056"/>
                </a:cubicBezTo>
                <a:cubicBezTo>
                  <a:pt x="17416" y="12073"/>
                  <a:pt x="17418" y="12091"/>
                  <a:pt x="17421" y="12110"/>
                </a:cubicBezTo>
                <a:cubicBezTo>
                  <a:pt x="17420" y="12107"/>
                  <a:pt x="17419" y="12104"/>
                  <a:pt x="17418" y="12102"/>
                </a:cubicBezTo>
                <a:cubicBezTo>
                  <a:pt x="17415" y="12096"/>
                  <a:pt x="17411" y="12094"/>
                  <a:pt x="17407" y="12094"/>
                </a:cubicBezTo>
                <a:lnTo>
                  <a:pt x="17396" y="12093"/>
                </a:lnTo>
                <a:cubicBezTo>
                  <a:pt x="17391" y="12093"/>
                  <a:pt x="17387" y="12097"/>
                  <a:pt x="17384" y="12104"/>
                </a:cubicBezTo>
                <a:lnTo>
                  <a:pt x="17381" y="12112"/>
                </a:lnTo>
                <a:cubicBezTo>
                  <a:pt x="17381" y="12113"/>
                  <a:pt x="17381" y="12115"/>
                  <a:pt x="17380" y="12116"/>
                </a:cubicBezTo>
                <a:cubicBezTo>
                  <a:pt x="17377" y="12113"/>
                  <a:pt x="17375" y="12106"/>
                  <a:pt x="17371" y="12101"/>
                </a:cubicBezTo>
                <a:cubicBezTo>
                  <a:pt x="17383" y="12090"/>
                  <a:pt x="17392" y="12072"/>
                  <a:pt x="17392" y="12044"/>
                </a:cubicBezTo>
                <a:cubicBezTo>
                  <a:pt x="17392" y="12006"/>
                  <a:pt x="17378" y="11975"/>
                  <a:pt x="17359" y="11975"/>
                </a:cubicBezTo>
                <a:cubicBezTo>
                  <a:pt x="17361" y="11972"/>
                  <a:pt x="17364" y="11971"/>
                  <a:pt x="17366" y="11967"/>
                </a:cubicBezTo>
                <a:cubicBezTo>
                  <a:pt x="17376" y="11933"/>
                  <a:pt x="17380" y="11874"/>
                  <a:pt x="17380" y="11842"/>
                </a:cubicBezTo>
                <a:cubicBezTo>
                  <a:pt x="17380" y="11823"/>
                  <a:pt x="17379" y="11806"/>
                  <a:pt x="17377" y="11789"/>
                </a:cubicBezTo>
                <a:lnTo>
                  <a:pt x="17382" y="11780"/>
                </a:lnTo>
                <a:lnTo>
                  <a:pt x="17394" y="11761"/>
                </a:lnTo>
                <a:cubicBezTo>
                  <a:pt x="17397" y="11757"/>
                  <a:pt x="17400" y="11754"/>
                  <a:pt x="17403" y="11747"/>
                </a:cubicBezTo>
                <a:lnTo>
                  <a:pt x="17404" y="11745"/>
                </a:lnTo>
                <a:cubicBezTo>
                  <a:pt x="17406" y="11746"/>
                  <a:pt x="17409" y="11746"/>
                  <a:pt x="17411" y="11746"/>
                </a:cubicBezTo>
                <a:cubicBezTo>
                  <a:pt x="17418" y="11746"/>
                  <a:pt x="17424" y="11741"/>
                  <a:pt x="17429" y="11735"/>
                </a:cubicBezTo>
                <a:close/>
                <a:moveTo>
                  <a:pt x="11395" y="11751"/>
                </a:moveTo>
                <a:cubicBezTo>
                  <a:pt x="11381" y="11751"/>
                  <a:pt x="11370" y="11774"/>
                  <a:pt x="11370" y="11802"/>
                </a:cubicBezTo>
                <a:cubicBezTo>
                  <a:pt x="11370" y="11831"/>
                  <a:pt x="11381" y="11854"/>
                  <a:pt x="11395" y="11854"/>
                </a:cubicBezTo>
                <a:cubicBezTo>
                  <a:pt x="11409" y="11854"/>
                  <a:pt x="11421" y="11831"/>
                  <a:pt x="11421" y="11802"/>
                </a:cubicBezTo>
                <a:cubicBezTo>
                  <a:pt x="11421" y="11774"/>
                  <a:pt x="11409" y="11751"/>
                  <a:pt x="11395" y="11751"/>
                </a:cubicBezTo>
                <a:close/>
                <a:moveTo>
                  <a:pt x="13118" y="11751"/>
                </a:moveTo>
                <a:cubicBezTo>
                  <a:pt x="13078" y="11751"/>
                  <a:pt x="13044" y="11817"/>
                  <a:pt x="13044" y="11899"/>
                </a:cubicBezTo>
                <a:cubicBezTo>
                  <a:pt x="13044" y="11981"/>
                  <a:pt x="13078" y="12047"/>
                  <a:pt x="13118" y="12047"/>
                </a:cubicBezTo>
                <a:cubicBezTo>
                  <a:pt x="13159" y="12047"/>
                  <a:pt x="13192" y="11981"/>
                  <a:pt x="13192" y="11899"/>
                </a:cubicBezTo>
                <a:cubicBezTo>
                  <a:pt x="13192" y="11817"/>
                  <a:pt x="13159" y="11751"/>
                  <a:pt x="13118" y="11751"/>
                </a:cubicBezTo>
                <a:close/>
                <a:moveTo>
                  <a:pt x="14843" y="12049"/>
                </a:moveTo>
                <a:cubicBezTo>
                  <a:pt x="14816" y="12049"/>
                  <a:pt x="14794" y="12094"/>
                  <a:pt x="14794" y="12148"/>
                </a:cubicBezTo>
                <a:cubicBezTo>
                  <a:pt x="14794" y="12203"/>
                  <a:pt x="14816" y="12246"/>
                  <a:pt x="14843" y="12246"/>
                </a:cubicBezTo>
                <a:cubicBezTo>
                  <a:pt x="14870" y="12246"/>
                  <a:pt x="14892" y="12203"/>
                  <a:pt x="14892" y="12148"/>
                </a:cubicBezTo>
                <a:cubicBezTo>
                  <a:pt x="14892" y="12094"/>
                  <a:pt x="14870" y="12049"/>
                  <a:pt x="14843" y="12049"/>
                </a:cubicBezTo>
                <a:close/>
                <a:moveTo>
                  <a:pt x="16205" y="12049"/>
                </a:moveTo>
                <a:cubicBezTo>
                  <a:pt x="16186" y="12049"/>
                  <a:pt x="16171" y="12080"/>
                  <a:pt x="16171" y="12118"/>
                </a:cubicBezTo>
                <a:cubicBezTo>
                  <a:pt x="16171" y="12156"/>
                  <a:pt x="16186" y="12186"/>
                  <a:pt x="16205" y="12186"/>
                </a:cubicBezTo>
                <a:cubicBezTo>
                  <a:pt x="16224" y="12186"/>
                  <a:pt x="16239" y="12156"/>
                  <a:pt x="16239" y="12118"/>
                </a:cubicBezTo>
                <a:cubicBezTo>
                  <a:pt x="16239" y="12080"/>
                  <a:pt x="16224" y="12049"/>
                  <a:pt x="16205" y="12049"/>
                </a:cubicBezTo>
                <a:close/>
                <a:moveTo>
                  <a:pt x="17422" y="12118"/>
                </a:moveTo>
                <a:cubicBezTo>
                  <a:pt x="17427" y="12149"/>
                  <a:pt x="17436" y="12179"/>
                  <a:pt x="17445" y="12204"/>
                </a:cubicBezTo>
                <a:cubicBezTo>
                  <a:pt x="17440" y="12207"/>
                  <a:pt x="17436" y="12212"/>
                  <a:pt x="17432" y="12216"/>
                </a:cubicBezTo>
                <a:cubicBezTo>
                  <a:pt x="17429" y="12220"/>
                  <a:pt x="17426" y="12223"/>
                  <a:pt x="17424" y="12223"/>
                </a:cubicBezTo>
                <a:cubicBezTo>
                  <a:pt x="17419" y="12223"/>
                  <a:pt x="17411" y="12208"/>
                  <a:pt x="17410" y="12201"/>
                </a:cubicBezTo>
                <a:cubicBezTo>
                  <a:pt x="17410" y="12196"/>
                  <a:pt x="17411" y="12193"/>
                  <a:pt x="17415" y="12186"/>
                </a:cubicBezTo>
                <a:lnTo>
                  <a:pt x="17417" y="12181"/>
                </a:lnTo>
                <a:cubicBezTo>
                  <a:pt x="17420" y="12176"/>
                  <a:pt x="17422" y="12168"/>
                  <a:pt x="17422" y="12160"/>
                </a:cubicBezTo>
                <a:lnTo>
                  <a:pt x="17422" y="12124"/>
                </a:lnTo>
                <a:cubicBezTo>
                  <a:pt x="17422" y="12122"/>
                  <a:pt x="17422" y="12120"/>
                  <a:pt x="17422" y="12118"/>
                </a:cubicBezTo>
                <a:close/>
                <a:moveTo>
                  <a:pt x="16486" y="12199"/>
                </a:moveTo>
                <a:cubicBezTo>
                  <a:pt x="16456" y="12199"/>
                  <a:pt x="16431" y="12248"/>
                  <a:pt x="16431" y="12309"/>
                </a:cubicBezTo>
                <a:cubicBezTo>
                  <a:pt x="16431" y="12370"/>
                  <a:pt x="16456" y="12420"/>
                  <a:pt x="16486" y="12420"/>
                </a:cubicBezTo>
                <a:cubicBezTo>
                  <a:pt x="16517" y="12420"/>
                  <a:pt x="16542" y="12370"/>
                  <a:pt x="16542" y="12309"/>
                </a:cubicBezTo>
                <a:cubicBezTo>
                  <a:pt x="16542" y="12248"/>
                  <a:pt x="16517" y="12199"/>
                  <a:pt x="16486" y="12199"/>
                </a:cubicBezTo>
                <a:close/>
                <a:moveTo>
                  <a:pt x="17499" y="12208"/>
                </a:moveTo>
                <a:cubicBezTo>
                  <a:pt x="17501" y="12208"/>
                  <a:pt x="17503" y="12211"/>
                  <a:pt x="17505" y="12216"/>
                </a:cubicBezTo>
                <a:cubicBezTo>
                  <a:pt x="17502" y="12218"/>
                  <a:pt x="17499" y="12222"/>
                  <a:pt x="17497" y="12227"/>
                </a:cubicBezTo>
                <a:cubicBezTo>
                  <a:pt x="17494" y="12233"/>
                  <a:pt x="17493" y="12240"/>
                  <a:pt x="17491" y="12246"/>
                </a:cubicBezTo>
                <a:cubicBezTo>
                  <a:pt x="17491" y="12245"/>
                  <a:pt x="17490" y="12244"/>
                  <a:pt x="17490" y="12243"/>
                </a:cubicBezTo>
                <a:cubicBezTo>
                  <a:pt x="17492" y="12239"/>
                  <a:pt x="17493" y="12233"/>
                  <a:pt x="17493" y="12228"/>
                </a:cubicBezTo>
                <a:cubicBezTo>
                  <a:pt x="17493" y="12226"/>
                  <a:pt x="17493" y="12220"/>
                  <a:pt x="17493" y="12215"/>
                </a:cubicBezTo>
                <a:lnTo>
                  <a:pt x="17493" y="12211"/>
                </a:lnTo>
                <a:cubicBezTo>
                  <a:pt x="17494" y="12210"/>
                  <a:pt x="17496" y="12208"/>
                  <a:pt x="17499" y="12208"/>
                </a:cubicBezTo>
                <a:close/>
                <a:moveTo>
                  <a:pt x="17455" y="12263"/>
                </a:moveTo>
                <a:cubicBezTo>
                  <a:pt x="17457" y="12263"/>
                  <a:pt x="17459" y="12265"/>
                  <a:pt x="17462" y="12271"/>
                </a:cubicBezTo>
                <a:cubicBezTo>
                  <a:pt x="17459" y="12272"/>
                  <a:pt x="17456" y="12273"/>
                  <a:pt x="17454" y="12274"/>
                </a:cubicBezTo>
                <a:cubicBezTo>
                  <a:pt x="17451" y="12277"/>
                  <a:pt x="17449" y="12281"/>
                  <a:pt x="17448" y="12286"/>
                </a:cubicBezTo>
                <a:cubicBezTo>
                  <a:pt x="17444" y="12282"/>
                  <a:pt x="17441" y="12279"/>
                  <a:pt x="17438" y="12277"/>
                </a:cubicBezTo>
                <a:cubicBezTo>
                  <a:pt x="17441" y="12274"/>
                  <a:pt x="17444" y="12271"/>
                  <a:pt x="17446" y="12269"/>
                </a:cubicBezTo>
                <a:cubicBezTo>
                  <a:pt x="17450" y="12265"/>
                  <a:pt x="17453" y="12263"/>
                  <a:pt x="17455" y="12263"/>
                </a:cubicBezTo>
                <a:close/>
                <a:moveTo>
                  <a:pt x="12630" y="12308"/>
                </a:moveTo>
                <a:cubicBezTo>
                  <a:pt x="12646" y="12348"/>
                  <a:pt x="12666" y="12382"/>
                  <a:pt x="12694" y="12391"/>
                </a:cubicBezTo>
                <a:cubicBezTo>
                  <a:pt x="12696" y="12409"/>
                  <a:pt x="12698" y="12424"/>
                  <a:pt x="12700" y="12435"/>
                </a:cubicBezTo>
                <a:cubicBezTo>
                  <a:pt x="12702" y="12452"/>
                  <a:pt x="12704" y="12458"/>
                  <a:pt x="12700" y="12468"/>
                </a:cubicBezTo>
                <a:lnTo>
                  <a:pt x="12680" y="12461"/>
                </a:lnTo>
                <a:lnTo>
                  <a:pt x="12626" y="12443"/>
                </a:lnTo>
                <a:lnTo>
                  <a:pt x="12630" y="12308"/>
                </a:lnTo>
                <a:close/>
                <a:moveTo>
                  <a:pt x="14713" y="12311"/>
                </a:moveTo>
                <a:cubicBezTo>
                  <a:pt x="14686" y="12311"/>
                  <a:pt x="14663" y="12355"/>
                  <a:pt x="14663" y="12410"/>
                </a:cubicBezTo>
                <a:cubicBezTo>
                  <a:pt x="14663" y="12464"/>
                  <a:pt x="14686" y="12508"/>
                  <a:pt x="14713" y="12508"/>
                </a:cubicBezTo>
                <a:cubicBezTo>
                  <a:pt x="14740" y="12508"/>
                  <a:pt x="14762" y="12464"/>
                  <a:pt x="14762" y="12410"/>
                </a:cubicBezTo>
                <a:cubicBezTo>
                  <a:pt x="14762" y="12355"/>
                  <a:pt x="14740" y="12311"/>
                  <a:pt x="14713" y="12311"/>
                </a:cubicBezTo>
                <a:close/>
                <a:moveTo>
                  <a:pt x="10389" y="12314"/>
                </a:moveTo>
                <a:lnTo>
                  <a:pt x="10827" y="13297"/>
                </a:lnTo>
                <a:cubicBezTo>
                  <a:pt x="10818" y="13309"/>
                  <a:pt x="10812" y="13326"/>
                  <a:pt x="10812" y="13349"/>
                </a:cubicBezTo>
                <a:cubicBezTo>
                  <a:pt x="10812" y="13387"/>
                  <a:pt x="10827" y="13417"/>
                  <a:pt x="10846" y="13417"/>
                </a:cubicBezTo>
                <a:cubicBezTo>
                  <a:pt x="10856" y="13417"/>
                  <a:pt x="10864" y="13408"/>
                  <a:pt x="10870" y="13395"/>
                </a:cubicBezTo>
                <a:lnTo>
                  <a:pt x="10990" y="13664"/>
                </a:lnTo>
                <a:cubicBezTo>
                  <a:pt x="10962" y="13685"/>
                  <a:pt x="10942" y="13738"/>
                  <a:pt x="10942" y="13802"/>
                </a:cubicBezTo>
                <a:cubicBezTo>
                  <a:pt x="10942" y="13883"/>
                  <a:pt x="10975" y="13950"/>
                  <a:pt x="11016" y="13950"/>
                </a:cubicBezTo>
                <a:cubicBezTo>
                  <a:pt x="11044" y="13950"/>
                  <a:pt x="11068" y="13916"/>
                  <a:pt x="11081" y="13868"/>
                </a:cubicBezTo>
                <a:lnTo>
                  <a:pt x="11562" y="14950"/>
                </a:lnTo>
                <a:cubicBezTo>
                  <a:pt x="11560" y="14948"/>
                  <a:pt x="11557" y="14946"/>
                  <a:pt x="11555" y="14944"/>
                </a:cubicBezTo>
                <a:cubicBezTo>
                  <a:pt x="11538" y="14929"/>
                  <a:pt x="11521" y="14914"/>
                  <a:pt x="11505" y="14900"/>
                </a:cubicBezTo>
                <a:cubicBezTo>
                  <a:pt x="11494" y="14890"/>
                  <a:pt x="11483" y="14881"/>
                  <a:pt x="11473" y="14872"/>
                </a:cubicBezTo>
                <a:cubicBezTo>
                  <a:pt x="11463" y="14863"/>
                  <a:pt x="11453" y="14854"/>
                  <a:pt x="11444" y="14846"/>
                </a:cubicBezTo>
                <a:cubicBezTo>
                  <a:pt x="11427" y="14831"/>
                  <a:pt x="11410" y="14817"/>
                  <a:pt x="11394" y="14803"/>
                </a:cubicBezTo>
                <a:cubicBezTo>
                  <a:pt x="11390" y="14800"/>
                  <a:pt x="11387" y="14796"/>
                  <a:pt x="11384" y="14794"/>
                </a:cubicBezTo>
                <a:cubicBezTo>
                  <a:pt x="11375" y="14786"/>
                  <a:pt x="11369" y="14782"/>
                  <a:pt x="11360" y="14774"/>
                </a:cubicBezTo>
                <a:cubicBezTo>
                  <a:pt x="11363" y="14754"/>
                  <a:pt x="11366" y="14735"/>
                  <a:pt x="11366" y="14713"/>
                </a:cubicBezTo>
                <a:cubicBezTo>
                  <a:pt x="11366" y="14581"/>
                  <a:pt x="11313" y="14474"/>
                  <a:pt x="11247" y="14474"/>
                </a:cubicBezTo>
                <a:cubicBezTo>
                  <a:pt x="11204" y="14474"/>
                  <a:pt x="11169" y="14522"/>
                  <a:pt x="11148" y="14590"/>
                </a:cubicBezTo>
                <a:cubicBezTo>
                  <a:pt x="11018" y="14478"/>
                  <a:pt x="10877" y="14354"/>
                  <a:pt x="10777" y="14268"/>
                </a:cubicBezTo>
                <a:cubicBezTo>
                  <a:pt x="10767" y="14260"/>
                  <a:pt x="10759" y="14252"/>
                  <a:pt x="10750" y="14245"/>
                </a:cubicBezTo>
                <a:cubicBezTo>
                  <a:pt x="10745" y="14240"/>
                  <a:pt x="10739" y="14235"/>
                  <a:pt x="10734" y="14231"/>
                </a:cubicBezTo>
                <a:cubicBezTo>
                  <a:pt x="10720" y="14219"/>
                  <a:pt x="10707" y="14208"/>
                  <a:pt x="10694" y="14197"/>
                </a:cubicBezTo>
                <a:cubicBezTo>
                  <a:pt x="10675" y="14140"/>
                  <a:pt x="10666" y="14087"/>
                  <a:pt x="10666" y="14036"/>
                </a:cubicBezTo>
                <a:cubicBezTo>
                  <a:pt x="10666" y="14001"/>
                  <a:pt x="10696" y="13905"/>
                  <a:pt x="10707" y="13892"/>
                </a:cubicBezTo>
                <a:cubicBezTo>
                  <a:pt x="10713" y="13885"/>
                  <a:pt x="10716" y="13868"/>
                  <a:pt x="10713" y="13854"/>
                </a:cubicBezTo>
                <a:cubicBezTo>
                  <a:pt x="10710" y="13839"/>
                  <a:pt x="10710" y="13835"/>
                  <a:pt x="10711" y="13827"/>
                </a:cubicBezTo>
                <a:cubicBezTo>
                  <a:pt x="10713" y="13821"/>
                  <a:pt x="10714" y="13813"/>
                  <a:pt x="10714" y="13803"/>
                </a:cubicBezTo>
                <a:cubicBezTo>
                  <a:pt x="10714" y="13667"/>
                  <a:pt x="10723" y="13624"/>
                  <a:pt x="10730" y="13613"/>
                </a:cubicBezTo>
                <a:cubicBezTo>
                  <a:pt x="10736" y="13604"/>
                  <a:pt x="10737" y="13589"/>
                  <a:pt x="10734" y="13577"/>
                </a:cubicBezTo>
                <a:cubicBezTo>
                  <a:pt x="10711" y="13485"/>
                  <a:pt x="10680" y="13428"/>
                  <a:pt x="10641" y="13401"/>
                </a:cubicBezTo>
                <a:cubicBezTo>
                  <a:pt x="10627" y="13373"/>
                  <a:pt x="10608" y="13355"/>
                  <a:pt x="10588" y="13355"/>
                </a:cubicBezTo>
                <a:cubicBezTo>
                  <a:pt x="10573" y="13355"/>
                  <a:pt x="10560" y="13366"/>
                  <a:pt x="10548" y="13381"/>
                </a:cubicBezTo>
                <a:lnTo>
                  <a:pt x="10498" y="13381"/>
                </a:lnTo>
                <a:cubicBezTo>
                  <a:pt x="10476" y="13381"/>
                  <a:pt x="10460" y="13337"/>
                  <a:pt x="10441" y="13285"/>
                </a:cubicBezTo>
                <a:cubicBezTo>
                  <a:pt x="10425" y="13240"/>
                  <a:pt x="10405" y="13188"/>
                  <a:pt x="10378" y="13159"/>
                </a:cubicBezTo>
                <a:cubicBezTo>
                  <a:pt x="10371" y="13121"/>
                  <a:pt x="10358" y="13089"/>
                  <a:pt x="10339" y="13072"/>
                </a:cubicBezTo>
                <a:lnTo>
                  <a:pt x="10339" y="12895"/>
                </a:lnTo>
                <a:cubicBezTo>
                  <a:pt x="10351" y="12890"/>
                  <a:pt x="10360" y="12871"/>
                  <a:pt x="10360" y="12847"/>
                </a:cubicBezTo>
                <a:cubicBezTo>
                  <a:pt x="10360" y="12822"/>
                  <a:pt x="10351" y="12804"/>
                  <a:pt x="10339" y="12799"/>
                </a:cubicBezTo>
                <a:lnTo>
                  <a:pt x="10339" y="12343"/>
                </a:lnTo>
                <a:cubicBezTo>
                  <a:pt x="10342" y="12344"/>
                  <a:pt x="10343" y="12345"/>
                  <a:pt x="10346" y="12345"/>
                </a:cubicBezTo>
                <a:cubicBezTo>
                  <a:pt x="10362" y="12345"/>
                  <a:pt x="10377" y="12333"/>
                  <a:pt x="10389" y="12314"/>
                </a:cubicBezTo>
                <a:close/>
                <a:moveTo>
                  <a:pt x="17421" y="12328"/>
                </a:moveTo>
                <a:cubicBezTo>
                  <a:pt x="17422" y="12328"/>
                  <a:pt x="17422" y="12329"/>
                  <a:pt x="17422" y="12329"/>
                </a:cubicBezTo>
                <a:cubicBezTo>
                  <a:pt x="17425" y="12331"/>
                  <a:pt x="17427" y="12332"/>
                  <a:pt x="17429" y="12334"/>
                </a:cubicBezTo>
                <a:cubicBezTo>
                  <a:pt x="17429" y="12334"/>
                  <a:pt x="17425" y="12335"/>
                  <a:pt x="17423" y="12335"/>
                </a:cubicBezTo>
                <a:cubicBezTo>
                  <a:pt x="17423" y="12332"/>
                  <a:pt x="17422" y="12331"/>
                  <a:pt x="17421" y="12328"/>
                </a:cubicBezTo>
                <a:close/>
                <a:moveTo>
                  <a:pt x="13381" y="12365"/>
                </a:moveTo>
                <a:cubicBezTo>
                  <a:pt x="13351" y="12365"/>
                  <a:pt x="13335" y="12374"/>
                  <a:pt x="13315" y="12387"/>
                </a:cubicBezTo>
                <a:cubicBezTo>
                  <a:pt x="13308" y="12392"/>
                  <a:pt x="13303" y="12407"/>
                  <a:pt x="13305" y="12422"/>
                </a:cubicBezTo>
                <a:cubicBezTo>
                  <a:pt x="13309" y="12463"/>
                  <a:pt x="13333" y="12475"/>
                  <a:pt x="13343" y="12475"/>
                </a:cubicBezTo>
                <a:cubicBezTo>
                  <a:pt x="13368" y="12475"/>
                  <a:pt x="13389" y="12431"/>
                  <a:pt x="13395" y="12408"/>
                </a:cubicBezTo>
                <a:cubicBezTo>
                  <a:pt x="13397" y="12399"/>
                  <a:pt x="13397" y="12388"/>
                  <a:pt x="13394" y="12379"/>
                </a:cubicBezTo>
                <a:cubicBezTo>
                  <a:pt x="13391" y="12371"/>
                  <a:pt x="13386" y="12365"/>
                  <a:pt x="13381" y="12365"/>
                </a:cubicBezTo>
                <a:close/>
                <a:moveTo>
                  <a:pt x="11088" y="12422"/>
                </a:moveTo>
                <a:cubicBezTo>
                  <a:pt x="11069" y="12422"/>
                  <a:pt x="11053" y="12454"/>
                  <a:pt x="11053" y="12491"/>
                </a:cubicBezTo>
                <a:cubicBezTo>
                  <a:pt x="11053" y="12529"/>
                  <a:pt x="11069" y="12559"/>
                  <a:pt x="11088" y="12559"/>
                </a:cubicBezTo>
                <a:cubicBezTo>
                  <a:pt x="11107" y="12559"/>
                  <a:pt x="11121" y="12529"/>
                  <a:pt x="11121" y="12491"/>
                </a:cubicBezTo>
                <a:cubicBezTo>
                  <a:pt x="11121" y="12454"/>
                  <a:pt x="11107" y="12422"/>
                  <a:pt x="11088" y="12422"/>
                </a:cubicBezTo>
                <a:close/>
                <a:moveTo>
                  <a:pt x="16071" y="12455"/>
                </a:moveTo>
                <a:cubicBezTo>
                  <a:pt x="16077" y="12460"/>
                  <a:pt x="16081" y="12469"/>
                  <a:pt x="16088" y="12469"/>
                </a:cubicBezTo>
                <a:cubicBezTo>
                  <a:pt x="16083" y="12491"/>
                  <a:pt x="16078" y="12511"/>
                  <a:pt x="16075" y="12529"/>
                </a:cubicBezTo>
                <a:cubicBezTo>
                  <a:pt x="16075" y="12524"/>
                  <a:pt x="16075" y="12519"/>
                  <a:pt x="16075" y="12515"/>
                </a:cubicBezTo>
                <a:cubicBezTo>
                  <a:pt x="16075" y="12493"/>
                  <a:pt x="16072" y="12475"/>
                  <a:pt x="16071" y="12455"/>
                </a:cubicBezTo>
                <a:close/>
                <a:moveTo>
                  <a:pt x="16261" y="12460"/>
                </a:moveTo>
                <a:cubicBezTo>
                  <a:pt x="16242" y="12460"/>
                  <a:pt x="16226" y="12491"/>
                  <a:pt x="16226" y="12529"/>
                </a:cubicBezTo>
                <a:cubicBezTo>
                  <a:pt x="16226" y="12566"/>
                  <a:pt x="16242" y="12596"/>
                  <a:pt x="16261" y="12596"/>
                </a:cubicBezTo>
                <a:cubicBezTo>
                  <a:pt x="16280" y="12596"/>
                  <a:pt x="16294" y="12566"/>
                  <a:pt x="16294" y="12529"/>
                </a:cubicBezTo>
                <a:cubicBezTo>
                  <a:pt x="16294" y="12491"/>
                  <a:pt x="16280" y="12460"/>
                  <a:pt x="16261" y="12460"/>
                </a:cubicBezTo>
                <a:close/>
                <a:moveTo>
                  <a:pt x="17607" y="12462"/>
                </a:moveTo>
                <a:cubicBezTo>
                  <a:pt x="17609" y="12465"/>
                  <a:pt x="17611" y="12469"/>
                  <a:pt x="17613" y="12473"/>
                </a:cubicBezTo>
                <a:cubicBezTo>
                  <a:pt x="17621" y="12484"/>
                  <a:pt x="17631" y="12499"/>
                  <a:pt x="17634" y="12512"/>
                </a:cubicBezTo>
                <a:cubicBezTo>
                  <a:pt x="17628" y="12512"/>
                  <a:pt x="17621" y="12511"/>
                  <a:pt x="17614" y="12511"/>
                </a:cubicBezTo>
                <a:cubicBezTo>
                  <a:pt x="17610" y="12511"/>
                  <a:pt x="17607" y="12514"/>
                  <a:pt x="17604" y="12519"/>
                </a:cubicBezTo>
                <a:cubicBezTo>
                  <a:pt x="17601" y="12525"/>
                  <a:pt x="17599" y="12532"/>
                  <a:pt x="17599" y="12540"/>
                </a:cubicBezTo>
                <a:lnTo>
                  <a:pt x="17599" y="12563"/>
                </a:lnTo>
                <a:cubicBezTo>
                  <a:pt x="17599" y="12566"/>
                  <a:pt x="17600" y="12568"/>
                  <a:pt x="17600" y="12570"/>
                </a:cubicBezTo>
                <a:lnTo>
                  <a:pt x="17593" y="12569"/>
                </a:lnTo>
                <a:cubicBezTo>
                  <a:pt x="17590" y="12569"/>
                  <a:pt x="17587" y="12572"/>
                  <a:pt x="17584" y="12575"/>
                </a:cubicBezTo>
                <a:cubicBezTo>
                  <a:pt x="17578" y="12566"/>
                  <a:pt x="17572" y="12562"/>
                  <a:pt x="17564" y="12562"/>
                </a:cubicBezTo>
                <a:cubicBezTo>
                  <a:pt x="17563" y="12562"/>
                  <a:pt x="17562" y="12562"/>
                  <a:pt x="17560" y="12562"/>
                </a:cubicBezTo>
                <a:cubicBezTo>
                  <a:pt x="17561" y="12556"/>
                  <a:pt x="17562" y="12550"/>
                  <a:pt x="17562" y="12543"/>
                </a:cubicBezTo>
                <a:cubicBezTo>
                  <a:pt x="17562" y="12521"/>
                  <a:pt x="17556" y="12507"/>
                  <a:pt x="17548" y="12496"/>
                </a:cubicBezTo>
                <a:cubicBezTo>
                  <a:pt x="17546" y="12488"/>
                  <a:pt x="17545" y="12482"/>
                  <a:pt x="17543" y="12475"/>
                </a:cubicBezTo>
                <a:cubicBezTo>
                  <a:pt x="17544" y="12476"/>
                  <a:pt x="17544" y="12479"/>
                  <a:pt x="17545" y="12480"/>
                </a:cubicBezTo>
                <a:lnTo>
                  <a:pt x="17548" y="12480"/>
                </a:lnTo>
                <a:cubicBezTo>
                  <a:pt x="17550" y="12480"/>
                  <a:pt x="17553" y="12480"/>
                  <a:pt x="17556" y="12480"/>
                </a:cubicBezTo>
                <a:cubicBezTo>
                  <a:pt x="17558" y="12479"/>
                  <a:pt x="17560" y="12480"/>
                  <a:pt x="17562" y="12480"/>
                </a:cubicBezTo>
                <a:cubicBezTo>
                  <a:pt x="17564" y="12488"/>
                  <a:pt x="17567" y="12494"/>
                  <a:pt x="17570" y="12499"/>
                </a:cubicBezTo>
                <a:cubicBezTo>
                  <a:pt x="17577" y="12515"/>
                  <a:pt x="17585" y="12524"/>
                  <a:pt x="17592" y="12524"/>
                </a:cubicBezTo>
                <a:cubicBezTo>
                  <a:pt x="17601" y="12524"/>
                  <a:pt x="17609" y="12508"/>
                  <a:pt x="17609" y="12489"/>
                </a:cubicBezTo>
                <a:cubicBezTo>
                  <a:pt x="17609" y="12479"/>
                  <a:pt x="17608" y="12470"/>
                  <a:pt x="17607" y="12462"/>
                </a:cubicBezTo>
                <a:close/>
                <a:moveTo>
                  <a:pt x="5823" y="12490"/>
                </a:moveTo>
                <a:cubicBezTo>
                  <a:pt x="5825" y="12495"/>
                  <a:pt x="5828" y="12507"/>
                  <a:pt x="5829" y="12515"/>
                </a:cubicBezTo>
                <a:cubicBezTo>
                  <a:pt x="5829" y="12528"/>
                  <a:pt x="5824" y="12532"/>
                  <a:pt x="5823" y="12532"/>
                </a:cubicBezTo>
                <a:cubicBezTo>
                  <a:pt x="5816" y="12532"/>
                  <a:pt x="5810" y="12543"/>
                  <a:pt x="5809" y="12556"/>
                </a:cubicBezTo>
                <a:cubicBezTo>
                  <a:pt x="5806" y="12580"/>
                  <a:pt x="5803" y="12606"/>
                  <a:pt x="5800" y="12630"/>
                </a:cubicBezTo>
                <a:cubicBezTo>
                  <a:pt x="5794" y="12672"/>
                  <a:pt x="5789" y="12709"/>
                  <a:pt x="5789" y="12736"/>
                </a:cubicBezTo>
                <a:cubicBezTo>
                  <a:pt x="5789" y="12800"/>
                  <a:pt x="5805" y="12895"/>
                  <a:pt x="5839" y="12895"/>
                </a:cubicBezTo>
                <a:cubicBezTo>
                  <a:pt x="5861" y="12895"/>
                  <a:pt x="5875" y="12818"/>
                  <a:pt x="5875" y="12797"/>
                </a:cubicBezTo>
                <a:cubicBezTo>
                  <a:pt x="5875" y="12763"/>
                  <a:pt x="5867" y="12736"/>
                  <a:pt x="5859" y="12714"/>
                </a:cubicBezTo>
                <a:cubicBezTo>
                  <a:pt x="5854" y="12696"/>
                  <a:pt x="5849" y="12681"/>
                  <a:pt x="5849" y="12664"/>
                </a:cubicBezTo>
                <a:cubicBezTo>
                  <a:pt x="5849" y="12645"/>
                  <a:pt x="5852" y="12641"/>
                  <a:pt x="5870" y="12630"/>
                </a:cubicBezTo>
                <a:cubicBezTo>
                  <a:pt x="5877" y="12626"/>
                  <a:pt x="5884" y="12621"/>
                  <a:pt x="5891" y="12614"/>
                </a:cubicBezTo>
                <a:lnTo>
                  <a:pt x="5937" y="12614"/>
                </a:lnTo>
                <a:cubicBezTo>
                  <a:pt x="5942" y="12614"/>
                  <a:pt x="5947" y="12609"/>
                  <a:pt x="5950" y="12601"/>
                </a:cubicBezTo>
                <a:cubicBezTo>
                  <a:pt x="5951" y="12598"/>
                  <a:pt x="5951" y="12595"/>
                  <a:pt x="5952" y="12591"/>
                </a:cubicBezTo>
                <a:cubicBezTo>
                  <a:pt x="5970" y="12614"/>
                  <a:pt x="5992" y="12626"/>
                  <a:pt x="6009" y="12633"/>
                </a:cubicBezTo>
                <a:cubicBezTo>
                  <a:pt x="6013" y="12675"/>
                  <a:pt x="6027" y="12709"/>
                  <a:pt x="6046" y="12715"/>
                </a:cubicBezTo>
                <a:cubicBezTo>
                  <a:pt x="6046" y="12715"/>
                  <a:pt x="6047" y="12715"/>
                  <a:pt x="6048" y="12715"/>
                </a:cubicBezTo>
                <a:lnTo>
                  <a:pt x="6151" y="12715"/>
                </a:lnTo>
                <a:cubicBezTo>
                  <a:pt x="6158" y="12745"/>
                  <a:pt x="6178" y="12762"/>
                  <a:pt x="6205" y="12762"/>
                </a:cubicBezTo>
                <a:cubicBezTo>
                  <a:pt x="6206" y="12762"/>
                  <a:pt x="6207" y="12762"/>
                  <a:pt x="6207" y="12762"/>
                </a:cubicBezTo>
                <a:lnTo>
                  <a:pt x="6216" y="12759"/>
                </a:lnTo>
                <a:cubicBezTo>
                  <a:pt x="6242" y="12753"/>
                  <a:pt x="6266" y="12747"/>
                  <a:pt x="6282" y="12694"/>
                </a:cubicBezTo>
                <a:cubicBezTo>
                  <a:pt x="6287" y="12692"/>
                  <a:pt x="6296" y="12691"/>
                  <a:pt x="6302" y="12689"/>
                </a:cubicBezTo>
                <a:cubicBezTo>
                  <a:pt x="6314" y="12687"/>
                  <a:pt x="6321" y="12685"/>
                  <a:pt x="6326" y="12681"/>
                </a:cubicBezTo>
                <a:cubicBezTo>
                  <a:pt x="6329" y="12681"/>
                  <a:pt x="6333" y="12682"/>
                  <a:pt x="6336" y="12682"/>
                </a:cubicBezTo>
                <a:lnTo>
                  <a:pt x="6336" y="12707"/>
                </a:lnTo>
                <a:cubicBezTo>
                  <a:pt x="6336" y="12712"/>
                  <a:pt x="6337" y="12716"/>
                  <a:pt x="6338" y="12720"/>
                </a:cubicBezTo>
                <a:cubicBezTo>
                  <a:pt x="6349" y="12763"/>
                  <a:pt x="6370" y="12783"/>
                  <a:pt x="6393" y="12799"/>
                </a:cubicBezTo>
                <a:cubicBezTo>
                  <a:pt x="6358" y="12807"/>
                  <a:pt x="6331" y="12863"/>
                  <a:pt x="6328" y="12934"/>
                </a:cubicBezTo>
                <a:lnTo>
                  <a:pt x="5414" y="13802"/>
                </a:lnTo>
                <a:cubicBezTo>
                  <a:pt x="5414" y="13769"/>
                  <a:pt x="5408" y="13741"/>
                  <a:pt x="5399" y="13716"/>
                </a:cubicBezTo>
                <a:cubicBezTo>
                  <a:pt x="5399" y="13716"/>
                  <a:pt x="5399" y="13716"/>
                  <a:pt x="5400" y="13715"/>
                </a:cubicBezTo>
                <a:cubicBezTo>
                  <a:pt x="5408" y="13682"/>
                  <a:pt x="5422" y="13668"/>
                  <a:pt x="5437" y="13652"/>
                </a:cubicBezTo>
                <a:cubicBezTo>
                  <a:pt x="5458" y="13632"/>
                  <a:pt x="5483" y="13607"/>
                  <a:pt x="5492" y="13530"/>
                </a:cubicBezTo>
                <a:cubicBezTo>
                  <a:pt x="5494" y="13516"/>
                  <a:pt x="5490" y="13500"/>
                  <a:pt x="5483" y="13495"/>
                </a:cubicBezTo>
                <a:cubicBezTo>
                  <a:pt x="5479" y="13492"/>
                  <a:pt x="5475" y="13486"/>
                  <a:pt x="5473" y="13481"/>
                </a:cubicBezTo>
                <a:lnTo>
                  <a:pt x="5478" y="13460"/>
                </a:lnTo>
                <a:cubicBezTo>
                  <a:pt x="5479" y="13456"/>
                  <a:pt x="5480" y="13451"/>
                  <a:pt x="5480" y="13446"/>
                </a:cubicBezTo>
                <a:lnTo>
                  <a:pt x="5480" y="13425"/>
                </a:lnTo>
                <a:cubicBezTo>
                  <a:pt x="5480" y="13402"/>
                  <a:pt x="5476" y="13383"/>
                  <a:pt x="5472" y="13367"/>
                </a:cubicBezTo>
                <a:cubicBezTo>
                  <a:pt x="5469" y="13354"/>
                  <a:pt x="5467" y="13343"/>
                  <a:pt x="5467" y="13332"/>
                </a:cubicBezTo>
                <a:cubicBezTo>
                  <a:pt x="5467" y="13310"/>
                  <a:pt x="5470" y="13296"/>
                  <a:pt x="5472" y="13280"/>
                </a:cubicBezTo>
                <a:cubicBezTo>
                  <a:pt x="5475" y="13265"/>
                  <a:pt x="5478" y="13247"/>
                  <a:pt x="5478" y="13222"/>
                </a:cubicBezTo>
                <a:cubicBezTo>
                  <a:pt x="5478" y="13162"/>
                  <a:pt x="5464" y="13136"/>
                  <a:pt x="5453" y="13116"/>
                </a:cubicBezTo>
                <a:cubicBezTo>
                  <a:pt x="5445" y="13101"/>
                  <a:pt x="5440" y="13092"/>
                  <a:pt x="5440" y="13068"/>
                </a:cubicBezTo>
                <a:cubicBezTo>
                  <a:pt x="5440" y="13065"/>
                  <a:pt x="5440" y="13060"/>
                  <a:pt x="5441" y="13054"/>
                </a:cubicBezTo>
                <a:cubicBezTo>
                  <a:pt x="5444" y="13042"/>
                  <a:pt x="5442" y="13028"/>
                  <a:pt x="5437" y="13019"/>
                </a:cubicBezTo>
                <a:cubicBezTo>
                  <a:pt x="5434" y="13014"/>
                  <a:pt x="5429" y="13012"/>
                  <a:pt x="5425" y="13013"/>
                </a:cubicBezTo>
                <a:cubicBezTo>
                  <a:pt x="5424" y="13012"/>
                  <a:pt x="5422" y="13010"/>
                  <a:pt x="5420" y="13009"/>
                </a:cubicBezTo>
                <a:cubicBezTo>
                  <a:pt x="5420" y="13008"/>
                  <a:pt x="5419" y="13006"/>
                  <a:pt x="5418" y="13005"/>
                </a:cubicBezTo>
                <a:cubicBezTo>
                  <a:pt x="5420" y="13000"/>
                  <a:pt x="5423" y="12993"/>
                  <a:pt x="5425" y="12984"/>
                </a:cubicBezTo>
                <a:cubicBezTo>
                  <a:pt x="5427" y="12977"/>
                  <a:pt x="5427" y="12969"/>
                  <a:pt x="5426" y="12961"/>
                </a:cubicBezTo>
                <a:cubicBezTo>
                  <a:pt x="5424" y="12953"/>
                  <a:pt x="5422" y="12947"/>
                  <a:pt x="5418" y="12944"/>
                </a:cubicBezTo>
                <a:cubicBezTo>
                  <a:pt x="5411" y="12937"/>
                  <a:pt x="5405" y="12924"/>
                  <a:pt x="5400" y="12911"/>
                </a:cubicBezTo>
                <a:cubicBezTo>
                  <a:pt x="5390" y="12890"/>
                  <a:pt x="5379" y="12864"/>
                  <a:pt x="5359" y="12864"/>
                </a:cubicBezTo>
                <a:cubicBezTo>
                  <a:pt x="5341" y="12864"/>
                  <a:pt x="5270" y="12955"/>
                  <a:pt x="5270" y="13004"/>
                </a:cubicBezTo>
                <a:cubicBezTo>
                  <a:pt x="5270" y="13027"/>
                  <a:pt x="5277" y="13044"/>
                  <a:pt x="5284" y="13055"/>
                </a:cubicBezTo>
                <a:cubicBezTo>
                  <a:pt x="5280" y="13077"/>
                  <a:pt x="5274" y="13076"/>
                  <a:pt x="5270" y="13076"/>
                </a:cubicBezTo>
                <a:cubicBezTo>
                  <a:pt x="5251" y="13076"/>
                  <a:pt x="5236" y="13038"/>
                  <a:pt x="5223" y="13004"/>
                </a:cubicBezTo>
                <a:cubicBezTo>
                  <a:pt x="5218" y="12992"/>
                  <a:pt x="5213" y="12980"/>
                  <a:pt x="5208" y="12970"/>
                </a:cubicBezTo>
                <a:cubicBezTo>
                  <a:pt x="5208" y="12970"/>
                  <a:pt x="5208" y="12971"/>
                  <a:pt x="5208" y="12970"/>
                </a:cubicBezTo>
                <a:cubicBezTo>
                  <a:pt x="5211" y="12958"/>
                  <a:pt x="5216" y="12947"/>
                  <a:pt x="5216" y="12932"/>
                </a:cubicBezTo>
                <a:cubicBezTo>
                  <a:pt x="5216" y="12925"/>
                  <a:pt x="5213" y="12922"/>
                  <a:pt x="5212" y="12916"/>
                </a:cubicBezTo>
                <a:cubicBezTo>
                  <a:pt x="5216" y="12918"/>
                  <a:pt x="5218" y="12924"/>
                  <a:pt x="5223" y="12924"/>
                </a:cubicBezTo>
                <a:cubicBezTo>
                  <a:pt x="5255" y="12924"/>
                  <a:pt x="5279" y="12898"/>
                  <a:pt x="5299" y="12876"/>
                </a:cubicBezTo>
                <a:cubicBezTo>
                  <a:pt x="5319" y="12856"/>
                  <a:pt x="5335" y="12839"/>
                  <a:pt x="5356" y="12839"/>
                </a:cubicBezTo>
                <a:cubicBezTo>
                  <a:pt x="5395" y="12839"/>
                  <a:pt x="5418" y="12881"/>
                  <a:pt x="5441" y="12925"/>
                </a:cubicBezTo>
                <a:cubicBezTo>
                  <a:pt x="5446" y="12933"/>
                  <a:pt x="5450" y="12941"/>
                  <a:pt x="5455" y="12949"/>
                </a:cubicBezTo>
                <a:cubicBezTo>
                  <a:pt x="5454" y="12952"/>
                  <a:pt x="5453" y="12954"/>
                  <a:pt x="5451" y="12958"/>
                </a:cubicBezTo>
                <a:cubicBezTo>
                  <a:pt x="5446" y="12969"/>
                  <a:pt x="5446" y="12986"/>
                  <a:pt x="5451" y="12997"/>
                </a:cubicBezTo>
                <a:cubicBezTo>
                  <a:pt x="5456" y="13009"/>
                  <a:pt x="5465" y="13011"/>
                  <a:pt x="5471" y="13002"/>
                </a:cubicBezTo>
                <a:cubicBezTo>
                  <a:pt x="5475" y="12995"/>
                  <a:pt x="5479" y="12990"/>
                  <a:pt x="5483" y="12983"/>
                </a:cubicBezTo>
                <a:cubicBezTo>
                  <a:pt x="5490" y="12987"/>
                  <a:pt x="5496" y="12985"/>
                  <a:pt x="5502" y="12981"/>
                </a:cubicBezTo>
                <a:lnTo>
                  <a:pt x="5507" y="12977"/>
                </a:lnTo>
                <a:cubicBezTo>
                  <a:pt x="5513" y="12974"/>
                  <a:pt x="5518" y="12961"/>
                  <a:pt x="5518" y="12948"/>
                </a:cubicBezTo>
                <a:lnTo>
                  <a:pt x="5518" y="12932"/>
                </a:lnTo>
                <a:cubicBezTo>
                  <a:pt x="5525" y="12930"/>
                  <a:pt x="5531" y="12918"/>
                  <a:pt x="5531" y="12903"/>
                </a:cubicBezTo>
                <a:cubicBezTo>
                  <a:pt x="5531" y="12889"/>
                  <a:pt x="5535" y="12881"/>
                  <a:pt x="5548" y="12867"/>
                </a:cubicBezTo>
                <a:cubicBezTo>
                  <a:pt x="5552" y="12863"/>
                  <a:pt x="5555" y="12859"/>
                  <a:pt x="5558" y="12855"/>
                </a:cubicBezTo>
                <a:cubicBezTo>
                  <a:pt x="5573" y="12835"/>
                  <a:pt x="5577" y="12793"/>
                  <a:pt x="5581" y="12756"/>
                </a:cubicBezTo>
                <a:cubicBezTo>
                  <a:pt x="5582" y="12747"/>
                  <a:pt x="5583" y="12738"/>
                  <a:pt x="5583" y="12733"/>
                </a:cubicBezTo>
                <a:cubicBezTo>
                  <a:pt x="5592" y="12679"/>
                  <a:pt x="5605" y="12671"/>
                  <a:pt x="5631" y="12654"/>
                </a:cubicBezTo>
                <a:cubicBezTo>
                  <a:pt x="5638" y="12650"/>
                  <a:pt x="5643" y="12647"/>
                  <a:pt x="5650" y="12643"/>
                </a:cubicBezTo>
                <a:cubicBezTo>
                  <a:pt x="5662" y="12687"/>
                  <a:pt x="5685" y="12719"/>
                  <a:pt x="5712" y="12719"/>
                </a:cubicBezTo>
                <a:cubicBezTo>
                  <a:pt x="5753" y="12719"/>
                  <a:pt x="5786" y="12652"/>
                  <a:pt x="5786" y="12570"/>
                </a:cubicBezTo>
                <a:cubicBezTo>
                  <a:pt x="5786" y="12562"/>
                  <a:pt x="5785" y="12555"/>
                  <a:pt x="5784" y="12547"/>
                </a:cubicBezTo>
                <a:cubicBezTo>
                  <a:pt x="5791" y="12537"/>
                  <a:pt x="5799" y="12529"/>
                  <a:pt x="5804" y="12519"/>
                </a:cubicBezTo>
                <a:cubicBezTo>
                  <a:pt x="5812" y="12502"/>
                  <a:pt x="5816" y="12492"/>
                  <a:pt x="5823" y="12490"/>
                </a:cubicBezTo>
                <a:close/>
                <a:moveTo>
                  <a:pt x="12629" y="12504"/>
                </a:moveTo>
                <a:lnTo>
                  <a:pt x="12701" y="12529"/>
                </a:lnTo>
                <a:lnTo>
                  <a:pt x="12703" y="12530"/>
                </a:lnTo>
                <a:cubicBezTo>
                  <a:pt x="12710" y="12544"/>
                  <a:pt x="12718" y="12565"/>
                  <a:pt x="12726" y="12588"/>
                </a:cubicBezTo>
                <a:cubicBezTo>
                  <a:pt x="12727" y="12588"/>
                  <a:pt x="12727" y="12589"/>
                  <a:pt x="12727" y="12589"/>
                </a:cubicBezTo>
                <a:cubicBezTo>
                  <a:pt x="12716" y="12615"/>
                  <a:pt x="12710" y="12647"/>
                  <a:pt x="12710" y="12682"/>
                </a:cubicBezTo>
                <a:cubicBezTo>
                  <a:pt x="12710" y="12764"/>
                  <a:pt x="12743" y="12830"/>
                  <a:pt x="12783" y="12830"/>
                </a:cubicBezTo>
                <a:cubicBezTo>
                  <a:pt x="12824" y="12830"/>
                  <a:pt x="12857" y="12764"/>
                  <a:pt x="12857" y="12682"/>
                </a:cubicBezTo>
                <a:cubicBezTo>
                  <a:pt x="12857" y="12671"/>
                  <a:pt x="12855" y="12661"/>
                  <a:pt x="12854" y="12651"/>
                </a:cubicBezTo>
                <a:cubicBezTo>
                  <a:pt x="12858" y="12644"/>
                  <a:pt x="12861" y="12636"/>
                  <a:pt x="12867" y="12632"/>
                </a:cubicBezTo>
                <a:cubicBezTo>
                  <a:pt x="12880" y="12623"/>
                  <a:pt x="12893" y="12625"/>
                  <a:pt x="12908" y="12630"/>
                </a:cubicBezTo>
                <a:cubicBezTo>
                  <a:pt x="12920" y="12634"/>
                  <a:pt x="12933" y="12638"/>
                  <a:pt x="12950" y="12633"/>
                </a:cubicBezTo>
                <a:cubicBezTo>
                  <a:pt x="12960" y="12630"/>
                  <a:pt x="12970" y="12626"/>
                  <a:pt x="12981" y="12622"/>
                </a:cubicBezTo>
                <a:lnTo>
                  <a:pt x="13089" y="12658"/>
                </a:lnTo>
                <a:cubicBezTo>
                  <a:pt x="13085" y="12677"/>
                  <a:pt x="13082" y="12697"/>
                  <a:pt x="13082" y="12720"/>
                </a:cubicBezTo>
                <a:cubicBezTo>
                  <a:pt x="13082" y="12790"/>
                  <a:pt x="13107" y="12846"/>
                  <a:pt x="13139" y="12861"/>
                </a:cubicBezTo>
                <a:cubicBezTo>
                  <a:pt x="13110" y="12997"/>
                  <a:pt x="13069" y="13131"/>
                  <a:pt x="13035" y="13223"/>
                </a:cubicBezTo>
                <a:cubicBezTo>
                  <a:pt x="13013" y="13282"/>
                  <a:pt x="12996" y="13337"/>
                  <a:pt x="12979" y="13391"/>
                </a:cubicBezTo>
                <a:cubicBezTo>
                  <a:pt x="12946" y="13495"/>
                  <a:pt x="12918" y="13586"/>
                  <a:pt x="12868" y="13664"/>
                </a:cubicBezTo>
                <a:cubicBezTo>
                  <a:pt x="12831" y="13722"/>
                  <a:pt x="12795" y="13769"/>
                  <a:pt x="12758" y="13814"/>
                </a:cubicBezTo>
                <a:cubicBezTo>
                  <a:pt x="12758" y="13814"/>
                  <a:pt x="12757" y="13814"/>
                  <a:pt x="12756" y="13813"/>
                </a:cubicBezTo>
                <a:lnTo>
                  <a:pt x="12705" y="13290"/>
                </a:lnTo>
                <a:cubicBezTo>
                  <a:pt x="12731" y="13287"/>
                  <a:pt x="12752" y="13246"/>
                  <a:pt x="12752" y="13193"/>
                </a:cubicBezTo>
                <a:cubicBezTo>
                  <a:pt x="12752" y="13139"/>
                  <a:pt x="12730" y="13094"/>
                  <a:pt x="12703" y="13094"/>
                </a:cubicBezTo>
                <a:cubicBezTo>
                  <a:pt x="12697" y="13094"/>
                  <a:pt x="12693" y="13103"/>
                  <a:pt x="12687" y="13107"/>
                </a:cubicBezTo>
                <a:lnTo>
                  <a:pt x="12646" y="12682"/>
                </a:lnTo>
                <a:lnTo>
                  <a:pt x="12629" y="12504"/>
                </a:lnTo>
                <a:close/>
                <a:moveTo>
                  <a:pt x="12508" y="12506"/>
                </a:moveTo>
                <a:cubicBezTo>
                  <a:pt x="12507" y="12512"/>
                  <a:pt x="12505" y="12516"/>
                  <a:pt x="12505" y="12522"/>
                </a:cubicBezTo>
                <a:cubicBezTo>
                  <a:pt x="12505" y="12563"/>
                  <a:pt x="12520" y="12592"/>
                  <a:pt x="12538" y="12607"/>
                </a:cubicBezTo>
                <a:lnTo>
                  <a:pt x="12384" y="13002"/>
                </a:lnTo>
                <a:cubicBezTo>
                  <a:pt x="12384" y="13002"/>
                  <a:pt x="12385" y="13003"/>
                  <a:pt x="12384" y="13003"/>
                </a:cubicBezTo>
                <a:lnTo>
                  <a:pt x="12286" y="13256"/>
                </a:lnTo>
                <a:lnTo>
                  <a:pt x="12217" y="13434"/>
                </a:lnTo>
                <a:cubicBezTo>
                  <a:pt x="12201" y="13441"/>
                  <a:pt x="12189" y="13465"/>
                  <a:pt x="12189" y="13498"/>
                </a:cubicBezTo>
                <a:cubicBezTo>
                  <a:pt x="12189" y="13501"/>
                  <a:pt x="12190" y="13503"/>
                  <a:pt x="12190" y="13505"/>
                </a:cubicBezTo>
                <a:lnTo>
                  <a:pt x="12086" y="13774"/>
                </a:lnTo>
                <a:cubicBezTo>
                  <a:pt x="12074" y="13725"/>
                  <a:pt x="12049" y="13691"/>
                  <a:pt x="12020" y="13691"/>
                </a:cubicBezTo>
                <a:cubicBezTo>
                  <a:pt x="11980" y="13691"/>
                  <a:pt x="11947" y="13757"/>
                  <a:pt x="11947" y="13839"/>
                </a:cubicBezTo>
                <a:cubicBezTo>
                  <a:pt x="11947" y="13910"/>
                  <a:pt x="11972" y="13967"/>
                  <a:pt x="12006" y="13981"/>
                </a:cubicBezTo>
                <a:lnTo>
                  <a:pt x="11794" y="14529"/>
                </a:lnTo>
                <a:cubicBezTo>
                  <a:pt x="11785" y="14498"/>
                  <a:pt x="11773" y="14474"/>
                  <a:pt x="11754" y="14474"/>
                </a:cubicBezTo>
                <a:cubicBezTo>
                  <a:pt x="11727" y="14474"/>
                  <a:pt x="11705" y="14519"/>
                  <a:pt x="11705" y="14573"/>
                </a:cubicBezTo>
                <a:cubicBezTo>
                  <a:pt x="11705" y="14619"/>
                  <a:pt x="11722" y="14651"/>
                  <a:pt x="11742" y="14662"/>
                </a:cubicBezTo>
                <a:lnTo>
                  <a:pt x="11652" y="14894"/>
                </a:lnTo>
                <a:cubicBezTo>
                  <a:pt x="11645" y="14889"/>
                  <a:pt x="11638" y="14885"/>
                  <a:pt x="11630" y="14885"/>
                </a:cubicBezTo>
                <a:cubicBezTo>
                  <a:pt x="11623" y="14885"/>
                  <a:pt x="11616" y="14889"/>
                  <a:pt x="11610" y="14893"/>
                </a:cubicBezTo>
                <a:cubicBezTo>
                  <a:pt x="11585" y="14748"/>
                  <a:pt x="11224" y="12618"/>
                  <a:pt x="11224" y="12618"/>
                </a:cubicBezTo>
                <a:lnTo>
                  <a:pt x="11488" y="12595"/>
                </a:lnTo>
                <a:cubicBezTo>
                  <a:pt x="11494" y="12616"/>
                  <a:pt x="11503" y="12633"/>
                  <a:pt x="11516" y="12633"/>
                </a:cubicBezTo>
                <a:cubicBezTo>
                  <a:pt x="11530" y="12633"/>
                  <a:pt x="11539" y="12614"/>
                  <a:pt x="11544" y="12590"/>
                </a:cubicBezTo>
                <a:lnTo>
                  <a:pt x="11733" y="12574"/>
                </a:lnTo>
                <a:cubicBezTo>
                  <a:pt x="11739" y="12587"/>
                  <a:pt x="11748" y="12596"/>
                  <a:pt x="11758" y="12596"/>
                </a:cubicBezTo>
                <a:cubicBezTo>
                  <a:pt x="11768" y="12596"/>
                  <a:pt x="11776" y="12585"/>
                  <a:pt x="11783" y="12569"/>
                </a:cubicBezTo>
                <a:lnTo>
                  <a:pt x="12041" y="12547"/>
                </a:lnTo>
                <a:cubicBezTo>
                  <a:pt x="12045" y="12552"/>
                  <a:pt x="12050" y="12559"/>
                  <a:pt x="12055" y="12559"/>
                </a:cubicBezTo>
                <a:cubicBezTo>
                  <a:pt x="12062" y="12559"/>
                  <a:pt x="12067" y="12552"/>
                  <a:pt x="12073" y="12545"/>
                </a:cubicBezTo>
                <a:lnTo>
                  <a:pt x="12216" y="12532"/>
                </a:lnTo>
                <a:lnTo>
                  <a:pt x="12508" y="12506"/>
                </a:lnTo>
                <a:close/>
                <a:moveTo>
                  <a:pt x="13174" y="12511"/>
                </a:moveTo>
                <a:cubicBezTo>
                  <a:pt x="13174" y="12512"/>
                  <a:pt x="13174" y="12513"/>
                  <a:pt x="13175" y="12515"/>
                </a:cubicBezTo>
                <a:cubicBezTo>
                  <a:pt x="13179" y="12527"/>
                  <a:pt x="13181" y="12532"/>
                  <a:pt x="13181" y="12539"/>
                </a:cubicBezTo>
                <a:cubicBezTo>
                  <a:pt x="13181" y="12552"/>
                  <a:pt x="13179" y="12567"/>
                  <a:pt x="13179" y="12581"/>
                </a:cubicBezTo>
                <a:cubicBezTo>
                  <a:pt x="13171" y="12576"/>
                  <a:pt x="13164" y="12572"/>
                  <a:pt x="13156" y="12572"/>
                </a:cubicBezTo>
                <a:cubicBezTo>
                  <a:pt x="13139" y="12572"/>
                  <a:pt x="13123" y="12585"/>
                  <a:pt x="13111" y="12604"/>
                </a:cubicBezTo>
                <a:lnTo>
                  <a:pt x="13051" y="12584"/>
                </a:lnTo>
                <a:cubicBezTo>
                  <a:pt x="13067" y="12575"/>
                  <a:pt x="13082" y="12566"/>
                  <a:pt x="13097" y="12556"/>
                </a:cubicBezTo>
                <a:cubicBezTo>
                  <a:pt x="13123" y="12540"/>
                  <a:pt x="13148" y="12524"/>
                  <a:pt x="13174" y="12511"/>
                </a:cubicBezTo>
                <a:close/>
                <a:moveTo>
                  <a:pt x="17664" y="12530"/>
                </a:moveTo>
                <a:cubicBezTo>
                  <a:pt x="17668" y="12539"/>
                  <a:pt x="17671" y="12547"/>
                  <a:pt x="17673" y="12553"/>
                </a:cubicBezTo>
                <a:cubicBezTo>
                  <a:pt x="17673" y="12556"/>
                  <a:pt x="17672" y="12558"/>
                  <a:pt x="17671" y="12561"/>
                </a:cubicBezTo>
                <a:lnTo>
                  <a:pt x="17653" y="12561"/>
                </a:lnTo>
                <a:cubicBezTo>
                  <a:pt x="17658" y="12553"/>
                  <a:pt x="17662" y="12541"/>
                  <a:pt x="17664" y="12530"/>
                </a:cubicBezTo>
                <a:close/>
                <a:moveTo>
                  <a:pt x="9413" y="12534"/>
                </a:moveTo>
                <a:cubicBezTo>
                  <a:pt x="9394" y="12534"/>
                  <a:pt x="9379" y="12565"/>
                  <a:pt x="9379" y="12603"/>
                </a:cubicBezTo>
                <a:cubicBezTo>
                  <a:pt x="9379" y="12641"/>
                  <a:pt x="9394" y="12671"/>
                  <a:pt x="9413" y="12671"/>
                </a:cubicBezTo>
                <a:cubicBezTo>
                  <a:pt x="9432" y="12671"/>
                  <a:pt x="9447" y="12641"/>
                  <a:pt x="9447" y="12603"/>
                </a:cubicBezTo>
                <a:cubicBezTo>
                  <a:pt x="9447" y="12565"/>
                  <a:pt x="9432" y="12534"/>
                  <a:pt x="9413" y="12534"/>
                </a:cubicBezTo>
                <a:close/>
                <a:moveTo>
                  <a:pt x="12602" y="12539"/>
                </a:moveTo>
                <a:lnTo>
                  <a:pt x="12636" y="12885"/>
                </a:lnTo>
                <a:lnTo>
                  <a:pt x="12662" y="13155"/>
                </a:lnTo>
                <a:cubicBezTo>
                  <a:pt x="12659" y="13167"/>
                  <a:pt x="12654" y="13178"/>
                  <a:pt x="12654" y="13193"/>
                </a:cubicBezTo>
                <a:cubicBezTo>
                  <a:pt x="12654" y="13224"/>
                  <a:pt x="12662" y="13249"/>
                  <a:pt x="12673" y="13266"/>
                </a:cubicBezTo>
                <a:lnTo>
                  <a:pt x="12726" y="13817"/>
                </a:lnTo>
                <a:cubicBezTo>
                  <a:pt x="12716" y="13829"/>
                  <a:pt x="12710" y="13848"/>
                  <a:pt x="12710" y="13871"/>
                </a:cubicBezTo>
                <a:cubicBezTo>
                  <a:pt x="12710" y="13873"/>
                  <a:pt x="12711" y="13874"/>
                  <a:pt x="12711" y="13876"/>
                </a:cubicBezTo>
                <a:cubicBezTo>
                  <a:pt x="12639" y="13970"/>
                  <a:pt x="12581" y="14070"/>
                  <a:pt x="12543" y="14232"/>
                </a:cubicBezTo>
                <a:cubicBezTo>
                  <a:pt x="12537" y="14220"/>
                  <a:pt x="12529" y="14213"/>
                  <a:pt x="12521" y="14213"/>
                </a:cubicBezTo>
                <a:cubicBezTo>
                  <a:pt x="12502" y="14213"/>
                  <a:pt x="12486" y="14244"/>
                  <a:pt x="12486" y="14282"/>
                </a:cubicBezTo>
                <a:cubicBezTo>
                  <a:pt x="12486" y="14318"/>
                  <a:pt x="12501" y="14346"/>
                  <a:pt x="12519" y="14348"/>
                </a:cubicBezTo>
                <a:cubicBezTo>
                  <a:pt x="12513" y="14387"/>
                  <a:pt x="12501" y="14416"/>
                  <a:pt x="12488" y="14445"/>
                </a:cubicBezTo>
                <a:cubicBezTo>
                  <a:pt x="12470" y="14486"/>
                  <a:pt x="12449" y="14532"/>
                  <a:pt x="12449" y="14611"/>
                </a:cubicBezTo>
                <a:cubicBezTo>
                  <a:pt x="12449" y="14638"/>
                  <a:pt x="12451" y="14654"/>
                  <a:pt x="12453" y="14676"/>
                </a:cubicBezTo>
                <a:cubicBezTo>
                  <a:pt x="12452" y="14682"/>
                  <a:pt x="12449" y="14686"/>
                  <a:pt x="12449" y="14692"/>
                </a:cubicBezTo>
                <a:cubicBezTo>
                  <a:pt x="12449" y="14703"/>
                  <a:pt x="12452" y="14711"/>
                  <a:pt x="12455" y="14720"/>
                </a:cubicBezTo>
                <a:cubicBezTo>
                  <a:pt x="12456" y="14738"/>
                  <a:pt x="12456" y="14761"/>
                  <a:pt x="12458" y="14777"/>
                </a:cubicBezTo>
                <a:cubicBezTo>
                  <a:pt x="12462" y="14824"/>
                  <a:pt x="12466" y="14868"/>
                  <a:pt x="12466" y="14929"/>
                </a:cubicBezTo>
                <a:cubicBezTo>
                  <a:pt x="12466" y="14981"/>
                  <a:pt x="12476" y="15024"/>
                  <a:pt x="12487" y="15062"/>
                </a:cubicBezTo>
                <a:cubicBezTo>
                  <a:pt x="12471" y="15089"/>
                  <a:pt x="12463" y="15132"/>
                  <a:pt x="12472" y="15172"/>
                </a:cubicBezTo>
                <a:cubicBezTo>
                  <a:pt x="12483" y="15222"/>
                  <a:pt x="12512" y="15245"/>
                  <a:pt x="12537" y="15223"/>
                </a:cubicBezTo>
                <a:cubicBezTo>
                  <a:pt x="12539" y="15221"/>
                  <a:pt x="12539" y="15215"/>
                  <a:pt x="12541" y="15212"/>
                </a:cubicBezTo>
                <a:cubicBezTo>
                  <a:pt x="12542" y="15217"/>
                  <a:pt x="12544" y="15222"/>
                  <a:pt x="12544" y="15226"/>
                </a:cubicBezTo>
                <a:cubicBezTo>
                  <a:pt x="12544" y="15237"/>
                  <a:pt x="12537" y="15256"/>
                  <a:pt x="12534" y="15265"/>
                </a:cubicBezTo>
                <a:cubicBezTo>
                  <a:pt x="12533" y="15270"/>
                  <a:pt x="12532" y="15274"/>
                  <a:pt x="12531" y="15276"/>
                </a:cubicBezTo>
                <a:cubicBezTo>
                  <a:pt x="12530" y="15280"/>
                  <a:pt x="12529" y="15285"/>
                  <a:pt x="12529" y="15290"/>
                </a:cubicBezTo>
                <a:lnTo>
                  <a:pt x="12529" y="15396"/>
                </a:lnTo>
                <a:cubicBezTo>
                  <a:pt x="12529" y="15425"/>
                  <a:pt x="12528" y="15456"/>
                  <a:pt x="12527" y="15492"/>
                </a:cubicBezTo>
                <a:cubicBezTo>
                  <a:pt x="12525" y="15541"/>
                  <a:pt x="12523" y="15595"/>
                  <a:pt x="12523" y="15664"/>
                </a:cubicBezTo>
                <a:cubicBezTo>
                  <a:pt x="12523" y="15673"/>
                  <a:pt x="12525" y="15680"/>
                  <a:pt x="12528" y="15685"/>
                </a:cubicBezTo>
                <a:cubicBezTo>
                  <a:pt x="12537" y="15704"/>
                  <a:pt x="12540" y="15720"/>
                  <a:pt x="12540" y="15750"/>
                </a:cubicBezTo>
                <a:cubicBezTo>
                  <a:pt x="12540" y="15760"/>
                  <a:pt x="12539" y="15769"/>
                  <a:pt x="12539" y="15780"/>
                </a:cubicBezTo>
                <a:lnTo>
                  <a:pt x="12236" y="15523"/>
                </a:lnTo>
                <a:cubicBezTo>
                  <a:pt x="12256" y="15505"/>
                  <a:pt x="12270" y="15463"/>
                  <a:pt x="12270" y="15415"/>
                </a:cubicBezTo>
                <a:cubicBezTo>
                  <a:pt x="12270" y="15349"/>
                  <a:pt x="12244" y="15295"/>
                  <a:pt x="12211" y="15295"/>
                </a:cubicBezTo>
                <a:cubicBezTo>
                  <a:pt x="12178" y="15295"/>
                  <a:pt x="12151" y="15349"/>
                  <a:pt x="12151" y="15415"/>
                </a:cubicBezTo>
                <a:cubicBezTo>
                  <a:pt x="12151" y="15429"/>
                  <a:pt x="12153" y="15442"/>
                  <a:pt x="12155" y="15455"/>
                </a:cubicBezTo>
                <a:lnTo>
                  <a:pt x="12038" y="15355"/>
                </a:lnTo>
                <a:cubicBezTo>
                  <a:pt x="12028" y="15320"/>
                  <a:pt x="12010" y="15295"/>
                  <a:pt x="11988" y="15295"/>
                </a:cubicBezTo>
                <a:cubicBezTo>
                  <a:pt x="11983" y="15295"/>
                  <a:pt x="11978" y="15298"/>
                  <a:pt x="11973" y="15301"/>
                </a:cubicBezTo>
                <a:lnTo>
                  <a:pt x="11700" y="15069"/>
                </a:lnTo>
                <a:cubicBezTo>
                  <a:pt x="11702" y="15057"/>
                  <a:pt x="11704" y="15045"/>
                  <a:pt x="11704" y="15033"/>
                </a:cubicBezTo>
                <a:cubicBezTo>
                  <a:pt x="11704" y="14989"/>
                  <a:pt x="11694" y="14951"/>
                  <a:pt x="11679" y="14924"/>
                </a:cubicBezTo>
                <a:lnTo>
                  <a:pt x="11787" y="14644"/>
                </a:lnTo>
                <a:cubicBezTo>
                  <a:pt x="11788" y="14643"/>
                  <a:pt x="11789" y="14640"/>
                  <a:pt x="11790" y="14639"/>
                </a:cubicBezTo>
                <a:lnTo>
                  <a:pt x="11950" y="14224"/>
                </a:lnTo>
                <a:cubicBezTo>
                  <a:pt x="11954" y="14252"/>
                  <a:pt x="11965" y="14275"/>
                  <a:pt x="11981" y="14275"/>
                </a:cubicBezTo>
                <a:cubicBezTo>
                  <a:pt x="12000" y="14275"/>
                  <a:pt x="12015" y="14245"/>
                  <a:pt x="12015" y="14207"/>
                </a:cubicBezTo>
                <a:cubicBezTo>
                  <a:pt x="12015" y="14171"/>
                  <a:pt x="12000" y="14142"/>
                  <a:pt x="11983" y="14140"/>
                </a:cubicBezTo>
                <a:lnTo>
                  <a:pt x="12045" y="13976"/>
                </a:lnTo>
                <a:cubicBezTo>
                  <a:pt x="12071" y="13957"/>
                  <a:pt x="12089" y="13911"/>
                  <a:pt x="12093" y="13855"/>
                </a:cubicBezTo>
                <a:lnTo>
                  <a:pt x="12209" y="13554"/>
                </a:lnTo>
                <a:cubicBezTo>
                  <a:pt x="12213" y="13559"/>
                  <a:pt x="12217" y="13566"/>
                  <a:pt x="12223" y="13566"/>
                </a:cubicBezTo>
                <a:cubicBezTo>
                  <a:pt x="12242" y="13566"/>
                  <a:pt x="12257" y="13536"/>
                  <a:pt x="12257" y="13498"/>
                </a:cubicBezTo>
                <a:cubicBezTo>
                  <a:pt x="12257" y="13481"/>
                  <a:pt x="12253" y="13466"/>
                  <a:pt x="12248" y="13454"/>
                </a:cubicBezTo>
                <a:lnTo>
                  <a:pt x="12385" y="13099"/>
                </a:lnTo>
                <a:cubicBezTo>
                  <a:pt x="12391" y="13110"/>
                  <a:pt x="12400" y="13118"/>
                  <a:pt x="12409" y="13118"/>
                </a:cubicBezTo>
                <a:cubicBezTo>
                  <a:pt x="12428" y="13118"/>
                  <a:pt x="12443" y="13089"/>
                  <a:pt x="12443" y="13051"/>
                </a:cubicBezTo>
                <a:cubicBezTo>
                  <a:pt x="12443" y="13026"/>
                  <a:pt x="12435" y="13008"/>
                  <a:pt x="12425" y="12996"/>
                </a:cubicBezTo>
                <a:lnTo>
                  <a:pt x="12579" y="12600"/>
                </a:lnTo>
                <a:cubicBezTo>
                  <a:pt x="12588" y="12588"/>
                  <a:pt x="12593" y="12573"/>
                  <a:pt x="12597" y="12553"/>
                </a:cubicBezTo>
                <a:lnTo>
                  <a:pt x="12602" y="12539"/>
                </a:lnTo>
                <a:close/>
                <a:moveTo>
                  <a:pt x="17352" y="12554"/>
                </a:moveTo>
                <a:cubicBezTo>
                  <a:pt x="17347" y="12549"/>
                  <a:pt x="17340" y="12551"/>
                  <a:pt x="17336" y="12559"/>
                </a:cubicBezTo>
                <a:cubicBezTo>
                  <a:pt x="17329" y="12571"/>
                  <a:pt x="17327" y="12588"/>
                  <a:pt x="17325" y="12601"/>
                </a:cubicBezTo>
                <a:cubicBezTo>
                  <a:pt x="17324" y="12606"/>
                  <a:pt x="17323" y="12612"/>
                  <a:pt x="17323" y="12615"/>
                </a:cubicBezTo>
                <a:cubicBezTo>
                  <a:pt x="17320" y="12613"/>
                  <a:pt x="17318" y="12609"/>
                  <a:pt x="17315" y="12609"/>
                </a:cubicBezTo>
                <a:cubicBezTo>
                  <a:pt x="17299" y="12609"/>
                  <a:pt x="17287" y="12635"/>
                  <a:pt x="17287" y="12666"/>
                </a:cubicBezTo>
                <a:cubicBezTo>
                  <a:pt x="17287" y="12671"/>
                  <a:pt x="17289" y="12674"/>
                  <a:pt x="17290" y="12679"/>
                </a:cubicBezTo>
                <a:cubicBezTo>
                  <a:pt x="17286" y="12685"/>
                  <a:pt x="17284" y="12691"/>
                  <a:pt x="17280" y="12698"/>
                </a:cubicBezTo>
                <a:cubicBezTo>
                  <a:pt x="17271" y="12712"/>
                  <a:pt x="17262" y="12728"/>
                  <a:pt x="17253" y="12744"/>
                </a:cubicBezTo>
                <a:cubicBezTo>
                  <a:pt x="17245" y="12732"/>
                  <a:pt x="17236" y="12721"/>
                  <a:pt x="17225" y="12721"/>
                </a:cubicBezTo>
                <a:cubicBezTo>
                  <a:pt x="17198" y="12721"/>
                  <a:pt x="17175" y="12765"/>
                  <a:pt x="17175" y="12820"/>
                </a:cubicBezTo>
                <a:cubicBezTo>
                  <a:pt x="17175" y="12874"/>
                  <a:pt x="17198" y="12918"/>
                  <a:pt x="17225" y="12918"/>
                </a:cubicBezTo>
                <a:cubicBezTo>
                  <a:pt x="17243" y="12918"/>
                  <a:pt x="17256" y="12895"/>
                  <a:pt x="17264" y="12865"/>
                </a:cubicBezTo>
                <a:cubicBezTo>
                  <a:pt x="17285" y="12837"/>
                  <a:pt x="17310" y="12798"/>
                  <a:pt x="17321" y="12730"/>
                </a:cubicBezTo>
                <a:cubicBezTo>
                  <a:pt x="17337" y="12726"/>
                  <a:pt x="17348" y="12713"/>
                  <a:pt x="17354" y="12689"/>
                </a:cubicBezTo>
                <a:cubicBezTo>
                  <a:pt x="17360" y="12685"/>
                  <a:pt x="17364" y="12678"/>
                  <a:pt x="17367" y="12673"/>
                </a:cubicBezTo>
                <a:cubicBezTo>
                  <a:pt x="17368" y="12671"/>
                  <a:pt x="17369" y="12668"/>
                  <a:pt x="17371" y="12666"/>
                </a:cubicBezTo>
                <a:cubicBezTo>
                  <a:pt x="17375" y="12661"/>
                  <a:pt x="17377" y="12653"/>
                  <a:pt x="17378" y="12644"/>
                </a:cubicBezTo>
                <a:cubicBezTo>
                  <a:pt x="17378" y="12635"/>
                  <a:pt x="17376" y="12626"/>
                  <a:pt x="17373" y="12619"/>
                </a:cubicBezTo>
                <a:cubicBezTo>
                  <a:pt x="17371" y="12616"/>
                  <a:pt x="17370" y="12613"/>
                  <a:pt x="17368" y="12610"/>
                </a:cubicBezTo>
                <a:cubicBezTo>
                  <a:pt x="17362" y="12601"/>
                  <a:pt x="17361" y="12598"/>
                  <a:pt x="17361" y="12582"/>
                </a:cubicBezTo>
                <a:cubicBezTo>
                  <a:pt x="17361" y="12570"/>
                  <a:pt x="17358" y="12559"/>
                  <a:pt x="17352" y="12554"/>
                </a:cubicBezTo>
                <a:close/>
                <a:moveTo>
                  <a:pt x="17635" y="12572"/>
                </a:moveTo>
                <a:cubicBezTo>
                  <a:pt x="17640" y="12572"/>
                  <a:pt x="17640" y="12572"/>
                  <a:pt x="17641" y="12572"/>
                </a:cubicBezTo>
                <a:cubicBezTo>
                  <a:pt x="17640" y="12574"/>
                  <a:pt x="17640" y="12576"/>
                  <a:pt x="17639" y="12579"/>
                </a:cubicBezTo>
                <a:cubicBezTo>
                  <a:pt x="17638" y="12577"/>
                  <a:pt x="17637" y="12574"/>
                  <a:pt x="17635" y="12572"/>
                </a:cubicBezTo>
                <a:close/>
                <a:moveTo>
                  <a:pt x="10755" y="12609"/>
                </a:moveTo>
                <a:cubicBezTo>
                  <a:pt x="10714" y="12609"/>
                  <a:pt x="10681" y="12675"/>
                  <a:pt x="10681" y="12757"/>
                </a:cubicBezTo>
                <a:cubicBezTo>
                  <a:pt x="10681" y="12839"/>
                  <a:pt x="10714" y="12905"/>
                  <a:pt x="10755" y="12905"/>
                </a:cubicBezTo>
                <a:cubicBezTo>
                  <a:pt x="10796" y="12905"/>
                  <a:pt x="10829" y="12839"/>
                  <a:pt x="10829" y="12757"/>
                </a:cubicBezTo>
                <a:cubicBezTo>
                  <a:pt x="10829" y="12675"/>
                  <a:pt x="10796" y="12609"/>
                  <a:pt x="10755" y="12609"/>
                </a:cubicBezTo>
                <a:close/>
                <a:moveTo>
                  <a:pt x="17563" y="12622"/>
                </a:moveTo>
                <a:cubicBezTo>
                  <a:pt x="17565" y="12621"/>
                  <a:pt x="17567" y="12624"/>
                  <a:pt x="17567" y="12625"/>
                </a:cubicBezTo>
                <a:cubicBezTo>
                  <a:pt x="17569" y="12628"/>
                  <a:pt x="17570" y="12633"/>
                  <a:pt x="17570" y="12636"/>
                </a:cubicBezTo>
                <a:cubicBezTo>
                  <a:pt x="17570" y="12650"/>
                  <a:pt x="17566" y="12664"/>
                  <a:pt x="17561" y="12680"/>
                </a:cubicBezTo>
                <a:cubicBezTo>
                  <a:pt x="17557" y="12694"/>
                  <a:pt x="17554" y="12712"/>
                  <a:pt x="17552" y="12730"/>
                </a:cubicBezTo>
                <a:cubicBezTo>
                  <a:pt x="17547" y="12734"/>
                  <a:pt x="17542" y="12734"/>
                  <a:pt x="17539" y="12741"/>
                </a:cubicBezTo>
                <a:cubicBezTo>
                  <a:pt x="17538" y="12738"/>
                  <a:pt x="17536" y="12734"/>
                  <a:pt x="17535" y="12731"/>
                </a:cubicBezTo>
                <a:cubicBezTo>
                  <a:pt x="17543" y="12731"/>
                  <a:pt x="17550" y="12719"/>
                  <a:pt x="17550" y="12703"/>
                </a:cubicBezTo>
                <a:cubicBezTo>
                  <a:pt x="17551" y="12690"/>
                  <a:pt x="17558" y="12638"/>
                  <a:pt x="17563" y="12622"/>
                </a:cubicBezTo>
                <a:close/>
                <a:moveTo>
                  <a:pt x="17624" y="12629"/>
                </a:moveTo>
                <a:cubicBezTo>
                  <a:pt x="17625" y="12630"/>
                  <a:pt x="17625" y="12632"/>
                  <a:pt x="17626" y="12633"/>
                </a:cubicBezTo>
                <a:cubicBezTo>
                  <a:pt x="17624" y="12646"/>
                  <a:pt x="17623" y="12658"/>
                  <a:pt x="17624" y="12671"/>
                </a:cubicBezTo>
                <a:cubicBezTo>
                  <a:pt x="17622" y="12670"/>
                  <a:pt x="17619" y="12668"/>
                  <a:pt x="17617" y="12666"/>
                </a:cubicBezTo>
                <a:cubicBezTo>
                  <a:pt x="17620" y="12655"/>
                  <a:pt x="17622" y="12643"/>
                  <a:pt x="17624" y="12629"/>
                </a:cubicBezTo>
                <a:close/>
                <a:moveTo>
                  <a:pt x="6443" y="12694"/>
                </a:moveTo>
                <a:lnTo>
                  <a:pt x="6445" y="12694"/>
                </a:lnTo>
                <a:cubicBezTo>
                  <a:pt x="6440" y="12712"/>
                  <a:pt x="6437" y="12719"/>
                  <a:pt x="6436" y="12720"/>
                </a:cubicBezTo>
                <a:cubicBezTo>
                  <a:pt x="6436" y="12720"/>
                  <a:pt x="6435" y="12720"/>
                  <a:pt x="6435" y="12720"/>
                </a:cubicBezTo>
                <a:cubicBezTo>
                  <a:pt x="6437" y="12706"/>
                  <a:pt x="6441" y="12696"/>
                  <a:pt x="6443" y="12694"/>
                </a:cubicBezTo>
                <a:close/>
                <a:moveTo>
                  <a:pt x="5822" y="12699"/>
                </a:moveTo>
                <a:cubicBezTo>
                  <a:pt x="5825" y="12717"/>
                  <a:pt x="5829" y="12732"/>
                  <a:pt x="5834" y="12747"/>
                </a:cubicBezTo>
                <a:cubicBezTo>
                  <a:pt x="5839" y="12764"/>
                  <a:pt x="5844" y="12779"/>
                  <a:pt x="5844" y="12795"/>
                </a:cubicBezTo>
                <a:cubicBezTo>
                  <a:pt x="5844" y="12803"/>
                  <a:pt x="5840" y="12823"/>
                  <a:pt x="5836" y="12833"/>
                </a:cubicBezTo>
                <a:cubicBezTo>
                  <a:pt x="5828" y="12823"/>
                  <a:pt x="5819" y="12776"/>
                  <a:pt x="5819" y="12736"/>
                </a:cubicBezTo>
                <a:cubicBezTo>
                  <a:pt x="5819" y="12727"/>
                  <a:pt x="5820" y="12714"/>
                  <a:pt x="5822" y="12699"/>
                </a:cubicBezTo>
                <a:close/>
                <a:moveTo>
                  <a:pt x="14945" y="12701"/>
                </a:moveTo>
                <a:cubicBezTo>
                  <a:pt x="14939" y="12705"/>
                  <a:pt x="14935" y="12717"/>
                  <a:pt x="14935" y="12730"/>
                </a:cubicBezTo>
                <a:cubicBezTo>
                  <a:pt x="14935" y="12791"/>
                  <a:pt x="14928" y="12843"/>
                  <a:pt x="14920" y="12898"/>
                </a:cubicBezTo>
                <a:cubicBezTo>
                  <a:pt x="14913" y="12953"/>
                  <a:pt x="14905" y="13009"/>
                  <a:pt x="14905" y="13074"/>
                </a:cubicBezTo>
                <a:cubicBezTo>
                  <a:pt x="14905" y="13143"/>
                  <a:pt x="14930" y="13203"/>
                  <a:pt x="14960" y="13217"/>
                </a:cubicBezTo>
                <a:cubicBezTo>
                  <a:pt x="14971" y="13231"/>
                  <a:pt x="14984" y="13241"/>
                  <a:pt x="14998" y="13241"/>
                </a:cubicBezTo>
                <a:cubicBezTo>
                  <a:pt x="15038" y="13241"/>
                  <a:pt x="15072" y="13174"/>
                  <a:pt x="15072" y="13093"/>
                </a:cubicBezTo>
                <a:cubicBezTo>
                  <a:pt x="15072" y="13058"/>
                  <a:pt x="15065" y="13027"/>
                  <a:pt x="15055" y="13002"/>
                </a:cubicBezTo>
                <a:cubicBezTo>
                  <a:pt x="15051" y="12913"/>
                  <a:pt x="15025" y="12858"/>
                  <a:pt x="14999" y="12805"/>
                </a:cubicBezTo>
                <a:cubicBezTo>
                  <a:pt x="14985" y="12776"/>
                  <a:pt x="14972" y="12748"/>
                  <a:pt x="14962" y="12715"/>
                </a:cubicBezTo>
                <a:cubicBezTo>
                  <a:pt x="14959" y="12703"/>
                  <a:pt x="14952" y="12697"/>
                  <a:pt x="14945" y="12701"/>
                </a:cubicBezTo>
                <a:close/>
                <a:moveTo>
                  <a:pt x="17648" y="12716"/>
                </a:moveTo>
                <a:cubicBezTo>
                  <a:pt x="17649" y="12717"/>
                  <a:pt x="17650" y="12717"/>
                  <a:pt x="17652" y="12717"/>
                </a:cubicBezTo>
                <a:cubicBezTo>
                  <a:pt x="17652" y="12717"/>
                  <a:pt x="17669" y="12717"/>
                  <a:pt x="17669" y="12717"/>
                </a:cubicBezTo>
                <a:cubicBezTo>
                  <a:pt x="17669" y="12723"/>
                  <a:pt x="17669" y="12729"/>
                  <a:pt x="17669" y="12736"/>
                </a:cubicBezTo>
                <a:cubicBezTo>
                  <a:pt x="17668" y="12750"/>
                  <a:pt x="17667" y="12772"/>
                  <a:pt x="17666" y="12784"/>
                </a:cubicBezTo>
                <a:cubicBezTo>
                  <a:pt x="17664" y="12785"/>
                  <a:pt x="17661" y="12786"/>
                  <a:pt x="17659" y="12787"/>
                </a:cubicBezTo>
                <a:cubicBezTo>
                  <a:pt x="17649" y="12792"/>
                  <a:pt x="17630" y="12801"/>
                  <a:pt x="17624" y="12837"/>
                </a:cubicBezTo>
                <a:cubicBezTo>
                  <a:pt x="17617" y="12844"/>
                  <a:pt x="17612" y="12853"/>
                  <a:pt x="17609" y="12867"/>
                </a:cubicBezTo>
                <a:cubicBezTo>
                  <a:pt x="17606" y="12854"/>
                  <a:pt x="17600" y="12837"/>
                  <a:pt x="17589" y="12827"/>
                </a:cubicBezTo>
                <a:cubicBezTo>
                  <a:pt x="17593" y="12816"/>
                  <a:pt x="17597" y="12805"/>
                  <a:pt x="17597" y="12791"/>
                </a:cubicBezTo>
                <a:cubicBezTo>
                  <a:pt x="17599" y="12792"/>
                  <a:pt x="17601" y="12795"/>
                  <a:pt x="17602" y="12795"/>
                </a:cubicBezTo>
                <a:cubicBezTo>
                  <a:pt x="17602" y="12796"/>
                  <a:pt x="17604" y="12795"/>
                  <a:pt x="17604" y="12795"/>
                </a:cubicBezTo>
                <a:cubicBezTo>
                  <a:pt x="17626" y="12795"/>
                  <a:pt x="17644" y="12763"/>
                  <a:pt x="17648" y="12716"/>
                </a:cubicBezTo>
                <a:close/>
                <a:moveTo>
                  <a:pt x="17698" y="12756"/>
                </a:moveTo>
                <a:cubicBezTo>
                  <a:pt x="17700" y="12760"/>
                  <a:pt x="17702" y="12764"/>
                  <a:pt x="17705" y="12769"/>
                </a:cubicBezTo>
                <a:cubicBezTo>
                  <a:pt x="17711" y="12783"/>
                  <a:pt x="17723" y="12853"/>
                  <a:pt x="17733" y="12920"/>
                </a:cubicBezTo>
                <a:cubicBezTo>
                  <a:pt x="17723" y="12932"/>
                  <a:pt x="17715" y="12951"/>
                  <a:pt x="17715" y="12976"/>
                </a:cubicBezTo>
                <a:cubicBezTo>
                  <a:pt x="17715" y="13010"/>
                  <a:pt x="17728" y="13034"/>
                  <a:pt x="17744" y="13039"/>
                </a:cubicBezTo>
                <a:cubicBezTo>
                  <a:pt x="17743" y="13046"/>
                  <a:pt x="17742" y="13052"/>
                  <a:pt x="17738" y="13062"/>
                </a:cubicBezTo>
                <a:cubicBezTo>
                  <a:pt x="17736" y="13069"/>
                  <a:pt x="17734" y="13076"/>
                  <a:pt x="17732" y="13083"/>
                </a:cubicBezTo>
                <a:cubicBezTo>
                  <a:pt x="17730" y="13074"/>
                  <a:pt x="17728" y="13065"/>
                  <a:pt x="17727" y="13059"/>
                </a:cubicBezTo>
                <a:cubicBezTo>
                  <a:pt x="17726" y="13051"/>
                  <a:pt x="17724" y="13045"/>
                  <a:pt x="17720" y="13041"/>
                </a:cubicBezTo>
                <a:cubicBezTo>
                  <a:pt x="17720" y="13040"/>
                  <a:pt x="17720" y="13040"/>
                  <a:pt x="17719" y="13039"/>
                </a:cubicBezTo>
                <a:cubicBezTo>
                  <a:pt x="17718" y="13036"/>
                  <a:pt x="17717" y="13034"/>
                  <a:pt x="17716" y="13031"/>
                </a:cubicBezTo>
                <a:cubicBezTo>
                  <a:pt x="17713" y="13023"/>
                  <a:pt x="17708" y="13017"/>
                  <a:pt x="17703" y="13017"/>
                </a:cubicBezTo>
                <a:cubicBezTo>
                  <a:pt x="17699" y="13017"/>
                  <a:pt x="17694" y="13022"/>
                  <a:pt x="17691" y="13030"/>
                </a:cubicBezTo>
                <a:cubicBezTo>
                  <a:pt x="17689" y="13036"/>
                  <a:pt x="17686" y="13041"/>
                  <a:pt x="17684" y="13045"/>
                </a:cubicBezTo>
                <a:cubicBezTo>
                  <a:pt x="17678" y="13056"/>
                  <a:pt x="17670" y="13071"/>
                  <a:pt x="17670" y="13097"/>
                </a:cubicBezTo>
                <a:cubicBezTo>
                  <a:pt x="17670" y="13122"/>
                  <a:pt x="17678" y="13138"/>
                  <a:pt x="17684" y="13150"/>
                </a:cubicBezTo>
                <a:cubicBezTo>
                  <a:pt x="17690" y="13162"/>
                  <a:pt x="17693" y="13168"/>
                  <a:pt x="17693" y="13177"/>
                </a:cubicBezTo>
                <a:cubicBezTo>
                  <a:pt x="17693" y="13181"/>
                  <a:pt x="17693" y="13187"/>
                  <a:pt x="17691" y="13192"/>
                </a:cubicBezTo>
                <a:cubicBezTo>
                  <a:pt x="17690" y="13184"/>
                  <a:pt x="17688" y="13176"/>
                  <a:pt x="17684" y="13172"/>
                </a:cubicBezTo>
                <a:cubicBezTo>
                  <a:pt x="17682" y="13169"/>
                  <a:pt x="17679" y="13169"/>
                  <a:pt x="17677" y="13169"/>
                </a:cubicBezTo>
                <a:cubicBezTo>
                  <a:pt x="17674" y="13169"/>
                  <a:pt x="17672" y="13170"/>
                  <a:pt x="17670" y="13172"/>
                </a:cubicBezTo>
                <a:cubicBezTo>
                  <a:pt x="17670" y="13172"/>
                  <a:pt x="17666" y="13173"/>
                  <a:pt x="17663" y="13172"/>
                </a:cubicBezTo>
                <a:cubicBezTo>
                  <a:pt x="17661" y="13172"/>
                  <a:pt x="17659" y="13171"/>
                  <a:pt x="17657" y="13171"/>
                </a:cubicBezTo>
                <a:cubicBezTo>
                  <a:pt x="17639" y="13170"/>
                  <a:pt x="17623" y="13123"/>
                  <a:pt x="17623" y="13071"/>
                </a:cubicBezTo>
                <a:cubicBezTo>
                  <a:pt x="17623" y="13056"/>
                  <a:pt x="17625" y="13054"/>
                  <a:pt x="17626" y="13053"/>
                </a:cubicBezTo>
                <a:cubicBezTo>
                  <a:pt x="17626" y="13053"/>
                  <a:pt x="17625" y="13052"/>
                  <a:pt x="17626" y="13052"/>
                </a:cubicBezTo>
                <a:cubicBezTo>
                  <a:pt x="17627" y="13050"/>
                  <a:pt x="17626" y="13046"/>
                  <a:pt x="17627" y="13044"/>
                </a:cubicBezTo>
                <a:cubicBezTo>
                  <a:pt x="17631" y="13036"/>
                  <a:pt x="17634" y="13027"/>
                  <a:pt x="17632" y="13017"/>
                </a:cubicBezTo>
                <a:cubicBezTo>
                  <a:pt x="17631" y="13010"/>
                  <a:pt x="17630" y="13002"/>
                  <a:pt x="17628" y="12994"/>
                </a:cubicBezTo>
                <a:cubicBezTo>
                  <a:pt x="17627" y="12989"/>
                  <a:pt x="17626" y="12983"/>
                  <a:pt x="17625" y="12979"/>
                </a:cubicBezTo>
                <a:cubicBezTo>
                  <a:pt x="17623" y="12967"/>
                  <a:pt x="17617" y="12959"/>
                  <a:pt x="17611" y="12959"/>
                </a:cubicBezTo>
                <a:lnTo>
                  <a:pt x="17594" y="12958"/>
                </a:lnTo>
                <a:cubicBezTo>
                  <a:pt x="17589" y="12953"/>
                  <a:pt x="17585" y="12945"/>
                  <a:pt x="17578" y="12945"/>
                </a:cubicBezTo>
                <a:cubicBezTo>
                  <a:pt x="17568" y="12945"/>
                  <a:pt x="17559" y="12956"/>
                  <a:pt x="17551" y="12968"/>
                </a:cubicBezTo>
                <a:cubicBezTo>
                  <a:pt x="17551" y="12967"/>
                  <a:pt x="17550" y="12966"/>
                  <a:pt x="17550" y="12966"/>
                </a:cubicBezTo>
                <a:cubicBezTo>
                  <a:pt x="17547" y="12960"/>
                  <a:pt x="17543" y="12957"/>
                  <a:pt x="17539" y="12956"/>
                </a:cubicBezTo>
                <a:cubicBezTo>
                  <a:pt x="17535" y="12956"/>
                  <a:pt x="17532" y="12959"/>
                  <a:pt x="17529" y="12965"/>
                </a:cubicBezTo>
                <a:cubicBezTo>
                  <a:pt x="17521" y="12980"/>
                  <a:pt x="17515" y="13002"/>
                  <a:pt x="17512" y="13027"/>
                </a:cubicBezTo>
                <a:cubicBezTo>
                  <a:pt x="17511" y="13026"/>
                  <a:pt x="17511" y="13026"/>
                  <a:pt x="17511" y="13025"/>
                </a:cubicBezTo>
                <a:cubicBezTo>
                  <a:pt x="17510" y="13023"/>
                  <a:pt x="17510" y="13021"/>
                  <a:pt x="17509" y="13019"/>
                </a:cubicBezTo>
                <a:cubicBezTo>
                  <a:pt x="17510" y="13003"/>
                  <a:pt x="17512" y="12990"/>
                  <a:pt x="17515" y="12974"/>
                </a:cubicBezTo>
                <a:cubicBezTo>
                  <a:pt x="17516" y="12968"/>
                  <a:pt x="17517" y="12961"/>
                  <a:pt x="17518" y="12954"/>
                </a:cubicBezTo>
                <a:cubicBezTo>
                  <a:pt x="17538" y="12947"/>
                  <a:pt x="17548" y="12920"/>
                  <a:pt x="17555" y="12902"/>
                </a:cubicBezTo>
                <a:cubicBezTo>
                  <a:pt x="17562" y="12883"/>
                  <a:pt x="17564" y="12878"/>
                  <a:pt x="17573" y="12877"/>
                </a:cubicBezTo>
                <a:cubicBezTo>
                  <a:pt x="17578" y="12877"/>
                  <a:pt x="17579" y="12879"/>
                  <a:pt x="17583" y="12897"/>
                </a:cubicBezTo>
                <a:cubicBezTo>
                  <a:pt x="17587" y="12912"/>
                  <a:pt x="17592" y="12936"/>
                  <a:pt x="17607" y="12937"/>
                </a:cubicBezTo>
                <a:cubicBezTo>
                  <a:pt x="17610" y="12937"/>
                  <a:pt x="17612" y="12938"/>
                  <a:pt x="17615" y="12938"/>
                </a:cubicBezTo>
                <a:lnTo>
                  <a:pt x="17619" y="12938"/>
                </a:lnTo>
                <a:cubicBezTo>
                  <a:pt x="17622" y="12938"/>
                  <a:pt x="17626" y="12935"/>
                  <a:pt x="17629" y="12930"/>
                </a:cubicBezTo>
                <a:cubicBezTo>
                  <a:pt x="17632" y="12924"/>
                  <a:pt x="17634" y="12917"/>
                  <a:pt x="17634" y="12909"/>
                </a:cubicBezTo>
                <a:cubicBezTo>
                  <a:pt x="17634" y="12891"/>
                  <a:pt x="17638" y="12890"/>
                  <a:pt x="17639" y="12890"/>
                </a:cubicBezTo>
                <a:cubicBezTo>
                  <a:pt x="17646" y="12888"/>
                  <a:pt x="17651" y="12875"/>
                  <a:pt x="17652" y="12861"/>
                </a:cubicBezTo>
                <a:cubicBezTo>
                  <a:pt x="17652" y="12855"/>
                  <a:pt x="17652" y="12852"/>
                  <a:pt x="17666" y="12846"/>
                </a:cubicBezTo>
                <a:cubicBezTo>
                  <a:pt x="17675" y="12842"/>
                  <a:pt x="17686" y="12837"/>
                  <a:pt x="17692" y="12815"/>
                </a:cubicBezTo>
                <a:cubicBezTo>
                  <a:pt x="17696" y="12798"/>
                  <a:pt x="17697" y="12776"/>
                  <a:pt x="17698" y="12756"/>
                </a:cubicBezTo>
                <a:close/>
                <a:moveTo>
                  <a:pt x="16087" y="12769"/>
                </a:moveTo>
                <a:cubicBezTo>
                  <a:pt x="16094" y="12779"/>
                  <a:pt x="16101" y="12789"/>
                  <a:pt x="16107" y="12795"/>
                </a:cubicBezTo>
                <a:cubicBezTo>
                  <a:pt x="16121" y="12811"/>
                  <a:pt x="16131" y="12820"/>
                  <a:pt x="16133" y="12848"/>
                </a:cubicBezTo>
                <a:cubicBezTo>
                  <a:pt x="16133" y="12849"/>
                  <a:pt x="16133" y="12851"/>
                  <a:pt x="16132" y="12853"/>
                </a:cubicBezTo>
                <a:cubicBezTo>
                  <a:pt x="16130" y="12862"/>
                  <a:pt x="16130" y="12872"/>
                  <a:pt x="16132" y="12882"/>
                </a:cubicBezTo>
                <a:cubicBezTo>
                  <a:pt x="16135" y="12890"/>
                  <a:pt x="16136" y="12909"/>
                  <a:pt x="16139" y="12926"/>
                </a:cubicBezTo>
                <a:cubicBezTo>
                  <a:pt x="16143" y="12961"/>
                  <a:pt x="16148" y="13000"/>
                  <a:pt x="16160" y="13024"/>
                </a:cubicBezTo>
                <a:cubicBezTo>
                  <a:pt x="16172" y="13049"/>
                  <a:pt x="16188" y="13071"/>
                  <a:pt x="16204" y="13090"/>
                </a:cubicBezTo>
                <a:lnTo>
                  <a:pt x="16164" y="13129"/>
                </a:lnTo>
                <a:lnTo>
                  <a:pt x="16158" y="13135"/>
                </a:lnTo>
                <a:cubicBezTo>
                  <a:pt x="16153" y="13109"/>
                  <a:pt x="16149" y="13085"/>
                  <a:pt x="16143" y="13062"/>
                </a:cubicBezTo>
                <a:cubicBezTo>
                  <a:pt x="16140" y="13048"/>
                  <a:pt x="16136" y="13027"/>
                  <a:pt x="16132" y="13004"/>
                </a:cubicBezTo>
                <a:cubicBezTo>
                  <a:pt x="16132" y="13003"/>
                  <a:pt x="16132" y="13003"/>
                  <a:pt x="16132" y="13002"/>
                </a:cubicBezTo>
                <a:cubicBezTo>
                  <a:pt x="16134" y="12991"/>
                  <a:pt x="16139" y="12982"/>
                  <a:pt x="16139" y="12969"/>
                </a:cubicBezTo>
                <a:cubicBezTo>
                  <a:pt x="16139" y="12927"/>
                  <a:pt x="16124" y="12897"/>
                  <a:pt x="16105" y="12883"/>
                </a:cubicBezTo>
                <a:cubicBezTo>
                  <a:pt x="16095" y="12854"/>
                  <a:pt x="16083" y="12833"/>
                  <a:pt x="16067" y="12833"/>
                </a:cubicBezTo>
                <a:cubicBezTo>
                  <a:pt x="16061" y="12833"/>
                  <a:pt x="16057" y="12834"/>
                  <a:pt x="16054" y="12836"/>
                </a:cubicBezTo>
                <a:cubicBezTo>
                  <a:pt x="16054" y="12820"/>
                  <a:pt x="16056" y="12806"/>
                  <a:pt x="16057" y="12792"/>
                </a:cubicBezTo>
                <a:cubicBezTo>
                  <a:pt x="16057" y="12792"/>
                  <a:pt x="16058" y="12793"/>
                  <a:pt x="16058" y="12793"/>
                </a:cubicBezTo>
                <a:cubicBezTo>
                  <a:pt x="16070" y="12793"/>
                  <a:pt x="16079" y="12781"/>
                  <a:pt x="16087" y="12769"/>
                </a:cubicBezTo>
                <a:close/>
                <a:moveTo>
                  <a:pt x="14961" y="12811"/>
                </a:moveTo>
                <a:cubicBezTo>
                  <a:pt x="14967" y="12823"/>
                  <a:pt x="14973" y="12835"/>
                  <a:pt x="14979" y="12847"/>
                </a:cubicBezTo>
                <a:cubicBezTo>
                  <a:pt x="14995" y="12880"/>
                  <a:pt x="15007" y="12914"/>
                  <a:pt x="15016" y="12952"/>
                </a:cubicBezTo>
                <a:cubicBezTo>
                  <a:pt x="15010" y="12949"/>
                  <a:pt x="15004" y="12945"/>
                  <a:pt x="14998" y="12945"/>
                </a:cubicBezTo>
                <a:cubicBezTo>
                  <a:pt x="14975" y="12945"/>
                  <a:pt x="14955" y="12967"/>
                  <a:pt x="14941" y="13001"/>
                </a:cubicBezTo>
                <a:cubicBezTo>
                  <a:pt x="14944" y="12972"/>
                  <a:pt x="14945" y="12942"/>
                  <a:pt x="14949" y="12913"/>
                </a:cubicBezTo>
                <a:cubicBezTo>
                  <a:pt x="14953" y="12880"/>
                  <a:pt x="14958" y="12847"/>
                  <a:pt x="14961" y="12811"/>
                </a:cubicBezTo>
                <a:close/>
                <a:moveTo>
                  <a:pt x="9934" y="12833"/>
                </a:moveTo>
                <a:cubicBezTo>
                  <a:pt x="9915" y="12833"/>
                  <a:pt x="9900" y="12864"/>
                  <a:pt x="9900" y="12902"/>
                </a:cubicBezTo>
                <a:cubicBezTo>
                  <a:pt x="9900" y="12939"/>
                  <a:pt x="9915" y="12969"/>
                  <a:pt x="9934" y="12969"/>
                </a:cubicBezTo>
                <a:cubicBezTo>
                  <a:pt x="9953" y="12969"/>
                  <a:pt x="9968" y="12939"/>
                  <a:pt x="9968" y="12902"/>
                </a:cubicBezTo>
                <a:cubicBezTo>
                  <a:pt x="9968" y="12864"/>
                  <a:pt x="9953" y="12833"/>
                  <a:pt x="9934" y="12833"/>
                </a:cubicBezTo>
                <a:close/>
                <a:moveTo>
                  <a:pt x="14784" y="12884"/>
                </a:moveTo>
                <a:cubicBezTo>
                  <a:pt x="14783" y="12891"/>
                  <a:pt x="14782" y="12900"/>
                  <a:pt x="14780" y="12902"/>
                </a:cubicBezTo>
                <a:cubicBezTo>
                  <a:pt x="14776" y="12902"/>
                  <a:pt x="14776" y="12896"/>
                  <a:pt x="14773" y="12893"/>
                </a:cubicBezTo>
                <a:cubicBezTo>
                  <a:pt x="14778" y="12893"/>
                  <a:pt x="14781" y="12887"/>
                  <a:pt x="14784" y="12884"/>
                </a:cubicBezTo>
                <a:close/>
                <a:moveTo>
                  <a:pt x="9674" y="12945"/>
                </a:moveTo>
                <a:cubicBezTo>
                  <a:pt x="9655" y="12945"/>
                  <a:pt x="9639" y="12976"/>
                  <a:pt x="9639" y="13013"/>
                </a:cubicBezTo>
                <a:cubicBezTo>
                  <a:pt x="9639" y="13051"/>
                  <a:pt x="9655" y="13081"/>
                  <a:pt x="9674" y="13081"/>
                </a:cubicBezTo>
                <a:cubicBezTo>
                  <a:pt x="9692" y="13081"/>
                  <a:pt x="9707" y="13051"/>
                  <a:pt x="9707" y="13013"/>
                </a:cubicBezTo>
                <a:cubicBezTo>
                  <a:pt x="9707" y="12976"/>
                  <a:pt x="9692" y="12945"/>
                  <a:pt x="9674" y="12945"/>
                </a:cubicBezTo>
                <a:close/>
                <a:moveTo>
                  <a:pt x="6472" y="12966"/>
                </a:moveTo>
                <a:lnTo>
                  <a:pt x="6525" y="12966"/>
                </a:lnTo>
                <a:cubicBezTo>
                  <a:pt x="6539" y="12992"/>
                  <a:pt x="6551" y="13009"/>
                  <a:pt x="6560" y="13023"/>
                </a:cubicBezTo>
                <a:cubicBezTo>
                  <a:pt x="6577" y="13047"/>
                  <a:pt x="6589" y="13063"/>
                  <a:pt x="6603" y="13123"/>
                </a:cubicBezTo>
                <a:cubicBezTo>
                  <a:pt x="6607" y="13139"/>
                  <a:pt x="6615" y="13149"/>
                  <a:pt x="6623" y="13156"/>
                </a:cubicBezTo>
                <a:cubicBezTo>
                  <a:pt x="6602" y="13182"/>
                  <a:pt x="6588" y="13226"/>
                  <a:pt x="6588" y="13279"/>
                </a:cubicBezTo>
                <a:cubicBezTo>
                  <a:pt x="6588" y="13317"/>
                  <a:pt x="6595" y="13351"/>
                  <a:pt x="6607" y="13377"/>
                </a:cubicBezTo>
                <a:lnTo>
                  <a:pt x="6443" y="13887"/>
                </a:lnTo>
                <a:cubicBezTo>
                  <a:pt x="6430" y="13897"/>
                  <a:pt x="6420" y="13917"/>
                  <a:pt x="6420" y="13946"/>
                </a:cubicBezTo>
                <a:cubicBezTo>
                  <a:pt x="6420" y="13949"/>
                  <a:pt x="6421" y="13950"/>
                  <a:pt x="6421" y="13953"/>
                </a:cubicBezTo>
                <a:lnTo>
                  <a:pt x="6166" y="14748"/>
                </a:lnTo>
                <a:lnTo>
                  <a:pt x="6042" y="15134"/>
                </a:lnTo>
                <a:lnTo>
                  <a:pt x="6023" y="15192"/>
                </a:lnTo>
                <a:cubicBezTo>
                  <a:pt x="6016" y="15189"/>
                  <a:pt x="6008" y="15183"/>
                  <a:pt x="6000" y="15183"/>
                </a:cubicBezTo>
                <a:cubicBezTo>
                  <a:pt x="5970" y="15183"/>
                  <a:pt x="5944" y="15206"/>
                  <a:pt x="5923" y="15241"/>
                </a:cubicBezTo>
                <a:lnTo>
                  <a:pt x="5597" y="14844"/>
                </a:lnTo>
                <a:lnTo>
                  <a:pt x="5298" y="14480"/>
                </a:lnTo>
                <a:cubicBezTo>
                  <a:pt x="5300" y="14466"/>
                  <a:pt x="5302" y="14452"/>
                  <a:pt x="5302" y="14436"/>
                </a:cubicBezTo>
                <a:cubicBezTo>
                  <a:pt x="5302" y="14423"/>
                  <a:pt x="5300" y="14411"/>
                  <a:pt x="5299" y="14400"/>
                </a:cubicBezTo>
                <a:cubicBezTo>
                  <a:pt x="5313" y="14377"/>
                  <a:pt x="5328" y="14351"/>
                  <a:pt x="5333" y="14307"/>
                </a:cubicBezTo>
                <a:cubicBezTo>
                  <a:pt x="5335" y="14295"/>
                  <a:pt x="5332" y="14283"/>
                  <a:pt x="5327" y="14276"/>
                </a:cubicBezTo>
                <a:cubicBezTo>
                  <a:pt x="5318" y="14264"/>
                  <a:pt x="5311" y="14259"/>
                  <a:pt x="5304" y="14259"/>
                </a:cubicBezTo>
                <a:cubicBezTo>
                  <a:pt x="5299" y="14259"/>
                  <a:pt x="5295" y="14262"/>
                  <a:pt x="5292" y="14264"/>
                </a:cubicBezTo>
                <a:cubicBezTo>
                  <a:pt x="5290" y="14266"/>
                  <a:pt x="5289" y="14267"/>
                  <a:pt x="5287" y="14267"/>
                </a:cubicBezTo>
                <a:cubicBezTo>
                  <a:pt x="5270" y="14267"/>
                  <a:pt x="5268" y="14187"/>
                  <a:pt x="5268" y="14152"/>
                </a:cubicBezTo>
                <a:cubicBezTo>
                  <a:pt x="5268" y="14124"/>
                  <a:pt x="5274" y="14110"/>
                  <a:pt x="5283" y="14088"/>
                </a:cubicBezTo>
                <a:cubicBezTo>
                  <a:pt x="5294" y="14062"/>
                  <a:pt x="5308" y="14028"/>
                  <a:pt x="5312" y="13964"/>
                </a:cubicBezTo>
                <a:lnTo>
                  <a:pt x="5331" y="13946"/>
                </a:lnTo>
                <a:cubicBezTo>
                  <a:pt x="5334" y="13947"/>
                  <a:pt x="5337" y="13950"/>
                  <a:pt x="5340" y="13950"/>
                </a:cubicBezTo>
                <a:cubicBezTo>
                  <a:pt x="5367" y="13950"/>
                  <a:pt x="5389" y="13920"/>
                  <a:pt x="5402" y="13878"/>
                </a:cubicBezTo>
                <a:lnTo>
                  <a:pt x="5912" y="13395"/>
                </a:lnTo>
                <a:lnTo>
                  <a:pt x="6332" y="12996"/>
                </a:lnTo>
                <a:cubicBezTo>
                  <a:pt x="6343" y="13051"/>
                  <a:pt x="6369" y="13092"/>
                  <a:pt x="6401" y="13092"/>
                </a:cubicBezTo>
                <a:cubicBezTo>
                  <a:pt x="6438" y="13092"/>
                  <a:pt x="6467" y="13036"/>
                  <a:pt x="6472" y="12966"/>
                </a:cubicBezTo>
                <a:close/>
                <a:moveTo>
                  <a:pt x="6166" y="14748"/>
                </a:moveTo>
                <a:cubicBezTo>
                  <a:pt x="6171" y="14739"/>
                  <a:pt x="6173" y="14726"/>
                  <a:pt x="6173" y="14712"/>
                </a:cubicBezTo>
                <a:cubicBezTo>
                  <a:pt x="6173" y="14684"/>
                  <a:pt x="6162" y="14661"/>
                  <a:pt x="6148" y="14661"/>
                </a:cubicBezTo>
                <a:cubicBezTo>
                  <a:pt x="6134" y="14661"/>
                  <a:pt x="6122" y="14684"/>
                  <a:pt x="6122" y="14712"/>
                </a:cubicBezTo>
                <a:cubicBezTo>
                  <a:pt x="6122" y="14740"/>
                  <a:pt x="6134" y="14763"/>
                  <a:pt x="6148" y="14763"/>
                </a:cubicBezTo>
                <a:cubicBezTo>
                  <a:pt x="6155" y="14763"/>
                  <a:pt x="6161" y="14757"/>
                  <a:pt x="6166" y="14748"/>
                </a:cubicBezTo>
                <a:close/>
                <a:moveTo>
                  <a:pt x="17180" y="13037"/>
                </a:moveTo>
                <a:cubicBezTo>
                  <a:pt x="17134" y="13037"/>
                  <a:pt x="17083" y="13224"/>
                  <a:pt x="17069" y="13280"/>
                </a:cubicBezTo>
                <a:cubicBezTo>
                  <a:pt x="17066" y="13285"/>
                  <a:pt x="17054" y="13288"/>
                  <a:pt x="17046" y="13290"/>
                </a:cubicBezTo>
                <a:cubicBezTo>
                  <a:pt x="17028" y="13294"/>
                  <a:pt x="17008" y="13299"/>
                  <a:pt x="16995" y="13326"/>
                </a:cubicBezTo>
                <a:cubicBezTo>
                  <a:pt x="16992" y="13332"/>
                  <a:pt x="16990" y="13340"/>
                  <a:pt x="16988" y="13347"/>
                </a:cubicBezTo>
                <a:cubicBezTo>
                  <a:pt x="16988" y="13349"/>
                  <a:pt x="16987" y="13352"/>
                  <a:pt x="16986" y="13354"/>
                </a:cubicBezTo>
                <a:cubicBezTo>
                  <a:pt x="16979" y="13360"/>
                  <a:pt x="16975" y="13367"/>
                  <a:pt x="16972" y="13373"/>
                </a:cubicBezTo>
                <a:cubicBezTo>
                  <a:pt x="16970" y="13377"/>
                  <a:pt x="16969" y="13380"/>
                  <a:pt x="16965" y="13384"/>
                </a:cubicBezTo>
                <a:cubicBezTo>
                  <a:pt x="16964" y="13385"/>
                  <a:pt x="16963" y="13385"/>
                  <a:pt x="16963" y="13387"/>
                </a:cubicBezTo>
                <a:cubicBezTo>
                  <a:pt x="16956" y="13396"/>
                  <a:pt x="16942" y="13421"/>
                  <a:pt x="16941" y="13449"/>
                </a:cubicBezTo>
                <a:cubicBezTo>
                  <a:pt x="16940" y="13451"/>
                  <a:pt x="16940" y="13453"/>
                  <a:pt x="16941" y="13454"/>
                </a:cubicBezTo>
                <a:cubicBezTo>
                  <a:pt x="16940" y="13456"/>
                  <a:pt x="16939" y="13459"/>
                  <a:pt x="16938" y="13461"/>
                </a:cubicBezTo>
                <a:cubicBezTo>
                  <a:pt x="16939" y="13458"/>
                  <a:pt x="16940" y="13453"/>
                  <a:pt x="16941" y="13449"/>
                </a:cubicBezTo>
                <a:cubicBezTo>
                  <a:pt x="16942" y="13441"/>
                  <a:pt x="16946" y="13434"/>
                  <a:pt x="16946" y="13424"/>
                </a:cubicBezTo>
                <a:cubicBezTo>
                  <a:pt x="16946" y="13386"/>
                  <a:pt x="16931" y="13355"/>
                  <a:pt x="16912" y="13355"/>
                </a:cubicBezTo>
                <a:cubicBezTo>
                  <a:pt x="16893" y="13355"/>
                  <a:pt x="16878" y="13386"/>
                  <a:pt x="16878" y="13424"/>
                </a:cubicBezTo>
                <a:cubicBezTo>
                  <a:pt x="16878" y="13461"/>
                  <a:pt x="16893" y="13491"/>
                  <a:pt x="16912" y="13491"/>
                </a:cubicBezTo>
                <a:cubicBezTo>
                  <a:pt x="16920" y="13491"/>
                  <a:pt x="16928" y="13484"/>
                  <a:pt x="16934" y="13474"/>
                </a:cubicBezTo>
                <a:cubicBezTo>
                  <a:pt x="16933" y="13476"/>
                  <a:pt x="16932" y="13478"/>
                  <a:pt x="16931" y="13480"/>
                </a:cubicBezTo>
                <a:cubicBezTo>
                  <a:pt x="16924" y="13502"/>
                  <a:pt x="16920" y="13516"/>
                  <a:pt x="16906" y="13522"/>
                </a:cubicBezTo>
                <a:cubicBezTo>
                  <a:pt x="16901" y="13523"/>
                  <a:pt x="16897" y="13524"/>
                  <a:pt x="16892" y="13525"/>
                </a:cubicBezTo>
                <a:cubicBezTo>
                  <a:pt x="16873" y="13531"/>
                  <a:pt x="16853" y="13537"/>
                  <a:pt x="16838" y="13567"/>
                </a:cubicBezTo>
                <a:cubicBezTo>
                  <a:pt x="16826" y="13592"/>
                  <a:pt x="16819" y="13626"/>
                  <a:pt x="16813" y="13657"/>
                </a:cubicBezTo>
                <a:cubicBezTo>
                  <a:pt x="16813" y="13660"/>
                  <a:pt x="16812" y="13660"/>
                  <a:pt x="16811" y="13663"/>
                </a:cubicBezTo>
                <a:cubicBezTo>
                  <a:pt x="16808" y="13660"/>
                  <a:pt x="16805" y="13653"/>
                  <a:pt x="16800" y="13653"/>
                </a:cubicBezTo>
                <a:cubicBezTo>
                  <a:pt x="16782" y="13653"/>
                  <a:pt x="16766" y="13685"/>
                  <a:pt x="16766" y="13722"/>
                </a:cubicBezTo>
                <a:cubicBezTo>
                  <a:pt x="16766" y="13731"/>
                  <a:pt x="16769" y="13737"/>
                  <a:pt x="16771" y="13744"/>
                </a:cubicBezTo>
                <a:cubicBezTo>
                  <a:pt x="16767" y="13746"/>
                  <a:pt x="16766" y="13750"/>
                  <a:pt x="16762" y="13750"/>
                </a:cubicBezTo>
                <a:cubicBezTo>
                  <a:pt x="16756" y="13750"/>
                  <a:pt x="16749" y="13749"/>
                  <a:pt x="16742" y="13748"/>
                </a:cubicBezTo>
                <a:cubicBezTo>
                  <a:pt x="16734" y="13746"/>
                  <a:pt x="16726" y="13744"/>
                  <a:pt x="16718" y="13744"/>
                </a:cubicBezTo>
                <a:cubicBezTo>
                  <a:pt x="16679" y="13744"/>
                  <a:pt x="16673" y="13793"/>
                  <a:pt x="16673" y="13823"/>
                </a:cubicBezTo>
                <a:cubicBezTo>
                  <a:pt x="16673" y="13826"/>
                  <a:pt x="16678" y="13874"/>
                  <a:pt x="16685" y="13920"/>
                </a:cubicBezTo>
                <a:cubicBezTo>
                  <a:pt x="16679" y="13937"/>
                  <a:pt x="16673" y="13955"/>
                  <a:pt x="16673" y="13976"/>
                </a:cubicBezTo>
                <a:cubicBezTo>
                  <a:pt x="16673" y="14031"/>
                  <a:pt x="16695" y="14074"/>
                  <a:pt x="16722" y="14074"/>
                </a:cubicBezTo>
                <a:cubicBezTo>
                  <a:pt x="16726" y="14074"/>
                  <a:pt x="16729" y="14068"/>
                  <a:pt x="16732" y="14066"/>
                </a:cubicBezTo>
                <a:cubicBezTo>
                  <a:pt x="16740" y="14090"/>
                  <a:pt x="16742" y="14122"/>
                  <a:pt x="16744" y="14156"/>
                </a:cubicBezTo>
                <a:cubicBezTo>
                  <a:pt x="16746" y="14195"/>
                  <a:pt x="16751" y="14241"/>
                  <a:pt x="16766" y="14274"/>
                </a:cubicBezTo>
                <a:cubicBezTo>
                  <a:pt x="16766" y="14274"/>
                  <a:pt x="16766" y="14274"/>
                  <a:pt x="16766" y="14275"/>
                </a:cubicBezTo>
                <a:cubicBezTo>
                  <a:pt x="16766" y="14329"/>
                  <a:pt x="16788" y="14373"/>
                  <a:pt x="16815" y="14373"/>
                </a:cubicBezTo>
                <a:cubicBezTo>
                  <a:pt x="16831" y="14373"/>
                  <a:pt x="16843" y="14357"/>
                  <a:pt x="16852" y="14334"/>
                </a:cubicBezTo>
                <a:cubicBezTo>
                  <a:pt x="16854" y="14344"/>
                  <a:pt x="16857" y="14352"/>
                  <a:pt x="16863" y="14354"/>
                </a:cubicBezTo>
                <a:cubicBezTo>
                  <a:pt x="16863" y="14355"/>
                  <a:pt x="16863" y="14356"/>
                  <a:pt x="16864" y="14356"/>
                </a:cubicBezTo>
                <a:cubicBezTo>
                  <a:pt x="16867" y="14364"/>
                  <a:pt x="16874" y="14375"/>
                  <a:pt x="16883" y="14375"/>
                </a:cubicBezTo>
                <a:cubicBezTo>
                  <a:pt x="16902" y="14375"/>
                  <a:pt x="16914" y="14356"/>
                  <a:pt x="16924" y="14342"/>
                </a:cubicBezTo>
                <a:cubicBezTo>
                  <a:pt x="16928" y="14336"/>
                  <a:pt x="16933" y="14330"/>
                  <a:pt x="16936" y="14330"/>
                </a:cubicBezTo>
                <a:cubicBezTo>
                  <a:pt x="16942" y="14330"/>
                  <a:pt x="16948" y="14338"/>
                  <a:pt x="16954" y="14341"/>
                </a:cubicBezTo>
                <a:cubicBezTo>
                  <a:pt x="16958" y="14414"/>
                  <a:pt x="16988" y="14472"/>
                  <a:pt x="17026" y="14472"/>
                </a:cubicBezTo>
                <a:cubicBezTo>
                  <a:pt x="17037" y="14472"/>
                  <a:pt x="17048" y="14465"/>
                  <a:pt x="17057" y="14456"/>
                </a:cubicBezTo>
                <a:cubicBezTo>
                  <a:pt x="17076" y="14455"/>
                  <a:pt x="17088" y="14437"/>
                  <a:pt x="17098" y="14421"/>
                </a:cubicBezTo>
                <a:cubicBezTo>
                  <a:pt x="17105" y="14407"/>
                  <a:pt x="17113" y="14395"/>
                  <a:pt x="17126" y="14388"/>
                </a:cubicBezTo>
                <a:cubicBezTo>
                  <a:pt x="17133" y="14385"/>
                  <a:pt x="17137" y="14372"/>
                  <a:pt x="17137" y="14359"/>
                </a:cubicBezTo>
                <a:cubicBezTo>
                  <a:pt x="17137" y="14340"/>
                  <a:pt x="17144" y="14313"/>
                  <a:pt x="17150" y="14289"/>
                </a:cubicBezTo>
                <a:cubicBezTo>
                  <a:pt x="17156" y="14262"/>
                  <a:pt x="17163" y="14237"/>
                  <a:pt x="17163" y="14214"/>
                </a:cubicBezTo>
                <a:cubicBezTo>
                  <a:pt x="17163" y="14196"/>
                  <a:pt x="17159" y="14183"/>
                  <a:pt x="17156" y="14173"/>
                </a:cubicBezTo>
                <a:cubicBezTo>
                  <a:pt x="17153" y="14165"/>
                  <a:pt x="17152" y="14162"/>
                  <a:pt x="17152" y="14155"/>
                </a:cubicBezTo>
                <a:cubicBezTo>
                  <a:pt x="17153" y="14141"/>
                  <a:pt x="17169" y="14092"/>
                  <a:pt x="17186" y="14086"/>
                </a:cubicBezTo>
                <a:cubicBezTo>
                  <a:pt x="17194" y="14084"/>
                  <a:pt x="17199" y="14071"/>
                  <a:pt x="17199" y="14057"/>
                </a:cubicBezTo>
                <a:cubicBezTo>
                  <a:pt x="17199" y="14022"/>
                  <a:pt x="17203" y="14001"/>
                  <a:pt x="17210" y="13971"/>
                </a:cubicBezTo>
                <a:cubicBezTo>
                  <a:pt x="17215" y="13947"/>
                  <a:pt x="17221" y="13917"/>
                  <a:pt x="17225" y="13875"/>
                </a:cubicBezTo>
                <a:lnTo>
                  <a:pt x="17232" y="13848"/>
                </a:lnTo>
                <a:cubicBezTo>
                  <a:pt x="17243" y="13843"/>
                  <a:pt x="17250" y="13845"/>
                  <a:pt x="17256" y="13846"/>
                </a:cubicBezTo>
                <a:cubicBezTo>
                  <a:pt x="17260" y="13847"/>
                  <a:pt x="17264" y="13848"/>
                  <a:pt x="17267" y="13848"/>
                </a:cubicBezTo>
                <a:cubicBezTo>
                  <a:pt x="17287" y="13848"/>
                  <a:pt x="17300" y="13825"/>
                  <a:pt x="17305" y="13778"/>
                </a:cubicBezTo>
                <a:cubicBezTo>
                  <a:pt x="17305" y="13769"/>
                  <a:pt x="17304" y="13760"/>
                  <a:pt x="17302" y="13753"/>
                </a:cubicBezTo>
                <a:cubicBezTo>
                  <a:pt x="17299" y="13746"/>
                  <a:pt x="17294" y="13742"/>
                  <a:pt x="17290" y="13742"/>
                </a:cubicBezTo>
                <a:cubicBezTo>
                  <a:pt x="17264" y="13742"/>
                  <a:pt x="17212" y="13561"/>
                  <a:pt x="17210" y="13500"/>
                </a:cubicBezTo>
                <a:cubicBezTo>
                  <a:pt x="17211" y="13498"/>
                  <a:pt x="17212" y="13495"/>
                  <a:pt x="17214" y="13494"/>
                </a:cubicBezTo>
                <a:cubicBezTo>
                  <a:pt x="17218" y="13491"/>
                  <a:pt x="17221" y="13487"/>
                  <a:pt x="17223" y="13480"/>
                </a:cubicBezTo>
                <a:cubicBezTo>
                  <a:pt x="17224" y="13473"/>
                  <a:pt x="17225" y="13464"/>
                  <a:pt x="17224" y="13456"/>
                </a:cubicBezTo>
                <a:cubicBezTo>
                  <a:pt x="17223" y="13452"/>
                  <a:pt x="17222" y="13448"/>
                  <a:pt x="17221" y="13444"/>
                </a:cubicBezTo>
                <a:cubicBezTo>
                  <a:pt x="17269" y="13403"/>
                  <a:pt x="17273" y="13391"/>
                  <a:pt x="17275" y="13384"/>
                </a:cubicBezTo>
                <a:cubicBezTo>
                  <a:pt x="17278" y="13375"/>
                  <a:pt x="17278" y="13363"/>
                  <a:pt x="17275" y="13354"/>
                </a:cubicBezTo>
                <a:cubicBezTo>
                  <a:pt x="17275" y="13353"/>
                  <a:pt x="17275" y="13353"/>
                  <a:pt x="17275" y="13353"/>
                </a:cubicBezTo>
                <a:cubicBezTo>
                  <a:pt x="17276" y="13352"/>
                  <a:pt x="17278" y="13352"/>
                  <a:pt x="17278" y="13352"/>
                </a:cubicBezTo>
                <a:cubicBezTo>
                  <a:pt x="17279" y="13352"/>
                  <a:pt x="17279" y="13352"/>
                  <a:pt x="17279" y="13352"/>
                </a:cubicBezTo>
                <a:cubicBezTo>
                  <a:pt x="17292" y="13348"/>
                  <a:pt x="17316" y="13341"/>
                  <a:pt x="17316" y="13296"/>
                </a:cubicBezTo>
                <a:cubicBezTo>
                  <a:pt x="17316" y="13229"/>
                  <a:pt x="17284" y="13216"/>
                  <a:pt x="17260" y="13207"/>
                </a:cubicBezTo>
                <a:lnTo>
                  <a:pt x="17251" y="13203"/>
                </a:lnTo>
                <a:cubicBezTo>
                  <a:pt x="17228" y="13193"/>
                  <a:pt x="17227" y="13183"/>
                  <a:pt x="17227" y="13172"/>
                </a:cubicBezTo>
                <a:lnTo>
                  <a:pt x="17227" y="13157"/>
                </a:lnTo>
                <a:cubicBezTo>
                  <a:pt x="17227" y="13140"/>
                  <a:pt x="17227" y="13124"/>
                  <a:pt x="17226" y="13110"/>
                </a:cubicBezTo>
                <a:cubicBezTo>
                  <a:pt x="17225" y="13098"/>
                  <a:pt x="17223" y="13063"/>
                  <a:pt x="17205" y="13046"/>
                </a:cubicBezTo>
                <a:cubicBezTo>
                  <a:pt x="17197" y="13040"/>
                  <a:pt x="17189" y="13037"/>
                  <a:pt x="17180" y="13037"/>
                </a:cubicBezTo>
                <a:close/>
                <a:moveTo>
                  <a:pt x="17180" y="13096"/>
                </a:moveTo>
                <a:cubicBezTo>
                  <a:pt x="17183" y="13096"/>
                  <a:pt x="17186" y="13096"/>
                  <a:pt x="17188" y="13097"/>
                </a:cubicBezTo>
                <a:lnTo>
                  <a:pt x="17196" y="13123"/>
                </a:lnTo>
                <a:cubicBezTo>
                  <a:pt x="17197" y="13132"/>
                  <a:pt x="17197" y="13144"/>
                  <a:pt x="17197" y="13156"/>
                </a:cubicBezTo>
                <a:lnTo>
                  <a:pt x="17196" y="13172"/>
                </a:lnTo>
                <a:cubicBezTo>
                  <a:pt x="17196" y="13231"/>
                  <a:pt x="17223" y="13250"/>
                  <a:pt x="17239" y="13258"/>
                </a:cubicBezTo>
                <a:lnTo>
                  <a:pt x="17253" y="13303"/>
                </a:lnTo>
                <a:cubicBezTo>
                  <a:pt x="17245" y="13310"/>
                  <a:pt x="17239" y="13324"/>
                  <a:pt x="17239" y="13347"/>
                </a:cubicBezTo>
                <a:cubicBezTo>
                  <a:pt x="17239" y="13351"/>
                  <a:pt x="17239" y="13355"/>
                  <a:pt x="17240" y="13360"/>
                </a:cubicBezTo>
                <a:cubicBezTo>
                  <a:pt x="17228" y="13371"/>
                  <a:pt x="17211" y="13387"/>
                  <a:pt x="17195" y="13399"/>
                </a:cubicBezTo>
                <a:cubicBezTo>
                  <a:pt x="17188" y="13405"/>
                  <a:pt x="17184" y="13421"/>
                  <a:pt x="17186" y="13435"/>
                </a:cubicBezTo>
                <a:cubicBezTo>
                  <a:pt x="17187" y="13442"/>
                  <a:pt x="17189" y="13448"/>
                  <a:pt x="17190" y="13454"/>
                </a:cubicBezTo>
                <a:cubicBezTo>
                  <a:pt x="17184" y="13465"/>
                  <a:pt x="17180" y="13479"/>
                  <a:pt x="17180" y="13495"/>
                </a:cubicBezTo>
                <a:cubicBezTo>
                  <a:pt x="17180" y="13557"/>
                  <a:pt x="17223" y="13736"/>
                  <a:pt x="17267" y="13788"/>
                </a:cubicBezTo>
                <a:cubicBezTo>
                  <a:pt x="17265" y="13788"/>
                  <a:pt x="17262" y="13787"/>
                  <a:pt x="17259" y="13786"/>
                </a:cubicBezTo>
                <a:cubicBezTo>
                  <a:pt x="17254" y="13785"/>
                  <a:pt x="17249" y="13784"/>
                  <a:pt x="17243" y="13784"/>
                </a:cubicBezTo>
                <a:cubicBezTo>
                  <a:pt x="17235" y="13784"/>
                  <a:pt x="17224" y="13790"/>
                  <a:pt x="17217" y="13795"/>
                </a:cubicBezTo>
                <a:cubicBezTo>
                  <a:pt x="17214" y="13797"/>
                  <a:pt x="17210" y="13803"/>
                  <a:pt x="17209" y="13810"/>
                </a:cubicBezTo>
                <a:lnTo>
                  <a:pt x="17198" y="13852"/>
                </a:lnTo>
                <a:cubicBezTo>
                  <a:pt x="17198" y="13854"/>
                  <a:pt x="17197" y="13856"/>
                  <a:pt x="17197" y="13859"/>
                </a:cubicBezTo>
                <a:cubicBezTo>
                  <a:pt x="17194" y="13888"/>
                  <a:pt x="17190" y="13907"/>
                  <a:pt x="17186" y="13926"/>
                </a:cubicBezTo>
                <a:cubicBezTo>
                  <a:pt x="17181" y="13922"/>
                  <a:pt x="17178" y="13915"/>
                  <a:pt x="17173" y="13915"/>
                </a:cubicBezTo>
                <a:cubicBezTo>
                  <a:pt x="17154" y="13915"/>
                  <a:pt x="17138" y="13946"/>
                  <a:pt x="17138" y="13983"/>
                </a:cubicBezTo>
                <a:cubicBezTo>
                  <a:pt x="17138" y="14014"/>
                  <a:pt x="17150" y="14036"/>
                  <a:pt x="17164" y="14044"/>
                </a:cubicBezTo>
                <a:cubicBezTo>
                  <a:pt x="17141" y="14070"/>
                  <a:pt x="17123" y="14122"/>
                  <a:pt x="17123" y="14155"/>
                </a:cubicBezTo>
                <a:cubicBezTo>
                  <a:pt x="17123" y="14179"/>
                  <a:pt x="17127" y="14195"/>
                  <a:pt x="17131" y="14205"/>
                </a:cubicBezTo>
                <a:cubicBezTo>
                  <a:pt x="17132" y="14208"/>
                  <a:pt x="17133" y="14213"/>
                  <a:pt x="17133" y="14214"/>
                </a:cubicBezTo>
                <a:cubicBezTo>
                  <a:pt x="17133" y="14223"/>
                  <a:pt x="17127" y="14245"/>
                  <a:pt x="17123" y="14262"/>
                </a:cubicBezTo>
                <a:cubicBezTo>
                  <a:pt x="17117" y="14285"/>
                  <a:pt x="17111" y="14310"/>
                  <a:pt x="17109" y="14335"/>
                </a:cubicBezTo>
                <a:cubicBezTo>
                  <a:pt x="17103" y="14339"/>
                  <a:pt x="17101" y="14345"/>
                  <a:pt x="17097" y="14349"/>
                </a:cubicBezTo>
                <a:cubicBezTo>
                  <a:pt x="17098" y="14341"/>
                  <a:pt x="17100" y="14333"/>
                  <a:pt x="17100" y="14324"/>
                </a:cubicBezTo>
                <a:cubicBezTo>
                  <a:pt x="17100" y="14242"/>
                  <a:pt x="17067" y="14176"/>
                  <a:pt x="17026" y="14176"/>
                </a:cubicBezTo>
                <a:cubicBezTo>
                  <a:pt x="16994" y="14176"/>
                  <a:pt x="16967" y="14219"/>
                  <a:pt x="16957" y="14277"/>
                </a:cubicBezTo>
                <a:cubicBezTo>
                  <a:pt x="16950" y="14274"/>
                  <a:pt x="16944" y="14269"/>
                  <a:pt x="16936" y="14269"/>
                </a:cubicBezTo>
                <a:cubicBezTo>
                  <a:pt x="16923" y="14269"/>
                  <a:pt x="16914" y="14283"/>
                  <a:pt x="16906" y="14295"/>
                </a:cubicBezTo>
                <a:cubicBezTo>
                  <a:pt x="16899" y="14305"/>
                  <a:pt x="16893" y="14314"/>
                  <a:pt x="16885" y="14316"/>
                </a:cubicBezTo>
                <a:cubicBezTo>
                  <a:pt x="16885" y="14315"/>
                  <a:pt x="16885" y="14314"/>
                  <a:pt x="16885" y="14313"/>
                </a:cubicBezTo>
                <a:cubicBezTo>
                  <a:pt x="16883" y="14310"/>
                  <a:pt x="16881" y="14305"/>
                  <a:pt x="16878" y="14302"/>
                </a:cubicBezTo>
                <a:cubicBezTo>
                  <a:pt x="16878" y="14297"/>
                  <a:pt x="16878" y="14292"/>
                  <a:pt x="16878" y="14288"/>
                </a:cubicBezTo>
                <a:cubicBezTo>
                  <a:pt x="16878" y="14275"/>
                  <a:pt x="16877" y="14263"/>
                  <a:pt x="16876" y="14254"/>
                </a:cubicBezTo>
                <a:cubicBezTo>
                  <a:pt x="16875" y="14242"/>
                  <a:pt x="16870" y="14233"/>
                  <a:pt x="16864" y="14232"/>
                </a:cubicBezTo>
                <a:cubicBezTo>
                  <a:pt x="16861" y="14231"/>
                  <a:pt x="16859" y="14234"/>
                  <a:pt x="16856" y="14234"/>
                </a:cubicBezTo>
                <a:cubicBezTo>
                  <a:pt x="16848" y="14201"/>
                  <a:pt x="16835" y="14176"/>
                  <a:pt x="16815" y="14176"/>
                </a:cubicBezTo>
                <a:cubicBezTo>
                  <a:pt x="16802" y="14176"/>
                  <a:pt x="16790" y="14187"/>
                  <a:pt x="16781" y="14205"/>
                </a:cubicBezTo>
                <a:cubicBezTo>
                  <a:pt x="16778" y="14189"/>
                  <a:pt x="16775" y="14175"/>
                  <a:pt x="16774" y="14149"/>
                </a:cubicBezTo>
                <a:cubicBezTo>
                  <a:pt x="16772" y="14115"/>
                  <a:pt x="16770" y="14076"/>
                  <a:pt x="16761" y="14043"/>
                </a:cubicBezTo>
                <a:cubicBezTo>
                  <a:pt x="16762" y="14037"/>
                  <a:pt x="16762" y="14032"/>
                  <a:pt x="16762" y="14027"/>
                </a:cubicBezTo>
                <a:cubicBezTo>
                  <a:pt x="16762" y="14025"/>
                  <a:pt x="16762" y="14024"/>
                  <a:pt x="16761" y="14023"/>
                </a:cubicBezTo>
                <a:cubicBezTo>
                  <a:pt x="16766" y="14008"/>
                  <a:pt x="16771" y="13995"/>
                  <a:pt x="16771" y="13976"/>
                </a:cubicBezTo>
                <a:cubicBezTo>
                  <a:pt x="16771" y="13922"/>
                  <a:pt x="16750" y="13877"/>
                  <a:pt x="16722" y="13877"/>
                </a:cubicBezTo>
                <a:cubicBezTo>
                  <a:pt x="16719" y="13877"/>
                  <a:pt x="16716" y="13884"/>
                  <a:pt x="16713" y="13885"/>
                </a:cubicBezTo>
                <a:cubicBezTo>
                  <a:pt x="16709" y="13860"/>
                  <a:pt x="16703" y="13831"/>
                  <a:pt x="16703" y="13823"/>
                </a:cubicBezTo>
                <a:cubicBezTo>
                  <a:pt x="16703" y="13810"/>
                  <a:pt x="16703" y="13804"/>
                  <a:pt x="16718" y="13804"/>
                </a:cubicBezTo>
                <a:cubicBezTo>
                  <a:pt x="16725" y="13804"/>
                  <a:pt x="16732" y="13806"/>
                  <a:pt x="16739" y="13807"/>
                </a:cubicBezTo>
                <a:cubicBezTo>
                  <a:pt x="16747" y="13809"/>
                  <a:pt x="16755" y="13811"/>
                  <a:pt x="16762" y="13811"/>
                </a:cubicBezTo>
                <a:cubicBezTo>
                  <a:pt x="16779" y="13811"/>
                  <a:pt x="16792" y="13801"/>
                  <a:pt x="16802" y="13789"/>
                </a:cubicBezTo>
                <a:cubicBezTo>
                  <a:pt x="16820" y="13787"/>
                  <a:pt x="16834" y="13759"/>
                  <a:pt x="16834" y="13722"/>
                </a:cubicBezTo>
                <a:cubicBezTo>
                  <a:pt x="16834" y="13718"/>
                  <a:pt x="16832" y="13716"/>
                  <a:pt x="16832" y="13712"/>
                </a:cubicBezTo>
                <a:cubicBezTo>
                  <a:pt x="16834" y="13700"/>
                  <a:pt x="16839" y="13689"/>
                  <a:pt x="16841" y="13678"/>
                </a:cubicBezTo>
                <a:cubicBezTo>
                  <a:pt x="16846" y="13651"/>
                  <a:pt x="16851" y="13626"/>
                  <a:pt x="16859" y="13610"/>
                </a:cubicBezTo>
                <a:cubicBezTo>
                  <a:pt x="16867" y="13594"/>
                  <a:pt x="16880" y="13590"/>
                  <a:pt x="16896" y="13585"/>
                </a:cubicBezTo>
                <a:cubicBezTo>
                  <a:pt x="16901" y="13583"/>
                  <a:pt x="16906" y="13582"/>
                  <a:pt x="16911" y="13580"/>
                </a:cubicBezTo>
                <a:cubicBezTo>
                  <a:pt x="16939" y="13569"/>
                  <a:pt x="16949" y="13538"/>
                  <a:pt x="16957" y="13512"/>
                </a:cubicBezTo>
                <a:cubicBezTo>
                  <a:pt x="16960" y="13502"/>
                  <a:pt x="16963" y="13492"/>
                  <a:pt x="16967" y="13483"/>
                </a:cubicBezTo>
                <a:cubicBezTo>
                  <a:pt x="16970" y="13478"/>
                  <a:pt x="16972" y="13470"/>
                  <a:pt x="16972" y="13462"/>
                </a:cubicBezTo>
                <a:cubicBezTo>
                  <a:pt x="16972" y="13459"/>
                  <a:pt x="16972" y="13455"/>
                  <a:pt x="16971" y="13452"/>
                </a:cubicBezTo>
                <a:cubicBezTo>
                  <a:pt x="16973" y="13447"/>
                  <a:pt x="16976" y="13441"/>
                  <a:pt x="16979" y="13435"/>
                </a:cubicBezTo>
                <a:cubicBezTo>
                  <a:pt x="16987" y="13427"/>
                  <a:pt x="16991" y="13420"/>
                  <a:pt x="16994" y="13414"/>
                </a:cubicBezTo>
                <a:cubicBezTo>
                  <a:pt x="16996" y="13411"/>
                  <a:pt x="16996" y="13411"/>
                  <a:pt x="16997" y="13410"/>
                </a:cubicBezTo>
                <a:cubicBezTo>
                  <a:pt x="17007" y="13403"/>
                  <a:pt x="17012" y="13385"/>
                  <a:pt x="17015" y="13374"/>
                </a:cubicBezTo>
                <a:cubicBezTo>
                  <a:pt x="17016" y="13371"/>
                  <a:pt x="17016" y="13369"/>
                  <a:pt x="17016" y="13368"/>
                </a:cubicBezTo>
                <a:cubicBezTo>
                  <a:pt x="17022" y="13356"/>
                  <a:pt x="17037" y="13352"/>
                  <a:pt x="17050" y="13349"/>
                </a:cubicBezTo>
                <a:cubicBezTo>
                  <a:pt x="17068" y="13345"/>
                  <a:pt x="17088" y="13340"/>
                  <a:pt x="17095" y="13308"/>
                </a:cubicBezTo>
                <a:cubicBezTo>
                  <a:pt x="17104" y="13273"/>
                  <a:pt x="17114" y="13248"/>
                  <a:pt x="17124" y="13219"/>
                </a:cubicBezTo>
                <a:cubicBezTo>
                  <a:pt x="17128" y="13246"/>
                  <a:pt x="17139" y="13268"/>
                  <a:pt x="17154" y="13268"/>
                </a:cubicBezTo>
                <a:cubicBezTo>
                  <a:pt x="17173" y="13268"/>
                  <a:pt x="17188" y="13238"/>
                  <a:pt x="17188" y="13200"/>
                </a:cubicBezTo>
                <a:cubicBezTo>
                  <a:pt x="17188" y="13165"/>
                  <a:pt x="17174" y="13138"/>
                  <a:pt x="17157" y="13134"/>
                </a:cubicBezTo>
                <a:cubicBezTo>
                  <a:pt x="17165" y="13119"/>
                  <a:pt x="17174" y="13096"/>
                  <a:pt x="17180" y="13096"/>
                </a:cubicBezTo>
                <a:close/>
                <a:moveTo>
                  <a:pt x="16237" y="13125"/>
                </a:moveTo>
                <a:cubicBezTo>
                  <a:pt x="16269" y="13160"/>
                  <a:pt x="16299" y="13195"/>
                  <a:pt x="16318" y="13244"/>
                </a:cubicBezTo>
                <a:cubicBezTo>
                  <a:pt x="16318" y="13244"/>
                  <a:pt x="16317" y="13243"/>
                  <a:pt x="16317" y="13243"/>
                </a:cubicBezTo>
                <a:cubicBezTo>
                  <a:pt x="16298" y="13243"/>
                  <a:pt x="16282" y="13274"/>
                  <a:pt x="16282" y="13312"/>
                </a:cubicBezTo>
                <a:cubicBezTo>
                  <a:pt x="16282" y="13350"/>
                  <a:pt x="16298" y="13380"/>
                  <a:pt x="16317" y="13380"/>
                </a:cubicBezTo>
                <a:cubicBezTo>
                  <a:pt x="16325" y="13380"/>
                  <a:pt x="16332" y="13372"/>
                  <a:pt x="16337" y="13362"/>
                </a:cubicBezTo>
                <a:cubicBezTo>
                  <a:pt x="16337" y="13373"/>
                  <a:pt x="16336" y="13380"/>
                  <a:pt x="16335" y="13388"/>
                </a:cubicBezTo>
                <a:cubicBezTo>
                  <a:pt x="16332" y="13399"/>
                  <a:pt x="16329" y="13412"/>
                  <a:pt x="16329" y="13437"/>
                </a:cubicBezTo>
                <a:cubicBezTo>
                  <a:pt x="16329" y="13494"/>
                  <a:pt x="16344" y="13529"/>
                  <a:pt x="16356" y="13557"/>
                </a:cubicBezTo>
                <a:cubicBezTo>
                  <a:pt x="16360" y="13567"/>
                  <a:pt x="16363" y="13576"/>
                  <a:pt x="16365" y="13585"/>
                </a:cubicBezTo>
                <a:cubicBezTo>
                  <a:pt x="16350" y="13592"/>
                  <a:pt x="16338" y="13615"/>
                  <a:pt x="16338" y="13648"/>
                </a:cubicBezTo>
                <a:cubicBezTo>
                  <a:pt x="16338" y="13664"/>
                  <a:pt x="16342" y="13678"/>
                  <a:pt x="16347" y="13690"/>
                </a:cubicBezTo>
                <a:cubicBezTo>
                  <a:pt x="16343" y="13682"/>
                  <a:pt x="16338" y="13673"/>
                  <a:pt x="16330" y="13667"/>
                </a:cubicBezTo>
                <a:cubicBezTo>
                  <a:pt x="16299" y="13648"/>
                  <a:pt x="16270" y="13606"/>
                  <a:pt x="16245" y="13553"/>
                </a:cubicBezTo>
                <a:cubicBezTo>
                  <a:pt x="16250" y="13559"/>
                  <a:pt x="16255" y="13566"/>
                  <a:pt x="16261" y="13566"/>
                </a:cubicBezTo>
                <a:cubicBezTo>
                  <a:pt x="16280" y="13566"/>
                  <a:pt x="16294" y="13536"/>
                  <a:pt x="16294" y="13498"/>
                </a:cubicBezTo>
                <a:cubicBezTo>
                  <a:pt x="16294" y="13461"/>
                  <a:pt x="16280" y="13430"/>
                  <a:pt x="16261" y="13430"/>
                </a:cubicBezTo>
                <a:cubicBezTo>
                  <a:pt x="16242" y="13430"/>
                  <a:pt x="16226" y="13461"/>
                  <a:pt x="16226" y="13498"/>
                </a:cubicBezTo>
                <a:cubicBezTo>
                  <a:pt x="16226" y="13504"/>
                  <a:pt x="16229" y="13508"/>
                  <a:pt x="16229" y="13514"/>
                </a:cubicBezTo>
                <a:cubicBezTo>
                  <a:pt x="16213" y="13472"/>
                  <a:pt x="16199" y="13426"/>
                  <a:pt x="16191" y="13377"/>
                </a:cubicBezTo>
                <a:cubicBezTo>
                  <a:pt x="16184" y="13335"/>
                  <a:pt x="16180" y="13297"/>
                  <a:pt x="16175" y="13261"/>
                </a:cubicBezTo>
                <a:cubicBezTo>
                  <a:pt x="16180" y="13285"/>
                  <a:pt x="16191" y="13305"/>
                  <a:pt x="16205" y="13305"/>
                </a:cubicBezTo>
                <a:cubicBezTo>
                  <a:pt x="16224" y="13305"/>
                  <a:pt x="16239" y="13275"/>
                  <a:pt x="16239" y="13237"/>
                </a:cubicBezTo>
                <a:cubicBezTo>
                  <a:pt x="16239" y="13200"/>
                  <a:pt x="16224" y="13169"/>
                  <a:pt x="16205" y="13169"/>
                </a:cubicBezTo>
                <a:cubicBezTo>
                  <a:pt x="16187" y="13169"/>
                  <a:pt x="16173" y="13197"/>
                  <a:pt x="16172" y="13231"/>
                </a:cubicBezTo>
                <a:cubicBezTo>
                  <a:pt x="16170" y="13218"/>
                  <a:pt x="16168" y="13204"/>
                  <a:pt x="16167" y="13192"/>
                </a:cubicBezTo>
                <a:lnTo>
                  <a:pt x="16181" y="13179"/>
                </a:lnTo>
                <a:lnTo>
                  <a:pt x="16237" y="13125"/>
                </a:lnTo>
                <a:close/>
                <a:moveTo>
                  <a:pt x="5781" y="13131"/>
                </a:moveTo>
                <a:cubicBezTo>
                  <a:pt x="5754" y="13131"/>
                  <a:pt x="5732" y="13176"/>
                  <a:pt x="5732" y="13230"/>
                </a:cubicBezTo>
                <a:cubicBezTo>
                  <a:pt x="5732" y="13285"/>
                  <a:pt x="5754" y="13328"/>
                  <a:pt x="5781" y="13328"/>
                </a:cubicBezTo>
                <a:cubicBezTo>
                  <a:pt x="5808" y="13328"/>
                  <a:pt x="5830" y="13285"/>
                  <a:pt x="5830" y="13230"/>
                </a:cubicBezTo>
                <a:cubicBezTo>
                  <a:pt x="5830" y="13176"/>
                  <a:pt x="5808" y="13131"/>
                  <a:pt x="5781" y="13131"/>
                </a:cubicBezTo>
                <a:close/>
                <a:moveTo>
                  <a:pt x="12855" y="13206"/>
                </a:moveTo>
                <a:cubicBezTo>
                  <a:pt x="12837" y="13206"/>
                  <a:pt x="12821" y="13237"/>
                  <a:pt x="12821" y="13275"/>
                </a:cubicBezTo>
                <a:cubicBezTo>
                  <a:pt x="12821" y="13312"/>
                  <a:pt x="12837" y="13342"/>
                  <a:pt x="12855" y="13342"/>
                </a:cubicBezTo>
                <a:cubicBezTo>
                  <a:pt x="12874" y="13342"/>
                  <a:pt x="12889" y="13312"/>
                  <a:pt x="12889" y="13275"/>
                </a:cubicBezTo>
                <a:cubicBezTo>
                  <a:pt x="12889" y="13237"/>
                  <a:pt x="12874" y="13206"/>
                  <a:pt x="12855" y="13206"/>
                </a:cubicBezTo>
                <a:close/>
                <a:moveTo>
                  <a:pt x="15866" y="13206"/>
                </a:moveTo>
                <a:cubicBezTo>
                  <a:pt x="15839" y="13206"/>
                  <a:pt x="15817" y="13250"/>
                  <a:pt x="15817" y="13305"/>
                </a:cubicBezTo>
                <a:cubicBezTo>
                  <a:pt x="15817" y="13359"/>
                  <a:pt x="15839" y="13403"/>
                  <a:pt x="15866" y="13403"/>
                </a:cubicBezTo>
                <a:cubicBezTo>
                  <a:pt x="15867" y="13403"/>
                  <a:pt x="15867" y="13402"/>
                  <a:pt x="15868" y="13402"/>
                </a:cubicBezTo>
                <a:cubicBezTo>
                  <a:pt x="15874" y="13422"/>
                  <a:pt x="15878" y="13444"/>
                  <a:pt x="15884" y="13458"/>
                </a:cubicBezTo>
                <a:cubicBezTo>
                  <a:pt x="15892" y="13474"/>
                  <a:pt x="15898" y="13483"/>
                  <a:pt x="15905" y="13487"/>
                </a:cubicBezTo>
                <a:cubicBezTo>
                  <a:pt x="15910" y="13489"/>
                  <a:pt x="15915" y="13490"/>
                  <a:pt x="15921" y="13491"/>
                </a:cubicBezTo>
                <a:cubicBezTo>
                  <a:pt x="15936" y="13494"/>
                  <a:pt x="15940" y="13497"/>
                  <a:pt x="15943" y="13509"/>
                </a:cubicBezTo>
                <a:cubicBezTo>
                  <a:pt x="15953" y="13549"/>
                  <a:pt x="15959" y="13574"/>
                  <a:pt x="15968" y="13608"/>
                </a:cubicBezTo>
                <a:lnTo>
                  <a:pt x="15975" y="13636"/>
                </a:lnTo>
                <a:cubicBezTo>
                  <a:pt x="15983" y="13669"/>
                  <a:pt x="15999" y="13684"/>
                  <a:pt x="16012" y="13697"/>
                </a:cubicBezTo>
                <a:cubicBezTo>
                  <a:pt x="16020" y="13726"/>
                  <a:pt x="16031" y="13746"/>
                  <a:pt x="16047" y="13754"/>
                </a:cubicBezTo>
                <a:cubicBezTo>
                  <a:pt x="16048" y="13760"/>
                  <a:pt x="16051" y="13763"/>
                  <a:pt x="16052" y="13770"/>
                </a:cubicBezTo>
                <a:cubicBezTo>
                  <a:pt x="16057" y="13813"/>
                  <a:pt x="16072" y="13917"/>
                  <a:pt x="16088" y="13937"/>
                </a:cubicBezTo>
                <a:cubicBezTo>
                  <a:pt x="16093" y="13944"/>
                  <a:pt x="16099" y="13946"/>
                  <a:pt x="16110" y="13951"/>
                </a:cubicBezTo>
                <a:cubicBezTo>
                  <a:pt x="16112" y="13952"/>
                  <a:pt x="16115" y="13953"/>
                  <a:pt x="16118" y="13954"/>
                </a:cubicBezTo>
                <a:cubicBezTo>
                  <a:pt x="16118" y="13955"/>
                  <a:pt x="16118" y="13955"/>
                  <a:pt x="16118" y="13955"/>
                </a:cubicBezTo>
                <a:cubicBezTo>
                  <a:pt x="16118" y="13959"/>
                  <a:pt x="16119" y="13960"/>
                  <a:pt x="16119" y="13964"/>
                </a:cubicBezTo>
                <a:cubicBezTo>
                  <a:pt x="16106" y="13971"/>
                  <a:pt x="16096" y="13984"/>
                  <a:pt x="16089" y="14007"/>
                </a:cubicBezTo>
                <a:lnTo>
                  <a:pt x="16073" y="14007"/>
                </a:lnTo>
                <a:cubicBezTo>
                  <a:pt x="16065" y="14007"/>
                  <a:pt x="16059" y="14019"/>
                  <a:pt x="16059" y="14036"/>
                </a:cubicBezTo>
                <a:lnTo>
                  <a:pt x="16059" y="14053"/>
                </a:lnTo>
                <a:cubicBezTo>
                  <a:pt x="16059" y="14095"/>
                  <a:pt x="16090" y="14177"/>
                  <a:pt x="16109" y="14185"/>
                </a:cubicBezTo>
                <a:cubicBezTo>
                  <a:pt x="16110" y="14185"/>
                  <a:pt x="16111" y="14185"/>
                  <a:pt x="16112" y="14185"/>
                </a:cubicBezTo>
                <a:cubicBezTo>
                  <a:pt x="16115" y="14185"/>
                  <a:pt x="16118" y="14183"/>
                  <a:pt x="16121" y="14179"/>
                </a:cubicBezTo>
                <a:cubicBezTo>
                  <a:pt x="16123" y="14176"/>
                  <a:pt x="16124" y="14171"/>
                  <a:pt x="16125" y="14166"/>
                </a:cubicBezTo>
                <a:cubicBezTo>
                  <a:pt x="16128" y="14167"/>
                  <a:pt x="16130" y="14173"/>
                  <a:pt x="16133" y="14173"/>
                </a:cubicBezTo>
                <a:cubicBezTo>
                  <a:pt x="16148" y="14173"/>
                  <a:pt x="16162" y="14161"/>
                  <a:pt x="16172" y="14141"/>
                </a:cubicBezTo>
                <a:cubicBezTo>
                  <a:pt x="16190" y="14216"/>
                  <a:pt x="16209" y="14285"/>
                  <a:pt x="16245" y="14358"/>
                </a:cubicBezTo>
                <a:cubicBezTo>
                  <a:pt x="16260" y="14388"/>
                  <a:pt x="16275" y="14409"/>
                  <a:pt x="16290" y="14431"/>
                </a:cubicBezTo>
                <a:cubicBezTo>
                  <a:pt x="16286" y="14442"/>
                  <a:pt x="16282" y="14454"/>
                  <a:pt x="16282" y="14468"/>
                </a:cubicBezTo>
                <a:cubicBezTo>
                  <a:pt x="16282" y="14506"/>
                  <a:pt x="16298" y="14536"/>
                  <a:pt x="16317" y="14536"/>
                </a:cubicBezTo>
                <a:cubicBezTo>
                  <a:pt x="16326" y="14536"/>
                  <a:pt x="16335" y="14528"/>
                  <a:pt x="16341" y="14515"/>
                </a:cubicBezTo>
                <a:cubicBezTo>
                  <a:pt x="16348" y="14526"/>
                  <a:pt x="16354" y="14534"/>
                  <a:pt x="16361" y="14548"/>
                </a:cubicBezTo>
                <a:cubicBezTo>
                  <a:pt x="16361" y="14549"/>
                  <a:pt x="16363" y="14554"/>
                  <a:pt x="16365" y="14560"/>
                </a:cubicBezTo>
                <a:cubicBezTo>
                  <a:pt x="16401" y="14657"/>
                  <a:pt x="16412" y="14672"/>
                  <a:pt x="16423" y="14672"/>
                </a:cubicBezTo>
                <a:cubicBezTo>
                  <a:pt x="16424" y="14672"/>
                  <a:pt x="16427" y="14670"/>
                  <a:pt x="16428" y="14670"/>
                </a:cubicBezTo>
                <a:cubicBezTo>
                  <a:pt x="16434" y="14677"/>
                  <a:pt x="16440" y="14685"/>
                  <a:pt x="16447" y="14685"/>
                </a:cubicBezTo>
                <a:cubicBezTo>
                  <a:pt x="16460" y="14685"/>
                  <a:pt x="16469" y="14668"/>
                  <a:pt x="16475" y="14646"/>
                </a:cubicBezTo>
                <a:cubicBezTo>
                  <a:pt x="16486" y="14632"/>
                  <a:pt x="16495" y="14613"/>
                  <a:pt x="16495" y="14584"/>
                </a:cubicBezTo>
                <a:cubicBezTo>
                  <a:pt x="16495" y="14572"/>
                  <a:pt x="16495" y="14559"/>
                  <a:pt x="16494" y="14546"/>
                </a:cubicBezTo>
                <a:cubicBezTo>
                  <a:pt x="16492" y="14512"/>
                  <a:pt x="16491" y="14497"/>
                  <a:pt x="16496" y="14493"/>
                </a:cubicBezTo>
                <a:cubicBezTo>
                  <a:pt x="16502" y="14488"/>
                  <a:pt x="16506" y="14477"/>
                  <a:pt x="16506" y="14465"/>
                </a:cubicBezTo>
                <a:lnTo>
                  <a:pt x="16506" y="14293"/>
                </a:lnTo>
                <a:cubicBezTo>
                  <a:pt x="16507" y="14294"/>
                  <a:pt x="16507" y="14294"/>
                  <a:pt x="16508" y="14293"/>
                </a:cubicBezTo>
                <a:cubicBezTo>
                  <a:pt x="16509" y="14294"/>
                  <a:pt x="16511" y="14297"/>
                  <a:pt x="16512" y="14299"/>
                </a:cubicBezTo>
                <a:cubicBezTo>
                  <a:pt x="16517" y="14308"/>
                  <a:pt x="16526" y="14320"/>
                  <a:pt x="16538" y="14320"/>
                </a:cubicBezTo>
                <a:lnTo>
                  <a:pt x="16552" y="14320"/>
                </a:lnTo>
                <a:cubicBezTo>
                  <a:pt x="16557" y="14320"/>
                  <a:pt x="16561" y="14315"/>
                  <a:pt x="16564" y="14307"/>
                </a:cubicBezTo>
                <a:cubicBezTo>
                  <a:pt x="16567" y="14300"/>
                  <a:pt x="16568" y="14290"/>
                  <a:pt x="16567" y="14281"/>
                </a:cubicBezTo>
                <a:cubicBezTo>
                  <a:pt x="16565" y="14273"/>
                  <a:pt x="16565" y="14259"/>
                  <a:pt x="16565" y="14248"/>
                </a:cubicBezTo>
                <a:cubicBezTo>
                  <a:pt x="16565" y="14231"/>
                  <a:pt x="16559" y="14218"/>
                  <a:pt x="16550" y="14218"/>
                </a:cubicBezTo>
                <a:cubicBezTo>
                  <a:pt x="16532" y="14218"/>
                  <a:pt x="16520" y="14148"/>
                  <a:pt x="16512" y="14098"/>
                </a:cubicBezTo>
                <a:lnTo>
                  <a:pt x="16511" y="14094"/>
                </a:lnTo>
                <a:cubicBezTo>
                  <a:pt x="16509" y="14081"/>
                  <a:pt x="16502" y="14071"/>
                  <a:pt x="16495" y="14073"/>
                </a:cubicBezTo>
                <a:cubicBezTo>
                  <a:pt x="16490" y="14074"/>
                  <a:pt x="16481" y="14081"/>
                  <a:pt x="16472" y="14089"/>
                </a:cubicBezTo>
                <a:cubicBezTo>
                  <a:pt x="16466" y="14074"/>
                  <a:pt x="16457" y="14064"/>
                  <a:pt x="16447" y="14064"/>
                </a:cubicBezTo>
                <a:cubicBezTo>
                  <a:pt x="16435" y="14064"/>
                  <a:pt x="16426" y="14077"/>
                  <a:pt x="16420" y="14094"/>
                </a:cubicBezTo>
                <a:cubicBezTo>
                  <a:pt x="16417" y="14080"/>
                  <a:pt x="16414" y="14063"/>
                  <a:pt x="16414" y="14039"/>
                </a:cubicBezTo>
                <a:cubicBezTo>
                  <a:pt x="16414" y="14023"/>
                  <a:pt x="16408" y="14009"/>
                  <a:pt x="16400" y="14009"/>
                </a:cubicBezTo>
                <a:cubicBezTo>
                  <a:pt x="16379" y="14009"/>
                  <a:pt x="16375" y="13999"/>
                  <a:pt x="16374" y="13976"/>
                </a:cubicBezTo>
                <a:lnTo>
                  <a:pt x="16382" y="13940"/>
                </a:lnTo>
                <a:cubicBezTo>
                  <a:pt x="16383" y="13932"/>
                  <a:pt x="16383" y="13923"/>
                  <a:pt x="16381" y="13916"/>
                </a:cubicBezTo>
                <a:cubicBezTo>
                  <a:pt x="16377" y="13901"/>
                  <a:pt x="16368" y="13864"/>
                  <a:pt x="16351" y="13861"/>
                </a:cubicBezTo>
                <a:cubicBezTo>
                  <a:pt x="16348" y="13785"/>
                  <a:pt x="16309" y="13759"/>
                  <a:pt x="16277" y="13737"/>
                </a:cubicBezTo>
                <a:lnTo>
                  <a:pt x="16273" y="13735"/>
                </a:lnTo>
                <a:cubicBezTo>
                  <a:pt x="16222" y="13702"/>
                  <a:pt x="16199" y="13657"/>
                  <a:pt x="16165" y="13588"/>
                </a:cubicBezTo>
                <a:lnTo>
                  <a:pt x="16155" y="13567"/>
                </a:lnTo>
                <a:cubicBezTo>
                  <a:pt x="16151" y="13557"/>
                  <a:pt x="16146" y="13547"/>
                  <a:pt x="16142" y="13537"/>
                </a:cubicBezTo>
                <a:cubicBezTo>
                  <a:pt x="16126" y="13501"/>
                  <a:pt x="16110" y="13464"/>
                  <a:pt x="16081" y="13445"/>
                </a:cubicBezTo>
                <a:cubicBezTo>
                  <a:pt x="16078" y="13444"/>
                  <a:pt x="16075" y="13443"/>
                  <a:pt x="16072" y="13442"/>
                </a:cubicBezTo>
                <a:cubicBezTo>
                  <a:pt x="16070" y="13442"/>
                  <a:pt x="16068" y="13441"/>
                  <a:pt x="16068" y="13442"/>
                </a:cubicBezTo>
                <a:cubicBezTo>
                  <a:pt x="16068" y="13441"/>
                  <a:pt x="16067" y="13438"/>
                  <a:pt x="16067" y="13437"/>
                </a:cubicBezTo>
                <a:cubicBezTo>
                  <a:pt x="16055" y="13389"/>
                  <a:pt x="16043" y="13341"/>
                  <a:pt x="16019" y="13305"/>
                </a:cubicBezTo>
                <a:cubicBezTo>
                  <a:pt x="16019" y="13305"/>
                  <a:pt x="16019" y="13304"/>
                  <a:pt x="16019" y="13304"/>
                </a:cubicBezTo>
                <a:cubicBezTo>
                  <a:pt x="16008" y="13285"/>
                  <a:pt x="15995" y="13272"/>
                  <a:pt x="15980" y="13263"/>
                </a:cubicBezTo>
                <a:cubicBezTo>
                  <a:pt x="15978" y="13262"/>
                  <a:pt x="15977" y="13262"/>
                  <a:pt x="15976" y="13262"/>
                </a:cubicBezTo>
                <a:lnTo>
                  <a:pt x="15910" y="13262"/>
                </a:lnTo>
                <a:cubicBezTo>
                  <a:pt x="15908" y="13260"/>
                  <a:pt x="15906" y="13257"/>
                  <a:pt x="15905" y="13255"/>
                </a:cubicBezTo>
                <a:cubicBezTo>
                  <a:pt x="15896" y="13227"/>
                  <a:pt x="15884" y="13206"/>
                  <a:pt x="15866" y="13206"/>
                </a:cubicBezTo>
                <a:close/>
                <a:moveTo>
                  <a:pt x="6734" y="13270"/>
                </a:moveTo>
                <a:cubicBezTo>
                  <a:pt x="6745" y="13273"/>
                  <a:pt x="6755" y="13280"/>
                  <a:pt x="6767" y="13283"/>
                </a:cubicBezTo>
                <a:cubicBezTo>
                  <a:pt x="6781" y="13286"/>
                  <a:pt x="6795" y="13289"/>
                  <a:pt x="6807" y="13293"/>
                </a:cubicBezTo>
                <a:cubicBezTo>
                  <a:pt x="6808" y="13294"/>
                  <a:pt x="6808" y="13293"/>
                  <a:pt x="6809" y="13293"/>
                </a:cubicBezTo>
                <a:lnTo>
                  <a:pt x="6861" y="13293"/>
                </a:lnTo>
                <a:cubicBezTo>
                  <a:pt x="6863" y="13295"/>
                  <a:pt x="6866" y="13297"/>
                  <a:pt x="6868" y="13299"/>
                </a:cubicBezTo>
                <a:cubicBezTo>
                  <a:pt x="6883" y="13313"/>
                  <a:pt x="6904" y="13332"/>
                  <a:pt x="6923" y="13339"/>
                </a:cubicBezTo>
                <a:cubicBezTo>
                  <a:pt x="6926" y="13345"/>
                  <a:pt x="6930" y="13349"/>
                  <a:pt x="6935" y="13349"/>
                </a:cubicBezTo>
                <a:lnTo>
                  <a:pt x="6947" y="13349"/>
                </a:lnTo>
                <a:cubicBezTo>
                  <a:pt x="6959" y="13349"/>
                  <a:pt x="6980" y="13388"/>
                  <a:pt x="6997" y="13419"/>
                </a:cubicBezTo>
                <a:cubicBezTo>
                  <a:pt x="7013" y="13450"/>
                  <a:pt x="7030" y="13483"/>
                  <a:pt x="7047" y="13498"/>
                </a:cubicBezTo>
                <a:cubicBezTo>
                  <a:pt x="7053" y="13577"/>
                  <a:pt x="7086" y="13721"/>
                  <a:pt x="7086" y="13723"/>
                </a:cubicBezTo>
                <a:cubicBezTo>
                  <a:pt x="7093" y="13750"/>
                  <a:pt x="7104" y="13764"/>
                  <a:pt x="7113" y="13775"/>
                </a:cubicBezTo>
                <a:cubicBezTo>
                  <a:pt x="7118" y="13781"/>
                  <a:pt x="7120" y="13785"/>
                  <a:pt x="7121" y="13788"/>
                </a:cubicBezTo>
                <a:cubicBezTo>
                  <a:pt x="7112" y="13808"/>
                  <a:pt x="7102" y="13826"/>
                  <a:pt x="7091" y="13845"/>
                </a:cubicBezTo>
                <a:cubicBezTo>
                  <a:pt x="7061" y="13894"/>
                  <a:pt x="7028" y="13949"/>
                  <a:pt x="7028" y="14050"/>
                </a:cubicBezTo>
                <a:cubicBezTo>
                  <a:pt x="7028" y="14107"/>
                  <a:pt x="7051" y="14117"/>
                  <a:pt x="7061" y="14121"/>
                </a:cubicBezTo>
                <a:cubicBezTo>
                  <a:pt x="7063" y="14122"/>
                  <a:pt x="7065" y="14123"/>
                  <a:pt x="7065" y="14123"/>
                </a:cubicBezTo>
                <a:cubicBezTo>
                  <a:pt x="7081" y="14139"/>
                  <a:pt x="7090" y="14163"/>
                  <a:pt x="7093" y="14200"/>
                </a:cubicBezTo>
                <a:cubicBezTo>
                  <a:pt x="7095" y="14214"/>
                  <a:pt x="7101" y="14225"/>
                  <a:pt x="7109" y="14225"/>
                </a:cubicBezTo>
                <a:lnTo>
                  <a:pt x="7147" y="14225"/>
                </a:lnTo>
                <a:cubicBezTo>
                  <a:pt x="7150" y="14247"/>
                  <a:pt x="7156" y="14271"/>
                  <a:pt x="7170" y="14271"/>
                </a:cubicBezTo>
                <a:cubicBezTo>
                  <a:pt x="7186" y="14271"/>
                  <a:pt x="7196" y="14238"/>
                  <a:pt x="7204" y="14212"/>
                </a:cubicBezTo>
                <a:lnTo>
                  <a:pt x="7209" y="14196"/>
                </a:lnTo>
                <a:cubicBezTo>
                  <a:pt x="7227" y="14137"/>
                  <a:pt x="7250" y="14063"/>
                  <a:pt x="7274" y="14063"/>
                </a:cubicBezTo>
                <a:cubicBezTo>
                  <a:pt x="7307" y="14063"/>
                  <a:pt x="7380" y="14139"/>
                  <a:pt x="7408" y="14173"/>
                </a:cubicBezTo>
                <a:cubicBezTo>
                  <a:pt x="7416" y="14184"/>
                  <a:pt x="7425" y="14188"/>
                  <a:pt x="7431" y="14192"/>
                </a:cubicBezTo>
                <a:cubicBezTo>
                  <a:pt x="7441" y="14198"/>
                  <a:pt x="7441" y="14198"/>
                  <a:pt x="7442" y="14204"/>
                </a:cubicBezTo>
                <a:cubicBezTo>
                  <a:pt x="7446" y="14229"/>
                  <a:pt x="7446" y="14251"/>
                  <a:pt x="7446" y="14277"/>
                </a:cubicBezTo>
                <a:cubicBezTo>
                  <a:pt x="7446" y="14285"/>
                  <a:pt x="7445" y="14292"/>
                  <a:pt x="7445" y="14300"/>
                </a:cubicBezTo>
                <a:cubicBezTo>
                  <a:pt x="7445" y="14317"/>
                  <a:pt x="7452" y="14331"/>
                  <a:pt x="7460" y="14331"/>
                </a:cubicBezTo>
                <a:lnTo>
                  <a:pt x="7474" y="14331"/>
                </a:lnTo>
                <a:cubicBezTo>
                  <a:pt x="7483" y="14355"/>
                  <a:pt x="7495" y="14373"/>
                  <a:pt x="7512" y="14373"/>
                </a:cubicBezTo>
                <a:cubicBezTo>
                  <a:pt x="7523" y="14373"/>
                  <a:pt x="7532" y="14363"/>
                  <a:pt x="7541" y="14349"/>
                </a:cubicBezTo>
                <a:lnTo>
                  <a:pt x="7575" y="14458"/>
                </a:lnTo>
                <a:lnTo>
                  <a:pt x="7775" y="15097"/>
                </a:lnTo>
                <a:cubicBezTo>
                  <a:pt x="7767" y="15117"/>
                  <a:pt x="7763" y="15141"/>
                  <a:pt x="7762" y="15168"/>
                </a:cubicBezTo>
                <a:lnTo>
                  <a:pt x="7468" y="15193"/>
                </a:lnTo>
                <a:cubicBezTo>
                  <a:pt x="7463" y="15191"/>
                  <a:pt x="7461" y="15183"/>
                  <a:pt x="7456" y="15183"/>
                </a:cubicBezTo>
                <a:cubicBezTo>
                  <a:pt x="7450" y="15183"/>
                  <a:pt x="7445" y="15192"/>
                  <a:pt x="7440" y="15196"/>
                </a:cubicBezTo>
                <a:lnTo>
                  <a:pt x="7279" y="15210"/>
                </a:lnTo>
                <a:cubicBezTo>
                  <a:pt x="7261" y="15128"/>
                  <a:pt x="7220" y="15071"/>
                  <a:pt x="7172" y="15071"/>
                </a:cubicBezTo>
                <a:cubicBezTo>
                  <a:pt x="7120" y="15071"/>
                  <a:pt x="7077" y="15138"/>
                  <a:pt x="7061" y="15230"/>
                </a:cubicBezTo>
                <a:lnTo>
                  <a:pt x="6812" y="15252"/>
                </a:lnTo>
                <a:lnTo>
                  <a:pt x="6288" y="15298"/>
                </a:lnTo>
                <a:cubicBezTo>
                  <a:pt x="6286" y="15298"/>
                  <a:pt x="6285" y="15295"/>
                  <a:pt x="6283" y="15295"/>
                </a:cubicBezTo>
                <a:cubicBezTo>
                  <a:pt x="6281" y="15295"/>
                  <a:pt x="6280" y="15299"/>
                  <a:pt x="6278" y="15300"/>
                </a:cubicBezTo>
                <a:lnTo>
                  <a:pt x="6105" y="15315"/>
                </a:lnTo>
                <a:cubicBezTo>
                  <a:pt x="6093" y="15270"/>
                  <a:pt x="6076" y="15234"/>
                  <a:pt x="6053" y="15211"/>
                </a:cubicBezTo>
                <a:lnTo>
                  <a:pt x="6070" y="15157"/>
                </a:lnTo>
                <a:cubicBezTo>
                  <a:pt x="6074" y="15185"/>
                  <a:pt x="6085" y="15207"/>
                  <a:pt x="6101" y="15207"/>
                </a:cubicBezTo>
                <a:cubicBezTo>
                  <a:pt x="6120" y="15207"/>
                  <a:pt x="6135" y="15178"/>
                  <a:pt x="6135" y="15140"/>
                </a:cubicBezTo>
                <a:cubicBezTo>
                  <a:pt x="6135" y="15102"/>
                  <a:pt x="6120" y="15071"/>
                  <a:pt x="6101" y="15071"/>
                </a:cubicBezTo>
                <a:cubicBezTo>
                  <a:pt x="6099" y="15071"/>
                  <a:pt x="6098" y="15074"/>
                  <a:pt x="6097" y="15075"/>
                </a:cubicBezTo>
                <a:lnTo>
                  <a:pt x="6326" y="14359"/>
                </a:lnTo>
                <a:cubicBezTo>
                  <a:pt x="6326" y="14359"/>
                  <a:pt x="6391" y="14158"/>
                  <a:pt x="6441" y="14003"/>
                </a:cubicBezTo>
                <a:cubicBezTo>
                  <a:pt x="6445" y="14007"/>
                  <a:pt x="6449" y="14014"/>
                  <a:pt x="6454" y="14014"/>
                </a:cubicBezTo>
                <a:cubicBezTo>
                  <a:pt x="6473" y="14014"/>
                  <a:pt x="6488" y="13984"/>
                  <a:pt x="6488" y="13946"/>
                </a:cubicBezTo>
                <a:cubicBezTo>
                  <a:pt x="6488" y="13925"/>
                  <a:pt x="6483" y="13907"/>
                  <a:pt x="6475" y="13895"/>
                </a:cubicBezTo>
                <a:cubicBezTo>
                  <a:pt x="6551" y="13661"/>
                  <a:pt x="6591" y="13535"/>
                  <a:pt x="6630" y="13413"/>
                </a:cubicBezTo>
                <a:cubicBezTo>
                  <a:pt x="6639" y="13422"/>
                  <a:pt x="6650" y="13427"/>
                  <a:pt x="6661" y="13427"/>
                </a:cubicBezTo>
                <a:cubicBezTo>
                  <a:pt x="6702" y="13427"/>
                  <a:pt x="6735" y="13361"/>
                  <a:pt x="6735" y="13279"/>
                </a:cubicBezTo>
                <a:cubicBezTo>
                  <a:pt x="6735" y="13276"/>
                  <a:pt x="6734" y="13273"/>
                  <a:pt x="6734" y="13270"/>
                </a:cubicBezTo>
                <a:close/>
                <a:moveTo>
                  <a:pt x="15912" y="13321"/>
                </a:moveTo>
                <a:lnTo>
                  <a:pt x="15973" y="13321"/>
                </a:lnTo>
                <a:cubicBezTo>
                  <a:pt x="15975" y="13322"/>
                  <a:pt x="15976" y="13323"/>
                  <a:pt x="15978" y="13325"/>
                </a:cubicBezTo>
                <a:cubicBezTo>
                  <a:pt x="15978" y="13325"/>
                  <a:pt x="15899" y="13401"/>
                  <a:pt x="15899" y="13401"/>
                </a:cubicBezTo>
                <a:cubicBezTo>
                  <a:pt x="15897" y="13394"/>
                  <a:pt x="15896" y="13388"/>
                  <a:pt x="15893" y="13381"/>
                </a:cubicBezTo>
                <a:cubicBezTo>
                  <a:pt x="15903" y="13366"/>
                  <a:pt x="15909" y="13347"/>
                  <a:pt x="15912" y="13321"/>
                </a:cubicBezTo>
                <a:close/>
                <a:moveTo>
                  <a:pt x="16008" y="13363"/>
                </a:moveTo>
                <a:cubicBezTo>
                  <a:pt x="16022" y="13390"/>
                  <a:pt x="16031" y="13425"/>
                  <a:pt x="16040" y="13463"/>
                </a:cubicBezTo>
                <a:cubicBezTo>
                  <a:pt x="16047" y="13497"/>
                  <a:pt x="16061" y="13500"/>
                  <a:pt x="16069" y="13502"/>
                </a:cubicBezTo>
                <a:cubicBezTo>
                  <a:pt x="16070" y="13502"/>
                  <a:pt x="16072" y="13502"/>
                  <a:pt x="16072" y="13502"/>
                </a:cubicBezTo>
                <a:cubicBezTo>
                  <a:pt x="16092" y="13515"/>
                  <a:pt x="16105" y="13544"/>
                  <a:pt x="16119" y="13577"/>
                </a:cubicBezTo>
                <a:cubicBezTo>
                  <a:pt x="16124" y="13588"/>
                  <a:pt x="16129" y="13599"/>
                  <a:pt x="16135" y="13610"/>
                </a:cubicBezTo>
                <a:lnTo>
                  <a:pt x="16144" y="13630"/>
                </a:lnTo>
                <a:cubicBezTo>
                  <a:pt x="16180" y="13702"/>
                  <a:pt x="16206" y="13754"/>
                  <a:pt x="16264" y="13791"/>
                </a:cubicBezTo>
                <a:lnTo>
                  <a:pt x="16267" y="13795"/>
                </a:lnTo>
                <a:cubicBezTo>
                  <a:pt x="16290" y="13810"/>
                  <a:pt x="16304" y="13825"/>
                  <a:pt x="16312" y="13845"/>
                </a:cubicBezTo>
                <a:cubicBezTo>
                  <a:pt x="16308" y="13843"/>
                  <a:pt x="16305" y="13840"/>
                  <a:pt x="16300" y="13840"/>
                </a:cubicBezTo>
                <a:cubicBezTo>
                  <a:pt x="16260" y="13840"/>
                  <a:pt x="16226" y="13906"/>
                  <a:pt x="16226" y="13988"/>
                </a:cubicBezTo>
                <a:cubicBezTo>
                  <a:pt x="16226" y="14070"/>
                  <a:pt x="16260" y="14136"/>
                  <a:pt x="16300" y="14136"/>
                </a:cubicBezTo>
                <a:cubicBezTo>
                  <a:pt x="16330" y="14136"/>
                  <a:pt x="16355" y="14100"/>
                  <a:pt x="16367" y="14050"/>
                </a:cubicBezTo>
                <a:cubicBezTo>
                  <a:pt x="16372" y="14057"/>
                  <a:pt x="16377" y="14065"/>
                  <a:pt x="16385" y="14067"/>
                </a:cubicBezTo>
                <a:cubicBezTo>
                  <a:pt x="16387" y="14103"/>
                  <a:pt x="16394" y="14129"/>
                  <a:pt x="16401" y="14148"/>
                </a:cubicBezTo>
                <a:lnTo>
                  <a:pt x="16378" y="14220"/>
                </a:lnTo>
                <a:lnTo>
                  <a:pt x="16319" y="14402"/>
                </a:lnTo>
                <a:cubicBezTo>
                  <a:pt x="16319" y="14402"/>
                  <a:pt x="16319" y="14401"/>
                  <a:pt x="16318" y="14401"/>
                </a:cubicBezTo>
                <a:cubicBezTo>
                  <a:pt x="16300" y="14375"/>
                  <a:pt x="16283" y="14350"/>
                  <a:pt x="16266" y="14316"/>
                </a:cubicBezTo>
                <a:cubicBezTo>
                  <a:pt x="16228" y="14239"/>
                  <a:pt x="16211" y="14170"/>
                  <a:pt x="16190" y="14081"/>
                </a:cubicBezTo>
                <a:lnTo>
                  <a:pt x="16187" y="14068"/>
                </a:lnTo>
                <a:cubicBezTo>
                  <a:pt x="16187" y="14066"/>
                  <a:pt x="16188" y="14065"/>
                  <a:pt x="16188" y="14063"/>
                </a:cubicBezTo>
                <a:cubicBezTo>
                  <a:pt x="16188" y="14019"/>
                  <a:pt x="16173" y="13989"/>
                  <a:pt x="16155" y="13971"/>
                </a:cubicBezTo>
                <a:cubicBezTo>
                  <a:pt x="16152" y="13965"/>
                  <a:pt x="16150" y="13955"/>
                  <a:pt x="16147" y="13951"/>
                </a:cubicBezTo>
                <a:cubicBezTo>
                  <a:pt x="16147" y="13942"/>
                  <a:pt x="16147" y="13929"/>
                  <a:pt x="16143" y="13918"/>
                </a:cubicBezTo>
                <a:cubicBezTo>
                  <a:pt x="16139" y="13902"/>
                  <a:pt x="16129" y="13898"/>
                  <a:pt x="16117" y="13892"/>
                </a:cubicBezTo>
                <a:cubicBezTo>
                  <a:pt x="16113" y="13891"/>
                  <a:pt x="16106" y="13888"/>
                  <a:pt x="16105" y="13888"/>
                </a:cubicBezTo>
                <a:cubicBezTo>
                  <a:pt x="16100" y="13876"/>
                  <a:pt x="16088" y="13807"/>
                  <a:pt x="16081" y="13754"/>
                </a:cubicBezTo>
                <a:cubicBezTo>
                  <a:pt x="16080" y="13750"/>
                  <a:pt x="16079" y="13749"/>
                  <a:pt x="16079" y="13746"/>
                </a:cubicBezTo>
                <a:cubicBezTo>
                  <a:pt x="16098" y="13728"/>
                  <a:pt x="16114" y="13697"/>
                  <a:pt x="16114" y="13652"/>
                </a:cubicBezTo>
                <a:cubicBezTo>
                  <a:pt x="16114" y="13591"/>
                  <a:pt x="16089" y="13542"/>
                  <a:pt x="16058" y="13542"/>
                </a:cubicBezTo>
                <a:cubicBezTo>
                  <a:pt x="16034" y="13542"/>
                  <a:pt x="16017" y="13577"/>
                  <a:pt x="16010" y="13621"/>
                </a:cubicBezTo>
                <a:cubicBezTo>
                  <a:pt x="16007" y="13617"/>
                  <a:pt x="16003" y="13614"/>
                  <a:pt x="16001" y="13609"/>
                </a:cubicBezTo>
                <a:lnTo>
                  <a:pt x="15994" y="13581"/>
                </a:lnTo>
                <a:cubicBezTo>
                  <a:pt x="15986" y="13547"/>
                  <a:pt x="15980" y="13522"/>
                  <a:pt x="15970" y="13483"/>
                </a:cubicBezTo>
                <a:cubicBezTo>
                  <a:pt x="15962" y="13448"/>
                  <a:pt x="15947" y="13437"/>
                  <a:pt x="15934" y="13433"/>
                </a:cubicBezTo>
                <a:lnTo>
                  <a:pt x="16008" y="13363"/>
                </a:lnTo>
                <a:close/>
                <a:moveTo>
                  <a:pt x="6302" y="13467"/>
                </a:moveTo>
                <a:cubicBezTo>
                  <a:pt x="6275" y="13467"/>
                  <a:pt x="6253" y="13512"/>
                  <a:pt x="6253" y="13566"/>
                </a:cubicBezTo>
                <a:cubicBezTo>
                  <a:pt x="6253" y="13620"/>
                  <a:pt x="6275" y="13664"/>
                  <a:pt x="6302" y="13664"/>
                </a:cubicBezTo>
                <a:cubicBezTo>
                  <a:pt x="6329" y="13664"/>
                  <a:pt x="6351" y="13620"/>
                  <a:pt x="6351" y="13566"/>
                </a:cubicBezTo>
                <a:cubicBezTo>
                  <a:pt x="6351" y="13512"/>
                  <a:pt x="6329" y="13467"/>
                  <a:pt x="6302" y="13467"/>
                </a:cubicBezTo>
                <a:close/>
                <a:moveTo>
                  <a:pt x="17079" y="13467"/>
                </a:moveTo>
                <a:cubicBezTo>
                  <a:pt x="17061" y="13467"/>
                  <a:pt x="17045" y="13498"/>
                  <a:pt x="17045" y="13536"/>
                </a:cubicBezTo>
                <a:cubicBezTo>
                  <a:pt x="17045" y="13574"/>
                  <a:pt x="17061" y="13603"/>
                  <a:pt x="17079" y="13603"/>
                </a:cubicBezTo>
                <a:cubicBezTo>
                  <a:pt x="17098" y="13603"/>
                  <a:pt x="17113" y="13574"/>
                  <a:pt x="17113" y="13536"/>
                </a:cubicBezTo>
                <a:cubicBezTo>
                  <a:pt x="17113" y="13498"/>
                  <a:pt x="17098" y="13467"/>
                  <a:pt x="17079" y="13467"/>
                </a:cubicBezTo>
                <a:close/>
                <a:moveTo>
                  <a:pt x="5800" y="13579"/>
                </a:moveTo>
                <a:cubicBezTo>
                  <a:pt x="5772" y="13579"/>
                  <a:pt x="5750" y="13623"/>
                  <a:pt x="5750" y="13678"/>
                </a:cubicBezTo>
                <a:cubicBezTo>
                  <a:pt x="5750" y="13732"/>
                  <a:pt x="5772" y="13776"/>
                  <a:pt x="5800" y="13776"/>
                </a:cubicBezTo>
                <a:cubicBezTo>
                  <a:pt x="5827" y="13776"/>
                  <a:pt x="5848" y="13732"/>
                  <a:pt x="5848" y="13678"/>
                </a:cubicBezTo>
                <a:cubicBezTo>
                  <a:pt x="5848" y="13623"/>
                  <a:pt x="5827" y="13579"/>
                  <a:pt x="5800" y="13579"/>
                </a:cubicBezTo>
                <a:close/>
                <a:moveTo>
                  <a:pt x="17817" y="13599"/>
                </a:moveTo>
                <a:cubicBezTo>
                  <a:pt x="17790" y="13626"/>
                  <a:pt x="17789" y="13685"/>
                  <a:pt x="17789" y="13711"/>
                </a:cubicBezTo>
                <a:cubicBezTo>
                  <a:pt x="17789" y="13728"/>
                  <a:pt x="17793" y="13736"/>
                  <a:pt x="17795" y="13749"/>
                </a:cubicBezTo>
                <a:cubicBezTo>
                  <a:pt x="17781" y="13767"/>
                  <a:pt x="17771" y="13793"/>
                  <a:pt x="17771" y="13827"/>
                </a:cubicBezTo>
                <a:cubicBezTo>
                  <a:pt x="17771" y="13874"/>
                  <a:pt x="17789" y="13907"/>
                  <a:pt x="17811" y="13917"/>
                </a:cubicBezTo>
                <a:cubicBezTo>
                  <a:pt x="17815" y="13955"/>
                  <a:pt x="17825" y="13996"/>
                  <a:pt x="17849" y="13996"/>
                </a:cubicBezTo>
                <a:cubicBezTo>
                  <a:pt x="17854" y="13996"/>
                  <a:pt x="17860" y="13990"/>
                  <a:pt x="17862" y="13980"/>
                </a:cubicBezTo>
                <a:cubicBezTo>
                  <a:pt x="17865" y="13970"/>
                  <a:pt x="17864" y="13958"/>
                  <a:pt x="17860" y="13948"/>
                </a:cubicBezTo>
                <a:cubicBezTo>
                  <a:pt x="17854" y="13931"/>
                  <a:pt x="17850" y="13917"/>
                  <a:pt x="17846" y="13904"/>
                </a:cubicBezTo>
                <a:cubicBezTo>
                  <a:pt x="17850" y="13899"/>
                  <a:pt x="17854" y="13896"/>
                  <a:pt x="17856" y="13889"/>
                </a:cubicBezTo>
                <a:cubicBezTo>
                  <a:pt x="17864" y="13887"/>
                  <a:pt x="17873" y="13886"/>
                  <a:pt x="17877" y="13884"/>
                </a:cubicBezTo>
                <a:cubicBezTo>
                  <a:pt x="17885" y="13881"/>
                  <a:pt x="17890" y="13867"/>
                  <a:pt x="17889" y="13852"/>
                </a:cubicBezTo>
                <a:cubicBezTo>
                  <a:pt x="17887" y="13824"/>
                  <a:pt x="17880" y="13808"/>
                  <a:pt x="17875" y="13797"/>
                </a:cubicBezTo>
                <a:cubicBezTo>
                  <a:pt x="17874" y="13796"/>
                  <a:pt x="17874" y="13795"/>
                  <a:pt x="17873" y="13793"/>
                </a:cubicBezTo>
                <a:cubicBezTo>
                  <a:pt x="17874" y="13792"/>
                  <a:pt x="17875" y="13790"/>
                  <a:pt x="17876" y="13789"/>
                </a:cubicBezTo>
                <a:cubicBezTo>
                  <a:pt x="17883" y="13780"/>
                  <a:pt x="17893" y="13765"/>
                  <a:pt x="17893" y="13736"/>
                </a:cubicBezTo>
                <a:cubicBezTo>
                  <a:pt x="17893" y="13722"/>
                  <a:pt x="17889" y="13710"/>
                  <a:pt x="17882" y="13707"/>
                </a:cubicBezTo>
                <a:cubicBezTo>
                  <a:pt x="17849" y="13692"/>
                  <a:pt x="17841" y="13665"/>
                  <a:pt x="17838" y="13622"/>
                </a:cubicBezTo>
                <a:cubicBezTo>
                  <a:pt x="17838" y="13612"/>
                  <a:pt x="17834" y="13603"/>
                  <a:pt x="17830" y="13599"/>
                </a:cubicBezTo>
                <a:cubicBezTo>
                  <a:pt x="17826" y="13594"/>
                  <a:pt x="17821" y="13594"/>
                  <a:pt x="17817" y="13599"/>
                </a:cubicBezTo>
                <a:close/>
                <a:moveTo>
                  <a:pt x="17635" y="13671"/>
                </a:moveTo>
                <a:cubicBezTo>
                  <a:pt x="17632" y="13671"/>
                  <a:pt x="17630" y="13672"/>
                  <a:pt x="17627" y="13676"/>
                </a:cubicBezTo>
                <a:lnTo>
                  <a:pt x="17622" y="13683"/>
                </a:lnTo>
                <a:cubicBezTo>
                  <a:pt x="17599" y="13713"/>
                  <a:pt x="17576" y="13744"/>
                  <a:pt x="17562" y="13769"/>
                </a:cubicBezTo>
                <a:lnTo>
                  <a:pt x="17552" y="13769"/>
                </a:lnTo>
                <a:lnTo>
                  <a:pt x="17405" y="13718"/>
                </a:lnTo>
                <a:cubicBezTo>
                  <a:pt x="17403" y="13717"/>
                  <a:pt x="17400" y="13717"/>
                  <a:pt x="17398" y="13718"/>
                </a:cubicBezTo>
                <a:cubicBezTo>
                  <a:pt x="17339" y="13725"/>
                  <a:pt x="17307" y="13862"/>
                  <a:pt x="17307" y="13989"/>
                </a:cubicBezTo>
                <a:cubicBezTo>
                  <a:pt x="17307" y="13994"/>
                  <a:pt x="17302" y="14005"/>
                  <a:pt x="17299" y="14010"/>
                </a:cubicBezTo>
                <a:cubicBezTo>
                  <a:pt x="17295" y="14021"/>
                  <a:pt x="17290" y="14033"/>
                  <a:pt x="17288" y="14045"/>
                </a:cubicBezTo>
                <a:cubicBezTo>
                  <a:pt x="17283" y="14080"/>
                  <a:pt x="17277" y="14106"/>
                  <a:pt x="17270" y="14133"/>
                </a:cubicBezTo>
                <a:cubicBezTo>
                  <a:pt x="17260" y="14177"/>
                  <a:pt x="17250" y="14219"/>
                  <a:pt x="17250" y="14283"/>
                </a:cubicBezTo>
                <a:cubicBezTo>
                  <a:pt x="17250" y="14320"/>
                  <a:pt x="17260" y="14338"/>
                  <a:pt x="17271" y="14349"/>
                </a:cubicBezTo>
                <a:cubicBezTo>
                  <a:pt x="17270" y="14354"/>
                  <a:pt x="17268" y="14359"/>
                  <a:pt x="17268" y="14365"/>
                </a:cubicBezTo>
                <a:cubicBezTo>
                  <a:pt x="17268" y="14386"/>
                  <a:pt x="17277" y="14403"/>
                  <a:pt x="17288" y="14403"/>
                </a:cubicBezTo>
                <a:cubicBezTo>
                  <a:pt x="17290" y="14403"/>
                  <a:pt x="17290" y="14400"/>
                  <a:pt x="17292" y="14400"/>
                </a:cubicBezTo>
                <a:lnTo>
                  <a:pt x="17292" y="14542"/>
                </a:lnTo>
                <a:cubicBezTo>
                  <a:pt x="17292" y="14585"/>
                  <a:pt x="17316" y="14627"/>
                  <a:pt x="17341" y="14627"/>
                </a:cubicBezTo>
                <a:cubicBezTo>
                  <a:pt x="17383" y="14627"/>
                  <a:pt x="17388" y="14430"/>
                  <a:pt x="17388" y="14428"/>
                </a:cubicBezTo>
                <a:cubicBezTo>
                  <a:pt x="17388" y="14394"/>
                  <a:pt x="17382" y="14367"/>
                  <a:pt x="17377" y="14345"/>
                </a:cubicBezTo>
                <a:cubicBezTo>
                  <a:pt x="17372" y="14325"/>
                  <a:pt x="17368" y="14309"/>
                  <a:pt x="17368" y="14288"/>
                </a:cubicBezTo>
                <a:cubicBezTo>
                  <a:pt x="17368" y="14278"/>
                  <a:pt x="17377" y="14268"/>
                  <a:pt x="17384" y="14267"/>
                </a:cubicBezTo>
                <a:lnTo>
                  <a:pt x="17379" y="14320"/>
                </a:lnTo>
                <a:cubicBezTo>
                  <a:pt x="17379" y="14322"/>
                  <a:pt x="17379" y="14323"/>
                  <a:pt x="17379" y="14325"/>
                </a:cubicBezTo>
                <a:cubicBezTo>
                  <a:pt x="17379" y="14364"/>
                  <a:pt x="17391" y="14390"/>
                  <a:pt x="17400" y="14411"/>
                </a:cubicBezTo>
                <a:cubicBezTo>
                  <a:pt x="17408" y="14430"/>
                  <a:pt x="17413" y="14441"/>
                  <a:pt x="17413" y="14457"/>
                </a:cubicBezTo>
                <a:cubicBezTo>
                  <a:pt x="17413" y="14462"/>
                  <a:pt x="17413" y="14468"/>
                  <a:pt x="17413" y="14473"/>
                </a:cubicBezTo>
                <a:cubicBezTo>
                  <a:pt x="17414" y="14478"/>
                  <a:pt x="17414" y="14484"/>
                  <a:pt x="17414" y="14486"/>
                </a:cubicBezTo>
                <a:cubicBezTo>
                  <a:pt x="17412" y="14495"/>
                  <a:pt x="17413" y="14505"/>
                  <a:pt x="17416" y="14513"/>
                </a:cubicBezTo>
                <a:cubicBezTo>
                  <a:pt x="17418" y="14520"/>
                  <a:pt x="17423" y="14525"/>
                  <a:pt x="17428" y="14525"/>
                </a:cubicBezTo>
                <a:lnTo>
                  <a:pt x="17455" y="14525"/>
                </a:lnTo>
                <a:cubicBezTo>
                  <a:pt x="17463" y="14525"/>
                  <a:pt x="17470" y="14512"/>
                  <a:pt x="17470" y="14495"/>
                </a:cubicBezTo>
                <a:cubicBezTo>
                  <a:pt x="17471" y="14490"/>
                  <a:pt x="17480" y="14482"/>
                  <a:pt x="17485" y="14478"/>
                </a:cubicBezTo>
                <a:cubicBezTo>
                  <a:pt x="17498" y="14466"/>
                  <a:pt x="17517" y="14449"/>
                  <a:pt x="17517" y="14407"/>
                </a:cubicBezTo>
                <a:cubicBezTo>
                  <a:pt x="17517" y="14393"/>
                  <a:pt x="17513" y="14381"/>
                  <a:pt x="17506" y="14377"/>
                </a:cubicBezTo>
                <a:cubicBezTo>
                  <a:pt x="17501" y="14373"/>
                  <a:pt x="17491" y="14348"/>
                  <a:pt x="17488" y="14334"/>
                </a:cubicBezTo>
                <a:cubicBezTo>
                  <a:pt x="17490" y="14330"/>
                  <a:pt x="17492" y="14324"/>
                  <a:pt x="17494" y="14317"/>
                </a:cubicBezTo>
                <a:cubicBezTo>
                  <a:pt x="17497" y="14302"/>
                  <a:pt x="17495" y="14286"/>
                  <a:pt x="17488" y="14278"/>
                </a:cubicBezTo>
                <a:cubicBezTo>
                  <a:pt x="17481" y="14267"/>
                  <a:pt x="17461" y="14196"/>
                  <a:pt x="17449" y="14151"/>
                </a:cubicBezTo>
                <a:cubicBezTo>
                  <a:pt x="17475" y="14141"/>
                  <a:pt x="17491" y="14111"/>
                  <a:pt x="17505" y="14085"/>
                </a:cubicBezTo>
                <a:lnTo>
                  <a:pt x="17507" y="14080"/>
                </a:lnTo>
                <a:cubicBezTo>
                  <a:pt x="17518" y="14059"/>
                  <a:pt x="17529" y="14041"/>
                  <a:pt x="17545" y="14031"/>
                </a:cubicBezTo>
                <a:cubicBezTo>
                  <a:pt x="17551" y="14027"/>
                  <a:pt x="17555" y="14015"/>
                  <a:pt x="17555" y="14002"/>
                </a:cubicBezTo>
                <a:lnTo>
                  <a:pt x="17555" y="13968"/>
                </a:lnTo>
                <a:cubicBezTo>
                  <a:pt x="17555" y="13954"/>
                  <a:pt x="17550" y="13941"/>
                  <a:pt x="17543" y="13939"/>
                </a:cubicBezTo>
                <a:cubicBezTo>
                  <a:pt x="17542" y="13939"/>
                  <a:pt x="17540" y="13938"/>
                  <a:pt x="17539" y="13938"/>
                </a:cubicBezTo>
                <a:cubicBezTo>
                  <a:pt x="17526" y="13938"/>
                  <a:pt x="17493" y="13957"/>
                  <a:pt x="17474" y="13968"/>
                </a:cubicBezTo>
                <a:cubicBezTo>
                  <a:pt x="17450" y="13982"/>
                  <a:pt x="17434" y="13993"/>
                  <a:pt x="17424" y="14001"/>
                </a:cubicBezTo>
                <a:cubicBezTo>
                  <a:pt x="17417" y="13995"/>
                  <a:pt x="17410" y="13998"/>
                  <a:pt x="17406" y="14009"/>
                </a:cubicBezTo>
                <a:cubicBezTo>
                  <a:pt x="17403" y="14016"/>
                  <a:pt x="17401" y="14022"/>
                  <a:pt x="17399" y="14028"/>
                </a:cubicBezTo>
                <a:cubicBezTo>
                  <a:pt x="17398" y="14032"/>
                  <a:pt x="17396" y="14039"/>
                  <a:pt x="17394" y="14041"/>
                </a:cubicBezTo>
                <a:cubicBezTo>
                  <a:pt x="17373" y="14041"/>
                  <a:pt x="17364" y="13970"/>
                  <a:pt x="17364" y="13926"/>
                </a:cubicBezTo>
                <a:cubicBezTo>
                  <a:pt x="17364" y="13906"/>
                  <a:pt x="17368" y="13897"/>
                  <a:pt x="17375" y="13892"/>
                </a:cubicBezTo>
                <a:cubicBezTo>
                  <a:pt x="17384" y="13912"/>
                  <a:pt x="17396" y="13925"/>
                  <a:pt x="17411" y="13925"/>
                </a:cubicBezTo>
                <a:cubicBezTo>
                  <a:pt x="17427" y="13925"/>
                  <a:pt x="17439" y="13907"/>
                  <a:pt x="17448" y="13883"/>
                </a:cubicBezTo>
                <a:cubicBezTo>
                  <a:pt x="17454" y="13882"/>
                  <a:pt x="17461" y="13880"/>
                  <a:pt x="17466" y="13878"/>
                </a:cubicBezTo>
                <a:cubicBezTo>
                  <a:pt x="17477" y="13875"/>
                  <a:pt x="17487" y="13871"/>
                  <a:pt x="17500" y="13871"/>
                </a:cubicBezTo>
                <a:cubicBezTo>
                  <a:pt x="17511" y="13871"/>
                  <a:pt x="17522" y="13878"/>
                  <a:pt x="17532" y="13884"/>
                </a:cubicBezTo>
                <a:cubicBezTo>
                  <a:pt x="17544" y="13892"/>
                  <a:pt x="17558" y="13901"/>
                  <a:pt x="17574" y="13901"/>
                </a:cubicBezTo>
                <a:cubicBezTo>
                  <a:pt x="17589" y="13901"/>
                  <a:pt x="17602" y="13891"/>
                  <a:pt x="17613" y="13877"/>
                </a:cubicBezTo>
                <a:cubicBezTo>
                  <a:pt x="17613" y="13877"/>
                  <a:pt x="17613" y="13878"/>
                  <a:pt x="17613" y="13878"/>
                </a:cubicBezTo>
                <a:cubicBezTo>
                  <a:pt x="17629" y="13878"/>
                  <a:pt x="17641" y="13853"/>
                  <a:pt x="17641" y="13821"/>
                </a:cubicBezTo>
                <a:cubicBezTo>
                  <a:pt x="17641" y="13815"/>
                  <a:pt x="17639" y="13811"/>
                  <a:pt x="17638" y="13805"/>
                </a:cubicBezTo>
                <a:cubicBezTo>
                  <a:pt x="17642" y="13788"/>
                  <a:pt x="17648" y="13777"/>
                  <a:pt x="17651" y="13755"/>
                </a:cubicBezTo>
                <a:cubicBezTo>
                  <a:pt x="17657" y="13744"/>
                  <a:pt x="17660" y="13725"/>
                  <a:pt x="17662" y="13715"/>
                </a:cubicBezTo>
                <a:lnTo>
                  <a:pt x="17663" y="13709"/>
                </a:lnTo>
                <a:cubicBezTo>
                  <a:pt x="17664" y="13700"/>
                  <a:pt x="17663" y="13690"/>
                  <a:pt x="17660" y="13683"/>
                </a:cubicBezTo>
                <a:cubicBezTo>
                  <a:pt x="17658" y="13675"/>
                  <a:pt x="17653" y="13671"/>
                  <a:pt x="17648" y="13671"/>
                </a:cubicBezTo>
                <a:lnTo>
                  <a:pt x="17635" y="13671"/>
                </a:lnTo>
                <a:close/>
                <a:moveTo>
                  <a:pt x="17095" y="13691"/>
                </a:moveTo>
                <a:cubicBezTo>
                  <a:pt x="17067" y="13691"/>
                  <a:pt x="17045" y="13735"/>
                  <a:pt x="17045" y="13790"/>
                </a:cubicBezTo>
                <a:cubicBezTo>
                  <a:pt x="17045" y="13844"/>
                  <a:pt x="17067" y="13888"/>
                  <a:pt x="17095" y="13888"/>
                </a:cubicBezTo>
                <a:cubicBezTo>
                  <a:pt x="17122" y="13888"/>
                  <a:pt x="17143" y="13844"/>
                  <a:pt x="17143" y="13790"/>
                </a:cubicBezTo>
                <a:cubicBezTo>
                  <a:pt x="17143" y="13735"/>
                  <a:pt x="17122" y="13691"/>
                  <a:pt x="17095" y="13691"/>
                </a:cubicBezTo>
                <a:close/>
                <a:moveTo>
                  <a:pt x="17819" y="13695"/>
                </a:moveTo>
                <a:cubicBezTo>
                  <a:pt x="17826" y="13719"/>
                  <a:pt x="17838" y="13737"/>
                  <a:pt x="17852" y="13750"/>
                </a:cubicBezTo>
                <a:cubicBezTo>
                  <a:pt x="17852" y="13751"/>
                  <a:pt x="17852" y="13754"/>
                  <a:pt x="17851" y="13755"/>
                </a:cubicBezTo>
                <a:cubicBezTo>
                  <a:pt x="17843" y="13741"/>
                  <a:pt x="17834" y="13730"/>
                  <a:pt x="17822" y="13729"/>
                </a:cubicBezTo>
                <a:cubicBezTo>
                  <a:pt x="17821" y="13723"/>
                  <a:pt x="17819" y="13718"/>
                  <a:pt x="17819" y="13711"/>
                </a:cubicBezTo>
                <a:cubicBezTo>
                  <a:pt x="17819" y="13705"/>
                  <a:pt x="17819" y="13700"/>
                  <a:pt x="17819" y="13695"/>
                </a:cubicBezTo>
                <a:close/>
                <a:moveTo>
                  <a:pt x="16004" y="13747"/>
                </a:moveTo>
                <a:lnTo>
                  <a:pt x="15994" y="13755"/>
                </a:lnTo>
                <a:cubicBezTo>
                  <a:pt x="15987" y="13760"/>
                  <a:pt x="15983" y="13775"/>
                  <a:pt x="15985" y="13789"/>
                </a:cubicBezTo>
                <a:cubicBezTo>
                  <a:pt x="15985" y="13795"/>
                  <a:pt x="15987" y="13802"/>
                  <a:pt x="15989" y="13806"/>
                </a:cubicBezTo>
                <a:cubicBezTo>
                  <a:pt x="15998" y="13845"/>
                  <a:pt x="16023" y="13906"/>
                  <a:pt x="16039" y="13906"/>
                </a:cubicBezTo>
                <a:cubicBezTo>
                  <a:pt x="16048" y="13906"/>
                  <a:pt x="16056" y="13896"/>
                  <a:pt x="16058" y="13880"/>
                </a:cubicBezTo>
                <a:cubicBezTo>
                  <a:pt x="16065" y="13836"/>
                  <a:pt x="16026" y="13761"/>
                  <a:pt x="16018" y="13750"/>
                </a:cubicBezTo>
                <a:cubicBezTo>
                  <a:pt x="16014" y="13745"/>
                  <a:pt x="16009" y="13743"/>
                  <a:pt x="16004" y="13747"/>
                </a:cubicBezTo>
                <a:close/>
                <a:moveTo>
                  <a:pt x="17620" y="13757"/>
                </a:moveTo>
                <a:cubicBezTo>
                  <a:pt x="17619" y="13763"/>
                  <a:pt x="17618" y="13763"/>
                  <a:pt x="17617" y="13768"/>
                </a:cubicBezTo>
                <a:cubicBezTo>
                  <a:pt x="17616" y="13767"/>
                  <a:pt x="17615" y="13765"/>
                  <a:pt x="17614" y="13765"/>
                </a:cubicBezTo>
                <a:cubicBezTo>
                  <a:pt x="17616" y="13762"/>
                  <a:pt x="17617" y="13760"/>
                  <a:pt x="17620" y="13757"/>
                </a:cubicBezTo>
                <a:close/>
                <a:moveTo>
                  <a:pt x="17453" y="13795"/>
                </a:moveTo>
                <a:cubicBezTo>
                  <a:pt x="17474" y="13802"/>
                  <a:pt x="17500" y="13811"/>
                  <a:pt x="17500" y="13811"/>
                </a:cubicBezTo>
                <a:cubicBezTo>
                  <a:pt x="17484" y="13811"/>
                  <a:pt x="17473" y="13815"/>
                  <a:pt x="17461" y="13819"/>
                </a:cubicBezTo>
                <a:cubicBezTo>
                  <a:pt x="17460" y="13819"/>
                  <a:pt x="17459" y="13820"/>
                  <a:pt x="17458" y="13820"/>
                </a:cubicBezTo>
                <a:cubicBezTo>
                  <a:pt x="17458" y="13810"/>
                  <a:pt x="17455" y="13803"/>
                  <a:pt x="17453" y="13795"/>
                </a:cubicBezTo>
                <a:close/>
                <a:moveTo>
                  <a:pt x="17588" y="13804"/>
                </a:moveTo>
                <a:cubicBezTo>
                  <a:pt x="17587" y="13810"/>
                  <a:pt x="17585" y="13814"/>
                  <a:pt x="17585" y="13821"/>
                </a:cubicBezTo>
                <a:cubicBezTo>
                  <a:pt x="17585" y="13826"/>
                  <a:pt x="17587" y="13829"/>
                  <a:pt x="17587" y="13833"/>
                </a:cubicBezTo>
                <a:cubicBezTo>
                  <a:pt x="17583" y="13835"/>
                  <a:pt x="17578" y="13840"/>
                  <a:pt x="17574" y="13840"/>
                </a:cubicBezTo>
                <a:cubicBezTo>
                  <a:pt x="17563" y="13840"/>
                  <a:pt x="17552" y="13834"/>
                  <a:pt x="17541" y="13827"/>
                </a:cubicBezTo>
                <a:cubicBezTo>
                  <a:pt x="17539" y="13826"/>
                  <a:pt x="17538" y="13825"/>
                  <a:pt x="17536" y="13824"/>
                </a:cubicBezTo>
                <a:cubicBezTo>
                  <a:pt x="17536" y="13824"/>
                  <a:pt x="17548" y="13828"/>
                  <a:pt x="17548" y="13828"/>
                </a:cubicBezTo>
                <a:cubicBezTo>
                  <a:pt x="17549" y="13829"/>
                  <a:pt x="17550" y="13828"/>
                  <a:pt x="17550" y="13828"/>
                </a:cubicBezTo>
                <a:lnTo>
                  <a:pt x="17568" y="13828"/>
                </a:lnTo>
                <a:cubicBezTo>
                  <a:pt x="17572" y="13828"/>
                  <a:pt x="17576" y="13825"/>
                  <a:pt x="17578" y="13819"/>
                </a:cubicBezTo>
                <a:cubicBezTo>
                  <a:pt x="17580" y="13815"/>
                  <a:pt x="17586" y="13808"/>
                  <a:pt x="17588" y="13804"/>
                </a:cubicBezTo>
                <a:close/>
                <a:moveTo>
                  <a:pt x="17362" y="13827"/>
                </a:moveTo>
                <a:cubicBezTo>
                  <a:pt x="17362" y="13831"/>
                  <a:pt x="17363" y="13833"/>
                  <a:pt x="17363" y="13837"/>
                </a:cubicBezTo>
                <a:cubicBezTo>
                  <a:pt x="17361" y="13838"/>
                  <a:pt x="17359" y="13836"/>
                  <a:pt x="17356" y="13839"/>
                </a:cubicBezTo>
                <a:cubicBezTo>
                  <a:pt x="17358" y="13834"/>
                  <a:pt x="17360" y="13831"/>
                  <a:pt x="17362" y="13827"/>
                </a:cubicBezTo>
                <a:close/>
                <a:moveTo>
                  <a:pt x="18098" y="13932"/>
                </a:moveTo>
                <a:cubicBezTo>
                  <a:pt x="18072" y="13932"/>
                  <a:pt x="18055" y="13959"/>
                  <a:pt x="18042" y="13980"/>
                </a:cubicBezTo>
                <a:cubicBezTo>
                  <a:pt x="18032" y="13995"/>
                  <a:pt x="18026" y="14003"/>
                  <a:pt x="18020" y="14003"/>
                </a:cubicBezTo>
                <a:cubicBezTo>
                  <a:pt x="17998" y="14003"/>
                  <a:pt x="17976" y="14028"/>
                  <a:pt x="17976" y="14072"/>
                </a:cubicBezTo>
                <a:cubicBezTo>
                  <a:pt x="17976" y="14126"/>
                  <a:pt x="17999" y="14139"/>
                  <a:pt x="18015" y="14148"/>
                </a:cubicBezTo>
                <a:cubicBezTo>
                  <a:pt x="18029" y="14156"/>
                  <a:pt x="18038" y="14162"/>
                  <a:pt x="18042" y="14177"/>
                </a:cubicBezTo>
                <a:cubicBezTo>
                  <a:pt x="18048" y="14207"/>
                  <a:pt x="18055" y="14226"/>
                  <a:pt x="18066" y="14233"/>
                </a:cubicBezTo>
                <a:cubicBezTo>
                  <a:pt x="18068" y="14234"/>
                  <a:pt x="18070" y="14234"/>
                  <a:pt x="18072" y="14235"/>
                </a:cubicBezTo>
                <a:cubicBezTo>
                  <a:pt x="18067" y="14238"/>
                  <a:pt x="18063" y="14241"/>
                  <a:pt x="18060" y="14245"/>
                </a:cubicBezTo>
                <a:cubicBezTo>
                  <a:pt x="18054" y="14251"/>
                  <a:pt x="18051" y="14266"/>
                  <a:pt x="18052" y="14279"/>
                </a:cubicBezTo>
                <a:cubicBezTo>
                  <a:pt x="18057" y="14314"/>
                  <a:pt x="18071" y="14321"/>
                  <a:pt x="18080" y="14326"/>
                </a:cubicBezTo>
                <a:cubicBezTo>
                  <a:pt x="18087" y="14330"/>
                  <a:pt x="18090" y="14332"/>
                  <a:pt x="18092" y="14338"/>
                </a:cubicBezTo>
                <a:cubicBezTo>
                  <a:pt x="18095" y="14348"/>
                  <a:pt x="18095" y="14354"/>
                  <a:pt x="18095" y="14366"/>
                </a:cubicBezTo>
                <a:cubicBezTo>
                  <a:pt x="18095" y="14381"/>
                  <a:pt x="18095" y="14401"/>
                  <a:pt x="18102" y="14428"/>
                </a:cubicBezTo>
                <a:cubicBezTo>
                  <a:pt x="18108" y="14458"/>
                  <a:pt x="18127" y="14459"/>
                  <a:pt x="18137" y="14459"/>
                </a:cubicBezTo>
                <a:cubicBezTo>
                  <a:pt x="18151" y="14459"/>
                  <a:pt x="18161" y="14442"/>
                  <a:pt x="18169" y="14421"/>
                </a:cubicBezTo>
                <a:cubicBezTo>
                  <a:pt x="18170" y="14420"/>
                  <a:pt x="18171" y="14420"/>
                  <a:pt x="18173" y="14419"/>
                </a:cubicBezTo>
                <a:cubicBezTo>
                  <a:pt x="18174" y="14418"/>
                  <a:pt x="18176" y="14418"/>
                  <a:pt x="18177" y="14418"/>
                </a:cubicBezTo>
                <a:cubicBezTo>
                  <a:pt x="18184" y="14418"/>
                  <a:pt x="18192" y="14435"/>
                  <a:pt x="18200" y="14453"/>
                </a:cubicBezTo>
                <a:cubicBezTo>
                  <a:pt x="18201" y="14455"/>
                  <a:pt x="18202" y="14457"/>
                  <a:pt x="18203" y="14459"/>
                </a:cubicBezTo>
                <a:cubicBezTo>
                  <a:pt x="18205" y="14464"/>
                  <a:pt x="18206" y="14467"/>
                  <a:pt x="18209" y="14470"/>
                </a:cubicBezTo>
                <a:cubicBezTo>
                  <a:pt x="18219" y="14490"/>
                  <a:pt x="18230" y="14510"/>
                  <a:pt x="18247" y="14510"/>
                </a:cubicBezTo>
                <a:cubicBezTo>
                  <a:pt x="18273" y="14510"/>
                  <a:pt x="18312" y="14527"/>
                  <a:pt x="18337" y="14543"/>
                </a:cubicBezTo>
                <a:cubicBezTo>
                  <a:pt x="18341" y="14548"/>
                  <a:pt x="18344" y="14552"/>
                  <a:pt x="18349" y="14552"/>
                </a:cubicBezTo>
                <a:cubicBezTo>
                  <a:pt x="18351" y="14552"/>
                  <a:pt x="18352" y="14550"/>
                  <a:pt x="18354" y="14549"/>
                </a:cubicBezTo>
                <a:cubicBezTo>
                  <a:pt x="18354" y="14549"/>
                  <a:pt x="18354" y="14549"/>
                  <a:pt x="18355" y="14549"/>
                </a:cubicBezTo>
                <a:cubicBezTo>
                  <a:pt x="18358" y="14553"/>
                  <a:pt x="18363" y="14558"/>
                  <a:pt x="18369" y="14563"/>
                </a:cubicBezTo>
                <a:cubicBezTo>
                  <a:pt x="18387" y="14580"/>
                  <a:pt x="18431" y="14621"/>
                  <a:pt x="18436" y="14651"/>
                </a:cubicBezTo>
                <a:cubicBezTo>
                  <a:pt x="18439" y="14670"/>
                  <a:pt x="18440" y="14689"/>
                  <a:pt x="18441" y="14710"/>
                </a:cubicBezTo>
                <a:cubicBezTo>
                  <a:pt x="18441" y="14717"/>
                  <a:pt x="18443" y="14725"/>
                  <a:pt x="18444" y="14732"/>
                </a:cubicBezTo>
                <a:cubicBezTo>
                  <a:pt x="18431" y="14755"/>
                  <a:pt x="18422" y="14788"/>
                  <a:pt x="18422" y="14825"/>
                </a:cubicBezTo>
                <a:cubicBezTo>
                  <a:pt x="18422" y="14834"/>
                  <a:pt x="18424" y="14841"/>
                  <a:pt x="18424" y="14850"/>
                </a:cubicBezTo>
                <a:cubicBezTo>
                  <a:pt x="18416" y="14865"/>
                  <a:pt x="18410" y="14884"/>
                  <a:pt x="18410" y="14909"/>
                </a:cubicBezTo>
                <a:cubicBezTo>
                  <a:pt x="18410" y="14920"/>
                  <a:pt x="18411" y="14930"/>
                  <a:pt x="18414" y="14939"/>
                </a:cubicBezTo>
                <a:cubicBezTo>
                  <a:pt x="18414" y="14940"/>
                  <a:pt x="18415" y="14940"/>
                  <a:pt x="18415" y="14940"/>
                </a:cubicBezTo>
                <a:cubicBezTo>
                  <a:pt x="18415" y="14941"/>
                  <a:pt x="18415" y="14941"/>
                  <a:pt x="18415" y="14942"/>
                </a:cubicBezTo>
                <a:cubicBezTo>
                  <a:pt x="18415" y="14942"/>
                  <a:pt x="18415" y="14941"/>
                  <a:pt x="18415" y="14942"/>
                </a:cubicBezTo>
                <a:cubicBezTo>
                  <a:pt x="18416" y="14943"/>
                  <a:pt x="18416" y="14945"/>
                  <a:pt x="18416" y="14946"/>
                </a:cubicBezTo>
                <a:cubicBezTo>
                  <a:pt x="18417" y="14947"/>
                  <a:pt x="18417" y="14948"/>
                  <a:pt x="18418" y="14949"/>
                </a:cubicBezTo>
                <a:cubicBezTo>
                  <a:pt x="18418" y="14950"/>
                  <a:pt x="18418" y="14951"/>
                  <a:pt x="18419" y="14952"/>
                </a:cubicBezTo>
                <a:cubicBezTo>
                  <a:pt x="18419" y="14952"/>
                  <a:pt x="18419" y="14952"/>
                  <a:pt x="18419" y="14952"/>
                </a:cubicBezTo>
                <a:cubicBezTo>
                  <a:pt x="18430" y="14973"/>
                  <a:pt x="18447" y="14973"/>
                  <a:pt x="18459" y="14973"/>
                </a:cubicBezTo>
                <a:lnTo>
                  <a:pt x="18504" y="14973"/>
                </a:lnTo>
                <a:cubicBezTo>
                  <a:pt x="18510" y="14973"/>
                  <a:pt x="18516" y="14965"/>
                  <a:pt x="18518" y="14953"/>
                </a:cubicBezTo>
                <a:cubicBezTo>
                  <a:pt x="18521" y="14951"/>
                  <a:pt x="18529" y="14947"/>
                  <a:pt x="18536" y="14947"/>
                </a:cubicBezTo>
                <a:cubicBezTo>
                  <a:pt x="18557" y="14947"/>
                  <a:pt x="18571" y="14975"/>
                  <a:pt x="18587" y="15006"/>
                </a:cubicBezTo>
                <a:cubicBezTo>
                  <a:pt x="18606" y="15041"/>
                  <a:pt x="18627" y="15079"/>
                  <a:pt x="18661" y="15079"/>
                </a:cubicBezTo>
                <a:lnTo>
                  <a:pt x="18741" y="15079"/>
                </a:lnTo>
                <a:cubicBezTo>
                  <a:pt x="18749" y="15079"/>
                  <a:pt x="18756" y="15067"/>
                  <a:pt x="18756" y="15050"/>
                </a:cubicBezTo>
                <a:cubicBezTo>
                  <a:pt x="18756" y="15047"/>
                  <a:pt x="18758" y="15040"/>
                  <a:pt x="18759" y="15034"/>
                </a:cubicBezTo>
                <a:cubicBezTo>
                  <a:pt x="18763" y="15022"/>
                  <a:pt x="18765" y="15002"/>
                  <a:pt x="18766" y="14981"/>
                </a:cubicBezTo>
                <a:cubicBezTo>
                  <a:pt x="18787" y="14967"/>
                  <a:pt x="18803" y="14929"/>
                  <a:pt x="18807" y="14883"/>
                </a:cubicBezTo>
                <a:cubicBezTo>
                  <a:pt x="18812" y="14877"/>
                  <a:pt x="18819" y="14872"/>
                  <a:pt x="18830" y="14872"/>
                </a:cubicBezTo>
                <a:cubicBezTo>
                  <a:pt x="18881" y="14872"/>
                  <a:pt x="18912" y="14941"/>
                  <a:pt x="18946" y="15015"/>
                </a:cubicBezTo>
                <a:cubicBezTo>
                  <a:pt x="18954" y="15033"/>
                  <a:pt x="18962" y="15050"/>
                  <a:pt x="18970" y="15066"/>
                </a:cubicBezTo>
                <a:cubicBezTo>
                  <a:pt x="18973" y="15073"/>
                  <a:pt x="18977" y="15076"/>
                  <a:pt x="18982" y="15080"/>
                </a:cubicBezTo>
                <a:cubicBezTo>
                  <a:pt x="18983" y="15082"/>
                  <a:pt x="18985" y="15085"/>
                  <a:pt x="18987" y="15087"/>
                </a:cubicBezTo>
                <a:cubicBezTo>
                  <a:pt x="18991" y="15155"/>
                  <a:pt x="19046" y="15199"/>
                  <a:pt x="19076" y="15212"/>
                </a:cubicBezTo>
                <a:cubicBezTo>
                  <a:pt x="19076" y="15212"/>
                  <a:pt x="19077" y="15212"/>
                  <a:pt x="19077" y="15212"/>
                </a:cubicBezTo>
                <a:cubicBezTo>
                  <a:pt x="19090" y="15239"/>
                  <a:pt x="19108" y="15255"/>
                  <a:pt x="19129" y="15255"/>
                </a:cubicBezTo>
                <a:cubicBezTo>
                  <a:pt x="19139" y="15255"/>
                  <a:pt x="19148" y="15251"/>
                  <a:pt x="19157" y="15244"/>
                </a:cubicBezTo>
                <a:cubicBezTo>
                  <a:pt x="19165" y="15253"/>
                  <a:pt x="19174" y="15267"/>
                  <a:pt x="19178" y="15267"/>
                </a:cubicBezTo>
                <a:lnTo>
                  <a:pt x="19190" y="15267"/>
                </a:lnTo>
                <a:cubicBezTo>
                  <a:pt x="19199" y="15267"/>
                  <a:pt x="19205" y="15253"/>
                  <a:pt x="19205" y="15237"/>
                </a:cubicBezTo>
                <a:cubicBezTo>
                  <a:pt x="19205" y="15221"/>
                  <a:pt x="19220" y="15202"/>
                  <a:pt x="19226" y="15193"/>
                </a:cubicBezTo>
                <a:cubicBezTo>
                  <a:pt x="19231" y="15187"/>
                  <a:pt x="19233" y="15176"/>
                  <a:pt x="19233" y="15164"/>
                </a:cubicBezTo>
                <a:cubicBezTo>
                  <a:pt x="19232" y="15153"/>
                  <a:pt x="19228" y="15144"/>
                  <a:pt x="19223" y="15140"/>
                </a:cubicBezTo>
                <a:cubicBezTo>
                  <a:pt x="19219" y="15137"/>
                  <a:pt x="19214" y="15138"/>
                  <a:pt x="19207" y="15137"/>
                </a:cubicBezTo>
                <a:cubicBezTo>
                  <a:pt x="19205" y="15137"/>
                  <a:pt x="19202" y="15137"/>
                  <a:pt x="19200" y="15136"/>
                </a:cubicBezTo>
                <a:cubicBezTo>
                  <a:pt x="19201" y="15127"/>
                  <a:pt x="19203" y="15118"/>
                  <a:pt x="19203" y="15107"/>
                </a:cubicBezTo>
                <a:cubicBezTo>
                  <a:pt x="19203" y="15025"/>
                  <a:pt x="19169" y="14959"/>
                  <a:pt x="19129" y="14959"/>
                </a:cubicBezTo>
                <a:cubicBezTo>
                  <a:pt x="19112" y="14959"/>
                  <a:pt x="19097" y="14973"/>
                  <a:pt x="19084" y="14992"/>
                </a:cubicBezTo>
                <a:cubicBezTo>
                  <a:pt x="19083" y="14989"/>
                  <a:pt x="19079" y="14988"/>
                  <a:pt x="19078" y="14986"/>
                </a:cubicBezTo>
                <a:cubicBezTo>
                  <a:pt x="19072" y="14967"/>
                  <a:pt x="19069" y="14952"/>
                  <a:pt x="19066" y="14936"/>
                </a:cubicBezTo>
                <a:cubicBezTo>
                  <a:pt x="19061" y="14912"/>
                  <a:pt x="19057" y="14887"/>
                  <a:pt x="19043" y="14859"/>
                </a:cubicBezTo>
                <a:lnTo>
                  <a:pt x="19041" y="14855"/>
                </a:lnTo>
                <a:cubicBezTo>
                  <a:pt x="19020" y="14812"/>
                  <a:pt x="19011" y="14791"/>
                  <a:pt x="19008" y="14781"/>
                </a:cubicBezTo>
                <a:cubicBezTo>
                  <a:pt x="19010" y="14779"/>
                  <a:pt x="19012" y="14777"/>
                  <a:pt x="19014" y="14776"/>
                </a:cubicBezTo>
                <a:cubicBezTo>
                  <a:pt x="19025" y="14769"/>
                  <a:pt x="19047" y="14756"/>
                  <a:pt x="19047" y="14710"/>
                </a:cubicBezTo>
                <a:cubicBezTo>
                  <a:pt x="19047" y="14619"/>
                  <a:pt x="19011" y="14618"/>
                  <a:pt x="18999" y="14618"/>
                </a:cubicBezTo>
                <a:cubicBezTo>
                  <a:pt x="18998" y="14618"/>
                  <a:pt x="18998" y="14617"/>
                  <a:pt x="18997" y="14618"/>
                </a:cubicBezTo>
                <a:lnTo>
                  <a:pt x="18988" y="14618"/>
                </a:lnTo>
                <a:cubicBezTo>
                  <a:pt x="18984" y="14618"/>
                  <a:pt x="18980" y="14617"/>
                  <a:pt x="18977" y="14616"/>
                </a:cubicBezTo>
                <a:cubicBezTo>
                  <a:pt x="18977" y="14616"/>
                  <a:pt x="18976" y="14616"/>
                  <a:pt x="18976" y="14616"/>
                </a:cubicBezTo>
                <a:cubicBezTo>
                  <a:pt x="18975" y="14616"/>
                  <a:pt x="18974" y="14616"/>
                  <a:pt x="18973" y="14615"/>
                </a:cubicBezTo>
                <a:cubicBezTo>
                  <a:pt x="18973" y="14579"/>
                  <a:pt x="18959" y="14549"/>
                  <a:pt x="18940" y="14549"/>
                </a:cubicBezTo>
                <a:cubicBezTo>
                  <a:pt x="18939" y="14549"/>
                  <a:pt x="18939" y="14550"/>
                  <a:pt x="18938" y="14550"/>
                </a:cubicBezTo>
                <a:cubicBezTo>
                  <a:pt x="18936" y="14544"/>
                  <a:pt x="18933" y="14538"/>
                  <a:pt x="18931" y="14531"/>
                </a:cubicBezTo>
                <a:cubicBezTo>
                  <a:pt x="18915" y="14484"/>
                  <a:pt x="18896" y="14432"/>
                  <a:pt x="18852" y="14404"/>
                </a:cubicBezTo>
                <a:lnTo>
                  <a:pt x="18850" y="14403"/>
                </a:lnTo>
                <a:cubicBezTo>
                  <a:pt x="18836" y="14398"/>
                  <a:pt x="18836" y="14394"/>
                  <a:pt x="18836" y="14390"/>
                </a:cubicBezTo>
                <a:cubicBezTo>
                  <a:pt x="18836" y="14374"/>
                  <a:pt x="18830" y="14361"/>
                  <a:pt x="18822" y="14361"/>
                </a:cubicBezTo>
                <a:cubicBezTo>
                  <a:pt x="18817" y="14361"/>
                  <a:pt x="18811" y="14353"/>
                  <a:pt x="18805" y="14345"/>
                </a:cubicBezTo>
                <a:cubicBezTo>
                  <a:pt x="18798" y="14291"/>
                  <a:pt x="18775" y="14250"/>
                  <a:pt x="18746" y="14250"/>
                </a:cubicBezTo>
                <a:cubicBezTo>
                  <a:pt x="18730" y="14250"/>
                  <a:pt x="18716" y="14263"/>
                  <a:pt x="18705" y="14283"/>
                </a:cubicBezTo>
                <a:cubicBezTo>
                  <a:pt x="18675" y="14268"/>
                  <a:pt x="18646" y="14247"/>
                  <a:pt x="18627" y="14224"/>
                </a:cubicBezTo>
                <a:cubicBezTo>
                  <a:pt x="18626" y="14216"/>
                  <a:pt x="18622" y="14211"/>
                  <a:pt x="18618" y="14208"/>
                </a:cubicBezTo>
                <a:lnTo>
                  <a:pt x="18616" y="14207"/>
                </a:lnTo>
                <a:cubicBezTo>
                  <a:pt x="18615" y="14206"/>
                  <a:pt x="18615" y="14205"/>
                  <a:pt x="18614" y="14204"/>
                </a:cubicBezTo>
                <a:cubicBezTo>
                  <a:pt x="18610" y="14195"/>
                  <a:pt x="18604" y="14193"/>
                  <a:pt x="18598" y="14197"/>
                </a:cubicBezTo>
                <a:cubicBezTo>
                  <a:pt x="18591" y="14191"/>
                  <a:pt x="18585" y="14184"/>
                  <a:pt x="18582" y="14178"/>
                </a:cubicBezTo>
                <a:cubicBezTo>
                  <a:pt x="18579" y="14172"/>
                  <a:pt x="18576" y="14170"/>
                  <a:pt x="18572" y="14170"/>
                </a:cubicBezTo>
                <a:lnTo>
                  <a:pt x="18518" y="14170"/>
                </a:lnTo>
                <a:cubicBezTo>
                  <a:pt x="18515" y="14166"/>
                  <a:pt x="18512" y="14158"/>
                  <a:pt x="18508" y="14151"/>
                </a:cubicBezTo>
                <a:cubicBezTo>
                  <a:pt x="18497" y="14131"/>
                  <a:pt x="18483" y="14103"/>
                  <a:pt x="18464" y="14091"/>
                </a:cubicBezTo>
                <a:cubicBezTo>
                  <a:pt x="18461" y="14088"/>
                  <a:pt x="18457" y="14087"/>
                  <a:pt x="18453" y="14086"/>
                </a:cubicBezTo>
                <a:cubicBezTo>
                  <a:pt x="18451" y="14086"/>
                  <a:pt x="18449" y="14086"/>
                  <a:pt x="18447" y="14085"/>
                </a:cubicBezTo>
                <a:cubicBezTo>
                  <a:pt x="18444" y="14073"/>
                  <a:pt x="18438" y="14065"/>
                  <a:pt x="18431" y="14067"/>
                </a:cubicBezTo>
                <a:cubicBezTo>
                  <a:pt x="18413" y="14074"/>
                  <a:pt x="18396" y="14105"/>
                  <a:pt x="18381" y="14131"/>
                </a:cubicBezTo>
                <a:cubicBezTo>
                  <a:pt x="18373" y="14146"/>
                  <a:pt x="18364" y="14163"/>
                  <a:pt x="18359" y="14166"/>
                </a:cubicBezTo>
                <a:cubicBezTo>
                  <a:pt x="18331" y="14183"/>
                  <a:pt x="18322" y="14192"/>
                  <a:pt x="18306" y="14224"/>
                </a:cubicBezTo>
                <a:cubicBezTo>
                  <a:pt x="18302" y="14217"/>
                  <a:pt x="18298" y="14213"/>
                  <a:pt x="18293" y="14213"/>
                </a:cubicBezTo>
                <a:cubicBezTo>
                  <a:pt x="18282" y="14213"/>
                  <a:pt x="18273" y="14231"/>
                  <a:pt x="18273" y="14253"/>
                </a:cubicBezTo>
                <a:cubicBezTo>
                  <a:pt x="18273" y="14264"/>
                  <a:pt x="18276" y="14274"/>
                  <a:pt x="18280" y="14281"/>
                </a:cubicBezTo>
                <a:cubicBezTo>
                  <a:pt x="18279" y="14282"/>
                  <a:pt x="18276" y="14290"/>
                  <a:pt x="18275" y="14291"/>
                </a:cubicBezTo>
                <a:cubicBezTo>
                  <a:pt x="18267" y="14284"/>
                  <a:pt x="18250" y="14247"/>
                  <a:pt x="18247" y="14233"/>
                </a:cubicBezTo>
                <a:cubicBezTo>
                  <a:pt x="18246" y="14218"/>
                  <a:pt x="18240" y="14207"/>
                  <a:pt x="18232" y="14207"/>
                </a:cubicBezTo>
                <a:cubicBezTo>
                  <a:pt x="18221" y="14207"/>
                  <a:pt x="18217" y="14200"/>
                  <a:pt x="18216" y="14199"/>
                </a:cubicBezTo>
                <a:cubicBezTo>
                  <a:pt x="18215" y="14198"/>
                  <a:pt x="18215" y="14197"/>
                  <a:pt x="18215" y="14196"/>
                </a:cubicBezTo>
                <a:lnTo>
                  <a:pt x="18215" y="14046"/>
                </a:lnTo>
                <a:cubicBezTo>
                  <a:pt x="18215" y="14032"/>
                  <a:pt x="18210" y="14020"/>
                  <a:pt x="18204" y="14017"/>
                </a:cubicBezTo>
                <a:cubicBezTo>
                  <a:pt x="18189" y="14011"/>
                  <a:pt x="18175" y="13994"/>
                  <a:pt x="18161" y="13978"/>
                </a:cubicBezTo>
                <a:cubicBezTo>
                  <a:pt x="18142" y="13955"/>
                  <a:pt x="18122" y="13932"/>
                  <a:pt x="18098" y="13932"/>
                </a:cubicBezTo>
                <a:close/>
                <a:moveTo>
                  <a:pt x="7119" y="13979"/>
                </a:moveTo>
                <a:cubicBezTo>
                  <a:pt x="7121" y="13979"/>
                  <a:pt x="7123" y="13980"/>
                  <a:pt x="7124" y="13980"/>
                </a:cubicBezTo>
                <a:cubicBezTo>
                  <a:pt x="7135" y="13994"/>
                  <a:pt x="7146" y="14008"/>
                  <a:pt x="7160" y="14014"/>
                </a:cubicBezTo>
                <a:cubicBezTo>
                  <a:pt x="7166" y="14040"/>
                  <a:pt x="7177" y="14043"/>
                  <a:pt x="7182" y="14043"/>
                </a:cubicBezTo>
                <a:cubicBezTo>
                  <a:pt x="7189" y="14043"/>
                  <a:pt x="7196" y="14036"/>
                  <a:pt x="7202" y="14030"/>
                </a:cubicBezTo>
                <a:cubicBezTo>
                  <a:pt x="7202" y="14029"/>
                  <a:pt x="7203" y="14029"/>
                  <a:pt x="7204" y="14028"/>
                </a:cubicBezTo>
                <a:cubicBezTo>
                  <a:pt x="7205" y="14030"/>
                  <a:pt x="7205" y="14033"/>
                  <a:pt x="7206" y="14034"/>
                </a:cubicBezTo>
                <a:cubicBezTo>
                  <a:pt x="7206" y="14059"/>
                  <a:pt x="7178" y="14140"/>
                  <a:pt x="7163" y="14140"/>
                </a:cubicBezTo>
                <a:cubicBezTo>
                  <a:pt x="7161" y="14140"/>
                  <a:pt x="7159" y="14135"/>
                  <a:pt x="7157" y="14135"/>
                </a:cubicBezTo>
                <a:cubicBezTo>
                  <a:pt x="7157" y="14134"/>
                  <a:pt x="7158" y="14134"/>
                  <a:pt x="7158" y="14133"/>
                </a:cubicBezTo>
                <a:cubicBezTo>
                  <a:pt x="7158" y="14095"/>
                  <a:pt x="7143" y="14064"/>
                  <a:pt x="7124" y="14064"/>
                </a:cubicBezTo>
                <a:cubicBezTo>
                  <a:pt x="7117" y="14064"/>
                  <a:pt x="7111" y="14071"/>
                  <a:pt x="7105" y="14079"/>
                </a:cubicBezTo>
                <a:cubicBezTo>
                  <a:pt x="7100" y="14070"/>
                  <a:pt x="7092" y="14060"/>
                  <a:pt x="7092" y="14055"/>
                </a:cubicBezTo>
                <a:cubicBezTo>
                  <a:pt x="7092" y="14018"/>
                  <a:pt x="7099" y="13979"/>
                  <a:pt x="7119" y="13979"/>
                </a:cubicBezTo>
                <a:close/>
                <a:moveTo>
                  <a:pt x="17337" y="13979"/>
                </a:moveTo>
                <a:cubicBezTo>
                  <a:pt x="17343" y="14044"/>
                  <a:pt x="17362" y="14100"/>
                  <a:pt x="17394" y="14100"/>
                </a:cubicBezTo>
                <a:cubicBezTo>
                  <a:pt x="17408" y="14100"/>
                  <a:pt x="17415" y="14086"/>
                  <a:pt x="17420" y="14072"/>
                </a:cubicBezTo>
                <a:cubicBezTo>
                  <a:pt x="17422" y="14070"/>
                  <a:pt x="17423" y="14068"/>
                  <a:pt x="17424" y="14065"/>
                </a:cubicBezTo>
                <a:cubicBezTo>
                  <a:pt x="17428" y="14061"/>
                  <a:pt x="17443" y="14051"/>
                  <a:pt x="17457" y="14042"/>
                </a:cubicBezTo>
                <a:cubicBezTo>
                  <a:pt x="17460" y="14053"/>
                  <a:pt x="17464" y="14061"/>
                  <a:pt x="17470" y="14064"/>
                </a:cubicBezTo>
                <a:cubicBezTo>
                  <a:pt x="17459" y="14082"/>
                  <a:pt x="17448" y="14095"/>
                  <a:pt x="17428" y="14095"/>
                </a:cubicBezTo>
                <a:cubicBezTo>
                  <a:pt x="17420" y="14095"/>
                  <a:pt x="17413" y="14109"/>
                  <a:pt x="17413" y="14126"/>
                </a:cubicBezTo>
                <a:cubicBezTo>
                  <a:pt x="17413" y="14132"/>
                  <a:pt x="17424" y="14163"/>
                  <a:pt x="17428" y="14183"/>
                </a:cubicBezTo>
                <a:cubicBezTo>
                  <a:pt x="17422" y="14189"/>
                  <a:pt x="17417" y="14200"/>
                  <a:pt x="17417" y="14215"/>
                </a:cubicBezTo>
                <a:cubicBezTo>
                  <a:pt x="17417" y="14237"/>
                  <a:pt x="17426" y="14254"/>
                  <a:pt x="17437" y="14254"/>
                </a:cubicBezTo>
                <a:cubicBezTo>
                  <a:pt x="17440" y="14254"/>
                  <a:pt x="17443" y="14250"/>
                  <a:pt x="17445" y="14247"/>
                </a:cubicBezTo>
                <a:cubicBezTo>
                  <a:pt x="17452" y="14270"/>
                  <a:pt x="17454" y="14289"/>
                  <a:pt x="17461" y="14305"/>
                </a:cubicBezTo>
                <a:cubicBezTo>
                  <a:pt x="17459" y="14311"/>
                  <a:pt x="17457" y="14320"/>
                  <a:pt x="17457" y="14330"/>
                </a:cubicBezTo>
                <a:cubicBezTo>
                  <a:pt x="17457" y="14331"/>
                  <a:pt x="17459" y="14334"/>
                  <a:pt x="17459" y="14335"/>
                </a:cubicBezTo>
                <a:cubicBezTo>
                  <a:pt x="17454" y="14331"/>
                  <a:pt x="17450" y="14325"/>
                  <a:pt x="17445" y="14325"/>
                </a:cubicBezTo>
                <a:cubicBezTo>
                  <a:pt x="17433" y="14325"/>
                  <a:pt x="17424" y="14343"/>
                  <a:pt x="17420" y="14366"/>
                </a:cubicBezTo>
                <a:cubicBezTo>
                  <a:pt x="17414" y="14352"/>
                  <a:pt x="17409" y="14340"/>
                  <a:pt x="17409" y="14327"/>
                </a:cubicBezTo>
                <a:lnTo>
                  <a:pt x="17417" y="14242"/>
                </a:lnTo>
                <a:cubicBezTo>
                  <a:pt x="17418" y="14232"/>
                  <a:pt x="17416" y="14220"/>
                  <a:pt x="17412" y="14213"/>
                </a:cubicBezTo>
                <a:cubicBezTo>
                  <a:pt x="17408" y="14206"/>
                  <a:pt x="17401" y="14205"/>
                  <a:pt x="17396" y="14208"/>
                </a:cubicBezTo>
                <a:cubicBezTo>
                  <a:pt x="17395" y="14208"/>
                  <a:pt x="17395" y="14208"/>
                  <a:pt x="17393" y="14207"/>
                </a:cubicBezTo>
                <a:cubicBezTo>
                  <a:pt x="17391" y="14207"/>
                  <a:pt x="17388" y="14206"/>
                  <a:pt x="17385" y="14206"/>
                </a:cubicBezTo>
                <a:cubicBezTo>
                  <a:pt x="17363" y="14206"/>
                  <a:pt x="17339" y="14239"/>
                  <a:pt x="17339" y="14288"/>
                </a:cubicBezTo>
                <a:cubicBezTo>
                  <a:pt x="17339" y="14322"/>
                  <a:pt x="17344" y="14347"/>
                  <a:pt x="17349" y="14369"/>
                </a:cubicBezTo>
                <a:cubicBezTo>
                  <a:pt x="17350" y="14370"/>
                  <a:pt x="17350" y="14372"/>
                  <a:pt x="17350" y="14373"/>
                </a:cubicBezTo>
                <a:cubicBezTo>
                  <a:pt x="17346" y="14380"/>
                  <a:pt x="17343" y="14390"/>
                  <a:pt x="17343" y="14402"/>
                </a:cubicBezTo>
                <a:cubicBezTo>
                  <a:pt x="17343" y="14419"/>
                  <a:pt x="17349" y="14431"/>
                  <a:pt x="17357" y="14436"/>
                </a:cubicBezTo>
                <a:cubicBezTo>
                  <a:pt x="17356" y="14471"/>
                  <a:pt x="17348" y="14554"/>
                  <a:pt x="17339" y="14567"/>
                </a:cubicBezTo>
                <a:cubicBezTo>
                  <a:pt x="17330" y="14566"/>
                  <a:pt x="17322" y="14549"/>
                  <a:pt x="17322" y="14542"/>
                </a:cubicBezTo>
                <a:lnTo>
                  <a:pt x="17322" y="14338"/>
                </a:lnTo>
                <a:cubicBezTo>
                  <a:pt x="17322" y="14323"/>
                  <a:pt x="17316" y="14311"/>
                  <a:pt x="17309" y="14309"/>
                </a:cubicBezTo>
                <a:cubicBezTo>
                  <a:pt x="17307" y="14308"/>
                  <a:pt x="17306" y="14307"/>
                  <a:pt x="17303" y="14306"/>
                </a:cubicBezTo>
                <a:cubicBezTo>
                  <a:pt x="17283" y="14301"/>
                  <a:pt x="17280" y="14296"/>
                  <a:pt x="17280" y="14283"/>
                </a:cubicBezTo>
                <a:cubicBezTo>
                  <a:pt x="17280" y="14232"/>
                  <a:pt x="17287" y="14200"/>
                  <a:pt x="17297" y="14159"/>
                </a:cubicBezTo>
                <a:cubicBezTo>
                  <a:pt x="17303" y="14133"/>
                  <a:pt x="17311" y="14102"/>
                  <a:pt x="17317" y="14063"/>
                </a:cubicBezTo>
                <a:cubicBezTo>
                  <a:pt x="17317" y="14060"/>
                  <a:pt x="17320" y="14054"/>
                  <a:pt x="17322" y="14050"/>
                </a:cubicBezTo>
                <a:cubicBezTo>
                  <a:pt x="17328" y="14035"/>
                  <a:pt x="17337" y="14016"/>
                  <a:pt x="17337" y="13989"/>
                </a:cubicBezTo>
                <a:cubicBezTo>
                  <a:pt x="17337" y="13986"/>
                  <a:pt x="17337" y="13982"/>
                  <a:pt x="17337" y="13979"/>
                </a:cubicBezTo>
                <a:close/>
                <a:moveTo>
                  <a:pt x="6138" y="13989"/>
                </a:moveTo>
                <a:cubicBezTo>
                  <a:pt x="6119" y="13989"/>
                  <a:pt x="6104" y="14020"/>
                  <a:pt x="6104" y="14058"/>
                </a:cubicBezTo>
                <a:cubicBezTo>
                  <a:pt x="6104" y="14096"/>
                  <a:pt x="6119" y="14126"/>
                  <a:pt x="6138" y="14126"/>
                </a:cubicBezTo>
                <a:cubicBezTo>
                  <a:pt x="6157" y="14126"/>
                  <a:pt x="6172" y="14096"/>
                  <a:pt x="6172" y="14058"/>
                </a:cubicBezTo>
                <a:cubicBezTo>
                  <a:pt x="6172" y="14020"/>
                  <a:pt x="6157" y="13989"/>
                  <a:pt x="6138" y="13989"/>
                </a:cubicBezTo>
                <a:close/>
                <a:moveTo>
                  <a:pt x="18098" y="13992"/>
                </a:moveTo>
                <a:cubicBezTo>
                  <a:pt x="18114" y="13992"/>
                  <a:pt x="18129" y="14009"/>
                  <a:pt x="18146" y="14029"/>
                </a:cubicBezTo>
                <a:cubicBezTo>
                  <a:pt x="18158" y="14044"/>
                  <a:pt x="18171" y="14059"/>
                  <a:pt x="18185" y="14068"/>
                </a:cubicBezTo>
                <a:lnTo>
                  <a:pt x="18185" y="14178"/>
                </a:lnTo>
                <a:cubicBezTo>
                  <a:pt x="18183" y="14172"/>
                  <a:pt x="18179" y="14170"/>
                  <a:pt x="18175" y="14170"/>
                </a:cubicBezTo>
                <a:lnTo>
                  <a:pt x="18160" y="14170"/>
                </a:lnTo>
                <a:cubicBezTo>
                  <a:pt x="18159" y="14170"/>
                  <a:pt x="18157" y="14170"/>
                  <a:pt x="18156" y="14171"/>
                </a:cubicBezTo>
                <a:cubicBezTo>
                  <a:pt x="18134" y="14183"/>
                  <a:pt x="18120" y="14186"/>
                  <a:pt x="18098" y="14186"/>
                </a:cubicBezTo>
                <a:cubicBezTo>
                  <a:pt x="18094" y="14186"/>
                  <a:pt x="18091" y="14184"/>
                  <a:pt x="18087" y="14182"/>
                </a:cubicBezTo>
                <a:cubicBezTo>
                  <a:pt x="18111" y="14175"/>
                  <a:pt x="18130" y="14138"/>
                  <a:pt x="18130" y="14088"/>
                </a:cubicBezTo>
                <a:cubicBezTo>
                  <a:pt x="18130" y="14040"/>
                  <a:pt x="18112" y="14005"/>
                  <a:pt x="18089" y="13996"/>
                </a:cubicBezTo>
                <a:cubicBezTo>
                  <a:pt x="18092" y="13995"/>
                  <a:pt x="18095" y="13992"/>
                  <a:pt x="18098" y="13992"/>
                </a:cubicBezTo>
                <a:close/>
                <a:moveTo>
                  <a:pt x="18038" y="14055"/>
                </a:moveTo>
                <a:cubicBezTo>
                  <a:pt x="18036" y="14066"/>
                  <a:pt x="18031" y="14075"/>
                  <a:pt x="18031" y="14088"/>
                </a:cubicBezTo>
                <a:cubicBezTo>
                  <a:pt x="18031" y="14092"/>
                  <a:pt x="18033" y="14095"/>
                  <a:pt x="18034" y="14099"/>
                </a:cubicBezTo>
                <a:cubicBezTo>
                  <a:pt x="18030" y="14096"/>
                  <a:pt x="18026" y="14092"/>
                  <a:pt x="18023" y="14091"/>
                </a:cubicBezTo>
                <a:cubicBezTo>
                  <a:pt x="18007" y="14081"/>
                  <a:pt x="18005" y="14078"/>
                  <a:pt x="18005" y="14073"/>
                </a:cubicBezTo>
                <a:cubicBezTo>
                  <a:pt x="18006" y="14070"/>
                  <a:pt x="18012" y="14064"/>
                  <a:pt x="18020" y="14064"/>
                </a:cubicBezTo>
                <a:cubicBezTo>
                  <a:pt x="18027" y="14064"/>
                  <a:pt x="18033" y="14060"/>
                  <a:pt x="18038" y="14055"/>
                </a:cubicBezTo>
                <a:close/>
                <a:moveTo>
                  <a:pt x="6836" y="14101"/>
                </a:moveTo>
                <a:cubicBezTo>
                  <a:pt x="6822" y="14101"/>
                  <a:pt x="6811" y="14124"/>
                  <a:pt x="6811" y="14152"/>
                </a:cubicBezTo>
                <a:cubicBezTo>
                  <a:pt x="6811" y="14181"/>
                  <a:pt x="6822" y="14204"/>
                  <a:pt x="6836" y="14204"/>
                </a:cubicBezTo>
                <a:cubicBezTo>
                  <a:pt x="6851" y="14204"/>
                  <a:pt x="6862" y="14181"/>
                  <a:pt x="6862" y="14152"/>
                </a:cubicBezTo>
                <a:cubicBezTo>
                  <a:pt x="6862" y="14124"/>
                  <a:pt x="6851" y="14101"/>
                  <a:pt x="6836" y="14101"/>
                </a:cubicBezTo>
                <a:close/>
                <a:moveTo>
                  <a:pt x="17344" y="14138"/>
                </a:moveTo>
                <a:cubicBezTo>
                  <a:pt x="17333" y="14138"/>
                  <a:pt x="17324" y="14156"/>
                  <a:pt x="17324" y="14178"/>
                </a:cubicBezTo>
                <a:cubicBezTo>
                  <a:pt x="17324" y="14200"/>
                  <a:pt x="17333" y="14217"/>
                  <a:pt x="17344" y="14217"/>
                </a:cubicBezTo>
                <a:cubicBezTo>
                  <a:pt x="17355" y="14217"/>
                  <a:pt x="17363" y="14200"/>
                  <a:pt x="17363" y="14178"/>
                </a:cubicBezTo>
                <a:cubicBezTo>
                  <a:pt x="17363" y="14156"/>
                  <a:pt x="17355" y="14138"/>
                  <a:pt x="17344" y="14138"/>
                </a:cubicBezTo>
                <a:close/>
                <a:moveTo>
                  <a:pt x="16488" y="14140"/>
                </a:moveTo>
                <a:cubicBezTo>
                  <a:pt x="16489" y="14147"/>
                  <a:pt x="16490" y="14154"/>
                  <a:pt x="16492" y="14162"/>
                </a:cubicBezTo>
                <a:cubicBezTo>
                  <a:pt x="16486" y="14157"/>
                  <a:pt x="16481" y="14155"/>
                  <a:pt x="16476" y="14154"/>
                </a:cubicBezTo>
                <a:cubicBezTo>
                  <a:pt x="16477" y="14152"/>
                  <a:pt x="16477" y="14151"/>
                  <a:pt x="16477" y="14150"/>
                </a:cubicBezTo>
                <a:cubicBezTo>
                  <a:pt x="16480" y="14146"/>
                  <a:pt x="16484" y="14143"/>
                  <a:pt x="16488" y="14140"/>
                </a:cubicBezTo>
                <a:close/>
                <a:moveTo>
                  <a:pt x="18404" y="14172"/>
                </a:moveTo>
                <a:cubicBezTo>
                  <a:pt x="18405" y="14209"/>
                  <a:pt x="18420" y="14238"/>
                  <a:pt x="18438" y="14238"/>
                </a:cubicBezTo>
                <a:cubicBezTo>
                  <a:pt x="18456" y="14238"/>
                  <a:pt x="18470" y="14209"/>
                  <a:pt x="18471" y="14172"/>
                </a:cubicBezTo>
                <a:cubicBezTo>
                  <a:pt x="18477" y="14181"/>
                  <a:pt x="18483" y="14186"/>
                  <a:pt x="18488" y="14196"/>
                </a:cubicBezTo>
                <a:cubicBezTo>
                  <a:pt x="18495" y="14209"/>
                  <a:pt x="18501" y="14219"/>
                  <a:pt x="18507" y="14226"/>
                </a:cubicBezTo>
                <a:cubicBezTo>
                  <a:pt x="18509" y="14228"/>
                  <a:pt x="18512" y="14229"/>
                  <a:pt x="18514" y="14229"/>
                </a:cubicBezTo>
                <a:lnTo>
                  <a:pt x="18566" y="14229"/>
                </a:lnTo>
                <a:cubicBezTo>
                  <a:pt x="18573" y="14240"/>
                  <a:pt x="18582" y="14244"/>
                  <a:pt x="18590" y="14250"/>
                </a:cubicBezTo>
                <a:cubicBezTo>
                  <a:pt x="18580" y="14251"/>
                  <a:pt x="18571" y="14269"/>
                  <a:pt x="18571" y="14290"/>
                </a:cubicBezTo>
                <a:cubicBezTo>
                  <a:pt x="18571" y="14312"/>
                  <a:pt x="18580" y="14328"/>
                  <a:pt x="18591" y="14328"/>
                </a:cubicBezTo>
                <a:cubicBezTo>
                  <a:pt x="18602" y="14328"/>
                  <a:pt x="18610" y="14312"/>
                  <a:pt x="18610" y="14290"/>
                </a:cubicBezTo>
                <a:cubicBezTo>
                  <a:pt x="18610" y="14281"/>
                  <a:pt x="18608" y="14273"/>
                  <a:pt x="18605" y="14267"/>
                </a:cubicBezTo>
                <a:cubicBezTo>
                  <a:pt x="18626" y="14296"/>
                  <a:pt x="18656" y="14319"/>
                  <a:pt x="18687" y="14337"/>
                </a:cubicBezTo>
                <a:cubicBezTo>
                  <a:pt x="18684" y="14350"/>
                  <a:pt x="18683" y="14363"/>
                  <a:pt x="18683" y="14377"/>
                </a:cubicBezTo>
                <a:cubicBezTo>
                  <a:pt x="18683" y="14447"/>
                  <a:pt x="18711" y="14503"/>
                  <a:pt x="18746" y="14503"/>
                </a:cubicBezTo>
                <a:cubicBezTo>
                  <a:pt x="18775" y="14503"/>
                  <a:pt x="18798" y="14465"/>
                  <a:pt x="18805" y="14412"/>
                </a:cubicBezTo>
                <a:cubicBezTo>
                  <a:pt x="18807" y="14413"/>
                  <a:pt x="18807" y="14416"/>
                  <a:pt x="18809" y="14417"/>
                </a:cubicBezTo>
                <a:cubicBezTo>
                  <a:pt x="18816" y="14451"/>
                  <a:pt x="18836" y="14458"/>
                  <a:pt x="18844" y="14461"/>
                </a:cubicBezTo>
                <a:lnTo>
                  <a:pt x="18845" y="14461"/>
                </a:lnTo>
                <a:cubicBezTo>
                  <a:pt x="18878" y="14482"/>
                  <a:pt x="18892" y="14522"/>
                  <a:pt x="18907" y="14565"/>
                </a:cubicBezTo>
                <a:cubicBezTo>
                  <a:pt x="18909" y="14571"/>
                  <a:pt x="18911" y="14576"/>
                  <a:pt x="18914" y="14581"/>
                </a:cubicBezTo>
                <a:cubicBezTo>
                  <a:pt x="18910" y="14592"/>
                  <a:pt x="18906" y="14604"/>
                  <a:pt x="18906" y="14618"/>
                </a:cubicBezTo>
                <a:cubicBezTo>
                  <a:pt x="18906" y="14629"/>
                  <a:pt x="18909" y="14637"/>
                  <a:pt x="18912" y="14647"/>
                </a:cubicBezTo>
                <a:lnTo>
                  <a:pt x="18728" y="14741"/>
                </a:lnTo>
                <a:cubicBezTo>
                  <a:pt x="18728" y="14741"/>
                  <a:pt x="18630" y="14792"/>
                  <a:pt x="18548" y="14833"/>
                </a:cubicBezTo>
                <a:cubicBezTo>
                  <a:pt x="18548" y="14830"/>
                  <a:pt x="18548" y="14828"/>
                  <a:pt x="18548" y="14825"/>
                </a:cubicBezTo>
                <a:cubicBezTo>
                  <a:pt x="18548" y="14755"/>
                  <a:pt x="18520" y="14698"/>
                  <a:pt x="18486" y="14698"/>
                </a:cubicBezTo>
                <a:cubicBezTo>
                  <a:pt x="18480" y="14698"/>
                  <a:pt x="18476" y="14702"/>
                  <a:pt x="18471" y="14704"/>
                </a:cubicBezTo>
                <a:cubicBezTo>
                  <a:pt x="18470" y="14682"/>
                  <a:pt x="18469" y="14658"/>
                  <a:pt x="18465" y="14633"/>
                </a:cubicBezTo>
                <a:cubicBezTo>
                  <a:pt x="18456" y="14582"/>
                  <a:pt x="18421" y="14545"/>
                  <a:pt x="18381" y="14508"/>
                </a:cubicBezTo>
                <a:cubicBezTo>
                  <a:pt x="18376" y="14503"/>
                  <a:pt x="18372" y="14499"/>
                  <a:pt x="18368" y="14495"/>
                </a:cubicBezTo>
                <a:cubicBezTo>
                  <a:pt x="18367" y="14494"/>
                  <a:pt x="18365" y="14494"/>
                  <a:pt x="18364" y="14493"/>
                </a:cubicBezTo>
                <a:cubicBezTo>
                  <a:pt x="18361" y="14482"/>
                  <a:pt x="18356" y="14474"/>
                  <a:pt x="18349" y="14474"/>
                </a:cubicBezTo>
                <a:cubicBezTo>
                  <a:pt x="18346" y="14474"/>
                  <a:pt x="18344" y="14478"/>
                  <a:pt x="18341" y="14480"/>
                </a:cubicBezTo>
                <a:cubicBezTo>
                  <a:pt x="18312" y="14464"/>
                  <a:pt x="18275" y="14450"/>
                  <a:pt x="18247" y="14450"/>
                </a:cubicBezTo>
                <a:cubicBezTo>
                  <a:pt x="18244" y="14450"/>
                  <a:pt x="18240" y="14439"/>
                  <a:pt x="18237" y="14435"/>
                </a:cubicBezTo>
                <a:cubicBezTo>
                  <a:pt x="18235" y="14415"/>
                  <a:pt x="18229" y="14400"/>
                  <a:pt x="18219" y="14400"/>
                </a:cubicBezTo>
                <a:cubicBezTo>
                  <a:pt x="18218" y="14400"/>
                  <a:pt x="18217" y="14402"/>
                  <a:pt x="18216" y="14402"/>
                </a:cubicBezTo>
                <a:cubicBezTo>
                  <a:pt x="18207" y="14383"/>
                  <a:pt x="18197" y="14363"/>
                  <a:pt x="18183" y="14359"/>
                </a:cubicBezTo>
                <a:lnTo>
                  <a:pt x="18183" y="14353"/>
                </a:lnTo>
                <a:cubicBezTo>
                  <a:pt x="18183" y="14338"/>
                  <a:pt x="18178" y="14325"/>
                  <a:pt x="18171" y="14323"/>
                </a:cubicBezTo>
                <a:cubicBezTo>
                  <a:pt x="18164" y="14320"/>
                  <a:pt x="18157" y="14329"/>
                  <a:pt x="18155" y="14342"/>
                </a:cubicBezTo>
                <a:cubicBezTo>
                  <a:pt x="18151" y="14360"/>
                  <a:pt x="18144" y="14400"/>
                  <a:pt x="18137" y="14400"/>
                </a:cubicBezTo>
                <a:cubicBezTo>
                  <a:pt x="18135" y="14400"/>
                  <a:pt x="18131" y="14399"/>
                  <a:pt x="18128" y="14398"/>
                </a:cubicBezTo>
                <a:cubicBezTo>
                  <a:pt x="18125" y="14386"/>
                  <a:pt x="18125" y="14377"/>
                  <a:pt x="18125" y="14366"/>
                </a:cubicBezTo>
                <a:cubicBezTo>
                  <a:pt x="18125" y="14350"/>
                  <a:pt x="18125" y="14331"/>
                  <a:pt x="18117" y="14306"/>
                </a:cubicBezTo>
                <a:cubicBezTo>
                  <a:pt x="18114" y="14295"/>
                  <a:pt x="18109" y="14287"/>
                  <a:pt x="18105" y="14282"/>
                </a:cubicBezTo>
                <a:cubicBezTo>
                  <a:pt x="18108" y="14281"/>
                  <a:pt x="18112" y="14278"/>
                  <a:pt x="18115" y="14277"/>
                </a:cubicBezTo>
                <a:cubicBezTo>
                  <a:pt x="18142" y="14268"/>
                  <a:pt x="18168" y="14257"/>
                  <a:pt x="18182" y="14224"/>
                </a:cubicBezTo>
                <a:cubicBezTo>
                  <a:pt x="18184" y="14240"/>
                  <a:pt x="18191" y="14254"/>
                  <a:pt x="18200" y="14254"/>
                </a:cubicBezTo>
                <a:cubicBezTo>
                  <a:pt x="18201" y="14254"/>
                  <a:pt x="18202" y="14252"/>
                  <a:pt x="18203" y="14252"/>
                </a:cubicBezTo>
                <a:cubicBezTo>
                  <a:pt x="18209" y="14258"/>
                  <a:pt x="18215" y="14263"/>
                  <a:pt x="18222" y="14266"/>
                </a:cubicBezTo>
                <a:cubicBezTo>
                  <a:pt x="18233" y="14304"/>
                  <a:pt x="18258" y="14352"/>
                  <a:pt x="18274" y="14352"/>
                </a:cubicBezTo>
                <a:cubicBezTo>
                  <a:pt x="18292" y="14352"/>
                  <a:pt x="18307" y="14317"/>
                  <a:pt x="18320" y="14281"/>
                </a:cubicBezTo>
                <a:cubicBezTo>
                  <a:pt x="18322" y="14277"/>
                  <a:pt x="18323" y="14273"/>
                  <a:pt x="18323" y="14271"/>
                </a:cubicBezTo>
                <a:cubicBezTo>
                  <a:pt x="18338" y="14242"/>
                  <a:pt x="18340" y="14240"/>
                  <a:pt x="18369" y="14224"/>
                </a:cubicBezTo>
                <a:cubicBezTo>
                  <a:pt x="18380" y="14216"/>
                  <a:pt x="18391" y="14197"/>
                  <a:pt x="18402" y="14176"/>
                </a:cubicBezTo>
                <a:cubicBezTo>
                  <a:pt x="18403" y="14174"/>
                  <a:pt x="18403" y="14174"/>
                  <a:pt x="18404" y="14172"/>
                </a:cubicBezTo>
                <a:close/>
                <a:moveTo>
                  <a:pt x="19272" y="14176"/>
                </a:moveTo>
                <a:cubicBezTo>
                  <a:pt x="19261" y="14176"/>
                  <a:pt x="19252" y="14187"/>
                  <a:pt x="19244" y="14199"/>
                </a:cubicBezTo>
                <a:cubicBezTo>
                  <a:pt x="19242" y="14198"/>
                  <a:pt x="19241" y="14195"/>
                  <a:pt x="19240" y="14194"/>
                </a:cubicBezTo>
                <a:cubicBezTo>
                  <a:pt x="19234" y="14191"/>
                  <a:pt x="19228" y="14193"/>
                  <a:pt x="19224" y="14201"/>
                </a:cubicBezTo>
                <a:cubicBezTo>
                  <a:pt x="19220" y="14210"/>
                  <a:pt x="19219" y="14222"/>
                  <a:pt x="19221" y="14233"/>
                </a:cubicBezTo>
                <a:cubicBezTo>
                  <a:pt x="19223" y="14241"/>
                  <a:pt x="19225" y="14245"/>
                  <a:pt x="19228" y="14250"/>
                </a:cubicBezTo>
                <a:cubicBezTo>
                  <a:pt x="19226" y="14259"/>
                  <a:pt x="19222" y="14265"/>
                  <a:pt x="19222" y="14275"/>
                </a:cubicBezTo>
                <a:cubicBezTo>
                  <a:pt x="19222" y="14329"/>
                  <a:pt x="19245" y="14373"/>
                  <a:pt x="19272" y="14373"/>
                </a:cubicBezTo>
                <a:cubicBezTo>
                  <a:pt x="19279" y="14373"/>
                  <a:pt x="19285" y="14364"/>
                  <a:pt x="19291" y="14358"/>
                </a:cubicBezTo>
                <a:cubicBezTo>
                  <a:pt x="19295" y="14371"/>
                  <a:pt x="19299" y="14385"/>
                  <a:pt x="19308" y="14396"/>
                </a:cubicBezTo>
                <a:cubicBezTo>
                  <a:pt x="19308" y="14399"/>
                  <a:pt x="19307" y="14401"/>
                  <a:pt x="19307" y="14404"/>
                </a:cubicBezTo>
                <a:cubicBezTo>
                  <a:pt x="19301" y="14391"/>
                  <a:pt x="19294" y="14384"/>
                  <a:pt x="19286" y="14384"/>
                </a:cubicBezTo>
                <a:cubicBezTo>
                  <a:pt x="19259" y="14384"/>
                  <a:pt x="19253" y="14429"/>
                  <a:pt x="19248" y="14459"/>
                </a:cubicBezTo>
                <a:cubicBezTo>
                  <a:pt x="19247" y="14464"/>
                  <a:pt x="19246" y="14468"/>
                  <a:pt x="19246" y="14473"/>
                </a:cubicBezTo>
                <a:cubicBezTo>
                  <a:pt x="19246" y="14473"/>
                  <a:pt x="19245" y="14474"/>
                  <a:pt x="19245" y="14474"/>
                </a:cubicBezTo>
                <a:cubicBezTo>
                  <a:pt x="19244" y="14479"/>
                  <a:pt x="19243" y="14484"/>
                  <a:pt x="19242" y="14488"/>
                </a:cubicBezTo>
                <a:cubicBezTo>
                  <a:pt x="19239" y="14500"/>
                  <a:pt x="19237" y="14506"/>
                  <a:pt x="19233" y="14509"/>
                </a:cubicBezTo>
                <a:cubicBezTo>
                  <a:pt x="19226" y="14516"/>
                  <a:pt x="19215" y="14519"/>
                  <a:pt x="19202" y="14522"/>
                </a:cubicBezTo>
                <a:cubicBezTo>
                  <a:pt x="19187" y="14526"/>
                  <a:pt x="19169" y="14531"/>
                  <a:pt x="19150" y="14544"/>
                </a:cubicBezTo>
                <a:cubicBezTo>
                  <a:pt x="19145" y="14549"/>
                  <a:pt x="19138" y="14554"/>
                  <a:pt x="19135" y="14555"/>
                </a:cubicBezTo>
                <a:cubicBezTo>
                  <a:pt x="19134" y="14554"/>
                  <a:pt x="19134" y="14555"/>
                  <a:pt x="19133" y="14555"/>
                </a:cubicBezTo>
                <a:cubicBezTo>
                  <a:pt x="19133" y="14555"/>
                  <a:pt x="19086" y="14555"/>
                  <a:pt x="19086" y="14555"/>
                </a:cubicBezTo>
                <a:lnTo>
                  <a:pt x="19069" y="14555"/>
                </a:lnTo>
                <a:cubicBezTo>
                  <a:pt x="19065" y="14555"/>
                  <a:pt x="19061" y="14559"/>
                  <a:pt x="19058" y="14566"/>
                </a:cubicBezTo>
                <a:cubicBezTo>
                  <a:pt x="19055" y="14573"/>
                  <a:pt x="19054" y="14582"/>
                  <a:pt x="19055" y="14591"/>
                </a:cubicBezTo>
                <a:cubicBezTo>
                  <a:pt x="19055" y="14596"/>
                  <a:pt x="19056" y="14599"/>
                  <a:pt x="19057" y="14602"/>
                </a:cubicBezTo>
                <a:cubicBezTo>
                  <a:pt x="19065" y="14640"/>
                  <a:pt x="19082" y="14653"/>
                  <a:pt x="19096" y="14663"/>
                </a:cubicBezTo>
                <a:cubicBezTo>
                  <a:pt x="19104" y="14668"/>
                  <a:pt x="19111" y="14673"/>
                  <a:pt x="19116" y="14681"/>
                </a:cubicBezTo>
                <a:cubicBezTo>
                  <a:pt x="19117" y="14682"/>
                  <a:pt x="19117" y="14683"/>
                  <a:pt x="19118" y="14684"/>
                </a:cubicBezTo>
                <a:lnTo>
                  <a:pt x="19121" y="14691"/>
                </a:lnTo>
                <a:cubicBezTo>
                  <a:pt x="19123" y="14695"/>
                  <a:pt x="19126" y="14697"/>
                  <a:pt x="19129" y="14698"/>
                </a:cubicBezTo>
                <a:cubicBezTo>
                  <a:pt x="19133" y="14702"/>
                  <a:pt x="19137" y="14703"/>
                  <a:pt x="19141" y="14707"/>
                </a:cubicBezTo>
                <a:cubicBezTo>
                  <a:pt x="19151" y="14730"/>
                  <a:pt x="19163" y="14746"/>
                  <a:pt x="19179" y="14746"/>
                </a:cubicBezTo>
                <a:cubicBezTo>
                  <a:pt x="19197" y="14746"/>
                  <a:pt x="19210" y="14722"/>
                  <a:pt x="19218" y="14691"/>
                </a:cubicBezTo>
                <a:cubicBezTo>
                  <a:pt x="19221" y="14688"/>
                  <a:pt x="19224" y="14687"/>
                  <a:pt x="19227" y="14684"/>
                </a:cubicBezTo>
                <a:cubicBezTo>
                  <a:pt x="19239" y="14673"/>
                  <a:pt x="19250" y="14662"/>
                  <a:pt x="19264" y="14656"/>
                </a:cubicBezTo>
                <a:cubicBezTo>
                  <a:pt x="19270" y="14653"/>
                  <a:pt x="19275" y="14641"/>
                  <a:pt x="19275" y="14627"/>
                </a:cubicBezTo>
                <a:cubicBezTo>
                  <a:pt x="19275" y="14606"/>
                  <a:pt x="19280" y="14598"/>
                  <a:pt x="19290" y="14583"/>
                </a:cubicBezTo>
                <a:cubicBezTo>
                  <a:pt x="19303" y="14564"/>
                  <a:pt x="19320" y="14539"/>
                  <a:pt x="19320" y="14478"/>
                </a:cubicBezTo>
                <a:cubicBezTo>
                  <a:pt x="19320" y="14476"/>
                  <a:pt x="19320" y="14474"/>
                  <a:pt x="19320" y="14473"/>
                </a:cubicBezTo>
                <a:cubicBezTo>
                  <a:pt x="19320" y="14472"/>
                  <a:pt x="19319" y="14471"/>
                  <a:pt x="19319" y="14471"/>
                </a:cubicBezTo>
                <a:cubicBezTo>
                  <a:pt x="19320" y="14472"/>
                  <a:pt x="19321" y="14474"/>
                  <a:pt x="19322" y="14475"/>
                </a:cubicBezTo>
                <a:cubicBezTo>
                  <a:pt x="19322" y="14476"/>
                  <a:pt x="19323" y="14475"/>
                  <a:pt x="19323" y="14475"/>
                </a:cubicBezTo>
                <a:cubicBezTo>
                  <a:pt x="19323" y="14476"/>
                  <a:pt x="19323" y="14476"/>
                  <a:pt x="19323" y="14477"/>
                </a:cubicBezTo>
                <a:cubicBezTo>
                  <a:pt x="19328" y="14482"/>
                  <a:pt x="19333" y="14485"/>
                  <a:pt x="19337" y="14487"/>
                </a:cubicBezTo>
                <a:cubicBezTo>
                  <a:pt x="19338" y="14488"/>
                  <a:pt x="19338" y="14488"/>
                  <a:pt x="19339" y="14488"/>
                </a:cubicBezTo>
                <a:cubicBezTo>
                  <a:pt x="19342" y="14492"/>
                  <a:pt x="19346" y="14494"/>
                  <a:pt x="19350" y="14494"/>
                </a:cubicBezTo>
                <a:cubicBezTo>
                  <a:pt x="19353" y="14494"/>
                  <a:pt x="19356" y="14492"/>
                  <a:pt x="19358" y="14490"/>
                </a:cubicBezTo>
                <a:cubicBezTo>
                  <a:pt x="19363" y="14490"/>
                  <a:pt x="19368" y="14485"/>
                  <a:pt x="19371" y="14477"/>
                </a:cubicBezTo>
                <a:cubicBezTo>
                  <a:pt x="19373" y="14469"/>
                  <a:pt x="19374" y="14460"/>
                  <a:pt x="19372" y="14452"/>
                </a:cubicBezTo>
                <a:cubicBezTo>
                  <a:pt x="19372" y="14452"/>
                  <a:pt x="19372" y="14451"/>
                  <a:pt x="19372" y="14451"/>
                </a:cubicBezTo>
                <a:cubicBezTo>
                  <a:pt x="19372" y="14450"/>
                  <a:pt x="19372" y="14450"/>
                  <a:pt x="19372" y="14450"/>
                </a:cubicBezTo>
                <a:cubicBezTo>
                  <a:pt x="19372" y="14449"/>
                  <a:pt x="19372" y="14448"/>
                  <a:pt x="19372" y="14447"/>
                </a:cubicBezTo>
                <a:cubicBezTo>
                  <a:pt x="19372" y="14446"/>
                  <a:pt x="19372" y="14443"/>
                  <a:pt x="19372" y="14442"/>
                </a:cubicBezTo>
                <a:cubicBezTo>
                  <a:pt x="19373" y="14438"/>
                  <a:pt x="19373" y="14434"/>
                  <a:pt x="19373" y="14431"/>
                </a:cubicBezTo>
                <a:cubicBezTo>
                  <a:pt x="19373" y="14374"/>
                  <a:pt x="19356" y="14356"/>
                  <a:pt x="19343" y="14344"/>
                </a:cubicBezTo>
                <a:cubicBezTo>
                  <a:pt x="19338" y="14338"/>
                  <a:pt x="19332" y="14334"/>
                  <a:pt x="19328" y="14325"/>
                </a:cubicBezTo>
                <a:cubicBezTo>
                  <a:pt x="19324" y="14318"/>
                  <a:pt x="19321" y="14309"/>
                  <a:pt x="19317" y="14302"/>
                </a:cubicBezTo>
                <a:cubicBezTo>
                  <a:pt x="19317" y="14301"/>
                  <a:pt x="19316" y="14300"/>
                  <a:pt x="19315" y="14299"/>
                </a:cubicBezTo>
                <a:cubicBezTo>
                  <a:pt x="19317" y="14291"/>
                  <a:pt x="19321" y="14284"/>
                  <a:pt x="19321" y="14275"/>
                </a:cubicBezTo>
                <a:cubicBezTo>
                  <a:pt x="19321" y="14220"/>
                  <a:pt x="19299" y="14176"/>
                  <a:pt x="19272" y="14176"/>
                </a:cubicBezTo>
                <a:close/>
                <a:moveTo>
                  <a:pt x="16422" y="14193"/>
                </a:moveTo>
                <a:cubicBezTo>
                  <a:pt x="16423" y="14195"/>
                  <a:pt x="16424" y="14196"/>
                  <a:pt x="16425" y="14198"/>
                </a:cubicBezTo>
                <a:cubicBezTo>
                  <a:pt x="16429" y="14206"/>
                  <a:pt x="16434" y="14213"/>
                  <a:pt x="16438" y="14222"/>
                </a:cubicBezTo>
                <a:cubicBezTo>
                  <a:pt x="16444" y="14234"/>
                  <a:pt x="16451" y="14241"/>
                  <a:pt x="16458" y="14249"/>
                </a:cubicBezTo>
                <a:cubicBezTo>
                  <a:pt x="16469" y="14261"/>
                  <a:pt x="16476" y="14272"/>
                  <a:pt x="16476" y="14282"/>
                </a:cubicBezTo>
                <a:cubicBezTo>
                  <a:pt x="16476" y="14282"/>
                  <a:pt x="16476" y="14447"/>
                  <a:pt x="16476" y="14447"/>
                </a:cubicBezTo>
                <a:cubicBezTo>
                  <a:pt x="16459" y="14473"/>
                  <a:pt x="16462" y="14521"/>
                  <a:pt x="16464" y="14553"/>
                </a:cubicBezTo>
                <a:cubicBezTo>
                  <a:pt x="16464" y="14557"/>
                  <a:pt x="16465" y="14560"/>
                  <a:pt x="16465" y="14564"/>
                </a:cubicBezTo>
                <a:cubicBezTo>
                  <a:pt x="16459" y="14556"/>
                  <a:pt x="16454" y="14549"/>
                  <a:pt x="16447" y="14549"/>
                </a:cubicBezTo>
                <a:cubicBezTo>
                  <a:pt x="16433" y="14549"/>
                  <a:pt x="16423" y="14569"/>
                  <a:pt x="16418" y="14593"/>
                </a:cubicBezTo>
                <a:cubicBezTo>
                  <a:pt x="16412" y="14582"/>
                  <a:pt x="16406" y="14571"/>
                  <a:pt x="16389" y="14524"/>
                </a:cubicBezTo>
                <a:cubicBezTo>
                  <a:pt x="16384" y="14511"/>
                  <a:pt x="16383" y="14508"/>
                  <a:pt x="16382" y="14507"/>
                </a:cubicBezTo>
                <a:cubicBezTo>
                  <a:pt x="16369" y="14481"/>
                  <a:pt x="16357" y="14461"/>
                  <a:pt x="16345" y="14443"/>
                </a:cubicBezTo>
                <a:cubicBezTo>
                  <a:pt x="16345" y="14441"/>
                  <a:pt x="16344" y="14439"/>
                  <a:pt x="16344" y="14437"/>
                </a:cubicBezTo>
                <a:lnTo>
                  <a:pt x="16350" y="14418"/>
                </a:lnTo>
                <a:lnTo>
                  <a:pt x="16422" y="14193"/>
                </a:lnTo>
                <a:close/>
                <a:moveTo>
                  <a:pt x="16614" y="14193"/>
                </a:moveTo>
                <a:cubicBezTo>
                  <a:pt x="16610" y="14193"/>
                  <a:pt x="16605" y="14197"/>
                  <a:pt x="16602" y="14204"/>
                </a:cubicBezTo>
                <a:cubicBezTo>
                  <a:pt x="16597" y="14216"/>
                  <a:pt x="16598" y="14231"/>
                  <a:pt x="16599" y="14243"/>
                </a:cubicBezTo>
                <a:cubicBezTo>
                  <a:pt x="16599" y="14291"/>
                  <a:pt x="16612" y="14325"/>
                  <a:pt x="16631" y="14325"/>
                </a:cubicBezTo>
                <a:cubicBezTo>
                  <a:pt x="16650" y="14325"/>
                  <a:pt x="16666" y="14294"/>
                  <a:pt x="16670" y="14249"/>
                </a:cubicBezTo>
                <a:cubicBezTo>
                  <a:pt x="16671" y="14235"/>
                  <a:pt x="16667" y="14220"/>
                  <a:pt x="16660" y="14215"/>
                </a:cubicBezTo>
                <a:cubicBezTo>
                  <a:pt x="16659" y="14215"/>
                  <a:pt x="16657" y="14212"/>
                  <a:pt x="16656" y="14210"/>
                </a:cubicBezTo>
                <a:cubicBezTo>
                  <a:pt x="16651" y="14202"/>
                  <a:pt x="16644" y="14193"/>
                  <a:pt x="16635" y="14193"/>
                </a:cubicBezTo>
                <a:lnTo>
                  <a:pt x="16614" y="14193"/>
                </a:lnTo>
                <a:close/>
                <a:moveTo>
                  <a:pt x="17746" y="14213"/>
                </a:moveTo>
                <a:cubicBezTo>
                  <a:pt x="17719" y="14213"/>
                  <a:pt x="17696" y="14258"/>
                  <a:pt x="17696" y="14312"/>
                </a:cubicBezTo>
                <a:cubicBezTo>
                  <a:pt x="17696" y="14314"/>
                  <a:pt x="17698" y="14316"/>
                  <a:pt x="17698" y="14318"/>
                </a:cubicBezTo>
                <a:cubicBezTo>
                  <a:pt x="17698" y="14320"/>
                  <a:pt x="17696" y="14321"/>
                  <a:pt x="17696" y="14323"/>
                </a:cubicBezTo>
                <a:cubicBezTo>
                  <a:pt x="17696" y="14341"/>
                  <a:pt x="17704" y="14358"/>
                  <a:pt x="17710" y="14375"/>
                </a:cubicBezTo>
                <a:cubicBezTo>
                  <a:pt x="17711" y="14377"/>
                  <a:pt x="17710" y="14380"/>
                  <a:pt x="17711" y="14382"/>
                </a:cubicBezTo>
                <a:cubicBezTo>
                  <a:pt x="17711" y="14382"/>
                  <a:pt x="17712" y="14382"/>
                  <a:pt x="17712" y="14382"/>
                </a:cubicBezTo>
                <a:cubicBezTo>
                  <a:pt x="17723" y="14410"/>
                  <a:pt x="17736" y="14433"/>
                  <a:pt x="17749" y="14433"/>
                </a:cubicBezTo>
                <a:cubicBezTo>
                  <a:pt x="17760" y="14433"/>
                  <a:pt x="17770" y="14409"/>
                  <a:pt x="17777" y="14384"/>
                </a:cubicBezTo>
                <a:cubicBezTo>
                  <a:pt x="17787" y="14367"/>
                  <a:pt x="17795" y="14342"/>
                  <a:pt x="17795" y="14312"/>
                </a:cubicBezTo>
                <a:cubicBezTo>
                  <a:pt x="17795" y="14258"/>
                  <a:pt x="17773" y="14213"/>
                  <a:pt x="17746" y="14213"/>
                </a:cubicBezTo>
                <a:close/>
                <a:moveTo>
                  <a:pt x="17838" y="14231"/>
                </a:moveTo>
                <a:cubicBezTo>
                  <a:pt x="17834" y="14231"/>
                  <a:pt x="17829" y="14235"/>
                  <a:pt x="17827" y="14240"/>
                </a:cubicBezTo>
                <a:cubicBezTo>
                  <a:pt x="17826" y="14241"/>
                  <a:pt x="17825" y="14242"/>
                  <a:pt x="17824" y="14243"/>
                </a:cubicBezTo>
                <a:cubicBezTo>
                  <a:pt x="17819" y="14252"/>
                  <a:pt x="17808" y="14268"/>
                  <a:pt x="17808" y="14298"/>
                </a:cubicBezTo>
                <a:cubicBezTo>
                  <a:pt x="17808" y="14311"/>
                  <a:pt x="17812" y="14324"/>
                  <a:pt x="17819" y="14327"/>
                </a:cubicBezTo>
                <a:cubicBezTo>
                  <a:pt x="17828" y="14333"/>
                  <a:pt x="17851" y="14346"/>
                  <a:pt x="17861" y="14346"/>
                </a:cubicBezTo>
                <a:lnTo>
                  <a:pt x="17903" y="14346"/>
                </a:lnTo>
                <a:cubicBezTo>
                  <a:pt x="17903" y="14350"/>
                  <a:pt x="17901" y="14352"/>
                  <a:pt x="17901" y="14356"/>
                </a:cubicBezTo>
                <a:cubicBezTo>
                  <a:pt x="17901" y="14394"/>
                  <a:pt x="17917" y="14424"/>
                  <a:pt x="17935" y="14424"/>
                </a:cubicBezTo>
                <a:cubicBezTo>
                  <a:pt x="17950" y="14424"/>
                  <a:pt x="17960" y="14403"/>
                  <a:pt x="17965" y="14377"/>
                </a:cubicBezTo>
                <a:cubicBezTo>
                  <a:pt x="17972" y="14381"/>
                  <a:pt x="17976" y="14388"/>
                  <a:pt x="17984" y="14388"/>
                </a:cubicBezTo>
                <a:cubicBezTo>
                  <a:pt x="18008" y="14388"/>
                  <a:pt x="18012" y="14364"/>
                  <a:pt x="18012" y="14349"/>
                </a:cubicBezTo>
                <a:cubicBezTo>
                  <a:pt x="18012" y="14318"/>
                  <a:pt x="18001" y="14300"/>
                  <a:pt x="17994" y="14288"/>
                </a:cubicBezTo>
                <a:cubicBezTo>
                  <a:pt x="17990" y="14281"/>
                  <a:pt x="17986" y="14274"/>
                  <a:pt x="17986" y="14269"/>
                </a:cubicBezTo>
                <a:cubicBezTo>
                  <a:pt x="17985" y="14260"/>
                  <a:pt x="17983" y="14253"/>
                  <a:pt x="17979" y="14248"/>
                </a:cubicBezTo>
                <a:cubicBezTo>
                  <a:pt x="17975" y="14243"/>
                  <a:pt x="17971" y="14242"/>
                  <a:pt x="17967" y="14245"/>
                </a:cubicBezTo>
                <a:lnTo>
                  <a:pt x="17962" y="14247"/>
                </a:lnTo>
                <a:cubicBezTo>
                  <a:pt x="17960" y="14247"/>
                  <a:pt x="17957" y="14249"/>
                  <a:pt x="17954" y="14249"/>
                </a:cubicBezTo>
                <a:cubicBezTo>
                  <a:pt x="17952" y="14250"/>
                  <a:pt x="17950" y="14249"/>
                  <a:pt x="17947" y="14249"/>
                </a:cubicBezTo>
                <a:cubicBezTo>
                  <a:pt x="17946" y="14241"/>
                  <a:pt x="17942" y="14236"/>
                  <a:pt x="17938" y="14233"/>
                </a:cubicBezTo>
                <a:cubicBezTo>
                  <a:pt x="17936" y="14231"/>
                  <a:pt x="17934" y="14231"/>
                  <a:pt x="17932" y="14231"/>
                </a:cubicBezTo>
                <a:lnTo>
                  <a:pt x="17838" y="14231"/>
                </a:lnTo>
                <a:close/>
                <a:moveTo>
                  <a:pt x="6557" y="14288"/>
                </a:moveTo>
                <a:cubicBezTo>
                  <a:pt x="6543" y="14288"/>
                  <a:pt x="6532" y="14311"/>
                  <a:pt x="6532" y="14339"/>
                </a:cubicBezTo>
                <a:cubicBezTo>
                  <a:pt x="6532" y="14367"/>
                  <a:pt x="6543" y="14390"/>
                  <a:pt x="6557" y="14390"/>
                </a:cubicBezTo>
                <a:cubicBezTo>
                  <a:pt x="6571" y="14390"/>
                  <a:pt x="6583" y="14367"/>
                  <a:pt x="6583" y="14339"/>
                </a:cubicBezTo>
                <a:cubicBezTo>
                  <a:pt x="6583" y="14311"/>
                  <a:pt x="6571" y="14288"/>
                  <a:pt x="6557" y="14288"/>
                </a:cubicBezTo>
                <a:close/>
                <a:moveTo>
                  <a:pt x="17962" y="14307"/>
                </a:moveTo>
                <a:cubicBezTo>
                  <a:pt x="17964" y="14314"/>
                  <a:pt x="17967" y="14319"/>
                  <a:pt x="17969" y="14324"/>
                </a:cubicBezTo>
                <a:cubicBezTo>
                  <a:pt x="17966" y="14322"/>
                  <a:pt x="17964" y="14319"/>
                  <a:pt x="17961" y="14317"/>
                </a:cubicBezTo>
                <a:cubicBezTo>
                  <a:pt x="17960" y="14314"/>
                  <a:pt x="17960" y="14311"/>
                  <a:pt x="17959" y="14309"/>
                </a:cubicBezTo>
                <a:cubicBezTo>
                  <a:pt x="17960" y="14308"/>
                  <a:pt x="17961" y="14308"/>
                  <a:pt x="17962" y="14307"/>
                </a:cubicBezTo>
                <a:close/>
                <a:moveTo>
                  <a:pt x="5273" y="14320"/>
                </a:moveTo>
                <a:cubicBezTo>
                  <a:pt x="5278" y="14323"/>
                  <a:pt x="5282" y="14326"/>
                  <a:pt x="5287" y="14326"/>
                </a:cubicBezTo>
                <a:cubicBezTo>
                  <a:pt x="5290" y="14326"/>
                  <a:pt x="5293" y="14325"/>
                  <a:pt x="5296" y="14324"/>
                </a:cubicBezTo>
                <a:cubicBezTo>
                  <a:pt x="5293" y="14331"/>
                  <a:pt x="5289" y="14337"/>
                  <a:pt x="5285" y="14344"/>
                </a:cubicBezTo>
                <a:cubicBezTo>
                  <a:pt x="5281" y="14335"/>
                  <a:pt x="5278" y="14327"/>
                  <a:pt x="5273" y="14320"/>
                </a:cubicBezTo>
                <a:close/>
                <a:moveTo>
                  <a:pt x="7567" y="14320"/>
                </a:moveTo>
                <a:cubicBezTo>
                  <a:pt x="7579" y="14336"/>
                  <a:pt x="7595" y="14353"/>
                  <a:pt x="7617" y="14353"/>
                </a:cubicBezTo>
                <a:cubicBezTo>
                  <a:pt x="7618" y="14353"/>
                  <a:pt x="7618" y="14352"/>
                  <a:pt x="7619" y="14352"/>
                </a:cubicBezTo>
                <a:lnTo>
                  <a:pt x="7697" y="14331"/>
                </a:lnTo>
                <a:cubicBezTo>
                  <a:pt x="7725" y="14344"/>
                  <a:pt x="7756" y="14365"/>
                  <a:pt x="7787" y="14393"/>
                </a:cubicBezTo>
                <a:cubicBezTo>
                  <a:pt x="7801" y="14434"/>
                  <a:pt x="7829" y="14491"/>
                  <a:pt x="7859" y="14537"/>
                </a:cubicBezTo>
                <a:lnTo>
                  <a:pt x="7850" y="14646"/>
                </a:lnTo>
                <a:lnTo>
                  <a:pt x="7819" y="15040"/>
                </a:lnTo>
                <a:cubicBezTo>
                  <a:pt x="7811" y="15043"/>
                  <a:pt x="7804" y="15048"/>
                  <a:pt x="7797" y="15056"/>
                </a:cubicBezTo>
                <a:lnTo>
                  <a:pt x="7567" y="14320"/>
                </a:lnTo>
                <a:close/>
                <a:moveTo>
                  <a:pt x="10721" y="14327"/>
                </a:moveTo>
                <a:lnTo>
                  <a:pt x="11131" y="14676"/>
                </a:lnTo>
                <a:cubicBezTo>
                  <a:pt x="11130" y="14688"/>
                  <a:pt x="11128" y="14700"/>
                  <a:pt x="11128" y="14713"/>
                </a:cubicBezTo>
                <a:cubicBezTo>
                  <a:pt x="11128" y="14845"/>
                  <a:pt x="11181" y="14952"/>
                  <a:pt x="11247" y="14952"/>
                </a:cubicBezTo>
                <a:cubicBezTo>
                  <a:pt x="11286" y="14952"/>
                  <a:pt x="11320" y="14912"/>
                  <a:pt x="11341" y="14853"/>
                </a:cubicBezTo>
                <a:lnTo>
                  <a:pt x="11547" y="15028"/>
                </a:lnTo>
                <a:cubicBezTo>
                  <a:pt x="11553" y="15033"/>
                  <a:pt x="11552" y="15032"/>
                  <a:pt x="11556" y="15036"/>
                </a:cubicBezTo>
                <a:cubicBezTo>
                  <a:pt x="11557" y="15116"/>
                  <a:pt x="11590" y="15181"/>
                  <a:pt x="11630" y="15181"/>
                </a:cubicBezTo>
                <a:cubicBezTo>
                  <a:pt x="11649" y="15181"/>
                  <a:pt x="11666" y="15165"/>
                  <a:pt x="11679" y="15141"/>
                </a:cubicBezTo>
                <a:lnTo>
                  <a:pt x="11936" y="15359"/>
                </a:lnTo>
                <a:cubicBezTo>
                  <a:pt x="11931" y="15376"/>
                  <a:pt x="11928" y="15395"/>
                  <a:pt x="11928" y="15415"/>
                </a:cubicBezTo>
                <a:cubicBezTo>
                  <a:pt x="11928" y="15481"/>
                  <a:pt x="11955" y="15534"/>
                  <a:pt x="11988" y="15534"/>
                </a:cubicBezTo>
                <a:cubicBezTo>
                  <a:pt x="12014" y="15534"/>
                  <a:pt x="12036" y="15499"/>
                  <a:pt x="12044" y="15451"/>
                </a:cubicBezTo>
                <a:lnTo>
                  <a:pt x="12500" y="15838"/>
                </a:lnTo>
                <a:cubicBezTo>
                  <a:pt x="12485" y="15905"/>
                  <a:pt x="12451" y="15949"/>
                  <a:pt x="12412" y="15990"/>
                </a:cubicBezTo>
                <a:cubicBezTo>
                  <a:pt x="12400" y="15912"/>
                  <a:pt x="12365" y="15854"/>
                  <a:pt x="12322" y="15854"/>
                </a:cubicBezTo>
                <a:cubicBezTo>
                  <a:pt x="12269" y="15854"/>
                  <a:pt x="12226" y="15941"/>
                  <a:pt x="12226" y="16048"/>
                </a:cubicBezTo>
                <a:cubicBezTo>
                  <a:pt x="12226" y="16059"/>
                  <a:pt x="12228" y="16068"/>
                  <a:pt x="12229" y="16078"/>
                </a:cubicBezTo>
                <a:lnTo>
                  <a:pt x="11742" y="16032"/>
                </a:lnTo>
                <a:cubicBezTo>
                  <a:pt x="11752" y="16023"/>
                  <a:pt x="11760" y="16007"/>
                  <a:pt x="11760" y="15984"/>
                </a:cubicBezTo>
                <a:cubicBezTo>
                  <a:pt x="11760" y="15953"/>
                  <a:pt x="11747" y="15929"/>
                  <a:pt x="11732" y="15929"/>
                </a:cubicBezTo>
                <a:cubicBezTo>
                  <a:pt x="11717" y="15929"/>
                  <a:pt x="11705" y="15953"/>
                  <a:pt x="11705" y="15984"/>
                </a:cubicBezTo>
                <a:cubicBezTo>
                  <a:pt x="11705" y="16005"/>
                  <a:pt x="11711" y="16020"/>
                  <a:pt x="11720" y="16029"/>
                </a:cubicBezTo>
                <a:lnTo>
                  <a:pt x="11403" y="15999"/>
                </a:lnTo>
                <a:cubicBezTo>
                  <a:pt x="11404" y="15994"/>
                  <a:pt x="11406" y="15990"/>
                  <a:pt x="11406" y="15984"/>
                </a:cubicBezTo>
                <a:cubicBezTo>
                  <a:pt x="11406" y="15953"/>
                  <a:pt x="11394" y="15929"/>
                  <a:pt x="11378" y="15929"/>
                </a:cubicBezTo>
                <a:cubicBezTo>
                  <a:pt x="11363" y="15929"/>
                  <a:pt x="11351" y="15953"/>
                  <a:pt x="11351" y="15984"/>
                </a:cubicBezTo>
                <a:cubicBezTo>
                  <a:pt x="11351" y="15988"/>
                  <a:pt x="11352" y="15991"/>
                  <a:pt x="11353" y="15994"/>
                </a:cubicBezTo>
                <a:lnTo>
                  <a:pt x="11023" y="15963"/>
                </a:lnTo>
                <a:cubicBezTo>
                  <a:pt x="11020" y="15903"/>
                  <a:pt x="10995" y="15854"/>
                  <a:pt x="10964" y="15854"/>
                </a:cubicBezTo>
                <a:cubicBezTo>
                  <a:pt x="10961" y="15854"/>
                  <a:pt x="10958" y="15858"/>
                  <a:pt x="10954" y="15859"/>
                </a:cubicBezTo>
                <a:lnTo>
                  <a:pt x="10885" y="15641"/>
                </a:lnTo>
                <a:cubicBezTo>
                  <a:pt x="10882" y="15633"/>
                  <a:pt x="10878" y="15628"/>
                  <a:pt x="10873" y="15627"/>
                </a:cubicBezTo>
                <a:cubicBezTo>
                  <a:pt x="10892" y="15579"/>
                  <a:pt x="10911" y="15529"/>
                  <a:pt x="10921" y="15469"/>
                </a:cubicBezTo>
                <a:cubicBezTo>
                  <a:pt x="10933" y="15442"/>
                  <a:pt x="10941" y="15407"/>
                  <a:pt x="10941" y="15368"/>
                </a:cubicBezTo>
                <a:cubicBezTo>
                  <a:pt x="10941" y="15329"/>
                  <a:pt x="10933" y="15292"/>
                  <a:pt x="10920" y="15266"/>
                </a:cubicBezTo>
                <a:cubicBezTo>
                  <a:pt x="10918" y="15251"/>
                  <a:pt x="10916" y="15236"/>
                  <a:pt x="10913" y="15223"/>
                </a:cubicBezTo>
                <a:cubicBezTo>
                  <a:pt x="10908" y="15193"/>
                  <a:pt x="10903" y="15165"/>
                  <a:pt x="10900" y="15128"/>
                </a:cubicBezTo>
                <a:cubicBezTo>
                  <a:pt x="10887" y="14968"/>
                  <a:pt x="10872" y="14895"/>
                  <a:pt x="10855" y="14811"/>
                </a:cubicBezTo>
                <a:cubicBezTo>
                  <a:pt x="10852" y="14798"/>
                  <a:pt x="10849" y="14784"/>
                  <a:pt x="10846" y="14769"/>
                </a:cubicBezTo>
                <a:cubicBezTo>
                  <a:pt x="10840" y="14738"/>
                  <a:pt x="10838" y="14704"/>
                  <a:pt x="10835" y="14668"/>
                </a:cubicBezTo>
                <a:cubicBezTo>
                  <a:pt x="10831" y="14613"/>
                  <a:pt x="10827" y="14556"/>
                  <a:pt x="10809" y="14507"/>
                </a:cubicBezTo>
                <a:cubicBezTo>
                  <a:pt x="10792" y="14464"/>
                  <a:pt x="10770" y="14421"/>
                  <a:pt x="10746" y="14376"/>
                </a:cubicBezTo>
                <a:cubicBezTo>
                  <a:pt x="10738" y="14360"/>
                  <a:pt x="10729" y="14344"/>
                  <a:pt x="10721" y="14327"/>
                </a:cubicBezTo>
                <a:close/>
                <a:moveTo>
                  <a:pt x="17472" y="14390"/>
                </a:moveTo>
                <a:cubicBezTo>
                  <a:pt x="17475" y="14399"/>
                  <a:pt x="17478" y="14408"/>
                  <a:pt x="17482" y="14415"/>
                </a:cubicBezTo>
                <a:cubicBezTo>
                  <a:pt x="17479" y="14418"/>
                  <a:pt x="17475" y="14421"/>
                  <a:pt x="17473" y="14423"/>
                </a:cubicBezTo>
                <a:cubicBezTo>
                  <a:pt x="17463" y="14431"/>
                  <a:pt x="17450" y="14443"/>
                  <a:pt x="17444" y="14465"/>
                </a:cubicBezTo>
                <a:lnTo>
                  <a:pt x="17443" y="14465"/>
                </a:lnTo>
                <a:cubicBezTo>
                  <a:pt x="17443" y="14462"/>
                  <a:pt x="17443" y="14459"/>
                  <a:pt x="17443" y="14457"/>
                </a:cubicBezTo>
                <a:cubicBezTo>
                  <a:pt x="17443" y="14447"/>
                  <a:pt x="17441" y="14441"/>
                  <a:pt x="17439" y="14433"/>
                </a:cubicBezTo>
                <a:cubicBezTo>
                  <a:pt x="17442" y="14434"/>
                  <a:pt x="17443" y="14438"/>
                  <a:pt x="17445" y="14438"/>
                </a:cubicBezTo>
                <a:cubicBezTo>
                  <a:pt x="17459" y="14438"/>
                  <a:pt x="17470" y="14417"/>
                  <a:pt x="17472" y="14390"/>
                </a:cubicBezTo>
                <a:close/>
                <a:moveTo>
                  <a:pt x="18602" y="14400"/>
                </a:moveTo>
                <a:cubicBezTo>
                  <a:pt x="18575" y="14400"/>
                  <a:pt x="18552" y="14444"/>
                  <a:pt x="18552" y="14499"/>
                </a:cubicBezTo>
                <a:cubicBezTo>
                  <a:pt x="18552" y="14553"/>
                  <a:pt x="18575" y="14597"/>
                  <a:pt x="18602" y="14597"/>
                </a:cubicBezTo>
                <a:cubicBezTo>
                  <a:pt x="18629" y="14597"/>
                  <a:pt x="18651" y="14553"/>
                  <a:pt x="18651" y="14499"/>
                </a:cubicBezTo>
                <a:cubicBezTo>
                  <a:pt x="18651" y="14444"/>
                  <a:pt x="18629" y="14400"/>
                  <a:pt x="18602" y="14400"/>
                </a:cubicBezTo>
                <a:close/>
                <a:moveTo>
                  <a:pt x="19337" y="14405"/>
                </a:moveTo>
                <a:cubicBezTo>
                  <a:pt x="19340" y="14408"/>
                  <a:pt x="19341" y="14411"/>
                  <a:pt x="19342" y="14415"/>
                </a:cubicBezTo>
                <a:lnTo>
                  <a:pt x="19337" y="14417"/>
                </a:lnTo>
                <a:cubicBezTo>
                  <a:pt x="19337" y="14414"/>
                  <a:pt x="19337" y="14410"/>
                  <a:pt x="19337" y="14405"/>
                </a:cubicBezTo>
                <a:close/>
                <a:moveTo>
                  <a:pt x="11494" y="14411"/>
                </a:moveTo>
                <a:lnTo>
                  <a:pt x="11541" y="14682"/>
                </a:lnTo>
                <a:lnTo>
                  <a:pt x="11470" y="14417"/>
                </a:lnTo>
                <a:cubicBezTo>
                  <a:pt x="11473" y="14419"/>
                  <a:pt x="11475" y="14424"/>
                  <a:pt x="11478" y="14424"/>
                </a:cubicBezTo>
                <a:cubicBezTo>
                  <a:pt x="11485" y="14424"/>
                  <a:pt x="11489" y="14417"/>
                  <a:pt x="11494" y="14411"/>
                </a:cubicBezTo>
                <a:close/>
                <a:moveTo>
                  <a:pt x="17493" y="14474"/>
                </a:moveTo>
                <a:cubicBezTo>
                  <a:pt x="17482" y="14474"/>
                  <a:pt x="17473" y="14492"/>
                  <a:pt x="17473" y="14514"/>
                </a:cubicBezTo>
                <a:cubicBezTo>
                  <a:pt x="17473" y="14535"/>
                  <a:pt x="17482" y="14552"/>
                  <a:pt x="17493" y="14552"/>
                </a:cubicBezTo>
                <a:cubicBezTo>
                  <a:pt x="17504" y="14552"/>
                  <a:pt x="17512" y="14535"/>
                  <a:pt x="17512" y="14514"/>
                </a:cubicBezTo>
                <a:cubicBezTo>
                  <a:pt x="17512" y="14492"/>
                  <a:pt x="17504" y="14474"/>
                  <a:pt x="17493" y="14474"/>
                </a:cubicBezTo>
                <a:close/>
                <a:moveTo>
                  <a:pt x="19421" y="14511"/>
                </a:moveTo>
                <a:cubicBezTo>
                  <a:pt x="19393" y="14511"/>
                  <a:pt x="19371" y="14556"/>
                  <a:pt x="19371" y="14611"/>
                </a:cubicBezTo>
                <a:cubicBezTo>
                  <a:pt x="19371" y="14665"/>
                  <a:pt x="19393" y="14708"/>
                  <a:pt x="19421" y="14708"/>
                </a:cubicBezTo>
                <a:cubicBezTo>
                  <a:pt x="19440" y="14708"/>
                  <a:pt x="19453" y="14684"/>
                  <a:pt x="19461" y="14651"/>
                </a:cubicBezTo>
                <a:cubicBezTo>
                  <a:pt x="19466" y="14660"/>
                  <a:pt x="19470" y="14670"/>
                  <a:pt x="19476" y="14675"/>
                </a:cubicBezTo>
                <a:lnTo>
                  <a:pt x="19476" y="14686"/>
                </a:lnTo>
                <a:cubicBezTo>
                  <a:pt x="19476" y="14714"/>
                  <a:pt x="19488" y="14746"/>
                  <a:pt x="19504" y="14746"/>
                </a:cubicBezTo>
                <a:cubicBezTo>
                  <a:pt x="19519" y="14746"/>
                  <a:pt x="19533" y="14710"/>
                  <a:pt x="19533" y="14682"/>
                </a:cubicBezTo>
                <a:cubicBezTo>
                  <a:pt x="19533" y="14647"/>
                  <a:pt x="19476" y="14543"/>
                  <a:pt x="19469" y="14534"/>
                </a:cubicBezTo>
                <a:cubicBezTo>
                  <a:pt x="19465" y="14528"/>
                  <a:pt x="19460" y="14527"/>
                  <a:pt x="19455" y="14531"/>
                </a:cubicBezTo>
                <a:cubicBezTo>
                  <a:pt x="19454" y="14533"/>
                  <a:pt x="19454" y="14536"/>
                  <a:pt x="19453" y="14538"/>
                </a:cubicBezTo>
                <a:cubicBezTo>
                  <a:pt x="19444" y="14522"/>
                  <a:pt x="19433" y="14511"/>
                  <a:pt x="19421" y="14511"/>
                </a:cubicBezTo>
                <a:close/>
                <a:moveTo>
                  <a:pt x="19283" y="14518"/>
                </a:moveTo>
                <a:cubicBezTo>
                  <a:pt x="19280" y="14524"/>
                  <a:pt x="19276" y="14529"/>
                  <a:pt x="19272" y="14535"/>
                </a:cubicBezTo>
                <a:cubicBezTo>
                  <a:pt x="19263" y="14549"/>
                  <a:pt x="19251" y="14567"/>
                  <a:pt x="19247" y="14602"/>
                </a:cubicBezTo>
                <a:cubicBezTo>
                  <a:pt x="19238" y="14608"/>
                  <a:pt x="19230" y="14615"/>
                  <a:pt x="19222" y="14622"/>
                </a:cubicBezTo>
                <a:cubicBezTo>
                  <a:pt x="19220" y="14606"/>
                  <a:pt x="19219" y="14589"/>
                  <a:pt x="19213" y="14578"/>
                </a:cubicBezTo>
                <a:cubicBezTo>
                  <a:pt x="19225" y="14575"/>
                  <a:pt x="19236" y="14573"/>
                  <a:pt x="19246" y="14564"/>
                </a:cubicBezTo>
                <a:cubicBezTo>
                  <a:pt x="19254" y="14556"/>
                  <a:pt x="19261" y="14543"/>
                  <a:pt x="19266" y="14527"/>
                </a:cubicBezTo>
                <a:lnTo>
                  <a:pt x="19283" y="14518"/>
                </a:lnTo>
                <a:close/>
                <a:moveTo>
                  <a:pt x="5282" y="14537"/>
                </a:moveTo>
                <a:lnTo>
                  <a:pt x="5561" y="14874"/>
                </a:lnTo>
                <a:lnTo>
                  <a:pt x="5904" y="15287"/>
                </a:lnTo>
                <a:cubicBezTo>
                  <a:pt x="5890" y="15326"/>
                  <a:pt x="5880" y="15371"/>
                  <a:pt x="5880" y="15422"/>
                </a:cubicBezTo>
                <a:cubicBezTo>
                  <a:pt x="5880" y="15431"/>
                  <a:pt x="5882" y="15438"/>
                  <a:pt x="5883" y="15446"/>
                </a:cubicBezTo>
                <a:lnTo>
                  <a:pt x="5620" y="15765"/>
                </a:lnTo>
                <a:cubicBezTo>
                  <a:pt x="5613" y="15754"/>
                  <a:pt x="5605" y="15743"/>
                  <a:pt x="5595" y="15743"/>
                </a:cubicBezTo>
                <a:cubicBezTo>
                  <a:pt x="5582" y="15743"/>
                  <a:pt x="5569" y="15753"/>
                  <a:pt x="5561" y="15771"/>
                </a:cubicBezTo>
                <a:cubicBezTo>
                  <a:pt x="5556" y="15762"/>
                  <a:pt x="5552" y="15755"/>
                  <a:pt x="5548" y="15746"/>
                </a:cubicBezTo>
                <a:cubicBezTo>
                  <a:pt x="5540" y="15732"/>
                  <a:pt x="5540" y="15711"/>
                  <a:pt x="5542" y="15676"/>
                </a:cubicBezTo>
                <a:cubicBezTo>
                  <a:pt x="5543" y="15663"/>
                  <a:pt x="5543" y="15649"/>
                  <a:pt x="5543" y="15635"/>
                </a:cubicBezTo>
                <a:cubicBezTo>
                  <a:pt x="5543" y="15586"/>
                  <a:pt x="5531" y="15552"/>
                  <a:pt x="5519" y="15522"/>
                </a:cubicBezTo>
                <a:cubicBezTo>
                  <a:pt x="5512" y="15503"/>
                  <a:pt x="5505" y="15486"/>
                  <a:pt x="5502" y="15465"/>
                </a:cubicBezTo>
                <a:cubicBezTo>
                  <a:pt x="5493" y="15409"/>
                  <a:pt x="5478" y="15362"/>
                  <a:pt x="5462" y="15316"/>
                </a:cubicBezTo>
                <a:cubicBezTo>
                  <a:pt x="5448" y="15274"/>
                  <a:pt x="5435" y="15235"/>
                  <a:pt x="5428" y="15193"/>
                </a:cubicBezTo>
                <a:cubicBezTo>
                  <a:pt x="5413" y="15095"/>
                  <a:pt x="5401" y="15039"/>
                  <a:pt x="5381" y="14956"/>
                </a:cubicBezTo>
                <a:cubicBezTo>
                  <a:pt x="5374" y="14927"/>
                  <a:pt x="5361" y="14921"/>
                  <a:pt x="5354" y="14918"/>
                </a:cubicBezTo>
                <a:cubicBezTo>
                  <a:pt x="5353" y="14918"/>
                  <a:pt x="5351" y="14917"/>
                  <a:pt x="5351" y="14917"/>
                </a:cubicBezTo>
                <a:cubicBezTo>
                  <a:pt x="5343" y="14901"/>
                  <a:pt x="5338" y="14870"/>
                  <a:pt x="5334" y="14845"/>
                </a:cubicBezTo>
                <a:cubicBezTo>
                  <a:pt x="5332" y="14831"/>
                  <a:pt x="5331" y="14818"/>
                  <a:pt x="5328" y="14806"/>
                </a:cubicBezTo>
                <a:cubicBezTo>
                  <a:pt x="5321" y="14780"/>
                  <a:pt x="5308" y="14773"/>
                  <a:pt x="5300" y="14769"/>
                </a:cubicBezTo>
                <a:cubicBezTo>
                  <a:pt x="5298" y="14768"/>
                  <a:pt x="5294" y="14766"/>
                  <a:pt x="5293" y="14764"/>
                </a:cubicBezTo>
                <a:cubicBezTo>
                  <a:pt x="5269" y="14716"/>
                  <a:pt x="5244" y="14640"/>
                  <a:pt x="5244" y="14578"/>
                </a:cubicBezTo>
                <a:cubicBezTo>
                  <a:pt x="5244" y="14578"/>
                  <a:pt x="5244" y="14577"/>
                  <a:pt x="5244" y="14577"/>
                </a:cubicBezTo>
                <a:cubicBezTo>
                  <a:pt x="5259" y="14570"/>
                  <a:pt x="5272" y="14558"/>
                  <a:pt x="5282" y="14537"/>
                </a:cubicBezTo>
                <a:close/>
                <a:moveTo>
                  <a:pt x="10939" y="14549"/>
                </a:moveTo>
                <a:cubicBezTo>
                  <a:pt x="10920" y="14549"/>
                  <a:pt x="10905" y="14580"/>
                  <a:pt x="10905" y="14618"/>
                </a:cubicBezTo>
                <a:cubicBezTo>
                  <a:pt x="10905" y="14655"/>
                  <a:pt x="10920" y="14685"/>
                  <a:pt x="10939" y="14685"/>
                </a:cubicBezTo>
                <a:cubicBezTo>
                  <a:pt x="10958" y="14685"/>
                  <a:pt x="10973" y="14655"/>
                  <a:pt x="10973" y="14618"/>
                </a:cubicBezTo>
                <a:cubicBezTo>
                  <a:pt x="10973" y="14580"/>
                  <a:pt x="10958" y="14549"/>
                  <a:pt x="10939" y="14549"/>
                </a:cubicBezTo>
                <a:close/>
                <a:moveTo>
                  <a:pt x="18227" y="14566"/>
                </a:moveTo>
                <a:cubicBezTo>
                  <a:pt x="18201" y="14573"/>
                  <a:pt x="18201" y="14630"/>
                  <a:pt x="18201" y="14658"/>
                </a:cubicBezTo>
                <a:lnTo>
                  <a:pt x="18201" y="14664"/>
                </a:lnTo>
                <a:cubicBezTo>
                  <a:pt x="18201" y="14665"/>
                  <a:pt x="18200" y="14666"/>
                  <a:pt x="18199" y="14668"/>
                </a:cubicBezTo>
                <a:cubicBezTo>
                  <a:pt x="18189" y="14676"/>
                  <a:pt x="18180" y="14693"/>
                  <a:pt x="18180" y="14717"/>
                </a:cubicBezTo>
                <a:cubicBezTo>
                  <a:pt x="18180" y="14721"/>
                  <a:pt x="18182" y="14723"/>
                  <a:pt x="18183" y="14727"/>
                </a:cubicBezTo>
                <a:cubicBezTo>
                  <a:pt x="18182" y="14732"/>
                  <a:pt x="18180" y="14734"/>
                  <a:pt x="18180" y="14740"/>
                </a:cubicBezTo>
                <a:cubicBezTo>
                  <a:pt x="18180" y="14765"/>
                  <a:pt x="18191" y="14804"/>
                  <a:pt x="18208" y="14804"/>
                </a:cubicBezTo>
                <a:cubicBezTo>
                  <a:pt x="18217" y="14804"/>
                  <a:pt x="18223" y="14795"/>
                  <a:pt x="18227" y="14788"/>
                </a:cubicBezTo>
                <a:cubicBezTo>
                  <a:pt x="18235" y="14771"/>
                  <a:pt x="18236" y="14748"/>
                  <a:pt x="18236" y="14722"/>
                </a:cubicBezTo>
                <a:cubicBezTo>
                  <a:pt x="18236" y="14720"/>
                  <a:pt x="18237" y="14719"/>
                  <a:pt x="18237" y="14717"/>
                </a:cubicBezTo>
                <a:cubicBezTo>
                  <a:pt x="18237" y="14714"/>
                  <a:pt x="18236" y="14713"/>
                  <a:pt x="18236" y="14711"/>
                </a:cubicBezTo>
                <a:cubicBezTo>
                  <a:pt x="18235" y="14709"/>
                  <a:pt x="18236" y="14708"/>
                  <a:pt x="18236" y="14706"/>
                </a:cubicBezTo>
                <a:cubicBezTo>
                  <a:pt x="18246" y="14695"/>
                  <a:pt x="18252" y="14672"/>
                  <a:pt x="18252" y="14642"/>
                </a:cubicBezTo>
                <a:cubicBezTo>
                  <a:pt x="18252" y="14622"/>
                  <a:pt x="18251" y="14611"/>
                  <a:pt x="18246" y="14600"/>
                </a:cubicBezTo>
                <a:cubicBezTo>
                  <a:pt x="18245" y="14599"/>
                  <a:pt x="18245" y="14598"/>
                  <a:pt x="18244" y="14588"/>
                </a:cubicBezTo>
                <a:cubicBezTo>
                  <a:pt x="18242" y="14574"/>
                  <a:pt x="18235" y="14564"/>
                  <a:pt x="18227" y="14566"/>
                </a:cubicBezTo>
                <a:close/>
                <a:moveTo>
                  <a:pt x="7886" y="14577"/>
                </a:moveTo>
                <a:cubicBezTo>
                  <a:pt x="7896" y="14589"/>
                  <a:pt x="7905" y="14598"/>
                  <a:pt x="7912" y="14602"/>
                </a:cubicBezTo>
                <a:cubicBezTo>
                  <a:pt x="7926" y="14610"/>
                  <a:pt x="7942" y="14610"/>
                  <a:pt x="7957" y="14607"/>
                </a:cubicBezTo>
                <a:cubicBezTo>
                  <a:pt x="7968" y="14605"/>
                  <a:pt x="7980" y="14604"/>
                  <a:pt x="7990" y="14609"/>
                </a:cubicBezTo>
                <a:cubicBezTo>
                  <a:pt x="8019" y="14627"/>
                  <a:pt x="8033" y="14685"/>
                  <a:pt x="8033" y="14785"/>
                </a:cubicBezTo>
                <a:cubicBezTo>
                  <a:pt x="8033" y="14899"/>
                  <a:pt x="8022" y="14989"/>
                  <a:pt x="7996" y="15072"/>
                </a:cubicBezTo>
                <a:lnTo>
                  <a:pt x="7901" y="15121"/>
                </a:lnTo>
                <a:cubicBezTo>
                  <a:pt x="7891" y="15080"/>
                  <a:pt x="7872" y="15051"/>
                  <a:pt x="7849" y="15041"/>
                </a:cubicBezTo>
                <a:lnTo>
                  <a:pt x="7870" y="14775"/>
                </a:lnTo>
                <a:lnTo>
                  <a:pt x="7886" y="14577"/>
                </a:lnTo>
                <a:close/>
                <a:moveTo>
                  <a:pt x="16568" y="14604"/>
                </a:moveTo>
                <a:cubicBezTo>
                  <a:pt x="16558" y="14604"/>
                  <a:pt x="16550" y="14612"/>
                  <a:pt x="16544" y="14620"/>
                </a:cubicBezTo>
                <a:cubicBezTo>
                  <a:pt x="16541" y="14623"/>
                  <a:pt x="16538" y="14627"/>
                  <a:pt x="16536" y="14628"/>
                </a:cubicBezTo>
                <a:cubicBezTo>
                  <a:pt x="16536" y="14628"/>
                  <a:pt x="16535" y="14627"/>
                  <a:pt x="16535" y="14627"/>
                </a:cubicBezTo>
                <a:cubicBezTo>
                  <a:pt x="16532" y="14621"/>
                  <a:pt x="16526" y="14612"/>
                  <a:pt x="16518" y="14612"/>
                </a:cubicBezTo>
                <a:cubicBezTo>
                  <a:pt x="16496" y="14612"/>
                  <a:pt x="16454" y="14701"/>
                  <a:pt x="16450" y="14720"/>
                </a:cubicBezTo>
                <a:cubicBezTo>
                  <a:pt x="16449" y="14729"/>
                  <a:pt x="16449" y="14740"/>
                  <a:pt x="16452" y="14748"/>
                </a:cubicBezTo>
                <a:cubicBezTo>
                  <a:pt x="16455" y="14756"/>
                  <a:pt x="16459" y="14761"/>
                  <a:pt x="16464" y="14761"/>
                </a:cubicBezTo>
                <a:cubicBezTo>
                  <a:pt x="16483" y="14761"/>
                  <a:pt x="16495" y="14784"/>
                  <a:pt x="16513" y="14823"/>
                </a:cubicBezTo>
                <a:cubicBezTo>
                  <a:pt x="16514" y="14825"/>
                  <a:pt x="16515" y="14827"/>
                  <a:pt x="16516" y="14829"/>
                </a:cubicBezTo>
                <a:cubicBezTo>
                  <a:pt x="16509" y="14841"/>
                  <a:pt x="16506" y="14859"/>
                  <a:pt x="16506" y="14879"/>
                </a:cubicBezTo>
                <a:cubicBezTo>
                  <a:pt x="16506" y="14916"/>
                  <a:pt x="16521" y="14946"/>
                  <a:pt x="16540" y="14946"/>
                </a:cubicBezTo>
                <a:cubicBezTo>
                  <a:pt x="16559" y="14946"/>
                  <a:pt x="16574" y="14916"/>
                  <a:pt x="16574" y="14879"/>
                </a:cubicBezTo>
                <a:cubicBezTo>
                  <a:pt x="16574" y="14876"/>
                  <a:pt x="16573" y="14875"/>
                  <a:pt x="16572" y="14873"/>
                </a:cubicBezTo>
                <a:cubicBezTo>
                  <a:pt x="16575" y="14872"/>
                  <a:pt x="16577" y="14872"/>
                  <a:pt x="16580" y="14872"/>
                </a:cubicBezTo>
                <a:cubicBezTo>
                  <a:pt x="16592" y="14869"/>
                  <a:pt x="16604" y="14867"/>
                  <a:pt x="16615" y="14874"/>
                </a:cubicBezTo>
                <a:cubicBezTo>
                  <a:pt x="16658" y="14900"/>
                  <a:pt x="16693" y="14906"/>
                  <a:pt x="16736" y="14906"/>
                </a:cubicBezTo>
                <a:cubicBezTo>
                  <a:pt x="16739" y="14906"/>
                  <a:pt x="16743" y="14911"/>
                  <a:pt x="16749" y="14922"/>
                </a:cubicBezTo>
                <a:cubicBezTo>
                  <a:pt x="16750" y="14956"/>
                  <a:pt x="16764" y="14984"/>
                  <a:pt x="16782" y="14984"/>
                </a:cubicBezTo>
                <a:cubicBezTo>
                  <a:pt x="16792" y="14984"/>
                  <a:pt x="16800" y="14975"/>
                  <a:pt x="16806" y="14961"/>
                </a:cubicBezTo>
                <a:cubicBezTo>
                  <a:pt x="16852" y="14962"/>
                  <a:pt x="16893" y="14970"/>
                  <a:pt x="16931" y="14984"/>
                </a:cubicBezTo>
                <a:cubicBezTo>
                  <a:pt x="16957" y="14993"/>
                  <a:pt x="16983" y="15002"/>
                  <a:pt x="17008" y="15022"/>
                </a:cubicBezTo>
                <a:cubicBezTo>
                  <a:pt x="17010" y="15023"/>
                  <a:pt x="17012" y="15024"/>
                  <a:pt x="17014" y="15024"/>
                </a:cubicBezTo>
                <a:cubicBezTo>
                  <a:pt x="17018" y="15024"/>
                  <a:pt x="17021" y="15022"/>
                  <a:pt x="17024" y="15016"/>
                </a:cubicBezTo>
                <a:cubicBezTo>
                  <a:pt x="17028" y="15009"/>
                  <a:pt x="17029" y="15000"/>
                  <a:pt x="17028" y="14991"/>
                </a:cubicBezTo>
                <a:cubicBezTo>
                  <a:pt x="17029" y="14991"/>
                  <a:pt x="17030" y="14991"/>
                  <a:pt x="17030" y="14992"/>
                </a:cubicBezTo>
                <a:cubicBezTo>
                  <a:pt x="17036" y="15000"/>
                  <a:pt x="17044" y="15012"/>
                  <a:pt x="17059" y="15012"/>
                </a:cubicBezTo>
                <a:cubicBezTo>
                  <a:pt x="17069" y="15012"/>
                  <a:pt x="17080" y="14989"/>
                  <a:pt x="17088" y="14970"/>
                </a:cubicBezTo>
                <a:lnTo>
                  <a:pt x="17088" y="14978"/>
                </a:lnTo>
                <a:cubicBezTo>
                  <a:pt x="17088" y="15008"/>
                  <a:pt x="17106" y="15037"/>
                  <a:pt x="17120" y="15037"/>
                </a:cubicBezTo>
                <a:cubicBezTo>
                  <a:pt x="17127" y="15037"/>
                  <a:pt x="17135" y="15031"/>
                  <a:pt x="17141" y="15022"/>
                </a:cubicBezTo>
                <a:cubicBezTo>
                  <a:pt x="17153" y="15057"/>
                  <a:pt x="17194" y="15058"/>
                  <a:pt x="17194" y="15058"/>
                </a:cubicBezTo>
                <a:cubicBezTo>
                  <a:pt x="17207" y="15058"/>
                  <a:pt x="17215" y="15048"/>
                  <a:pt x="17223" y="15040"/>
                </a:cubicBezTo>
                <a:cubicBezTo>
                  <a:pt x="17229" y="15051"/>
                  <a:pt x="17238" y="15058"/>
                  <a:pt x="17247" y="15058"/>
                </a:cubicBezTo>
                <a:cubicBezTo>
                  <a:pt x="17257" y="15058"/>
                  <a:pt x="17266" y="15047"/>
                  <a:pt x="17272" y="15033"/>
                </a:cubicBezTo>
                <a:lnTo>
                  <a:pt x="17281" y="15033"/>
                </a:lnTo>
                <a:cubicBezTo>
                  <a:pt x="17287" y="15033"/>
                  <a:pt x="17292" y="15025"/>
                  <a:pt x="17295" y="15014"/>
                </a:cubicBezTo>
                <a:cubicBezTo>
                  <a:pt x="17296" y="15005"/>
                  <a:pt x="17296" y="14996"/>
                  <a:pt x="17294" y="14988"/>
                </a:cubicBezTo>
                <a:cubicBezTo>
                  <a:pt x="17294" y="14985"/>
                  <a:pt x="17294" y="14981"/>
                  <a:pt x="17295" y="14977"/>
                </a:cubicBezTo>
                <a:cubicBezTo>
                  <a:pt x="17295" y="14966"/>
                  <a:pt x="17296" y="14954"/>
                  <a:pt x="17296" y="14939"/>
                </a:cubicBezTo>
                <a:cubicBezTo>
                  <a:pt x="17296" y="14923"/>
                  <a:pt x="17289" y="14909"/>
                  <a:pt x="17281" y="14909"/>
                </a:cubicBezTo>
                <a:lnTo>
                  <a:pt x="17230" y="14909"/>
                </a:lnTo>
                <a:cubicBezTo>
                  <a:pt x="17223" y="14909"/>
                  <a:pt x="17217" y="14919"/>
                  <a:pt x="17216" y="14932"/>
                </a:cubicBezTo>
                <a:cubicBezTo>
                  <a:pt x="17208" y="14928"/>
                  <a:pt x="17199" y="14926"/>
                  <a:pt x="17188" y="14926"/>
                </a:cubicBezTo>
                <a:lnTo>
                  <a:pt x="17178" y="14926"/>
                </a:lnTo>
                <a:cubicBezTo>
                  <a:pt x="17172" y="14926"/>
                  <a:pt x="17159" y="14927"/>
                  <a:pt x="17149" y="14940"/>
                </a:cubicBezTo>
                <a:cubicBezTo>
                  <a:pt x="17149" y="14940"/>
                  <a:pt x="17149" y="14939"/>
                  <a:pt x="17148" y="14938"/>
                </a:cubicBezTo>
                <a:cubicBezTo>
                  <a:pt x="17148" y="14938"/>
                  <a:pt x="17147" y="14936"/>
                  <a:pt x="17146" y="14935"/>
                </a:cubicBezTo>
                <a:cubicBezTo>
                  <a:pt x="17147" y="14928"/>
                  <a:pt x="17150" y="14923"/>
                  <a:pt x="17150" y="14916"/>
                </a:cubicBezTo>
                <a:cubicBezTo>
                  <a:pt x="17150" y="14878"/>
                  <a:pt x="17135" y="14847"/>
                  <a:pt x="17117" y="14847"/>
                </a:cubicBezTo>
                <a:cubicBezTo>
                  <a:pt x="17100" y="14847"/>
                  <a:pt x="17088" y="14873"/>
                  <a:pt x="17085" y="14904"/>
                </a:cubicBezTo>
                <a:cubicBezTo>
                  <a:pt x="17082" y="14901"/>
                  <a:pt x="17079" y="14898"/>
                  <a:pt x="17077" y="14894"/>
                </a:cubicBezTo>
                <a:cubicBezTo>
                  <a:pt x="17072" y="14886"/>
                  <a:pt x="17065" y="14876"/>
                  <a:pt x="17052" y="14867"/>
                </a:cubicBezTo>
                <a:cubicBezTo>
                  <a:pt x="17042" y="14860"/>
                  <a:pt x="17030" y="14864"/>
                  <a:pt x="17021" y="14868"/>
                </a:cubicBezTo>
                <a:cubicBezTo>
                  <a:pt x="17016" y="14871"/>
                  <a:pt x="17012" y="14873"/>
                  <a:pt x="17009" y="14868"/>
                </a:cubicBezTo>
                <a:cubicBezTo>
                  <a:pt x="17008" y="14867"/>
                  <a:pt x="17008" y="14866"/>
                  <a:pt x="17007" y="14865"/>
                </a:cubicBezTo>
                <a:cubicBezTo>
                  <a:pt x="17005" y="14852"/>
                  <a:pt x="16999" y="14820"/>
                  <a:pt x="16979" y="14820"/>
                </a:cubicBezTo>
                <a:cubicBezTo>
                  <a:pt x="16967" y="14820"/>
                  <a:pt x="16956" y="14819"/>
                  <a:pt x="16946" y="14816"/>
                </a:cubicBezTo>
                <a:cubicBezTo>
                  <a:pt x="16964" y="14808"/>
                  <a:pt x="16982" y="14794"/>
                  <a:pt x="16984" y="14770"/>
                </a:cubicBezTo>
                <a:cubicBezTo>
                  <a:pt x="16985" y="14761"/>
                  <a:pt x="16983" y="14753"/>
                  <a:pt x="16981" y="14746"/>
                </a:cubicBezTo>
                <a:cubicBezTo>
                  <a:pt x="16978" y="14739"/>
                  <a:pt x="16974" y="14735"/>
                  <a:pt x="16970" y="14735"/>
                </a:cubicBezTo>
                <a:lnTo>
                  <a:pt x="16952" y="14735"/>
                </a:lnTo>
                <a:cubicBezTo>
                  <a:pt x="16952" y="14735"/>
                  <a:pt x="16951" y="14735"/>
                  <a:pt x="16950" y="14735"/>
                </a:cubicBezTo>
                <a:lnTo>
                  <a:pt x="16888" y="14752"/>
                </a:lnTo>
                <a:cubicBezTo>
                  <a:pt x="16874" y="14751"/>
                  <a:pt x="16864" y="14737"/>
                  <a:pt x="16852" y="14720"/>
                </a:cubicBezTo>
                <a:cubicBezTo>
                  <a:pt x="16837" y="14699"/>
                  <a:pt x="16820" y="14675"/>
                  <a:pt x="16793" y="14675"/>
                </a:cubicBezTo>
                <a:cubicBezTo>
                  <a:pt x="16776" y="14675"/>
                  <a:pt x="16765" y="14696"/>
                  <a:pt x="16756" y="14712"/>
                </a:cubicBezTo>
                <a:cubicBezTo>
                  <a:pt x="16746" y="14729"/>
                  <a:pt x="16740" y="14739"/>
                  <a:pt x="16729" y="14739"/>
                </a:cubicBezTo>
                <a:cubicBezTo>
                  <a:pt x="16711" y="14739"/>
                  <a:pt x="16696" y="14726"/>
                  <a:pt x="16682" y="14710"/>
                </a:cubicBezTo>
                <a:cubicBezTo>
                  <a:pt x="16683" y="14703"/>
                  <a:pt x="16685" y="14699"/>
                  <a:pt x="16685" y="14692"/>
                </a:cubicBezTo>
                <a:cubicBezTo>
                  <a:pt x="16685" y="14654"/>
                  <a:pt x="16670" y="14623"/>
                  <a:pt x="16652" y="14623"/>
                </a:cubicBezTo>
                <a:cubicBezTo>
                  <a:pt x="16643" y="14623"/>
                  <a:pt x="16634" y="14631"/>
                  <a:pt x="16628" y="14642"/>
                </a:cubicBezTo>
                <a:cubicBezTo>
                  <a:pt x="16611" y="14621"/>
                  <a:pt x="16592" y="14604"/>
                  <a:pt x="16568" y="14604"/>
                </a:cubicBezTo>
                <a:close/>
                <a:moveTo>
                  <a:pt x="19116" y="14614"/>
                </a:moveTo>
                <a:lnTo>
                  <a:pt x="19132" y="14614"/>
                </a:lnTo>
                <a:cubicBezTo>
                  <a:pt x="19133" y="14614"/>
                  <a:pt x="19134" y="14615"/>
                  <a:pt x="19134" y="14615"/>
                </a:cubicBezTo>
                <a:cubicBezTo>
                  <a:pt x="19135" y="14615"/>
                  <a:pt x="19136" y="14614"/>
                  <a:pt x="19136" y="14614"/>
                </a:cubicBezTo>
                <a:cubicBezTo>
                  <a:pt x="19135" y="14620"/>
                  <a:pt x="19133" y="14625"/>
                  <a:pt x="19133" y="14632"/>
                </a:cubicBezTo>
                <a:cubicBezTo>
                  <a:pt x="19128" y="14624"/>
                  <a:pt x="19122" y="14619"/>
                  <a:pt x="19116" y="14614"/>
                </a:cubicBezTo>
                <a:close/>
                <a:moveTo>
                  <a:pt x="6432" y="14661"/>
                </a:moveTo>
                <a:cubicBezTo>
                  <a:pt x="6405" y="14661"/>
                  <a:pt x="6383" y="14705"/>
                  <a:pt x="6383" y="14760"/>
                </a:cubicBezTo>
                <a:cubicBezTo>
                  <a:pt x="6383" y="14814"/>
                  <a:pt x="6405" y="14858"/>
                  <a:pt x="6432" y="14858"/>
                </a:cubicBezTo>
                <a:cubicBezTo>
                  <a:pt x="6459" y="14858"/>
                  <a:pt x="6481" y="14814"/>
                  <a:pt x="6481" y="14760"/>
                </a:cubicBezTo>
                <a:cubicBezTo>
                  <a:pt x="6481" y="14705"/>
                  <a:pt x="6459" y="14661"/>
                  <a:pt x="6432" y="14661"/>
                </a:cubicBezTo>
                <a:close/>
                <a:moveTo>
                  <a:pt x="16568" y="14663"/>
                </a:moveTo>
                <a:cubicBezTo>
                  <a:pt x="16587" y="14663"/>
                  <a:pt x="16603" y="14679"/>
                  <a:pt x="16619" y="14699"/>
                </a:cubicBezTo>
                <a:cubicBezTo>
                  <a:pt x="16621" y="14733"/>
                  <a:pt x="16634" y="14760"/>
                  <a:pt x="16652" y="14760"/>
                </a:cubicBezTo>
                <a:cubicBezTo>
                  <a:pt x="16655" y="14760"/>
                  <a:pt x="16657" y="14755"/>
                  <a:pt x="16660" y="14753"/>
                </a:cubicBezTo>
                <a:cubicBezTo>
                  <a:pt x="16680" y="14777"/>
                  <a:pt x="16701" y="14798"/>
                  <a:pt x="16729" y="14798"/>
                </a:cubicBezTo>
                <a:cubicBezTo>
                  <a:pt x="16752" y="14798"/>
                  <a:pt x="16766" y="14774"/>
                  <a:pt x="16775" y="14756"/>
                </a:cubicBezTo>
                <a:cubicBezTo>
                  <a:pt x="16783" y="14742"/>
                  <a:pt x="16788" y="14735"/>
                  <a:pt x="16793" y="14735"/>
                </a:cubicBezTo>
                <a:cubicBezTo>
                  <a:pt x="16811" y="14735"/>
                  <a:pt x="16822" y="14751"/>
                  <a:pt x="16835" y="14769"/>
                </a:cubicBezTo>
                <a:cubicBezTo>
                  <a:pt x="16847" y="14786"/>
                  <a:pt x="16860" y="14804"/>
                  <a:pt x="16878" y="14810"/>
                </a:cubicBezTo>
                <a:cubicBezTo>
                  <a:pt x="16879" y="14812"/>
                  <a:pt x="16880" y="14814"/>
                  <a:pt x="16881" y="14816"/>
                </a:cubicBezTo>
                <a:cubicBezTo>
                  <a:pt x="16892" y="14838"/>
                  <a:pt x="16904" y="14849"/>
                  <a:pt x="16917" y="14859"/>
                </a:cubicBezTo>
                <a:cubicBezTo>
                  <a:pt x="16906" y="14869"/>
                  <a:pt x="16899" y="14886"/>
                  <a:pt x="16897" y="14910"/>
                </a:cubicBezTo>
                <a:cubicBezTo>
                  <a:pt x="16871" y="14905"/>
                  <a:pt x="16842" y="14904"/>
                  <a:pt x="16813" y="14903"/>
                </a:cubicBezTo>
                <a:cubicBezTo>
                  <a:pt x="16809" y="14872"/>
                  <a:pt x="16798" y="14847"/>
                  <a:pt x="16782" y="14847"/>
                </a:cubicBezTo>
                <a:cubicBezTo>
                  <a:pt x="16774" y="14847"/>
                  <a:pt x="16767" y="14854"/>
                  <a:pt x="16761" y="14864"/>
                </a:cubicBezTo>
                <a:cubicBezTo>
                  <a:pt x="16754" y="14854"/>
                  <a:pt x="16746" y="14845"/>
                  <a:pt x="16736" y="14845"/>
                </a:cubicBezTo>
                <a:cubicBezTo>
                  <a:pt x="16696" y="14845"/>
                  <a:pt x="16664" y="14841"/>
                  <a:pt x="16624" y="14818"/>
                </a:cubicBezTo>
                <a:cubicBezTo>
                  <a:pt x="16616" y="14813"/>
                  <a:pt x="16607" y="14810"/>
                  <a:pt x="16597" y="14810"/>
                </a:cubicBezTo>
                <a:cubicBezTo>
                  <a:pt x="16590" y="14810"/>
                  <a:pt x="16584" y="14811"/>
                  <a:pt x="16577" y="14812"/>
                </a:cubicBezTo>
                <a:cubicBezTo>
                  <a:pt x="16572" y="14813"/>
                  <a:pt x="16567" y="14815"/>
                  <a:pt x="16562" y="14815"/>
                </a:cubicBezTo>
                <a:cubicBezTo>
                  <a:pt x="16554" y="14815"/>
                  <a:pt x="16549" y="14811"/>
                  <a:pt x="16545" y="14803"/>
                </a:cubicBezTo>
                <a:cubicBezTo>
                  <a:pt x="16542" y="14796"/>
                  <a:pt x="16539" y="14789"/>
                  <a:pt x="16535" y="14782"/>
                </a:cubicBezTo>
                <a:cubicBezTo>
                  <a:pt x="16523" y="14756"/>
                  <a:pt x="16510" y="14727"/>
                  <a:pt x="16492" y="14712"/>
                </a:cubicBezTo>
                <a:cubicBezTo>
                  <a:pt x="16501" y="14695"/>
                  <a:pt x="16511" y="14677"/>
                  <a:pt x="16516" y="14672"/>
                </a:cubicBezTo>
                <a:cubicBezTo>
                  <a:pt x="16516" y="14673"/>
                  <a:pt x="16516" y="14673"/>
                  <a:pt x="16517" y="14674"/>
                </a:cubicBezTo>
                <a:cubicBezTo>
                  <a:pt x="16520" y="14679"/>
                  <a:pt x="16526" y="14689"/>
                  <a:pt x="16535" y="14689"/>
                </a:cubicBezTo>
                <a:cubicBezTo>
                  <a:pt x="16545" y="14689"/>
                  <a:pt x="16553" y="14679"/>
                  <a:pt x="16559" y="14671"/>
                </a:cubicBezTo>
                <a:cubicBezTo>
                  <a:pt x="16563" y="14667"/>
                  <a:pt x="16566" y="14663"/>
                  <a:pt x="16568" y="14663"/>
                </a:cubicBezTo>
                <a:close/>
                <a:moveTo>
                  <a:pt x="19001" y="14678"/>
                </a:moveTo>
                <a:cubicBezTo>
                  <a:pt x="19014" y="14679"/>
                  <a:pt x="19017" y="14682"/>
                  <a:pt x="19017" y="14710"/>
                </a:cubicBezTo>
                <a:cubicBezTo>
                  <a:pt x="19016" y="14713"/>
                  <a:pt x="19009" y="14717"/>
                  <a:pt x="19005" y="14719"/>
                </a:cubicBezTo>
                <a:cubicBezTo>
                  <a:pt x="18995" y="14725"/>
                  <a:pt x="18976" y="14737"/>
                  <a:pt x="18976" y="14777"/>
                </a:cubicBezTo>
                <a:cubicBezTo>
                  <a:pt x="18976" y="14794"/>
                  <a:pt x="18980" y="14816"/>
                  <a:pt x="19019" y="14897"/>
                </a:cubicBezTo>
                <a:lnTo>
                  <a:pt x="19021" y="14901"/>
                </a:lnTo>
                <a:cubicBezTo>
                  <a:pt x="19031" y="14921"/>
                  <a:pt x="19034" y="14936"/>
                  <a:pt x="19038" y="14957"/>
                </a:cubicBezTo>
                <a:cubicBezTo>
                  <a:pt x="19041" y="14975"/>
                  <a:pt x="19045" y="14995"/>
                  <a:pt x="19053" y="15019"/>
                </a:cubicBezTo>
                <a:cubicBezTo>
                  <a:pt x="19055" y="15026"/>
                  <a:pt x="19061" y="15031"/>
                  <a:pt x="19065" y="15037"/>
                </a:cubicBezTo>
                <a:cubicBezTo>
                  <a:pt x="19059" y="15058"/>
                  <a:pt x="19055" y="15081"/>
                  <a:pt x="19055" y="15107"/>
                </a:cubicBezTo>
                <a:cubicBezTo>
                  <a:pt x="19055" y="15117"/>
                  <a:pt x="19057" y="15125"/>
                  <a:pt x="19058" y="15134"/>
                </a:cubicBezTo>
                <a:cubicBezTo>
                  <a:pt x="19035" y="15115"/>
                  <a:pt x="19016" y="15092"/>
                  <a:pt x="19016" y="15079"/>
                </a:cubicBezTo>
                <a:cubicBezTo>
                  <a:pt x="19016" y="15049"/>
                  <a:pt x="19003" y="15034"/>
                  <a:pt x="18995" y="15027"/>
                </a:cubicBezTo>
                <a:cubicBezTo>
                  <a:pt x="18993" y="15025"/>
                  <a:pt x="18992" y="15025"/>
                  <a:pt x="18991" y="15024"/>
                </a:cubicBezTo>
                <a:cubicBezTo>
                  <a:pt x="18984" y="15009"/>
                  <a:pt x="18976" y="14992"/>
                  <a:pt x="18968" y="14975"/>
                </a:cubicBezTo>
                <a:cubicBezTo>
                  <a:pt x="18933" y="14899"/>
                  <a:pt x="18894" y="14811"/>
                  <a:pt x="18830" y="14811"/>
                </a:cubicBezTo>
                <a:cubicBezTo>
                  <a:pt x="18819" y="14811"/>
                  <a:pt x="18813" y="14820"/>
                  <a:pt x="18805" y="14825"/>
                </a:cubicBezTo>
                <a:cubicBezTo>
                  <a:pt x="18802" y="14808"/>
                  <a:pt x="18798" y="14794"/>
                  <a:pt x="18793" y="14781"/>
                </a:cubicBezTo>
                <a:cubicBezTo>
                  <a:pt x="18823" y="14766"/>
                  <a:pt x="18853" y="14751"/>
                  <a:pt x="18884" y="14735"/>
                </a:cubicBezTo>
                <a:cubicBezTo>
                  <a:pt x="18886" y="14734"/>
                  <a:pt x="18888" y="14734"/>
                  <a:pt x="18890" y="14733"/>
                </a:cubicBezTo>
                <a:cubicBezTo>
                  <a:pt x="18926" y="14715"/>
                  <a:pt x="18964" y="14696"/>
                  <a:pt x="19001" y="14678"/>
                </a:cubicBezTo>
                <a:close/>
                <a:moveTo>
                  <a:pt x="19580" y="14682"/>
                </a:moveTo>
                <a:cubicBezTo>
                  <a:pt x="19573" y="14673"/>
                  <a:pt x="19564" y="14678"/>
                  <a:pt x="19560" y="14691"/>
                </a:cubicBezTo>
                <a:cubicBezTo>
                  <a:pt x="19557" y="14698"/>
                  <a:pt x="19557" y="14707"/>
                  <a:pt x="19558" y="14715"/>
                </a:cubicBezTo>
                <a:cubicBezTo>
                  <a:pt x="19556" y="14728"/>
                  <a:pt x="19558" y="14742"/>
                  <a:pt x="19564" y="14749"/>
                </a:cubicBezTo>
                <a:lnTo>
                  <a:pt x="19578" y="14768"/>
                </a:lnTo>
                <a:cubicBezTo>
                  <a:pt x="19577" y="14771"/>
                  <a:pt x="19576" y="14772"/>
                  <a:pt x="19576" y="14775"/>
                </a:cubicBezTo>
                <a:cubicBezTo>
                  <a:pt x="19576" y="14797"/>
                  <a:pt x="19585" y="14813"/>
                  <a:pt x="19596" y="14813"/>
                </a:cubicBezTo>
                <a:cubicBezTo>
                  <a:pt x="19602" y="14813"/>
                  <a:pt x="19607" y="14806"/>
                  <a:pt x="19610" y="14797"/>
                </a:cubicBezTo>
                <a:lnTo>
                  <a:pt x="19623" y="14797"/>
                </a:lnTo>
                <a:cubicBezTo>
                  <a:pt x="19628" y="14797"/>
                  <a:pt x="19634" y="14791"/>
                  <a:pt x="19636" y="14781"/>
                </a:cubicBezTo>
                <a:cubicBezTo>
                  <a:pt x="19639" y="14771"/>
                  <a:pt x="19638" y="14760"/>
                  <a:pt x="19635" y="14750"/>
                </a:cubicBezTo>
                <a:cubicBezTo>
                  <a:pt x="19625" y="14721"/>
                  <a:pt x="19614" y="14712"/>
                  <a:pt x="19603" y="14705"/>
                </a:cubicBezTo>
                <a:cubicBezTo>
                  <a:pt x="19599" y="14702"/>
                  <a:pt x="19595" y="14699"/>
                  <a:pt x="19590" y="14695"/>
                </a:cubicBezTo>
                <a:lnTo>
                  <a:pt x="19580" y="14682"/>
                </a:lnTo>
                <a:close/>
                <a:moveTo>
                  <a:pt x="19681" y="14794"/>
                </a:moveTo>
                <a:cubicBezTo>
                  <a:pt x="19674" y="14786"/>
                  <a:pt x="19665" y="14790"/>
                  <a:pt x="19661" y="14803"/>
                </a:cubicBezTo>
                <a:cubicBezTo>
                  <a:pt x="19655" y="14807"/>
                  <a:pt x="19650" y="14819"/>
                  <a:pt x="19650" y="14832"/>
                </a:cubicBezTo>
                <a:cubicBezTo>
                  <a:pt x="19650" y="14859"/>
                  <a:pt x="19660" y="14879"/>
                  <a:pt x="19671" y="14896"/>
                </a:cubicBezTo>
                <a:cubicBezTo>
                  <a:pt x="19670" y="14899"/>
                  <a:pt x="19669" y="14900"/>
                  <a:pt x="19669" y="14903"/>
                </a:cubicBezTo>
                <a:cubicBezTo>
                  <a:pt x="19669" y="14934"/>
                  <a:pt x="19681" y="14960"/>
                  <a:pt x="19697" y="14960"/>
                </a:cubicBezTo>
                <a:cubicBezTo>
                  <a:pt x="19706" y="14960"/>
                  <a:pt x="19713" y="14950"/>
                  <a:pt x="19718" y="14936"/>
                </a:cubicBezTo>
                <a:cubicBezTo>
                  <a:pt x="19722" y="14937"/>
                  <a:pt x="19728" y="14943"/>
                  <a:pt x="19731" y="14943"/>
                </a:cubicBezTo>
                <a:cubicBezTo>
                  <a:pt x="19742" y="14943"/>
                  <a:pt x="19751" y="14935"/>
                  <a:pt x="19754" y="14931"/>
                </a:cubicBezTo>
                <a:cubicBezTo>
                  <a:pt x="19758" y="14927"/>
                  <a:pt x="19761" y="14920"/>
                  <a:pt x="19762" y="14911"/>
                </a:cubicBezTo>
                <a:cubicBezTo>
                  <a:pt x="19763" y="14903"/>
                  <a:pt x="19763" y="14895"/>
                  <a:pt x="19760" y="14888"/>
                </a:cubicBezTo>
                <a:cubicBezTo>
                  <a:pt x="19749" y="14854"/>
                  <a:pt x="19723" y="14832"/>
                  <a:pt x="19700" y="14812"/>
                </a:cubicBezTo>
                <a:cubicBezTo>
                  <a:pt x="19693" y="14806"/>
                  <a:pt x="19686" y="14799"/>
                  <a:pt x="19681" y="14794"/>
                </a:cubicBezTo>
                <a:close/>
                <a:moveTo>
                  <a:pt x="18686" y="14833"/>
                </a:moveTo>
                <a:cubicBezTo>
                  <a:pt x="18684" y="14843"/>
                  <a:pt x="18683" y="14852"/>
                  <a:pt x="18683" y="14862"/>
                </a:cubicBezTo>
                <a:cubicBezTo>
                  <a:pt x="18683" y="14925"/>
                  <a:pt x="18705" y="14974"/>
                  <a:pt x="18735" y="14985"/>
                </a:cubicBezTo>
                <a:cubicBezTo>
                  <a:pt x="18734" y="14991"/>
                  <a:pt x="18736" y="14998"/>
                  <a:pt x="18734" y="15005"/>
                </a:cubicBezTo>
                <a:cubicBezTo>
                  <a:pt x="18733" y="15009"/>
                  <a:pt x="18731" y="15014"/>
                  <a:pt x="18730" y="15020"/>
                </a:cubicBezTo>
                <a:lnTo>
                  <a:pt x="18661" y="15020"/>
                </a:lnTo>
                <a:cubicBezTo>
                  <a:pt x="18639" y="15020"/>
                  <a:pt x="18625" y="14993"/>
                  <a:pt x="18608" y="14961"/>
                </a:cubicBezTo>
                <a:cubicBezTo>
                  <a:pt x="18595" y="14936"/>
                  <a:pt x="18580" y="14910"/>
                  <a:pt x="18561" y="14896"/>
                </a:cubicBezTo>
                <a:cubicBezTo>
                  <a:pt x="18564" y="14895"/>
                  <a:pt x="18567" y="14893"/>
                  <a:pt x="18570" y="14892"/>
                </a:cubicBezTo>
                <a:cubicBezTo>
                  <a:pt x="18599" y="14877"/>
                  <a:pt x="18628" y="14863"/>
                  <a:pt x="18658" y="14848"/>
                </a:cubicBezTo>
                <a:cubicBezTo>
                  <a:pt x="18663" y="14846"/>
                  <a:pt x="18669" y="14842"/>
                  <a:pt x="18675" y="14839"/>
                </a:cubicBezTo>
                <a:cubicBezTo>
                  <a:pt x="18678" y="14837"/>
                  <a:pt x="18682" y="14835"/>
                  <a:pt x="18686" y="14833"/>
                </a:cubicBezTo>
                <a:close/>
                <a:moveTo>
                  <a:pt x="19803" y="14868"/>
                </a:moveTo>
                <a:cubicBezTo>
                  <a:pt x="19798" y="14863"/>
                  <a:pt x="19792" y="14863"/>
                  <a:pt x="19787" y="14869"/>
                </a:cubicBezTo>
                <a:cubicBezTo>
                  <a:pt x="19782" y="14876"/>
                  <a:pt x="19780" y="14886"/>
                  <a:pt x="19781" y="14897"/>
                </a:cubicBezTo>
                <a:cubicBezTo>
                  <a:pt x="19783" y="14938"/>
                  <a:pt x="19825" y="15059"/>
                  <a:pt x="19857" y="15059"/>
                </a:cubicBezTo>
                <a:cubicBezTo>
                  <a:pt x="19862" y="15059"/>
                  <a:pt x="19866" y="15054"/>
                  <a:pt x="19869" y="15047"/>
                </a:cubicBezTo>
                <a:cubicBezTo>
                  <a:pt x="19872" y="15039"/>
                  <a:pt x="19872" y="15029"/>
                  <a:pt x="19871" y="15020"/>
                </a:cubicBezTo>
                <a:cubicBezTo>
                  <a:pt x="19860" y="14955"/>
                  <a:pt x="19839" y="14910"/>
                  <a:pt x="19803" y="14868"/>
                </a:cubicBezTo>
                <a:close/>
                <a:moveTo>
                  <a:pt x="16956" y="14875"/>
                </a:moveTo>
                <a:cubicBezTo>
                  <a:pt x="16964" y="14876"/>
                  <a:pt x="16970" y="14880"/>
                  <a:pt x="16978" y="14880"/>
                </a:cubicBezTo>
                <a:cubicBezTo>
                  <a:pt x="16979" y="14882"/>
                  <a:pt x="16979" y="14885"/>
                  <a:pt x="16979" y="14887"/>
                </a:cubicBezTo>
                <a:cubicBezTo>
                  <a:pt x="16981" y="14894"/>
                  <a:pt x="16983" y="14902"/>
                  <a:pt x="16986" y="14909"/>
                </a:cubicBezTo>
                <a:cubicBezTo>
                  <a:pt x="16991" y="14919"/>
                  <a:pt x="16997" y="14926"/>
                  <a:pt x="17003" y="14929"/>
                </a:cubicBezTo>
                <a:cubicBezTo>
                  <a:pt x="17002" y="14931"/>
                  <a:pt x="17000" y="14933"/>
                  <a:pt x="16999" y="14936"/>
                </a:cubicBezTo>
                <a:cubicBezTo>
                  <a:pt x="16998" y="14940"/>
                  <a:pt x="16997" y="14945"/>
                  <a:pt x="16996" y="14950"/>
                </a:cubicBezTo>
                <a:cubicBezTo>
                  <a:pt x="16985" y="14942"/>
                  <a:pt x="16972" y="14940"/>
                  <a:pt x="16960" y="14935"/>
                </a:cubicBezTo>
                <a:cubicBezTo>
                  <a:pt x="16961" y="14928"/>
                  <a:pt x="16964" y="14923"/>
                  <a:pt x="16964" y="14916"/>
                </a:cubicBezTo>
                <a:cubicBezTo>
                  <a:pt x="16964" y="14900"/>
                  <a:pt x="16961" y="14887"/>
                  <a:pt x="16956" y="14875"/>
                </a:cubicBezTo>
                <a:close/>
                <a:moveTo>
                  <a:pt x="17749" y="14885"/>
                </a:moveTo>
                <a:cubicBezTo>
                  <a:pt x="17732" y="14885"/>
                  <a:pt x="17719" y="14912"/>
                  <a:pt x="17717" y="14945"/>
                </a:cubicBezTo>
                <a:cubicBezTo>
                  <a:pt x="17686" y="14951"/>
                  <a:pt x="17650" y="14963"/>
                  <a:pt x="17634" y="14994"/>
                </a:cubicBezTo>
                <a:cubicBezTo>
                  <a:pt x="17630" y="15003"/>
                  <a:pt x="17629" y="15013"/>
                  <a:pt x="17627" y="15022"/>
                </a:cubicBezTo>
                <a:cubicBezTo>
                  <a:pt x="17627" y="15023"/>
                  <a:pt x="17626" y="15025"/>
                  <a:pt x="17626" y="15027"/>
                </a:cubicBezTo>
                <a:cubicBezTo>
                  <a:pt x="17622" y="15029"/>
                  <a:pt x="17617" y="15031"/>
                  <a:pt x="17613" y="15034"/>
                </a:cubicBezTo>
                <a:cubicBezTo>
                  <a:pt x="17598" y="15041"/>
                  <a:pt x="17581" y="15052"/>
                  <a:pt x="17568" y="15075"/>
                </a:cubicBezTo>
                <a:cubicBezTo>
                  <a:pt x="17566" y="15074"/>
                  <a:pt x="17565" y="15071"/>
                  <a:pt x="17563" y="15071"/>
                </a:cubicBezTo>
                <a:cubicBezTo>
                  <a:pt x="17544" y="15071"/>
                  <a:pt x="17529" y="15102"/>
                  <a:pt x="17529" y="15140"/>
                </a:cubicBezTo>
                <a:cubicBezTo>
                  <a:pt x="17529" y="15170"/>
                  <a:pt x="17540" y="15190"/>
                  <a:pt x="17553" y="15199"/>
                </a:cubicBezTo>
                <a:cubicBezTo>
                  <a:pt x="17558" y="15219"/>
                  <a:pt x="17566" y="15235"/>
                  <a:pt x="17577" y="15235"/>
                </a:cubicBezTo>
                <a:cubicBezTo>
                  <a:pt x="17606" y="15235"/>
                  <a:pt x="17646" y="15179"/>
                  <a:pt x="17657" y="15155"/>
                </a:cubicBezTo>
                <a:cubicBezTo>
                  <a:pt x="17664" y="15141"/>
                  <a:pt x="17664" y="15122"/>
                  <a:pt x="17664" y="15107"/>
                </a:cubicBezTo>
                <a:cubicBezTo>
                  <a:pt x="17701" y="15101"/>
                  <a:pt x="17768" y="15067"/>
                  <a:pt x="17791" y="14996"/>
                </a:cubicBezTo>
                <a:cubicBezTo>
                  <a:pt x="17793" y="14990"/>
                  <a:pt x="17794" y="14982"/>
                  <a:pt x="17794" y="14974"/>
                </a:cubicBezTo>
                <a:cubicBezTo>
                  <a:pt x="17793" y="14966"/>
                  <a:pt x="17790" y="14960"/>
                  <a:pt x="17787" y="14956"/>
                </a:cubicBezTo>
                <a:cubicBezTo>
                  <a:pt x="17786" y="14955"/>
                  <a:pt x="17783" y="14955"/>
                  <a:pt x="17783" y="14954"/>
                </a:cubicBezTo>
                <a:cubicBezTo>
                  <a:pt x="17783" y="14954"/>
                  <a:pt x="17783" y="14954"/>
                  <a:pt x="17783" y="14953"/>
                </a:cubicBezTo>
                <a:cubicBezTo>
                  <a:pt x="17783" y="14916"/>
                  <a:pt x="17768" y="14885"/>
                  <a:pt x="17749" y="14885"/>
                </a:cubicBezTo>
                <a:close/>
                <a:moveTo>
                  <a:pt x="17540" y="14906"/>
                </a:moveTo>
                <a:cubicBezTo>
                  <a:pt x="17533" y="14898"/>
                  <a:pt x="17524" y="14903"/>
                  <a:pt x="17520" y="14917"/>
                </a:cubicBezTo>
                <a:cubicBezTo>
                  <a:pt x="17514" y="14939"/>
                  <a:pt x="17507" y="14953"/>
                  <a:pt x="17498" y="14963"/>
                </a:cubicBezTo>
                <a:cubicBezTo>
                  <a:pt x="17493" y="14940"/>
                  <a:pt x="17484" y="14922"/>
                  <a:pt x="17470" y="14922"/>
                </a:cubicBezTo>
                <a:cubicBezTo>
                  <a:pt x="17452" y="14922"/>
                  <a:pt x="17439" y="14951"/>
                  <a:pt x="17437" y="14986"/>
                </a:cubicBezTo>
                <a:lnTo>
                  <a:pt x="17392" y="14986"/>
                </a:lnTo>
                <a:cubicBezTo>
                  <a:pt x="17385" y="14986"/>
                  <a:pt x="17368" y="14986"/>
                  <a:pt x="17364" y="14978"/>
                </a:cubicBezTo>
                <a:cubicBezTo>
                  <a:pt x="17364" y="14978"/>
                  <a:pt x="17363" y="14977"/>
                  <a:pt x="17363" y="14975"/>
                </a:cubicBezTo>
                <a:cubicBezTo>
                  <a:pt x="17367" y="14973"/>
                  <a:pt x="17377" y="14973"/>
                  <a:pt x="17382" y="14973"/>
                </a:cubicBezTo>
                <a:lnTo>
                  <a:pt x="17387" y="14973"/>
                </a:lnTo>
                <a:cubicBezTo>
                  <a:pt x="17395" y="14973"/>
                  <a:pt x="17402" y="14961"/>
                  <a:pt x="17402" y="14944"/>
                </a:cubicBezTo>
                <a:cubicBezTo>
                  <a:pt x="17402" y="14927"/>
                  <a:pt x="17395" y="14914"/>
                  <a:pt x="17387" y="14914"/>
                </a:cubicBezTo>
                <a:lnTo>
                  <a:pt x="17382" y="14914"/>
                </a:lnTo>
                <a:cubicBezTo>
                  <a:pt x="17368" y="14913"/>
                  <a:pt x="17352" y="14912"/>
                  <a:pt x="17341" y="14933"/>
                </a:cubicBezTo>
                <a:cubicBezTo>
                  <a:pt x="17336" y="14944"/>
                  <a:pt x="17333" y="14957"/>
                  <a:pt x="17333" y="14973"/>
                </a:cubicBezTo>
                <a:cubicBezTo>
                  <a:pt x="17333" y="14992"/>
                  <a:pt x="17337" y="15009"/>
                  <a:pt x="17343" y="15021"/>
                </a:cubicBezTo>
                <a:cubicBezTo>
                  <a:pt x="17347" y="15029"/>
                  <a:pt x="17351" y="15033"/>
                  <a:pt x="17356" y="15037"/>
                </a:cubicBezTo>
                <a:lnTo>
                  <a:pt x="17342" y="15037"/>
                </a:lnTo>
                <a:cubicBezTo>
                  <a:pt x="17340" y="15037"/>
                  <a:pt x="17338" y="15036"/>
                  <a:pt x="17335" y="15036"/>
                </a:cubicBezTo>
                <a:cubicBezTo>
                  <a:pt x="17332" y="15036"/>
                  <a:pt x="17329" y="15036"/>
                  <a:pt x="17325" y="15036"/>
                </a:cubicBezTo>
                <a:cubicBezTo>
                  <a:pt x="17292" y="15036"/>
                  <a:pt x="17287" y="15072"/>
                  <a:pt x="17287" y="15093"/>
                </a:cubicBezTo>
                <a:cubicBezTo>
                  <a:pt x="17287" y="15119"/>
                  <a:pt x="17296" y="15138"/>
                  <a:pt x="17308" y="15150"/>
                </a:cubicBezTo>
                <a:cubicBezTo>
                  <a:pt x="17311" y="15182"/>
                  <a:pt x="17323" y="15207"/>
                  <a:pt x="17340" y="15207"/>
                </a:cubicBezTo>
                <a:cubicBezTo>
                  <a:pt x="17344" y="15207"/>
                  <a:pt x="17347" y="15202"/>
                  <a:pt x="17350" y="15199"/>
                </a:cubicBezTo>
                <a:cubicBezTo>
                  <a:pt x="17355" y="15214"/>
                  <a:pt x="17361" y="15225"/>
                  <a:pt x="17370" y="15225"/>
                </a:cubicBezTo>
                <a:lnTo>
                  <a:pt x="17378" y="15225"/>
                </a:lnTo>
                <a:cubicBezTo>
                  <a:pt x="17392" y="15225"/>
                  <a:pt x="17410" y="15196"/>
                  <a:pt x="17410" y="15164"/>
                </a:cubicBezTo>
                <a:cubicBezTo>
                  <a:pt x="17410" y="15124"/>
                  <a:pt x="17397" y="15107"/>
                  <a:pt x="17388" y="15096"/>
                </a:cubicBezTo>
                <a:cubicBezTo>
                  <a:pt x="17380" y="15085"/>
                  <a:pt x="17378" y="15081"/>
                  <a:pt x="17378" y="15066"/>
                </a:cubicBezTo>
                <a:cubicBezTo>
                  <a:pt x="17378" y="15057"/>
                  <a:pt x="17376" y="15050"/>
                  <a:pt x="17373" y="15044"/>
                </a:cubicBezTo>
                <a:cubicBezTo>
                  <a:pt x="17378" y="15045"/>
                  <a:pt x="17383" y="15047"/>
                  <a:pt x="17387" y="15047"/>
                </a:cubicBezTo>
                <a:cubicBezTo>
                  <a:pt x="17389" y="15047"/>
                  <a:pt x="17390" y="15047"/>
                  <a:pt x="17392" y="15047"/>
                </a:cubicBezTo>
                <a:lnTo>
                  <a:pt x="17456" y="15047"/>
                </a:lnTo>
                <a:cubicBezTo>
                  <a:pt x="17460" y="15051"/>
                  <a:pt x="17465" y="15058"/>
                  <a:pt x="17470" y="15058"/>
                </a:cubicBezTo>
                <a:cubicBezTo>
                  <a:pt x="17481" y="15058"/>
                  <a:pt x="17490" y="15046"/>
                  <a:pt x="17496" y="15029"/>
                </a:cubicBezTo>
                <a:cubicBezTo>
                  <a:pt x="17515" y="15014"/>
                  <a:pt x="17532" y="14995"/>
                  <a:pt x="17546" y="14945"/>
                </a:cubicBezTo>
                <a:cubicBezTo>
                  <a:pt x="17550" y="14931"/>
                  <a:pt x="17547" y="14913"/>
                  <a:pt x="17540" y="14906"/>
                </a:cubicBezTo>
                <a:close/>
                <a:moveTo>
                  <a:pt x="17043" y="14924"/>
                </a:moveTo>
                <a:cubicBezTo>
                  <a:pt x="17051" y="14930"/>
                  <a:pt x="17054" y="14935"/>
                  <a:pt x="17059" y="14942"/>
                </a:cubicBezTo>
                <a:cubicBezTo>
                  <a:pt x="17059" y="14942"/>
                  <a:pt x="17059" y="14942"/>
                  <a:pt x="17060" y="14943"/>
                </a:cubicBezTo>
                <a:cubicBezTo>
                  <a:pt x="17058" y="14946"/>
                  <a:pt x="17056" y="14949"/>
                  <a:pt x="17055" y="14951"/>
                </a:cubicBezTo>
                <a:cubicBezTo>
                  <a:pt x="17052" y="14950"/>
                  <a:pt x="17050" y="14948"/>
                  <a:pt x="17047" y="14943"/>
                </a:cubicBezTo>
                <a:cubicBezTo>
                  <a:pt x="17043" y="14937"/>
                  <a:pt x="17038" y="14930"/>
                  <a:pt x="17029" y="14925"/>
                </a:cubicBezTo>
                <a:cubicBezTo>
                  <a:pt x="17035" y="14923"/>
                  <a:pt x="17040" y="14922"/>
                  <a:pt x="17043" y="14924"/>
                </a:cubicBezTo>
                <a:close/>
                <a:moveTo>
                  <a:pt x="17178" y="14986"/>
                </a:moveTo>
                <a:lnTo>
                  <a:pt x="17188" y="14986"/>
                </a:lnTo>
                <a:cubicBezTo>
                  <a:pt x="17196" y="14986"/>
                  <a:pt x="17203" y="14989"/>
                  <a:pt x="17209" y="14992"/>
                </a:cubicBezTo>
                <a:cubicBezTo>
                  <a:pt x="17204" y="14996"/>
                  <a:pt x="17200" y="14999"/>
                  <a:pt x="17194" y="14999"/>
                </a:cubicBezTo>
                <a:cubicBezTo>
                  <a:pt x="17184" y="14999"/>
                  <a:pt x="17172" y="14993"/>
                  <a:pt x="17167" y="14988"/>
                </a:cubicBezTo>
                <a:cubicBezTo>
                  <a:pt x="17168" y="14987"/>
                  <a:pt x="17170" y="14986"/>
                  <a:pt x="17178" y="14986"/>
                </a:cubicBezTo>
                <a:close/>
                <a:moveTo>
                  <a:pt x="17727" y="15002"/>
                </a:moveTo>
                <a:cubicBezTo>
                  <a:pt x="17729" y="15006"/>
                  <a:pt x="17731" y="15006"/>
                  <a:pt x="17734" y="15008"/>
                </a:cubicBezTo>
                <a:cubicBezTo>
                  <a:pt x="17708" y="15032"/>
                  <a:pt x="17676" y="15049"/>
                  <a:pt x="17654" y="15049"/>
                </a:cubicBezTo>
                <a:cubicBezTo>
                  <a:pt x="17655" y="15046"/>
                  <a:pt x="17655" y="15042"/>
                  <a:pt x="17656" y="15040"/>
                </a:cubicBezTo>
                <a:cubicBezTo>
                  <a:pt x="17656" y="15038"/>
                  <a:pt x="17656" y="15035"/>
                  <a:pt x="17656" y="15034"/>
                </a:cubicBezTo>
                <a:cubicBezTo>
                  <a:pt x="17665" y="15019"/>
                  <a:pt x="17695" y="15006"/>
                  <a:pt x="17727" y="15002"/>
                </a:cubicBezTo>
                <a:close/>
                <a:moveTo>
                  <a:pt x="19776" y="15051"/>
                </a:moveTo>
                <a:cubicBezTo>
                  <a:pt x="19768" y="15051"/>
                  <a:pt x="19762" y="15064"/>
                  <a:pt x="19762" y="15080"/>
                </a:cubicBezTo>
                <a:cubicBezTo>
                  <a:pt x="19762" y="15152"/>
                  <a:pt x="19802" y="15178"/>
                  <a:pt x="19836" y="15178"/>
                </a:cubicBezTo>
                <a:cubicBezTo>
                  <a:pt x="19838" y="15178"/>
                  <a:pt x="19840" y="15176"/>
                  <a:pt x="19842" y="15175"/>
                </a:cubicBezTo>
                <a:cubicBezTo>
                  <a:pt x="19846" y="15182"/>
                  <a:pt x="19851" y="15186"/>
                  <a:pt x="19856" y="15186"/>
                </a:cubicBezTo>
                <a:cubicBezTo>
                  <a:pt x="19857" y="15186"/>
                  <a:pt x="19858" y="15185"/>
                  <a:pt x="19860" y="15184"/>
                </a:cubicBezTo>
                <a:cubicBezTo>
                  <a:pt x="19862" y="15202"/>
                  <a:pt x="19865" y="15220"/>
                  <a:pt x="19871" y="15234"/>
                </a:cubicBezTo>
                <a:cubicBezTo>
                  <a:pt x="19881" y="15256"/>
                  <a:pt x="19892" y="15267"/>
                  <a:pt x="19904" y="15267"/>
                </a:cubicBezTo>
                <a:cubicBezTo>
                  <a:pt x="19909" y="15267"/>
                  <a:pt x="19914" y="15262"/>
                  <a:pt x="19917" y="15253"/>
                </a:cubicBezTo>
                <a:cubicBezTo>
                  <a:pt x="19919" y="15245"/>
                  <a:pt x="19919" y="15236"/>
                  <a:pt x="19918" y="15227"/>
                </a:cubicBezTo>
                <a:cubicBezTo>
                  <a:pt x="19918" y="15227"/>
                  <a:pt x="19918" y="15227"/>
                  <a:pt x="19918" y="15226"/>
                </a:cubicBezTo>
                <a:cubicBezTo>
                  <a:pt x="19919" y="15222"/>
                  <a:pt x="19919" y="15217"/>
                  <a:pt x="19919" y="15212"/>
                </a:cubicBezTo>
                <a:cubicBezTo>
                  <a:pt x="19919" y="15168"/>
                  <a:pt x="19902" y="15150"/>
                  <a:pt x="19889" y="15135"/>
                </a:cubicBezTo>
                <a:cubicBezTo>
                  <a:pt x="19885" y="15131"/>
                  <a:pt x="19881" y="15128"/>
                  <a:pt x="19878" y="15124"/>
                </a:cubicBezTo>
                <a:cubicBezTo>
                  <a:pt x="19875" y="15121"/>
                  <a:pt x="19873" y="15123"/>
                  <a:pt x="19870" y="15122"/>
                </a:cubicBezTo>
                <a:cubicBezTo>
                  <a:pt x="19867" y="15114"/>
                  <a:pt x="19862" y="15108"/>
                  <a:pt x="19856" y="15108"/>
                </a:cubicBezTo>
                <a:cubicBezTo>
                  <a:pt x="19855" y="15108"/>
                  <a:pt x="19854" y="15111"/>
                  <a:pt x="19853" y="15112"/>
                </a:cubicBezTo>
                <a:cubicBezTo>
                  <a:pt x="19835" y="15072"/>
                  <a:pt x="19812" y="15051"/>
                  <a:pt x="19776" y="15051"/>
                </a:cubicBezTo>
                <a:close/>
                <a:moveTo>
                  <a:pt x="17634" y="15085"/>
                </a:moveTo>
                <a:cubicBezTo>
                  <a:pt x="17633" y="15093"/>
                  <a:pt x="17634" y="15100"/>
                  <a:pt x="17634" y="15107"/>
                </a:cubicBezTo>
                <a:cubicBezTo>
                  <a:pt x="17634" y="15110"/>
                  <a:pt x="17634" y="15114"/>
                  <a:pt x="17634" y="15117"/>
                </a:cubicBezTo>
                <a:cubicBezTo>
                  <a:pt x="17625" y="15133"/>
                  <a:pt x="17607" y="15155"/>
                  <a:pt x="17592" y="15167"/>
                </a:cubicBezTo>
                <a:cubicBezTo>
                  <a:pt x="17594" y="15158"/>
                  <a:pt x="17597" y="15150"/>
                  <a:pt x="17597" y="15140"/>
                </a:cubicBezTo>
                <a:cubicBezTo>
                  <a:pt x="17597" y="15130"/>
                  <a:pt x="17594" y="15123"/>
                  <a:pt x="17592" y="15114"/>
                </a:cubicBezTo>
                <a:cubicBezTo>
                  <a:pt x="17599" y="15105"/>
                  <a:pt x="17607" y="15099"/>
                  <a:pt x="17620" y="15092"/>
                </a:cubicBezTo>
                <a:cubicBezTo>
                  <a:pt x="17625" y="15090"/>
                  <a:pt x="17629" y="15088"/>
                  <a:pt x="17634" y="15085"/>
                </a:cubicBezTo>
                <a:close/>
                <a:moveTo>
                  <a:pt x="17373" y="15147"/>
                </a:moveTo>
                <a:cubicBezTo>
                  <a:pt x="17377" y="15153"/>
                  <a:pt x="17380" y="15157"/>
                  <a:pt x="17380" y="15161"/>
                </a:cubicBezTo>
                <a:cubicBezTo>
                  <a:pt x="17379" y="15162"/>
                  <a:pt x="17378" y="15164"/>
                  <a:pt x="17377" y="15164"/>
                </a:cubicBezTo>
                <a:lnTo>
                  <a:pt x="17374" y="15164"/>
                </a:lnTo>
                <a:cubicBezTo>
                  <a:pt x="17373" y="15160"/>
                  <a:pt x="17372" y="15154"/>
                  <a:pt x="17372" y="15148"/>
                </a:cubicBezTo>
                <a:cubicBezTo>
                  <a:pt x="17372" y="15147"/>
                  <a:pt x="17373" y="15147"/>
                  <a:pt x="17373" y="15147"/>
                </a:cubicBezTo>
                <a:close/>
                <a:moveTo>
                  <a:pt x="7969" y="15149"/>
                </a:moveTo>
                <a:cubicBezTo>
                  <a:pt x="7961" y="15170"/>
                  <a:pt x="7952" y="15191"/>
                  <a:pt x="7943" y="15212"/>
                </a:cubicBezTo>
                <a:cubicBezTo>
                  <a:pt x="7934" y="15233"/>
                  <a:pt x="7924" y="15255"/>
                  <a:pt x="7915" y="15277"/>
                </a:cubicBezTo>
                <a:lnTo>
                  <a:pt x="7897" y="15254"/>
                </a:lnTo>
                <a:cubicBezTo>
                  <a:pt x="7903" y="15232"/>
                  <a:pt x="7908" y="15209"/>
                  <a:pt x="7908" y="15182"/>
                </a:cubicBezTo>
                <a:cubicBezTo>
                  <a:pt x="7908" y="15181"/>
                  <a:pt x="7908" y="15180"/>
                  <a:pt x="7908" y="15179"/>
                </a:cubicBezTo>
                <a:lnTo>
                  <a:pt x="7969" y="15149"/>
                </a:lnTo>
                <a:close/>
                <a:moveTo>
                  <a:pt x="18734" y="15203"/>
                </a:moveTo>
                <a:cubicBezTo>
                  <a:pt x="18729" y="15198"/>
                  <a:pt x="18724" y="15199"/>
                  <a:pt x="18720" y="15204"/>
                </a:cubicBezTo>
                <a:cubicBezTo>
                  <a:pt x="18697" y="15229"/>
                  <a:pt x="18689" y="15261"/>
                  <a:pt x="18682" y="15289"/>
                </a:cubicBezTo>
                <a:cubicBezTo>
                  <a:pt x="18677" y="15312"/>
                  <a:pt x="18672" y="15331"/>
                  <a:pt x="18659" y="15351"/>
                </a:cubicBezTo>
                <a:cubicBezTo>
                  <a:pt x="18656" y="15356"/>
                  <a:pt x="18654" y="15363"/>
                  <a:pt x="18653" y="15371"/>
                </a:cubicBezTo>
                <a:cubicBezTo>
                  <a:pt x="18652" y="15371"/>
                  <a:pt x="18651" y="15369"/>
                  <a:pt x="18650" y="15369"/>
                </a:cubicBezTo>
                <a:cubicBezTo>
                  <a:pt x="18617" y="15369"/>
                  <a:pt x="18590" y="15423"/>
                  <a:pt x="18590" y="15490"/>
                </a:cubicBezTo>
                <a:cubicBezTo>
                  <a:pt x="18590" y="15556"/>
                  <a:pt x="18617" y="15608"/>
                  <a:pt x="18650" y="15608"/>
                </a:cubicBezTo>
                <a:cubicBezTo>
                  <a:pt x="18651" y="15608"/>
                  <a:pt x="18651" y="15607"/>
                  <a:pt x="18652" y="15607"/>
                </a:cubicBezTo>
                <a:lnTo>
                  <a:pt x="18652" y="15754"/>
                </a:lnTo>
                <a:cubicBezTo>
                  <a:pt x="18651" y="15767"/>
                  <a:pt x="18650" y="15781"/>
                  <a:pt x="18648" y="15797"/>
                </a:cubicBezTo>
                <a:cubicBezTo>
                  <a:pt x="18641" y="15878"/>
                  <a:pt x="18628" y="16011"/>
                  <a:pt x="18598" y="16056"/>
                </a:cubicBezTo>
                <a:cubicBezTo>
                  <a:pt x="18594" y="16027"/>
                  <a:pt x="18584" y="16004"/>
                  <a:pt x="18568" y="16004"/>
                </a:cubicBezTo>
                <a:cubicBezTo>
                  <a:pt x="18558" y="16004"/>
                  <a:pt x="18549" y="16014"/>
                  <a:pt x="18543" y="16029"/>
                </a:cubicBezTo>
                <a:cubicBezTo>
                  <a:pt x="18542" y="16027"/>
                  <a:pt x="18541" y="16027"/>
                  <a:pt x="18540" y="16025"/>
                </a:cubicBezTo>
                <a:cubicBezTo>
                  <a:pt x="18530" y="16000"/>
                  <a:pt x="18519" y="15974"/>
                  <a:pt x="18504" y="15963"/>
                </a:cubicBezTo>
                <a:cubicBezTo>
                  <a:pt x="18487" y="15949"/>
                  <a:pt x="18474" y="15940"/>
                  <a:pt x="18459" y="15929"/>
                </a:cubicBezTo>
                <a:cubicBezTo>
                  <a:pt x="18454" y="15888"/>
                  <a:pt x="18438" y="15854"/>
                  <a:pt x="18416" y="15854"/>
                </a:cubicBezTo>
                <a:cubicBezTo>
                  <a:pt x="18405" y="15854"/>
                  <a:pt x="18397" y="15865"/>
                  <a:pt x="18389" y="15877"/>
                </a:cubicBezTo>
                <a:lnTo>
                  <a:pt x="18365" y="15859"/>
                </a:lnTo>
                <a:cubicBezTo>
                  <a:pt x="18364" y="15855"/>
                  <a:pt x="18362" y="15848"/>
                  <a:pt x="18362" y="15843"/>
                </a:cubicBezTo>
                <a:cubicBezTo>
                  <a:pt x="18361" y="15837"/>
                  <a:pt x="18360" y="15830"/>
                  <a:pt x="18359" y="15824"/>
                </a:cubicBezTo>
                <a:cubicBezTo>
                  <a:pt x="18358" y="15818"/>
                  <a:pt x="18356" y="15813"/>
                  <a:pt x="18353" y="15809"/>
                </a:cubicBezTo>
                <a:lnTo>
                  <a:pt x="18315" y="15759"/>
                </a:lnTo>
                <a:cubicBezTo>
                  <a:pt x="18314" y="15757"/>
                  <a:pt x="18312" y="15756"/>
                  <a:pt x="18311" y="15755"/>
                </a:cubicBezTo>
                <a:cubicBezTo>
                  <a:pt x="18308" y="15754"/>
                  <a:pt x="18307" y="15753"/>
                  <a:pt x="18306" y="15752"/>
                </a:cubicBezTo>
                <a:cubicBezTo>
                  <a:pt x="18305" y="15748"/>
                  <a:pt x="18303" y="15744"/>
                  <a:pt x="18301" y="15741"/>
                </a:cubicBezTo>
                <a:lnTo>
                  <a:pt x="18295" y="15733"/>
                </a:lnTo>
                <a:lnTo>
                  <a:pt x="18318" y="15544"/>
                </a:lnTo>
                <a:cubicBezTo>
                  <a:pt x="18335" y="15519"/>
                  <a:pt x="18366" y="15515"/>
                  <a:pt x="18366" y="15459"/>
                </a:cubicBezTo>
                <a:cubicBezTo>
                  <a:pt x="18366" y="15425"/>
                  <a:pt x="18336" y="15382"/>
                  <a:pt x="18324" y="15382"/>
                </a:cubicBezTo>
                <a:cubicBezTo>
                  <a:pt x="18301" y="15382"/>
                  <a:pt x="18292" y="15417"/>
                  <a:pt x="18265" y="15417"/>
                </a:cubicBezTo>
                <a:cubicBezTo>
                  <a:pt x="18188" y="15417"/>
                  <a:pt x="18146" y="15358"/>
                  <a:pt x="18074" y="15298"/>
                </a:cubicBezTo>
                <a:cubicBezTo>
                  <a:pt x="18078" y="15345"/>
                  <a:pt x="18099" y="15358"/>
                  <a:pt x="18112" y="15396"/>
                </a:cubicBezTo>
                <a:cubicBezTo>
                  <a:pt x="18106" y="15400"/>
                  <a:pt x="18089" y="15425"/>
                  <a:pt x="18074" y="15425"/>
                </a:cubicBezTo>
                <a:cubicBezTo>
                  <a:pt x="18070" y="15425"/>
                  <a:pt x="18065" y="15426"/>
                  <a:pt x="18060" y="15427"/>
                </a:cubicBezTo>
                <a:lnTo>
                  <a:pt x="18046" y="15408"/>
                </a:lnTo>
                <a:cubicBezTo>
                  <a:pt x="18043" y="15404"/>
                  <a:pt x="18040" y="15403"/>
                  <a:pt x="18037" y="15403"/>
                </a:cubicBezTo>
                <a:cubicBezTo>
                  <a:pt x="18032" y="15388"/>
                  <a:pt x="18026" y="15380"/>
                  <a:pt x="18017" y="15375"/>
                </a:cubicBezTo>
                <a:cubicBezTo>
                  <a:pt x="18018" y="15375"/>
                  <a:pt x="18019" y="15376"/>
                  <a:pt x="18020" y="15376"/>
                </a:cubicBezTo>
                <a:lnTo>
                  <a:pt x="18041" y="15376"/>
                </a:lnTo>
                <a:lnTo>
                  <a:pt x="18041" y="15312"/>
                </a:lnTo>
                <a:cubicBezTo>
                  <a:pt x="18010" y="15309"/>
                  <a:pt x="17995" y="15318"/>
                  <a:pt x="17957" y="15335"/>
                </a:cubicBezTo>
                <a:cubicBezTo>
                  <a:pt x="17964" y="15349"/>
                  <a:pt x="17986" y="15365"/>
                  <a:pt x="18007" y="15372"/>
                </a:cubicBezTo>
                <a:cubicBezTo>
                  <a:pt x="17990" y="15375"/>
                  <a:pt x="17976" y="15403"/>
                  <a:pt x="17976" y="15438"/>
                </a:cubicBezTo>
                <a:cubicBezTo>
                  <a:pt x="17976" y="15439"/>
                  <a:pt x="17976" y="15439"/>
                  <a:pt x="17976" y="15439"/>
                </a:cubicBezTo>
                <a:cubicBezTo>
                  <a:pt x="17955" y="15459"/>
                  <a:pt x="17938" y="15485"/>
                  <a:pt x="17938" y="15523"/>
                </a:cubicBezTo>
                <a:cubicBezTo>
                  <a:pt x="17938" y="15544"/>
                  <a:pt x="17932" y="15562"/>
                  <a:pt x="17925" y="15582"/>
                </a:cubicBezTo>
                <a:cubicBezTo>
                  <a:pt x="17917" y="15604"/>
                  <a:pt x="17909" y="15628"/>
                  <a:pt x="17907" y="15662"/>
                </a:cubicBezTo>
                <a:cubicBezTo>
                  <a:pt x="17907" y="15662"/>
                  <a:pt x="17907" y="15663"/>
                  <a:pt x="17907" y="15663"/>
                </a:cubicBezTo>
                <a:cubicBezTo>
                  <a:pt x="17907" y="15664"/>
                  <a:pt x="17906" y="15664"/>
                  <a:pt x="17906" y="15664"/>
                </a:cubicBezTo>
                <a:cubicBezTo>
                  <a:pt x="17906" y="15667"/>
                  <a:pt x="17906" y="15669"/>
                  <a:pt x="17906" y="15675"/>
                </a:cubicBezTo>
                <a:cubicBezTo>
                  <a:pt x="17906" y="15675"/>
                  <a:pt x="17906" y="15676"/>
                  <a:pt x="17906" y="15676"/>
                </a:cubicBezTo>
                <a:cubicBezTo>
                  <a:pt x="17906" y="15686"/>
                  <a:pt x="17907" y="15694"/>
                  <a:pt x="17907" y="15703"/>
                </a:cubicBezTo>
                <a:cubicBezTo>
                  <a:pt x="17907" y="15714"/>
                  <a:pt x="17908" y="15725"/>
                  <a:pt x="17908" y="15733"/>
                </a:cubicBezTo>
                <a:cubicBezTo>
                  <a:pt x="17899" y="15723"/>
                  <a:pt x="17891" y="15715"/>
                  <a:pt x="17883" y="15715"/>
                </a:cubicBezTo>
                <a:cubicBezTo>
                  <a:pt x="17878" y="15715"/>
                  <a:pt x="17873" y="15720"/>
                  <a:pt x="17868" y="15723"/>
                </a:cubicBezTo>
                <a:cubicBezTo>
                  <a:pt x="17866" y="15672"/>
                  <a:pt x="17846" y="15631"/>
                  <a:pt x="17820" y="15631"/>
                </a:cubicBezTo>
                <a:cubicBezTo>
                  <a:pt x="17818" y="15631"/>
                  <a:pt x="17816" y="15636"/>
                  <a:pt x="17813" y="15636"/>
                </a:cubicBezTo>
                <a:cubicBezTo>
                  <a:pt x="17804" y="15620"/>
                  <a:pt x="17793" y="15605"/>
                  <a:pt x="17780" y="15601"/>
                </a:cubicBezTo>
                <a:cubicBezTo>
                  <a:pt x="17780" y="15601"/>
                  <a:pt x="17780" y="15601"/>
                  <a:pt x="17780" y="15601"/>
                </a:cubicBezTo>
                <a:cubicBezTo>
                  <a:pt x="17779" y="15601"/>
                  <a:pt x="17779" y="15602"/>
                  <a:pt x="17779" y="15601"/>
                </a:cubicBezTo>
                <a:cubicBezTo>
                  <a:pt x="17777" y="15601"/>
                  <a:pt x="17775" y="15600"/>
                  <a:pt x="17773" y="15600"/>
                </a:cubicBezTo>
                <a:cubicBezTo>
                  <a:pt x="17747" y="15600"/>
                  <a:pt x="17730" y="15623"/>
                  <a:pt x="17716" y="15643"/>
                </a:cubicBezTo>
                <a:cubicBezTo>
                  <a:pt x="17700" y="15665"/>
                  <a:pt x="17686" y="15685"/>
                  <a:pt x="17660" y="15685"/>
                </a:cubicBezTo>
                <a:cubicBezTo>
                  <a:pt x="17653" y="15685"/>
                  <a:pt x="17646" y="15697"/>
                  <a:pt x="17645" y="15712"/>
                </a:cubicBezTo>
                <a:cubicBezTo>
                  <a:pt x="17644" y="15749"/>
                  <a:pt x="17636" y="15772"/>
                  <a:pt x="17626" y="15798"/>
                </a:cubicBezTo>
                <a:cubicBezTo>
                  <a:pt x="17616" y="15828"/>
                  <a:pt x="17604" y="15860"/>
                  <a:pt x="17600" y="15913"/>
                </a:cubicBezTo>
                <a:cubicBezTo>
                  <a:pt x="17596" y="15909"/>
                  <a:pt x="17592" y="15905"/>
                  <a:pt x="17587" y="15900"/>
                </a:cubicBezTo>
                <a:cubicBezTo>
                  <a:pt x="17585" y="15897"/>
                  <a:pt x="17582" y="15894"/>
                  <a:pt x="17580" y="15892"/>
                </a:cubicBezTo>
                <a:cubicBezTo>
                  <a:pt x="17584" y="15877"/>
                  <a:pt x="17590" y="15861"/>
                  <a:pt x="17590" y="15842"/>
                </a:cubicBezTo>
                <a:cubicBezTo>
                  <a:pt x="17590" y="15787"/>
                  <a:pt x="17568" y="15743"/>
                  <a:pt x="17541" y="15743"/>
                </a:cubicBezTo>
                <a:cubicBezTo>
                  <a:pt x="17514" y="15743"/>
                  <a:pt x="17492" y="15787"/>
                  <a:pt x="17492" y="15842"/>
                </a:cubicBezTo>
                <a:cubicBezTo>
                  <a:pt x="17492" y="15896"/>
                  <a:pt x="17514" y="15940"/>
                  <a:pt x="17541" y="15940"/>
                </a:cubicBezTo>
                <a:cubicBezTo>
                  <a:pt x="17546" y="15940"/>
                  <a:pt x="17549" y="15933"/>
                  <a:pt x="17553" y="15930"/>
                </a:cubicBezTo>
                <a:cubicBezTo>
                  <a:pt x="17551" y="15944"/>
                  <a:pt x="17549" y="15957"/>
                  <a:pt x="17548" y="15970"/>
                </a:cubicBezTo>
                <a:cubicBezTo>
                  <a:pt x="17548" y="15984"/>
                  <a:pt x="17547" y="15996"/>
                  <a:pt x="17546" y="16005"/>
                </a:cubicBezTo>
                <a:cubicBezTo>
                  <a:pt x="17545" y="16003"/>
                  <a:pt x="17544" y="16000"/>
                  <a:pt x="17543" y="15998"/>
                </a:cubicBezTo>
                <a:cubicBezTo>
                  <a:pt x="17537" y="15985"/>
                  <a:pt x="17532" y="15972"/>
                  <a:pt x="17527" y="15955"/>
                </a:cubicBezTo>
                <a:cubicBezTo>
                  <a:pt x="17523" y="15941"/>
                  <a:pt x="17515" y="15936"/>
                  <a:pt x="17507" y="15943"/>
                </a:cubicBezTo>
                <a:cubicBezTo>
                  <a:pt x="17491" y="15959"/>
                  <a:pt x="17471" y="15996"/>
                  <a:pt x="17471" y="16076"/>
                </a:cubicBezTo>
                <a:lnTo>
                  <a:pt x="17471" y="16148"/>
                </a:lnTo>
                <a:cubicBezTo>
                  <a:pt x="17471" y="16190"/>
                  <a:pt x="17448" y="16231"/>
                  <a:pt x="17418" y="16268"/>
                </a:cubicBezTo>
                <a:cubicBezTo>
                  <a:pt x="17417" y="16268"/>
                  <a:pt x="17416" y="16265"/>
                  <a:pt x="17414" y="16265"/>
                </a:cubicBezTo>
                <a:cubicBezTo>
                  <a:pt x="17400" y="16265"/>
                  <a:pt x="17390" y="16285"/>
                  <a:pt x="17385" y="16310"/>
                </a:cubicBezTo>
                <a:cubicBezTo>
                  <a:pt x="17335" y="16358"/>
                  <a:pt x="17275" y="16394"/>
                  <a:pt x="17234" y="16408"/>
                </a:cubicBezTo>
                <a:cubicBezTo>
                  <a:pt x="17230" y="16410"/>
                  <a:pt x="17224" y="16411"/>
                  <a:pt x="17218" y="16413"/>
                </a:cubicBezTo>
                <a:cubicBezTo>
                  <a:pt x="17213" y="16392"/>
                  <a:pt x="17204" y="16377"/>
                  <a:pt x="17191" y="16377"/>
                </a:cubicBezTo>
                <a:cubicBezTo>
                  <a:pt x="17175" y="16377"/>
                  <a:pt x="17163" y="16401"/>
                  <a:pt x="17160" y="16431"/>
                </a:cubicBezTo>
                <a:cubicBezTo>
                  <a:pt x="17129" y="16442"/>
                  <a:pt x="17099" y="16457"/>
                  <a:pt x="17084" y="16489"/>
                </a:cubicBezTo>
                <a:lnTo>
                  <a:pt x="17077" y="16504"/>
                </a:lnTo>
                <a:cubicBezTo>
                  <a:pt x="17062" y="16532"/>
                  <a:pt x="17041" y="16571"/>
                  <a:pt x="17019" y="16602"/>
                </a:cubicBezTo>
                <a:cubicBezTo>
                  <a:pt x="17006" y="16578"/>
                  <a:pt x="16989" y="16563"/>
                  <a:pt x="16970" y="16563"/>
                </a:cubicBezTo>
                <a:cubicBezTo>
                  <a:pt x="16929" y="16563"/>
                  <a:pt x="16896" y="16630"/>
                  <a:pt x="16896" y="16711"/>
                </a:cubicBezTo>
                <a:cubicBezTo>
                  <a:pt x="16896" y="16773"/>
                  <a:pt x="16915" y="16825"/>
                  <a:pt x="16941" y="16848"/>
                </a:cubicBezTo>
                <a:lnTo>
                  <a:pt x="16941" y="16926"/>
                </a:lnTo>
                <a:cubicBezTo>
                  <a:pt x="16941" y="16991"/>
                  <a:pt x="16950" y="17038"/>
                  <a:pt x="16957" y="17076"/>
                </a:cubicBezTo>
                <a:cubicBezTo>
                  <a:pt x="16960" y="17091"/>
                  <a:pt x="16963" y="17105"/>
                  <a:pt x="16965" y="17118"/>
                </a:cubicBezTo>
                <a:cubicBezTo>
                  <a:pt x="16965" y="17118"/>
                  <a:pt x="16965" y="17118"/>
                  <a:pt x="16964" y="17118"/>
                </a:cubicBezTo>
                <a:cubicBezTo>
                  <a:pt x="16959" y="17117"/>
                  <a:pt x="16953" y="17122"/>
                  <a:pt x="16950" y="17132"/>
                </a:cubicBezTo>
                <a:cubicBezTo>
                  <a:pt x="16945" y="17148"/>
                  <a:pt x="16942" y="17160"/>
                  <a:pt x="16940" y="17172"/>
                </a:cubicBezTo>
                <a:cubicBezTo>
                  <a:pt x="16939" y="17178"/>
                  <a:pt x="16938" y="17184"/>
                  <a:pt x="16936" y="17189"/>
                </a:cubicBezTo>
                <a:cubicBezTo>
                  <a:pt x="16936" y="17191"/>
                  <a:pt x="16936" y="17192"/>
                  <a:pt x="16936" y="17194"/>
                </a:cubicBezTo>
                <a:cubicBezTo>
                  <a:pt x="16927" y="17249"/>
                  <a:pt x="16945" y="17284"/>
                  <a:pt x="16959" y="17309"/>
                </a:cubicBezTo>
                <a:cubicBezTo>
                  <a:pt x="16956" y="17319"/>
                  <a:pt x="16952" y="17329"/>
                  <a:pt x="16952" y="17341"/>
                </a:cubicBezTo>
                <a:cubicBezTo>
                  <a:pt x="16952" y="17378"/>
                  <a:pt x="16967" y="17406"/>
                  <a:pt x="16985" y="17407"/>
                </a:cubicBezTo>
                <a:cubicBezTo>
                  <a:pt x="16998" y="17485"/>
                  <a:pt x="17008" y="17548"/>
                  <a:pt x="17018" y="17625"/>
                </a:cubicBezTo>
                <a:lnTo>
                  <a:pt x="17025" y="17684"/>
                </a:lnTo>
                <a:cubicBezTo>
                  <a:pt x="17025" y="17683"/>
                  <a:pt x="17024" y="17682"/>
                  <a:pt x="17024" y="17682"/>
                </a:cubicBezTo>
                <a:cubicBezTo>
                  <a:pt x="17005" y="17682"/>
                  <a:pt x="16989" y="17713"/>
                  <a:pt x="16989" y="17751"/>
                </a:cubicBezTo>
                <a:cubicBezTo>
                  <a:pt x="16989" y="17789"/>
                  <a:pt x="17005" y="17819"/>
                  <a:pt x="17024" y="17819"/>
                </a:cubicBezTo>
                <a:cubicBezTo>
                  <a:pt x="17031" y="17819"/>
                  <a:pt x="17038" y="17811"/>
                  <a:pt x="17043" y="17802"/>
                </a:cubicBezTo>
                <a:cubicBezTo>
                  <a:pt x="17047" y="17820"/>
                  <a:pt x="17050" y="17837"/>
                  <a:pt x="17054" y="17855"/>
                </a:cubicBezTo>
                <a:cubicBezTo>
                  <a:pt x="17057" y="17867"/>
                  <a:pt x="17060" y="17879"/>
                  <a:pt x="17063" y="17892"/>
                </a:cubicBezTo>
                <a:cubicBezTo>
                  <a:pt x="17071" y="17928"/>
                  <a:pt x="17079" y="17973"/>
                  <a:pt x="17079" y="18032"/>
                </a:cubicBezTo>
                <a:cubicBezTo>
                  <a:pt x="17079" y="18075"/>
                  <a:pt x="17068" y="18101"/>
                  <a:pt x="17055" y="18129"/>
                </a:cubicBezTo>
                <a:cubicBezTo>
                  <a:pt x="17043" y="18156"/>
                  <a:pt x="17031" y="18183"/>
                  <a:pt x="17031" y="18223"/>
                </a:cubicBezTo>
                <a:cubicBezTo>
                  <a:pt x="17031" y="18309"/>
                  <a:pt x="17145" y="18402"/>
                  <a:pt x="17183" y="18402"/>
                </a:cubicBezTo>
                <a:cubicBezTo>
                  <a:pt x="17229" y="18402"/>
                  <a:pt x="17260" y="18372"/>
                  <a:pt x="17288" y="18340"/>
                </a:cubicBezTo>
                <a:cubicBezTo>
                  <a:pt x="17297" y="18353"/>
                  <a:pt x="17306" y="18364"/>
                  <a:pt x="17318" y="18364"/>
                </a:cubicBezTo>
                <a:cubicBezTo>
                  <a:pt x="17345" y="18364"/>
                  <a:pt x="17365" y="18322"/>
                  <a:pt x="17366" y="18269"/>
                </a:cubicBezTo>
                <a:cubicBezTo>
                  <a:pt x="17372" y="18266"/>
                  <a:pt x="17379" y="18262"/>
                  <a:pt x="17385" y="18262"/>
                </a:cubicBezTo>
                <a:cubicBezTo>
                  <a:pt x="17397" y="18262"/>
                  <a:pt x="17405" y="18256"/>
                  <a:pt x="17410" y="18251"/>
                </a:cubicBezTo>
                <a:cubicBezTo>
                  <a:pt x="17414" y="18248"/>
                  <a:pt x="17416" y="18247"/>
                  <a:pt x="17419" y="18247"/>
                </a:cubicBezTo>
                <a:cubicBezTo>
                  <a:pt x="17423" y="18247"/>
                  <a:pt x="17429" y="18250"/>
                  <a:pt x="17437" y="18258"/>
                </a:cubicBezTo>
                <a:cubicBezTo>
                  <a:pt x="17439" y="18260"/>
                  <a:pt x="17442" y="18262"/>
                  <a:pt x="17444" y="18262"/>
                </a:cubicBezTo>
                <a:cubicBezTo>
                  <a:pt x="17474" y="18262"/>
                  <a:pt x="17500" y="18254"/>
                  <a:pt x="17525" y="18245"/>
                </a:cubicBezTo>
                <a:cubicBezTo>
                  <a:pt x="17540" y="18240"/>
                  <a:pt x="17556" y="18235"/>
                  <a:pt x="17573" y="18231"/>
                </a:cubicBezTo>
                <a:cubicBezTo>
                  <a:pt x="17579" y="18230"/>
                  <a:pt x="17585" y="18219"/>
                  <a:pt x="17586" y="18206"/>
                </a:cubicBezTo>
                <a:cubicBezTo>
                  <a:pt x="17586" y="18199"/>
                  <a:pt x="17587" y="18192"/>
                  <a:pt x="17588" y="18186"/>
                </a:cubicBezTo>
                <a:lnTo>
                  <a:pt x="17589" y="18182"/>
                </a:lnTo>
                <a:cubicBezTo>
                  <a:pt x="17595" y="18139"/>
                  <a:pt x="17608" y="18111"/>
                  <a:pt x="17630" y="18093"/>
                </a:cubicBezTo>
                <a:lnTo>
                  <a:pt x="17634" y="18089"/>
                </a:lnTo>
                <a:cubicBezTo>
                  <a:pt x="17635" y="18088"/>
                  <a:pt x="17637" y="18087"/>
                  <a:pt x="17638" y="18086"/>
                </a:cubicBezTo>
                <a:cubicBezTo>
                  <a:pt x="17662" y="18070"/>
                  <a:pt x="17691" y="18064"/>
                  <a:pt x="17722" y="18058"/>
                </a:cubicBezTo>
                <a:cubicBezTo>
                  <a:pt x="17723" y="18058"/>
                  <a:pt x="17724" y="18057"/>
                  <a:pt x="17724" y="18057"/>
                </a:cubicBezTo>
                <a:cubicBezTo>
                  <a:pt x="17731" y="18070"/>
                  <a:pt x="17739" y="18080"/>
                  <a:pt x="17749" y="18080"/>
                </a:cubicBezTo>
                <a:cubicBezTo>
                  <a:pt x="17763" y="18080"/>
                  <a:pt x="17773" y="18061"/>
                  <a:pt x="17778" y="18038"/>
                </a:cubicBezTo>
                <a:cubicBezTo>
                  <a:pt x="17797" y="18032"/>
                  <a:pt x="17816" y="18030"/>
                  <a:pt x="17834" y="18018"/>
                </a:cubicBezTo>
                <a:cubicBezTo>
                  <a:pt x="17852" y="18007"/>
                  <a:pt x="17866" y="17990"/>
                  <a:pt x="17879" y="17974"/>
                </a:cubicBezTo>
                <a:cubicBezTo>
                  <a:pt x="17900" y="17949"/>
                  <a:pt x="17921" y="17927"/>
                  <a:pt x="17960" y="17924"/>
                </a:cubicBezTo>
                <a:cubicBezTo>
                  <a:pt x="17959" y="17929"/>
                  <a:pt x="17957" y="17932"/>
                  <a:pt x="17957" y="17938"/>
                </a:cubicBezTo>
                <a:cubicBezTo>
                  <a:pt x="17957" y="17975"/>
                  <a:pt x="17972" y="18005"/>
                  <a:pt x="17991" y="18005"/>
                </a:cubicBezTo>
                <a:cubicBezTo>
                  <a:pt x="18010" y="18005"/>
                  <a:pt x="18025" y="17975"/>
                  <a:pt x="18025" y="17938"/>
                </a:cubicBezTo>
                <a:cubicBezTo>
                  <a:pt x="18025" y="17937"/>
                  <a:pt x="18024" y="17936"/>
                  <a:pt x="18024" y="17935"/>
                </a:cubicBezTo>
                <a:cubicBezTo>
                  <a:pt x="18062" y="17944"/>
                  <a:pt x="18098" y="17955"/>
                  <a:pt x="18130" y="17977"/>
                </a:cubicBezTo>
                <a:cubicBezTo>
                  <a:pt x="18129" y="17987"/>
                  <a:pt x="18124" y="17994"/>
                  <a:pt x="18124" y="18005"/>
                </a:cubicBezTo>
                <a:cubicBezTo>
                  <a:pt x="18124" y="18060"/>
                  <a:pt x="18147" y="18103"/>
                  <a:pt x="18174" y="18103"/>
                </a:cubicBezTo>
                <a:cubicBezTo>
                  <a:pt x="18183" y="18103"/>
                  <a:pt x="18190" y="18093"/>
                  <a:pt x="18198" y="18083"/>
                </a:cubicBezTo>
                <a:cubicBezTo>
                  <a:pt x="18202" y="18099"/>
                  <a:pt x="18205" y="18108"/>
                  <a:pt x="18210" y="18127"/>
                </a:cubicBezTo>
                <a:cubicBezTo>
                  <a:pt x="18214" y="18142"/>
                  <a:pt x="18218" y="18159"/>
                  <a:pt x="18223" y="18174"/>
                </a:cubicBezTo>
                <a:cubicBezTo>
                  <a:pt x="18227" y="18189"/>
                  <a:pt x="18231" y="18203"/>
                  <a:pt x="18234" y="18216"/>
                </a:cubicBezTo>
                <a:cubicBezTo>
                  <a:pt x="18245" y="18253"/>
                  <a:pt x="18253" y="18275"/>
                  <a:pt x="18259" y="18289"/>
                </a:cubicBezTo>
                <a:cubicBezTo>
                  <a:pt x="18259" y="18308"/>
                  <a:pt x="18259" y="18338"/>
                  <a:pt x="18267" y="18359"/>
                </a:cubicBezTo>
                <a:cubicBezTo>
                  <a:pt x="18272" y="18369"/>
                  <a:pt x="18279" y="18381"/>
                  <a:pt x="18292" y="18381"/>
                </a:cubicBezTo>
                <a:cubicBezTo>
                  <a:pt x="18329" y="18381"/>
                  <a:pt x="18364" y="18280"/>
                  <a:pt x="18397" y="18184"/>
                </a:cubicBezTo>
                <a:cubicBezTo>
                  <a:pt x="18402" y="18171"/>
                  <a:pt x="18406" y="18157"/>
                  <a:pt x="18411" y="18145"/>
                </a:cubicBezTo>
                <a:cubicBezTo>
                  <a:pt x="18405" y="18226"/>
                  <a:pt x="18390" y="18320"/>
                  <a:pt x="18363" y="18331"/>
                </a:cubicBezTo>
                <a:cubicBezTo>
                  <a:pt x="18356" y="18333"/>
                  <a:pt x="18351" y="18345"/>
                  <a:pt x="18351" y="18360"/>
                </a:cubicBezTo>
                <a:cubicBezTo>
                  <a:pt x="18351" y="18389"/>
                  <a:pt x="18362" y="18415"/>
                  <a:pt x="18375" y="18426"/>
                </a:cubicBezTo>
                <a:cubicBezTo>
                  <a:pt x="18366" y="18431"/>
                  <a:pt x="18356" y="18439"/>
                  <a:pt x="18343" y="18451"/>
                </a:cubicBezTo>
                <a:cubicBezTo>
                  <a:pt x="18339" y="18455"/>
                  <a:pt x="18336" y="18463"/>
                  <a:pt x="18335" y="18473"/>
                </a:cubicBezTo>
                <a:cubicBezTo>
                  <a:pt x="18334" y="18482"/>
                  <a:pt x="18336" y="18493"/>
                  <a:pt x="18339" y="18500"/>
                </a:cubicBezTo>
                <a:cubicBezTo>
                  <a:pt x="18350" y="18522"/>
                  <a:pt x="18365" y="18533"/>
                  <a:pt x="18383" y="18533"/>
                </a:cubicBezTo>
                <a:cubicBezTo>
                  <a:pt x="18399" y="18533"/>
                  <a:pt x="18417" y="18523"/>
                  <a:pt x="18432" y="18503"/>
                </a:cubicBezTo>
                <a:cubicBezTo>
                  <a:pt x="18435" y="18500"/>
                  <a:pt x="18435" y="18493"/>
                  <a:pt x="18436" y="18488"/>
                </a:cubicBezTo>
                <a:cubicBezTo>
                  <a:pt x="18436" y="18488"/>
                  <a:pt x="18437" y="18490"/>
                  <a:pt x="18438" y="18490"/>
                </a:cubicBezTo>
                <a:cubicBezTo>
                  <a:pt x="18446" y="18490"/>
                  <a:pt x="18452" y="18483"/>
                  <a:pt x="18458" y="18474"/>
                </a:cubicBezTo>
                <a:lnTo>
                  <a:pt x="18477" y="18474"/>
                </a:lnTo>
                <a:cubicBezTo>
                  <a:pt x="18478" y="18474"/>
                  <a:pt x="18479" y="18473"/>
                  <a:pt x="18480" y="18473"/>
                </a:cubicBezTo>
                <a:lnTo>
                  <a:pt x="18483" y="18472"/>
                </a:lnTo>
                <a:cubicBezTo>
                  <a:pt x="18492" y="18467"/>
                  <a:pt x="18500" y="18463"/>
                  <a:pt x="18508" y="18458"/>
                </a:cubicBezTo>
                <a:cubicBezTo>
                  <a:pt x="18510" y="18481"/>
                  <a:pt x="18517" y="18504"/>
                  <a:pt x="18522" y="18525"/>
                </a:cubicBezTo>
                <a:cubicBezTo>
                  <a:pt x="18529" y="18553"/>
                  <a:pt x="18536" y="18579"/>
                  <a:pt x="18536" y="18606"/>
                </a:cubicBezTo>
                <a:cubicBezTo>
                  <a:pt x="18536" y="18628"/>
                  <a:pt x="18539" y="18649"/>
                  <a:pt x="18542" y="18669"/>
                </a:cubicBezTo>
                <a:cubicBezTo>
                  <a:pt x="18537" y="18694"/>
                  <a:pt x="18534" y="18721"/>
                  <a:pt x="18534" y="18750"/>
                </a:cubicBezTo>
                <a:cubicBezTo>
                  <a:pt x="18534" y="18866"/>
                  <a:pt x="18581" y="18960"/>
                  <a:pt x="18638" y="18960"/>
                </a:cubicBezTo>
                <a:cubicBezTo>
                  <a:pt x="18666" y="18960"/>
                  <a:pt x="18690" y="18937"/>
                  <a:pt x="18709" y="18903"/>
                </a:cubicBezTo>
                <a:cubicBezTo>
                  <a:pt x="18731" y="18913"/>
                  <a:pt x="18752" y="18920"/>
                  <a:pt x="18769" y="18920"/>
                </a:cubicBezTo>
                <a:cubicBezTo>
                  <a:pt x="18804" y="18920"/>
                  <a:pt x="18817" y="18887"/>
                  <a:pt x="18826" y="18862"/>
                </a:cubicBezTo>
                <a:cubicBezTo>
                  <a:pt x="18833" y="18846"/>
                  <a:pt x="18837" y="18835"/>
                  <a:pt x="18848" y="18829"/>
                </a:cubicBezTo>
                <a:cubicBezTo>
                  <a:pt x="18873" y="18881"/>
                  <a:pt x="18945" y="18950"/>
                  <a:pt x="18958" y="18954"/>
                </a:cubicBezTo>
                <a:cubicBezTo>
                  <a:pt x="18959" y="18954"/>
                  <a:pt x="18959" y="18954"/>
                  <a:pt x="18960" y="18954"/>
                </a:cubicBezTo>
                <a:cubicBezTo>
                  <a:pt x="18967" y="18954"/>
                  <a:pt x="18974" y="18944"/>
                  <a:pt x="18975" y="18930"/>
                </a:cubicBezTo>
                <a:cubicBezTo>
                  <a:pt x="18978" y="18900"/>
                  <a:pt x="18984" y="18876"/>
                  <a:pt x="18996" y="18856"/>
                </a:cubicBezTo>
                <a:cubicBezTo>
                  <a:pt x="19014" y="18826"/>
                  <a:pt x="19042" y="18811"/>
                  <a:pt x="19071" y="18795"/>
                </a:cubicBezTo>
                <a:cubicBezTo>
                  <a:pt x="19117" y="18768"/>
                  <a:pt x="19169" y="18739"/>
                  <a:pt x="19186" y="18642"/>
                </a:cubicBezTo>
                <a:cubicBezTo>
                  <a:pt x="19188" y="18637"/>
                  <a:pt x="19189" y="18629"/>
                  <a:pt x="19189" y="18622"/>
                </a:cubicBezTo>
                <a:cubicBezTo>
                  <a:pt x="19189" y="18525"/>
                  <a:pt x="19210" y="18433"/>
                  <a:pt x="19229" y="18353"/>
                </a:cubicBezTo>
                <a:cubicBezTo>
                  <a:pt x="19237" y="18316"/>
                  <a:pt x="19245" y="18282"/>
                  <a:pt x="19250" y="18249"/>
                </a:cubicBezTo>
                <a:cubicBezTo>
                  <a:pt x="19263" y="18168"/>
                  <a:pt x="19282" y="18122"/>
                  <a:pt x="19304" y="18069"/>
                </a:cubicBezTo>
                <a:cubicBezTo>
                  <a:pt x="19317" y="18038"/>
                  <a:pt x="19332" y="18004"/>
                  <a:pt x="19346" y="17959"/>
                </a:cubicBezTo>
                <a:cubicBezTo>
                  <a:pt x="19353" y="17937"/>
                  <a:pt x="19355" y="17919"/>
                  <a:pt x="19356" y="17905"/>
                </a:cubicBezTo>
                <a:cubicBezTo>
                  <a:pt x="19357" y="17894"/>
                  <a:pt x="19358" y="17886"/>
                  <a:pt x="19361" y="17874"/>
                </a:cubicBezTo>
                <a:cubicBezTo>
                  <a:pt x="19363" y="17869"/>
                  <a:pt x="19364" y="17863"/>
                  <a:pt x="19364" y="17857"/>
                </a:cubicBezTo>
                <a:lnTo>
                  <a:pt x="19364" y="17750"/>
                </a:lnTo>
                <a:cubicBezTo>
                  <a:pt x="19385" y="17693"/>
                  <a:pt x="19395" y="17555"/>
                  <a:pt x="19395" y="17475"/>
                </a:cubicBezTo>
                <a:cubicBezTo>
                  <a:pt x="19395" y="17441"/>
                  <a:pt x="19393" y="17399"/>
                  <a:pt x="19390" y="17354"/>
                </a:cubicBezTo>
                <a:cubicBezTo>
                  <a:pt x="19385" y="17275"/>
                  <a:pt x="19377" y="17197"/>
                  <a:pt x="19366" y="17133"/>
                </a:cubicBezTo>
                <a:lnTo>
                  <a:pt x="19365" y="17124"/>
                </a:lnTo>
                <a:cubicBezTo>
                  <a:pt x="19364" y="17120"/>
                  <a:pt x="19363" y="17115"/>
                  <a:pt x="19362" y="17111"/>
                </a:cubicBezTo>
                <a:cubicBezTo>
                  <a:pt x="19356" y="17075"/>
                  <a:pt x="19349" y="17047"/>
                  <a:pt x="19342" y="17024"/>
                </a:cubicBezTo>
                <a:cubicBezTo>
                  <a:pt x="19343" y="17013"/>
                  <a:pt x="19342" y="17002"/>
                  <a:pt x="19338" y="16995"/>
                </a:cubicBezTo>
                <a:cubicBezTo>
                  <a:pt x="19328" y="16974"/>
                  <a:pt x="19315" y="16954"/>
                  <a:pt x="19301" y="16933"/>
                </a:cubicBezTo>
                <a:cubicBezTo>
                  <a:pt x="19262" y="16871"/>
                  <a:pt x="19221" y="16806"/>
                  <a:pt x="19221" y="16693"/>
                </a:cubicBezTo>
                <a:cubicBezTo>
                  <a:pt x="19221" y="16685"/>
                  <a:pt x="19220" y="16677"/>
                  <a:pt x="19217" y="16672"/>
                </a:cubicBezTo>
                <a:cubicBezTo>
                  <a:pt x="19214" y="16666"/>
                  <a:pt x="19211" y="16662"/>
                  <a:pt x="19207" y="16662"/>
                </a:cubicBezTo>
                <a:cubicBezTo>
                  <a:pt x="19178" y="16662"/>
                  <a:pt x="19156" y="16660"/>
                  <a:pt x="19151" y="16629"/>
                </a:cubicBezTo>
                <a:cubicBezTo>
                  <a:pt x="19149" y="16616"/>
                  <a:pt x="19147" y="16602"/>
                  <a:pt x="19146" y="16588"/>
                </a:cubicBezTo>
                <a:cubicBezTo>
                  <a:pt x="19139" y="16533"/>
                  <a:pt x="19132" y="16470"/>
                  <a:pt x="19109" y="16425"/>
                </a:cubicBezTo>
                <a:cubicBezTo>
                  <a:pt x="19093" y="16393"/>
                  <a:pt x="19069" y="16369"/>
                  <a:pt x="19044" y="16344"/>
                </a:cubicBezTo>
                <a:cubicBezTo>
                  <a:pt x="19036" y="16336"/>
                  <a:pt x="19029" y="16326"/>
                  <a:pt x="19021" y="16317"/>
                </a:cubicBezTo>
                <a:cubicBezTo>
                  <a:pt x="19019" y="16268"/>
                  <a:pt x="18999" y="16227"/>
                  <a:pt x="18974" y="16227"/>
                </a:cubicBezTo>
                <a:cubicBezTo>
                  <a:pt x="18973" y="16227"/>
                  <a:pt x="18972" y="16230"/>
                  <a:pt x="18971" y="16230"/>
                </a:cubicBezTo>
                <a:cubicBezTo>
                  <a:pt x="18971" y="16228"/>
                  <a:pt x="18969" y="16226"/>
                  <a:pt x="18968" y="16224"/>
                </a:cubicBezTo>
                <a:cubicBezTo>
                  <a:pt x="18959" y="16168"/>
                  <a:pt x="18951" y="16128"/>
                  <a:pt x="18941" y="16085"/>
                </a:cubicBezTo>
                <a:cubicBezTo>
                  <a:pt x="18933" y="16045"/>
                  <a:pt x="18924" y="16004"/>
                  <a:pt x="18915" y="15949"/>
                </a:cubicBezTo>
                <a:cubicBezTo>
                  <a:pt x="18912" y="15929"/>
                  <a:pt x="18910" y="15900"/>
                  <a:pt x="18908" y="15871"/>
                </a:cubicBezTo>
                <a:cubicBezTo>
                  <a:pt x="18906" y="15852"/>
                  <a:pt x="18904" y="15835"/>
                  <a:pt x="18902" y="15817"/>
                </a:cubicBezTo>
                <a:cubicBezTo>
                  <a:pt x="18909" y="15798"/>
                  <a:pt x="18914" y="15776"/>
                  <a:pt x="18914" y="15751"/>
                </a:cubicBezTo>
                <a:cubicBezTo>
                  <a:pt x="18914" y="15685"/>
                  <a:pt x="18887" y="15631"/>
                  <a:pt x="18854" y="15631"/>
                </a:cubicBezTo>
                <a:cubicBezTo>
                  <a:pt x="18841" y="15631"/>
                  <a:pt x="18828" y="15641"/>
                  <a:pt x="18818" y="15656"/>
                </a:cubicBezTo>
                <a:cubicBezTo>
                  <a:pt x="18812" y="15653"/>
                  <a:pt x="18806" y="15648"/>
                  <a:pt x="18802" y="15646"/>
                </a:cubicBezTo>
                <a:cubicBezTo>
                  <a:pt x="18795" y="15632"/>
                  <a:pt x="18794" y="15607"/>
                  <a:pt x="18793" y="15569"/>
                </a:cubicBezTo>
                <a:cubicBezTo>
                  <a:pt x="18792" y="15544"/>
                  <a:pt x="18792" y="15518"/>
                  <a:pt x="18788" y="15493"/>
                </a:cubicBezTo>
                <a:cubicBezTo>
                  <a:pt x="18783" y="15463"/>
                  <a:pt x="18777" y="15435"/>
                  <a:pt x="18770" y="15406"/>
                </a:cubicBezTo>
                <a:cubicBezTo>
                  <a:pt x="18758" y="15352"/>
                  <a:pt x="18746" y="15297"/>
                  <a:pt x="18742" y="15226"/>
                </a:cubicBezTo>
                <a:cubicBezTo>
                  <a:pt x="18741" y="15216"/>
                  <a:pt x="18738" y="15207"/>
                  <a:pt x="18734" y="15203"/>
                </a:cubicBezTo>
                <a:close/>
                <a:moveTo>
                  <a:pt x="7764" y="15227"/>
                </a:moveTo>
                <a:cubicBezTo>
                  <a:pt x="7769" y="15254"/>
                  <a:pt x="7776" y="15276"/>
                  <a:pt x="7787" y="15294"/>
                </a:cubicBezTo>
                <a:cubicBezTo>
                  <a:pt x="7778" y="15337"/>
                  <a:pt x="7736" y="15554"/>
                  <a:pt x="7692" y="15781"/>
                </a:cubicBezTo>
                <a:cubicBezTo>
                  <a:pt x="7677" y="15808"/>
                  <a:pt x="7667" y="15846"/>
                  <a:pt x="7667" y="15891"/>
                </a:cubicBezTo>
                <a:cubicBezTo>
                  <a:pt x="7667" y="15896"/>
                  <a:pt x="7668" y="15900"/>
                  <a:pt x="7668" y="15905"/>
                </a:cubicBezTo>
                <a:cubicBezTo>
                  <a:pt x="7627" y="16116"/>
                  <a:pt x="7617" y="16166"/>
                  <a:pt x="7585" y="16331"/>
                </a:cubicBezTo>
                <a:cubicBezTo>
                  <a:pt x="7585" y="16295"/>
                  <a:pt x="7571" y="16265"/>
                  <a:pt x="7552" y="16265"/>
                </a:cubicBezTo>
                <a:cubicBezTo>
                  <a:pt x="7533" y="16265"/>
                  <a:pt x="7518" y="16296"/>
                  <a:pt x="7518" y="16334"/>
                </a:cubicBezTo>
                <a:cubicBezTo>
                  <a:pt x="7518" y="16371"/>
                  <a:pt x="7533" y="16401"/>
                  <a:pt x="7552" y="16401"/>
                </a:cubicBezTo>
                <a:cubicBezTo>
                  <a:pt x="7561" y="16401"/>
                  <a:pt x="7569" y="16393"/>
                  <a:pt x="7575" y="16381"/>
                </a:cubicBezTo>
                <a:cubicBezTo>
                  <a:pt x="7552" y="16504"/>
                  <a:pt x="7509" y="16728"/>
                  <a:pt x="7509" y="16728"/>
                </a:cubicBezTo>
                <a:lnTo>
                  <a:pt x="7502" y="16760"/>
                </a:lnTo>
                <a:cubicBezTo>
                  <a:pt x="7483" y="16764"/>
                  <a:pt x="7467" y="16773"/>
                  <a:pt x="7452" y="16787"/>
                </a:cubicBezTo>
                <a:cubicBezTo>
                  <a:pt x="7440" y="16800"/>
                  <a:pt x="7434" y="16817"/>
                  <a:pt x="7430" y="16829"/>
                </a:cubicBezTo>
                <a:cubicBezTo>
                  <a:pt x="7429" y="16833"/>
                  <a:pt x="7428" y="16837"/>
                  <a:pt x="7427" y="16840"/>
                </a:cubicBezTo>
                <a:cubicBezTo>
                  <a:pt x="7406" y="16881"/>
                  <a:pt x="7385" y="16892"/>
                  <a:pt x="7363" y="16904"/>
                </a:cubicBezTo>
                <a:cubicBezTo>
                  <a:pt x="7335" y="16918"/>
                  <a:pt x="7306" y="16933"/>
                  <a:pt x="7282" y="17006"/>
                </a:cubicBezTo>
                <a:cubicBezTo>
                  <a:pt x="7274" y="17032"/>
                  <a:pt x="7263" y="17042"/>
                  <a:pt x="7251" y="17054"/>
                </a:cubicBezTo>
                <a:cubicBezTo>
                  <a:pt x="7241" y="17063"/>
                  <a:pt x="7232" y="17073"/>
                  <a:pt x="7223" y="17090"/>
                </a:cubicBezTo>
                <a:cubicBezTo>
                  <a:pt x="7217" y="17103"/>
                  <a:pt x="7211" y="17117"/>
                  <a:pt x="7207" y="17132"/>
                </a:cubicBezTo>
                <a:lnTo>
                  <a:pt x="6572" y="16187"/>
                </a:lnTo>
                <a:cubicBezTo>
                  <a:pt x="6611" y="16183"/>
                  <a:pt x="6642" y="16119"/>
                  <a:pt x="6642" y="16040"/>
                </a:cubicBezTo>
                <a:cubicBezTo>
                  <a:pt x="6642" y="15958"/>
                  <a:pt x="6609" y="15892"/>
                  <a:pt x="6568" y="15892"/>
                </a:cubicBezTo>
                <a:cubicBezTo>
                  <a:pt x="6528" y="15892"/>
                  <a:pt x="6494" y="15958"/>
                  <a:pt x="6494" y="16040"/>
                </a:cubicBezTo>
                <a:cubicBezTo>
                  <a:pt x="6494" y="16053"/>
                  <a:pt x="6497" y="16065"/>
                  <a:pt x="6499" y="16077"/>
                </a:cubicBezTo>
                <a:lnTo>
                  <a:pt x="6111" y="15500"/>
                </a:lnTo>
                <a:cubicBezTo>
                  <a:pt x="6116" y="15475"/>
                  <a:pt x="6119" y="15450"/>
                  <a:pt x="6119" y="15422"/>
                </a:cubicBezTo>
                <a:cubicBezTo>
                  <a:pt x="6119" y="15405"/>
                  <a:pt x="6116" y="15390"/>
                  <a:pt x="6114" y="15374"/>
                </a:cubicBezTo>
                <a:lnTo>
                  <a:pt x="6240" y="15362"/>
                </a:lnTo>
                <a:cubicBezTo>
                  <a:pt x="6238" y="15373"/>
                  <a:pt x="6234" y="15382"/>
                  <a:pt x="6234" y="15394"/>
                </a:cubicBezTo>
                <a:cubicBezTo>
                  <a:pt x="6234" y="15448"/>
                  <a:pt x="6256" y="15492"/>
                  <a:pt x="6283" y="15492"/>
                </a:cubicBezTo>
                <a:cubicBezTo>
                  <a:pt x="6311" y="15492"/>
                  <a:pt x="6332" y="15448"/>
                  <a:pt x="6332" y="15394"/>
                </a:cubicBezTo>
                <a:cubicBezTo>
                  <a:pt x="6332" y="15379"/>
                  <a:pt x="6327" y="15368"/>
                  <a:pt x="6324" y="15355"/>
                </a:cubicBezTo>
                <a:lnTo>
                  <a:pt x="6775" y="15315"/>
                </a:lnTo>
                <a:lnTo>
                  <a:pt x="7054" y="15290"/>
                </a:lnTo>
                <a:cubicBezTo>
                  <a:pt x="7054" y="15297"/>
                  <a:pt x="7053" y="15303"/>
                  <a:pt x="7053" y="15310"/>
                </a:cubicBezTo>
                <a:cubicBezTo>
                  <a:pt x="7053" y="15442"/>
                  <a:pt x="7106" y="15549"/>
                  <a:pt x="7172" y="15549"/>
                </a:cubicBezTo>
                <a:cubicBezTo>
                  <a:pt x="7238" y="15549"/>
                  <a:pt x="7291" y="15442"/>
                  <a:pt x="7291" y="15310"/>
                </a:cubicBezTo>
                <a:cubicBezTo>
                  <a:pt x="7291" y="15296"/>
                  <a:pt x="7288" y="15283"/>
                  <a:pt x="7287" y="15269"/>
                </a:cubicBezTo>
                <a:lnTo>
                  <a:pt x="7411" y="15259"/>
                </a:lnTo>
                <a:cubicBezTo>
                  <a:pt x="7410" y="15267"/>
                  <a:pt x="7406" y="15273"/>
                  <a:pt x="7406" y="15282"/>
                </a:cubicBezTo>
                <a:cubicBezTo>
                  <a:pt x="7406" y="15336"/>
                  <a:pt x="7429" y="15380"/>
                  <a:pt x="7456" y="15380"/>
                </a:cubicBezTo>
                <a:cubicBezTo>
                  <a:pt x="7483" y="15380"/>
                  <a:pt x="7505" y="15336"/>
                  <a:pt x="7505" y="15282"/>
                </a:cubicBezTo>
                <a:cubicBezTo>
                  <a:pt x="7505" y="15270"/>
                  <a:pt x="7500" y="15261"/>
                  <a:pt x="7498" y="15251"/>
                </a:cubicBezTo>
                <a:lnTo>
                  <a:pt x="7764" y="15227"/>
                </a:lnTo>
                <a:close/>
                <a:moveTo>
                  <a:pt x="18716" y="15287"/>
                </a:moveTo>
                <a:cubicBezTo>
                  <a:pt x="18723" y="15342"/>
                  <a:pt x="18734" y="15388"/>
                  <a:pt x="18743" y="15430"/>
                </a:cubicBezTo>
                <a:cubicBezTo>
                  <a:pt x="18749" y="15458"/>
                  <a:pt x="18755" y="15485"/>
                  <a:pt x="18759" y="15511"/>
                </a:cubicBezTo>
                <a:cubicBezTo>
                  <a:pt x="18762" y="15528"/>
                  <a:pt x="18762" y="15549"/>
                  <a:pt x="18763" y="15571"/>
                </a:cubicBezTo>
                <a:cubicBezTo>
                  <a:pt x="18764" y="15616"/>
                  <a:pt x="18765" y="15667"/>
                  <a:pt x="18786" y="15697"/>
                </a:cubicBezTo>
                <a:cubicBezTo>
                  <a:pt x="18788" y="15699"/>
                  <a:pt x="18789" y="15700"/>
                  <a:pt x="18791" y="15701"/>
                </a:cubicBezTo>
                <a:cubicBezTo>
                  <a:pt x="18794" y="15702"/>
                  <a:pt x="18796" y="15703"/>
                  <a:pt x="18799" y="15705"/>
                </a:cubicBezTo>
                <a:cubicBezTo>
                  <a:pt x="18796" y="15719"/>
                  <a:pt x="18794" y="15735"/>
                  <a:pt x="18794" y="15751"/>
                </a:cubicBezTo>
                <a:cubicBezTo>
                  <a:pt x="18794" y="15817"/>
                  <a:pt x="18821" y="15870"/>
                  <a:pt x="18854" y="15870"/>
                </a:cubicBezTo>
                <a:cubicBezTo>
                  <a:pt x="18862" y="15870"/>
                  <a:pt x="18869" y="15866"/>
                  <a:pt x="18876" y="15860"/>
                </a:cubicBezTo>
                <a:cubicBezTo>
                  <a:pt x="18877" y="15867"/>
                  <a:pt x="18878" y="15874"/>
                  <a:pt x="18878" y="15880"/>
                </a:cubicBezTo>
                <a:cubicBezTo>
                  <a:pt x="18881" y="15912"/>
                  <a:pt x="18883" y="15942"/>
                  <a:pt x="18887" y="15966"/>
                </a:cubicBezTo>
                <a:cubicBezTo>
                  <a:pt x="18896" y="16024"/>
                  <a:pt x="18905" y="16067"/>
                  <a:pt x="18914" y="16109"/>
                </a:cubicBezTo>
                <a:cubicBezTo>
                  <a:pt x="18923" y="16151"/>
                  <a:pt x="18931" y="16189"/>
                  <a:pt x="18940" y="16243"/>
                </a:cubicBezTo>
                <a:cubicBezTo>
                  <a:pt x="18940" y="16246"/>
                  <a:pt x="18942" y="16249"/>
                  <a:pt x="18943" y="16253"/>
                </a:cubicBezTo>
                <a:cubicBezTo>
                  <a:pt x="18932" y="16271"/>
                  <a:pt x="18925" y="16297"/>
                  <a:pt x="18925" y="16327"/>
                </a:cubicBezTo>
                <a:cubicBezTo>
                  <a:pt x="18925" y="16381"/>
                  <a:pt x="18947" y="16425"/>
                  <a:pt x="18974" y="16425"/>
                </a:cubicBezTo>
                <a:cubicBezTo>
                  <a:pt x="18991" y="16425"/>
                  <a:pt x="19004" y="16404"/>
                  <a:pt x="19012" y="16377"/>
                </a:cubicBezTo>
                <a:cubicBezTo>
                  <a:pt x="19019" y="16384"/>
                  <a:pt x="19024" y="16391"/>
                  <a:pt x="19031" y="16398"/>
                </a:cubicBezTo>
                <a:cubicBezTo>
                  <a:pt x="19054" y="16421"/>
                  <a:pt x="19075" y="16442"/>
                  <a:pt x="19087" y="16468"/>
                </a:cubicBezTo>
                <a:cubicBezTo>
                  <a:pt x="19104" y="16501"/>
                  <a:pt x="19111" y="16552"/>
                  <a:pt x="19116" y="16602"/>
                </a:cubicBezTo>
                <a:cubicBezTo>
                  <a:pt x="19118" y="16617"/>
                  <a:pt x="19120" y="16632"/>
                  <a:pt x="19122" y="16646"/>
                </a:cubicBezTo>
                <a:cubicBezTo>
                  <a:pt x="19132" y="16711"/>
                  <a:pt x="19165" y="16721"/>
                  <a:pt x="19192" y="16723"/>
                </a:cubicBezTo>
                <a:cubicBezTo>
                  <a:pt x="19199" y="16848"/>
                  <a:pt x="19245" y="16921"/>
                  <a:pt x="19283" y="16981"/>
                </a:cubicBezTo>
                <a:cubicBezTo>
                  <a:pt x="19293" y="16996"/>
                  <a:pt x="19302" y="17010"/>
                  <a:pt x="19310" y="17025"/>
                </a:cubicBezTo>
                <a:cubicBezTo>
                  <a:pt x="19310" y="17033"/>
                  <a:pt x="19311" y="17041"/>
                  <a:pt x="19313" y="17047"/>
                </a:cubicBezTo>
                <a:cubicBezTo>
                  <a:pt x="19314" y="17049"/>
                  <a:pt x="19315" y="17052"/>
                  <a:pt x="19315" y="17054"/>
                </a:cubicBezTo>
                <a:cubicBezTo>
                  <a:pt x="19313" y="17053"/>
                  <a:pt x="19312" y="17048"/>
                  <a:pt x="19309" y="17048"/>
                </a:cubicBezTo>
                <a:cubicBezTo>
                  <a:pt x="19308" y="17048"/>
                  <a:pt x="19307" y="17050"/>
                  <a:pt x="19305" y="17051"/>
                </a:cubicBezTo>
                <a:lnTo>
                  <a:pt x="18798" y="16390"/>
                </a:lnTo>
                <a:cubicBezTo>
                  <a:pt x="18791" y="16340"/>
                  <a:pt x="18770" y="16302"/>
                  <a:pt x="18743" y="16302"/>
                </a:cubicBezTo>
                <a:cubicBezTo>
                  <a:pt x="18739" y="16302"/>
                  <a:pt x="18737" y="16305"/>
                  <a:pt x="18734" y="16306"/>
                </a:cubicBezTo>
                <a:lnTo>
                  <a:pt x="18599" y="16130"/>
                </a:lnTo>
                <a:cubicBezTo>
                  <a:pt x="18652" y="16094"/>
                  <a:pt x="18668" y="15918"/>
                  <a:pt x="18678" y="15809"/>
                </a:cubicBezTo>
                <a:cubicBezTo>
                  <a:pt x="18680" y="15792"/>
                  <a:pt x="18681" y="15776"/>
                  <a:pt x="18682" y="15764"/>
                </a:cubicBezTo>
                <a:cubicBezTo>
                  <a:pt x="18682" y="15761"/>
                  <a:pt x="18683" y="15760"/>
                  <a:pt x="18683" y="15758"/>
                </a:cubicBezTo>
                <a:lnTo>
                  <a:pt x="18683" y="15585"/>
                </a:lnTo>
                <a:cubicBezTo>
                  <a:pt x="18698" y="15564"/>
                  <a:pt x="18709" y="15530"/>
                  <a:pt x="18709" y="15490"/>
                </a:cubicBezTo>
                <a:cubicBezTo>
                  <a:pt x="18709" y="15449"/>
                  <a:pt x="18698" y="15415"/>
                  <a:pt x="18683" y="15393"/>
                </a:cubicBezTo>
                <a:lnTo>
                  <a:pt x="18683" y="15388"/>
                </a:lnTo>
                <a:cubicBezTo>
                  <a:pt x="18697" y="15363"/>
                  <a:pt x="18704" y="15336"/>
                  <a:pt x="18709" y="15315"/>
                </a:cubicBezTo>
                <a:cubicBezTo>
                  <a:pt x="18711" y="15304"/>
                  <a:pt x="18713" y="15295"/>
                  <a:pt x="18716" y="15287"/>
                </a:cubicBezTo>
                <a:close/>
                <a:moveTo>
                  <a:pt x="7877" y="15298"/>
                </a:moveTo>
                <a:lnTo>
                  <a:pt x="7897" y="15325"/>
                </a:lnTo>
                <a:cubicBezTo>
                  <a:pt x="7895" y="15330"/>
                  <a:pt x="7894" y="15336"/>
                  <a:pt x="7892" y="15342"/>
                </a:cubicBezTo>
                <a:cubicBezTo>
                  <a:pt x="7886" y="15359"/>
                  <a:pt x="7881" y="15369"/>
                  <a:pt x="7876" y="15381"/>
                </a:cubicBezTo>
                <a:cubicBezTo>
                  <a:pt x="7873" y="15389"/>
                  <a:pt x="7869" y="15396"/>
                  <a:pt x="7866" y="15406"/>
                </a:cubicBezTo>
                <a:lnTo>
                  <a:pt x="7855" y="15322"/>
                </a:lnTo>
                <a:cubicBezTo>
                  <a:pt x="7863" y="15317"/>
                  <a:pt x="7870" y="15308"/>
                  <a:pt x="7877" y="15298"/>
                </a:cubicBezTo>
                <a:close/>
                <a:moveTo>
                  <a:pt x="7813" y="15322"/>
                </a:moveTo>
                <a:cubicBezTo>
                  <a:pt x="7817" y="15324"/>
                  <a:pt x="7820" y="15325"/>
                  <a:pt x="7824" y="15326"/>
                </a:cubicBezTo>
                <a:lnTo>
                  <a:pt x="7834" y="15410"/>
                </a:lnTo>
                <a:lnTo>
                  <a:pt x="7841" y="15464"/>
                </a:lnTo>
                <a:cubicBezTo>
                  <a:pt x="7835" y="15476"/>
                  <a:pt x="7828" y="15486"/>
                  <a:pt x="7821" y="15495"/>
                </a:cubicBezTo>
                <a:cubicBezTo>
                  <a:pt x="7812" y="15508"/>
                  <a:pt x="7803" y="15520"/>
                  <a:pt x="7794" y="15539"/>
                </a:cubicBezTo>
                <a:cubicBezTo>
                  <a:pt x="7767" y="15592"/>
                  <a:pt x="7774" y="15677"/>
                  <a:pt x="7782" y="15759"/>
                </a:cubicBezTo>
                <a:cubicBezTo>
                  <a:pt x="7782" y="15763"/>
                  <a:pt x="7782" y="15767"/>
                  <a:pt x="7782" y="15772"/>
                </a:cubicBezTo>
                <a:cubicBezTo>
                  <a:pt x="7770" y="15755"/>
                  <a:pt x="7757" y="15743"/>
                  <a:pt x="7741" y="15743"/>
                </a:cubicBezTo>
                <a:cubicBezTo>
                  <a:pt x="7737" y="15743"/>
                  <a:pt x="7734" y="15745"/>
                  <a:pt x="7731" y="15746"/>
                </a:cubicBezTo>
                <a:lnTo>
                  <a:pt x="7764" y="15576"/>
                </a:lnTo>
                <a:lnTo>
                  <a:pt x="7813" y="15322"/>
                </a:lnTo>
                <a:close/>
                <a:moveTo>
                  <a:pt x="11355" y="15332"/>
                </a:moveTo>
                <a:cubicBezTo>
                  <a:pt x="11322" y="15332"/>
                  <a:pt x="11295" y="15386"/>
                  <a:pt x="11295" y="15452"/>
                </a:cubicBezTo>
                <a:cubicBezTo>
                  <a:pt x="11295" y="15518"/>
                  <a:pt x="11322" y="15571"/>
                  <a:pt x="11355" y="15571"/>
                </a:cubicBezTo>
                <a:cubicBezTo>
                  <a:pt x="11388" y="15571"/>
                  <a:pt x="11415" y="15518"/>
                  <a:pt x="11415" y="15452"/>
                </a:cubicBezTo>
                <a:cubicBezTo>
                  <a:pt x="11415" y="15386"/>
                  <a:pt x="11388" y="15332"/>
                  <a:pt x="11355" y="15332"/>
                </a:cubicBezTo>
                <a:close/>
                <a:moveTo>
                  <a:pt x="11633" y="15369"/>
                </a:moveTo>
                <a:cubicBezTo>
                  <a:pt x="11621" y="15369"/>
                  <a:pt x="11612" y="15389"/>
                  <a:pt x="11612" y="15411"/>
                </a:cubicBezTo>
                <a:cubicBezTo>
                  <a:pt x="11612" y="15434"/>
                  <a:pt x="11621" y="15452"/>
                  <a:pt x="11633" y="15452"/>
                </a:cubicBezTo>
                <a:cubicBezTo>
                  <a:pt x="11644" y="15452"/>
                  <a:pt x="11653" y="15434"/>
                  <a:pt x="11653" y="15411"/>
                </a:cubicBezTo>
                <a:cubicBezTo>
                  <a:pt x="11653" y="15389"/>
                  <a:pt x="11644" y="15369"/>
                  <a:pt x="11633" y="15369"/>
                </a:cubicBezTo>
                <a:close/>
                <a:moveTo>
                  <a:pt x="11825" y="15369"/>
                </a:moveTo>
                <a:cubicBezTo>
                  <a:pt x="11810" y="15369"/>
                  <a:pt x="11798" y="15394"/>
                  <a:pt x="11798" y="15424"/>
                </a:cubicBezTo>
                <a:cubicBezTo>
                  <a:pt x="11798" y="15455"/>
                  <a:pt x="11810" y="15480"/>
                  <a:pt x="11825" y="15480"/>
                </a:cubicBezTo>
                <a:cubicBezTo>
                  <a:pt x="11840" y="15480"/>
                  <a:pt x="11853" y="15455"/>
                  <a:pt x="11853" y="15424"/>
                </a:cubicBezTo>
                <a:cubicBezTo>
                  <a:pt x="11853" y="15394"/>
                  <a:pt x="11840" y="15369"/>
                  <a:pt x="11825" y="15369"/>
                </a:cubicBezTo>
                <a:close/>
                <a:moveTo>
                  <a:pt x="12446" y="15369"/>
                </a:moveTo>
                <a:cubicBezTo>
                  <a:pt x="12427" y="15369"/>
                  <a:pt x="12412" y="15401"/>
                  <a:pt x="12412" y="15438"/>
                </a:cubicBezTo>
                <a:cubicBezTo>
                  <a:pt x="12412" y="15476"/>
                  <a:pt x="12427" y="15506"/>
                  <a:pt x="12446" y="15506"/>
                </a:cubicBezTo>
                <a:cubicBezTo>
                  <a:pt x="12465" y="15506"/>
                  <a:pt x="12480" y="15476"/>
                  <a:pt x="12480" y="15438"/>
                </a:cubicBezTo>
                <a:cubicBezTo>
                  <a:pt x="12480" y="15401"/>
                  <a:pt x="12465" y="15369"/>
                  <a:pt x="12446" y="15369"/>
                </a:cubicBezTo>
                <a:close/>
                <a:moveTo>
                  <a:pt x="13060" y="15424"/>
                </a:moveTo>
                <a:cubicBezTo>
                  <a:pt x="13053" y="15423"/>
                  <a:pt x="13047" y="15429"/>
                  <a:pt x="13044" y="15441"/>
                </a:cubicBezTo>
                <a:cubicBezTo>
                  <a:pt x="13039" y="15462"/>
                  <a:pt x="13038" y="15489"/>
                  <a:pt x="13037" y="15515"/>
                </a:cubicBezTo>
                <a:cubicBezTo>
                  <a:pt x="13037" y="15530"/>
                  <a:pt x="13036" y="15554"/>
                  <a:pt x="13035" y="15560"/>
                </a:cubicBezTo>
                <a:cubicBezTo>
                  <a:pt x="13025" y="15578"/>
                  <a:pt x="13014" y="15604"/>
                  <a:pt x="13001" y="15632"/>
                </a:cubicBezTo>
                <a:cubicBezTo>
                  <a:pt x="12998" y="15639"/>
                  <a:pt x="12994" y="15647"/>
                  <a:pt x="12990" y="15654"/>
                </a:cubicBezTo>
                <a:cubicBezTo>
                  <a:pt x="12977" y="15618"/>
                  <a:pt x="12956" y="15593"/>
                  <a:pt x="12932" y="15593"/>
                </a:cubicBezTo>
                <a:cubicBezTo>
                  <a:pt x="12891" y="15593"/>
                  <a:pt x="12858" y="15660"/>
                  <a:pt x="12858" y="15741"/>
                </a:cubicBezTo>
                <a:cubicBezTo>
                  <a:pt x="12858" y="15783"/>
                  <a:pt x="12867" y="15821"/>
                  <a:pt x="12881" y="15847"/>
                </a:cubicBezTo>
                <a:cubicBezTo>
                  <a:pt x="12869" y="15860"/>
                  <a:pt x="12856" y="15872"/>
                  <a:pt x="12843" y="15882"/>
                </a:cubicBezTo>
                <a:cubicBezTo>
                  <a:pt x="12817" y="15903"/>
                  <a:pt x="12790" y="15924"/>
                  <a:pt x="12771" y="15966"/>
                </a:cubicBezTo>
                <a:cubicBezTo>
                  <a:pt x="12765" y="15945"/>
                  <a:pt x="12757" y="15929"/>
                  <a:pt x="12744" y="15929"/>
                </a:cubicBezTo>
                <a:cubicBezTo>
                  <a:pt x="12725" y="15929"/>
                  <a:pt x="12710" y="15960"/>
                  <a:pt x="12710" y="15998"/>
                </a:cubicBezTo>
                <a:cubicBezTo>
                  <a:pt x="12710" y="16036"/>
                  <a:pt x="12725" y="16065"/>
                  <a:pt x="12744" y="16065"/>
                </a:cubicBezTo>
                <a:cubicBezTo>
                  <a:pt x="12746" y="16065"/>
                  <a:pt x="12748" y="16061"/>
                  <a:pt x="12750" y="16060"/>
                </a:cubicBezTo>
                <a:cubicBezTo>
                  <a:pt x="12747" y="16083"/>
                  <a:pt x="12744" y="16105"/>
                  <a:pt x="12744" y="16134"/>
                </a:cubicBezTo>
                <a:cubicBezTo>
                  <a:pt x="12744" y="16150"/>
                  <a:pt x="12745" y="16167"/>
                  <a:pt x="12748" y="16189"/>
                </a:cubicBezTo>
                <a:cubicBezTo>
                  <a:pt x="12752" y="16217"/>
                  <a:pt x="12758" y="16246"/>
                  <a:pt x="12763" y="16274"/>
                </a:cubicBezTo>
                <a:cubicBezTo>
                  <a:pt x="12769" y="16302"/>
                  <a:pt x="12774" y="16334"/>
                  <a:pt x="12775" y="16351"/>
                </a:cubicBezTo>
                <a:cubicBezTo>
                  <a:pt x="12773" y="16360"/>
                  <a:pt x="12767" y="16392"/>
                  <a:pt x="12742" y="16500"/>
                </a:cubicBezTo>
                <a:lnTo>
                  <a:pt x="12736" y="16526"/>
                </a:lnTo>
                <a:cubicBezTo>
                  <a:pt x="12718" y="16549"/>
                  <a:pt x="12691" y="16606"/>
                  <a:pt x="12691" y="16631"/>
                </a:cubicBezTo>
                <a:cubicBezTo>
                  <a:pt x="12691" y="16695"/>
                  <a:pt x="12691" y="16768"/>
                  <a:pt x="12717" y="16816"/>
                </a:cubicBezTo>
                <a:cubicBezTo>
                  <a:pt x="12716" y="16823"/>
                  <a:pt x="12716" y="16831"/>
                  <a:pt x="12715" y="16841"/>
                </a:cubicBezTo>
                <a:cubicBezTo>
                  <a:pt x="12713" y="16857"/>
                  <a:pt x="12712" y="16878"/>
                  <a:pt x="12712" y="16908"/>
                </a:cubicBezTo>
                <a:cubicBezTo>
                  <a:pt x="12712" y="17030"/>
                  <a:pt x="12762" y="17171"/>
                  <a:pt x="12826" y="17171"/>
                </a:cubicBezTo>
                <a:cubicBezTo>
                  <a:pt x="12924" y="17171"/>
                  <a:pt x="12965" y="17023"/>
                  <a:pt x="12992" y="16879"/>
                </a:cubicBezTo>
                <a:cubicBezTo>
                  <a:pt x="12997" y="16848"/>
                  <a:pt x="13003" y="16815"/>
                  <a:pt x="13008" y="16784"/>
                </a:cubicBezTo>
                <a:cubicBezTo>
                  <a:pt x="13014" y="16745"/>
                  <a:pt x="13020" y="16710"/>
                  <a:pt x="13027" y="16676"/>
                </a:cubicBezTo>
                <a:cubicBezTo>
                  <a:pt x="13031" y="16653"/>
                  <a:pt x="13036" y="16630"/>
                  <a:pt x="13040" y="16608"/>
                </a:cubicBezTo>
                <a:cubicBezTo>
                  <a:pt x="13047" y="16573"/>
                  <a:pt x="13054" y="16539"/>
                  <a:pt x="13060" y="16505"/>
                </a:cubicBezTo>
                <a:cubicBezTo>
                  <a:pt x="13087" y="16365"/>
                  <a:pt x="13114" y="16200"/>
                  <a:pt x="13121" y="15994"/>
                </a:cubicBezTo>
                <a:cubicBezTo>
                  <a:pt x="13126" y="15997"/>
                  <a:pt x="13131" y="16001"/>
                  <a:pt x="13137" y="16001"/>
                </a:cubicBezTo>
                <a:cubicBezTo>
                  <a:pt x="13178" y="16001"/>
                  <a:pt x="13211" y="15935"/>
                  <a:pt x="13211" y="15853"/>
                </a:cubicBezTo>
                <a:cubicBezTo>
                  <a:pt x="13211" y="15776"/>
                  <a:pt x="13181" y="15714"/>
                  <a:pt x="13143" y="15708"/>
                </a:cubicBezTo>
                <a:cubicBezTo>
                  <a:pt x="13134" y="15593"/>
                  <a:pt x="13121" y="15439"/>
                  <a:pt x="13060" y="15424"/>
                </a:cubicBezTo>
                <a:close/>
                <a:moveTo>
                  <a:pt x="18037" y="15469"/>
                </a:moveTo>
                <a:lnTo>
                  <a:pt x="18189" y="15667"/>
                </a:lnTo>
                <a:cubicBezTo>
                  <a:pt x="18192" y="15673"/>
                  <a:pt x="18195" y="15677"/>
                  <a:pt x="18199" y="15681"/>
                </a:cubicBezTo>
                <a:lnTo>
                  <a:pt x="18282" y="15788"/>
                </a:lnTo>
                <a:cubicBezTo>
                  <a:pt x="18287" y="15803"/>
                  <a:pt x="18296" y="15808"/>
                  <a:pt x="18301" y="15811"/>
                </a:cubicBezTo>
                <a:lnTo>
                  <a:pt x="18332" y="15853"/>
                </a:lnTo>
                <a:cubicBezTo>
                  <a:pt x="18332" y="15856"/>
                  <a:pt x="18333" y="15857"/>
                  <a:pt x="18333" y="15859"/>
                </a:cubicBezTo>
                <a:cubicBezTo>
                  <a:pt x="18337" y="15883"/>
                  <a:pt x="18340" y="15908"/>
                  <a:pt x="18351" y="15913"/>
                </a:cubicBezTo>
                <a:lnTo>
                  <a:pt x="18372" y="15928"/>
                </a:lnTo>
                <a:cubicBezTo>
                  <a:pt x="18370" y="15937"/>
                  <a:pt x="18366" y="15944"/>
                  <a:pt x="18366" y="15954"/>
                </a:cubicBezTo>
                <a:cubicBezTo>
                  <a:pt x="18366" y="16008"/>
                  <a:pt x="18389" y="16051"/>
                  <a:pt x="18416" y="16051"/>
                </a:cubicBezTo>
                <a:cubicBezTo>
                  <a:pt x="18432" y="16051"/>
                  <a:pt x="18444" y="16034"/>
                  <a:pt x="18453" y="16011"/>
                </a:cubicBezTo>
                <a:lnTo>
                  <a:pt x="18702" y="16335"/>
                </a:lnTo>
                <a:cubicBezTo>
                  <a:pt x="18690" y="16357"/>
                  <a:pt x="18683" y="16388"/>
                  <a:pt x="18683" y="16422"/>
                </a:cubicBezTo>
                <a:cubicBezTo>
                  <a:pt x="18683" y="16488"/>
                  <a:pt x="18710" y="16541"/>
                  <a:pt x="18743" y="16541"/>
                </a:cubicBezTo>
                <a:cubicBezTo>
                  <a:pt x="18769" y="16541"/>
                  <a:pt x="18790" y="16507"/>
                  <a:pt x="18798" y="16461"/>
                </a:cubicBezTo>
                <a:lnTo>
                  <a:pt x="18860" y="16541"/>
                </a:lnTo>
                <a:lnTo>
                  <a:pt x="19008" y="16735"/>
                </a:lnTo>
                <a:cubicBezTo>
                  <a:pt x="19003" y="16747"/>
                  <a:pt x="18999" y="16763"/>
                  <a:pt x="18999" y="16781"/>
                </a:cubicBezTo>
                <a:cubicBezTo>
                  <a:pt x="18999" y="16819"/>
                  <a:pt x="19014" y="16849"/>
                  <a:pt x="19033" y="16849"/>
                </a:cubicBezTo>
                <a:cubicBezTo>
                  <a:pt x="19048" y="16849"/>
                  <a:pt x="19057" y="16829"/>
                  <a:pt x="19062" y="16805"/>
                </a:cubicBezTo>
                <a:lnTo>
                  <a:pt x="19273" y="17081"/>
                </a:lnTo>
                <a:cubicBezTo>
                  <a:pt x="19268" y="17093"/>
                  <a:pt x="19266" y="17110"/>
                  <a:pt x="19264" y="17126"/>
                </a:cubicBezTo>
                <a:lnTo>
                  <a:pt x="19152" y="17152"/>
                </a:lnTo>
                <a:cubicBezTo>
                  <a:pt x="19146" y="17135"/>
                  <a:pt x="19138" y="17123"/>
                  <a:pt x="19126" y="17123"/>
                </a:cubicBezTo>
                <a:cubicBezTo>
                  <a:pt x="19112" y="17123"/>
                  <a:pt x="19103" y="17142"/>
                  <a:pt x="19097" y="17166"/>
                </a:cubicBezTo>
                <a:lnTo>
                  <a:pt x="19033" y="17181"/>
                </a:lnTo>
                <a:cubicBezTo>
                  <a:pt x="19018" y="17103"/>
                  <a:pt x="18980" y="17048"/>
                  <a:pt x="18936" y="17048"/>
                </a:cubicBezTo>
                <a:cubicBezTo>
                  <a:pt x="18884" y="17048"/>
                  <a:pt x="18842" y="17127"/>
                  <a:pt x="18834" y="17228"/>
                </a:cubicBezTo>
                <a:lnTo>
                  <a:pt x="18674" y="17266"/>
                </a:lnTo>
                <a:cubicBezTo>
                  <a:pt x="18665" y="17247"/>
                  <a:pt x="18653" y="17235"/>
                  <a:pt x="18639" y="17235"/>
                </a:cubicBezTo>
                <a:cubicBezTo>
                  <a:pt x="18622" y="17235"/>
                  <a:pt x="18609" y="17256"/>
                  <a:pt x="18600" y="17284"/>
                </a:cubicBezTo>
                <a:lnTo>
                  <a:pt x="18479" y="17313"/>
                </a:lnTo>
                <a:cubicBezTo>
                  <a:pt x="18478" y="17312"/>
                  <a:pt x="18477" y="17309"/>
                  <a:pt x="18475" y="17309"/>
                </a:cubicBezTo>
                <a:cubicBezTo>
                  <a:pt x="18472" y="17309"/>
                  <a:pt x="18470" y="17315"/>
                  <a:pt x="18467" y="17316"/>
                </a:cubicBezTo>
                <a:lnTo>
                  <a:pt x="18284" y="17359"/>
                </a:lnTo>
                <a:cubicBezTo>
                  <a:pt x="18275" y="17247"/>
                  <a:pt x="18228" y="17160"/>
                  <a:pt x="18169" y="17160"/>
                </a:cubicBezTo>
                <a:cubicBezTo>
                  <a:pt x="18157" y="17160"/>
                  <a:pt x="18145" y="17167"/>
                  <a:pt x="18134" y="17174"/>
                </a:cubicBezTo>
                <a:lnTo>
                  <a:pt x="18003" y="16177"/>
                </a:lnTo>
                <a:cubicBezTo>
                  <a:pt x="18008" y="16158"/>
                  <a:pt x="18012" y="16137"/>
                  <a:pt x="18012" y="16114"/>
                </a:cubicBezTo>
                <a:cubicBezTo>
                  <a:pt x="18012" y="16065"/>
                  <a:pt x="17999" y="16024"/>
                  <a:pt x="17980" y="15997"/>
                </a:cubicBezTo>
                <a:lnTo>
                  <a:pt x="17937" y="15663"/>
                </a:lnTo>
                <a:cubicBezTo>
                  <a:pt x="17938" y="15647"/>
                  <a:pt x="17944" y="15632"/>
                  <a:pt x="17949" y="15615"/>
                </a:cubicBezTo>
                <a:cubicBezTo>
                  <a:pt x="17958" y="15591"/>
                  <a:pt x="17968" y="15563"/>
                  <a:pt x="17968" y="15523"/>
                </a:cubicBezTo>
                <a:cubicBezTo>
                  <a:pt x="17968" y="15517"/>
                  <a:pt x="17978" y="15505"/>
                  <a:pt x="17992" y="15492"/>
                </a:cubicBezTo>
                <a:cubicBezTo>
                  <a:pt x="17998" y="15498"/>
                  <a:pt x="18003" y="15506"/>
                  <a:pt x="18010" y="15506"/>
                </a:cubicBezTo>
                <a:cubicBezTo>
                  <a:pt x="18023" y="15506"/>
                  <a:pt x="18032" y="15489"/>
                  <a:pt x="18037" y="15469"/>
                </a:cubicBezTo>
                <a:close/>
                <a:moveTo>
                  <a:pt x="13068" y="15491"/>
                </a:moveTo>
                <a:cubicBezTo>
                  <a:pt x="13095" y="15518"/>
                  <a:pt x="13105" y="15609"/>
                  <a:pt x="13114" y="15710"/>
                </a:cubicBezTo>
                <a:lnTo>
                  <a:pt x="13112" y="15716"/>
                </a:lnTo>
                <a:cubicBezTo>
                  <a:pt x="13083" y="15736"/>
                  <a:pt x="13063" y="15789"/>
                  <a:pt x="13063" y="15853"/>
                </a:cubicBezTo>
                <a:cubicBezTo>
                  <a:pt x="13063" y="15857"/>
                  <a:pt x="13064" y="15860"/>
                  <a:pt x="13064" y="15864"/>
                </a:cubicBezTo>
                <a:lnTo>
                  <a:pt x="12982" y="16118"/>
                </a:lnTo>
                <a:cubicBezTo>
                  <a:pt x="12981" y="16116"/>
                  <a:pt x="12980" y="16116"/>
                  <a:pt x="12979" y="16114"/>
                </a:cubicBezTo>
                <a:cubicBezTo>
                  <a:pt x="12978" y="16106"/>
                  <a:pt x="12977" y="16092"/>
                  <a:pt x="12977" y="16092"/>
                </a:cubicBezTo>
                <a:lnTo>
                  <a:pt x="12957" y="15879"/>
                </a:lnTo>
                <a:cubicBezTo>
                  <a:pt x="12985" y="15858"/>
                  <a:pt x="13006" y="15806"/>
                  <a:pt x="13006" y="15741"/>
                </a:cubicBezTo>
                <a:cubicBezTo>
                  <a:pt x="13006" y="15731"/>
                  <a:pt x="13004" y="15723"/>
                  <a:pt x="13003" y="15713"/>
                </a:cubicBezTo>
                <a:cubicBezTo>
                  <a:pt x="13010" y="15700"/>
                  <a:pt x="13017" y="15685"/>
                  <a:pt x="13023" y="15673"/>
                </a:cubicBezTo>
                <a:cubicBezTo>
                  <a:pt x="13035" y="15645"/>
                  <a:pt x="13046" y="15621"/>
                  <a:pt x="13056" y="15603"/>
                </a:cubicBezTo>
                <a:cubicBezTo>
                  <a:pt x="13065" y="15583"/>
                  <a:pt x="13066" y="15552"/>
                  <a:pt x="13067" y="15519"/>
                </a:cubicBezTo>
                <a:cubicBezTo>
                  <a:pt x="13067" y="15510"/>
                  <a:pt x="13068" y="15500"/>
                  <a:pt x="13068" y="15491"/>
                </a:cubicBezTo>
                <a:close/>
                <a:moveTo>
                  <a:pt x="5889" y="15509"/>
                </a:moveTo>
                <a:cubicBezTo>
                  <a:pt x="5897" y="15547"/>
                  <a:pt x="5909" y="15578"/>
                  <a:pt x="5925" y="15604"/>
                </a:cubicBezTo>
                <a:cubicBezTo>
                  <a:pt x="5888" y="15794"/>
                  <a:pt x="5833" y="16085"/>
                  <a:pt x="5833" y="16085"/>
                </a:cubicBezTo>
                <a:cubicBezTo>
                  <a:pt x="5828" y="16079"/>
                  <a:pt x="5822" y="16073"/>
                  <a:pt x="5817" y="16068"/>
                </a:cubicBezTo>
                <a:cubicBezTo>
                  <a:pt x="5804" y="16055"/>
                  <a:pt x="5791" y="16049"/>
                  <a:pt x="5781" y="16043"/>
                </a:cubicBezTo>
                <a:cubicBezTo>
                  <a:pt x="5765" y="16035"/>
                  <a:pt x="5754" y="16029"/>
                  <a:pt x="5743" y="16006"/>
                </a:cubicBezTo>
                <a:cubicBezTo>
                  <a:pt x="5717" y="15954"/>
                  <a:pt x="5702" y="15933"/>
                  <a:pt x="5669" y="15914"/>
                </a:cubicBezTo>
                <a:cubicBezTo>
                  <a:pt x="5656" y="15906"/>
                  <a:pt x="5646" y="15892"/>
                  <a:pt x="5636" y="15881"/>
                </a:cubicBezTo>
                <a:cubicBezTo>
                  <a:pt x="5639" y="15868"/>
                  <a:pt x="5644" y="15857"/>
                  <a:pt x="5644" y="15842"/>
                </a:cubicBezTo>
                <a:cubicBezTo>
                  <a:pt x="5644" y="15831"/>
                  <a:pt x="5640" y="15823"/>
                  <a:pt x="5638" y="15814"/>
                </a:cubicBezTo>
                <a:lnTo>
                  <a:pt x="5889" y="15509"/>
                </a:lnTo>
                <a:close/>
                <a:moveTo>
                  <a:pt x="6097" y="15553"/>
                </a:moveTo>
                <a:lnTo>
                  <a:pt x="6844" y="16666"/>
                </a:lnTo>
                <a:lnTo>
                  <a:pt x="7033" y="16948"/>
                </a:lnTo>
                <a:cubicBezTo>
                  <a:pt x="7013" y="16961"/>
                  <a:pt x="6997" y="16991"/>
                  <a:pt x="6997" y="17035"/>
                </a:cubicBezTo>
                <a:cubicBezTo>
                  <a:pt x="6997" y="17090"/>
                  <a:pt x="7019" y="17133"/>
                  <a:pt x="7046" y="17133"/>
                </a:cubicBezTo>
                <a:cubicBezTo>
                  <a:pt x="7073" y="17133"/>
                  <a:pt x="7094" y="17091"/>
                  <a:pt x="7095" y="17039"/>
                </a:cubicBezTo>
                <a:lnTo>
                  <a:pt x="7177" y="17162"/>
                </a:lnTo>
                <a:cubicBezTo>
                  <a:pt x="7160" y="17166"/>
                  <a:pt x="7146" y="17193"/>
                  <a:pt x="7146" y="17229"/>
                </a:cubicBezTo>
                <a:cubicBezTo>
                  <a:pt x="7146" y="17267"/>
                  <a:pt x="7161" y="17296"/>
                  <a:pt x="7180" y="17296"/>
                </a:cubicBezTo>
                <a:cubicBezTo>
                  <a:pt x="7186" y="17296"/>
                  <a:pt x="7190" y="17289"/>
                  <a:pt x="7195" y="17284"/>
                </a:cubicBezTo>
                <a:cubicBezTo>
                  <a:pt x="7195" y="17290"/>
                  <a:pt x="7195" y="17489"/>
                  <a:pt x="7195" y="17489"/>
                </a:cubicBezTo>
                <a:lnTo>
                  <a:pt x="6882" y="17623"/>
                </a:lnTo>
                <a:cubicBezTo>
                  <a:pt x="6876" y="17552"/>
                  <a:pt x="6847" y="17496"/>
                  <a:pt x="6810" y="17496"/>
                </a:cubicBezTo>
                <a:cubicBezTo>
                  <a:pt x="6769" y="17496"/>
                  <a:pt x="6736" y="17562"/>
                  <a:pt x="6736" y="17644"/>
                </a:cubicBezTo>
                <a:cubicBezTo>
                  <a:pt x="6736" y="17658"/>
                  <a:pt x="6738" y="17671"/>
                  <a:pt x="6740" y="17685"/>
                </a:cubicBezTo>
                <a:lnTo>
                  <a:pt x="6239" y="17900"/>
                </a:lnTo>
                <a:cubicBezTo>
                  <a:pt x="6233" y="17882"/>
                  <a:pt x="6224" y="17869"/>
                  <a:pt x="6212" y="17869"/>
                </a:cubicBezTo>
                <a:cubicBezTo>
                  <a:pt x="6196" y="17869"/>
                  <a:pt x="6184" y="17894"/>
                  <a:pt x="6180" y="17925"/>
                </a:cubicBezTo>
                <a:lnTo>
                  <a:pt x="5936" y="18030"/>
                </a:lnTo>
                <a:cubicBezTo>
                  <a:pt x="5937" y="18021"/>
                  <a:pt x="5941" y="18015"/>
                  <a:pt x="5941" y="18005"/>
                </a:cubicBezTo>
                <a:cubicBezTo>
                  <a:pt x="5941" y="17951"/>
                  <a:pt x="5920" y="17906"/>
                  <a:pt x="5893" y="17906"/>
                </a:cubicBezTo>
                <a:cubicBezTo>
                  <a:pt x="5865" y="17906"/>
                  <a:pt x="5843" y="17951"/>
                  <a:pt x="5843" y="18005"/>
                </a:cubicBezTo>
                <a:cubicBezTo>
                  <a:pt x="5843" y="18028"/>
                  <a:pt x="5849" y="18048"/>
                  <a:pt x="5855" y="18065"/>
                </a:cubicBezTo>
                <a:lnTo>
                  <a:pt x="5841" y="18071"/>
                </a:lnTo>
                <a:lnTo>
                  <a:pt x="5840" y="17871"/>
                </a:lnTo>
                <a:cubicBezTo>
                  <a:pt x="5840" y="17868"/>
                  <a:pt x="5840" y="17866"/>
                  <a:pt x="5840" y="17863"/>
                </a:cubicBezTo>
                <a:cubicBezTo>
                  <a:pt x="5833" y="17825"/>
                  <a:pt x="5838" y="17792"/>
                  <a:pt x="5843" y="17753"/>
                </a:cubicBezTo>
                <a:cubicBezTo>
                  <a:pt x="5847" y="17727"/>
                  <a:pt x="5851" y="17699"/>
                  <a:pt x="5851" y="17668"/>
                </a:cubicBezTo>
                <a:cubicBezTo>
                  <a:pt x="5851" y="17591"/>
                  <a:pt x="5863" y="17525"/>
                  <a:pt x="5875" y="17461"/>
                </a:cubicBezTo>
                <a:cubicBezTo>
                  <a:pt x="5887" y="17399"/>
                  <a:pt x="5898" y="17335"/>
                  <a:pt x="5899" y="17262"/>
                </a:cubicBezTo>
                <a:cubicBezTo>
                  <a:pt x="5912" y="17244"/>
                  <a:pt x="5923" y="17219"/>
                  <a:pt x="5923" y="17185"/>
                </a:cubicBezTo>
                <a:cubicBezTo>
                  <a:pt x="5923" y="17159"/>
                  <a:pt x="5917" y="17137"/>
                  <a:pt x="5909" y="17119"/>
                </a:cubicBezTo>
                <a:cubicBezTo>
                  <a:pt x="5911" y="17103"/>
                  <a:pt x="5913" y="17087"/>
                  <a:pt x="5914" y="17074"/>
                </a:cubicBezTo>
                <a:cubicBezTo>
                  <a:pt x="5914" y="17072"/>
                  <a:pt x="5915" y="17070"/>
                  <a:pt x="5915" y="17068"/>
                </a:cubicBezTo>
                <a:lnTo>
                  <a:pt x="5915" y="16881"/>
                </a:lnTo>
                <a:cubicBezTo>
                  <a:pt x="5915" y="16856"/>
                  <a:pt x="5919" y="16815"/>
                  <a:pt x="5923" y="16774"/>
                </a:cubicBezTo>
                <a:cubicBezTo>
                  <a:pt x="5929" y="16727"/>
                  <a:pt x="5933" y="16677"/>
                  <a:pt x="5933" y="16639"/>
                </a:cubicBezTo>
                <a:cubicBezTo>
                  <a:pt x="5933" y="16599"/>
                  <a:pt x="5923" y="16342"/>
                  <a:pt x="5916" y="16288"/>
                </a:cubicBezTo>
                <a:cubicBezTo>
                  <a:pt x="5903" y="16221"/>
                  <a:pt x="5884" y="16165"/>
                  <a:pt x="5858" y="16121"/>
                </a:cubicBezTo>
                <a:lnTo>
                  <a:pt x="5950" y="15639"/>
                </a:lnTo>
                <a:cubicBezTo>
                  <a:pt x="5965" y="15653"/>
                  <a:pt x="5982" y="15661"/>
                  <a:pt x="6000" y="15661"/>
                </a:cubicBezTo>
                <a:cubicBezTo>
                  <a:pt x="6041" y="15661"/>
                  <a:pt x="6075" y="15616"/>
                  <a:pt x="6097" y="15553"/>
                </a:cubicBezTo>
                <a:close/>
                <a:moveTo>
                  <a:pt x="6767" y="15593"/>
                </a:moveTo>
                <a:cubicBezTo>
                  <a:pt x="6740" y="15593"/>
                  <a:pt x="6718" y="15638"/>
                  <a:pt x="6718" y="15692"/>
                </a:cubicBezTo>
                <a:cubicBezTo>
                  <a:pt x="6718" y="15747"/>
                  <a:pt x="6740" y="15790"/>
                  <a:pt x="6767" y="15790"/>
                </a:cubicBezTo>
                <a:cubicBezTo>
                  <a:pt x="6794" y="15790"/>
                  <a:pt x="6816" y="15747"/>
                  <a:pt x="6816" y="15692"/>
                </a:cubicBezTo>
                <a:cubicBezTo>
                  <a:pt x="6816" y="15638"/>
                  <a:pt x="6794" y="15593"/>
                  <a:pt x="6767" y="15593"/>
                </a:cubicBezTo>
                <a:close/>
                <a:moveTo>
                  <a:pt x="17756" y="15666"/>
                </a:moveTo>
                <a:lnTo>
                  <a:pt x="17703" y="15936"/>
                </a:lnTo>
                <a:cubicBezTo>
                  <a:pt x="17689" y="15945"/>
                  <a:pt x="17678" y="15967"/>
                  <a:pt x="17678" y="15998"/>
                </a:cubicBezTo>
                <a:cubicBezTo>
                  <a:pt x="17678" y="16011"/>
                  <a:pt x="17681" y="16021"/>
                  <a:pt x="17685" y="16032"/>
                </a:cubicBezTo>
                <a:lnTo>
                  <a:pt x="17645" y="16237"/>
                </a:lnTo>
                <a:cubicBezTo>
                  <a:pt x="17632" y="16247"/>
                  <a:pt x="17622" y="16267"/>
                  <a:pt x="17622" y="16296"/>
                </a:cubicBezTo>
                <a:cubicBezTo>
                  <a:pt x="17622" y="16307"/>
                  <a:pt x="17625" y="16315"/>
                  <a:pt x="17628" y="16324"/>
                </a:cubicBezTo>
                <a:lnTo>
                  <a:pt x="17573" y="16609"/>
                </a:lnTo>
                <a:cubicBezTo>
                  <a:pt x="17569" y="16606"/>
                  <a:pt x="17567" y="16601"/>
                  <a:pt x="17563" y="16601"/>
                </a:cubicBezTo>
                <a:cubicBezTo>
                  <a:pt x="17544" y="16601"/>
                  <a:pt x="17529" y="16632"/>
                  <a:pt x="17529" y="16669"/>
                </a:cubicBezTo>
                <a:cubicBezTo>
                  <a:pt x="17529" y="16697"/>
                  <a:pt x="17538" y="16716"/>
                  <a:pt x="17550" y="16726"/>
                </a:cubicBezTo>
                <a:lnTo>
                  <a:pt x="17538" y="16791"/>
                </a:lnTo>
                <a:cubicBezTo>
                  <a:pt x="17535" y="16790"/>
                  <a:pt x="17532" y="16787"/>
                  <a:pt x="17528" y="16787"/>
                </a:cubicBezTo>
                <a:cubicBezTo>
                  <a:pt x="17488" y="16787"/>
                  <a:pt x="17455" y="16853"/>
                  <a:pt x="17455" y="16935"/>
                </a:cubicBezTo>
                <a:cubicBezTo>
                  <a:pt x="17455" y="16985"/>
                  <a:pt x="17468" y="17027"/>
                  <a:pt x="17487" y="17054"/>
                </a:cubicBezTo>
                <a:lnTo>
                  <a:pt x="17464" y="17171"/>
                </a:lnTo>
                <a:cubicBezTo>
                  <a:pt x="17460" y="17167"/>
                  <a:pt x="17456" y="17160"/>
                  <a:pt x="17452" y="17160"/>
                </a:cubicBezTo>
                <a:cubicBezTo>
                  <a:pt x="17433" y="17160"/>
                  <a:pt x="17417" y="17191"/>
                  <a:pt x="17417" y="17229"/>
                </a:cubicBezTo>
                <a:cubicBezTo>
                  <a:pt x="17417" y="17258"/>
                  <a:pt x="17428" y="17279"/>
                  <a:pt x="17441" y="17288"/>
                </a:cubicBezTo>
                <a:lnTo>
                  <a:pt x="17419" y="17401"/>
                </a:lnTo>
                <a:lnTo>
                  <a:pt x="17024" y="16812"/>
                </a:lnTo>
                <a:cubicBezTo>
                  <a:pt x="17036" y="16785"/>
                  <a:pt x="17044" y="16750"/>
                  <a:pt x="17044" y="16711"/>
                </a:cubicBezTo>
                <a:cubicBezTo>
                  <a:pt x="17044" y="16690"/>
                  <a:pt x="17042" y="16670"/>
                  <a:pt x="17038" y="16652"/>
                </a:cubicBezTo>
                <a:cubicBezTo>
                  <a:pt x="17061" y="16619"/>
                  <a:pt x="17082" y="16577"/>
                  <a:pt x="17098" y="16546"/>
                </a:cubicBezTo>
                <a:lnTo>
                  <a:pt x="17105" y="16531"/>
                </a:lnTo>
                <a:cubicBezTo>
                  <a:pt x="17115" y="16510"/>
                  <a:pt x="17140" y="16498"/>
                  <a:pt x="17166" y="16489"/>
                </a:cubicBezTo>
                <a:cubicBezTo>
                  <a:pt x="17172" y="16503"/>
                  <a:pt x="17181" y="16513"/>
                  <a:pt x="17191" y="16513"/>
                </a:cubicBezTo>
                <a:cubicBezTo>
                  <a:pt x="17205" y="16513"/>
                  <a:pt x="17214" y="16495"/>
                  <a:pt x="17219" y="16472"/>
                </a:cubicBezTo>
                <a:cubicBezTo>
                  <a:pt x="17226" y="16471"/>
                  <a:pt x="17233" y="16469"/>
                  <a:pt x="17239" y="16468"/>
                </a:cubicBezTo>
                <a:cubicBezTo>
                  <a:pt x="17272" y="16456"/>
                  <a:pt x="17333" y="16423"/>
                  <a:pt x="17388" y="16372"/>
                </a:cubicBezTo>
                <a:cubicBezTo>
                  <a:pt x="17395" y="16389"/>
                  <a:pt x="17403" y="16401"/>
                  <a:pt x="17414" y="16401"/>
                </a:cubicBezTo>
                <a:cubicBezTo>
                  <a:pt x="17433" y="16401"/>
                  <a:pt x="17448" y="16371"/>
                  <a:pt x="17448" y="16334"/>
                </a:cubicBezTo>
                <a:cubicBezTo>
                  <a:pt x="17448" y="16323"/>
                  <a:pt x="17445" y="16315"/>
                  <a:pt x="17442" y="16306"/>
                </a:cubicBezTo>
                <a:cubicBezTo>
                  <a:pt x="17475" y="16260"/>
                  <a:pt x="17501" y="16209"/>
                  <a:pt x="17501" y="16148"/>
                </a:cubicBezTo>
                <a:lnTo>
                  <a:pt x="17501" y="16076"/>
                </a:lnTo>
                <a:cubicBezTo>
                  <a:pt x="17501" y="16043"/>
                  <a:pt x="17506" y="16024"/>
                  <a:pt x="17510" y="16013"/>
                </a:cubicBezTo>
                <a:cubicBezTo>
                  <a:pt x="17514" y="16022"/>
                  <a:pt x="17518" y="16030"/>
                  <a:pt x="17521" y="16037"/>
                </a:cubicBezTo>
                <a:cubicBezTo>
                  <a:pt x="17526" y="16049"/>
                  <a:pt x="17530" y="16059"/>
                  <a:pt x="17533" y="16070"/>
                </a:cubicBezTo>
                <a:cubicBezTo>
                  <a:pt x="17535" y="16077"/>
                  <a:pt x="17538" y="16082"/>
                  <a:pt x="17542" y="16084"/>
                </a:cubicBezTo>
                <a:cubicBezTo>
                  <a:pt x="17546" y="16086"/>
                  <a:pt x="17551" y="16084"/>
                  <a:pt x="17554" y="16079"/>
                </a:cubicBezTo>
                <a:cubicBezTo>
                  <a:pt x="17575" y="16053"/>
                  <a:pt x="17577" y="16010"/>
                  <a:pt x="17578" y="15976"/>
                </a:cubicBezTo>
                <a:cubicBezTo>
                  <a:pt x="17579" y="15970"/>
                  <a:pt x="17579" y="15965"/>
                  <a:pt x="17579" y="15959"/>
                </a:cubicBezTo>
                <a:cubicBezTo>
                  <a:pt x="17589" y="15970"/>
                  <a:pt x="17600" y="15979"/>
                  <a:pt x="17614" y="15979"/>
                </a:cubicBezTo>
                <a:cubicBezTo>
                  <a:pt x="17622" y="15979"/>
                  <a:pt x="17629" y="15965"/>
                  <a:pt x="17629" y="15949"/>
                </a:cubicBezTo>
                <a:cubicBezTo>
                  <a:pt x="17629" y="15894"/>
                  <a:pt x="17639" y="15866"/>
                  <a:pt x="17651" y="15833"/>
                </a:cubicBezTo>
                <a:cubicBezTo>
                  <a:pt x="17659" y="15809"/>
                  <a:pt x="17669" y="15782"/>
                  <a:pt x="17673" y="15744"/>
                </a:cubicBezTo>
                <a:cubicBezTo>
                  <a:pt x="17701" y="15738"/>
                  <a:pt x="17718" y="15714"/>
                  <a:pt x="17733" y="15694"/>
                </a:cubicBezTo>
                <a:cubicBezTo>
                  <a:pt x="17741" y="15682"/>
                  <a:pt x="17748" y="15672"/>
                  <a:pt x="17756" y="15666"/>
                </a:cubicBezTo>
                <a:close/>
                <a:moveTo>
                  <a:pt x="17773" y="15740"/>
                </a:moveTo>
                <a:cubicBezTo>
                  <a:pt x="17776" y="15789"/>
                  <a:pt x="17795" y="15828"/>
                  <a:pt x="17820" y="15828"/>
                </a:cubicBezTo>
                <a:cubicBezTo>
                  <a:pt x="17825" y="15828"/>
                  <a:pt x="17827" y="15820"/>
                  <a:pt x="17831" y="15818"/>
                </a:cubicBezTo>
                <a:cubicBezTo>
                  <a:pt x="17832" y="15819"/>
                  <a:pt x="17832" y="15820"/>
                  <a:pt x="17833" y="15821"/>
                </a:cubicBezTo>
                <a:cubicBezTo>
                  <a:pt x="17839" y="15824"/>
                  <a:pt x="17845" y="15819"/>
                  <a:pt x="17849" y="15809"/>
                </a:cubicBezTo>
                <a:cubicBezTo>
                  <a:pt x="17850" y="15805"/>
                  <a:pt x="17852" y="15803"/>
                  <a:pt x="17854" y="15800"/>
                </a:cubicBezTo>
                <a:cubicBezTo>
                  <a:pt x="17854" y="15799"/>
                  <a:pt x="17855" y="15800"/>
                  <a:pt x="17855" y="15800"/>
                </a:cubicBezTo>
                <a:cubicBezTo>
                  <a:pt x="17855" y="15799"/>
                  <a:pt x="17854" y="15799"/>
                  <a:pt x="17855" y="15798"/>
                </a:cubicBezTo>
                <a:cubicBezTo>
                  <a:pt x="17862" y="15784"/>
                  <a:pt x="17872" y="15774"/>
                  <a:pt x="17883" y="15774"/>
                </a:cubicBezTo>
                <a:cubicBezTo>
                  <a:pt x="17887" y="15775"/>
                  <a:pt x="17896" y="15790"/>
                  <a:pt x="17900" y="15795"/>
                </a:cubicBezTo>
                <a:cubicBezTo>
                  <a:pt x="17904" y="15800"/>
                  <a:pt x="17907" y="15804"/>
                  <a:pt x="17909" y="15805"/>
                </a:cubicBezTo>
                <a:cubicBezTo>
                  <a:pt x="17913" y="15809"/>
                  <a:pt x="17918" y="15809"/>
                  <a:pt x="17922" y="15804"/>
                </a:cubicBezTo>
                <a:lnTo>
                  <a:pt x="17943" y="15969"/>
                </a:lnTo>
                <a:cubicBezTo>
                  <a:pt x="17941" y="15968"/>
                  <a:pt x="17940" y="15966"/>
                  <a:pt x="17938" y="15966"/>
                </a:cubicBezTo>
                <a:cubicBezTo>
                  <a:pt x="17897" y="15966"/>
                  <a:pt x="17864" y="16033"/>
                  <a:pt x="17864" y="16114"/>
                </a:cubicBezTo>
                <a:cubicBezTo>
                  <a:pt x="17864" y="16196"/>
                  <a:pt x="17897" y="16262"/>
                  <a:pt x="17938" y="16262"/>
                </a:cubicBezTo>
                <a:cubicBezTo>
                  <a:pt x="17952" y="16262"/>
                  <a:pt x="17965" y="16252"/>
                  <a:pt x="17977" y="16237"/>
                </a:cubicBezTo>
                <a:lnTo>
                  <a:pt x="18005" y="16456"/>
                </a:lnTo>
                <a:cubicBezTo>
                  <a:pt x="17989" y="16462"/>
                  <a:pt x="17976" y="16486"/>
                  <a:pt x="17976" y="16520"/>
                </a:cubicBezTo>
                <a:cubicBezTo>
                  <a:pt x="17976" y="16558"/>
                  <a:pt x="17991" y="16588"/>
                  <a:pt x="18010" y="16588"/>
                </a:cubicBezTo>
                <a:cubicBezTo>
                  <a:pt x="18014" y="16588"/>
                  <a:pt x="18017" y="16582"/>
                  <a:pt x="18020" y="16580"/>
                </a:cubicBezTo>
                <a:lnTo>
                  <a:pt x="18052" y="16828"/>
                </a:lnTo>
                <a:cubicBezTo>
                  <a:pt x="18050" y="16827"/>
                  <a:pt x="18049" y="16824"/>
                  <a:pt x="18047" y="16824"/>
                </a:cubicBezTo>
                <a:cubicBezTo>
                  <a:pt x="18028" y="16824"/>
                  <a:pt x="18013" y="16855"/>
                  <a:pt x="18013" y="16893"/>
                </a:cubicBezTo>
                <a:cubicBezTo>
                  <a:pt x="18013" y="16931"/>
                  <a:pt x="18028" y="16961"/>
                  <a:pt x="18047" y="16961"/>
                </a:cubicBezTo>
                <a:cubicBezTo>
                  <a:pt x="18055" y="16961"/>
                  <a:pt x="18061" y="16953"/>
                  <a:pt x="18066" y="16944"/>
                </a:cubicBezTo>
                <a:lnTo>
                  <a:pt x="18100" y="17209"/>
                </a:lnTo>
                <a:cubicBezTo>
                  <a:pt x="18070" y="17253"/>
                  <a:pt x="18050" y="17320"/>
                  <a:pt x="18050" y="17399"/>
                </a:cubicBezTo>
                <a:cubicBezTo>
                  <a:pt x="18050" y="17520"/>
                  <a:pt x="18095" y="17616"/>
                  <a:pt x="18154" y="17632"/>
                </a:cubicBezTo>
                <a:lnTo>
                  <a:pt x="18190" y="17920"/>
                </a:lnTo>
                <a:cubicBezTo>
                  <a:pt x="18184" y="17916"/>
                  <a:pt x="18180" y="17906"/>
                  <a:pt x="18174" y="17906"/>
                </a:cubicBezTo>
                <a:cubicBezTo>
                  <a:pt x="18165" y="17906"/>
                  <a:pt x="18157" y="17917"/>
                  <a:pt x="18150" y="17926"/>
                </a:cubicBezTo>
                <a:cubicBezTo>
                  <a:pt x="18091" y="17880"/>
                  <a:pt x="18009" y="17862"/>
                  <a:pt x="17968" y="17862"/>
                </a:cubicBezTo>
                <a:cubicBezTo>
                  <a:pt x="17914" y="17862"/>
                  <a:pt x="17887" y="17894"/>
                  <a:pt x="17863" y="17923"/>
                </a:cubicBezTo>
                <a:cubicBezTo>
                  <a:pt x="17851" y="17937"/>
                  <a:pt x="17840" y="17952"/>
                  <a:pt x="17825" y="17961"/>
                </a:cubicBezTo>
                <a:cubicBezTo>
                  <a:pt x="17809" y="17971"/>
                  <a:pt x="17793" y="17973"/>
                  <a:pt x="17776" y="17978"/>
                </a:cubicBezTo>
                <a:cubicBezTo>
                  <a:pt x="17770" y="17959"/>
                  <a:pt x="17762" y="17943"/>
                  <a:pt x="17749" y="17943"/>
                </a:cubicBezTo>
                <a:cubicBezTo>
                  <a:pt x="17733" y="17943"/>
                  <a:pt x="17722" y="17968"/>
                  <a:pt x="17718" y="17998"/>
                </a:cubicBezTo>
                <a:cubicBezTo>
                  <a:pt x="17690" y="18004"/>
                  <a:pt x="17663" y="18010"/>
                  <a:pt x="17639" y="18023"/>
                </a:cubicBezTo>
                <a:lnTo>
                  <a:pt x="17578" y="17843"/>
                </a:lnTo>
                <a:cubicBezTo>
                  <a:pt x="17581" y="17827"/>
                  <a:pt x="17584" y="17811"/>
                  <a:pt x="17584" y="17793"/>
                </a:cubicBezTo>
                <a:cubicBezTo>
                  <a:pt x="17584" y="17713"/>
                  <a:pt x="17551" y="17648"/>
                  <a:pt x="17512" y="17646"/>
                </a:cubicBezTo>
                <a:lnTo>
                  <a:pt x="17443" y="17445"/>
                </a:lnTo>
                <a:lnTo>
                  <a:pt x="17475" y="17277"/>
                </a:lnTo>
                <a:cubicBezTo>
                  <a:pt x="17482" y="17264"/>
                  <a:pt x="17485" y="17248"/>
                  <a:pt x="17485" y="17229"/>
                </a:cubicBezTo>
                <a:cubicBezTo>
                  <a:pt x="17485" y="17228"/>
                  <a:pt x="17485" y="17228"/>
                  <a:pt x="17485" y="17228"/>
                </a:cubicBezTo>
                <a:lnTo>
                  <a:pt x="17514" y="17077"/>
                </a:lnTo>
                <a:cubicBezTo>
                  <a:pt x="17519" y="17079"/>
                  <a:pt x="17523" y="17083"/>
                  <a:pt x="17528" y="17083"/>
                </a:cubicBezTo>
                <a:cubicBezTo>
                  <a:pt x="17569" y="17083"/>
                  <a:pt x="17602" y="17017"/>
                  <a:pt x="17602" y="16935"/>
                </a:cubicBezTo>
                <a:cubicBezTo>
                  <a:pt x="17602" y="16881"/>
                  <a:pt x="17587" y="16836"/>
                  <a:pt x="17566" y="16810"/>
                </a:cubicBezTo>
                <a:lnTo>
                  <a:pt x="17583" y="16721"/>
                </a:lnTo>
                <a:cubicBezTo>
                  <a:pt x="17591" y="16708"/>
                  <a:pt x="17597" y="16691"/>
                  <a:pt x="17597" y="16669"/>
                </a:cubicBezTo>
                <a:cubicBezTo>
                  <a:pt x="17597" y="16665"/>
                  <a:pt x="17596" y="16663"/>
                  <a:pt x="17595" y="16659"/>
                </a:cubicBezTo>
                <a:lnTo>
                  <a:pt x="17653" y="16362"/>
                </a:lnTo>
                <a:cubicBezTo>
                  <a:pt x="17654" y="16362"/>
                  <a:pt x="17655" y="16364"/>
                  <a:pt x="17656" y="16364"/>
                </a:cubicBezTo>
                <a:cubicBezTo>
                  <a:pt x="17675" y="16364"/>
                  <a:pt x="17690" y="16334"/>
                  <a:pt x="17690" y="16296"/>
                </a:cubicBezTo>
                <a:cubicBezTo>
                  <a:pt x="17690" y="16274"/>
                  <a:pt x="17684" y="16256"/>
                  <a:pt x="17676" y="16244"/>
                </a:cubicBezTo>
                <a:lnTo>
                  <a:pt x="17710" y="16064"/>
                </a:lnTo>
                <a:cubicBezTo>
                  <a:pt x="17711" y="16064"/>
                  <a:pt x="17711" y="16065"/>
                  <a:pt x="17712" y="16065"/>
                </a:cubicBezTo>
                <a:cubicBezTo>
                  <a:pt x="17731" y="16065"/>
                  <a:pt x="17746" y="16036"/>
                  <a:pt x="17746" y="15998"/>
                </a:cubicBezTo>
                <a:cubicBezTo>
                  <a:pt x="17746" y="15977"/>
                  <a:pt x="17741" y="15959"/>
                  <a:pt x="17733" y="15947"/>
                </a:cubicBezTo>
                <a:lnTo>
                  <a:pt x="17773" y="15740"/>
                </a:lnTo>
                <a:close/>
                <a:moveTo>
                  <a:pt x="10856" y="15754"/>
                </a:moveTo>
                <a:lnTo>
                  <a:pt x="10910" y="15926"/>
                </a:lnTo>
                <a:cubicBezTo>
                  <a:pt x="10907" y="15941"/>
                  <a:pt x="10905" y="15957"/>
                  <a:pt x="10905" y="15975"/>
                </a:cubicBezTo>
                <a:cubicBezTo>
                  <a:pt x="10905" y="16016"/>
                  <a:pt x="10915" y="16050"/>
                  <a:pt x="10931" y="16071"/>
                </a:cubicBezTo>
                <a:lnTo>
                  <a:pt x="10877" y="16230"/>
                </a:lnTo>
                <a:lnTo>
                  <a:pt x="10858" y="16286"/>
                </a:lnTo>
                <a:cubicBezTo>
                  <a:pt x="10835" y="16181"/>
                  <a:pt x="10825" y="16081"/>
                  <a:pt x="10825" y="15970"/>
                </a:cubicBezTo>
                <a:cubicBezTo>
                  <a:pt x="10825" y="15879"/>
                  <a:pt x="10838" y="15812"/>
                  <a:pt x="10856" y="15754"/>
                </a:cubicBezTo>
                <a:close/>
                <a:moveTo>
                  <a:pt x="12104" y="15854"/>
                </a:moveTo>
                <a:cubicBezTo>
                  <a:pt x="12089" y="15854"/>
                  <a:pt x="12077" y="15879"/>
                  <a:pt x="12077" y="15909"/>
                </a:cubicBezTo>
                <a:cubicBezTo>
                  <a:pt x="12077" y="15940"/>
                  <a:pt x="12089" y="15965"/>
                  <a:pt x="12104" y="15965"/>
                </a:cubicBezTo>
                <a:cubicBezTo>
                  <a:pt x="12119" y="15965"/>
                  <a:pt x="12132" y="15940"/>
                  <a:pt x="12132" y="15909"/>
                </a:cubicBezTo>
                <a:cubicBezTo>
                  <a:pt x="12132" y="15879"/>
                  <a:pt x="12119" y="15854"/>
                  <a:pt x="12104" y="15854"/>
                </a:cubicBezTo>
                <a:close/>
                <a:moveTo>
                  <a:pt x="20940" y="15872"/>
                </a:moveTo>
                <a:cubicBezTo>
                  <a:pt x="20921" y="15872"/>
                  <a:pt x="20860" y="15878"/>
                  <a:pt x="20860" y="15957"/>
                </a:cubicBezTo>
                <a:cubicBezTo>
                  <a:pt x="20860" y="15981"/>
                  <a:pt x="20870" y="16025"/>
                  <a:pt x="20887" y="16025"/>
                </a:cubicBezTo>
                <a:cubicBezTo>
                  <a:pt x="20904" y="16025"/>
                  <a:pt x="20914" y="16007"/>
                  <a:pt x="20923" y="15993"/>
                </a:cubicBezTo>
                <a:cubicBezTo>
                  <a:pt x="20929" y="15982"/>
                  <a:pt x="20935" y="15973"/>
                  <a:pt x="20944" y="15969"/>
                </a:cubicBezTo>
                <a:cubicBezTo>
                  <a:pt x="20950" y="15965"/>
                  <a:pt x="20955" y="15953"/>
                  <a:pt x="20955" y="15940"/>
                </a:cubicBezTo>
                <a:lnTo>
                  <a:pt x="20955" y="15901"/>
                </a:lnTo>
                <a:cubicBezTo>
                  <a:pt x="20955" y="15885"/>
                  <a:pt x="20948" y="15872"/>
                  <a:pt x="20940" y="15872"/>
                </a:cubicBezTo>
                <a:close/>
                <a:moveTo>
                  <a:pt x="12912" y="15881"/>
                </a:moveTo>
                <a:cubicBezTo>
                  <a:pt x="12917" y="15884"/>
                  <a:pt x="12922" y="15886"/>
                  <a:pt x="12927" y="15887"/>
                </a:cubicBezTo>
                <a:lnTo>
                  <a:pt x="12946" y="16084"/>
                </a:lnTo>
                <a:cubicBezTo>
                  <a:pt x="12941" y="16082"/>
                  <a:pt x="12937" y="16078"/>
                  <a:pt x="12932" y="16078"/>
                </a:cubicBezTo>
                <a:cubicBezTo>
                  <a:pt x="12918" y="16078"/>
                  <a:pt x="12905" y="16089"/>
                  <a:pt x="12894" y="16103"/>
                </a:cubicBezTo>
                <a:lnTo>
                  <a:pt x="12790" y="16014"/>
                </a:lnTo>
                <a:cubicBezTo>
                  <a:pt x="12804" y="15976"/>
                  <a:pt x="12827" y="15959"/>
                  <a:pt x="12853" y="15938"/>
                </a:cubicBezTo>
                <a:cubicBezTo>
                  <a:pt x="12870" y="15925"/>
                  <a:pt x="12887" y="15911"/>
                  <a:pt x="12904" y="15892"/>
                </a:cubicBezTo>
                <a:cubicBezTo>
                  <a:pt x="12906" y="15889"/>
                  <a:pt x="12909" y="15885"/>
                  <a:pt x="12912" y="15881"/>
                </a:cubicBezTo>
                <a:close/>
                <a:moveTo>
                  <a:pt x="13076" y="15934"/>
                </a:moveTo>
                <a:cubicBezTo>
                  <a:pt x="13080" y="15946"/>
                  <a:pt x="13085" y="15956"/>
                  <a:pt x="13090" y="15965"/>
                </a:cubicBezTo>
                <a:cubicBezTo>
                  <a:pt x="13087" y="16128"/>
                  <a:pt x="13071" y="16268"/>
                  <a:pt x="13044" y="16419"/>
                </a:cubicBezTo>
                <a:lnTo>
                  <a:pt x="13003" y="16255"/>
                </a:lnTo>
                <a:cubicBezTo>
                  <a:pt x="13004" y="16246"/>
                  <a:pt x="13006" y="16237"/>
                  <a:pt x="13006" y="16226"/>
                </a:cubicBezTo>
                <a:cubicBezTo>
                  <a:pt x="13006" y="16206"/>
                  <a:pt x="13004" y="16188"/>
                  <a:pt x="13000" y="16170"/>
                </a:cubicBezTo>
                <a:cubicBezTo>
                  <a:pt x="13000" y="16170"/>
                  <a:pt x="13000" y="16170"/>
                  <a:pt x="13000" y="16169"/>
                </a:cubicBezTo>
                <a:lnTo>
                  <a:pt x="13076" y="15934"/>
                </a:lnTo>
                <a:close/>
                <a:moveTo>
                  <a:pt x="20910" y="15937"/>
                </a:moveTo>
                <a:cubicBezTo>
                  <a:pt x="20908" y="15941"/>
                  <a:pt x="20905" y="15943"/>
                  <a:pt x="20903" y="15947"/>
                </a:cubicBezTo>
                <a:cubicBezTo>
                  <a:pt x="20898" y="15956"/>
                  <a:pt x="20895" y="15962"/>
                  <a:pt x="20891" y="15964"/>
                </a:cubicBezTo>
                <a:cubicBezTo>
                  <a:pt x="20890" y="15961"/>
                  <a:pt x="20890" y="15958"/>
                  <a:pt x="20889" y="15957"/>
                </a:cubicBezTo>
                <a:cubicBezTo>
                  <a:pt x="20889" y="15951"/>
                  <a:pt x="20897" y="15943"/>
                  <a:pt x="20910" y="15937"/>
                </a:cubicBezTo>
                <a:close/>
                <a:moveTo>
                  <a:pt x="7685" y="15985"/>
                </a:moveTo>
                <a:cubicBezTo>
                  <a:pt x="7698" y="16017"/>
                  <a:pt x="7718" y="16039"/>
                  <a:pt x="7741" y="16039"/>
                </a:cubicBezTo>
                <a:cubicBezTo>
                  <a:pt x="7754" y="16039"/>
                  <a:pt x="7766" y="16028"/>
                  <a:pt x="7777" y="16015"/>
                </a:cubicBezTo>
                <a:cubicBezTo>
                  <a:pt x="7776" y="16032"/>
                  <a:pt x="7774" y="16050"/>
                  <a:pt x="7774" y="16065"/>
                </a:cubicBezTo>
                <a:cubicBezTo>
                  <a:pt x="7774" y="16071"/>
                  <a:pt x="7772" y="16079"/>
                  <a:pt x="7770" y="16086"/>
                </a:cubicBezTo>
                <a:cubicBezTo>
                  <a:pt x="7768" y="16091"/>
                  <a:pt x="7767" y="16095"/>
                  <a:pt x="7766" y="16100"/>
                </a:cubicBezTo>
                <a:lnTo>
                  <a:pt x="7764" y="16105"/>
                </a:lnTo>
                <a:cubicBezTo>
                  <a:pt x="7753" y="16132"/>
                  <a:pt x="7736" y="16173"/>
                  <a:pt x="7736" y="16213"/>
                </a:cubicBezTo>
                <a:cubicBezTo>
                  <a:pt x="7736" y="16256"/>
                  <a:pt x="7730" y="16332"/>
                  <a:pt x="7728" y="16342"/>
                </a:cubicBezTo>
                <a:cubicBezTo>
                  <a:pt x="7717" y="16374"/>
                  <a:pt x="7709" y="16402"/>
                  <a:pt x="7702" y="16426"/>
                </a:cubicBezTo>
                <a:cubicBezTo>
                  <a:pt x="7687" y="16473"/>
                  <a:pt x="7675" y="16510"/>
                  <a:pt x="7654" y="16567"/>
                </a:cubicBezTo>
                <a:cubicBezTo>
                  <a:pt x="7647" y="16588"/>
                  <a:pt x="7645" y="16617"/>
                  <a:pt x="7644" y="16640"/>
                </a:cubicBezTo>
                <a:cubicBezTo>
                  <a:pt x="7643" y="16648"/>
                  <a:pt x="7642" y="16660"/>
                  <a:pt x="7642" y="16663"/>
                </a:cubicBezTo>
                <a:cubicBezTo>
                  <a:pt x="7632" y="16705"/>
                  <a:pt x="7592" y="16758"/>
                  <a:pt x="7562" y="16758"/>
                </a:cubicBezTo>
                <a:lnTo>
                  <a:pt x="7541" y="16758"/>
                </a:lnTo>
                <a:cubicBezTo>
                  <a:pt x="7539" y="16758"/>
                  <a:pt x="7537" y="16758"/>
                  <a:pt x="7535" y="16758"/>
                </a:cubicBezTo>
                <a:lnTo>
                  <a:pt x="7685" y="15985"/>
                </a:lnTo>
                <a:close/>
                <a:moveTo>
                  <a:pt x="7348" y="16004"/>
                </a:moveTo>
                <a:cubicBezTo>
                  <a:pt x="7329" y="16004"/>
                  <a:pt x="7313" y="16035"/>
                  <a:pt x="7313" y="16072"/>
                </a:cubicBezTo>
                <a:cubicBezTo>
                  <a:pt x="7313" y="16110"/>
                  <a:pt x="7329" y="16140"/>
                  <a:pt x="7348" y="16140"/>
                </a:cubicBezTo>
                <a:cubicBezTo>
                  <a:pt x="7366" y="16140"/>
                  <a:pt x="7381" y="16110"/>
                  <a:pt x="7381" y="16072"/>
                </a:cubicBezTo>
                <a:cubicBezTo>
                  <a:pt x="7381" y="16035"/>
                  <a:pt x="7366" y="16004"/>
                  <a:pt x="7348" y="16004"/>
                </a:cubicBezTo>
                <a:close/>
                <a:moveTo>
                  <a:pt x="20844" y="16022"/>
                </a:moveTo>
                <a:lnTo>
                  <a:pt x="20838" y="16026"/>
                </a:lnTo>
                <a:cubicBezTo>
                  <a:pt x="20818" y="16038"/>
                  <a:pt x="20785" y="16059"/>
                  <a:pt x="20785" y="16131"/>
                </a:cubicBezTo>
                <a:cubicBezTo>
                  <a:pt x="20785" y="16182"/>
                  <a:pt x="20831" y="16187"/>
                  <a:pt x="20845" y="16187"/>
                </a:cubicBezTo>
                <a:cubicBezTo>
                  <a:pt x="20848" y="16187"/>
                  <a:pt x="20851" y="16188"/>
                  <a:pt x="20853" y="16188"/>
                </a:cubicBezTo>
                <a:cubicBezTo>
                  <a:pt x="20855" y="16188"/>
                  <a:pt x="20856" y="16188"/>
                  <a:pt x="20858" y="16188"/>
                </a:cubicBezTo>
                <a:cubicBezTo>
                  <a:pt x="20869" y="16188"/>
                  <a:pt x="20876" y="16179"/>
                  <a:pt x="20885" y="16161"/>
                </a:cubicBezTo>
                <a:cubicBezTo>
                  <a:pt x="20888" y="16155"/>
                  <a:pt x="20889" y="16147"/>
                  <a:pt x="20889" y="16139"/>
                </a:cubicBezTo>
                <a:lnTo>
                  <a:pt x="20889" y="16089"/>
                </a:lnTo>
                <a:cubicBezTo>
                  <a:pt x="20889" y="16074"/>
                  <a:pt x="20884" y="16062"/>
                  <a:pt x="20877" y="16060"/>
                </a:cubicBezTo>
                <a:cubicBezTo>
                  <a:pt x="20870" y="16057"/>
                  <a:pt x="20865" y="16049"/>
                  <a:pt x="20862" y="16035"/>
                </a:cubicBezTo>
                <a:cubicBezTo>
                  <a:pt x="20858" y="16023"/>
                  <a:pt x="20851" y="16018"/>
                  <a:pt x="20844" y="16022"/>
                </a:cubicBezTo>
                <a:close/>
                <a:moveTo>
                  <a:pt x="11017" y="16026"/>
                </a:moveTo>
                <a:lnTo>
                  <a:pt x="12240" y="16142"/>
                </a:lnTo>
                <a:cubicBezTo>
                  <a:pt x="12246" y="16166"/>
                  <a:pt x="12255" y="16185"/>
                  <a:pt x="12266" y="16201"/>
                </a:cubicBezTo>
                <a:cubicBezTo>
                  <a:pt x="12254" y="16229"/>
                  <a:pt x="12244" y="16260"/>
                  <a:pt x="12239" y="16299"/>
                </a:cubicBezTo>
                <a:cubicBezTo>
                  <a:pt x="12206" y="16320"/>
                  <a:pt x="12173" y="16394"/>
                  <a:pt x="12173" y="16451"/>
                </a:cubicBezTo>
                <a:cubicBezTo>
                  <a:pt x="12173" y="16504"/>
                  <a:pt x="12188" y="16546"/>
                  <a:pt x="12202" y="16588"/>
                </a:cubicBezTo>
                <a:cubicBezTo>
                  <a:pt x="12217" y="16631"/>
                  <a:pt x="12233" y="16676"/>
                  <a:pt x="12233" y="16736"/>
                </a:cubicBezTo>
                <a:cubicBezTo>
                  <a:pt x="12233" y="16744"/>
                  <a:pt x="12232" y="16754"/>
                  <a:pt x="12232" y="16763"/>
                </a:cubicBezTo>
                <a:cubicBezTo>
                  <a:pt x="12227" y="16756"/>
                  <a:pt x="12222" y="16750"/>
                  <a:pt x="12216" y="16750"/>
                </a:cubicBezTo>
                <a:cubicBezTo>
                  <a:pt x="12201" y="16750"/>
                  <a:pt x="12188" y="16774"/>
                  <a:pt x="12189" y="16805"/>
                </a:cubicBezTo>
                <a:cubicBezTo>
                  <a:pt x="12189" y="16835"/>
                  <a:pt x="12201" y="16860"/>
                  <a:pt x="12216" y="16860"/>
                </a:cubicBezTo>
                <a:cubicBezTo>
                  <a:pt x="12221" y="16860"/>
                  <a:pt x="12225" y="16854"/>
                  <a:pt x="12229" y="16849"/>
                </a:cubicBezTo>
                <a:cubicBezTo>
                  <a:pt x="12227" y="16903"/>
                  <a:pt x="12223" y="16950"/>
                  <a:pt x="12218" y="16964"/>
                </a:cubicBezTo>
                <a:cubicBezTo>
                  <a:pt x="12214" y="16974"/>
                  <a:pt x="12199" y="16975"/>
                  <a:pt x="12189" y="16976"/>
                </a:cubicBezTo>
                <a:cubicBezTo>
                  <a:pt x="12179" y="16977"/>
                  <a:pt x="12170" y="16978"/>
                  <a:pt x="12161" y="16985"/>
                </a:cubicBezTo>
                <a:cubicBezTo>
                  <a:pt x="12154" y="16978"/>
                  <a:pt x="12146" y="16974"/>
                  <a:pt x="12137" y="16974"/>
                </a:cubicBezTo>
                <a:cubicBezTo>
                  <a:pt x="12104" y="16974"/>
                  <a:pt x="12077" y="17028"/>
                  <a:pt x="12077" y="17094"/>
                </a:cubicBezTo>
                <a:cubicBezTo>
                  <a:pt x="12077" y="17100"/>
                  <a:pt x="12078" y="17106"/>
                  <a:pt x="12079" y="17112"/>
                </a:cubicBezTo>
                <a:cubicBezTo>
                  <a:pt x="12068" y="17138"/>
                  <a:pt x="12056" y="17161"/>
                  <a:pt x="12047" y="17200"/>
                </a:cubicBezTo>
                <a:cubicBezTo>
                  <a:pt x="12044" y="17214"/>
                  <a:pt x="12047" y="17231"/>
                  <a:pt x="12054" y="17238"/>
                </a:cubicBezTo>
                <a:cubicBezTo>
                  <a:pt x="12065" y="17250"/>
                  <a:pt x="12077" y="17271"/>
                  <a:pt x="12077" y="17301"/>
                </a:cubicBezTo>
                <a:cubicBezTo>
                  <a:pt x="12077" y="17390"/>
                  <a:pt x="12037" y="17467"/>
                  <a:pt x="12011" y="17518"/>
                </a:cubicBezTo>
                <a:lnTo>
                  <a:pt x="11660" y="18022"/>
                </a:lnTo>
                <a:lnTo>
                  <a:pt x="11660" y="18023"/>
                </a:lnTo>
                <a:lnTo>
                  <a:pt x="11212" y="16654"/>
                </a:lnTo>
                <a:lnTo>
                  <a:pt x="11012" y="16041"/>
                </a:lnTo>
                <a:cubicBezTo>
                  <a:pt x="11014" y="16036"/>
                  <a:pt x="11016" y="16031"/>
                  <a:pt x="11017" y="16026"/>
                </a:cubicBezTo>
                <a:close/>
                <a:moveTo>
                  <a:pt x="12777" y="16068"/>
                </a:moveTo>
                <a:lnTo>
                  <a:pt x="12871" y="16148"/>
                </a:lnTo>
                <a:cubicBezTo>
                  <a:pt x="12870" y="16153"/>
                  <a:pt x="12868" y="16156"/>
                  <a:pt x="12867" y="16161"/>
                </a:cubicBezTo>
                <a:lnTo>
                  <a:pt x="12784" y="16154"/>
                </a:lnTo>
                <a:cubicBezTo>
                  <a:pt x="12784" y="16154"/>
                  <a:pt x="12775" y="16153"/>
                  <a:pt x="12775" y="16153"/>
                </a:cubicBezTo>
                <a:cubicBezTo>
                  <a:pt x="12774" y="16145"/>
                  <a:pt x="12773" y="16140"/>
                  <a:pt x="12773" y="16134"/>
                </a:cubicBezTo>
                <a:cubicBezTo>
                  <a:pt x="12773" y="16110"/>
                  <a:pt x="12775" y="16087"/>
                  <a:pt x="12777" y="16068"/>
                </a:cubicBezTo>
                <a:close/>
                <a:moveTo>
                  <a:pt x="6978" y="16078"/>
                </a:moveTo>
                <a:cubicBezTo>
                  <a:pt x="6937" y="16078"/>
                  <a:pt x="6904" y="16145"/>
                  <a:pt x="6904" y="16226"/>
                </a:cubicBezTo>
                <a:cubicBezTo>
                  <a:pt x="6904" y="16308"/>
                  <a:pt x="6937" y="16374"/>
                  <a:pt x="6978" y="16374"/>
                </a:cubicBezTo>
                <a:cubicBezTo>
                  <a:pt x="7018" y="16374"/>
                  <a:pt x="7052" y="16308"/>
                  <a:pt x="7052" y="16226"/>
                </a:cubicBezTo>
                <a:cubicBezTo>
                  <a:pt x="7052" y="16145"/>
                  <a:pt x="7018" y="16078"/>
                  <a:pt x="6978" y="16078"/>
                </a:cubicBezTo>
                <a:close/>
                <a:moveTo>
                  <a:pt x="20843" y="16085"/>
                </a:moveTo>
                <a:cubicBezTo>
                  <a:pt x="20848" y="16096"/>
                  <a:pt x="20853" y="16104"/>
                  <a:pt x="20859" y="16110"/>
                </a:cubicBezTo>
                <a:lnTo>
                  <a:pt x="20859" y="16126"/>
                </a:lnTo>
                <a:cubicBezTo>
                  <a:pt x="20859" y="16127"/>
                  <a:pt x="20859" y="16128"/>
                  <a:pt x="20859" y="16128"/>
                </a:cubicBezTo>
                <a:lnTo>
                  <a:pt x="20858" y="16128"/>
                </a:lnTo>
                <a:cubicBezTo>
                  <a:pt x="20857" y="16128"/>
                  <a:pt x="20856" y="16127"/>
                  <a:pt x="20855" y="16127"/>
                </a:cubicBezTo>
                <a:cubicBezTo>
                  <a:pt x="20852" y="16127"/>
                  <a:pt x="20849" y="16127"/>
                  <a:pt x="20845" y="16127"/>
                </a:cubicBezTo>
                <a:cubicBezTo>
                  <a:pt x="20833" y="16127"/>
                  <a:pt x="20822" y="16123"/>
                  <a:pt x="20816" y="16119"/>
                </a:cubicBezTo>
                <a:cubicBezTo>
                  <a:pt x="20819" y="16104"/>
                  <a:pt x="20827" y="16096"/>
                  <a:pt x="20843" y="16085"/>
                </a:cubicBezTo>
                <a:close/>
                <a:moveTo>
                  <a:pt x="10970" y="16091"/>
                </a:moveTo>
                <a:lnTo>
                  <a:pt x="11066" y="17362"/>
                </a:lnTo>
                <a:cubicBezTo>
                  <a:pt x="11062" y="17358"/>
                  <a:pt x="11059" y="17355"/>
                  <a:pt x="11055" y="17352"/>
                </a:cubicBezTo>
                <a:cubicBezTo>
                  <a:pt x="11019" y="17207"/>
                  <a:pt x="10990" y="17052"/>
                  <a:pt x="10990" y="16863"/>
                </a:cubicBezTo>
                <a:lnTo>
                  <a:pt x="10990" y="16749"/>
                </a:lnTo>
                <a:cubicBezTo>
                  <a:pt x="10990" y="16700"/>
                  <a:pt x="10977" y="16671"/>
                  <a:pt x="10965" y="16644"/>
                </a:cubicBezTo>
                <a:cubicBezTo>
                  <a:pt x="10958" y="16629"/>
                  <a:pt x="10951" y="16613"/>
                  <a:pt x="10945" y="16592"/>
                </a:cubicBezTo>
                <a:cubicBezTo>
                  <a:pt x="10938" y="16566"/>
                  <a:pt x="10930" y="16542"/>
                  <a:pt x="10923" y="16517"/>
                </a:cubicBezTo>
                <a:cubicBezTo>
                  <a:pt x="10905" y="16459"/>
                  <a:pt x="10888" y="16404"/>
                  <a:pt x="10873" y="16348"/>
                </a:cubicBezTo>
                <a:lnTo>
                  <a:pt x="10928" y="16188"/>
                </a:lnTo>
                <a:lnTo>
                  <a:pt x="10960" y="16092"/>
                </a:lnTo>
                <a:cubicBezTo>
                  <a:pt x="10962" y="16092"/>
                  <a:pt x="10963" y="16093"/>
                  <a:pt x="10964" y="16093"/>
                </a:cubicBezTo>
                <a:cubicBezTo>
                  <a:pt x="10967" y="16093"/>
                  <a:pt x="10968" y="16091"/>
                  <a:pt x="10970" y="16091"/>
                </a:cubicBezTo>
                <a:close/>
                <a:moveTo>
                  <a:pt x="6175" y="16116"/>
                </a:moveTo>
                <a:cubicBezTo>
                  <a:pt x="6156" y="16116"/>
                  <a:pt x="6141" y="16147"/>
                  <a:pt x="6141" y="16184"/>
                </a:cubicBezTo>
                <a:cubicBezTo>
                  <a:pt x="6141" y="16222"/>
                  <a:pt x="6156" y="16252"/>
                  <a:pt x="6175" y="16252"/>
                </a:cubicBezTo>
                <a:cubicBezTo>
                  <a:pt x="6194" y="16252"/>
                  <a:pt x="6209" y="16222"/>
                  <a:pt x="6209" y="16184"/>
                </a:cubicBezTo>
                <a:cubicBezTo>
                  <a:pt x="6209" y="16147"/>
                  <a:pt x="6194" y="16116"/>
                  <a:pt x="6175" y="16116"/>
                </a:cubicBezTo>
                <a:close/>
                <a:moveTo>
                  <a:pt x="11004" y="16135"/>
                </a:moveTo>
                <a:cubicBezTo>
                  <a:pt x="11022" y="16194"/>
                  <a:pt x="11046" y="16269"/>
                  <a:pt x="11074" y="16356"/>
                </a:cubicBezTo>
                <a:cubicBezTo>
                  <a:pt x="11091" y="16406"/>
                  <a:pt x="11151" y="16588"/>
                  <a:pt x="11173" y="16654"/>
                </a:cubicBezTo>
                <a:cubicBezTo>
                  <a:pt x="11168" y="16664"/>
                  <a:pt x="11165" y="16677"/>
                  <a:pt x="11165" y="16693"/>
                </a:cubicBezTo>
                <a:cubicBezTo>
                  <a:pt x="11165" y="16723"/>
                  <a:pt x="11177" y="16749"/>
                  <a:pt x="11192" y="16749"/>
                </a:cubicBezTo>
                <a:cubicBezTo>
                  <a:pt x="11196" y="16749"/>
                  <a:pt x="11198" y="16744"/>
                  <a:pt x="11201" y="16742"/>
                </a:cubicBezTo>
                <a:cubicBezTo>
                  <a:pt x="11296" y="17033"/>
                  <a:pt x="11388" y="17316"/>
                  <a:pt x="11604" y="17964"/>
                </a:cubicBezTo>
                <a:cubicBezTo>
                  <a:pt x="11612" y="17987"/>
                  <a:pt x="11619" y="18008"/>
                  <a:pt x="11626" y="18030"/>
                </a:cubicBezTo>
                <a:lnTo>
                  <a:pt x="11570" y="18020"/>
                </a:lnTo>
                <a:cubicBezTo>
                  <a:pt x="11577" y="18001"/>
                  <a:pt x="11582" y="17978"/>
                  <a:pt x="11582" y="17952"/>
                </a:cubicBezTo>
                <a:cubicBezTo>
                  <a:pt x="11582" y="17886"/>
                  <a:pt x="11556" y="17832"/>
                  <a:pt x="11523" y="17832"/>
                </a:cubicBezTo>
                <a:cubicBezTo>
                  <a:pt x="11490" y="17832"/>
                  <a:pt x="11463" y="17886"/>
                  <a:pt x="11463" y="17952"/>
                </a:cubicBezTo>
                <a:cubicBezTo>
                  <a:pt x="11463" y="17971"/>
                  <a:pt x="11466" y="17989"/>
                  <a:pt x="11470" y="18005"/>
                </a:cubicBezTo>
                <a:lnTo>
                  <a:pt x="11234" y="17969"/>
                </a:lnTo>
                <a:cubicBezTo>
                  <a:pt x="11231" y="17917"/>
                  <a:pt x="11207" y="17853"/>
                  <a:pt x="11179" y="17780"/>
                </a:cubicBezTo>
                <a:cubicBezTo>
                  <a:pt x="11172" y="17761"/>
                  <a:pt x="11165" y="17742"/>
                  <a:pt x="11162" y="17732"/>
                </a:cubicBezTo>
                <a:cubicBezTo>
                  <a:pt x="11152" y="17696"/>
                  <a:pt x="11140" y="17660"/>
                  <a:pt x="11129" y="17624"/>
                </a:cubicBezTo>
                <a:cubicBezTo>
                  <a:pt x="11123" y="17606"/>
                  <a:pt x="11118" y="17588"/>
                  <a:pt x="11112" y="17569"/>
                </a:cubicBezTo>
                <a:lnTo>
                  <a:pt x="11004" y="16135"/>
                </a:lnTo>
                <a:close/>
                <a:moveTo>
                  <a:pt x="5805" y="16190"/>
                </a:moveTo>
                <a:cubicBezTo>
                  <a:pt x="5765" y="16190"/>
                  <a:pt x="5732" y="16256"/>
                  <a:pt x="5732" y="16338"/>
                </a:cubicBezTo>
                <a:cubicBezTo>
                  <a:pt x="5732" y="16420"/>
                  <a:pt x="5765" y="16486"/>
                  <a:pt x="5805" y="16486"/>
                </a:cubicBezTo>
                <a:cubicBezTo>
                  <a:pt x="5846" y="16486"/>
                  <a:pt x="5879" y="16420"/>
                  <a:pt x="5879" y="16338"/>
                </a:cubicBezTo>
                <a:cubicBezTo>
                  <a:pt x="5879" y="16256"/>
                  <a:pt x="5846" y="16190"/>
                  <a:pt x="5805" y="16190"/>
                </a:cubicBezTo>
                <a:close/>
                <a:moveTo>
                  <a:pt x="12783" y="16213"/>
                </a:moveTo>
                <a:lnTo>
                  <a:pt x="12859" y="16220"/>
                </a:lnTo>
                <a:cubicBezTo>
                  <a:pt x="12859" y="16223"/>
                  <a:pt x="12858" y="16224"/>
                  <a:pt x="12858" y="16226"/>
                </a:cubicBezTo>
                <a:cubicBezTo>
                  <a:pt x="12858" y="16258"/>
                  <a:pt x="12864" y="16285"/>
                  <a:pt x="12872" y="16309"/>
                </a:cubicBezTo>
                <a:lnTo>
                  <a:pt x="12793" y="16423"/>
                </a:lnTo>
                <a:cubicBezTo>
                  <a:pt x="12806" y="16365"/>
                  <a:pt x="12805" y="16361"/>
                  <a:pt x="12805" y="16355"/>
                </a:cubicBezTo>
                <a:cubicBezTo>
                  <a:pt x="12805" y="16328"/>
                  <a:pt x="12799" y="16294"/>
                  <a:pt x="12791" y="16253"/>
                </a:cubicBezTo>
                <a:cubicBezTo>
                  <a:pt x="12788" y="16240"/>
                  <a:pt x="12786" y="16226"/>
                  <a:pt x="12783" y="16213"/>
                </a:cubicBezTo>
                <a:close/>
                <a:moveTo>
                  <a:pt x="11918" y="16302"/>
                </a:moveTo>
                <a:cubicBezTo>
                  <a:pt x="11903" y="16302"/>
                  <a:pt x="11891" y="16326"/>
                  <a:pt x="11891" y="16357"/>
                </a:cubicBezTo>
                <a:cubicBezTo>
                  <a:pt x="11891" y="16387"/>
                  <a:pt x="11903" y="16413"/>
                  <a:pt x="11918" y="16413"/>
                </a:cubicBezTo>
                <a:cubicBezTo>
                  <a:pt x="11933" y="16413"/>
                  <a:pt x="11946" y="16387"/>
                  <a:pt x="11946" y="16357"/>
                </a:cubicBezTo>
                <a:cubicBezTo>
                  <a:pt x="11946" y="16326"/>
                  <a:pt x="11933" y="16302"/>
                  <a:pt x="11918" y="16302"/>
                </a:cubicBezTo>
                <a:close/>
                <a:moveTo>
                  <a:pt x="12989" y="16331"/>
                </a:moveTo>
                <a:lnTo>
                  <a:pt x="13030" y="16496"/>
                </a:lnTo>
                <a:cubicBezTo>
                  <a:pt x="13024" y="16525"/>
                  <a:pt x="13018" y="16555"/>
                  <a:pt x="13012" y="16585"/>
                </a:cubicBezTo>
                <a:cubicBezTo>
                  <a:pt x="13010" y="16598"/>
                  <a:pt x="13007" y="16612"/>
                  <a:pt x="13005" y="16625"/>
                </a:cubicBezTo>
                <a:cubicBezTo>
                  <a:pt x="13001" y="16609"/>
                  <a:pt x="12997" y="16596"/>
                  <a:pt x="12990" y="16585"/>
                </a:cubicBezTo>
                <a:lnTo>
                  <a:pt x="12989" y="16331"/>
                </a:lnTo>
                <a:close/>
                <a:moveTo>
                  <a:pt x="12894" y="16351"/>
                </a:moveTo>
                <a:cubicBezTo>
                  <a:pt x="12906" y="16365"/>
                  <a:pt x="12918" y="16374"/>
                  <a:pt x="12932" y="16374"/>
                </a:cubicBezTo>
                <a:cubicBezTo>
                  <a:pt x="12942" y="16374"/>
                  <a:pt x="12951" y="16371"/>
                  <a:pt x="12959" y="16364"/>
                </a:cubicBezTo>
                <a:lnTo>
                  <a:pt x="12960" y="16566"/>
                </a:lnTo>
                <a:cubicBezTo>
                  <a:pt x="12935" y="16570"/>
                  <a:pt x="12914" y="16610"/>
                  <a:pt x="12914" y="16662"/>
                </a:cubicBezTo>
                <a:cubicBezTo>
                  <a:pt x="12914" y="16715"/>
                  <a:pt x="12936" y="16757"/>
                  <a:pt x="12962" y="16759"/>
                </a:cubicBezTo>
                <a:lnTo>
                  <a:pt x="12962" y="16863"/>
                </a:lnTo>
                <a:cubicBezTo>
                  <a:pt x="12934" y="17012"/>
                  <a:pt x="12900" y="17111"/>
                  <a:pt x="12826" y="17111"/>
                </a:cubicBezTo>
                <a:cubicBezTo>
                  <a:pt x="12821" y="17111"/>
                  <a:pt x="12816" y="17105"/>
                  <a:pt x="12810" y="17102"/>
                </a:cubicBezTo>
                <a:cubicBezTo>
                  <a:pt x="12823" y="17092"/>
                  <a:pt x="12833" y="17072"/>
                  <a:pt x="12833" y="17042"/>
                </a:cubicBezTo>
                <a:cubicBezTo>
                  <a:pt x="12833" y="17005"/>
                  <a:pt x="12818" y="16974"/>
                  <a:pt x="12800" y="16974"/>
                </a:cubicBezTo>
                <a:cubicBezTo>
                  <a:pt x="12782" y="16974"/>
                  <a:pt x="12767" y="17003"/>
                  <a:pt x="12766" y="17039"/>
                </a:cubicBezTo>
                <a:cubicBezTo>
                  <a:pt x="12752" y="17000"/>
                  <a:pt x="12742" y="16952"/>
                  <a:pt x="12742" y="16908"/>
                </a:cubicBezTo>
                <a:cubicBezTo>
                  <a:pt x="12742" y="16883"/>
                  <a:pt x="12743" y="16865"/>
                  <a:pt x="12744" y="16850"/>
                </a:cubicBezTo>
                <a:cubicBezTo>
                  <a:pt x="12746" y="16833"/>
                  <a:pt x="12748" y="16817"/>
                  <a:pt x="12746" y="16798"/>
                </a:cubicBezTo>
                <a:cubicBezTo>
                  <a:pt x="12746" y="16790"/>
                  <a:pt x="12743" y="16783"/>
                  <a:pt x="12740" y="16778"/>
                </a:cubicBezTo>
                <a:cubicBezTo>
                  <a:pt x="12721" y="16749"/>
                  <a:pt x="12721" y="16695"/>
                  <a:pt x="12721" y="16637"/>
                </a:cubicBezTo>
                <a:cubicBezTo>
                  <a:pt x="12722" y="16631"/>
                  <a:pt x="12727" y="16624"/>
                  <a:pt x="12732" y="16616"/>
                </a:cubicBezTo>
                <a:cubicBezTo>
                  <a:pt x="12731" y="16622"/>
                  <a:pt x="12728" y="16626"/>
                  <a:pt x="12728" y="16632"/>
                </a:cubicBezTo>
                <a:cubicBezTo>
                  <a:pt x="12728" y="16670"/>
                  <a:pt x="12744" y="16700"/>
                  <a:pt x="12762" y="16700"/>
                </a:cubicBezTo>
                <a:cubicBezTo>
                  <a:pt x="12781" y="16700"/>
                  <a:pt x="12796" y="16670"/>
                  <a:pt x="12796" y="16632"/>
                </a:cubicBezTo>
                <a:cubicBezTo>
                  <a:pt x="12796" y="16594"/>
                  <a:pt x="12781" y="16563"/>
                  <a:pt x="12762" y="16563"/>
                </a:cubicBezTo>
                <a:cubicBezTo>
                  <a:pt x="12760" y="16563"/>
                  <a:pt x="12758" y="16567"/>
                  <a:pt x="12756" y="16568"/>
                </a:cubicBezTo>
                <a:cubicBezTo>
                  <a:pt x="12758" y="16565"/>
                  <a:pt x="12761" y="16563"/>
                  <a:pt x="12762" y="16559"/>
                </a:cubicBezTo>
                <a:lnTo>
                  <a:pt x="12768" y="16533"/>
                </a:lnTo>
                <a:lnTo>
                  <a:pt x="12894" y="16351"/>
                </a:lnTo>
                <a:close/>
                <a:moveTo>
                  <a:pt x="6380" y="16414"/>
                </a:moveTo>
                <a:cubicBezTo>
                  <a:pt x="6361" y="16414"/>
                  <a:pt x="6346" y="16445"/>
                  <a:pt x="6346" y="16483"/>
                </a:cubicBezTo>
                <a:cubicBezTo>
                  <a:pt x="6346" y="16520"/>
                  <a:pt x="6361" y="16550"/>
                  <a:pt x="6380" y="16550"/>
                </a:cubicBezTo>
                <a:cubicBezTo>
                  <a:pt x="6399" y="16550"/>
                  <a:pt x="6414" y="16520"/>
                  <a:pt x="6414" y="16483"/>
                </a:cubicBezTo>
                <a:cubicBezTo>
                  <a:pt x="6414" y="16445"/>
                  <a:pt x="6399" y="16414"/>
                  <a:pt x="6380" y="16414"/>
                </a:cubicBezTo>
                <a:close/>
                <a:moveTo>
                  <a:pt x="17839" y="16414"/>
                </a:moveTo>
                <a:cubicBezTo>
                  <a:pt x="17812" y="16414"/>
                  <a:pt x="17789" y="16459"/>
                  <a:pt x="17789" y="16513"/>
                </a:cubicBezTo>
                <a:cubicBezTo>
                  <a:pt x="17789" y="16567"/>
                  <a:pt x="17812" y="16611"/>
                  <a:pt x="17839" y="16611"/>
                </a:cubicBezTo>
                <a:cubicBezTo>
                  <a:pt x="17866" y="16611"/>
                  <a:pt x="17888" y="16567"/>
                  <a:pt x="17888" y="16513"/>
                </a:cubicBezTo>
                <a:cubicBezTo>
                  <a:pt x="17888" y="16459"/>
                  <a:pt x="17866" y="16414"/>
                  <a:pt x="17839" y="16414"/>
                </a:cubicBezTo>
                <a:close/>
                <a:moveTo>
                  <a:pt x="11521" y="16451"/>
                </a:moveTo>
                <a:cubicBezTo>
                  <a:pt x="11499" y="16451"/>
                  <a:pt x="11481" y="16487"/>
                  <a:pt x="11481" y="16531"/>
                </a:cubicBezTo>
                <a:cubicBezTo>
                  <a:pt x="11481" y="16575"/>
                  <a:pt x="11499" y="16611"/>
                  <a:pt x="11521" y="16611"/>
                </a:cubicBezTo>
                <a:cubicBezTo>
                  <a:pt x="11543" y="16611"/>
                  <a:pt x="11561" y="16575"/>
                  <a:pt x="11561" y="16531"/>
                </a:cubicBezTo>
                <a:cubicBezTo>
                  <a:pt x="11561" y="16487"/>
                  <a:pt x="11543" y="16451"/>
                  <a:pt x="11521" y="16451"/>
                </a:cubicBezTo>
                <a:close/>
                <a:moveTo>
                  <a:pt x="16998" y="16848"/>
                </a:moveTo>
                <a:lnTo>
                  <a:pt x="17094" y="16992"/>
                </a:lnTo>
                <a:cubicBezTo>
                  <a:pt x="17087" y="17005"/>
                  <a:pt x="17082" y="17022"/>
                  <a:pt x="17082" y="17042"/>
                </a:cubicBezTo>
                <a:cubicBezTo>
                  <a:pt x="17082" y="17080"/>
                  <a:pt x="17098" y="17110"/>
                  <a:pt x="17117" y="17110"/>
                </a:cubicBezTo>
                <a:cubicBezTo>
                  <a:pt x="17130" y="17110"/>
                  <a:pt x="17140" y="17091"/>
                  <a:pt x="17145" y="17068"/>
                </a:cubicBezTo>
                <a:lnTo>
                  <a:pt x="17285" y="17276"/>
                </a:lnTo>
                <a:cubicBezTo>
                  <a:pt x="17283" y="17275"/>
                  <a:pt x="17282" y="17272"/>
                  <a:pt x="17281" y="17272"/>
                </a:cubicBezTo>
                <a:cubicBezTo>
                  <a:pt x="17253" y="17272"/>
                  <a:pt x="17231" y="17317"/>
                  <a:pt x="17231" y="17371"/>
                </a:cubicBezTo>
                <a:cubicBezTo>
                  <a:pt x="17231" y="17426"/>
                  <a:pt x="17253" y="17469"/>
                  <a:pt x="17281" y="17469"/>
                </a:cubicBezTo>
                <a:cubicBezTo>
                  <a:pt x="17308" y="17469"/>
                  <a:pt x="17330" y="17426"/>
                  <a:pt x="17330" y="17371"/>
                </a:cubicBezTo>
                <a:cubicBezTo>
                  <a:pt x="17330" y="17355"/>
                  <a:pt x="17324" y="17343"/>
                  <a:pt x="17321" y="17329"/>
                </a:cubicBezTo>
                <a:lnTo>
                  <a:pt x="17391" y="17433"/>
                </a:lnTo>
                <a:lnTo>
                  <a:pt x="17043" y="17582"/>
                </a:lnTo>
                <a:cubicBezTo>
                  <a:pt x="17034" y="17515"/>
                  <a:pt x="17025" y="17454"/>
                  <a:pt x="17013" y="17379"/>
                </a:cubicBezTo>
                <a:cubicBezTo>
                  <a:pt x="17017" y="17368"/>
                  <a:pt x="17020" y="17356"/>
                  <a:pt x="17020" y="17341"/>
                </a:cubicBezTo>
                <a:cubicBezTo>
                  <a:pt x="17020" y="17303"/>
                  <a:pt x="17005" y="17272"/>
                  <a:pt x="16986" y="17272"/>
                </a:cubicBezTo>
                <a:cubicBezTo>
                  <a:pt x="16985" y="17272"/>
                  <a:pt x="16984" y="17275"/>
                  <a:pt x="16982" y="17276"/>
                </a:cubicBezTo>
                <a:cubicBezTo>
                  <a:pt x="16981" y="17273"/>
                  <a:pt x="16980" y="17269"/>
                  <a:pt x="16979" y="17266"/>
                </a:cubicBezTo>
                <a:cubicBezTo>
                  <a:pt x="16965" y="17240"/>
                  <a:pt x="16962" y="17230"/>
                  <a:pt x="16964" y="17214"/>
                </a:cubicBezTo>
                <a:cubicBezTo>
                  <a:pt x="16964" y="17212"/>
                  <a:pt x="16965" y="17210"/>
                  <a:pt x="16965" y="17209"/>
                </a:cubicBezTo>
                <a:cubicBezTo>
                  <a:pt x="16968" y="17215"/>
                  <a:pt x="16970" y="17221"/>
                  <a:pt x="16971" y="17224"/>
                </a:cubicBezTo>
                <a:cubicBezTo>
                  <a:pt x="16974" y="17230"/>
                  <a:pt x="16979" y="17233"/>
                  <a:pt x="16983" y="17232"/>
                </a:cubicBezTo>
                <a:cubicBezTo>
                  <a:pt x="16987" y="17232"/>
                  <a:pt x="16991" y="17227"/>
                  <a:pt x="16994" y="17220"/>
                </a:cubicBezTo>
                <a:cubicBezTo>
                  <a:pt x="17002" y="17198"/>
                  <a:pt x="17000" y="17177"/>
                  <a:pt x="16998" y="17162"/>
                </a:cubicBezTo>
                <a:cubicBezTo>
                  <a:pt x="16997" y="17157"/>
                  <a:pt x="16997" y="17151"/>
                  <a:pt x="16997" y="17147"/>
                </a:cubicBezTo>
                <a:cubicBezTo>
                  <a:pt x="16997" y="17114"/>
                  <a:pt x="16991" y="17086"/>
                  <a:pt x="16985" y="17055"/>
                </a:cubicBezTo>
                <a:cubicBezTo>
                  <a:pt x="16978" y="17019"/>
                  <a:pt x="16971" y="16980"/>
                  <a:pt x="16971" y="16926"/>
                </a:cubicBezTo>
                <a:lnTo>
                  <a:pt x="16971" y="16859"/>
                </a:lnTo>
                <a:cubicBezTo>
                  <a:pt x="16981" y="16859"/>
                  <a:pt x="16990" y="16855"/>
                  <a:pt x="16998" y="16848"/>
                </a:cubicBezTo>
                <a:close/>
                <a:moveTo>
                  <a:pt x="11527" y="17011"/>
                </a:moveTo>
                <a:cubicBezTo>
                  <a:pt x="11512" y="17011"/>
                  <a:pt x="11500" y="17035"/>
                  <a:pt x="11500" y="17066"/>
                </a:cubicBezTo>
                <a:cubicBezTo>
                  <a:pt x="11500" y="17096"/>
                  <a:pt x="11512" y="17122"/>
                  <a:pt x="11527" y="17122"/>
                </a:cubicBezTo>
                <a:cubicBezTo>
                  <a:pt x="11543" y="17122"/>
                  <a:pt x="11555" y="17096"/>
                  <a:pt x="11555" y="17066"/>
                </a:cubicBezTo>
                <a:cubicBezTo>
                  <a:pt x="11555" y="17035"/>
                  <a:pt x="11543" y="17011"/>
                  <a:pt x="11527" y="17011"/>
                </a:cubicBezTo>
                <a:close/>
                <a:moveTo>
                  <a:pt x="19267" y="17185"/>
                </a:moveTo>
                <a:cubicBezTo>
                  <a:pt x="19274" y="17216"/>
                  <a:pt x="19287" y="17239"/>
                  <a:pt x="19305" y="17242"/>
                </a:cubicBezTo>
                <a:cubicBezTo>
                  <a:pt x="19297" y="17280"/>
                  <a:pt x="19250" y="17502"/>
                  <a:pt x="19207" y="17707"/>
                </a:cubicBezTo>
                <a:cubicBezTo>
                  <a:pt x="19199" y="17694"/>
                  <a:pt x="19190" y="17682"/>
                  <a:pt x="19179" y="17682"/>
                </a:cubicBezTo>
                <a:cubicBezTo>
                  <a:pt x="19151" y="17682"/>
                  <a:pt x="19129" y="17727"/>
                  <a:pt x="19129" y="17781"/>
                </a:cubicBezTo>
                <a:cubicBezTo>
                  <a:pt x="19129" y="17831"/>
                  <a:pt x="19149" y="17866"/>
                  <a:pt x="19172" y="17874"/>
                </a:cubicBezTo>
                <a:cubicBezTo>
                  <a:pt x="19129" y="18081"/>
                  <a:pt x="19121" y="18115"/>
                  <a:pt x="19083" y="18298"/>
                </a:cubicBezTo>
                <a:cubicBezTo>
                  <a:pt x="19079" y="18267"/>
                  <a:pt x="19068" y="18242"/>
                  <a:pt x="19052" y="18242"/>
                </a:cubicBezTo>
                <a:cubicBezTo>
                  <a:pt x="19033" y="18242"/>
                  <a:pt x="19018" y="18273"/>
                  <a:pt x="19018" y="18311"/>
                </a:cubicBezTo>
                <a:cubicBezTo>
                  <a:pt x="19018" y="18348"/>
                  <a:pt x="19033" y="18378"/>
                  <a:pt x="19052" y="18378"/>
                </a:cubicBezTo>
                <a:cubicBezTo>
                  <a:pt x="19059" y="18378"/>
                  <a:pt x="19064" y="18371"/>
                  <a:pt x="19069" y="18364"/>
                </a:cubicBezTo>
                <a:cubicBezTo>
                  <a:pt x="19031" y="18544"/>
                  <a:pt x="18974" y="18815"/>
                  <a:pt x="18974" y="18815"/>
                </a:cubicBezTo>
                <a:cubicBezTo>
                  <a:pt x="18963" y="18836"/>
                  <a:pt x="18955" y="18858"/>
                  <a:pt x="18950" y="18885"/>
                </a:cubicBezTo>
                <a:cubicBezTo>
                  <a:pt x="18946" y="18882"/>
                  <a:pt x="18942" y="18875"/>
                  <a:pt x="18937" y="18870"/>
                </a:cubicBezTo>
                <a:cubicBezTo>
                  <a:pt x="18954" y="18855"/>
                  <a:pt x="18967" y="18828"/>
                  <a:pt x="18967" y="18789"/>
                </a:cubicBezTo>
                <a:cubicBezTo>
                  <a:pt x="18967" y="18734"/>
                  <a:pt x="18945" y="18690"/>
                  <a:pt x="18918" y="18690"/>
                </a:cubicBezTo>
                <a:cubicBezTo>
                  <a:pt x="18891" y="18690"/>
                  <a:pt x="18869" y="18734"/>
                  <a:pt x="18869" y="18788"/>
                </a:cubicBezTo>
                <a:cubicBezTo>
                  <a:pt x="18869" y="18787"/>
                  <a:pt x="18868" y="18787"/>
                  <a:pt x="18868" y="18786"/>
                </a:cubicBezTo>
                <a:cubicBezTo>
                  <a:pt x="18866" y="18774"/>
                  <a:pt x="18860" y="18765"/>
                  <a:pt x="18853" y="18767"/>
                </a:cubicBezTo>
                <a:cubicBezTo>
                  <a:pt x="18823" y="18772"/>
                  <a:pt x="18811" y="18803"/>
                  <a:pt x="18802" y="18826"/>
                </a:cubicBezTo>
                <a:cubicBezTo>
                  <a:pt x="18794" y="18847"/>
                  <a:pt x="18790" y="18860"/>
                  <a:pt x="18769" y="18860"/>
                </a:cubicBezTo>
                <a:cubicBezTo>
                  <a:pt x="18757" y="18860"/>
                  <a:pt x="18743" y="18853"/>
                  <a:pt x="18729" y="18848"/>
                </a:cubicBezTo>
                <a:cubicBezTo>
                  <a:pt x="18737" y="18818"/>
                  <a:pt x="18743" y="18786"/>
                  <a:pt x="18743" y="18750"/>
                </a:cubicBezTo>
                <a:cubicBezTo>
                  <a:pt x="18743" y="18634"/>
                  <a:pt x="18696" y="18540"/>
                  <a:pt x="18638" y="18540"/>
                </a:cubicBezTo>
                <a:cubicBezTo>
                  <a:pt x="18610" y="18540"/>
                  <a:pt x="18584" y="18564"/>
                  <a:pt x="18565" y="18601"/>
                </a:cubicBezTo>
                <a:cubicBezTo>
                  <a:pt x="18565" y="18561"/>
                  <a:pt x="18556" y="18527"/>
                  <a:pt x="18548" y="18497"/>
                </a:cubicBezTo>
                <a:cubicBezTo>
                  <a:pt x="18542" y="18474"/>
                  <a:pt x="18537" y="18452"/>
                  <a:pt x="18536" y="18433"/>
                </a:cubicBezTo>
                <a:cubicBezTo>
                  <a:pt x="18536" y="18431"/>
                  <a:pt x="18536" y="18430"/>
                  <a:pt x="18536" y="18428"/>
                </a:cubicBezTo>
                <a:cubicBezTo>
                  <a:pt x="18536" y="18428"/>
                  <a:pt x="18534" y="18417"/>
                  <a:pt x="18534" y="18414"/>
                </a:cubicBezTo>
                <a:cubicBezTo>
                  <a:pt x="18534" y="18404"/>
                  <a:pt x="18531" y="18394"/>
                  <a:pt x="18526" y="18389"/>
                </a:cubicBezTo>
                <a:cubicBezTo>
                  <a:pt x="18522" y="18383"/>
                  <a:pt x="18516" y="18384"/>
                  <a:pt x="18512" y="18389"/>
                </a:cubicBezTo>
                <a:cubicBezTo>
                  <a:pt x="18500" y="18403"/>
                  <a:pt x="18491" y="18406"/>
                  <a:pt x="18476" y="18413"/>
                </a:cubicBezTo>
                <a:lnTo>
                  <a:pt x="18475" y="18414"/>
                </a:lnTo>
                <a:cubicBezTo>
                  <a:pt x="18478" y="18397"/>
                  <a:pt x="18481" y="18376"/>
                  <a:pt x="18481" y="18350"/>
                </a:cubicBezTo>
                <a:cubicBezTo>
                  <a:pt x="18481" y="18292"/>
                  <a:pt x="18467" y="18267"/>
                  <a:pt x="18458" y="18250"/>
                </a:cubicBezTo>
                <a:lnTo>
                  <a:pt x="18455" y="18244"/>
                </a:lnTo>
                <a:cubicBezTo>
                  <a:pt x="18451" y="18236"/>
                  <a:pt x="18445" y="18234"/>
                  <a:pt x="18440" y="18238"/>
                </a:cubicBezTo>
                <a:cubicBezTo>
                  <a:pt x="18434" y="18243"/>
                  <a:pt x="18430" y="18253"/>
                  <a:pt x="18430" y="18265"/>
                </a:cubicBezTo>
                <a:cubicBezTo>
                  <a:pt x="18430" y="18267"/>
                  <a:pt x="18429" y="18274"/>
                  <a:pt x="18429" y="18278"/>
                </a:cubicBezTo>
                <a:cubicBezTo>
                  <a:pt x="18428" y="18282"/>
                  <a:pt x="18427" y="18286"/>
                  <a:pt x="18427" y="18290"/>
                </a:cubicBezTo>
                <a:cubicBezTo>
                  <a:pt x="18420" y="18301"/>
                  <a:pt x="18415" y="18318"/>
                  <a:pt x="18411" y="18333"/>
                </a:cubicBezTo>
                <a:cubicBezTo>
                  <a:pt x="18403" y="18358"/>
                  <a:pt x="18398" y="18370"/>
                  <a:pt x="18390" y="18371"/>
                </a:cubicBezTo>
                <a:cubicBezTo>
                  <a:pt x="18439" y="18305"/>
                  <a:pt x="18444" y="18095"/>
                  <a:pt x="18443" y="18051"/>
                </a:cubicBezTo>
                <a:cubicBezTo>
                  <a:pt x="18443" y="18039"/>
                  <a:pt x="18439" y="18029"/>
                  <a:pt x="18433" y="18025"/>
                </a:cubicBezTo>
                <a:cubicBezTo>
                  <a:pt x="18428" y="18021"/>
                  <a:pt x="18422" y="18024"/>
                  <a:pt x="18418" y="18032"/>
                </a:cubicBezTo>
                <a:cubicBezTo>
                  <a:pt x="18404" y="18060"/>
                  <a:pt x="18389" y="18104"/>
                  <a:pt x="18373" y="18150"/>
                </a:cubicBezTo>
                <a:cubicBezTo>
                  <a:pt x="18348" y="18222"/>
                  <a:pt x="18314" y="18320"/>
                  <a:pt x="18291" y="18320"/>
                </a:cubicBezTo>
                <a:cubicBezTo>
                  <a:pt x="18289" y="18316"/>
                  <a:pt x="18288" y="18297"/>
                  <a:pt x="18290" y="18280"/>
                </a:cubicBezTo>
                <a:cubicBezTo>
                  <a:pt x="18291" y="18272"/>
                  <a:pt x="18290" y="18263"/>
                  <a:pt x="18287" y="18256"/>
                </a:cubicBezTo>
                <a:cubicBezTo>
                  <a:pt x="18285" y="18251"/>
                  <a:pt x="18283" y="18247"/>
                  <a:pt x="18280" y="18245"/>
                </a:cubicBezTo>
                <a:cubicBezTo>
                  <a:pt x="18278" y="18242"/>
                  <a:pt x="18272" y="18229"/>
                  <a:pt x="18261" y="18189"/>
                </a:cubicBezTo>
                <a:lnTo>
                  <a:pt x="18223" y="17885"/>
                </a:lnTo>
                <a:lnTo>
                  <a:pt x="18191" y="17629"/>
                </a:lnTo>
                <a:cubicBezTo>
                  <a:pt x="18243" y="17609"/>
                  <a:pt x="18282" y="17526"/>
                  <a:pt x="18287" y="17419"/>
                </a:cubicBezTo>
                <a:lnTo>
                  <a:pt x="18441" y="17382"/>
                </a:lnTo>
                <a:cubicBezTo>
                  <a:pt x="18442" y="17417"/>
                  <a:pt x="18457" y="17446"/>
                  <a:pt x="18475" y="17446"/>
                </a:cubicBezTo>
                <a:cubicBezTo>
                  <a:pt x="18494" y="17446"/>
                  <a:pt x="18509" y="17416"/>
                  <a:pt x="18509" y="17378"/>
                </a:cubicBezTo>
                <a:cubicBezTo>
                  <a:pt x="18509" y="17374"/>
                  <a:pt x="18507" y="17371"/>
                  <a:pt x="18506" y="17366"/>
                </a:cubicBezTo>
                <a:lnTo>
                  <a:pt x="18592" y="17345"/>
                </a:lnTo>
                <a:cubicBezTo>
                  <a:pt x="18595" y="17393"/>
                  <a:pt x="18614" y="17432"/>
                  <a:pt x="18639" y="17432"/>
                </a:cubicBezTo>
                <a:cubicBezTo>
                  <a:pt x="18666" y="17432"/>
                  <a:pt x="18688" y="17388"/>
                  <a:pt x="18688" y="17334"/>
                </a:cubicBezTo>
                <a:cubicBezTo>
                  <a:pt x="18688" y="17330"/>
                  <a:pt x="18686" y="17327"/>
                  <a:pt x="18686" y="17323"/>
                </a:cubicBezTo>
                <a:lnTo>
                  <a:pt x="18834" y="17288"/>
                </a:lnTo>
                <a:cubicBezTo>
                  <a:pt x="18842" y="17389"/>
                  <a:pt x="18884" y="17468"/>
                  <a:pt x="18936" y="17468"/>
                </a:cubicBezTo>
                <a:cubicBezTo>
                  <a:pt x="18994" y="17468"/>
                  <a:pt x="19041" y="17374"/>
                  <a:pt x="19041" y="17258"/>
                </a:cubicBezTo>
                <a:cubicBezTo>
                  <a:pt x="19041" y="17251"/>
                  <a:pt x="19039" y="17246"/>
                  <a:pt x="19039" y="17239"/>
                </a:cubicBezTo>
                <a:lnTo>
                  <a:pt x="19099" y="17224"/>
                </a:lnTo>
                <a:cubicBezTo>
                  <a:pt x="19105" y="17244"/>
                  <a:pt x="19114" y="17259"/>
                  <a:pt x="19126" y="17259"/>
                </a:cubicBezTo>
                <a:cubicBezTo>
                  <a:pt x="19141" y="17259"/>
                  <a:pt x="19151" y="17238"/>
                  <a:pt x="19156" y="17211"/>
                </a:cubicBezTo>
                <a:lnTo>
                  <a:pt x="19267" y="17185"/>
                </a:lnTo>
                <a:close/>
                <a:moveTo>
                  <a:pt x="18363" y="17197"/>
                </a:moveTo>
                <a:cubicBezTo>
                  <a:pt x="18345" y="17197"/>
                  <a:pt x="18329" y="17228"/>
                  <a:pt x="18329" y="17266"/>
                </a:cubicBezTo>
                <a:cubicBezTo>
                  <a:pt x="18329" y="17304"/>
                  <a:pt x="18345" y="17334"/>
                  <a:pt x="18363" y="17334"/>
                </a:cubicBezTo>
                <a:cubicBezTo>
                  <a:pt x="18382" y="17334"/>
                  <a:pt x="18397" y="17304"/>
                  <a:pt x="18397" y="17266"/>
                </a:cubicBezTo>
                <a:cubicBezTo>
                  <a:pt x="18397" y="17228"/>
                  <a:pt x="18382" y="17197"/>
                  <a:pt x="18363" y="17197"/>
                </a:cubicBezTo>
                <a:close/>
                <a:moveTo>
                  <a:pt x="19341" y="17225"/>
                </a:moveTo>
                <a:lnTo>
                  <a:pt x="19358" y="17345"/>
                </a:lnTo>
                <a:lnTo>
                  <a:pt x="19361" y="17363"/>
                </a:lnTo>
                <a:cubicBezTo>
                  <a:pt x="19364" y="17405"/>
                  <a:pt x="19365" y="17444"/>
                  <a:pt x="19365" y="17475"/>
                </a:cubicBezTo>
                <a:cubicBezTo>
                  <a:pt x="19365" y="17571"/>
                  <a:pt x="19352" y="17689"/>
                  <a:pt x="19338" y="17717"/>
                </a:cubicBezTo>
                <a:cubicBezTo>
                  <a:pt x="19335" y="17723"/>
                  <a:pt x="19333" y="17730"/>
                  <a:pt x="19333" y="17738"/>
                </a:cubicBezTo>
                <a:lnTo>
                  <a:pt x="19333" y="17849"/>
                </a:lnTo>
                <a:cubicBezTo>
                  <a:pt x="19328" y="17868"/>
                  <a:pt x="19327" y="17883"/>
                  <a:pt x="19326" y="17896"/>
                </a:cubicBezTo>
                <a:cubicBezTo>
                  <a:pt x="19325" y="17907"/>
                  <a:pt x="19325" y="17914"/>
                  <a:pt x="19321" y="17926"/>
                </a:cubicBezTo>
                <a:cubicBezTo>
                  <a:pt x="19308" y="17968"/>
                  <a:pt x="19294" y="18000"/>
                  <a:pt x="19281" y="18031"/>
                </a:cubicBezTo>
                <a:cubicBezTo>
                  <a:pt x="19258" y="18086"/>
                  <a:pt x="19236" y="18139"/>
                  <a:pt x="19222" y="18230"/>
                </a:cubicBezTo>
                <a:cubicBezTo>
                  <a:pt x="19217" y="18260"/>
                  <a:pt x="19209" y="18293"/>
                  <a:pt x="19201" y="18328"/>
                </a:cubicBezTo>
                <a:cubicBezTo>
                  <a:pt x="19182" y="18411"/>
                  <a:pt x="19161" y="18505"/>
                  <a:pt x="19160" y="18610"/>
                </a:cubicBezTo>
                <a:cubicBezTo>
                  <a:pt x="19149" y="18688"/>
                  <a:pt x="19107" y="18711"/>
                  <a:pt x="19063" y="18736"/>
                </a:cubicBezTo>
                <a:cubicBezTo>
                  <a:pt x="19047" y="18745"/>
                  <a:pt x="19032" y="18754"/>
                  <a:pt x="19017" y="18765"/>
                </a:cubicBezTo>
                <a:lnTo>
                  <a:pt x="19209" y="17854"/>
                </a:lnTo>
                <a:cubicBezTo>
                  <a:pt x="19220" y="17836"/>
                  <a:pt x="19228" y="17812"/>
                  <a:pt x="19228" y="17781"/>
                </a:cubicBezTo>
                <a:cubicBezTo>
                  <a:pt x="19228" y="17778"/>
                  <a:pt x="19226" y="17776"/>
                  <a:pt x="19226" y="17773"/>
                </a:cubicBezTo>
                <a:lnTo>
                  <a:pt x="19341" y="17225"/>
                </a:lnTo>
                <a:close/>
                <a:moveTo>
                  <a:pt x="6401" y="17347"/>
                </a:moveTo>
                <a:cubicBezTo>
                  <a:pt x="6360" y="17347"/>
                  <a:pt x="6327" y="17413"/>
                  <a:pt x="6327" y="17495"/>
                </a:cubicBezTo>
                <a:cubicBezTo>
                  <a:pt x="6327" y="17576"/>
                  <a:pt x="6360" y="17643"/>
                  <a:pt x="6401" y="17643"/>
                </a:cubicBezTo>
                <a:cubicBezTo>
                  <a:pt x="6442" y="17643"/>
                  <a:pt x="6475" y="17576"/>
                  <a:pt x="6475" y="17495"/>
                </a:cubicBezTo>
                <a:cubicBezTo>
                  <a:pt x="6475" y="17413"/>
                  <a:pt x="6442" y="17347"/>
                  <a:pt x="6401" y="17347"/>
                </a:cubicBezTo>
                <a:close/>
                <a:moveTo>
                  <a:pt x="5933" y="17384"/>
                </a:moveTo>
                <a:cubicBezTo>
                  <a:pt x="5914" y="17384"/>
                  <a:pt x="5899" y="17415"/>
                  <a:pt x="5899" y="17453"/>
                </a:cubicBezTo>
                <a:cubicBezTo>
                  <a:pt x="5899" y="17490"/>
                  <a:pt x="5914" y="17520"/>
                  <a:pt x="5933" y="17520"/>
                </a:cubicBezTo>
                <a:cubicBezTo>
                  <a:pt x="5952" y="17520"/>
                  <a:pt x="5967" y="17490"/>
                  <a:pt x="5967" y="17453"/>
                </a:cubicBezTo>
                <a:cubicBezTo>
                  <a:pt x="5967" y="17415"/>
                  <a:pt x="5952" y="17384"/>
                  <a:pt x="5933" y="17384"/>
                </a:cubicBezTo>
                <a:close/>
                <a:moveTo>
                  <a:pt x="11788" y="17459"/>
                </a:moveTo>
                <a:cubicBezTo>
                  <a:pt x="11773" y="17459"/>
                  <a:pt x="11761" y="17483"/>
                  <a:pt x="11761" y="17513"/>
                </a:cubicBezTo>
                <a:cubicBezTo>
                  <a:pt x="11761" y="17544"/>
                  <a:pt x="11773" y="17569"/>
                  <a:pt x="11788" y="17569"/>
                </a:cubicBezTo>
                <a:cubicBezTo>
                  <a:pt x="11803" y="17569"/>
                  <a:pt x="11816" y="17544"/>
                  <a:pt x="11816" y="17513"/>
                </a:cubicBezTo>
                <a:cubicBezTo>
                  <a:pt x="11816" y="17483"/>
                  <a:pt x="11803" y="17459"/>
                  <a:pt x="11788" y="17459"/>
                </a:cubicBezTo>
                <a:close/>
                <a:moveTo>
                  <a:pt x="17405" y="17510"/>
                </a:moveTo>
                <a:cubicBezTo>
                  <a:pt x="17405" y="17510"/>
                  <a:pt x="17346" y="18116"/>
                  <a:pt x="17339" y="18185"/>
                </a:cubicBezTo>
                <a:cubicBezTo>
                  <a:pt x="17332" y="18178"/>
                  <a:pt x="17326" y="18167"/>
                  <a:pt x="17318" y="18167"/>
                </a:cubicBezTo>
                <a:cubicBezTo>
                  <a:pt x="17291" y="18167"/>
                  <a:pt x="17268" y="18212"/>
                  <a:pt x="17268" y="18266"/>
                </a:cubicBezTo>
                <a:cubicBezTo>
                  <a:pt x="17268" y="18275"/>
                  <a:pt x="17272" y="18280"/>
                  <a:pt x="17273" y="18287"/>
                </a:cubicBezTo>
                <a:cubicBezTo>
                  <a:pt x="17248" y="18316"/>
                  <a:pt x="17221" y="18342"/>
                  <a:pt x="17183" y="18342"/>
                </a:cubicBezTo>
                <a:cubicBezTo>
                  <a:pt x="17146" y="18342"/>
                  <a:pt x="17063" y="18255"/>
                  <a:pt x="17060" y="18223"/>
                </a:cubicBezTo>
                <a:cubicBezTo>
                  <a:pt x="17060" y="18207"/>
                  <a:pt x="17067" y="18193"/>
                  <a:pt x="17077" y="18170"/>
                </a:cubicBezTo>
                <a:cubicBezTo>
                  <a:pt x="17091" y="18138"/>
                  <a:pt x="17109" y="18098"/>
                  <a:pt x="17109" y="18032"/>
                </a:cubicBezTo>
                <a:cubicBezTo>
                  <a:pt x="17109" y="17975"/>
                  <a:pt x="17103" y="17929"/>
                  <a:pt x="17096" y="17892"/>
                </a:cubicBezTo>
                <a:lnTo>
                  <a:pt x="17163" y="17808"/>
                </a:lnTo>
                <a:lnTo>
                  <a:pt x="17175" y="17794"/>
                </a:lnTo>
                <a:cubicBezTo>
                  <a:pt x="17179" y="17797"/>
                  <a:pt x="17183" y="17805"/>
                  <a:pt x="17188" y="17805"/>
                </a:cubicBezTo>
                <a:cubicBezTo>
                  <a:pt x="17212" y="17805"/>
                  <a:pt x="17230" y="17768"/>
                  <a:pt x="17234" y="17722"/>
                </a:cubicBezTo>
                <a:lnTo>
                  <a:pt x="17405" y="17510"/>
                </a:lnTo>
                <a:close/>
                <a:moveTo>
                  <a:pt x="17345" y="17514"/>
                </a:moveTo>
                <a:lnTo>
                  <a:pt x="17227" y="17660"/>
                </a:lnTo>
                <a:cubicBezTo>
                  <a:pt x="17218" y="17631"/>
                  <a:pt x="17206" y="17608"/>
                  <a:pt x="17188" y="17608"/>
                </a:cubicBezTo>
                <a:cubicBezTo>
                  <a:pt x="17160" y="17608"/>
                  <a:pt x="17138" y="17652"/>
                  <a:pt x="17138" y="17707"/>
                </a:cubicBezTo>
                <a:cubicBezTo>
                  <a:pt x="17138" y="17726"/>
                  <a:pt x="17144" y="17741"/>
                  <a:pt x="17149" y="17756"/>
                </a:cubicBezTo>
                <a:lnTo>
                  <a:pt x="17084" y="17836"/>
                </a:lnTo>
                <a:cubicBezTo>
                  <a:pt x="17083" y="17833"/>
                  <a:pt x="17082" y="17831"/>
                  <a:pt x="17081" y="17828"/>
                </a:cubicBezTo>
                <a:cubicBezTo>
                  <a:pt x="17075" y="17803"/>
                  <a:pt x="17069" y="17780"/>
                  <a:pt x="17066" y="17757"/>
                </a:cubicBezTo>
                <a:lnTo>
                  <a:pt x="17050" y="17640"/>
                </a:lnTo>
                <a:lnTo>
                  <a:pt x="17345" y="17514"/>
                </a:lnTo>
                <a:close/>
                <a:moveTo>
                  <a:pt x="17431" y="17552"/>
                </a:moveTo>
                <a:lnTo>
                  <a:pt x="17459" y="17686"/>
                </a:lnTo>
                <a:cubicBezTo>
                  <a:pt x="17445" y="17713"/>
                  <a:pt x="17436" y="17751"/>
                  <a:pt x="17436" y="17793"/>
                </a:cubicBezTo>
                <a:cubicBezTo>
                  <a:pt x="17436" y="17875"/>
                  <a:pt x="17469" y="17941"/>
                  <a:pt x="17510" y="17941"/>
                </a:cubicBezTo>
                <a:cubicBezTo>
                  <a:pt x="17510" y="17941"/>
                  <a:pt x="17511" y="17941"/>
                  <a:pt x="17511" y="17941"/>
                </a:cubicBezTo>
                <a:lnTo>
                  <a:pt x="17559" y="18174"/>
                </a:lnTo>
                <a:cubicBezTo>
                  <a:pt x="17545" y="18178"/>
                  <a:pt x="17532" y="18182"/>
                  <a:pt x="17520" y="18186"/>
                </a:cubicBezTo>
                <a:cubicBezTo>
                  <a:pt x="17496" y="18194"/>
                  <a:pt x="17474" y="18202"/>
                  <a:pt x="17448" y="18202"/>
                </a:cubicBezTo>
                <a:cubicBezTo>
                  <a:pt x="17426" y="18182"/>
                  <a:pt x="17410" y="18188"/>
                  <a:pt x="17400" y="18195"/>
                </a:cubicBezTo>
                <a:cubicBezTo>
                  <a:pt x="17395" y="18199"/>
                  <a:pt x="17391" y="18202"/>
                  <a:pt x="17385" y="18202"/>
                </a:cubicBezTo>
                <a:cubicBezTo>
                  <a:pt x="17379" y="18202"/>
                  <a:pt x="17373" y="18203"/>
                  <a:pt x="17367" y="18205"/>
                </a:cubicBezTo>
                <a:lnTo>
                  <a:pt x="17431" y="17552"/>
                </a:lnTo>
                <a:close/>
                <a:moveTo>
                  <a:pt x="7149" y="17570"/>
                </a:moveTo>
                <a:cubicBezTo>
                  <a:pt x="7135" y="17606"/>
                  <a:pt x="7124" y="17645"/>
                  <a:pt x="7115" y="17685"/>
                </a:cubicBezTo>
                <a:cubicBezTo>
                  <a:pt x="7114" y="17687"/>
                  <a:pt x="7113" y="17689"/>
                  <a:pt x="7112" y="17692"/>
                </a:cubicBezTo>
                <a:cubicBezTo>
                  <a:pt x="7105" y="17718"/>
                  <a:pt x="7102" y="17739"/>
                  <a:pt x="7099" y="17758"/>
                </a:cubicBezTo>
                <a:lnTo>
                  <a:pt x="6849" y="18067"/>
                </a:lnTo>
                <a:cubicBezTo>
                  <a:pt x="6839" y="18062"/>
                  <a:pt x="6829" y="18055"/>
                  <a:pt x="6818" y="18055"/>
                </a:cubicBezTo>
                <a:cubicBezTo>
                  <a:pt x="6761" y="18055"/>
                  <a:pt x="6715" y="18138"/>
                  <a:pt x="6704" y="18247"/>
                </a:cubicBezTo>
                <a:lnTo>
                  <a:pt x="6658" y="18303"/>
                </a:lnTo>
                <a:cubicBezTo>
                  <a:pt x="6651" y="18299"/>
                  <a:pt x="6644" y="18297"/>
                  <a:pt x="6638" y="18297"/>
                </a:cubicBezTo>
                <a:cubicBezTo>
                  <a:pt x="6624" y="18297"/>
                  <a:pt x="6606" y="18314"/>
                  <a:pt x="6606" y="18348"/>
                </a:cubicBezTo>
                <a:cubicBezTo>
                  <a:pt x="6606" y="18354"/>
                  <a:pt x="6606" y="18360"/>
                  <a:pt x="6607" y="18366"/>
                </a:cubicBezTo>
                <a:lnTo>
                  <a:pt x="6510" y="18484"/>
                </a:lnTo>
                <a:cubicBezTo>
                  <a:pt x="6503" y="18476"/>
                  <a:pt x="6497" y="18466"/>
                  <a:pt x="6488" y="18466"/>
                </a:cubicBezTo>
                <a:cubicBezTo>
                  <a:pt x="6461" y="18466"/>
                  <a:pt x="6439" y="18510"/>
                  <a:pt x="6439" y="18565"/>
                </a:cubicBezTo>
                <a:cubicBezTo>
                  <a:pt x="6439" y="18568"/>
                  <a:pt x="6440" y="18569"/>
                  <a:pt x="6440" y="18572"/>
                </a:cubicBezTo>
                <a:lnTo>
                  <a:pt x="6188" y="18883"/>
                </a:lnTo>
                <a:lnTo>
                  <a:pt x="6158" y="18859"/>
                </a:lnTo>
                <a:cubicBezTo>
                  <a:pt x="6145" y="18825"/>
                  <a:pt x="6126" y="18801"/>
                  <a:pt x="6103" y="18801"/>
                </a:cubicBezTo>
                <a:cubicBezTo>
                  <a:pt x="6100" y="18801"/>
                  <a:pt x="6097" y="18804"/>
                  <a:pt x="6094" y="18805"/>
                </a:cubicBezTo>
                <a:lnTo>
                  <a:pt x="5785" y="18545"/>
                </a:lnTo>
                <a:cubicBezTo>
                  <a:pt x="5787" y="18531"/>
                  <a:pt x="5790" y="18519"/>
                  <a:pt x="5793" y="18511"/>
                </a:cubicBezTo>
                <a:cubicBezTo>
                  <a:pt x="5793" y="18510"/>
                  <a:pt x="5795" y="18508"/>
                  <a:pt x="5797" y="18507"/>
                </a:cubicBezTo>
                <a:cubicBezTo>
                  <a:pt x="5802" y="18502"/>
                  <a:pt x="5811" y="18494"/>
                  <a:pt x="5814" y="18472"/>
                </a:cubicBezTo>
                <a:cubicBezTo>
                  <a:pt x="5823" y="18416"/>
                  <a:pt x="5826" y="18369"/>
                  <a:pt x="5830" y="18320"/>
                </a:cubicBezTo>
                <a:cubicBezTo>
                  <a:pt x="5833" y="18282"/>
                  <a:pt x="5836" y="18242"/>
                  <a:pt x="5842" y="18198"/>
                </a:cubicBezTo>
                <a:cubicBezTo>
                  <a:pt x="5842" y="18195"/>
                  <a:pt x="5843" y="18193"/>
                  <a:pt x="5843" y="18191"/>
                </a:cubicBezTo>
                <a:lnTo>
                  <a:pt x="5842" y="18131"/>
                </a:lnTo>
                <a:lnTo>
                  <a:pt x="6187" y="17983"/>
                </a:lnTo>
                <a:cubicBezTo>
                  <a:pt x="6194" y="17996"/>
                  <a:pt x="6203" y="18005"/>
                  <a:pt x="6212" y="18005"/>
                </a:cubicBezTo>
                <a:cubicBezTo>
                  <a:pt x="6227" y="18005"/>
                  <a:pt x="6237" y="17985"/>
                  <a:pt x="6242" y="17960"/>
                </a:cubicBezTo>
                <a:lnTo>
                  <a:pt x="6755" y="17739"/>
                </a:lnTo>
                <a:cubicBezTo>
                  <a:pt x="6769" y="17771"/>
                  <a:pt x="6788" y="17792"/>
                  <a:pt x="6810" y="17792"/>
                </a:cubicBezTo>
                <a:cubicBezTo>
                  <a:pt x="6843" y="17792"/>
                  <a:pt x="6871" y="17747"/>
                  <a:pt x="6880" y="17686"/>
                </a:cubicBezTo>
                <a:lnTo>
                  <a:pt x="7149" y="17570"/>
                </a:lnTo>
                <a:close/>
                <a:moveTo>
                  <a:pt x="18323" y="17570"/>
                </a:moveTo>
                <a:cubicBezTo>
                  <a:pt x="18296" y="17570"/>
                  <a:pt x="18273" y="17615"/>
                  <a:pt x="18273" y="17670"/>
                </a:cubicBezTo>
                <a:cubicBezTo>
                  <a:pt x="18273" y="17724"/>
                  <a:pt x="18296" y="17767"/>
                  <a:pt x="18323" y="17767"/>
                </a:cubicBezTo>
                <a:cubicBezTo>
                  <a:pt x="18350" y="17767"/>
                  <a:pt x="18372" y="17724"/>
                  <a:pt x="18372" y="17670"/>
                </a:cubicBezTo>
                <a:cubicBezTo>
                  <a:pt x="18372" y="17615"/>
                  <a:pt x="18350" y="17570"/>
                  <a:pt x="18323" y="17570"/>
                </a:cubicBezTo>
                <a:close/>
                <a:moveTo>
                  <a:pt x="11267" y="17645"/>
                </a:moveTo>
                <a:cubicBezTo>
                  <a:pt x="11252" y="17645"/>
                  <a:pt x="11239" y="17669"/>
                  <a:pt x="11239" y="17700"/>
                </a:cubicBezTo>
                <a:cubicBezTo>
                  <a:pt x="11239" y="17730"/>
                  <a:pt x="11252" y="17756"/>
                  <a:pt x="11267" y="17756"/>
                </a:cubicBezTo>
                <a:cubicBezTo>
                  <a:pt x="11282" y="17756"/>
                  <a:pt x="11295" y="17730"/>
                  <a:pt x="11295" y="17700"/>
                </a:cubicBezTo>
                <a:cubicBezTo>
                  <a:pt x="11295" y="17669"/>
                  <a:pt x="11282" y="17645"/>
                  <a:pt x="11267" y="17645"/>
                </a:cubicBezTo>
                <a:close/>
                <a:moveTo>
                  <a:pt x="11951" y="17679"/>
                </a:moveTo>
                <a:cubicBezTo>
                  <a:pt x="11948" y="17691"/>
                  <a:pt x="11945" y="17702"/>
                  <a:pt x="11942" y="17714"/>
                </a:cubicBezTo>
                <a:cubicBezTo>
                  <a:pt x="11933" y="17752"/>
                  <a:pt x="11924" y="17790"/>
                  <a:pt x="11911" y="17823"/>
                </a:cubicBezTo>
                <a:cubicBezTo>
                  <a:pt x="11898" y="17857"/>
                  <a:pt x="11888" y="17888"/>
                  <a:pt x="11877" y="17919"/>
                </a:cubicBezTo>
                <a:cubicBezTo>
                  <a:pt x="11855" y="17981"/>
                  <a:pt x="11836" y="18034"/>
                  <a:pt x="11809" y="18081"/>
                </a:cubicBezTo>
                <a:cubicBezTo>
                  <a:pt x="11808" y="18081"/>
                  <a:pt x="11807" y="18080"/>
                  <a:pt x="11806" y="18080"/>
                </a:cubicBezTo>
                <a:cubicBezTo>
                  <a:pt x="11787" y="18074"/>
                  <a:pt x="11771" y="18069"/>
                  <a:pt x="11756" y="18065"/>
                </a:cubicBezTo>
                <a:cubicBezTo>
                  <a:pt x="11755" y="18064"/>
                  <a:pt x="11754" y="18064"/>
                  <a:pt x="11752" y="18064"/>
                </a:cubicBezTo>
                <a:cubicBezTo>
                  <a:pt x="11748" y="18062"/>
                  <a:pt x="11744" y="18060"/>
                  <a:pt x="11740" y="18059"/>
                </a:cubicBezTo>
                <a:cubicBezTo>
                  <a:pt x="11739" y="18059"/>
                  <a:pt x="11738" y="18059"/>
                  <a:pt x="11737" y="18059"/>
                </a:cubicBezTo>
                <a:cubicBezTo>
                  <a:pt x="11726" y="18055"/>
                  <a:pt x="11716" y="18051"/>
                  <a:pt x="11707" y="18048"/>
                </a:cubicBezTo>
                <a:cubicBezTo>
                  <a:pt x="11706" y="18048"/>
                  <a:pt x="11704" y="18048"/>
                  <a:pt x="11703" y="18047"/>
                </a:cubicBezTo>
                <a:cubicBezTo>
                  <a:pt x="11701" y="18047"/>
                  <a:pt x="11699" y="18047"/>
                  <a:pt x="11697" y="18046"/>
                </a:cubicBezTo>
                <a:cubicBezTo>
                  <a:pt x="11696" y="18046"/>
                  <a:pt x="11696" y="18045"/>
                  <a:pt x="11695" y="18045"/>
                </a:cubicBezTo>
                <a:lnTo>
                  <a:pt x="11951" y="17679"/>
                </a:lnTo>
                <a:close/>
                <a:moveTo>
                  <a:pt x="7071" y="17863"/>
                </a:moveTo>
                <a:cubicBezTo>
                  <a:pt x="7057" y="17897"/>
                  <a:pt x="7042" y="17920"/>
                  <a:pt x="7027" y="17943"/>
                </a:cubicBezTo>
                <a:cubicBezTo>
                  <a:pt x="7007" y="17975"/>
                  <a:pt x="6986" y="18009"/>
                  <a:pt x="6967" y="18068"/>
                </a:cubicBezTo>
                <a:cubicBezTo>
                  <a:pt x="6955" y="18103"/>
                  <a:pt x="6945" y="18143"/>
                  <a:pt x="6936" y="18182"/>
                </a:cubicBezTo>
                <a:cubicBezTo>
                  <a:pt x="6934" y="18192"/>
                  <a:pt x="6931" y="18198"/>
                  <a:pt x="6929" y="18207"/>
                </a:cubicBezTo>
                <a:cubicBezTo>
                  <a:pt x="6920" y="18160"/>
                  <a:pt x="6903" y="18123"/>
                  <a:pt x="6882" y="18096"/>
                </a:cubicBezTo>
                <a:lnTo>
                  <a:pt x="7071" y="17863"/>
                </a:lnTo>
                <a:close/>
                <a:moveTo>
                  <a:pt x="17554" y="17909"/>
                </a:moveTo>
                <a:cubicBezTo>
                  <a:pt x="17561" y="17928"/>
                  <a:pt x="17567" y="17948"/>
                  <a:pt x="17574" y="17969"/>
                </a:cubicBezTo>
                <a:cubicBezTo>
                  <a:pt x="17577" y="17976"/>
                  <a:pt x="17579" y="17983"/>
                  <a:pt x="17581" y="17990"/>
                </a:cubicBezTo>
                <a:cubicBezTo>
                  <a:pt x="17587" y="18007"/>
                  <a:pt x="17592" y="18023"/>
                  <a:pt x="17598" y="18040"/>
                </a:cubicBezTo>
                <a:cubicBezTo>
                  <a:pt x="17600" y="18045"/>
                  <a:pt x="17601" y="18049"/>
                  <a:pt x="17603" y="18053"/>
                </a:cubicBezTo>
                <a:cubicBezTo>
                  <a:pt x="17592" y="18066"/>
                  <a:pt x="17583" y="18082"/>
                  <a:pt x="17576" y="18101"/>
                </a:cubicBezTo>
                <a:lnTo>
                  <a:pt x="17541" y="17927"/>
                </a:lnTo>
                <a:cubicBezTo>
                  <a:pt x="17546" y="17923"/>
                  <a:pt x="17550" y="17915"/>
                  <a:pt x="17554" y="17909"/>
                </a:cubicBezTo>
                <a:close/>
                <a:moveTo>
                  <a:pt x="11228" y="18043"/>
                </a:moveTo>
                <a:lnTo>
                  <a:pt x="11613" y="18089"/>
                </a:lnTo>
                <a:cubicBezTo>
                  <a:pt x="11613" y="18089"/>
                  <a:pt x="11527" y="18217"/>
                  <a:pt x="11527" y="18217"/>
                </a:cubicBezTo>
                <a:cubicBezTo>
                  <a:pt x="11485" y="18224"/>
                  <a:pt x="11451" y="18255"/>
                  <a:pt x="11418" y="18285"/>
                </a:cubicBezTo>
                <a:cubicBezTo>
                  <a:pt x="11385" y="18315"/>
                  <a:pt x="11355" y="18343"/>
                  <a:pt x="11319" y="18343"/>
                </a:cubicBezTo>
                <a:cubicBezTo>
                  <a:pt x="11294" y="18343"/>
                  <a:pt x="11277" y="18321"/>
                  <a:pt x="11264" y="18272"/>
                </a:cubicBezTo>
                <a:cubicBezTo>
                  <a:pt x="11261" y="18263"/>
                  <a:pt x="11256" y="18257"/>
                  <a:pt x="11251" y="18257"/>
                </a:cubicBezTo>
                <a:cubicBezTo>
                  <a:pt x="11250" y="18257"/>
                  <a:pt x="11249" y="18258"/>
                  <a:pt x="11248" y="18258"/>
                </a:cubicBezTo>
                <a:cubicBezTo>
                  <a:pt x="11246" y="18259"/>
                  <a:pt x="11244" y="18260"/>
                  <a:pt x="11242" y="18261"/>
                </a:cubicBezTo>
                <a:cubicBezTo>
                  <a:pt x="11238" y="18198"/>
                  <a:pt x="11225" y="18136"/>
                  <a:pt x="11211" y="18097"/>
                </a:cubicBezTo>
                <a:cubicBezTo>
                  <a:pt x="11219" y="18079"/>
                  <a:pt x="11224" y="18061"/>
                  <a:pt x="11228" y="18043"/>
                </a:cubicBezTo>
                <a:close/>
                <a:moveTo>
                  <a:pt x="11672" y="18101"/>
                </a:moveTo>
                <a:lnTo>
                  <a:pt x="11729" y="18120"/>
                </a:lnTo>
                <a:lnTo>
                  <a:pt x="11772" y="18135"/>
                </a:lnTo>
                <a:cubicBezTo>
                  <a:pt x="11766" y="18142"/>
                  <a:pt x="11760" y="18148"/>
                  <a:pt x="11754" y="18154"/>
                </a:cubicBezTo>
                <a:cubicBezTo>
                  <a:pt x="11742" y="18165"/>
                  <a:pt x="11728" y="18168"/>
                  <a:pt x="11714" y="18171"/>
                </a:cubicBezTo>
                <a:cubicBezTo>
                  <a:pt x="11700" y="18174"/>
                  <a:pt x="11685" y="18176"/>
                  <a:pt x="11673" y="18188"/>
                </a:cubicBezTo>
                <a:lnTo>
                  <a:pt x="11672" y="18101"/>
                </a:lnTo>
                <a:close/>
                <a:moveTo>
                  <a:pt x="11642" y="18130"/>
                </a:moveTo>
                <a:lnTo>
                  <a:pt x="11642" y="18166"/>
                </a:lnTo>
                <a:lnTo>
                  <a:pt x="11644" y="18235"/>
                </a:lnTo>
                <a:cubicBezTo>
                  <a:pt x="11637" y="18238"/>
                  <a:pt x="11630" y="18243"/>
                  <a:pt x="11624" y="18247"/>
                </a:cubicBezTo>
                <a:cubicBezTo>
                  <a:pt x="11616" y="18252"/>
                  <a:pt x="11608" y="18257"/>
                  <a:pt x="11601" y="18257"/>
                </a:cubicBezTo>
                <a:cubicBezTo>
                  <a:pt x="11593" y="18257"/>
                  <a:pt x="11587" y="18250"/>
                  <a:pt x="11579" y="18241"/>
                </a:cubicBezTo>
                <a:cubicBezTo>
                  <a:pt x="11577" y="18239"/>
                  <a:pt x="11576" y="18237"/>
                  <a:pt x="11574" y="18235"/>
                </a:cubicBezTo>
                <a:cubicBezTo>
                  <a:pt x="11582" y="18224"/>
                  <a:pt x="11588" y="18214"/>
                  <a:pt x="11595" y="18205"/>
                </a:cubicBezTo>
                <a:cubicBezTo>
                  <a:pt x="11596" y="18202"/>
                  <a:pt x="11597" y="18200"/>
                  <a:pt x="11599" y="18198"/>
                </a:cubicBezTo>
                <a:cubicBezTo>
                  <a:pt x="11603" y="18191"/>
                  <a:pt x="11608" y="18184"/>
                  <a:pt x="11612" y="18178"/>
                </a:cubicBezTo>
                <a:cubicBezTo>
                  <a:pt x="11613" y="18175"/>
                  <a:pt x="11615" y="18173"/>
                  <a:pt x="11617" y="18171"/>
                </a:cubicBezTo>
                <a:cubicBezTo>
                  <a:pt x="11620" y="18165"/>
                  <a:pt x="11624" y="18159"/>
                  <a:pt x="11627" y="18154"/>
                </a:cubicBezTo>
                <a:cubicBezTo>
                  <a:pt x="11628" y="18152"/>
                  <a:pt x="11630" y="18151"/>
                  <a:pt x="11631" y="18149"/>
                </a:cubicBezTo>
                <a:cubicBezTo>
                  <a:pt x="11634" y="18143"/>
                  <a:pt x="11638" y="18137"/>
                  <a:pt x="11641" y="18132"/>
                </a:cubicBezTo>
                <a:cubicBezTo>
                  <a:pt x="11641" y="18132"/>
                  <a:pt x="11641" y="18131"/>
                  <a:pt x="11642" y="18130"/>
                </a:cubicBezTo>
                <a:close/>
                <a:moveTo>
                  <a:pt x="5896" y="18205"/>
                </a:moveTo>
                <a:cubicBezTo>
                  <a:pt x="5877" y="18205"/>
                  <a:pt x="5862" y="18236"/>
                  <a:pt x="5862" y="18273"/>
                </a:cubicBezTo>
                <a:cubicBezTo>
                  <a:pt x="5862" y="18311"/>
                  <a:pt x="5877" y="18341"/>
                  <a:pt x="5896" y="18341"/>
                </a:cubicBezTo>
                <a:cubicBezTo>
                  <a:pt x="5915" y="18341"/>
                  <a:pt x="5930" y="18311"/>
                  <a:pt x="5930" y="18273"/>
                </a:cubicBezTo>
                <a:cubicBezTo>
                  <a:pt x="5930" y="18236"/>
                  <a:pt x="5915" y="18205"/>
                  <a:pt x="5896" y="18205"/>
                </a:cubicBezTo>
                <a:close/>
                <a:moveTo>
                  <a:pt x="20534" y="18262"/>
                </a:moveTo>
                <a:cubicBezTo>
                  <a:pt x="20527" y="18268"/>
                  <a:pt x="20523" y="18281"/>
                  <a:pt x="20525" y="18296"/>
                </a:cubicBezTo>
                <a:cubicBezTo>
                  <a:pt x="20528" y="18320"/>
                  <a:pt x="20536" y="18359"/>
                  <a:pt x="20543" y="18396"/>
                </a:cubicBezTo>
                <a:cubicBezTo>
                  <a:pt x="20540" y="18402"/>
                  <a:pt x="20536" y="18406"/>
                  <a:pt x="20534" y="18414"/>
                </a:cubicBezTo>
                <a:cubicBezTo>
                  <a:pt x="20516" y="18473"/>
                  <a:pt x="20526" y="18550"/>
                  <a:pt x="20555" y="18585"/>
                </a:cubicBezTo>
                <a:cubicBezTo>
                  <a:pt x="20573" y="18605"/>
                  <a:pt x="20592" y="18605"/>
                  <a:pt x="20610" y="18590"/>
                </a:cubicBezTo>
                <a:cubicBezTo>
                  <a:pt x="20610" y="18621"/>
                  <a:pt x="20618" y="18640"/>
                  <a:pt x="20625" y="18656"/>
                </a:cubicBezTo>
                <a:cubicBezTo>
                  <a:pt x="20629" y="18665"/>
                  <a:pt x="20632" y="18672"/>
                  <a:pt x="20634" y="18681"/>
                </a:cubicBezTo>
                <a:cubicBezTo>
                  <a:pt x="20634" y="18683"/>
                  <a:pt x="20634" y="18685"/>
                  <a:pt x="20635" y="18686"/>
                </a:cubicBezTo>
                <a:cubicBezTo>
                  <a:pt x="20638" y="18706"/>
                  <a:pt x="20641" y="18732"/>
                  <a:pt x="20641" y="18751"/>
                </a:cubicBezTo>
                <a:cubicBezTo>
                  <a:pt x="20641" y="18823"/>
                  <a:pt x="20635" y="18866"/>
                  <a:pt x="20620" y="18896"/>
                </a:cubicBezTo>
                <a:cubicBezTo>
                  <a:pt x="20618" y="18900"/>
                  <a:pt x="20615" y="18905"/>
                  <a:pt x="20612" y="18909"/>
                </a:cubicBezTo>
                <a:cubicBezTo>
                  <a:pt x="20601" y="18921"/>
                  <a:pt x="20586" y="18939"/>
                  <a:pt x="20586" y="18986"/>
                </a:cubicBezTo>
                <a:cubicBezTo>
                  <a:pt x="20586" y="19045"/>
                  <a:pt x="20614" y="19062"/>
                  <a:pt x="20634" y="19074"/>
                </a:cubicBezTo>
                <a:cubicBezTo>
                  <a:pt x="20636" y="19076"/>
                  <a:pt x="20637" y="19077"/>
                  <a:pt x="20639" y="19078"/>
                </a:cubicBezTo>
                <a:cubicBezTo>
                  <a:pt x="20640" y="19104"/>
                  <a:pt x="20645" y="19128"/>
                  <a:pt x="20657" y="19142"/>
                </a:cubicBezTo>
                <a:cubicBezTo>
                  <a:pt x="20657" y="19142"/>
                  <a:pt x="20658" y="19141"/>
                  <a:pt x="20658" y="19142"/>
                </a:cubicBezTo>
                <a:cubicBezTo>
                  <a:pt x="20656" y="19147"/>
                  <a:pt x="20657" y="19152"/>
                  <a:pt x="20655" y="19158"/>
                </a:cubicBezTo>
                <a:cubicBezTo>
                  <a:pt x="20648" y="19178"/>
                  <a:pt x="20639" y="19201"/>
                  <a:pt x="20639" y="19236"/>
                </a:cubicBezTo>
                <a:cubicBezTo>
                  <a:pt x="20639" y="19245"/>
                  <a:pt x="20643" y="19251"/>
                  <a:pt x="20644" y="19258"/>
                </a:cubicBezTo>
                <a:cubicBezTo>
                  <a:pt x="20636" y="19265"/>
                  <a:pt x="20628" y="19274"/>
                  <a:pt x="20624" y="19290"/>
                </a:cubicBezTo>
                <a:cubicBezTo>
                  <a:pt x="20623" y="19292"/>
                  <a:pt x="20624" y="19294"/>
                  <a:pt x="20623" y="19296"/>
                </a:cubicBezTo>
                <a:cubicBezTo>
                  <a:pt x="20624" y="19283"/>
                  <a:pt x="20621" y="19270"/>
                  <a:pt x="20616" y="19264"/>
                </a:cubicBezTo>
                <a:cubicBezTo>
                  <a:pt x="20614" y="19263"/>
                  <a:pt x="20612" y="19254"/>
                  <a:pt x="20612" y="19227"/>
                </a:cubicBezTo>
                <a:cubicBezTo>
                  <a:pt x="20612" y="19210"/>
                  <a:pt x="20605" y="19197"/>
                  <a:pt x="20596" y="19197"/>
                </a:cubicBezTo>
                <a:cubicBezTo>
                  <a:pt x="20596" y="19197"/>
                  <a:pt x="20595" y="19197"/>
                  <a:pt x="20595" y="19197"/>
                </a:cubicBezTo>
                <a:cubicBezTo>
                  <a:pt x="20593" y="19191"/>
                  <a:pt x="20591" y="19186"/>
                  <a:pt x="20588" y="19183"/>
                </a:cubicBezTo>
                <a:cubicBezTo>
                  <a:pt x="20584" y="19179"/>
                  <a:pt x="20579" y="19180"/>
                  <a:pt x="20575" y="19183"/>
                </a:cubicBezTo>
                <a:cubicBezTo>
                  <a:pt x="20570" y="19187"/>
                  <a:pt x="20565" y="19194"/>
                  <a:pt x="20560" y="19201"/>
                </a:cubicBezTo>
                <a:cubicBezTo>
                  <a:pt x="20557" y="19207"/>
                  <a:pt x="20553" y="19214"/>
                  <a:pt x="20549" y="19217"/>
                </a:cubicBezTo>
                <a:cubicBezTo>
                  <a:pt x="20549" y="19211"/>
                  <a:pt x="20549" y="19205"/>
                  <a:pt x="20549" y="19200"/>
                </a:cubicBezTo>
                <a:lnTo>
                  <a:pt x="20550" y="19189"/>
                </a:lnTo>
                <a:cubicBezTo>
                  <a:pt x="20550" y="19172"/>
                  <a:pt x="20545" y="19159"/>
                  <a:pt x="20536" y="19159"/>
                </a:cubicBezTo>
                <a:cubicBezTo>
                  <a:pt x="20536" y="19159"/>
                  <a:pt x="20535" y="19155"/>
                  <a:pt x="20535" y="19147"/>
                </a:cubicBezTo>
                <a:cubicBezTo>
                  <a:pt x="20535" y="19136"/>
                  <a:pt x="20532" y="19128"/>
                  <a:pt x="20528" y="19122"/>
                </a:cubicBezTo>
                <a:cubicBezTo>
                  <a:pt x="20524" y="19117"/>
                  <a:pt x="20518" y="19116"/>
                  <a:pt x="20514" y="19120"/>
                </a:cubicBezTo>
                <a:cubicBezTo>
                  <a:pt x="20489" y="19142"/>
                  <a:pt x="20454" y="19212"/>
                  <a:pt x="20454" y="19286"/>
                </a:cubicBezTo>
                <a:cubicBezTo>
                  <a:pt x="20439" y="19293"/>
                  <a:pt x="20425" y="19307"/>
                  <a:pt x="20415" y="19348"/>
                </a:cubicBezTo>
                <a:cubicBezTo>
                  <a:pt x="20413" y="19361"/>
                  <a:pt x="20412" y="19380"/>
                  <a:pt x="20411" y="19393"/>
                </a:cubicBezTo>
                <a:cubicBezTo>
                  <a:pt x="20400" y="19429"/>
                  <a:pt x="20385" y="19470"/>
                  <a:pt x="20380" y="19476"/>
                </a:cubicBezTo>
                <a:cubicBezTo>
                  <a:pt x="20372" y="19484"/>
                  <a:pt x="20364" y="19495"/>
                  <a:pt x="20354" y="19510"/>
                </a:cubicBezTo>
                <a:cubicBezTo>
                  <a:pt x="20349" y="19519"/>
                  <a:pt x="20344" y="19529"/>
                  <a:pt x="20338" y="19538"/>
                </a:cubicBezTo>
                <a:cubicBezTo>
                  <a:pt x="20317" y="19576"/>
                  <a:pt x="20294" y="19614"/>
                  <a:pt x="20267" y="19614"/>
                </a:cubicBezTo>
                <a:cubicBezTo>
                  <a:pt x="20240" y="19614"/>
                  <a:pt x="20226" y="19667"/>
                  <a:pt x="20221" y="19683"/>
                </a:cubicBezTo>
                <a:cubicBezTo>
                  <a:pt x="20215" y="19700"/>
                  <a:pt x="20205" y="19719"/>
                  <a:pt x="20193" y="19740"/>
                </a:cubicBezTo>
                <a:cubicBezTo>
                  <a:pt x="20181" y="19762"/>
                  <a:pt x="20166" y="19787"/>
                  <a:pt x="20155" y="19817"/>
                </a:cubicBezTo>
                <a:cubicBezTo>
                  <a:pt x="20141" y="19855"/>
                  <a:pt x="20134" y="19894"/>
                  <a:pt x="20134" y="19933"/>
                </a:cubicBezTo>
                <a:cubicBezTo>
                  <a:pt x="20134" y="19954"/>
                  <a:pt x="20143" y="19971"/>
                  <a:pt x="20152" y="19978"/>
                </a:cubicBezTo>
                <a:cubicBezTo>
                  <a:pt x="20169" y="20010"/>
                  <a:pt x="20203" y="20035"/>
                  <a:pt x="20228" y="20050"/>
                </a:cubicBezTo>
                <a:cubicBezTo>
                  <a:pt x="20229" y="20090"/>
                  <a:pt x="20239" y="20129"/>
                  <a:pt x="20257" y="20151"/>
                </a:cubicBezTo>
                <a:cubicBezTo>
                  <a:pt x="20287" y="20186"/>
                  <a:pt x="20325" y="20167"/>
                  <a:pt x="20342" y="20108"/>
                </a:cubicBezTo>
                <a:cubicBezTo>
                  <a:pt x="20348" y="20088"/>
                  <a:pt x="20350" y="20066"/>
                  <a:pt x="20350" y="20044"/>
                </a:cubicBezTo>
                <a:cubicBezTo>
                  <a:pt x="20354" y="20038"/>
                  <a:pt x="20358" y="20035"/>
                  <a:pt x="20363" y="20028"/>
                </a:cubicBezTo>
                <a:cubicBezTo>
                  <a:pt x="20366" y="20022"/>
                  <a:pt x="20370" y="20016"/>
                  <a:pt x="20373" y="20010"/>
                </a:cubicBezTo>
                <a:cubicBezTo>
                  <a:pt x="20381" y="19998"/>
                  <a:pt x="20388" y="19986"/>
                  <a:pt x="20393" y="19975"/>
                </a:cubicBezTo>
                <a:cubicBezTo>
                  <a:pt x="20394" y="19973"/>
                  <a:pt x="20395" y="19970"/>
                  <a:pt x="20396" y="19967"/>
                </a:cubicBezTo>
                <a:cubicBezTo>
                  <a:pt x="20401" y="19944"/>
                  <a:pt x="20445" y="19761"/>
                  <a:pt x="20459" y="19685"/>
                </a:cubicBezTo>
                <a:cubicBezTo>
                  <a:pt x="20469" y="19683"/>
                  <a:pt x="20484" y="19678"/>
                  <a:pt x="20498" y="19673"/>
                </a:cubicBezTo>
                <a:cubicBezTo>
                  <a:pt x="20508" y="19670"/>
                  <a:pt x="20523" y="19665"/>
                  <a:pt x="20526" y="19665"/>
                </a:cubicBezTo>
                <a:cubicBezTo>
                  <a:pt x="20533" y="19665"/>
                  <a:pt x="20539" y="19655"/>
                  <a:pt x="20541" y="19641"/>
                </a:cubicBezTo>
                <a:cubicBezTo>
                  <a:pt x="20542" y="19624"/>
                  <a:pt x="20541" y="19613"/>
                  <a:pt x="20541" y="19600"/>
                </a:cubicBezTo>
                <a:cubicBezTo>
                  <a:pt x="20543" y="19595"/>
                  <a:pt x="20545" y="19592"/>
                  <a:pt x="20547" y="19586"/>
                </a:cubicBezTo>
                <a:cubicBezTo>
                  <a:pt x="20554" y="19562"/>
                  <a:pt x="20555" y="19535"/>
                  <a:pt x="20554" y="19509"/>
                </a:cubicBezTo>
                <a:cubicBezTo>
                  <a:pt x="20589" y="19461"/>
                  <a:pt x="20617" y="19343"/>
                  <a:pt x="20623" y="19302"/>
                </a:cubicBezTo>
                <a:cubicBezTo>
                  <a:pt x="20615" y="19339"/>
                  <a:pt x="20621" y="19382"/>
                  <a:pt x="20638" y="19403"/>
                </a:cubicBezTo>
                <a:cubicBezTo>
                  <a:pt x="20658" y="19426"/>
                  <a:pt x="20683" y="19413"/>
                  <a:pt x="20695" y="19374"/>
                </a:cubicBezTo>
                <a:cubicBezTo>
                  <a:pt x="20700" y="19356"/>
                  <a:pt x="20700" y="19336"/>
                  <a:pt x="20698" y="19317"/>
                </a:cubicBezTo>
                <a:cubicBezTo>
                  <a:pt x="20733" y="19305"/>
                  <a:pt x="20751" y="19248"/>
                  <a:pt x="20765" y="19199"/>
                </a:cubicBezTo>
                <a:cubicBezTo>
                  <a:pt x="20769" y="19186"/>
                  <a:pt x="20773" y="19172"/>
                  <a:pt x="20777" y="19159"/>
                </a:cubicBezTo>
                <a:cubicBezTo>
                  <a:pt x="20778" y="19157"/>
                  <a:pt x="20780" y="19153"/>
                  <a:pt x="20782" y="19148"/>
                </a:cubicBezTo>
                <a:cubicBezTo>
                  <a:pt x="20796" y="19118"/>
                  <a:pt x="20809" y="19089"/>
                  <a:pt x="20809" y="19058"/>
                </a:cubicBezTo>
                <a:cubicBezTo>
                  <a:pt x="20809" y="19044"/>
                  <a:pt x="20806" y="19032"/>
                  <a:pt x="20803" y="19022"/>
                </a:cubicBezTo>
                <a:cubicBezTo>
                  <a:pt x="20802" y="19019"/>
                  <a:pt x="20801" y="19014"/>
                  <a:pt x="20800" y="19016"/>
                </a:cubicBezTo>
                <a:cubicBezTo>
                  <a:pt x="20800" y="19011"/>
                  <a:pt x="20804" y="19001"/>
                  <a:pt x="20830" y="18990"/>
                </a:cubicBezTo>
                <a:cubicBezTo>
                  <a:pt x="20831" y="18990"/>
                  <a:pt x="20831" y="18989"/>
                  <a:pt x="20832" y="18989"/>
                </a:cubicBezTo>
                <a:cubicBezTo>
                  <a:pt x="20835" y="18996"/>
                  <a:pt x="20840" y="18999"/>
                  <a:pt x="20844" y="18999"/>
                </a:cubicBezTo>
                <a:cubicBezTo>
                  <a:pt x="20849" y="18998"/>
                  <a:pt x="20853" y="18994"/>
                  <a:pt x="20856" y="18986"/>
                </a:cubicBezTo>
                <a:cubicBezTo>
                  <a:pt x="20866" y="18953"/>
                  <a:pt x="20870" y="18917"/>
                  <a:pt x="20874" y="18882"/>
                </a:cubicBezTo>
                <a:cubicBezTo>
                  <a:pt x="20878" y="18843"/>
                  <a:pt x="20882" y="18805"/>
                  <a:pt x="20896" y="18778"/>
                </a:cubicBezTo>
                <a:cubicBezTo>
                  <a:pt x="20901" y="18768"/>
                  <a:pt x="20902" y="18753"/>
                  <a:pt x="20898" y="18741"/>
                </a:cubicBezTo>
                <a:cubicBezTo>
                  <a:pt x="20894" y="18729"/>
                  <a:pt x="20884" y="18701"/>
                  <a:pt x="20869" y="18701"/>
                </a:cubicBezTo>
                <a:cubicBezTo>
                  <a:pt x="20848" y="18701"/>
                  <a:pt x="20837" y="18715"/>
                  <a:pt x="20828" y="18726"/>
                </a:cubicBezTo>
                <a:cubicBezTo>
                  <a:pt x="20820" y="18736"/>
                  <a:pt x="20813" y="18743"/>
                  <a:pt x="20796" y="18743"/>
                </a:cubicBezTo>
                <a:cubicBezTo>
                  <a:pt x="20754" y="18743"/>
                  <a:pt x="20732" y="18695"/>
                  <a:pt x="20732" y="18599"/>
                </a:cubicBezTo>
                <a:cubicBezTo>
                  <a:pt x="20732" y="18582"/>
                  <a:pt x="20726" y="18568"/>
                  <a:pt x="20718" y="18568"/>
                </a:cubicBezTo>
                <a:lnTo>
                  <a:pt x="20705" y="18568"/>
                </a:lnTo>
                <a:cubicBezTo>
                  <a:pt x="20693" y="18568"/>
                  <a:pt x="20683" y="18581"/>
                  <a:pt x="20677" y="18601"/>
                </a:cubicBezTo>
                <a:cubicBezTo>
                  <a:pt x="20667" y="18573"/>
                  <a:pt x="20655" y="18525"/>
                  <a:pt x="20652" y="18509"/>
                </a:cubicBezTo>
                <a:cubicBezTo>
                  <a:pt x="20654" y="18504"/>
                  <a:pt x="20658" y="18497"/>
                  <a:pt x="20660" y="18486"/>
                </a:cubicBezTo>
                <a:cubicBezTo>
                  <a:pt x="20662" y="18471"/>
                  <a:pt x="20659" y="18455"/>
                  <a:pt x="20652" y="18448"/>
                </a:cubicBezTo>
                <a:cubicBezTo>
                  <a:pt x="20650" y="18446"/>
                  <a:pt x="20648" y="18441"/>
                  <a:pt x="20645" y="18428"/>
                </a:cubicBezTo>
                <a:cubicBezTo>
                  <a:pt x="20643" y="18421"/>
                  <a:pt x="20639" y="18412"/>
                  <a:pt x="20637" y="18404"/>
                </a:cubicBezTo>
                <a:cubicBezTo>
                  <a:pt x="20634" y="18398"/>
                  <a:pt x="20634" y="18392"/>
                  <a:pt x="20631" y="18386"/>
                </a:cubicBezTo>
                <a:cubicBezTo>
                  <a:pt x="20621" y="18366"/>
                  <a:pt x="20608" y="18353"/>
                  <a:pt x="20596" y="18341"/>
                </a:cubicBezTo>
                <a:cubicBezTo>
                  <a:pt x="20580" y="18324"/>
                  <a:pt x="20564" y="18309"/>
                  <a:pt x="20552" y="18272"/>
                </a:cubicBezTo>
                <a:cubicBezTo>
                  <a:pt x="20548" y="18260"/>
                  <a:pt x="20540" y="18256"/>
                  <a:pt x="20534" y="18262"/>
                </a:cubicBezTo>
                <a:close/>
                <a:moveTo>
                  <a:pt x="18103" y="18279"/>
                </a:moveTo>
                <a:cubicBezTo>
                  <a:pt x="18084" y="18279"/>
                  <a:pt x="18069" y="18310"/>
                  <a:pt x="18069" y="18348"/>
                </a:cubicBezTo>
                <a:cubicBezTo>
                  <a:pt x="18069" y="18386"/>
                  <a:pt x="18084" y="18416"/>
                  <a:pt x="18103" y="18416"/>
                </a:cubicBezTo>
                <a:cubicBezTo>
                  <a:pt x="18122" y="18416"/>
                  <a:pt x="18137" y="18386"/>
                  <a:pt x="18137" y="18348"/>
                </a:cubicBezTo>
                <a:cubicBezTo>
                  <a:pt x="18137" y="18310"/>
                  <a:pt x="18122" y="18279"/>
                  <a:pt x="18103" y="18279"/>
                </a:cubicBezTo>
                <a:close/>
                <a:moveTo>
                  <a:pt x="6701" y="18319"/>
                </a:moveTo>
                <a:cubicBezTo>
                  <a:pt x="6702" y="18324"/>
                  <a:pt x="6703" y="18330"/>
                  <a:pt x="6703" y="18335"/>
                </a:cubicBezTo>
                <a:cubicBezTo>
                  <a:pt x="6700" y="18333"/>
                  <a:pt x="6697" y="18332"/>
                  <a:pt x="6693" y="18329"/>
                </a:cubicBezTo>
                <a:lnTo>
                  <a:pt x="6701" y="18319"/>
                </a:lnTo>
                <a:close/>
                <a:moveTo>
                  <a:pt x="18450" y="18332"/>
                </a:moveTo>
                <a:cubicBezTo>
                  <a:pt x="18451" y="18337"/>
                  <a:pt x="18451" y="18343"/>
                  <a:pt x="18451" y="18350"/>
                </a:cubicBezTo>
                <a:cubicBezTo>
                  <a:pt x="18451" y="18356"/>
                  <a:pt x="18450" y="18358"/>
                  <a:pt x="18449" y="18363"/>
                </a:cubicBezTo>
                <a:cubicBezTo>
                  <a:pt x="18446" y="18360"/>
                  <a:pt x="18443" y="18355"/>
                  <a:pt x="18440" y="18355"/>
                </a:cubicBezTo>
                <a:cubicBezTo>
                  <a:pt x="18442" y="18347"/>
                  <a:pt x="18445" y="18337"/>
                  <a:pt x="18447" y="18335"/>
                </a:cubicBezTo>
                <a:cubicBezTo>
                  <a:pt x="18448" y="18334"/>
                  <a:pt x="18449" y="18333"/>
                  <a:pt x="18450" y="18332"/>
                </a:cubicBezTo>
                <a:close/>
                <a:moveTo>
                  <a:pt x="6625" y="18413"/>
                </a:moveTo>
                <a:cubicBezTo>
                  <a:pt x="6631" y="18422"/>
                  <a:pt x="6637" y="18429"/>
                  <a:pt x="6642" y="18434"/>
                </a:cubicBezTo>
                <a:cubicBezTo>
                  <a:pt x="6644" y="18437"/>
                  <a:pt x="6647" y="18440"/>
                  <a:pt x="6648" y="18441"/>
                </a:cubicBezTo>
                <a:cubicBezTo>
                  <a:pt x="6657" y="18459"/>
                  <a:pt x="6660" y="18483"/>
                  <a:pt x="6664" y="18514"/>
                </a:cubicBezTo>
                <a:cubicBezTo>
                  <a:pt x="6666" y="18529"/>
                  <a:pt x="6668" y="18546"/>
                  <a:pt x="6670" y="18560"/>
                </a:cubicBezTo>
                <a:cubicBezTo>
                  <a:pt x="6675" y="18594"/>
                  <a:pt x="6688" y="18611"/>
                  <a:pt x="6697" y="18623"/>
                </a:cubicBezTo>
                <a:cubicBezTo>
                  <a:pt x="6707" y="18635"/>
                  <a:pt x="6710" y="18639"/>
                  <a:pt x="6710" y="18648"/>
                </a:cubicBezTo>
                <a:cubicBezTo>
                  <a:pt x="6710" y="18695"/>
                  <a:pt x="6709" y="18716"/>
                  <a:pt x="6701" y="18742"/>
                </a:cubicBezTo>
                <a:cubicBezTo>
                  <a:pt x="6685" y="18792"/>
                  <a:pt x="6673" y="18817"/>
                  <a:pt x="6656" y="18852"/>
                </a:cubicBezTo>
                <a:lnTo>
                  <a:pt x="6648" y="18867"/>
                </a:lnTo>
                <a:cubicBezTo>
                  <a:pt x="6628" y="18906"/>
                  <a:pt x="6606" y="18913"/>
                  <a:pt x="6577" y="18922"/>
                </a:cubicBezTo>
                <a:cubicBezTo>
                  <a:pt x="6561" y="18927"/>
                  <a:pt x="6542" y="18932"/>
                  <a:pt x="6523" y="18945"/>
                </a:cubicBezTo>
                <a:cubicBezTo>
                  <a:pt x="6513" y="18951"/>
                  <a:pt x="6491" y="18949"/>
                  <a:pt x="6470" y="18945"/>
                </a:cubicBezTo>
                <a:cubicBezTo>
                  <a:pt x="6458" y="18943"/>
                  <a:pt x="6446" y="18940"/>
                  <a:pt x="6435" y="18940"/>
                </a:cubicBezTo>
                <a:cubicBezTo>
                  <a:pt x="6422" y="18940"/>
                  <a:pt x="6405" y="18943"/>
                  <a:pt x="6394" y="18965"/>
                </a:cubicBezTo>
                <a:cubicBezTo>
                  <a:pt x="6383" y="18986"/>
                  <a:pt x="6378" y="19014"/>
                  <a:pt x="6376" y="19043"/>
                </a:cubicBezTo>
                <a:lnTo>
                  <a:pt x="6222" y="18911"/>
                </a:lnTo>
                <a:lnTo>
                  <a:pt x="6250" y="18877"/>
                </a:lnTo>
                <a:lnTo>
                  <a:pt x="6452" y="18628"/>
                </a:lnTo>
                <a:cubicBezTo>
                  <a:pt x="6461" y="18648"/>
                  <a:pt x="6473" y="18663"/>
                  <a:pt x="6488" y="18663"/>
                </a:cubicBezTo>
                <a:cubicBezTo>
                  <a:pt x="6515" y="18663"/>
                  <a:pt x="6537" y="18619"/>
                  <a:pt x="6537" y="18565"/>
                </a:cubicBezTo>
                <a:cubicBezTo>
                  <a:pt x="6537" y="18552"/>
                  <a:pt x="6532" y="18543"/>
                  <a:pt x="6530" y="18531"/>
                </a:cubicBezTo>
                <a:lnTo>
                  <a:pt x="6625" y="18413"/>
                </a:lnTo>
                <a:close/>
                <a:moveTo>
                  <a:pt x="18404" y="18424"/>
                </a:moveTo>
                <a:cubicBezTo>
                  <a:pt x="18404" y="18426"/>
                  <a:pt x="18405" y="18427"/>
                  <a:pt x="18405" y="18428"/>
                </a:cubicBezTo>
                <a:cubicBezTo>
                  <a:pt x="18404" y="18428"/>
                  <a:pt x="18403" y="18427"/>
                  <a:pt x="18402" y="18426"/>
                </a:cubicBezTo>
                <a:cubicBezTo>
                  <a:pt x="18403" y="18426"/>
                  <a:pt x="18403" y="18424"/>
                  <a:pt x="18404" y="18424"/>
                </a:cubicBezTo>
                <a:close/>
                <a:moveTo>
                  <a:pt x="19126" y="18503"/>
                </a:moveTo>
                <a:cubicBezTo>
                  <a:pt x="19108" y="18503"/>
                  <a:pt x="19092" y="18534"/>
                  <a:pt x="19092" y="18572"/>
                </a:cubicBezTo>
                <a:cubicBezTo>
                  <a:pt x="19092" y="18609"/>
                  <a:pt x="19108" y="18639"/>
                  <a:pt x="19126" y="18639"/>
                </a:cubicBezTo>
                <a:cubicBezTo>
                  <a:pt x="19145" y="18639"/>
                  <a:pt x="19160" y="18609"/>
                  <a:pt x="19160" y="18572"/>
                </a:cubicBezTo>
                <a:cubicBezTo>
                  <a:pt x="19160" y="18534"/>
                  <a:pt x="19145" y="18503"/>
                  <a:pt x="19126" y="18503"/>
                </a:cubicBezTo>
                <a:close/>
                <a:moveTo>
                  <a:pt x="20639" y="18593"/>
                </a:moveTo>
                <a:cubicBezTo>
                  <a:pt x="20641" y="18598"/>
                  <a:pt x="20643" y="18604"/>
                  <a:pt x="20644" y="18609"/>
                </a:cubicBezTo>
                <a:cubicBezTo>
                  <a:pt x="20641" y="18602"/>
                  <a:pt x="20640" y="18598"/>
                  <a:pt x="20639" y="18593"/>
                </a:cubicBezTo>
                <a:close/>
                <a:moveTo>
                  <a:pt x="5781" y="18610"/>
                </a:moveTo>
                <a:lnTo>
                  <a:pt x="6054" y="18841"/>
                </a:lnTo>
                <a:cubicBezTo>
                  <a:pt x="6039" y="18868"/>
                  <a:pt x="6029" y="18905"/>
                  <a:pt x="6029" y="18948"/>
                </a:cubicBezTo>
                <a:cubicBezTo>
                  <a:pt x="6029" y="19029"/>
                  <a:pt x="6062" y="19094"/>
                  <a:pt x="6103" y="19094"/>
                </a:cubicBezTo>
                <a:cubicBezTo>
                  <a:pt x="6143" y="19094"/>
                  <a:pt x="6175" y="19029"/>
                  <a:pt x="6175" y="18948"/>
                </a:cubicBezTo>
                <a:cubicBezTo>
                  <a:pt x="6175" y="18947"/>
                  <a:pt x="6175" y="18945"/>
                  <a:pt x="6175" y="18944"/>
                </a:cubicBezTo>
                <a:lnTo>
                  <a:pt x="6374" y="19112"/>
                </a:lnTo>
                <a:cubicBezTo>
                  <a:pt x="6374" y="19116"/>
                  <a:pt x="6374" y="19121"/>
                  <a:pt x="6374" y="19126"/>
                </a:cubicBezTo>
                <a:cubicBezTo>
                  <a:pt x="6374" y="19155"/>
                  <a:pt x="6373" y="19182"/>
                  <a:pt x="6370" y="19203"/>
                </a:cubicBezTo>
                <a:cubicBezTo>
                  <a:pt x="6366" y="19145"/>
                  <a:pt x="6342" y="19100"/>
                  <a:pt x="6312" y="19100"/>
                </a:cubicBezTo>
                <a:cubicBezTo>
                  <a:pt x="6279" y="19100"/>
                  <a:pt x="6253" y="19153"/>
                  <a:pt x="6253" y="19219"/>
                </a:cubicBezTo>
                <a:cubicBezTo>
                  <a:pt x="6253" y="19225"/>
                  <a:pt x="6254" y="19231"/>
                  <a:pt x="6254" y="19237"/>
                </a:cubicBezTo>
                <a:cubicBezTo>
                  <a:pt x="6249" y="19236"/>
                  <a:pt x="6245" y="19233"/>
                  <a:pt x="6239" y="19233"/>
                </a:cubicBezTo>
                <a:cubicBezTo>
                  <a:pt x="6217" y="19233"/>
                  <a:pt x="6203" y="19274"/>
                  <a:pt x="6203" y="19313"/>
                </a:cubicBezTo>
                <a:cubicBezTo>
                  <a:pt x="6203" y="19360"/>
                  <a:pt x="6217" y="19440"/>
                  <a:pt x="6236" y="19483"/>
                </a:cubicBezTo>
                <a:cubicBezTo>
                  <a:pt x="6227" y="19483"/>
                  <a:pt x="6220" y="19496"/>
                  <a:pt x="6220" y="19513"/>
                </a:cubicBezTo>
                <a:cubicBezTo>
                  <a:pt x="6220" y="19550"/>
                  <a:pt x="6227" y="19572"/>
                  <a:pt x="6235" y="19585"/>
                </a:cubicBezTo>
                <a:cubicBezTo>
                  <a:pt x="6212" y="19643"/>
                  <a:pt x="6206" y="19702"/>
                  <a:pt x="6199" y="19769"/>
                </a:cubicBezTo>
                <a:cubicBezTo>
                  <a:pt x="6197" y="19788"/>
                  <a:pt x="6195" y="19808"/>
                  <a:pt x="6192" y="19831"/>
                </a:cubicBezTo>
                <a:cubicBezTo>
                  <a:pt x="6190" y="19852"/>
                  <a:pt x="6163" y="19858"/>
                  <a:pt x="6153" y="19860"/>
                </a:cubicBezTo>
                <a:lnTo>
                  <a:pt x="6146" y="19862"/>
                </a:lnTo>
                <a:cubicBezTo>
                  <a:pt x="6103" y="19884"/>
                  <a:pt x="6071" y="19958"/>
                  <a:pt x="6071" y="20040"/>
                </a:cubicBezTo>
                <a:cubicBezTo>
                  <a:pt x="6071" y="20096"/>
                  <a:pt x="6081" y="20130"/>
                  <a:pt x="6094" y="20155"/>
                </a:cubicBezTo>
                <a:cubicBezTo>
                  <a:pt x="6067" y="20176"/>
                  <a:pt x="6048" y="20229"/>
                  <a:pt x="6048" y="20291"/>
                </a:cubicBezTo>
                <a:cubicBezTo>
                  <a:pt x="6048" y="20359"/>
                  <a:pt x="6071" y="20412"/>
                  <a:pt x="6102" y="20429"/>
                </a:cubicBezTo>
                <a:cubicBezTo>
                  <a:pt x="6097" y="20436"/>
                  <a:pt x="6093" y="20441"/>
                  <a:pt x="6089" y="20449"/>
                </a:cubicBezTo>
                <a:cubicBezTo>
                  <a:pt x="6075" y="20475"/>
                  <a:pt x="6073" y="20508"/>
                  <a:pt x="6070" y="20540"/>
                </a:cubicBezTo>
                <a:cubicBezTo>
                  <a:pt x="6068" y="20560"/>
                  <a:pt x="6067" y="20582"/>
                  <a:pt x="6062" y="20601"/>
                </a:cubicBezTo>
                <a:cubicBezTo>
                  <a:pt x="6057" y="20622"/>
                  <a:pt x="6050" y="20626"/>
                  <a:pt x="6035" y="20632"/>
                </a:cubicBezTo>
                <a:cubicBezTo>
                  <a:pt x="6023" y="20637"/>
                  <a:pt x="6009" y="20643"/>
                  <a:pt x="5997" y="20666"/>
                </a:cubicBezTo>
                <a:cubicBezTo>
                  <a:pt x="5969" y="20722"/>
                  <a:pt x="5957" y="20787"/>
                  <a:pt x="5957" y="20878"/>
                </a:cubicBezTo>
                <a:cubicBezTo>
                  <a:pt x="5957" y="20930"/>
                  <a:pt x="5977" y="20991"/>
                  <a:pt x="5998" y="21004"/>
                </a:cubicBezTo>
                <a:cubicBezTo>
                  <a:pt x="5998" y="21004"/>
                  <a:pt x="5999" y="21005"/>
                  <a:pt x="6000" y="21006"/>
                </a:cubicBezTo>
                <a:lnTo>
                  <a:pt x="5801" y="21227"/>
                </a:lnTo>
                <a:lnTo>
                  <a:pt x="5791" y="21239"/>
                </a:lnTo>
                <a:cubicBezTo>
                  <a:pt x="5792" y="21231"/>
                  <a:pt x="5796" y="21225"/>
                  <a:pt x="5796" y="21216"/>
                </a:cubicBezTo>
                <a:cubicBezTo>
                  <a:pt x="5796" y="21160"/>
                  <a:pt x="5773" y="21114"/>
                  <a:pt x="5745" y="21114"/>
                </a:cubicBezTo>
                <a:cubicBezTo>
                  <a:pt x="5725" y="21114"/>
                  <a:pt x="5711" y="21141"/>
                  <a:pt x="5702" y="21175"/>
                </a:cubicBezTo>
                <a:cubicBezTo>
                  <a:pt x="5701" y="21172"/>
                  <a:pt x="5699" y="21170"/>
                  <a:pt x="5698" y="21167"/>
                </a:cubicBezTo>
                <a:cubicBezTo>
                  <a:pt x="5694" y="21158"/>
                  <a:pt x="5690" y="21151"/>
                  <a:pt x="5686" y="21142"/>
                </a:cubicBezTo>
                <a:cubicBezTo>
                  <a:pt x="5684" y="21139"/>
                  <a:pt x="5682" y="21134"/>
                  <a:pt x="5679" y="21130"/>
                </a:cubicBezTo>
                <a:cubicBezTo>
                  <a:pt x="5678" y="21127"/>
                  <a:pt x="5675" y="21122"/>
                  <a:pt x="5673" y="21118"/>
                </a:cubicBezTo>
                <a:cubicBezTo>
                  <a:pt x="5676" y="21115"/>
                  <a:pt x="5679" y="21113"/>
                  <a:pt x="5682" y="21111"/>
                </a:cubicBezTo>
                <a:cubicBezTo>
                  <a:pt x="5692" y="21101"/>
                  <a:pt x="5709" y="21088"/>
                  <a:pt x="5711" y="21051"/>
                </a:cubicBezTo>
                <a:cubicBezTo>
                  <a:pt x="5711" y="21037"/>
                  <a:pt x="5707" y="21025"/>
                  <a:pt x="5701" y="21020"/>
                </a:cubicBezTo>
                <a:cubicBezTo>
                  <a:pt x="5700" y="21020"/>
                  <a:pt x="5700" y="21018"/>
                  <a:pt x="5699" y="21018"/>
                </a:cubicBezTo>
                <a:cubicBezTo>
                  <a:pt x="5704" y="20999"/>
                  <a:pt x="5709" y="20978"/>
                  <a:pt x="5709" y="20955"/>
                </a:cubicBezTo>
                <a:cubicBezTo>
                  <a:pt x="5709" y="20886"/>
                  <a:pt x="5688" y="20857"/>
                  <a:pt x="5672" y="20836"/>
                </a:cubicBezTo>
                <a:cubicBezTo>
                  <a:pt x="5658" y="20817"/>
                  <a:pt x="5651" y="20806"/>
                  <a:pt x="5651" y="20780"/>
                </a:cubicBezTo>
                <a:lnTo>
                  <a:pt x="5651" y="20762"/>
                </a:lnTo>
                <a:cubicBezTo>
                  <a:pt x="5705" y="20740"/>
                  <a:pt x="5747" y="20648"/>
                  <a:pt x="5747" y="20533"/>
                </a:cubicBezTo>
                <a:cubicBezTo>
                  <a:pt x="5747" y="20419"/>
                  <a:pt x="5706" y="20329"/>
                  <a:pt x="5654" y="20304"/>
                </a:cubicBezTo>
                <a:cubicBezTo>
                  <a:pt x="5662" y="20284"/>
                  <a:pt x="5669" y="20262"/>
                  <a:pt x="5669" y="20232"/>
                </a:cubicBezTo>
                <a:cubicBezTo>
                  <a:pt x="5669" y="20207"/>
                  <a:pt x="5661" y="20178"/>
                  <a:pt x="5653" y="20146"/>
                </a:cubicBezTo>
                <a:cubicBezTo>
                  <a:pt x="5647" y="20123"/>
                  <a:pt x="5641" y="20098"/>
                  <a:pt x="5639" y="20080"/>
                </a:cubicBezTo>
                <a:lnTo>
                  <a:pt x="5639" y="20056"/>
                </a:lnTo>
                <a:cubicBezTo>
                  <a:pt x="5640" y="20051"/>
                  <a:pt x="5641" y="20045"/>
                  <a:pt x="5641" y="20040"/>
                </a:cubicBezTo>
                <a:cubicBezTo>
                  <a:pt x="5641" y="20029"/>
                  <a:pt x="5644" y="20023"/>
                  <a:pt x="5645" y="20023"/>
                </a:cubicBezTo>
                <a:cubicBezTo>
                  <a:pt x="5656" y="20023"/>
                  <a:pt x="5658" y="20029"/>
                  <a:pt x="5662" y="20048"/>
                </a:cubicBezTo>
                <a:cubicBezTo>
                  <a:pt x="5667" y="20067"/>
                  <a:pt x="5676" y="20100"/>
                  <a:pt x="5700" y="20100"/>
                </a:cubicBezTo>
                <a:cubicBezTo>
                  <a:pt x="5707" y="20100"/>
                  <a:pt x="5713" y="20091"/>
                  <a:pt x="5715" y="20077"/>
                </a:cubicBezTo>
                <a:lnTo>
                  <a:pt x="5785" y="19447"/>
                </a:lnTo>
                <a:cubicBezTo>
                  <a:pt x="5785" y="19445"/>
                  <a:pt x="5785" y="19443"/>
                  <a:pt x="5785" y="19440"/>
                </a:cubicBezTo>
                <a:lnTo>
                  <a:pt x="5785" y="19376"/>
                </a:lnTo>
                <a:cubicBezTo>
                  <a:pt x="5785" y="19360"/>
                  <a:pt x="5778" y="19347"/>
                  <a:pt x="5770" y="19347"/>
                </a:cubicBezTo>
                <a:cubicBezTo>
                  <a:pt x="5768" y="19347"/>
                  <a:pt x="5767" y="19346"/>
                  <a:pt x="5765" y="19346"/>
                </a:cubicBezTo>
                <a:cubicBezTo>
                  <a:pt x="5759" y="19345"/>
                  <a:pt x="5754" y="19344"/>
                  <a:pt x="5745" y="19349"/>
                </a:cubicBezTo>
                <a:cubicBezTo>
                  <a:pt x="5736" y="19358"/>
                  <a:pt x="5729" y="19373"/>
                  <a:pt x="5725" y="19383"/>
                </a:cubicBezTo>
                <a:cubicBezTo>
                  <a:pt x="5723" y="19389"/>
                  <a:pt x="5721" y="19391"/>
                  <a:pt x="5720" y="19393"/>
                </a:cubicBezTo>
                <a:cubicBezTo>
                  <a:pt x="5714" y="19378"/>
                  <a:pt x="5705" y="19319"/>
                  <a:pt x="5705" y="19279"/>
                </a:cubicBezTo>
                <a:cubicBezTo>
                  <a:pt x="5705" y="19236"/>
                  <a:pt x="5709" y="19208"/>
                  <a:pt x="5715" y="19176"/>
                </a:cubicBezTo>
                <a:cubicBezTo>
                  <a:pt x="5718" y="19158"/>
                  <a:pt x="5721" y="19138"/>
                  <a:pt x="5723" y="19115"/>
                </a:cubicBezTo>
                <a:cubicBezTo>
                  <a:pt x="5740" y="19107"/>
                  <a:pt x="5747" y="19085"/>
                  <a:pt x="5747" y="19063"/>
                </a:cubicBezTo>
                <a:cubicBezTo>
                  <a:pt x="5747" y="19025"/>
                  <a:pt x="5731" y="18996"/>
                  <a:pt x="5729" y="18993"/>
                </a:cubicBezTo>
                <a:cubicBezTo>
                  <a:pt x="5726" y="18973"/>
                  <a:pt x="5723" y="18910"/>
                  <a:pt x="5723" y="18867"/>
                </a:cubicBezTo>
                <a:cubicBezTo>
                  <a:pt x="5723" y="18791"/>
                  <a:pt x="5743" y="18719"/>
                  <a:pt x="5759" y="18666"/>
                </a:cubicBezTo>
                <a:cubicBezTo>
                  <a:pt x="5771" y="18656"/>
                  <a:pt x="5781" y="18638"/>
                  <a:pt x="5781" y="18610"/>
                </a:cubicBezTo>
                <a:close/>
                <a:moveTo>
                  <a:pt x="20703" y="18629"/>
                </a:moveTo>
                <a:cubicBezTo>
                  <a:pt x="20708" y="18724"/>
                  <a:pt x="20735" y="18783"/>
                  <a:pt x="20777" y="18798"/>
                </a:cubicBezTo>
                <a:cubicBezTo>
                  <a:pt x="20776" y="18801"/>
                  <a:pt x="20774" y="18801"/>
                  <a:pt x="20773" y="18805"/>
                </a:cubicBezTo>
                <a:cubicBezTo>
                  <a:pt x="20761" y="18844"/>
                  <a:pt x="20768" y="18895"/>
                  <a:pt x="20787" y="18918"/>
                </a:cubicBezTo>
                <a:cubicBezTo>
                  <a:pt x="20806" y="18941"/>
                  <a:pt x="20830" y="18928"/>
                  <a:pt x="20842" y="18891"/>
                </a:cubicBezTo>
                <a:cubicBezTo>
                  <a:pt x="20841" y="18901"/>
                  <a:pt x="20840" y="18911"/>
                  <a:pt x="20838" y="18919"/>
                </a:cubicBezTo>
                <a:cubicBezTo>
                  <a:pt x="20837" y="18918"/>
                  <a:pt x="20836" y="18918"/>
                  <a:pt x="20834" y="18918"/>
                </a:cubicBezTo>
                <a:cubicBezTo>
                  <a:pt x="20827" y="18918"/>
                  <a:pt x="20823" y="18926"/>
                  <a:pt x="20820" y="18933"/>
                </a:cubicBezTo>
                <a:cubicBezTo>
                  <a:pt x="20802" y="18941"/>
                  <a:pt x="20771" y="18959"/>
                  <a:pt x="20771" y="19016"/>
                </a:cubicBezTo>
                <a:cubicBezTo>
                  <a:pt x="20771" y="19030"/>
                  <a:pt x="20774" y="19041"/>
                  <a:pt x="20777" y="19051"/>
                </a:cubicBezTo>
                <a:cubicBezTo>
                  <a:pt x="20778" y="19054"/>
                  <a:pt x="20779" y="19059"/>
                  <a:pt x="20779" y="19058"/>
                </a:cubicBezTo>
                <a:cubicBezTo>
                  <a:pt x="20778" y="19069"/>
                  <a:pt x="20765" y="19098"/>
                  <a:pt x="20760" y="19107"/>
                </a:cubicBezTo>
                <a:cubicBezTo>
                  <a:pt x="20756" y="19116"/>
                  <a:pt x="20753" y="19123"/>
                  <a:pt x="20752" y="19127"/>
                </a:cubicBezTo>
                <a:cubicBezTo>
                  <a:pt x="20747" y="19141"/>
                  <a:pt x="20743" y="19155"/>
                  <a:pt x="20739" y="19170"/>
                </a:cubicBezTo>
                <a:cubicBezTo>
                  <a:pt x="20722" y="19227"/>
                  <a:pt x="20711" y="19262"/>
                  <a:pt x="20686" y="19262"/>
                </a:cubicBezTo>
                <a:cubicBezTo>
                  <a:pt x="20678" y="19262"/>
                  <a:pt x="20669" y="19257"/>
                  <a:pt x="20669" y="19236"/>
                </a:cubicBezTo>
                <a:cubicBezTo>
                  <a:pt x="20669" y="19221"/>
                  <a:pt x="20673" y="19210"/>
                  <a:pt x="20679" y="19192"/>
                </a:cubicBezTo>
                <a:cubicBezTo>
                  <a:pt x="20683" y="19179"/>
                  <a:pt x="20688" y="19164"/>
                  <a:pt x="20691" y="19147"/>
                </a:cubicBezTo>
                <a:cubicBezTo>
                  <a:pt x="20700" y="19140"/>
                  <a:pt x="20708" y="19130"/>
                  <a:pt x="20713" y="19113"/>
                </a:cubicBezTo>
                <a:cubicBezTo>
                  <a:pt x="20725" y="19073"/>
                  <a:pt x="20718" y="19023"/>
                  <a:pt x="20699" y="19000"/>
                </a:cubicBezTo>
                <a:cubicBezTo>
                  <a:pt x="20689" y="18988"/>
                  <a:pt x="20678" y="18985"/>
                  <a:pt x="20667" y="18990"/>
                </a:cubicBezTo>
                <a:cubicBezTo>
                  <a:pt x="20659" y="18994"/>
                  <a:pt x="20653" y="19007"/>
                  <a:pt x="20648" y="19021"/>
                </a:cubicBezTo>
                <a:cubicBezTo>
                  <a:pt x="20646" y="19020"/>
                  <a:pt x="20644" y="19018"/>
                  <a:pt x="20643" y="19017"/>
                </a:cubicBezTo>
                <a:cubicBezTo>
                  <a:pt x="20623" y="19005"/>
                  <a:pt x="20616" y="18998"/>
                  <a:pt x="20616" y="18986"/>
                </a:cubicBezTo>
                <a:cubicBezTo>
                  <a:pt x="20616" y="18974"/>
                  <a:pt x="20618" y="18971"/>
                  <a:pt x="20627" y="18960"/>
                </a:cubicBezTo>
                <a:cubicBezTo>
                  <a:pt x="20632" y="18955"/>
                  <a:pt x="20637" y="18948"/>
                  <a:pt x="20641" y="18939"/>
                </a:cubicBezTo>
                <a:cubicBezTo>
                  <a:pt x="20668" y="18886"/>
                  <a:pt x="20671" y="18814"/>
                  <a:pt x="20671" y="18751"/>
                </a:cubicBezTo>
                <a:cubicBezTo>
                  <a:pt x="20671" y="18722"/>
                  <a:pt x="20666" y="18688"/>
                  <a:pt x="20662" y="18662"/>
                </a:cubicBezTo>
                <a:cubicBezTo>
                  <a:pt x="20662" y="18662"/>
                  <a:pt x="20662" y="18662"/>
                  <a:pt x="20663" y="18663"/>
                </a:cubicBezTo>
                <a:cubicBezTo>
                  <a:pt x="20665" y="18668"/>
                  <a:pt x="20669" y="18671"/>
                  <a:pt x="20673" y="18671"/>
                </a:cubicBezTo>
                <a:lnTo>
                  <a:pt x="20686" y="18671"/>
                </a:lnTo>
                <a:cubicBezTo>
                  <a:pt x="20694" y="18671"/>
                  <a:pt x="20701" y="18658"/>
                  <a:pt x="20701" y="18642"/>
                </a:cubicBezTo>
                <a:cubicBezTo>
                  <a:pt x="20701" y="18639"/>
                  <a:pt x="20701" y="18631"/>
                  <a:pt x="20703" y="18629"/>
                </a:cubicBezTo>
                <a:close/>
                <a:moveTo>
                  <a:pt x="20602" y="18729"/>
                </a:moveTo>
                <a:cubicBezTo>
                  <a:pt x="20595" y="18733"/>
                  <a:pt x="20589" y="18741"/>
                  <a:pt x="20585" y="18755"/>
                </a:cubicBezTo>
                <a:cubicBezTo>
                  <a:pt x="20577" y="18782"/>
                  <a:pt x="20581" y="18817"/>
                  <a:pt x="20595" y="18833"/>
                </a:cubicBezTo>
                <a:cubicBezTo>
                  <a:pt x="20608" y="18849"/>
                  <a:pt x="20626" y="18840"/>
                  <a:pt x="20634" y="18813"/>
                </a:cubicBezTo>
                <a:cubicBezTo>
                  <a:pt x="20642" y="18786"/>
                  <a:pt x="20637" y="18751"/>
                  <a:pt x="20624" y="18735"/>
                </a:cubicBezTo>
                <a:cubicBezTo>
                  <a:pt x="20617" y="18727"/>
                  <a:pt x="20609" y="18726"/>
                  <a:pt x="20602" y="18729"/>
                </a:cubicBezTo>
                <a:close/>
                <a:moveTo>
                  <a:pt x="20864" y="18761"/>
                </a:moveTo>
                <a:cubicBezTo>
                  <a:pt x="20853" y="18795"/>
                  <a:pt x="20848" y="18833"/>
                  <a:pt x="20845" y="18868"/>
                </a:cubicBezTo>
                <a:cubicBezTo>
                  <a:pt x="20849" y="18838"/>
                  <a:pt x="20845" y="18808"/>
                  <a:pt x="20833" y="18788"/>
                </a:cubicBezTo>
                <a:cubicBezTo>
                  <a:pt x="20837" y="18784"/>
                  <a:pt x="20841" y="18779"/>
                  <a:pt x="20844" y="18776"/>
                </a:cubicBezTo>
                <a:cubicBezTo>
                  <a:pt x="20850" y="18767"/>
                  <a:pt x="20855" y="18762"/>
                  <a:pt x="20864" y="18761"/>
                </a:cubicBezTo>
                <a:close/>
                <a:moveTo>
                  <a:pt x="19032" y="19006"/>
                </a:moveTo>
                <a:cubicBezTo>
                  <a:pt x="19028" y="19004"/>
                  <a:pt x="19023" y="19006"/>
                  <a:pt x="19019" y="19011"/>
                </a:cubicBezTo>
                <a:cubicBezTo>
                  <a:pt x="19016" y="19017"/>
                  <a:pt x="19014" y="19026"/>
                  <a:pt x="19014" y="19035"/>
                </a:cubicBezTo>
                <a:cubicBezTo>
                  <a:pt x="19014" y="19058"/>
                  <a:pt x="19014" y="19098"/>
                  <a:pt x="19032" y="19122"/>
                </a:cubicBezTo>
                <a:cubicBezTo>
                  <a:pt x="19027" y="19125"/>
                  <a:pt x="19021" y="19128"/>
                  <a:pt x="19015" y="19131"/>
                </a:cubicBezTo>
                <a:cubicBezTo>
                  <a:pt x="18992" y="19145"/>
                  <a:pt x="18966" y="19161"/>
                  <a:pt x="18946" y="19162"/>
                </a:cubicBezTo>
                <a:lnTo>
                  <a:pt x="18944" y="19161"/>
                </a:lnTo>
                <a:cubicBezTo>
                  <a:pt x="18937" y="19157"/>
                  <a:pt x="18925" y="19150"/>
                  <a:pt x="18909" y="19144"/>
                </a:cubicBezTo>
                <a:cubicBezTo>
                  <a:pt x="18889" y="19136"/>
                  <a:pt x="18871" y="19131"/>
                  <a:pt x="18858" y="19131"/>
                </a:cubicBezTo>
                <a:cubicBezTo>
                  <a:pt x="18819" y="19131"/>
                  <a:pt x="18813" y="19170"/>
                  <a:pt x="18813" y="19192"/>
                </a:cubicBezTo>
                <a:cubicBezTo>
                  <a:pt x="18813" y="19236"/>
                  <a:pt x="18827" y="19322"/>
                  <a:pt x="18847" y="19404"/>
                </a:cubicBezTo>
                <a:cubicBezTo>
                  <a:pt x="18868" y="19487"/>
                  <a:pt x="18911" y="19626"/>
                  <a:pt x="18961" y="19626"/>
                </a:cubicBezTo>
                <a:cubicBezTo>
                  <a:pt x="19016" y="19626"/>
                  <a:pt x="19076" y="19381"/>
                  <a:pt x="19076" y="19277"/>
                </a:cubicBezTo>
                <a:cubicBezTo>
                  <a:pt x="19076" y="19240"/>
                  <a:pt x="19069" y="19213"/>
                  <a:pt x="19062" y="19190"/>
                </a:cubicBezTo>
                <a:cubicBezTo>
                  <a:pt x="19058" y="19174"/>
                  <a:pt x="19054" y="19160"/>
                  <a:pt x="19052" y="19142"/>
                </a:cubicBezTo>
                <a:cubicBezTo>
                  <a:pt x="19052" y="19140"/>
                  <a:pt x="19051" y="19138"/>
                  <a:pt x="19051" y="19136"/>
                </a:cubicBezTo>
                <a:cubicBezTo>
                  <a:pt x="19053" y="19136"/>
                  <a:pt x="19056" y="19135"/>
                  <a:pt x="19058" y="19133"/>
                </a:cubicBezTo>
                <a:cubicBezTo>
                  <a:pt x="19061" y="19128"/>
                  <a:pt x="19064" y="19121"/>
                  <a:pt x="19065" y="19113"/>
                </a:cubicBezTo>
                <a:cubicBezTo>
                  <a:pt x="19065" y="19108"/>
                  <a:pt x="19066" y="19104"/>
                  <a:pt x="19067" y="19100"/>
                </a:cubicBezTo>
                <a:cubicBezTo>
                  <a:pt x="19069" y="19087"/>
                  <a:pt x="19072" y="19069"/>
                  <a:pt x="19072" y="19035"/>
                </a:cubicBezTo>
                <a:cubicBezTo>
                  <a:pt x="19072" y="19025"/>
                  <a:pt x="19069" y="19016"/>
                  <a:pt x="19065" y="19010"/>
                </a:cubicBezTo>
                <a:cubicBezTo>
                  <a:pt x="19061" y="19005"/>
                  <a:pt x="19056" y="19004"/>
                  <a:pt x="19052" y="19007"/>
                </a:cubicBezTo>
                <a:cubicBezTo>
                  <a:pt x="19051" y="19007"/>
                  <a:pt x="19042" y="19009"/>
                  <a:pt x="19032" y="19006"/>
                </a:cubicBezTo>
                <a:close/>
                <a:moveTo>
                  <a:pt x="20565" y="19065"/>
                </a:moveTo>
                <a:cubicBezTo>
                  <a:pt x="20558" y="19069"/>
                  <a:pt x="20552" y="19077"/>
                  <a:pt x="20548" y="19091"/>
                </a:cubicBezTo>
                <a:cubicBezTo>
                  <a:pt x="20539" y="19118"/>
                  <a:pt x="20544" y="19153"/>
                  <a:pt x="20557" y="19169"/>
                </a:cubicBezTo>
                <a:cubicBezTo>
                  <a:pt x="20571" y="19185"/>
                  <a:pt x="20588" y="19176"/>
                  <a:pt x="20596" y="19149"/>
                </a:cubicBezTo>
                <a:cubicBezTo>
                  <a:pt x="20604" y="19122"/>
                  <a:pt x="20600" y="19087"/>
                  <a:pt x="20587" y="19071"/>
                </a:cubicBezTo>
                <a:cubicBezTo>
                  <a:pt x="20580" y="19063"/>
                  <a:pt x="20572" y="19061"/>
                  <a:pt x="20565" y="19065"/>
                </a:cubicBezTo>
                <a:close/>
                <a:moveTo>
                  <a:pt x="19028" y="19186"/>
                </a:moveTo>
                <a:cubicBezTo>
                  <a:pt x="19031" y="19198"/>
                  <a:pt x="19034" y="19209"/>
                  <a:pt x="19036" y="19219"/>
                </a:cubicBezTo>
                <a:cubicBezTo>
                  <a:pt x="19042" y="19239"/>
                  <a:pt x="19046" y="19255"/>
                  <a:pt x="19046" y="19277"/>
                </a:cubicBezTo>
                <a:cubicBezTo>
                  <a:pt x="19046" y="19363"/>
                  <a:pt x="18991" y="19565"/>
                  <a:pt x="18961" y="19565"/>
                </a:cubicBezTo>
                <a:cubicBezTo>
                  <a:pt x="18949" y="19565"/>
                  <a:pt x="18935" y="19544"/>
                  <a:pt x="18919" y="19510"/>
                </a:cubicBezTo>
                <a:cubicBezTo>
                  <a:pt x="18925" y="19513"/>
                  <a:pt x="18930" y="19517"/>
                  <a:pt x="18936" y="19517"/>
                </a:cubicBezTo>
                <a:cubicBezTo>
                  <a:pt x="18973" y="19517"/>
                  <a:pt x="19003" y="19457"/>
                  <a:pt x="19003" y="19383"/>
                </a:cubicBezTo>
                <a:cubicBezTo>
                  <a:pt x="19003" y="19309"/>
                  <a:pt x="18973" y="19249"/>
                  <a:pt x="18936" y="19249"/>
                </a:cubicBezTo>
                <a:cubicBezTo>
                  <a:pt x="18923" y="19249"/>
                  <a:pt x="18912" y="19257"/>
                  <a:pt x="18902" y="19269"/>
                </a:cubicBezTo>
                <a:lnTo>
                  <a:pt x="18915" y="19208"/>
                </a:lnTo>
                <a:cubicBezTo>
                  <a:pt x="18924" y="19213"/>
                  <a:pt x="18932" y="19217"/>
                  <a:pt x="18936" y="19219"/>
                </a:cubicBezTo>
                <a:cubicBezTo>
                  <a:pt x="18941" y="19221"/>
                  <a:pt x="18942" y="19222"/>
                  <a:pt x="18944" y="19222"/>
                </a:cubicBezTo>
                <a:cubicBezTo>
                  <a:pt x="18969" y="19222"/>
                  <a:pt x="18996" y="19206"/>
                  <a:pt x="19023" y="19190"/>
                </a:cubicBezTo>
                <a:cubicBezTo>
                  <a:pt x="19025" y="19189"/>
                  <a:pt x="19027" y="19187"/>
                  <a:pt x="19028" y="19186"/>
                </a:cubicBezTo>
                <a:close/>
                <a:moveTo>
                  <a:pt x="18858" y="19192"/>
                </a:moveTo>
                <a:cubicBezTo>
                  <a:pt x="18865" y="19192"/>
                  <a:pt x="18874" y="19193"/>
                  <a:pt x="18885" y="19197"/>
                </a:cubicBezTo>
                <a:lnTo>
                  <a:pt x="18860" y="19316"/>
                </a:lnTo>
                <a:cubicBezTo>
                  <a:pt x="18849" y="19262"/>
                  <a:pt x="18843" y="19219"/>
                  <a:pt x="18843" y="19196"/>
                </a:cubicBezTo>
                <a:cubicBezTo>
                  <a:pt x="18844" y="19194"/>
                  <a:pt x="18849" y="19192"/>
                  <a:pt x="18858" y="19192"/>
                </a:cubicBezTo>
                <a:close/>
                <a:moveTo>
                  <a:pt x="20511" y="19193"/>
                </a:moveTo>
                <a:cubicBezTo>
                  <a:pt x="20514" y="19200"/>
                  <a:pt x="20517" y="19205"/>
                  <a:pt x="20520" y="19210"/>
                </a:cubicBezTo>
                <a:cubicBezTo>
                  <a:pt x="20520" y="19230"/>
                  <a:pt x="20521" y="19250"/>
                  <a:pt x="20528" y="19264"/>
                </a:cubicBezTo>
                <a:cubicBezTo>
                  <a:pt x="20531" y="19271"/>
                  <a:pt x="20536" y="19278"/>
                  <a:pt x="20545" y="19278"/>
                </a:cubicBezTo>
                <a:cubicBezTo>
                  <a:pt x="20560" y="19278"/>
                  <a:pt x="20570" y="19261"/>
                  <a:pt x="20578" y="19249"/>
                </a:cubicBezTo>
                <a:cubicBezTo>
                  <a:pt x="20579" y="19249"/>
                  <a:pt x="20579" y="19249"/>
                  <a:pt x="20579" y="19249"/>
                </a:cubicBezTo>
                <a:cubicBezTo>
                  <a:pt x="20580" y="19250"/>
                  <a:pt x="20581" y="19251"/>
                  <a:pt x="20582" y="19251"/>
                </a:cubicBezTo>
                <a:cubicBezTo>
                  <a:pt x="20584" y="19272"/>
                  <a:pt x="20587" y="19290"/>
                  <a:pt x="20592" y="19302"/>
                </a:cubicBezTo>
                <a:cubicBezTo>
                  <a:pt x="20584" y="19348"/>
                  <a:pt x="20563" y="19419"/>
                  <a:pt x="20545" y="19453"/>
                </a:cubicBezTo>
                <a:cubicBezTo>
                  <a:pt x="20540" y="19438"/>
                  <a:pt x="20534" y="19426"/>
                  <a:pt x="20525" y="19416"/>
                </a:cubicBezTo>
                <a:cubicBezTo>
                  <a:pt x="20518" y="19407"/>
                  <a:pt x="20510" y="19402"/>
                  <a:pt x="20502" y="19400"/>
                </a:cubicBezTo>
                <a:cubicBezTo>
                  <a:pt x="20478" y="19393"/>
                  <a:pt x="20454" y="19415"/>
                  <a:pt x="20441" y="19459"/>
                </a:cubicBezTo>
                <a:cubicBezTo>
                  <a:pt x="20424" y="19515"/>
                  <a:pt x="20433" y="19587"/>
                  <a:pt x="20459" y="19623"/>
                </a:cubicBezTo>
                <a:cubicBezTo>
                  <a:pt x="20456" y="19624"/>
                  <a:pt x="20450" y="19627"/>
                  <a:pt x="20448" y="19627"/>
                </a:cubicBezTo>
                <a:cubicBezTo>
                  <a:pt x="20441" y="19627"/>
                  <a:pt x="20435" y="19636"/>
                  <a:pt x="20433" y="19649"/>
                </a:cubicBezTo>
                <a:cubicBezTo>
                  <a:pt x="20429" y="19680"/>
                  <a:pt x="20401" y="19804"/>
                  <a:pt x="20378" y="19900"/>
                </a:cubicBezTo>
                <a:lnTo>
                  <a:pt x="20378" y="19654"/>
                </a:lnTo>
                <a:cubicBezTo>
                  <a:pt x="20383" y="19649"/>
                  <a:pt x="20389" y="19644"/>
                  <a:pt x="20392" y="19634"/>
                </a:cubicBezTo>
                <a:cubicBezTo>
                  <a:pt x="20400" y="19607"/>
                  <a:pt x="20395" y="19572"/>
                  <a:pt x="20382" y="19556"/>
                </a:cubicBezTo>
                <a:cubicBezTo>
                  <a:pt x="20381" y="19554"/>
                  <a:pt x="20379" y="19556"/>
                  <a:pt x="20378" y="19555"/>
                </a:cubicBezTo>
                <a:lnTo>
                  <a:pt x="20378" y="19549"/>
                </a:lnTo>
                <a:cubicBezTo>
                  <a:pt x="20384" y="19541"/>
                  <a:pt x="20388" y="19535"/>
                  <a:pt x="20392" y="19531"/>
                </a:cubicBezTo>
                <a:cubicBezTo>
                  <a:pt x="20401" y="19523"/>
                  <a:pt x="20417" y="19485"/>
                  <a:pt x="20439" y="19417"/>
                </a:cubicBezTo>
                <a:cubicBezTo>
                  <a:pt x="20440" y="19412"/>
                  <a:pt x="20441" y="19408"/>
                  <a:pt x="20441" y="19402"/>
                </a:cubicBezTo>
                <a:cubicBezTo>
                  <a:pt x="20441" y="19390"/>
                  <a:pt x="20442" y="19374"/>
                  <a:pt x="20442" y="19373"/>
                </a:cubicBezTo>
                <a:cubicBezTo>
                  <a:pt x="20447" y="19353"/>
                  <a:pt x="20453" y="19346"/>
                  <a:pt x="20468" y="19342"/>
                </a:cubicBezTo>
                <a:cubicBezTo>
                  <a:pt x="20475" y="19341"/>
                  <a:pt x="20481" y="19326"/>
                  <a:pt x="20482" y="19312"/>
                </a:cubicBezTo>
                <a:cubicBezTo>
                  <a:pt x="20482" y="19310"/>
                  <a:pt x="20482" y="19309"/>
                  <a:pt x="20482" y="19307"/>
                </a:cubicBezTo>
                <a:cubicBezTo>
                  <a:pt x="20483" y="19302"/>
                  <a:pt x="20484" y="19295"/>
                  <a:pt x="20484" y="19286"/>
                </a:cubicBezTo>
                <a:cubicBezTo>
                  <a:pt x="20484" y="19251"/>
                  <a:pt x="20498" y="19215"/>
                  <a:pt x="20511" y="19193"/>
                </a:cubicBezTo>
                <a:close/>
                <a:moveTo>
                  <a:pt x="6368" y="19254"/>
                </a:moveTo>
                <a:lnTo>
                  <a:pt x="6368" y="19264"/>
                </a:lnTo>
                <a:cubicBezTo>
                  <a:pt x="6368" y="19265"/>
                  <a:pt x="6367" y="19265"/>
                  <a:pt x="6367" y="19265"/>
                </a:cubicBezTo>
                <a:cubicBezTo>
                  <a:pt x="6368" y="19262"/>
                  <a:pt x="6368" y="19258"/>
                  <a:pt x="6368" y="19254"/>
                </a:cubicBezTo>
                <a:close/>
                <a:moveTo>
                  <a:pt x="5755" y="19405"/>
                </a:moveTo>
                <a:lnTo>
                  <a:pt x="5755" y="19438"/>
                </a:lnTo>
                <a:lnTo>
                  <a:pt x="5734" y="19625"/>
                </a:lnTo>
                <a:cubicBezTo>
                  <a:pt x="5732" y="19605"/>
                  <a:pt x="5729" y="19587"/>
                  <a:pt x="5722" y="19574"/>
                </a:cubicBezTo>
                <a:lnTo>
                  <a:pt x="5722" y="19541"/>
                </a:lnTo>
                <a:cubicBezTo>
                  <a:pt x="5722" y="19540"/>
                  <a:pt x="5722" y="19539"/>
                  <a:pt x="5722" y="19538"/>
                </a:cubicBezTo>
                <a:cubicBezTo>
                  <a:pt x="5725" y="19528"/>
                  <a:pt x="5730" y="19513"/>
                  <a:pt x="5730" y="19487"/>
                </a:cubicBezTo>
                <a:cubicBezTo>
                  <a:pt x="5730" y="19474"/>
                  <a:pt x="5729" y="19462"/>
                  <a:pt x="5727" y="19451"/>
                </a:cubicBezTo>
                <a:cubicBezTo>
                  <a:pt x="5737" y="19445"/>
                  <a:pt x="5744" y="19431"/>
                  <a:pt x="5748" y="19421"/>
                </a:cubicBezTo>
                <a:cubicBezTo>
                  <a:pt x="5752" y="19412"/>
                  <a:pt x="5754" y="19407"/>
                  <a:pt x="5755" y="19405"/>
                </a:cubicBezTo>
                <a:close/>
                <a:moveTo>
                  <a:pt x="5694" y="19451"/>
                </a:moveTo>
                <a:cubicBezTo>
                  <a:pt x="5698" y="19455"/>
                  <a:pt x="5700" y="19468"/>
                  <a:pt x="5700" y="19487"/>
                </a:cubicBezTo>
                <a:cubicBezTo>
                  <a:pt x="5700" y="19496"/>
                  <a:pt x="5699" y="19500"/>
                  <a:pt x="5697" y="19507"/>
                </a:cubicBezTo>
                <a:cubicBezTo>
                  <a:pt x="5695" y="19512"/>
                  <a:pt x="5694" y="19517"/>
                  <a:pt x="5693" y="19524"/>
                </a:cubicBezTo>
                <a:cubicBezTo>
                  <a:pt x="5692" y="19527"/>
                  <a:pt x="5691" y="19532"/>
                  <a:pt x="5691" y="19535"/>
                </a:cubicBezTo>
                <a:lnTo>
                  <a:pt x="5691" y="19550"/>
                </a:lnTo>
                <a:cubicBezTo>
                  <a:pt x="5690" y="19550"/>
                  <a:pt x="5690" y="19548"/>
                  <a:pt x="5689" y="19548"/>
                </a:cubicBezTo>
                <a:cubicBezTo>
                  <a:pt x="5685" y="19548"/>
                  <a:pt x="5683" y="19554"/>
                  <a:pt x="5679" y="19556"/>
                </a:cubicBezTo>
                <a:lnTo>
                  <a:pt x="5679" y="19550"/>
                </a:lnTo>
                <a:cubicBezTo>
                  <a:pt x="5683" y="19510"/>
                  <a:pt x="5689" y="19468"/>
                  <a:pt x="5694" y="19451"/>
                </a:cubicBezTo>
                <a:close/>
                <a:moveTo>
                  <a:pt x="5973" y="19473"/>
                </a:moveTo>
                <a:cubicBezTo>
                  <a:pt x="5932" y="19473"/>
                  <a:pt x="5899" y="19539"/>
                  <a:pt x="5899" y="19621"/>
                </a:cubicBezTo>
                <a:cubicBezTo>
                  <a:pt x="5899" y="19703"/>
                  <a:pt x="5932" y="19769"/>
                  <a:pt x="5973" y="19769"/>
                </a:cubicBezTo>
                <a:cubicBezTo>
                  <a:pt x="6014" y="19769"/>
                  <a:pt x="6047" y="19703"/>
                  <a:pt x="6047" y="19621"/>
                </a:cubicBezTo>
                <a:cubicBezTo>
                  <a:pt x="6047" y="19539"/>
                  <a:pt x="6014" y="19473"/>
                  <a:pt x="5973" y="19473"/>
                </a:cubicBezTo>
                <a:close/>
                <a:moveTo>
                  <a:pt x="6290" y="19489"/>
                </a:moveTo>
                <a:cubicBezTo>
                  <a:pt x="6291" y="19490"/>
                  <a:pt x="6292" y="19491"/>
                  <a:pt x="6292" y="19492"/>
                </a:cubicBezTo>
                <a:cubicBezTo>
                  <a:pt x="6294" y="19494"/>
                  <a:pt x="6296" y="19498"/>
                  <a:pt x="6296" y="19496"/>
                </a:cubicBezTo>
                <a:cubicBezTo>
                  <a:pt x="6296" y="19502"/>
                  <a:pt x="6291" y="19515"/>
                  <a:pt x="6287" y="19521"/>
                </a:cubicBezTo>
                <a:cubicBezTo>
                  <a:pt x="6281" y="19520"/>
                  <a:pt x="6277" y="19516"/>
                  <a:pt x="6272" y="19510"/>
                </a:cubicBezTo>
                <a:cubicBezTo>
                  <a:pt x="6279" y="19506"/>
                  <a:pt x="6285" y="19497"/>
                  <a:pt x="6290" y="19489"/>
                </a:cubicBezTo>
                <a:close/>
                <a:moveTo>
                  <a:pt x="20340" y="19612"/>
                </a:moveTo>
                <a:cubicBezTo>
                  <a:pt x="20341" y="19624"/>
                  <a:pt x="20344" y="19634"/>
                  <a:pt x="20349" y="19643"/>
                </a:cubicBezTo>
                <a:cubicBezTo>
                  <a:pt x="20349" y="19671"/>
                  <a:pt x="20349" y="19710"/>
                  <a:pt x="20349" y="19776"/>
                </a:cubicBezTo>
                <a:cubicBezTo>
                  <a:pt x="20346" y="19776"/>
                  <a:pt x="20344" y="19773"/>
                  <a:pt x="20342" y="19774"/>
                </a:cubicBezTo>
                <a:cubicBezTo>
                  <a:pt x="20335" y="19777"/>
                  <a:pt x="20328" y="19786"/>
                  <a:pt x="20324" y="19799"/>
                </a:cubicBezTo>
                <a:cubicBezTo>
                  <a:pt x="20316" y="19827"/>
                  <a:pt x="20321" y="19861"/>
                  <a:pt x="20334" y="19877"/>
                </a:cubicBezTo>
                <a:cubicBezTo>
                  <a:pt x="20339" y="19883"/>
                  <a:pt x="20344" y="19881"/>
                  <a:pt x="20349" y="19881"/>
                </a:cubicBezTo>
                <a:cubicBezTo>
                  <a:pt x="20349" y="19912"/>
                  <a:pt x="20349" y="19967"/>
                  <a:pt x="20349" y="19967"/>
                </a:cubicBezTo>
                <a:lnTo>
                  <a:pt x="20325" y="19945"/>
                </a:lnTo>
                <a:cubicBezTo>
                  <a:pt x="20323" y="19943"/>
                  <a:pt x="20322" y="19940"/>
                  <a:pt x="20321" y="19938"/>
                </a:cubicBezTo>
                <a:cubicBezTo>
                  <a:pt x="20315" y="19932"/>
                  <a:pt x="20310" y="19929"/>
                  <a:pt x="20304" y="19926"/>
                </a:cubicBezTo>
                <a:lnTo>
                  <a:pt x="20270" y="19895"/>
                </a:lnTo>
                <a:lnTo>
                  <a:pt x="20202" y="19834"/>
                </a:lnTo>
                <a:cubicBezTo>
                  <a:pt x="20200" y="19828"/>
                  <a:pt x="20199" y="19821"/>
                  <a:pt x="20196" y="19817"/>
                </a:cubicBezTo>
                <a:cubicBezTo>
                  <a:pt x="20201" y="19806"/>
                  <a:pt x="20207" y="19795"/>
                  <a:pt x="20213" y="19784"/>
                </a:cubicBezTo>
                <a:cubicBezTo>
                  <a:pt x="20226" y="19761"/>
                  <a:pt x="20238" y="19740"/>
                  <a:pt x="20246" y="19714"/>
                </a:cubicBezTo>
                <a:cubicBezTo>
                  <a:pt x="20254" y="19688"/>
                  <a:pt x="20261" y="19673"/>
                  <a:pt x="20267" y="19673"/>
                </a:cubicBezTo>
                <a:cubicBezTo>
                  <a:pt x="20297" y="19673"/>
                  <a:pt x="20320" y="19644"/>
                  <a:pt x="20340" y="19612"/>
                </a:cubicBezTo>
                <a:close/>
                <a:moveTo>
                  <a:pt x="20202" y="19900"/>
                </a:moveTo>
                <a:lnTo>
                  <a:pt x="20254" y="19947"/>
                </a:lnTo>
                <a:cubicBezTo>
                  <a:pt x="20248" y="19957"/>
                  <a:pt x="20240" y="19966"/>
                  <a:pt x="20236" y="19981"/>
                </a:cubicBezTo>
                <a:cubicBezTo>
                  <a:pt x="20235" y="19983"/>
                  <a:pt x="20235" y="19986"/>
                  <a:pt x="20235" y="19988"/>
                </a:cubicBezTo>
                <a:cubicBezTo>
                  <a:pt x="20213" y="19973"/>
                  <a:pt x="20182" y="19951"/>
                  <a:pt x="20173" y="19937"/>
                </a:cubicBezTo>
                <a:cubicBezTo>
                  <a:pt x="20172" y="19934"/>
                  <a:pt x="20171" y="19931"/>
                  <a:pt x="20170" y="19929"/>
                </a:cubicBezTo>
                <a:cubicBezTo>
                  <a:pt x="20168" y="19925"/>
                  <a:pt x="20167" y="19923"/>
                  <a:pt x="20164" y="19922"/>
                </a:cubicBezTo>
                <a:cubicBezTo>
                  <a:pt x="20165" y="19919"/>
                  <a:pt x="20166" y="19916"/>
                  <a:pt x="20166" y="19912"/>
                </a:cubicBezTo>
                <a:cubicBezTo>
                  <a:pt x="20166" y="19913"/>
                  <a:pt x="20166" y="19914"/>
                  <a:pt x="20167" y="19915"/>
                </a:cubicBezTo>
                <a:cubicBezTo>
                  <a:pt x="20179" y="19929"/>
                  <a:pt x="20193" y="19921"/>
                  <a:pt x="20202" y="19900"/>
                </a:cubicBezTo>
                <a:close/>
                <a:moveTo>
                  <a:pt x="6015" y="21057"/>
                </a:moveTo>
                <a:cubicBezTo>
                  <a:pt x="6015" y="21059"/>
                  <a:pt x="6015" y="21061"/>
                  <a:pt x="6015" y="21062"/>
                </a:cubicBezTo>
                <a:cubicBezTo>
                  <a:pt x="6002" y="21080"/>
                  <a:pt x="5992" y="21106"/>
                  <a:pt x="5992" y="21141"/>
                </a:cubicBezTo>
                <a:cubicBezTo>
                  <a:pt x="5992" y="21197"/>
                  <a:pt x="6015" y="21243"/>
                  <a:pt x="6043" y="21243"/>
                </a:cubicBezTo>
                <a:cubicBezTo>
                  <a:pt x="6043" y="21243"/>
                  <a:pt x="6043" y="21243"/>
                  <a:pt x="6043" y="21243"/>
                </a:cubicBezTo>
                <a:cubicBezTo>
                  <a:pt x="6047" y="21260"/>
                  <a:pt x="6051" y="21278"/>
                  <a:pt x="6057" y="21289"/>
                </a:cubicBezTo>
                <a:cubicBezTo>
                  <a:pt x="6093" y="21362"/>
                  <a:pt x="6136" y="21405"/>
                  <a:pt x="6178" y="21443"/>
                </a:cubicBezTo>
                <a:cubicBezTo>
                  <a:pt x="6160" y="21452"/>
                  <a:pt x="6141" y="21471"/>
                  <a:pt x="6123" y="21490"/>
                </a:cubicBezTo>
                <a:cubicBezTo>
                  <a:pt x="6112" y="21501"/>
                  <a:pt x="6095" y="21519"/>
                  <a:pt x="6090" y="21519"/>
                </a:cubicBezTo>
                <a:lnTo>
                  <a:pt x="6067" y="21519"/>
                </a:lnTo>
                <a:cubicBezTo>
                  <a:pt x="6060" y="21519"/>
                  <a:pt x="6054" y="21526"/>
                  <a:pt x="6049" y="21532"/>
                </a:cubicBezTo>
                <a:cubicBezTo>
                  <a:pt x="6048" y="21533"/>
                  <a:pt x="6046" y="21535"/>
                  <a:pt x="6045" y="21536"/>
                </a:cubicBezTo>
                <a:lnTo>
                  <a:pt x="5987" y="21536"/>
                </a:lnTo>
                <a:cubicBezTo>
                  <a:pt x="5970" y="21536"/>
                  <a:pt x="5967" y="21522"/>
                  <a:pt x="5960" y="21485"/>
                </a:cubicBezTo>
                <a:cubicBezTo>
                  <a:pt x="5954" y="21454"/>
                  <a:pt x="5947" y="21416"/>
                  <a:pt x="5926" y="21402"/>
                </a:cubicBezTo>
                <a:cubicBezTo>
                  <a:pt x="5918" y="21397"/>
                  <a:pt x="5910" y="21393"/>
                  <a:pt x="5901" y="21389"/>
                </a:cubicBezTo>
                <a:cubicBezTo>
                  <a:pt x="5868" y="21374"/>
                  <a:pt x="5857" y="21363"/>
                  <a:pt x="5857" y="21332"/>
                </a:cubicBezTo>
                <a:cubicBezTo>
                  <a:pt x="5857" y="21316"/>
                  <a:pt x="5850" y="21303"/>
                  <a:pt x="5842" y="21303"/>
                </a:cubicBezTo>
                <a:lnTo>
                  <a:pt x="5802" y="21303"/>
                </a:lnTo>
                <a:cubicBezTo>
                  <a:pt x="5801" y="21303"/>
                  <a:pt x="5800" y="21302"/>
                  <a:pt x="5798" y="21299"/>
                </a:cubicBezTo>
                <a:lnTo>
                  <a:pt x="5844" y="21248"/>
                </a:lnTo>
                <a:cubicBezTo>
                  <a:pt x="5844" y="21248"/>
                  <a:pt x="6015" y="21057"/>
                  <a:pt x="6015" y="21057"/>
                </a:cubicBezTo>
                <a:close/>
              </a:path>
            </a:pathLst>
          </a:custGeom>
          <a:solidFill>
            <a:schemeClr val="bg1"/>
          </a:solidFill>
          <a:ln w="12700">
            <a:miter lim="400000"/>
          </a:ln>
        </p:spPr>
        <p:txBody>
          <a:bodyPr lIns="19050" tIns="19050" rIns="19050" bIns="19050" anchor="ct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237" name="Freeform 236"/>
          <p:cNvSpPr/>
          <p:nvPr/>
        </p:nvSpPr>
        <p:spPr>
          <a:xfrm>
            <a:off x="756418" y="2492191"/>
            <a:ext cx="3528383" cy="1449910"/>
          </a:xfrm>
          <a:custGeom>
            <a:avLst/>
            <a:gdLst>
              <a:gd name="connsiteX0" fmla="*/ 182623 w 3528383"/>
              <a:gd name="connsiteY0" fmla="*/ 0 h 1449910"/>
              <a:gd name="connsiteX1" fmla="*/ 3345760 w 3528383"/>
              <a:gd name="connsiteY1" fmla="*/ 0 h 1449910"/>
              <a:gd name="connsiteX2" fmla="*/ 3528383 w 3528383"/>
              <a:gd name="connsiteY2" fmla="*/ 182623 h 1449910"/>
              <a:gd name="connsiteX3" fmla="*/ 3528383 w 3528383"/>
              <a:gd name="connsiteY3" fmla="*/ 913092 h 1449910"/>
              <a:gd name="connsiteX4" fmla="*/ 3345760 w 3528383"/>
              <a:gd name="connsiteY4" fmla="*/ 1095715 h 1449910"/>
              <a:gd name="connsiteX5" fmla="*/ 3338036 w 3528383"/>
              <a:gd name="connsiteY5" fmla="*/ 1095715 h 1449910"/>
              <a:gd name="connsiteX6" fmla="*/ 3306182 w 3528383"/>
              <a:gd name="connsiteY6" fmla="*/ 1157449 h 1449910"/>
              <a:gd name="connsiteX7" fmla="*/ 3267103 w 3528383"/>
              <a:gd name="connsiteY7" fmla="*/ 1244796 h 1449910"/>
              <a:gd name="connsiteX8" fmla="*/ 3055783 w 3528383"/>
              <a:gd name="connsiteY8" fmla="*/ 1204416 h 1449910"/>
              <a:gd name="connsiteX9" fmla="*/ 2888304 w 3528383"/>
              <a:gd name="connsiteY9" fmla="*/ 1449641 h 1449910"/>
              <a:gd name="connsiteX10" fmla="*/ 2711026 w 3528383"/>
              <a:gd name="connsiteY10" fmla="*/ 1153090 h 1449910"/>
              <a:gd name="connsiteX11" fmla="*/ 2535381 w 3528383"/>
              <a:gd name="connsiteY11" fmla="*/ 1267872 h 1449910"/>
              <a:gd name="connsiteX12" fmla="*/ 2534844 w 3528383"/>
              <a:gd name="connsiteY12" fmla="*/ 1267392 h 1449910"/>
              <a:gd name="connsiteX13" fmla="*/ 2534306 w 3528383"/>
              <a:gd name="connsiteY13" fmla="*/ 1267872 h 1449910"/>
              <a:gd name="connsiteX14" fmla="*/ 2358662 w 3528383"/>
              <a:gd name="connsiteY14" fmla="*/ 1153090 h 1449910"/>
              <a:gd name="connsiteX15" fmla="*/ 2181383 w 3528383"/>
              <a:gd name="connsiteY15" fmla="*/ 1449641 h 1449910"/>
              <a:gd name="connsiteX16" fmla="*/ 2013904 w 3528383"/>
              <a:gd name="connsiteY16" fmla="*/ 1204416 h 1449910"/>
              <a:gd name="connsiteX17" fmla="*/ 1802584 w 3528383"/>
              <a:gd name="connsiteY17" fmla="*/ 1244796 h 1449910"/>
              <a:gd name="connsiteX18" fmla="*/ 1763505 w 3528383"/>
              <a:gd name="connsiteY18" fmla="*/ 1157449 h 1449910"/>
              <a:gd name="connsiteX19" fmla="*/ 1731651 w 3528383"/>
              <a:gd name="connsiteY19" fmla="*/ 1095715 h 1449910"/>
              <a:gd name="connsiteX20" fmla="*/ 182623 w 3528383"/>
              <a:gd name="connsiteY20" fmla="*/ 1095715 h 1449910"/>
              <a:gd name="connsiteX21" fmla="*/ 0 w 3528383"/>
              <a:gd name="connsiteY21" fmla="*/ 913092 h 1449910"/>
              <a:gd name="connsiteX22" fmla="*/ 0 w 3528383"/>
              <a:gd name="connsiteY22" fmla="*/ 182623 h 1449910"/>
              <a:gd name="connsiteX23" fmla="*/ 182623 w 3528383"/>
              <a:gd name="connsiteY23" fmla="*/ 0 h 1449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28383" h="1449910">
                <a:moveTo>
                  <a:pt x="182623" y="0"/>
                </a:moveTo>
                <a:lnTo>
                  <a:pt x="3345760" y="0"/>
                </a:lnTo>
                <a:cubicBezTo>
                  <a:pt x="3446620" y="0"/>
                  <a:pt x="3528383" y="81763"/>
                  <a:pt x="3528383" y="182623"/>
                </a:cubicBezTo>
                <a:lnTo>
                  <a:pt x="3528383" y="913092"/>
                </a:lnTo>
                <a:cubicBezTo>
                  <a:pt x="3528383" y="1013952"/>
                  <a:pt x="3446620" y="1095715"/>
                  <a:pt x="3345760" y="1095715"/>
                </a:cubicBezTo>
                <a:lnTo>
                  <a:pt x="3338036" y="1095715"/>
                </a:lnTo>
                <a:lnTo>
                  <a:pt x="3306182" y="1157449"/>
                </a:lnTo>
                <a:cubicBezTo>
                  <a:pt x="3294951" y="1186955"/>
                  <a:pt x="3284618" y="1216657"/>
                  <a:pt x="3267103" y="1244796"/>
                </a:cubicBezTo>
                <a:cubicBezTo>
                  <a:pt x="3233368" y="1318383"/>
                  <a:pt x="3116690" y="1148413"/>
                  <a:pt x="3055783" y="1204416"/>
                </a:cubicBezTo>
                <a:cubicBezTo>
                  <a:pt x="2994878" y="1260418"/>
                  <a:pt x="2945764" y="1458195"/>
                  <a:pt x="2888304" y="1449641"/>
                </a:cubicBezTo>
                <a:cubicBezTo>
                  <a:pt x="2830845" y="1441087"/>
                  <a:pt x="2774838" y="1209092"/>
                  <a:pt x="2711026" y="1153090"/>
                </a:cubicBezTo>
                <a:cubicBezTo>
                  <a:pt x="2655190" y="1104088"/>
                  <a:pt x="2579078" y="1289223"/>
                  <a:pt x="2535381" y="1267872"/>
                </a:cubicBezTo>
                <a:lnTo>
                  <a:pt x="2534844" y="1267392"/>
                </a:lnTo>
                <a:lnTo>
                  <a:pt x="2534306" y="1267872"/>
                </a:lnTo>
                <a:cubicBezTo>
                  <a:pt x="2490609" y="1289223"/>
                  <a:pt x="2414497" y="1104088"/>
                  <a:pt x="2358662" y="1153090"/>
                </a:cubicBezTo>
                <a:cubicBezTo>
                  <a:pt x="2294849" y="1209092"/>
                  <a:pt x="2238843" y="1441087"/>
                  <a:pt x="2181383" y="1449641"/>
                </a:cubicBezTo>
                <a:cubicBezTo>
                  <a:pt x="2123923" y="1458195"/>
                  <a:pt x="2074810" y="1260418"/>
                  <a:pt x="2013904" y="1204416"/>
                </a:cubicBezTo>
                <a:cubicBezTo>
                  <a:pt x="1952998" y="1148413"/>
                  <a:pt x="1836320" y="1318383"/>
                  <a:pt x="1802584" y="1244796"/>
                </a:cubicBezTo>
                <a:cubicBezTo>
                  <a:pt x="1785069" y="1216657"/>
                  <a:pt x="1774736" y="1186955"/>
                  <a:pt x="1763505" y="1157449"/>
                </a:cubicBezTo>
                <a:lnTo>
                  <a:pt x="1731651" y="1095715"/>
                </a:lnTo>
                <a:lnTo>
                  <a:pt x="182623" y="1095715"/>
                </a:lnTo>
                <a:cubicBezTo>
                  <a:pt x="81763" y="1095715"/>
                  <a:pt x="0" y="1013952"/>
                  <a:pt x="0" y="913092"/>
                </a:cubicBezTo>
                <a:lnTo>
                  <a:pt x="0" y="182623"/>
                </a:lnTo>
                <a:cubicBezTo>
                  <a:pt x="0" y="81763"/>
                  <a:pt x="81763" y="0"/>
                  <a:pt x="182623" y="0"/>
                </a:cubicBezTo>
                <a:close/>
              </a:path>
            </a:pathLst>
          </a:custGeom>
          <a:solidFill>
            <a:schemeClr val="bg1"/>
          </a:solidFill>
          <a:ln w="19050">
            <a:noFill/>
          </a:ln>
          <a:effectLst>
            <a:outerShdw blurRad="342900" dist="228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800"/>
          </a:p>
        </p:txBody>
      </p:sp>
      <p:sp>
        <p:nvSpPr>
          <p:cNvPr id="195" name="Shape 5411"/>
          <p:cNvSpPr/>
          <p:nvPr/>
        </p:nvSpPr>
        <p:spPr>
          <a:xfrm>
            <a:off x="1615920" y="2721547"/>
            <a:ext cx="153374" cy="118352"/>
          </a:xfrm>
          <a:custGeom>
            <a:avLst/>
            <a:gdLst/>
            <a:ahLst/>
            <a:cxnLst>
              <a:cxn ang="0">
                <a:pos x="wd2" y="hd2"/>
              </a:cxn>
              <a:cxn ang="5400000">
                <a:pos x="wd2" y="hd2"/>
              </a:cxn>
              <a:cxn ang="10800000">
                <a:pos x="wd2" y="hd2"/>
              </a:cxn>
              <a:cxn ang="16200000">
                <a:pos x="wd2" y="hd2"/>
              </a:cxn>
            </a:cxnLst>
            <a:rect l="0" t="0" r="r" b="b"/>
            <a:pathLst>
              <a:path w="21600" h="21600" extrusionOk="0">
                <a:moveTo>
                  <a:pt x="21234" y="5760"/>
                </a:moveTo>
                <a:cubicBezTo>
                  <a:pt x="10983" y="18720"/>
                  <a:pt x="10983" y="18720"/>
                  <a:pt x="10983" y="18720"/>
                </a:cubicBezTo>
                <a:cubicBezTo>
                  <a:pt x="9153" y="21120"/>
                  <a:pt x="9153" y="21120"/>
                  <a:pt x="9153" y="21120"/>
                </a:cubicBezTo>
                <a:cubicBezTo>
                  <a:pt x="8786" y="21600"/>
                  <a:pt x="8786" y="21600"/>
                  <a:pt x="8420" y="21600"/>
                </a:cubicBezTo>
                <a:cubicBezTo>
                  <a:pt x="8054" y="21600"/>
                  <a:pt x="7688" y="21600"/>
                  <a:pt x="7322" y="21120"/>
                </a:cubicBezTo>
                <a:cubicBezTo>
                  <a:pt x="5492" y="18720"/>
                  <a:pt x="5492" y="18720"/>
                  <a:pt x="5492" y="18720"/>
                </a:cubicBezTo>
                <a:cubicBezTo>
                  <a:pt x="366" y="12480"/>
                  <a:pt x="366" y="12480"/>
                  <a:pt x="366" y="12480"/>
                </a:cubicBezTo>
                <a:cubicBezTo>
                  <a:pt x="0" y="12000"/>
                  <a:pt x="0" y="11520"/>
                  <a:pt x="0" y="11040"/>
                </a:cubicBezTo>
                <a:cubicBezTo>
                  <a:pt x="0" y="10560"/>
                  <a:pt x="0" y="10080"/>
                  <a:pt x="366" y="9600"/>
                </a:cubicBezTo>
                <a:cubicBezTo>
                  <a:pt x="2197" y="7200"/>
                  <a:pt x="2197" y="7200"/>
                  <a:pt x="2197" y="7200"/>
                </a:cubicBezTo>
                <a:cubicBezTo>
                  <a:pt x="2563" y="6720"/>
                  <a:pt x="2929" y="6720"/>
                  <a:pt x="3295" y="6720"/>
                </a:cubicBezTo>
                <a:cubicBezTo>
                  <a:pt x="3661" y="6720"/>
                  <a:pt x="4027" y="6720"/>
                  <a:pt x="4027" y="7200"/>
                </a:cubicBezTo>
                <a:cubicBezTo>
                  <a:pt x="8420" y="12480"/>
                  <a:pt x="8420" y="12480"/>
                  <a:pt x="8420" y="12480"/>
                </a:cubicBezTo>
                <a:cubicBezTo>
                  <a:pt x="17207" y="480"/>
                  <a:pt x="17207" y="480"/>
                  <a:pt x="17207" y="480"/>
                </a:cubicBezTo>
                <a:cubicBezTo>
                  <a:pt x="17573" y="480"/>
                  <a:pt x="17939" y="0"/>
                  <a:pt x="18305" y="0"/>
                </a:cubicBezTo>
                <a:cubicBezTo>
                  <a:pt x="18671" y="0"/>
                  <a:pt x="19037" y="480"/>
                  <a:pt x="19403" y="480"/>
                </a:cubicBezTo>
                <a:cubicBezTo>
                  <a:pt x="21234" y="3360"/>
                  <a:pt x="21234" y="3360"/>
                  <a:pt x="21234" y="3360"/>
                </a:cubicBezTo>
                <a:cubicBezTo>
                  <a:pt x="21234" y="3360"/>
                  <a:pt x="21600" y="3840"/>
                  <a:pt x="21600" y="4320"/>
                </a:cubicBezTo>
                <a:cubicBezTo>
                  <a:pt x="21600" y="4800"/>
                  <a:pt x="21234" y="5280"/>
                  <a:pt x="21234" y="5760"/>
                </a:cubicBezTo>
                <a:close/>
              </a:path>
            </a:pathLst>
          </a:custGeom>
          <a:solidFill>
            <a:schemeClr val="tx1">
              <a:lumMod val="75000"/>
              <a:lumOff val="25000"/>
            </a:schemeClr>
          </a:solidFill>
          <a:ln w="12700" cap="flat">
            <a:noFill/>
            <a:miter lim="400000"/>
          </a:ln>
          <a:effectLst/>
        </p:spPr>
        <p:txBody>
          <a:bodyPr wrap="square" lIns="91438" tIns="91438" rIns="91438" bIns="91438" numCol="1" anchor="t">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914400">
              <a:defRPr sz="2400">
                <a:solidFill>
                  <a:srgbClr val="000000"/>
                </a:solidFill>
                <a:latin typeface="Calibri"/>
                <a:ea typeface="Calibri"/>
                <a:cs typeface="Calibri"/>
                <a:sym typeface="Calibri"/>
              </a:defRPr>
            </a:pPr>
            <a:endParaRPr sz="1200"/>
          </a:p>
        </p:txBody>
      </p:sp>
      <p:sp>
        <p:nvSpPr>
          <p:cNvPr id="196" name="Shape 5411"/>
          <p:cNvSpPr/>
          <p:nvPr/>
        </p:nvSpPr>
        <p:spPr>
          <a:xfrm>
            <a:off x="1615920" y="3171660"/>
            <a:ext cx="153374" cy="118352"/>
          </a:xfrm>
          <a:custGeom>
            <a:avLst/>
            <a:gdLst/>
            <a:ahLst/>
            <a:cxnLst>
              <a:cxn ang="0">
                <a:pos x="wd2" y="hd2"/>
              </a:cxn>
              <a:cxn ang="5400000">
                <a:pos x="wd2" y="hd2"/>
              </a:cxn>
              <a:cxn ang="10800000">
                <a:pos x="wd2" y="hd2"/>
              </a:cxn>
              <a:cxn ang="16200000">
                <a:pos x="wd2" y="hd2"/>
              </a:cxn>
            </a:cxnLst>
            <a:rect l="0" t="0" r="r" b="b"/>
            <a:pathLst>
              <a:path w="21600" h="21600" extrusionOk="0">
                <a:moveTo>
                  <a:pt x="21234" y="5760"/>
                </a:moveTo>
                <a:cubicBezTo>
                  <a:pt x="10983" y="18720"/>
                  <a:pt x="10983" y="18720"/>
                  <a:pt x="10983" y="18720"/>
                </a:cubicBezTo>
                <a:cubicBezTo>
                  <a:pt x="9153" y="21120"/>
                  <a:pt x="9153" y="21120"/>
                  <a:pt x="9153" y="21120"/>
                </a:cubicBezTo>
                <a:cubicBezTo>
                  <a:pt x="8786" y="21600"/>
                  <a:pt x="8786" y="21600"/>
                  <a:pt x="8420" y="21600"/>
                </a:cubicBezTo>
                <a:cubicBezTo>
                  <a:pt x="8054" y="21600"/>
                  <a:pt x="7688" y="21600"/>
                  <a:pt x="7322" y="21120"/>
                </a:cubicBezTo>
                <a:cubicBezTo>
                  <a:pt x="5492" y="18720"/>
                  <a:pt x="5492" y="18720"/>
                  <a:pt x="5492" y="18720"/>
                </a:cubicBezTo>
                <a:cubicBezTo>
                  <a:pt x="366" y="12480"/>
                  <a:pt x="366" y="12480"/>
                  <a:pt x="366" y="12480"/>
                </a:cubicBezTo>
                <a:cubicBezTo>
                  <a:pt x="0" y="12000"/>
                  <a:pt x="0" y="11520"/>
                  <a:pt x="0" y="11040"/>
                </a:cubicBezTo>
                <a:cubicBezTo>
                  <a:pt x="0" y="10560"/>
                  <a:pt x="0" y="10080"/>
                  <a:pt x="366" y="9600"/>
                </a:cubicBezTo>
                <a:cubicBezTo>
                  <a:pt x="2197" y="7200"/>
                  <a:pt x="2197" y="7200"/>
                  <a:pt x="2197" y="7200"/>
                </a:cubicBezTo>
                <a:cubicBezTo>
                  <a:pt x="2563" y="6720"/>
                  <a:pt x="2929" y="6720"/>
                  <a:pt x="3295" y="6720"/>
                </a:cubicBezTo>
                <a:cubicBezTo>
                  <a:pt x="3661" y="6720"/>
                  <a:pt x="4027" y="6720"/>
                  <a:pt x="4027" y="7200"/>
                </a:cubicBezTo>
                <a:cubicBezTo>
                  <a:pt x="8420" y="12480"/>
                  <a:pt x="8420" y="12480"/>
                  <a:pt x="8420" y="12480"/>
                </a:cubicBezTo>
                <a:cubicBezTo>
                  <a:pt x="17207" y="480"/>
                  <a:pt x="17207" y="480"/>
                  <a:pt x="17207" y="480"/>
                </a:cubicBezTo>
                <a:cubicBezTo>
                  <a:pt x="17573" y="480"/>
                  <a:pt x="17939" y="0"/>
                  <a:pt x="18305" y="0"/>
                </a:cubicBezTo>
                <a:cubicBezTo>
                  <a:pt x="18671" y="0"/>
                  <a:pt x="19037" y="480"/>
                  <a:pt x="19403" y="480"/>
                </a:cubicBezTo>
                <a:cubicBezTo>
                  <a:pt x="21234" y="3360"/>
                  <a:pt x="21234" y="3360"/>
                  <a:pt x="21234" y="3360"/>
                </a:cubicBezTo>
                <a:cubicBezTo>
                  <a:pt x="21234" y="3360"/>
                  <a:pt x="21600" y="3840"/>
                  <a:pt x="21600" y="4320"/>
                </a:cubicBezTo>
                <a:cubicBezTo>
                  <a:pt x="21600" y="4800"/>
                  <a:pt x="21234" y="5280"/>
                  <a:pt x="21234" y="5760"/>
                </a:cubicBezTo>
                <a:close/>
              </a:path>
            </a:pathLst>
          </a:custGeom>
          <a:solidFill>
            <a:schemeClr val="tx1">
              <a:lumMod val="75000"/>
              <a:lumOff val="25000"/>
            </a:schemeClr>
          </a:solidFill>
          <a:ln w="12700" cap="flat">
            <a:noFill/>
            <a:miter lim="400000"/>
          </a:ln>
          <a:effectLst/>
        </p:spPr>
        <p:txBody>
          <a:bodyPr wrap="square" lIns="91438" tIns="91438" rIns="91438" bIns="91438" numCol="1" anchor="t">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914400">
              <a:defRPr sz="2400">
                <a:solidFill>
                  <a:srgbClr val="000000"/>
                </a:solidFill>
                <a:latin typeface="Calibri"/>
                <a:ea typeface="Calibri"/>
                <a:cs typeface="Calibri"/>
                <a:sym typeface="Calibri"/>
              </a:defRPr>
            </a:pPr>
            <a:endParaRPr sz="1200"/>
          </a:p>
        </p:txBody>
      </p:sp>
      <p:sp>
        <p:nvSpPr>
          <p:cNvPr id="197" name="Rectangle 196"/>
          <p:cNvSpPr/>
          <p:nvPr/>
        </p:nvSpPr>
        <p:spPr>
          <a:xfrm>
            <a:off x="1878500" y="2593066"/>
            <a:ext cx="2113751" cy="415498"/>
          </a:xfrm>
          <a:prstGeom prst="rect">
            <a:avLst/>
          </a:prstGeom>
        </p:spPr>
        <p:txBody>
          <a:bodyPr wrap="square">
            <a:spAutoFit/>
          </a:bodyPr>
          <a:lstStyle/>
          <a:p>
            <a:pPr>
              <a:buClr>
                <a:srgbClr val="E24848"/>
              </a:buClr>
              <a:defRPr/>
            </a:pPr>
            <a:r>
              <a:rPr lang="en-US" sz="1050" noProof="1">
                <a:solidFill>
                  <a:schemeClr val="tx1">
                    <a:lumMod val="65000"/>
                    <a:lumOff val="35000"/>
                  </a:schemeClr>
                </a:solidFill>
                <a:ea typeface="Open Sans Light" panose="020B0306030504020204" pitchFamily="34" charset="0"/>
                <a:cs typeface="Open Sans Light" panose="020B0306030504020204" pitchFamily="34" charset="0"/>
              </a:rPr>
              <a:t>Lorem ipsum dolor sit am</a:t>
            </a:r>
            <a:r>
              <a:rPr lang="id-ID" sz="1050" noProof="1">
                <a:solidFill>
                  <a:schemeClr val="tx1">
                    <a:lumMod val="65000"/>
                    <a:lumOff val="35000"/>
                  </a:schemeClr>
                </a:solidFill>
                <a:ea typeface="Open Sans Light" panose="020B0306030504020204" pitchFamily="34" charset="0"/>
                <a:cs typeface="Open Sans Light" panose="020B0306030504020204" pitchFamily="34" charset="0"/>
              </a:rPr>
              <a:t> </a:t>
            </a:r>
            <a:r>
              <a:rPr lang="en-US" sz="1050" noProof="1">
                <a:solidFill>
                  <a:schemeClr val="tx1">
                    <a:lumMod val="65000"/>
                    <a:lumOff val="35000"/>
                  </a:schemeClr>
                </a:solidFill>
                <a:ea typeface="Open Sans Light" panose="020B0306030504020204" pitchFamily="34" charset="0"/>
                <a:cs typeface="Open Sans Light" panose="020B0306030504020204" pitchFamily="34" charset="0"/>
              </a:rPr>
              <a:t>consectetur</a:t>
            </a:r>
          </a:p>
        </p:txBody>
      </p:sp>
      <p:sp>
        <p:nvSpPr>
          <p:cNvPr id="198" name="Rectangle 197"/>
          <p:cNvSpPr/>
          <p:nvPr/>
        </p:nvSpPr>
        <p:spPr>
          <a:xfrm>
            <a:off x="1878500" y="3059729"/>
            <a:ext cx="2113751" cy="415498"/>
          </a:xfrm>
          <a:prstGeom prst="rect">
            <a:avLst/>
          </a:prstGeom>
        </p:spPr>
        <p:txBody>
          <a:bodyPr wrap="square">
            <a:spAutoFit/>
          </a:bodyPr>
          <a:lstStyle/>
          <a:p>
            <a:pPr>
              <a:buClr>
                <a:srgbClr val="E24848"/>
              </a:buClr>
              <a:defRPr/>
            </a:pPr>
            <a:r>
              <a:rPr lang="en-US" sz="1050" noProof="1">
                <a:solidFill>
                  <a:schemeClr val="tx1">
                    <a:lumMod val="65000"/>
                    <a:lumOff val="35000"/>
                  </a:schemeClr>
                </a:solidFill>
                <a:ea typeface="Open Sans Light" panose="020B0306030504020204" pitchFamily="34" charset="0"/>
                <a:cs typeface="Open Sans Light" panose="020B0306030504020204" pitchFamily="34" charset="0"/>
              </a:rPr>
              <a:t>Lorem ipsum dolor sit am</a:t>
            </a:r>
            <a:r>
              <a:rPr lang="id-ID" sz="1050" noProof="1">
                <a:solidFill>
                  <a:schemeClr val="tx1">
                    <a:lumMod val="65000"/>
                    <a:lumOff val="35000"/>
                  </a:schemeClr>
                </a:solidFill>
                <a:ea typeface="Open Sans Light" panose="020B0306030504020204" pitchFamily="34" charset="0"/>
                <a:cs typeface="Open Sans Light" panose="020B0306030504020204" pitchFamily="34" charset="0"/>
              </a:rPr>
              <a:t> </a:t>
            </a:r>
            <a:r>
              <a:rPr lang="en-US" sz="1050" noProof="1">
                <a:solidFill>
                  <a:schemeClr val="tx1">
                    <a:lumMod val="65000"/>
                    <a:lumOff val="35000"/>
                  </a:schemeClr>
                </a:solidFill>
                <a:ea typeface="Open Sans Light" panose="020B0306030504020204" pitchFamily="34" charset="0"/>
                <a:cs typeface="Open Sans Light" panose="020B0306030504020204" pitchFamily="34" charset="0"/>
              </a:rPr>
              <a:t>consectetur</a:t>
            </a:r>
          </a:p>
        </p:txBody>
      </p:sp>
      <p:sp>
        <p:nvSpPr>
          <p:cNvPr id="229" name="Freeform 228"/>
          <p:cNvSpPr/>
          <p:nvPr/>
        </p:nvSpPr>
        <p:spPr>
          <a:xfrm>
            <a:off x="756418" y="4546930"/>
            <a:ext cx="3528383" cy="1469568"/>
          </a:xfrm>
          <a:custGeom>
            <a:avLst/>
            <a:gdLst>
              <a:gd name="connsiteX0" fmla="*/ 182623 w 3528383"/>
              <a:gd name="connsiteY0" fmla="*/ 0 h 1469568"/>
              <a:gd name="connsiteX1" fmla="*/ 3345760 w 3528383"/>
              <a:gd name="connsiteY1" fmla="*/ 0 h 1469568"/>
              <a:gd name="connsiteX2" fmla="*/ 3528383 w 3528383"/>
              <a:gd name="connsiteY2" fmla="*/ 182623 h 1469568"/>
              <a:gd name="connsiteX3" fmla="*/ 3528383 w 3528383"/>
              <a:gd name="connsiteY3" fmla="*/ 913092 h 1469568"/>
              <a:gd name="connsiteX4" fmla="*/ 3382565 w 3528383"/>
              <a:gd name="connsiteY4" fmla="*/ 1092005 h 1469568"/>
              <a:gd name="connsiteX5" fmla="*/ 3348312 w 3528383"/>
              <a:gd name="connsiteY5" fmla="*/ 1095458 h 1469568"/>
              <a:gd name="connsiteX6" fmla="*/ 3306182 w 3528383"/>
              <a:gd name="connsiteY6" fmla="*/ 1177107 h 1469568"/>
              <a:gd name="connsiteX7" fmla="*/ 3267103 w 3528383"/>
              <a:gd name="connsiteY7" fmla="*/ 1264454 h 1469568"/>
              <a:gd name="connsiteX8" fmla="*/ 3055783 w 3528383"/>
              <a:gd name="connsiteY8" fmla="*/ 1224074 h 1469568"/>
              <a:gd name="connsiteX9" fmla="*/ 2888304 w 3528383"/>
              <a:gd name="connsiteY9" fmla="*/ 1469299 h 1469568"/>
              <a:gd name="connsiteX10" fmla="*/ 2711026 w 3528383"/>
              <a:gd name="connsiteY10" fmla="*/ 1172748 h 1469568"/>
              <a:gd name="connsiteX11" fmla="*/ 2535381 w 3528383"/>
              <a:gd name="connsiteY11" fmla="*/ 1287531 h 1469568"/>
              <a:gd name="connsiteX12" fmla="*/ 2534844 w 3528383"/>
              <a:gd name="connsiteY12" fmla="*/ 1287050 h 1469568"/>
              <a:gd name="connsiteX13" fmla="*/ 2534306 w 3528383"/>
              <a:gd name="connsiteY13" fmla="*/ 1287531 h 1469568"/>
              <a:gd name="connsiteX14" fmla="*/ 2358662 w 3528383"/>
              <a:gd name="connsiteY14" fmla="*/ 1172748 h 1469568"/>
              <a:gd name="connsiteX15" fmla="*/ 2181383 w 3528383"/>
              <a:gd name="connsiteY15" fmla="*/ 1469299 h 1469568"/>
              <a:gd name="connsiteX16" fmla="*/ 2013904 w 3528383"/>
              <a:gd name="connsiteY16" fmla="*/ 1224074 h 1469568"/>
              <a:gd name="connsiteX17" fmla="*/ 1802584 w 3528383"/>
              <a:gd name="connsiteY17" fmla="*/ 1264454 h 1469568"/>
              <a:gd name="connsiteX18" fmla="*/ 1763505 w 3528383"/>
              <a:gd name="connsiteY18" fmla="*/ 1177107 h 1469568"/>
              <a:gd name="connsiteX19" fmla="*/ 1721508 w 3528383"/>
              <a:gd name="connsiteY19" fmla="*/ 1095715 h 1469568"/>
              <a:gd name="connsiteX20" fmla="*/ 182623 w 3528383"/>
              <a:gd name="connsiteY20" fmla="*/ 1095715 h 1469568"/>
              <a:gd name="connsiteX21" fmla="*/ 0 w 3528383"/>
              <a:gd name="connsiteY21" fmla="*/ 913092 h 1469568"/>
              <a:gd name="connsiteX22" fmla="*/ 0 w 3528383"/>
              <a:gd name="connsiteY22" fmla="*/ 182623 h 1469568"/>
              <a:gd name="connsiteX23" fmla="*/ 182623 w 3528383"/>
              <a:gd name="connsiteY23" fmla="*/ 0 h 146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28383" h="1469568">
                <a:moveTo>
                  <a:pt x="182623" y="0"/>
                </a:moveTo>
                <a:lnTo>
                  <a:pt x="3345760" y="0"/>
                </a:lnTo>
                <a:cubicBezTo>
                  <a:pt x="3446620" y="0"/>
                  <a:pt x="3528383" y="81763"/>
                  <a:pt x="3528383" y="182623"/>
                </a:cubicBezTo>
                <a:lnTo>
                  <a:pt x="3528383" y="913092"/>
                </a:lnTo>
                <a:cubicBezTo>
                  <a:pt x="3528383" y="1001345"/>
                  <a:pt x="3465783" y="1074976"/>
                  <a:pt x="3382565" y="1092005"/>
                </a:cubicBezTo>
                <a:lnTo>
                  <a:pt x="3348312" y="1095458"/>
                </a:lnTo>
                <a:lnTo>
                  <a:pt x="3306182" y="1177107"/>
                </a:lnTo>
                <a:cubicBezTo>
                  <a:pt x="3294951" y="1206613"/>
                  <a:pt x="3284618" y="1236315"/>
                  <a:pt x="3267103" y="1264454"/>
                </a:cubicBezTo>
                <a:cubicBezTo>
                  <a:pt x="3233368" y="1338041"/>
                  <a:pt x="3116690" y="1168072"/>
                  <a:pt x="3055783" y="1224074"/>
                </a:cubicBezTo>
                <a:cubicBezTo>
                  <a:pt x="2994878" y="1280076"/>
                  <a:pt x="2945764" y="1477853"/>
                  <a:pt x="2888304" y="1469299"/>
                </a:cubicBezTo>
                <a:cubicBezTo>
                  <a:pt x="2830845" y="1460745"/>
                  <a:pt x="2774838" y="1228750"/>
                  <a:pt x="2711026" y="1172748"/>
                </a:cubicBezTo>
                <a:cubicBezTo>
                  <a:pt x="2655190" y="1123746"/>
                  <a:pt x="2579078" y="1308881"/>
                  <a:pt x="2535381" y="1287531"/>
                </a:cubicBezTo>
                <a:lnTo>
                  <a:pt x="2534844" y="1287050"/>
                </a:lnTo>
                <a:lnTo>
                  <a:pt x="2534306" y="1287531"/>
                </a:lnTo>
                <a:cubicBezTo>
                  <a:pt x="2490609" y="1308881"/>
                  <a:pt x="2414497" y="1123746"/>
                  <a:pt x="2358662" y="1172748"/>
                </a:cubicBezTo>
                <a:cubicBezTo>
                  <a:pt x="2294849" y="1228750"/>
                  <a:pt x="2238843" y="1460745"/>
                  <a:pt x="2181383" y="1469299"/>
                </a:cubicBezTo>
                <a:cubicBezTo>
                  <a:pt x="2123923" y="1477853"/>
                  <a:pt x="2074810" y="1280076"/>
                  <a:pt x="2013904" y="1224074"/>
                </a:cubicBezTo>
                <a:cubicBezTo>
                  <a:pt x="1952998" y="1168072"/>
                  <a:pt x="1836320" y="1338041"/>
                  <a:pt x="1802584" y="1264454"/>
                </a:cubicBezTo>
                <a:cubicBezTo>
                  <a:pt x="1785069" y="1236315"/>
                  <a:pt x="1774736" y="1206613"/>
                  <a:pt x="1763505" y="1177107"/>
                </a:cubicBezTo>
                <a:lnTo>
                  <a:pt x="1721508" y="1095715"/>
                </a:lnTo>
                <a:lnTo>
                  <a:pt x="182623" y="1095715"/>
                </a:lnTo>
                <a:cubicBezTo>
                  <a:pt x="81763" y="1095715"/>
                  <a:pt x="0" y="1013952"/>
                  <a:pt x="0" y="913092"/>
                </a:cubicBezTo>
                <a:lnTo>
                  <a:pt x="0" y="182623"/>
                </a:lnTo>
                <a:cubicBezTo>
                  <a:pt x="0" y="81763"/>
                  <a:pt x="81763" y="0"/>
                  <a:pt x="182623" y="0"/>
                </a:cubicBezTo>
                <a:close/>
              </a:path>
            </a:pathLst>
          </a:custGeom>
          <a:solidFill>
            <a:schemeClr val="bg1"/>
          </a:solidFill>
          <a:ln w="19050">
            <a:noFill/>
          </a:ln>
          <a:effectLst>
            <a:outerShdw blurRad="342900" dist="228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800"/>
          </a:p>
        </p:txBody>
      </p:sp>
      <p:sp>
        <p:nvSpPr>
          <p:cNvPr id="201" name="Shape 5411"/>
          <p:cNvSpPr/>
          <p:nvPr/>
        </p:nvSpPr>
        <p:spPr>
          <a:xfrm>
            <a:off x="1615920" y="4776286"/>
            <a:ext cx="153374" cy="118352"/>
          </a:xfrm>
          <a:custGeom>
            <a:avLst/>
            <a:gdLst/>
            <a:ahLst/>
            <a:cxnLst>
              <a:cxn ang="0">
                <a:pos x="wd2" y="hd2"/>
              </a:cxn>
              <a:cxn ang="5400000">
                <a:pos x="wd2" y="hd2"/>
              </a:cxn>
              <a:cxn ang="10800000">
                <a:pos x="wd2" y="hd2"/>
              </a:cxn>
              <a:cxn ang="16200000">
                <a:pos x="wd2" y="hd2"/>
              </a:cxn>
            </a:cxnLst>
            <a:rect l="0" t="0" r="r" b="b"/>
            <a:pathLst>
              <a:path w="21600" h="21600" extrusionOk="0">
                <a:moveTo>
                  <a:pt x="21234" y="5760"/>
                </a:moveTo>
                <a:cubicBezTo>
                  <a:pt x="10983" y="18720"/>
                  <a:pt x="10983" y="18720"/>
                  <a:pt x="10983" y="18720"/>
                </a:cubicBezTo>
                <a:cubicBezTo>
                  <a:pt x="9153" y="21120"/>
                  <a:pt x="9153" y="21120"/>
                  <a:pt x="9153" y="21120"/>
                </a:cubicBezTo>
                <a:cubicBezTo>
                  <a:pt x="8786" y="21600"/>
                  <a:pt x="8786" y="21600"/>
                  <a:pt x="8420" y="21600"/>
                </a:cubicBezTo>
                <a:cubicBezTo>
                  <a:pt x="8054" y="21600"/>
                  <a:pt x="7688" y="21600"/>
                  <a:pt x="7322" y="21120"/>
                </a:cubicBezTo>
                <a:cubicBezTo>
                  <a:pt x="5492" y="18720"/>
                  <a:pt x="5492" y="18720"/>
                  <a:pt x="5492" y="18720"/>
                </a:cubicBezTo>
                <a:cubicBezTo>
                  <a:pt x="366" y="12480"/>
                  <a:pt x="366" y="12480"/>
                  <a:pt x="366" y="12480"/>
                </a:cubicBezTo>
                <a:cubicBezTo>
                  <a:pt x="0" y="12000"/>
                  <a:pt x="0" y="11520"/>
                  <a:pt x="0" y="11040"/>
                </a:cubicBezTo>
                <a:cubicBezTo>
                  <a:pt x="0" y="10560"/>
                  <a:pt x="0" y="10080"/>
                  <a:pt x="366" y="9600"/>
                </a:cubicBezTo>
                <a:cubicBezTo>
                  <a:pt x="2197" y="7200"/>
                  <a:pt x="2197" y="7200"/>
                  <a:pt x="2197" y="7200"/>
                </a:cubicBezTo>
                <a:cubicBezTo>
                  <a:pt x="2563" y="6720"/>
                  <a:pt x="2929" y="6720"/>
                  <a:pt x="3295" y="6720"/>
                </a:cubicBezTo>
                <a:cubicBezTo>
                  <a:pt x="3661" y="6720"/>
                  <a:pt x="4027" y="6720"/>
                  <a:pt x="4027" y="7200"/>
                </a:cubicBezTo>
                <a:cubicBezTo>
                  <a:pt x="8420" y="12480"/>
                  <a:pt x="8420" y="12480"/>
                  <a:pt x="8420" y="12480"/>
                </a:cubicBezTo>
                <a:cubicBezTo>
                  <a:pt x="17207" y="480"/>
                  <a:pt x="17207" y="480"/>
                  <a:pt x="17207" y="480"/>
                </a:cubicBezTo>
                <a:cubicBezTo>
                  <a:pt x="17573" y="480"/>
                  <a:pt x="17939" y="0"/>
                  <a:pt x="18305" y="0"/>
                </a:cubicBezTo>
                <a:cubicBezTo>
                  <a:pt x="18671" y="0"/>
                  <a:pt x="19037" y="480"/>
                  <a:pt x="19403" y="480"/>
                </a:cubicBezTo>
                <a:cubicBezTo>
                  <a:pt x="21234" y="3360"/>
                  <a:pt x="21234" y="3360"/>
                  <a:pt x="21234" y="3360"/>
                </a:cubicBezTo>
                <a:cubicBezTo>
                  <a:pt x="21234" y="3360"/>
                  <a:pt x="21600" y="3840"/>
                  <a:pt x="21600" y="4320"/>
                </a:cubicBezTo>
                <a:cubicBezTo>
                  <a:pt x="21600" y="4800"/>
                  <a:pt x="21234" y="5280"/>
                  <a:pt x="21234" y="5760"/>
                </a:cubicBezTo>
                <a:close/>
              </a:path>
            </a:pathLst>
          </a:custGeom>
          <a:solidFill>
            <a:schemeClr val="tx1">
              <a:lumMod val="75000"/>
              <a:lumOff val="25000"/>
            </a:schemeClr>
          </a:solidFill>
          <a:ln w="12700" cap="flat">
            <a:noFill/>
            <a:miter lim="400000"/>
          </a:ln>
          <a:effectLst/>
        </p:spPr>
        <p:txBody>
          <a:bodyPr wrap="square" lIns="91438" tIns="91438" rIns="91438" bIns="91438" numCol="1" anchor="t">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914400">
              <a:defRPr sz="2400">
                <a:solidFill>
                  <a:srgbClr val="000000"/>
                </a:solidFill>
                <a:latin typeface="Calibri"/>
                <a:ea typeface="Calibri"/>
                <a:cs typeface="Calibri"/>
                <a:sym typeface="Calibri"/>
              </a:defRPr>
            </a:pPr>
            <a:endParaRPr sz="1200"/>
          </a:p>
        </p:txBody>
      </p:sp>
      <p:sp>
        <p:nvSpPr>
          <p:cNvPr id="202" name="Shape 5411"/>
          <p:cNvSpPr/>
          <p:nvPr/>
        </p:nvSpPr>
        <p:spPr>
          <a:xfrm>
            <a:off x="1615920" y="5226399"/>
            <a:ext cx="153374" cy="118352"/>
          </a:xfrm>
          <a:custGeom>
            <a:avLst/>
            <a:gdLst/>
            <a:ahLst/>
            <a:cxnLst>
              <a:cxn ang="0">
                <a:pos x="wd2" y="hd2"/>
              </a:cxn>
              <a:cxn ang="5400000">
                <a:pos x="wd2" y="hd2"/>
              </a:cxn>
              <a:cxn ang="10800000">
                <a:pos x="wd2" y="hd2"/>
              </a:cxn>
              <a:cxn ang="16200000">
                <a:pos x="wd2" y="hd2"/>
              </a:cxn>
            </a:cxnLst>
            <a:rect l="0" t="0" r="r" b="b"/>
            <a:pathLst>
              <a:path w="21600" h="21600" extrusionOk="0">
                <a:moveTo>
                  <a:pt x="21234" y="5760"/>
                </a:moveTo>
                <a:cubicBezTo>
                  <a:pt x="10983" y="18720"/>
                  <a:pt x="10983" y="18720"/>
                  <a:pt x="10983" y="18720"/>
                </a:cubicBezTo>
                <a:cubicBezTo>
                  <a:pt x="9153" y="21120"/>
                  <a:pt x="9153" y="21120"/>
                  <a:pt x="9153" y="21120"/>
                </a:cubicBezTo>
                <a:cubicBezTo>
                  <a:pt x="8786" y="21600"/>
                  <a:pt x="8786" y="21600"/>
                  <a:pt x="8420" y="21600"/>
                </a:cubicBezTo>
                <a:cubicBezTo>
                  <a:pt x="8054" y="21600"/>
                  <a:pt x="7688" y="21600"/>
                  <a:pt x="7322" y="21120"/>
                </a:cubicBezTo>
                <a:cubicBezTo>
                  <a:pt x="5492" y="18720"/>
                  <a:pt x="5492" y="18720"/>
                  <a:pt x="5492" y="18720"/>
                </a:cubicBezTo>
                <a:cubicBezTo>
                  <a:pt x="366" y="12480"/>
                  <a:pt x="366" y="12480"/>
                  <a:pt x="366" y="12480"/>
                </a:cubicBezTo>
                <a:cubicBezTo>
                  <a:pt x="0" y="12000"/>
                  <a:pt x="0" y="11520"/>
                  <a:pt x="0" y="11040"/>
                </a:cubicBezTo>
                <a:cubicBezTo>
                  <a:pt x="0" y="10560"/>
                  <a:pt x="0" y="10080"/>
                  <a:pt x="366" y="9600"/>
                </a:cubicBezTo>
                <a:cubicBezTo>
                  <a:pt x="2197" y="7200"/>
                  <a:pt x="2197" y="7200"/>
                  <a:pt x="2197" y="7200"/>
                </a:cubicBezTo>
                <a:cubicBezTo>
                  <a:pt x="2563" y="6720"/>
                  <a:pt x="2929" y="6720"/>
                  <a:pt x="3295" y="6720"/>
                </a:cubicBezTo>
                <a:cubicBezTo>
                  <a:pt x="3661" y="6720"/>
                  <a:pt x="4027" y="6720"/>
                  <a:pt x="4027" y="7200"/>
                </a:cubicBezTo>
                <a:cubicBezTo>
                  <a:pt x="8420" y="12480"/>
                  <a:pt x="8420" y="12480"/>
                  <a:pt x="8420" y="12480"/>
                </a:cubicBezTo>
                <a:cubicBezTo>
                  <a:pt x="17207" y="480"/>
                  <a:pt x="17207" y="480"/>
                  <a:pt x="17207" y="480"/>
                </a:cubicBezTo>
                <a:cubicBezTo>
                  <a:pt x="17573" y="480"/>
                  <a:pt x="17939" y="0"/>
                  <a:pt x="18305" y="0"/>
                </a:cubicBezTo>
                <a:cubicBezTo>
                  <a:pt x="18671" y="0"/>
                  <a:pt x="19037" y="480"/>
                  <a:pt x="19403" y="480"/>
                </a:cubicBezTo>
                <a:cubicBezTo>
                  <a:pt x="21234" y="3360"/>
                  <a:pt x="21234" y="3360"/>
                  <a:pt x="21234" y="3360"/>
                </a:cubicBezTo>
                <a:cubicBezTo>
                  <a:pt x="21234" y="3360"/>
                  <a:pt x="21600" y="3840"/>
                  <a:pt x="21600" y="4320"/>
                </a:cubicBezTo>
                <a:cubicBezTo>
                  <a:pt x="21600" y="4800"/>
                  <a:pt x="21234" y="5280"/>
                  <a:pt x="21234" y="5760"/>
                </a:cubicBezTo>
                <a:close/>
              </a:path>
            </a:pathLst>
          </a:custGeom>
          <a:solidFill>
            <a:schemeClr val="tx1">
              <a:lumMod val="75000"/>
              <a:lumOff val="25000"/>
            </a:schemeClr>
          </a:solidFill>
          <a:ln w="12700" cap="flat">
            <a:noFill/>
            <a:miter lim="400000"/>
          </a:ln>
          <a:effectLst/>
        </p:spPr>
        <p:txBody>
          <a:bodyPr wrap="square" lIns="91438" tIns="91438" rIns="91438" bIns="91438" numCol="1" anchor="t">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914400">
              <a:defRPr sz="2400">
                <a:solidFill>
                  <a:srgbClr val="000000"/>
                </a:solidFill>
                <a:latin typeface="Calibri"/>
                <a:ea typeface="Calibri"/>
                <a:cs typeface="Calibri"/>
                <a:sym typeface="Calibri"/>
              </a:defRPr>
            </a:pPr>
            <a:endParaRPr sz="1200"/>
          </a:p>
        </p:txBody>
      </p:sp>
      <p:sp>
        <p:nvSpPr>
          <p:cNvPr id="203" name="Rectangle 202"/>
          <p:cNvSpPr/>
          <p:nvPr/>
        </p:nvSpPr>
        <p:spPr>
          <a:xfrm>
            <a:off x="1878500" y="4647805"/>
            <a:ext cx="2113751" cy="415498"/>
          </a:xfrm>
          <a:prstGeom prst="rect">
            <a:avLst/>
          </a:prstGeom>
        </p:spPr>
        <p:txBody>
          <a:bodyPr wrap="square">
            <a:spAutoFit/>
          </a:bodyPr>
          <a:lstStyle/>
          <a:p>
            <a:pPr>
              <a:buClr>
                <a:srgbClr val="E24848"/>
              </a:buClr>
              <a:defRPr/>
            </a:pPr>
            <a:r>
              <a:rPr lang="en-US" sz="1050" noProof="1">
                <a:solidFill>
                  <a:schemeClr val="tx1">
                    <a:lumMod val="65000"/>
                    <a:lumOff val="35000"/>
                  </a:schemeClr>
                </a:solidFill>
                <a:ea typeface="Open Sans Light" panose="020B0306030504020204" pitchFamily="34" charset="0"/>
                <a:cs typeface="Open Sans Light" panose="020B0306030504020204" pitchFamily="34" charset="0"/>
              </a:rPr>
              <a:t>Lorem ipsum dolor sit am</a:t>
            </a:r>
            <a:r>
              <a:rPr lang="id-ID" sz="1050" noProof="1">
                <a:solidFill>
                  <a:schemeClr val="tx1">
                    <a:lumMod val="65000"/>
                    <a:lumOff val="35000"/>
                  </a:schemeClr>
                </a:solidFill>
                <a:ea typeface="Open Sans Light" panose="020B0306030504020204" pitchFamily="34" charset="0"/>
                <a:cs typeface="Open Sans Light" panose="020B0306030504020204" pitchFamily="34" charset="0"/>
              </a:rPr>
              <a:t> </a:t>
            </a:r>
            <a:r>
              <a:rPr lang="en-US" sz="1050" noProof="1">
                <a:solidFill>
                  <a:schemeClr val="tx1">
                    <a:lumMod val="65000"/>
                    <a:lumOff val="35000"/>
                  </a:schemeClr>
                </a:solidFill>
                <a:ea typeface="Open Sans Light" panose="020B0306030504020204" pitchFamily="34" charset="0"/>
                <a:cs typeface="Open Sans Light" panose="020B0306030504020204" pitchFamily="34" charset="0"/>
              </a:rPr>
              <a:t>consectetur</a:t>
            </a:r>
          </a:p>
        </p:txBody>
      </p:sp>
      <p:sp>
        <p:nvSpPr>
          <p:cNvPr id="204" name="Rectangle 203"/>
          <p:cNvSpPr/>
          <p:nvPr/>
        </p:nvSpPr>
        <p:spPr>
          <a:xfrm>
            <a:off x="1878500" y="5114468"/>
            <a:ext cx="2113751" cy="415498"/>
          </a:xfrm>
          <a:prstGeom prst="rect">
            <a:avLst/>
          </a:prstGeom>
        </p:spPr>
        <p:txBody>
          <a:bodyPr wrap="square">
            <a:spAutoFit/>
          </a:bodyPr>
          <a:lstStyle/>
          <a:p>
            <a:pPr>
              <a:buClr>
                <a:srgbClr val="E24848"/>
              </a:buClr>
              <a:defRPr/>
            </a:pPr>
            <a:r>
              <a:rPr lang="en-US" sz="1050" noProof="1">
                <a:solidFill>
                  <a:schemeClr val="tx1">
                    <a:lumMod val="65000"/>
                    <a:lumOff val="35000"/>
                  </a:schemeClr>
                </a:solidFill>
                <a:ea typeface="Open Sans Light" panose="020B0306030504020204" pitchFamily="34" charset="0"/>
                <a:cs typeface="Open Sans Light" panose="020B0306030504020204" pitchFamily="34" charset="0"/>
              </a:rPr>
              <a:t>Lorem ipsum dolor sit am</a:t>
            </a:r>
            <a:r>
              <a:rPr lang="id-ID" sz="1050" noProof="1">
                <a:solidFill>
                  <a:schemeClr val="tx1">
                    <a:lumMod val="65000"/>
                    <a:lumOff val="35000"/>
                  </a:schemeClr>
                </a:solidFill>
                <a:ea typeface="Open Sans Light" panose="020B0306030504020204" pitchFamily="34" charset="0"/>
                <a:cs typeface="Open Sans Light" panose="020B0306030504020204" pitchFamily="34" charset="0"/>
              </a:rPr>
              <a:t> </a:t>
            </a:r>
            <a:r>
              <a:rPr lang="en-US" sz="1050" noProof="1">
                <a:solidFill>
                  <a:schemeClr val="tx1">
                    <a:lumMod val="65000"/>
                    <a:lumOff val="35000"/>
                  </a:schemeClr>
                </a:solidFill>
                <a:ea typeface="Open Sans Light" panose="020B0306030504020204" pitchFamily="34" charset="0"/>
                <a:cs typeface="Open Sans Light" panose="020B0306030504020204" pitchFamily="34" charset="0"/>
              </a:rPr>
              <a:t>consectetur</a:t>
            </a:r>
          </a:p>
        </p:txBody>
      </p:sp>
      <p:sp>
        <p:nvSpPr>
          <p:cNvPr id="207" name="Text Placeholder 2"/>
          <p:cNvSpPr txBox="1">
            <a:spLocks/>
          </p:cNvSpPr>
          <p:nvPr/>
        </p:nvSpPr>
        <p:spPr>
          <a:xfrm>
            <a:off x="1049450" y="2133897"/>
            <a:ext cx="2005411" cy="333728"/>
          </a:xfrm>
          <a:prstGeom prst="rect">
            <a:avLst/>
          </a:prstGeom>
        </p:spPr>
        <p:txBody>
          <a:bodyPr vert="horz" lIns="121920" tIns="60960" rIns="121920" bIns="60960" rtlCol="0" anchor="ctr">
            <a:normAutofit/>
          </a:bodyPr>
          <a:lstStyle>
            <a:lvl1pPr marL="0" indent="0" algn="l" defTabSz="914400" rtl="0" eaLnBrk="1" latinLnBrk="0" hangingPunct="1">
              <a:lnSpc>
                <a:spcPct val="100000"/>
              </a:lnSpc>
              <a:spcBef>
                <a:spcPts val="1000"/>
              </a:spcBef>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1pPr>
            <a:lvl2pPr marL="457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2pPr>
            <a:lvl3pPr marL="914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000" kern="1200">
                <a:solidFill>
                  <a:schemeClr val="tx1"/>
                </a:solidFill>
                <a:latin typeface="Roboto" pitchFamily="2" charset="0"/>
                <a:ea typeface="Roboto" pitchFamily="2" charset="0"/>
                <a:cs typeface="+mn-cs"/>
              </a:defRPr>
            </a:lvl3pPr>
            <a:lvl4pPr marL="1371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4pPr>
            <a:lvl5pPr marL="18288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5pPr>
            <a:lvl6pPr marL="22860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9pPr>
          </a:lstStyle>
          <a:p>
            <a:pPr>
              <a:spcBef>
                <a:spcPts val="0"/>
              </a:spcBef>
            </a:pPr>
            <a:r>
              <a:rPr lang="en-AU" b="1" dirty="0">
                <a:solidFill>
                  <a:schemeClr val="bg1"/>
                </a:solidFill>
                <a:latin typeface="+mn-lt"/>
                <a:cs typeface="Open Sans"/>
              </a:rPr>
              <a:t>BRANDING </a:t>
            </a:r>
            <a:r>
              <a:rPr lang="en-AU" dirty="0">
                <a:solidFill>
                  <a:schemeClr val="bg1"/>
                </a:solidFill>
                <a:latin typeface="+mn-lt"/>
                <a:cs typeface="Open Sans"/>
              </a:rPr>
              <a:t>PRODUCT</a:t>
            </a:r>
            <a:endParaRPr lang="en-AU" sz="1000" dirty="0">
              <a:solidFill>
                <a:schemeClr val="bg1"/>
              </a:solidFill>
              <a:latin typeface="+mn-lt"/>
              <a:cs typeface="Open Sans"/>
            </a:endParaRPr>
          </a:p>
        </p:txBody>
      </p:sp>
      <p:sp>
        <p:nvSpPr>
          <p:cNvPr id="208" name="Text Placeholder 2"/>
          <p:cNvSpPr txBox="1">
            <a:spLocks/>
          </p:cNvSpPr>
          <p:nvPr/>
        </p:nvSpPr>
        <p:spPr>
          <a:xfrm>
            <a:off x="1050989" y="4179160"/>
            <a:ext cx="2005411" cy="333728"/>
          </a:xfrm>
          <a:prstGeom prst="rect">
            <a:avLst/>
          </a:prstGeom>
        </p:spPr>
        <p:txBody>
          <a:bodyPr vert="horz" lIns="121920" tIns="60960" rIns="121920" bIns="60960" rtlCol="0" anchor="ctr">
            <a:normAutofit/>
          </a:bodyPr>
          <a:lstStyle>
            <a:lvl1pPr marL="0" indent="0" algn="l" defTabSz="914400" rtl="0" eaLnBrk="1" latinLnBrk="0" hangingPunct="1">
              <a:lnSpc>
                <a:spcPct val="100000"/>
              </a:lnSpc>
              <a:spcBef>
                <a:spcPts val="1000"/>
              </a:spcBef>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1pPr>
            <a:lvl2pPr marL="457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2pPr>
            <a:lvl3pPr marL="914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000" kern="1200">
                <a:solidFill>
                  <a:schemeClr val="tx1"/>
                </a:solidFill>
                <a:latin typeface="Roboto" pitchFamily="2" charset="0"/>
                <a:ea typeface="Roboto" pitchFamily="2" charset="0"/>
                <a:cs typeface="+mn-cs"/>
              </a:defRPr>
            </a:lvl3pPr>
            <a:lvl4pPr marL="1371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4pPr>
            <a:lvl5pPr marL="18288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5pPr>
            <a:lvl6pPr marL="22860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9pPr>
          </a:lstStyle>
          <a:p>
            <a:pPr>
              <a:spcBef>
                <a:spcPts val="0"/>
              </a:spcBef>
            </a:pPr>
            <a:r>
              <a:rPr lang="en-AU" b="1" dirty="0">
                <a:solidFill>
                  <a:schemeClr val="bg1"/>
                </a:solidFill>
                <a:latin typeface="+mn-lt"/>
                <a:cs typeface="Open Sans"/>
              </a:rPr>
              <a:t>GRAPHIC </a:t>
            </a:r>
            <a:r>
              <a:rPr lang="en-AU" dirty="0">
                <a:solidFill>
                  <a:schemeClr val="bg1"/>
                </a:solidFill>
                <a:latin typeface="+mn-lt"/>
                <a:cs typeface="Open Sans"/>
              </a:rPr>
              <a:t>DESIGN</a:t>
            </a:r>
            <a:endParaRPr lang="en-AU" sz="1000" dirty="0">
              <a:solidFill>
                <a:schemeClr val="bg1"/>
              </a:solidFill>
              <a:latin typeface="+mn-lt"/>
              <a:cs typeface="Open Sans"/>
            </a:endParaRPr>
          </a:p>
        </p:txBody>
      </p:sp>
      <p:grpSp>
        <p:nvGrpSpPr>
          <p:cNvPr id="217" name="Group 216"/>
          <p:cNvGrpSpPr/>
          <p:nvPr/>
        </p:nvGrpSpPr>
        <p:grpSpPr>
          <a:xfrm>
            <a:off x="1143875" y="4939245"/>
            <a:ext cx="276225" cy="239713"/>
            <a:chOff x="11601450" y="1381125"/>
            <a:chExt cx="276225" cy="239713"/>
          </a:xfrm>
          <a:solidFill>
            <a:schemeClr val="tx1">
              <a:lumMod val="50000"/>
              <a:lumOff val="50000"/>
            </a:schemeClr>
          </a:solidFill>
        </p:grpSpPr>
        <p:sp>
          <p:nvSpPr>
            <p:cNvPr id="218" name="Freeform 3547"/>
            <p:cNvSpPr>
              <a:spLocks/>
            </p:cNvSpPr>
            <p:nvPr/>
          </p:nvSpPr>
          <p:spPr bwMode="auto">
            <a:xfrm>
              <a:off x="11601450" y="1393825"/>
              <a:ext cx="257175" cy="163513"/>
            </a:xfrm>
            <a:custGeom>
              <a:avLst/>
              <a:gdLst>
                <a:gd name="T0" fmla="*/ 540 w 648"/>
                <a:gd name="T1" fmla="*/ 234 h 414"/>
                <a:gd name="T2" fmla="*/ 554 w 648"/>
                <a:gd name="T3" fmla="*/ 234 h 414"/>
                <a:gd name="T4" fmla="*/ 570 w 648"/>
                <a:gd name="T5" fmla="*/ 236 h 414"/>
                <a:gd name="T6" fmla="*/ 584 w 648"/>
                <a:gd name="T7" fmla="*/ 239 h 414"/>
                <a:gd name="T8" fmla="*/ 598 w 648"/>
                <a:gd name="T9" fmla="*/ 243 h 414"/>
                <a:gd name="T10" fmla="*/ 611 w 648"/>
                <a:gd name="T11" fmla="*/ 248 h 414"/>
                <a:gd name="T12" fmla="*/ 624 w 648"/>
                <a:gd name="T13" fmla="*/ 254 h 414"/>
                <a:gd name="T14" fmla="*/ 637 w 648"/>
                <a:gd name="T15" fmla="*/ 262 h 414"/>
                <a:gd name="T16" fmla="*/ 648 w 648"/>
                <a:gd name="T17" fmla="*/ 270 h 414"/>
                <a:gd name="T18" fmla="*/ 648 w 648"/>
                <a:gd name="T19" fmla="*/ 40 h 414"/>
                <a:gd name="T20" fmla="*/ 647 w 648"/>
                <a:gd name="T21" fmla="*/ 28 h 414"/>
                <a:gd name="T22" fmla="*/ 646 w 648"/>
                <a:gd name="T23" fmla="*/ 18 h 414"/>
                <a:gd name="T24" fmla="*/ 643 w 648"/>
                <a:gd name="T25" fmla="*/ 9 h 414"/>
                <a:gd name="T26" fmla="*/ 640 w 648"/>
                <a:gd name="T27" fmla="*/ 0 h 414"/>
                <a:gd name="T28" fmla="*/ 349 w 648"/>
                <a:gd name="T29" fmla="*/ 235 h 414"/>
                <a:gd name="T30" fmla="*/ 345 w 648"/>
                <a:gd name="T31" fmla="*/ 238 h 414"/>
                <a:gd name="T32" fmla="*/ 341 w 648"/>
                <a:gd name="T33" fmla="*/ 239 h 414"/>
                <a:gd name="T34" fmla="*/ 337 w 648"/>
                <a:gd name="T35" fmla="*/ 238 h 414"/>
                <a:gd name="T36" fmla="*/ 333 w 648"/>
                <a:gd name="T37" fmla="*/ 236 h 414"/>
                <a:gd name="T38" fmla="*/ 10 w 648"/>
                <a:gd name="T39" fmla="*/ 1 h 414"/>
                <a:gd name="T40" fmla="*/ 5 w 648"/>
                <a:gd name="T41" fmla="*/ 10 h 414"/>
                <a:gd name="T42" fmla="*/ 2 w 648"/>
                <a:gd name="T43" fmla="*/ 19 h 414"/>
                <a:gd name="T44" fmla="*/ 0 w 648"/>
                <a:gd name="T45" fmla="*/ 28 h 414"/>
                <a:gd name="T46" fmla="*/ 0 w 648"/>
                <a:gd name="T47" fmla="*/ 40 h 414"/>
                <a:gd name="T48" fmla="*/ 0 w 648"/>
                <a:gd name="T49" fmla="*/ 343 h 414"/>
                <a:gd name="T50" fmla="*/ 0 w 648"/>
                <a:gd name="T51" fmla="*/ 351 h 414"/>
                <a:gd name="T52" fmla="*/ 1 w 648"/>
                <a:gd name="T53" fmla="*/ 357 h 414"/>
                <a:gd name="T54" fmla="*/ 2 w 648"/>
                <a:gd name="T55" fmla="*/ 365 h 414"/>
                <a:gd name="T56" fmla="*/ 5 w 648"/>
                <a:gd name="T57" fmla="*/ 371 h 414"/>
                <a:gd name="T58" fmla="*/ 7 w 648"/>
                <a:gd name="T59" fmla="*/ 378 h 414"/>
                <a:gd name="T60" fmla="*/ 11 w 648"/>
                <a:gd name="T61" fmla="*/ 383 h 414"/>
                <a:gd name="T62" fmla="*/ 15 w 648"/>
                <a:gd name="T63" fmla="*/ 388 h 414"/>
                <a:gd name="T64" fmla="*/ 20 w 648"/>
                <a:gd name="T65" fmla="*/ 393 h 414"/>
                <a:gd name="T66" fmla="*/ 25 w 648"/>
                <a:gd name="T67" fmla="*/ 398 h 414"/>
                <a:gd name="T68" fmla="*/ 30 w 648"/>
                <a:gd name="T69" fmla="*/ 402 h 414"/>
                <a:gd name="T70" fmla="*/ 35 w 648"/>
                <a:gd name="T71" fmla="*/ 406 h 414"/>
                <a:gd name="T72" fmla="*/ 42 w 648"/>
                <a:gd name="T73" fmla="*/ 409 h 414"/>
                <a:gd name="T74" fmla="*/ 48 w 648"/>
                <a:gd name="T75" fmla="*/ 411 h 414"/>
                <a:gd name="T76" fmla="*/ 56 w 648"/>
                <a:gd name="T77" fmla="*/ 412 h 414"/>
                <a:gd name="T78" fmla="*/ 62 w 648"/>
                <a:gd name="T79" fmla="*/ 414 h 414"/>
                <a:gd name="T80" fmla="*/ 70 w 648"/>
                <a:gd name="T81" fmla="*/ 414 h 414"/>
                <a:gd name="T82" fmla="*/ 359 w 648"/>
                <a:gd name="T83" fmla="*/ 414 h 414"/>
                <a:gd name="T84" fmla="*/ 360 w 648"/>
                <a:gd name="T85" fmla="*/ 396 h 414"/>
                <a:gd name="T86" fmla="*/ 363 w 648"/>
                <a:gd name="T87" fmla="*/ 378 h 414"/>
                <a:gd name="T88" fmla="*/ 368 w 648"/>
                <a:gd name="T89" fmla="*/ 360 h 414"/>
                <a:gd name="T90" fmla="*/ 373 w 648"/>
                <a:gd name="T91" fmla="*/ 343 h 414"/>
                <a:gd name="T92" fmla="*/ 381 w 648"/>
                <a:gd name="T93" fmla="*/ 328 h 414"/>
                <a:gd name="T94" fmla="*/ 390 w 648"/>
                <a:gd name="T95" fmla="*/ 313 h 414"/>
                <a:gd name="T96" fmla="*/ 400 w 648"/>
                <a:gd name="T97" fmla="*/ 299 h 414"/>
                <a:gd name="T98" fmla="*/ 412 w 648"/>
                <a:gd name="T99" fmla="*/ 287 h 414"/>
                <a:gd name="T100" fmla="*/ 425 w 648"/>
                <a:gd name="T101" fmla="*/ 275 h 414"/>
                <a:gd name="T102" fmla="*/ 439 w 648"/>
                <a:gd name="T103" fmla="*/ 265 h 414"/>
                <a:gd name="T104" fmla="*/ 454 w 648"/>
                <a:gd name="T105" fmla="*/ 256 h 414"/>
                <a:gd name="T106" fmla="*/ 470 w 648"/>
                <a:gd name="T107" fmla="*/ 248 h 414"/>
                <a:gd name="T108" fmla="*/ 486 w 648"/>
                <a:gd name="T109" fmla="*/ 242 h 414"/>
                <a:gd name="T110" fmla="*/ 503 w 648"/>
                <a:gd name="T111" fmla="*/ 238 h 414"/>
                <a:gd name="T112" fmla="*/ 521 w 648"/>
                <a:gd name="T113" fmla="*/ 234 h 414"/>
                <a:gd name="T114" fmla="*/ 540 w 648"/>
                <a:gd name="T115" fmla="*/ 23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8" h="414">
                  <a:moveTo>
                    <a:pt x="540" y="234"/>
                  </a:moveTo>
                  <a:lnTo>
                    <a:pt x="554" y="234"/>
                  </a:lnTo>
                  <a:lnTo>
                    <a:pt x="570" y="236"/>
                  </a:lnTo>
                  <a:lnTo>
                    <a:pt x="584" y="239"/>
                  </a:lnTo>
                  <a:lnTo>
                    <a:pt x="598" y="243"/>
                  </a:lnTo>
                  <a:lnTo>
                    <a:pt x="611" y="248"/>
                  </a:lnTo>
                  <a:lnTo>
                    <a:pt x="624" y="254"/>
                  </a:lnTo>
                  <a:lnTo>
                    <a:pt x="637" y="262"/>
                  </a:lnTo>
                  <a:lnTo>
                    <a:pt x="648" y="270"/>
                  </a:lnTo>
                  <a:lnTo>
                    <a:pt x="648" y="40"/>
                  </a:lnTo>
                  <a:lnTo>
                    <a:pt x="647" y="28"/>
                  </a:lnTo>
                  <a:lnTo>
                    <a:pt x="646" y="18"/>
                  </a:lnTo>
                  <a:lnTo>
                    <a:pt x="643" y="9"/>
                  </a:lnTo>
                  <a:lnTo>
                    <a:pt x="640" y="0"/>
                  </a:lnTo>
                  <a:lnTo>
                    <a:pt x="349" y="235"/>
                  </a:lnTo>
                  <a:lnTo>
                    <a:pt x="345" y="238"/>
                  </a:lnTo>
                  <a:lnTo>
                    <a:pt x="341" y="239"/>
                  </a:lnTo>
                  <a:lnTo>
                    <a:pt x="337" y="238"/>
                  </a:lnTo>
                  <a:lnTo>
                    <a:pt x="333" y="236"/>
                  </a:lnTo>
                  <a:lnTo>
                    <a:pt x="10" y="1"/>
                  </a:lnTo>
                  <a:lnTo>
                    <a:pt x="5" y="10"/>
                  </a:lnTo>
                  <a:lnTo>
                    <a:pt x="2" y="19"/>
                  </a:lnTo>
                  <a:lnTo>
                    <a:pt x="0" y="28"/>
                  </a:lnTo>
                  <a:lnTo>
                    <a:pt x="0" y="40"/>
                  </a:lnTo>
                  <a:lnTo>
                    <a:pt x="0" y="343"/>
                  </a:lnTo>
                  <a:lnTo>
                    <a:pt x="0" y="351"/>
                  </a:lnTo>
                  <a:lnTo>
                    <a:pt x="1" y="357"/>
                  </a:lnTo>
                  <a:lnTo>
                    <a:pt x="2" y="365"/>
                  </a:lnTo>
                  <a:lnTo>
                    <a:pt x="5" y="371"/>
                  </a:lnTo>
                  <a:lnTo>
                    <a:pt x="7" y="378"/>
                  </a:lnTo>
                  <a:lnTo>
                    <a:pt x="11" y="383"/>
                  </a:lnTo>
                  <a:lnTo>
                    <a:pt x="15" y="388"/>
                  </a:lnTo>
                  <a:lnTo>
                    <a:pt x="20" y="393"/>
                  </a:lnTo>
                  <a:lnTo>
                    <a:pt x="25" y="398"/>
                  </a:lnTo>
                  <a:lnTo>
                    <a:pt x="30" y="402"/>
                  </a:lnTo>
                  <a:lnTo>
                    <a:pt x="35" y="406"/>
                  </a:lnTo>
                  <a:lnTo>
                    <a:pt x="42" y="409"/>
                  </a:lnTo>
                  <a:lnTo>
                    <a:pt x="48" y="411"/>
                  </a:lnTo>
                  <a:lnTo>
                    <a:pt x="56" y="412"/>
                  </a:lnTo>
                  <a:lnTo>
                    <a:pt x="62" y="414"/>
                  </a:lnTo>
                  <a:lnTo>
                    <a:pt x="70" y="414"/>
                  </a:lnTo>
                  <a:lnTo>
                    <a:pt x="359" y="414"/>
                  </a:lnTo>
                  <a:lnTo>
                    <a:pt x="360" y="396"/>
                  </a:lnTo>
                  <a:lnTo>
                    <a:pt x="363" y="378"/>
                  </a:lnTo>
                  <a:lnTo>
                    <a:pt x="368" y="360"/>
                  </a:lnTo>
                  <a:lnTo>
                    <a:pt x="373" y="343"/>
                  </a:lnTo>
                  <a:lnTo>
                    <a:pt x="381" y="328"/>
                  </a:lnTo>
                  <a:lnTo>
                    <a:pt x="390" y="313"/>
                  </a:lnTo>
                  <a:lnTo>
                    <a:pt x="400" y="299"/>
                  </a:lnTo>
                  <a:lnTo>
                    <a:pt x="412" y="287"/>
                  </a:lnTo>
                  <a:lnTo>
                    <a:pt x="425" y="275"/>
                  </a:lnTo>
                  <a:lnTo>
                    <a:pt x="439" y="265"/>
                  </a:lnTo>
                  <a:lnTo>
                    <a:pt x="454" y="256"/>
                  </a:lnTo>
                  <a:lnTo>
                    <a:pt x="470" y="248"/>
                  </a:lnTo>
                  <a:lnTo>
                    <a:pt x="486" y="242"/>
                  </a:lnTo>
                  <a:lnTo>
                    <a:pt x="503" y="238"/>
                  </a:lnTo>
                  <a:lnTo>
                    <a:pt x="521" y="234"/>
                  </a:lnTo>
                  <a:lnTo>
                    <a:pt x="540"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3548"/>
            <p:cNvSpPr>
              <a:spLocks/>
            </p:cNvSpPr>
            <p:nvPr/>
          </p:nvSpPr>
          <p:spPr bwMode="auto">
            <a:xfrm>
              <a:off x="11612563" y="1381125"/>
              <a:ext cx="236537" cy="96838"/>
            </a:xfrm>
            <a:custGeom>
              <a:avLst/>
              <a:gdLst>
                <a:gd name="T0" fmla="*/ 598 w 598"/>
                <a:gd name="T1" fmla="*/ 12 h 242"/>
                <a:gd name="T2" fmla="*/ 590 w 598"/>
                <a:gd name="T3" fmla="*/ 7 h 242"/>
                <a:gd name="T4" fmla="*/ 581 w 598"/>
                <a:gd name="T5" fmla="*/ 3 h 242"/>
                <a:gd name="T6" fmla="*/ 571 w 598"/>
                <a:gd name="T7" fmla="*/ 0 h 242"/>
                <a:gd name="T8" fmla="*/ 559 w 598"/>
                <a:gd name="T9" fmla="*/ 0 h 242"/>
                <a:gd name="T10" fmla="*/ 46 w 598"/>
                <a:gd name="T11" fmla="*/ 0 h 242"/>
                <a:gd name="T12" fmla="*/ 32 w 598"/>
                <a:gd name="T13" fmla="*/ 2 h 242"/>
                <a:gd name="T14" fmla="*/ 20 w 598"/>
                <a:gd name="T15" fmla="*/ 4 h 242"/>
                <a:gd name="T16" fmla="*/ 8 w 598"/>
                <a:gd name="T17" fmla="*/ 8 h 242"/>
                <a:gd name="T18" fmla="*/ 0 w 598"/>
                <a:gd name="T19" fmla="*/ 14 h 242"/>
                <a:gd name="T20" fmla="*/ 313 w 598"/>
                <a:gd name="T21" fmla="*/ 242 h 242"/>
                <a:gd name="T22" fmla="*/ 598 w 598"/>
                <a:gd name="T23" fmla="*/ 1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8" h="242">
                  <a:moveTo>
                    <a:pt x="598" y="12"/>
                  </a:moveTo>
                  <a:lnTo>
                    <a:pt x="590" y="7"/>
                  </a:lnTo>
                  <a:lnTo>
                    <a:pt x="581" y="3"/>
                  </a:lnTo>
                  <a:lnTo>
                    <a:pt x="571" y="0"/>
                  </a:lnTo>
                  <a:lnTo>
                    <a:pt x="559" y="0"/>
                  </a:lnTo>
                  <a:lnTo>
                    <a:pt x="46" y="0"/>
                  </a:lnTo>
                  <a:lnTo>
                    <a:pt x="32" y="2"/>
                  </a:lnTo>
                  <a:lnTo>
                    <a:pt x="20" y="4"/>
                  </a:lnTo>
                  <a:lnTo>
                    <a:pt x="8" y="8"/>
                  </a:lnTo>
                  <a:lnTo>
                    <a:pt x="0" y="14"/>
                  </a:lnTo>
                  <a:lnTo>
                    <a:pt x="313" y="242"/>
                  </a:lnTo>
                  <a:lnTo>
                    <a:pt x="59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3549"/>
            <p:cNvSpPr>
              <a:spLocks noEditPoints="1"/>
            </p:cNvSpPr>
            <p:nvPr/>
          </p:nvSpPr>
          <p:spPr bwMode="auto">
            <a:xfrm>
              <a:off x="11753850" y="1495425"/>
              <a:ext cx="123825" cy="125413"/>
            </a:xfrm>
            <a:custGeom>
              <a:avLst/>
              <a:gdLst>
                <a:gd name="T0" fmla="*/ 133 w 312"/>
                <a:gd name="T1" fmla="*/ 245 h 313"/>
                <a:gd name="T2" fmla="*/ 48 w 312"/>
                <a:gd name="T3" fmla="*/ 175 h 313"/>
                <a:gd name="T4" fmla="*/ 48 w 312"/>
                <a:gd name="T5" fmla="*/ 166 h 313"/>
                <a:gd name="T6" fmla="*/ 53 w 312"/>
                <a:gd name="T7" fmla="*/ 158 h 313"/>
                <a:gd name="T8" fmla="*/ 62 w 312"/>
                <a:gd name="T9" fmla="*/ 157 h 313"/>
                <a:gd name="T10" fmla="*/ 131 w 312"/>
                <a:gd name="T11" fmla="*/ 212 h 313"/>
                <a:gd name="T12" fmla="*/ 236 w 312"/>
                <a:gd name="T13" fmla="*/ 86 h 313"/>
                <a:gd name="T14" fmla="*/ 245 w 312"/>
                <a:gd name="T15" fmla="*/ 85 h 313"/>
                <a:gd name="T16" fmla="*/ 251 w 312"/>
                <a:gd name="T17" fmla="*/ 91 h 313"/>
                <a:gd name="T18" fmla="*/ 253 w 312"/>
                <a:gd name="T19" fmla="*/ 100 h 313"/>
                <a:gd name="T20" fmla="*/ 156 w 312"/>
                <a:gd name="T21" fmla="*/ 0 h 313"/>
                <a:gd name="T22" fmla="*/ 124 w 312"/>
                <a:gd name="T23" fmla="*/ 4 h 313"/>
                <a:gd name="T24" fmla="*/ 95 w 312"/>
                <a:gd name="T25" fmla="*/ 13 h 313"/>
                <a:gd name="T26" fmla="*/ 69 w 312"/>
                <a:gd name="T27" fmla="*/ 27 h 313"/>
                <a:gd name="T28" fmla="*/ 46 w 312"/>
                <a:gd name="T29" fmla="*/ 46 h 313"/>
                <a:gd name="T30" fmla="*/ 26 w 312"/>
                <a:gd name="T31" fmla="*/ 69 h 313"/>
                <a:gd name="T32" fmla="*/ 12 w 312"/>
                <a:gd name="T33" fmla="*/ 96 h 313"/>
                <a:gd name="T34" fmla="*/ 2 w 312"/>
                <a:gd name="T35" fmla="*/ 126 h 313"/>
                <a:gd name="T36" fmla="*/ 0 w 312"/>
                <a:gd name="T37" fmla="*/ 157 h 313"/>
                <a:gd name="T38" fmla="*/ 2 w 312"/>
                <a:gd name="T39" fmla="*/ 189 h 313"/>
                <a:gd name="T40" fmla="*/ 12 w 312"/>
                <a:gd name="T41" fmla="*/ 217 h 313"/>
                <a:gd name="T42" fmla="*/ 26 w 312"/>
                <a:gd name="T43" fmla="*/ 244 h 313"/>
                <a:gd name="T44" fmla="*/ 46 w 312"/>
                <a:gd name="T45" fmla="*/ 267 h 313"/>
                <a:gd name="T46" fmla="*/ 69 w 312"/>
                <a:gd name="T47" fmla="*/ 286 h 313"/>
                <a:gd name="T48" fmla="*/ 95 w 312"/>
                <a:gd name="T49" fmla="*/ 300 h 313"/>
                <a:gd name="T50" fmla="*/ 124 w 312"/>
                <a:gd name="T51" fmla="*/ 309 h 313"/>
                <a:gd name="T52" fmla="*/ 156 w 312"/>
                <a:gd name="T53" fmla="*/ 313 h 313"/>
                <a:gd name="T54" fmla="*/ 187 w 312"/>
                <a:gd name="T55" fmla="*/ 309 h 313"/>
                <a:gd name="T56" fmla="*/ 217 w 312"/>
                <a:gd name="T57" fmla="*/ 300 h 313"/>
                <a:gd name="T58" fmla="*/ 244 w 312"/>
                <a:gd name="T59" fmla="*/ 286 h 313"/>
                <a:gd name="T60" fmla="*/ 267 w 312"/>
                <a:gd name="T61" fmla="*/ 267 h 313"/>
                <a:gd name="T62" fmla="*/ 285 w 312"/>
                <a:gd name="T63" fmla="*/ 244 h 313"/>
                <a:gd name="T64" fmla="*/ 300 w 312"/>
                <a:gd name="T65" fmla="*/ 217 h 313"/>
                <a:gd name="T66" fmla="*/ 309 w 312"/>
                <a:gd name="T67" fmla="*/ 189 h 313"/>
                <a:gd name="T68" fmla="*/ 312 w 312"/>
                <a:gd name="T69" fmla="*/ 157 h 313"/>
                <a:gd name="T70" fmla="*/ 309 w 312"/>
                <a:gd name="T71" fmla="*/ 126 h 313"/>
                <a:gd name="T72" fmla="*/ 300 w 312"/>
                <a:gd name="T73" fmla="*/ 96 h 313"/>
                <a:gd name="T74" fmla="*/ 285 w 312"/>
                <a:gd name="T75" fmla="*/ 69 h 313"/>
                <a:gd name="T76" fmla="*/ 267 w 312"/>
                <a:gd name="T77" fmla="*/ 46 h 313"/>
                <a:gd name="T78" fmla="*/ 244 w 312"/>
                <a:gd name="T79" fmla="*/ 27 h 313"/>
                <a:gd name="T80" fmla="*/ 217 w 312"/>
                <a:gd name="T81" fmla="*/ 13 h 313"/>
                <a:gd name="T82" fmla="*/ 187 w 312"/>
                <a:gd name="T83" fmla="*/ 4 h 313"/>
                <a:gd name="T84" fmla="*/ 156 w 312"/>
                <a:gd name="T85"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2" h="313">
                  <a:moveTo>
                    <a:pt x="250" y="104"/>
                  </a:moveTo>
                  <a:lnTo>
                    <a:pt x="133" y="245"/>
                  </a:lnTo>
                  <a:lnTo>
                    <a:pt x="52" y="178"/>
                  </a:lnTo>
                  <a:lnTo>
                    <a:pt x="48" y="175"/>
                  </a:lnTo>
                  <a:lnTo>
                    <a:pt x="47" y="169"/>
                  </a:lnTo>
                  <a:lnTo>
                    <a:pt x="48" y="166"/>
                  </a:lnTo>
                  <a:lnTo>
                    <a:pt x="51" y="161"/>
                  </a:lnTo>
                  <a:lnTo>
                    <a:pt x="53" y="158"/>
                  </a:lnTo>
                  <a:lnTo>
                    <a:pt x="59" y="157"/>
                  </a:lnTo>
                  <a:lnTo>
                    <a:pt x="62" y="157"/>
                  </a:lnTo>
                  <a:lnTo>
                    <a:pt x="68" y="159"/>
                  </a:lnTo>
                  <a:lnTo>
                    <a:pt x="131" y="212"/>
                  </a:lnTo>
                  <a:lnTo>
                    <a:pt x="232" y="89"/>
                  </a:lnTo>
                  <a:lnTo>
                    <a:pt x="236" y="86"/>
                  </a:lnTo>
                  <a:lnTo>
                    <a:pt x="240" y="85"/>
                  </a:lnTo>
                  <a:lnTo>
                    <a:pt x="245" y="85"/>
                  </a:lnTo>
                  <a:lnTo>
                    <a:pt x="249" y="87"/>
                  </a:lnTo>
                  <a:lnTo>
                    <a:pt x="251" y="91"/>
                  </a:lnTo>
                  <a:lnTo>
                    <a:pt x="253" y="95"/>
                  </a:lnTo>
                  <a:lnTo>
                    <a:pt x="253" y="100"/>
                  </a:lnTo>
                  <a:lnTo>
                    <a:pt x="250" y="104"/>
                  </a:lnTo>
                  <a:close/>
                  <a:moveTo>
                    <a:pt x="156" y="0"/>
                  </a:moveTo>
                  <a:lnTo>
                    <a:pt x="140" y="1"/>
                  </a:lnTo>
                  <a:lnTo>
                    <a:pt x="124" y="4"/>
                  </a:lnTo>
                  <a:lnTo>
                    <a:pt x="109" y="8"/>
                  </a:lnTo>
                  <a:lnTo>
                    <a:pt x="95" y="13"/>
                  </a:lnTo>
                  <a:lnTo>
                    <a:pt x="82" y="19"/>
                  </a:lnTo>
                  <a:lnTo>
                    <a:pt x="69" y="27"/>
                  </a:lnTo>
                  <a:lnTo>
                    <a:pt x="56" y="36"/>
                  </a:lnTo>
                  <a:lnTo>
                    <a:pt x="46" y="46"/>
                  </a:lnTo>
                  <a:lnTo>
                    <a:pt x="35" y="58"/>
                  </a:lnTo>
                  <a:lnTo>
                    <a:pt x="26" y="69"/>
                  </a:lnTo>
                  <a:lnTo>
                    <a:pt x="19" y="82"/>
                  </a:lnTo>
                  <a:lnTo>
                    <a:pt x="12" y="96"/>
                  </a:lnTo>
                  <a:lnTo>
                    <a:pt x="6" y="110"/>
                  </a:lnTo>
                  <a:lnTo>
                    <a:pt x="2" y="126"/>
                  </a:lnTo>
                  <a:lnTo>
                    <a:pt x="1" y="141"/>
                  </a:lnTo>
                  <a:lnTo>
                    <a:pt x="0" y="157"/>
                  </a:lnTo>
                  <a:lnTo>
                    <a:pt x="1" y="172"/>
                  </a:lnTo>
                  <a:lnTo>
                    <a:pt x="2" y="189"/>
                  </a:lnTo>
                  <a:lnTo>
                    <a:pt x="6" y="203"/>
                  </a:lnTo>
                  <a:lnTo>
                    <a:pt x="12" y="217"/>
                  </a:lnTo>
                  <a:lnTo>
                    <a:pt x="19" y="231"/>
                  </a:lnTo>
                  <a:lnTo>
                    <a:pt x="26" y="244"/>
                  </a:lnTo>
                  <a:lnTo>
                    <a:pt x="35" y="256"/>
                  </a:lnTo>
                  <a:lnTo>
                    <a:pt x="46" y="267"/>
                  </a:lnTo>
                  <a:lnTo>
                    <a:pt x="56" y="277"/>
                  </a:lnTo>
                  <a:lnTo>
                    <a:pt x="69" y="286"/>
                  </a:lnTo>
                  <a:lnTo>
                    <a:pt x="82" y="294"/>
                  </a:lnTo>
                  <a:lnTo>
                    <a:pt x="95" y="300"/>
                  </a:lnTo>
                  <a:lnTo>
                    <a:pt x="109" y="306"/>
                  </a:lnTo>
                  <a:lnTo>
                    <a:pt x="124" y="309"/>
                  </a:lnTo>
                  <a:lnTo>
                    <a:pt x="140" y="312"/>
                  </a:lnTo>
                  <a:lnTo>
                    <a:pt x="156" y="313"/>
                  </a:lnTo>
                  <a:lnTo>
                    <a:pt x="172" y="312"/>
                  </a:lnTo>
                  <a:lnTo>
                    <a:pt x="187" y="309"/>
                  </a:lnTo>
                  <a:lnTo>
                    <a:pt x="202" y="306"/>
                  </a:lnTo>
                  <a:lnTo>
                    <a:pt x="217" y="300"/>
                  </a:lnTo>
                  <a:lnTo>
                    <a:pt x="231" y="294"/>
                  </a:lnTo>
                  <a:lnTo>
                    <a:pt x="244" y="286"/>
                  </a:lnTo>
                  <a:lnTo>
                    <a:pt x="255" y="277"/>
                  </a:lnTo>
                  <a:lnTo>
                    <a:pt x="267" y="267"/>
                  </a:lnTo>
                  <a:lnTo>
                    <a:pt x="276" y="256"/>
                  </a:lnTo>
                  <a:lnTo>
                    <a:pt x="285" y="244"/>
                  </a:lnTo>
                  <a:lnTo>
                    <a:pt x="294" y="231"/>
                  </a:lnTo>
                  <a:lnTo>
                    <a:pt x="300" y="217"/>
                  </a:lnTo>
                  <a:lnTo>
                    <a:pt x="305" y="203"/>
                  </a:lnTo>
                  <a:lnTo>
                    <a:pt x="309" y="189"/>
                  </a:lnTo>
                  <a:lnTo>
                    <a:pt x="312" y="172"/>
                  </a:lnTo>
                  <a:lnTo>
                    <a:pt x="312" y="157"/>
                  </a:lnTo>
                  <a:lnTo>
                    <a:pt x="312" y="141"/>
                  </a:lnTo>
                  <a:lnTo>
                    <a:pt x="309" y="126"/>
                  </a:lnTo>
                  <a:lnTo>
                    <a:pt x="305" y="110"/>
                  </a:lnTo>
                  <a:lnTo>
                    <a:pt x="300" y="96"/>
                  </a:lnTo>
                  <a:lnTo>
                    <a:pt x="294" y="82"/>
                  </a:lnTo>
                  <a:lnTo>
                    <a:pt x="285" y="69"/>
                  </a:lnTo>
                  <a:lnTo>
                    <a:pt x="276" y="58"/>
                  </a:lnTo>
                  <a:lnTo>
                    <a:pt x="267" y="46"/>
                  </a:lnTo>
                  <a:lnTo>
                    <a:pt x="255" y="36"/>
                  </a:lnTo>
                  <a:lnTo>
                    <a:pt x="244" y="27"/>
                  </a:lnTo>
                  <a:lnTo>
                    <a:pt x="231" y="19"/>
                  </a:lnTo>
                  <a:lnTo>
                    <a:pt x="217" y="13"/>
                  </a:lnTo>
                  <a:lnTo>
                    <a:pt x="202" y="8"/>
                  </a:lnTo>
                  <a:lnTo>
                    <a:pt x="187" y="4"/>
                  </a:lnTo>
                  <a:lnTo>
                    <a:pt x="172" y="1"/>
                  </a:lnTo>
                  <a:lnTo>
                    <a:pt x="1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1" name="Group 220"/>
          <p:cNvGrpSpPr/>
          <p:nvPr/>
        </p:nvGrpSpPr>
        <p:grpSpPr>
          <a:xfrm>
            <a:off x="1070938" y="2891027"/>
            <a:ext cx="287338" cy="260350"/>
            <a:chOff x="6448425" y="796925"/>
            <a:chExt cx="287338" cy="260350"/>
          </a:xfrm>
          <a:solidFill>
            <a:schemeClr val="tx1">
              <a:lumMod val="50000"/>
              <a:lumOff val="50000"/>
            </a:schemeClr>
          </a:solidFill>
        </p:grpSpPr>
        <p:sp>
          <p:nvSpPr>
            <p:cNvPr id="222" name="Freeform 3562"/>
            <p:cNvSpPr>
              <a:spLocks/>
            </p:cNvSpPr>
            <p:nvPr/>
          </p:nvSpPr>
          <p:spPr bwMode="auto">
            <a:xfrm>
              <a:off x="6448425" y="796925"/>
              <a:ext cx="277812" cy="161925"/>
            </a:xfrm>
            <a:custGeom>
              <a:avLst/>
              <a:gdLst>
                <a:gd name="T0" fmla="*/ 8 w 701"/>
                <a:gd name="T1" fmla="*/ 285 h 408"/>
                <a:gd name="T2" fmla="*/ 5 w 701"/>
                <a:gd name="T3" fmla="*/ 288 h 408"/>
                <a:gd name="T4" fmla="*/ 2 w 701"/>
                <a:gd name="T5" fmla="*/ 290 h 408"/>
                <a:gd name="T6" fmla="*/ 1 w 701"/>
                <a:gd name="T7" fmla="*/ 293 h 408"/>
                <a:gd name="T8" fmla="*/ 0 w 701"/>
                <a:gd name="T9" fmla="*/ 297 h 408"/>
                <a:gd name="T10" fmla="*/ 1 w 701"/>
                <a:gd name="T11" fmla="*/ 300 h 408"/>
                <a:gd name="T12" fmla="*/ 2 w 701"/>
                <a:gd name="T13" fmla="*/ 303 h 408"/>
                <a:gd name="T14" fmla="*/ 5 w 701"/>
                <a:gd name="T15" fmla="*/ 306 h 408"/>
                <a:gd name="T16" fmla="*/ 8 w 701"/>
                <a:gd name="T17" fmla="*/ 308 h 408"/>
                <a:gd name="T18" fmla="*/ 259 w 701"/>
                <a:gd name="T19" fmla="*/ 408 h 408"/>
                <a:gd name="T20" fmla="*/ 701 w 701"/>
                <a:gd name="T21" fmla="*/ 0 h 408"/>
                <a:gd name="T22" fmla="*/ 8 w 701"/>
                <a:gd name="T23" fmla="*/ 285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1" h="408">
                  <a:moveTo>
                    <a:pt x="8" y="285"/>
                  </a:moveTo>
                  <a:lnTo>
                    <a:pt x="5" y="288"/>
                  </a:lnTo>
                  <a:lnTo>
                    <a:pt x="2" y="290"/>
                  </a:lnTo>
                  <a:lnTo>
                    <a:pt x="1" y="293"/>
                  </a:lnTo>
                  <a:lnTo>
                    <a:pt x="0" y="297"/>
                  </a:lnTo>
                  <a:lnTo>
                    <a:pt x="1" y="300"/>
                  </a:lnTo>
                  <a:lnTo>
                    <a:pt x="2" y="303"/>
                  </a:lnTo>
                  <a:lnTo>
                    <a:pt x="5" y="306"/>
                  </a:lnTo>
                  <a:lnTo>
                    <a:pt x="8" y="308"/>
                  </a:lnTo>
                  <a:lnTo>
                    <a:pt x="259" y="408"/>
                  </a:lnTo>
                  <a:lnTo>
                    <a:pt x="701" y="0"/>
                  </a:lnTo>
                  <a:lnTo>
                    <a:pt x="8"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3563"/>
            <p:cNvSpPr>
              <a:spLocks/>
            </p:cNvSpPr>
            <p:nvPr/>
          </p:nvSpPr>
          <p:spPr bwMode="auto">
            <a:xfrm>
              <a:off x="6554788" y="800100"/>
              <a:ext cx="180975" cy="257175"/>
            </a:xfrm>
            <a:custGeom>
              <a:avLst/>
              <a:gdLst>
                <a:gd name="T0" fmla="*/ 0 w 456"/>
                <a:gd name="T1" fmla="*/ 424 h 646"/>
                <a:gd name="T2" fmla="*/ 0 w 456"/>
                <a:gd name="T3" fmla="*/ 635 h 646"/>
                <a:gd name="T4" fmla="*/ 0 w 456"/>
                <a:gd name="T5" fmla="*/ 639 h 646"/>
                <a:gd name="T6" fmla="*/ 3 w 456"/>
                <a:gd name="T7" fmla="*/ 642 h 646"/>
                <a:gd name="T8" fmla="*/ 5 w 456"/>
                <a:gd name="T9" fmla="*/ 645 h 646"/>
                <a:gd name="T10" fmla="*/ 9 w 456"/>
                <a:gd name="T11" fmla="*/ 646 h 646"/>
                <a:gd name="T12" fmla="*/ 11 w 456"/>
                <a:gd name="T13" fmla="*/ 646 h 646"/>
                <a:gd name="T14" fmla="*/ 12 w 456"/>
                <a:gd name="T15" fmla="*/ 646 h 646"/>
                <a:gd name="T16" fmla="*/ 16 w 456"/>
                <a:gd name="T17" fmla="*/ 646 h 646"/>
                <a:gd name="T18" fmla="*/ 18 w 456"/>
                <a:gd name="T19" fmla="*/ 645 h 646"/>
                <a:gd name="T20" fmla="*/ 21 w 456"/>
                <a:gd name="T21" fmla="*/ 644 h 646"/>
                <a:gd name="T22" fmla="*/ 22 w 456"/>
                <a:gd name="T23" fmla="*/ 641 h 646"/>
                <a:gd name="T24" fmla="*/ 126 w 456"/>
                <a:gd name="T25" fmla="*/ 469 h 646"/>
                <a:gd name="T26" fmla="*/ 315 w 456"/>
                <a:gd name="T27" fmla="*/ 569 h 646"/>
                <a:gd name="T28" fmla="*/ 317 w 456"/>
                <a:gd name="T29" fmla="*/ 570 h 646"/>
                <a:gd name="T30" fmla="*/ 320 w 456"/>
                <a:gd name="T31" fmla="*/ 572 h 646"/>
                <a:gd name="T32" fmla="*/ 323 w 456"/>
                <a:gd name="T33" fmla="*/ 570 h 646"/>
                <a:gd name="T34" fmla="*/ 325 w 456"/>
                <a:gd name="T35" fmla="*/ 570 h 646"/>
                <a:gd name="T36" fmla="*/ 329 w 456"/>
                <a:gd name="T37" fmla="*/ 567 h 646"/>
                <a:gd name="T38" fmla="*/ 332 w 456"/>
                <a:gd name="T39" fmla="*/ 561 h 646"/>
                <a:gd name="T40" fmla="*/ 456 w 456"/>
                <a:gd name="T41" fmla="*/ 0 h 646"/>
                <a:gd name="T42" fmla="*/ 0 w 456"/>
                <a:gd name="T43" fmla="*/ 42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6" h="646">
                  <a:moveTo>
                    <a:pt x="0" y="424"/>
                  </a:moveTo>
                  <a:lnTo>
                    <a:pt x="0" y="635"/>
                  </a:lnTo>
                  <a:lnTo>
                    <a:pt x="0" y="639"/>
                  </a:lnTo>
                  <a:lnTo>
                    <a:pt x="3" y="642"/>
                  </a:lnTo>
                  <a:lnTo>
                    <a:pt x="5" y="645"/>
                  </a:lnTo>
                  <a:lnTo>
                    <a:pt x="9" y="646"/>
                  </a:lnTo>
                  <a:lnTo>
                    <a:pt x="11" y="646"/>
                  </a:lnTo>
                  <a:lnTo>
                    <a:pt x="12" y="646"/>
                  </a:lnTo>
                  <a:lnTo>
                    <a:pt x="16" y="646"/>
                  </a:lnTo>
                  <a:lnTo>
                    <a:pt x="18" y="645"/>
                  </a:lnTo>
                  <a:lnTo>
                    <a:pt x="21" y="644"/>
                  </a:lnTo>
                  <a:lnTo>
                    <a:pt x="22" y="641"/>
                  </a:lnTo>
                  <a:lnTo>
                    <a:pt x="126" y="469"/>
                  </a:lnTo>
                  <a:lnTo>
                    <a:pt x="315" y="569"/>
                  </a:lnTo>
                  <a:lnTo>
                    <a:pt x="317" y="570"/>
                  </a:lnTo>
                  <a:lnTo>
                    <a:pt x="320" y="572"/>
                  </a:lnTo>
                  <a:lnTo>
                    <a:pt x="323" y="570"/>
                  </a:lnTo>
                  <a:lnTo>
                    <a:pt x="325" y="570"/>
                  </a:lnTo>
                  <a:lnTo>
                    <a:pt x="329" y="567"/>
                  </a:lnTo>
                  <a:lnTo>
                    <a:pt x="332" y="561"/>
                  </a:lnTo>
                  <a:lnTo>
                    <a:pt x="456" y="0"/>
                  </a:lnTo>
                  <a:lnTo>
                    <a:pt x="0" y="4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40" name="Oval 239"/>
          <p:cNvSpPr/>
          <p:nvPr/>
        </p:nvSpPr>
        <p:spPr>
          <a:xfrm>
            <a:off x="7282831" y="3368401"/>
            <a:ext cx="1407885" cy="1407885"/>
          </a:xfrm>
          <a:prstGeom prst="ellipse">
            <a:avLst/>
          </a:prstGeom>
          <a:solidFill>
            <a:schemeClr val="bg1"/>
          </a:solidFill>
          <a:ln w="19050">
            <a:noFill/>
          </a:ln>
          <a:effectLst>
            <a:outerShdw blurRad="342900" dist="228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800"/>
          </a:p>
        </p:txBody>
      </p:sp>
      <p:cxnSp>
        <p:nvCxnSpPr>
          <p:cNvPr id="242" name="Straight Connector 241"/>
          <p:cNvCxnSpPr>
            <a:stCxn id="240" idx="1"/>
          </p:cNvCxnSpPr>
          <p:nvPr/>
        </p:nvCxnSpPr>
        <p:spPr>
          <a:xfrm flipH="1">
            <a:off x="5697784" y="3574581"/>
            <a:ext cx="1791227" cy="21364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p:cNvCxnSpPr/>
          <p:nvPr/>
        </p:nvCxnSpPr>
        <p:spPr>
          <a:xfrm flipH="1">
            <a:off x="8484536" y="4239200"/>
            <a:ext cx="1791227" cy="21364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44" name="Freeform 3493"/>
          <p:cNvSpPr>
            <a:spLocks noEditPoints="1"/>
          </p:cNvSpPr>
          <p:nvPr/>
        </p:nvSpPr>
        <p:spPr bwMode="auto">
          <a:xfrm>
            <a:off x="7601063" y="3681405"/>
            <a:ext cx="771419" cy="771419"/>
          </a:xfrm>
          <a:custGeom>
            <a:avLst/>
            <a:gdLst>
              <a:gd name="T0" fmla="*/ 300 w 720"/>
              <a:gd name="T1" fmla="*/ 449 h 720"/>
              <a:gd name="T2" fmla="*/ 256 w 720"/>
              <a:gd name="T3" fmla="*/ 393 h 720"/>
              <a:gd name="T4" fmla="*/ 260 w 720"/>
              <a:gd name="T5" fmla="*/ 318 h 720"/>
              <a:gd name="T6" fmla="*/ 309 w 720"/>
              <a:gd name="T7" fmla="*/ 266 h 720"/>
              <a:gd name="T8" fmla="*/ 381 w 720"/>
              <a:gd name="T9" fmla="*/ 255 h 720"/>
              <a:gd name="T10" fmla="*/ 443 w 720"/>
              <a:gd name="T11" fmla="*/ 291 h 720"/>
              <a:gd name="T12" fmla="*/ 467 w 720"/>
              <a:gd name="T13" fmla="*/ 361 h 720"/>
              <a:gd name="T14" fmla="*/ 443 w 720"/>
              <a:gd name="T15" fmla="*/ 429 h 720"/>
              <a:gd name="T16" fmla="*/ 381 w 720"/>
              <a:gd name="T17" fmla="*/ 466 h 720"/>
              <a:gd name="T18" fmla="*/ 287 w 720"/>
              <a:gd name="T19" fmla="*/ 7 h 720"/>
              <a:gd name="T20" fmla="*/ 173 w 720"/>
              <a:gd name="T21" fmla="*/ 52 h 720"/>
              <a:gd name="T22" fmla="*/ 82 w 720"/>
              <a:gd name="T23" fmla="*/ 131 h 720"/>
              <a:gd name="T24" fmla="*/ 21 w 720"/>
              <a:gd name="T25" fmla="*/ 236 h 720"/>
              <a:gd name="T26" fmla="*/ 0 w 720"/>
              <a:gd name="T27" fmla="*/ 361 h 720"/>
              <a:gd name="T28" fmla="*/ 21 w 720"/>
              <a:gd name="T29" fmla="*/ 484 h 720"/>
              <a:gd name="T30" fmla="*/ 82 w 720"/>
              <a:gd name="T31" fmla="*/ 589 h 720"/>
              <a:gd name="T32" fmla="*/ 173 w 720"/>
              <a:gd name="T33" fmla="*/ 669 h 720"/>
              <a:gd name="T34" fmla="*/ 287 w 720"/>
              <a:gd name="T35" fmla="*/ 714 h 720"/>
              <a:gd name="T36" fmla="*/ 441 w 720"/>
              <a:gd name="T37" fmla="*/ 711 h 720"/>
              <a:gd name="T38" fmla="*/ 570 w 720"/>
              <a:gd name="T39" fmla="*/ 651 h 720"/>
              <a:gd name="T40" fmla="*/ 567 w 720"/>
              <a:gd name="T41" fmla="*/ 621 h 720"/>
              <a:gd name="T42" fmla="*/ 536 w 720"/>
              <a:gd name="T43" fmla="*/ 619 h 720"/>
              <a:gd name="T44" fmla="*/ 384 w 720"/>
              <a:gd name="T45" fmla="*/ 671 h 720"/>
              <a:gd name="T46" fmla="*/ 267 w 720"/>
              <a:gd name="T47" fmla="*/ 659 h 720"/>
              <a:gd name="T48" fmla="*/ 173 w 720"/>
              <a:gd name="T49" fmla="*/ 611 h 720"/>
              <a:gd name="T50" fmla="*/ 101 w 720"/>
              <a:gd name="T51" fmla="*/ 535 h 720"/>
              <a:gd name="T52" fmla="*/ 57 w 720"/>
              <a:gd name="T53" fmla="*/ 438 h 720"/>
              <a:gd name="T54" fmla="*/ 48 w 720"/>
              <a:gd name="T55" fmla="*/ 329 h 720"/>
              <a:gd name="T56" fmla="*/ 78 w 720"/>
              <a:gd name="T57" fmla="*/ 225 h 720"/>
              <a:gd name="T58" fmla="*/ 140 w 720"/>
              <a:gd name="T59" fmla="*/ 140 h 720"/>
              <a:gd name="T60" fmla="*/ 224 w 720"/>
              <a:gd name="T61" fmla="*/ 78 h 720"/>
              <a:gd name="T62" fmla="*/ 328 w 720"/>
              <a:gd name="T63" fmla="*/ 50 h 720"/>
              <a:gd name="T64" fmla="*/ 437 w 720"/>
              <a:gd name="T65" fmla="*/ 58 h 720"/>
              <a:gd name="T66" fmla="*/ 534 w 720"/>
              <a:gd name="T67" fmla="*/ 101 h 720"/>
              <a:gd name="T68" fmla="*/ 610 w 720"/>
              <a:gd name="T69" fmla="*/ 173 h 720"/>
              <a:gd name="T70" fmla="*/ 658 w 720"/>
              <a:gd name="T71" fmla="*/ 267 h 720"/>
              <a:gd name="T72" fmla="*/ 672 w 720"/>
              <a:gd name="T73" fmla="*/ 389 h 720"/>
              <a:gd name="T74" fmla="*/ 654 w 720"/>
              <a:gd name="T75" fmla="*/ 439 h 720"/>
              <a:gd name="T76" fmla="*/ 610 w 720"/>
              <a:gd name="T77" fmla="*/ 466 h 720"/>
              <a:gd name="T78" fmla="*/ 557 w 720"/>
              <a:gd name="T79" fmla="*/ 458 h 720"/>
              <a:gd name="T80" fmla="*/ 522 w 720"/>
              <a:gd name="T81" fmla="*/ 420 h 720"/>
              <a:gd name="T82" fmla="*/ 512 w 720"/>
              <a:gd name="T83" fmla="*/ 329 h 720"/>
              <a:gd name="T84" fmla="*/ 459 w 720"/>
              <a:gd name="T85" fmla="*/ 240 h 720"/>
              <a:gd name="T86" fmla="*/ 359 w 720"/>
              <a:gd name="T87" fmla="*/ 204 h 720"/>
              <a:gd name="T88" fmla="*/ 260 w 720"/>
              <a:gd name="T89" fmla="*/ 240 h 720"/>
              <a:gd name="T90" fmla="*/ 208 w 720"/>
              <a:gd name="T91" fmla="*/ 329 h 720"/>
              <a:gd name="T92" fmla="*/ 223 w 720"/>
              <a:gd name="T93" fmla="*/ 434 h 720"/>
              <a:gd name="T94" fmla="*/ 299 w 720"/>
              <a:gd name="T95" fmla="*/ 503 h 720"/>
              <a:gd name="T96" fmla="*/ 414 w 720"/>
              <a:gd name="T97" fmla="*/ 506 h 720"/>
              <a:gd name="T98" fmla="*/ 504 w 720"/>
              <a:gd name="T99" fmla="*/ 479 h 720"/>
              <a:gd name="T100" fmla="*/ 607 w 720"/>
              <a:gd name="T101" fmla="*/ 515 h 720"/>
              <a:gd name="T102" fmla="*/ 683 w 720"/>
              <a:gd name="T103" fmla="*/ 479 h 720"/>
              <a:gd name="T104" fmla="*/ 720 w 720"/>
              <a:gd name="T105" fmla="*/ 403 h 720"/>
              <a:gd name="T106" fmla="*/ 708 w 720"/>
              <a:gd name="T107" fmla="*/ 271 h 720"/>
              <a:gd name="T108" fmla="*/ 658 w 720"/>
              <a:gd name="T109" fmla="*/ 159 h 720"/>
              <a:gd name="T110" fmla="*/ 575 w 720"/>
              <a:gd name="T111" fmla="*/ 72 h 720"/>
              <a:gd name="T112" fmla="*/ 467 w 720"/>
              <a:gd name="T113" fmla="*/ 16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20" h="720">
                <a:moveTo>
                  <a:pt x="359" y="467"/>
                </a:moveTo>
                <a:lnTo>
                  <a:pt x="349" y="467"/>
                </a:lnTo>
                <a:lnTo>
                  <a:pt x="339" y="466"/>
                </a:lnTo>
                <a:lnTo>
                  <a:pt x="328" y="463"/>
                </a:lnTo>
                <a:lnTo>
                  <a:pt x="318" y="460"/>
                </a:lnTo>
                <a:lnTo>
                  <a:pt x="309" y="454"/>
                </a:lnTo>
                <a:lnTo>
                  <a:pt x="300" y="449"/>
                </a:lnTo>
                <a:lnTo>
                  <a:pt x="291" y="443"/>
                </a:lnTo>
                <a:lnTo>
                  <a:pt x="283" y="436"/>
                </a:lnTo>
                <a:lnTo>
                  <a:pt x="277" y="429"/>
                </a:lnTo>
                <a:lnTo>
                  <a:pt x="270" y="421"/>
                </a:lnTo>
                <a:lnTo>
                  <a:pt x="265" y="412"/>
                </a:lnTo>
                <a:lnTo>
                  <a:pt x="260" y="402"/>
                </a:lnTo>
                <a:lnTo>
                  <a:pt x="256" y="393"/>
                </a:lnTo>
                <a:lnTo>
                  <a:pt x="254" y="382"/>
                </a:lnTo>
                <a:lnTo>
                  <a:pt x="253" y="371"/>
                </a:lnTo>
                <a:lnTo>
                  <a:pt x="253" y="361"/>
                </a:lnTo>
                <a:lnTo>
                  <a:pt x="253" y="349"/>
                </a:lnTo>
                <a:lnTo>
                  <a:pt x="254" y="339"/>
                </a:lnTo>
                <a:lnTo>
                  <a:pt x="256" y="329"/>
                </a:lnTo>
                <a:lnTo>
                  <a:pt x="260" y="318"/>
                </a:lnTo>
                <a:lnTo>
                  <a:pt x="265" y="309"/>
                </a:lnTo>
                <a:lnTo>
                  <a:pt x="270" y="300"/>
                </a:lnTo>
                <a:lnTo>
                  <a:pt x="277" y="291"/>
                </a:lnTo>
                <a:lnTo>
                  <a:pt x="283" y="284"/>
                </a:lnTo>
                <a:lnTo>
                  <a:pt x="291" y="277"/>
                </a:lnTo>
                <a:lnTo>
                  <a:pt x="300" y="271"/>
                </a:lnTo>
                <a:lnTo>
                  <a:pt x="309" y="266"/>
                </a:lnTo>
                <a:lnTo>
                  <a:pt x="318" y="260"/>
                </a:lnTo>
                <a:lnTo>
                  <a:pt x="328" y="258"/>
                </a:lnTo>
                <a:lnTo>
                  <a:pt x="339" y="255"/>
                </a:lnTo>
                <a:lnTo>
                  <a:pt x="349" y="253"/>
                </a:lnTo>
                <a:lnTo>
                  <a:pt x="359" y="253"/>
                </a:lnTo>
                <a:lnTo>
                  <a:pt x="371" y="253"/>
                </a:lnTo>
                <a:lnTo>
                  <a:pt x="381" y="255"/>
                </a:lnTo>
                <a:lnTo>
                  <a:pt x="391" y="258"/>
                </a:lnTo>
                <a:lnTo>
                  <a:pt x="401" y="260"/>
                </a:lnTo>
                <a:lnTo>
                  <a:pt x="410" y="266"/>
                </a:lnTo>
                <a:lnTo>
                  <a:pt x="419" y="271"/>
                </a:lnTo>
                <a:lnTo>
                  <a:pt x="428" y="277"/>
                </a:lnTo>
                <a:lnTo>
                  <a:pt x="436" y="284"/>
                </a:lnTo>
                <a:lnTo>
                  <a:pt x="443" y="291"/>
                </a:lnTo>
                <a:lnTo>
                  <a:pt x="449" y="300"/>
                </a:lnTo>
                <a:lnTo>
                  <a:pt x="454" y="309"/>
                </a:lnTo>
                <a:lnTo>
                  <a:pt x="459" y="318"/>
                </a:lnTo>
                <a:lnTo>
                  <a:pt x="463" y="329"/>
                </a:lnTo>
                <a:lnTo>
                  <a:pt x="466" y="339"/>
                </a:lnTo>
                <a:lnTo>
                  <a:pt x="467" y="349"/>
                </a:lnTo>
                <a:lnTo>
                  <a:pt x="467" y="361"/>
                </a:lnTo>
                <a:lnTo>
                  <a:pt x="467" y="371"/>
                </a:lnTo>
                <a:lnTo>
                  <a:pt x="466" y="382"/>
                </a:lnTo>
                <a:lnTo>
                  <a:pt x="463" y="393"/>
                </a:lnTo>
                <a:lnTo>
                  <a:pt x="459" y="402"/>
                </a:lnTo>
                <a:lnTo>
                  <a:pt x="454" y="412"/>
                </a:lnTo>
                <a:lnTo>
                  <a:pt x="449" y="421"/>
                </a:lnTo>
                <a:lnTo>
                  <a:pt x="443" y="429"/>
                </a:lnTo>
                <a:lnTo>
                  <a:pt x="436" y="436"/>
                </a:lnTo>
                <a:lnTo>
                  <a:pt x="428" y="443"/>
                </a:lnTo>
                <a:lnTo>
                  <a:pt x="419" y="449"/>
                </a:lnTo>
                <a:lnTo>
                  <a:pt x="410" y="454"/>
                </a:lnTo>
                <a:lnTo>
                  <a:pt x="401" y="460"/>
                </a:lnTo>
                <a:lnTo>
                  <a:pt x="391" y="463"/>
                </a:lnTo>
                <a:lnTo>
                  <a:pt x="381" y="466"/>
                </a:lnTo>
                <a:lnTo>
                  <a:pt x="371" y="467"/>
                </a:lnTo>
                <a:lnTo>
                  <a:pt x="359" y="467"/>
                </a:lnTo>
                <a:close/>
                <a:moveTo>
                  <a:pt x="359" y="0"/>
                </a:moveTo>
                <a:lnTo>
                  <a:pt x="341" y="0"/>
                </a:lnTo>
                <a:lnTo>
                  <a:pt x="323" y="1"/>
                </a:lnTo>
                <a:lnTo>
                  <a:pt x="305" y="4"/>
                </a:lnTo>
                <a:lnTo>
                  <a:pt x="287" y="7"/>
                </a:lnTo>
                <a:lnTo>
                  <a:pt x="269" y="11"/>
                </a:lnTo>
                <a:lnTo>
                  <a:pt x="253" y="16"/>
                </a:lnTo>
                <a:lnTo>
                  <a:pt x="236" y="22"/>
                </a:lnTo>
                <a:lnTo>
                  <a:pt x="219" y="28"/>
                </a:lnTo>
                <a:lnTo>
                  <a:pt x="204" y="36"/>
                </a:lnTo>
                <a:lnTo>
                  <a:pt x="188" y="43"/>
                </a:lnTo>
                <a:lnTo>
                  <a:pt x="173" y="52"/>
                </a:lnTo>
                <a:lnTo>
                  <a:pt x="159" y="61"/>
                </a:lnTo>
                <a:lnTo>
                  <a:pt x="145" y="72"/>
                </a:lnTo>
                <a:lnTo>
                  <a:pt x="131" y="82"/>
                </a:lnTo>
                <a:lnTo>
                  <a:pt x="118" y="94"/>
                </a:lnTo>
                <a:lnTo>
                  <a:pt x="105" y="105"/>
                </a:lnTo>
                <a:lnTo>
                  <a:pt x="93" y="118"/>
                </a:lnTo>
                <a:lnTo>
                  <a:pt x="82" y="131"/>
                </a:lnTo>
                <a:lnTo>
                  <a:pt x="71" y="145"/>
                </a:lnTo>
                <a:lnTo>
                  <a:pt x="61" y="159"/>
                </a:lnTo>
                <a:lnTo>
                  <a:pt x="51" y="173"/>
                </a:lnTo>
                <a:lnTo>
                  <a:pt x="43" y="189"/>
                </a:lnTo>
                <a:lnTo>
                  <a:pt x="34" y="204"/>
                </a:lnTo>
                <a:lnTo>
                  <a:pt x="28" y="221"/>
                </a:lnTo>
                <a:lnTo>
                  <a:pt x="21" y="236"/>
                </a:lnTo>
                <a:lnTo>
                  <a:pt x="15" y="253"/>
                </a:lnTo>
                <a:lnTo>
                  <a:pt x="11" y="271"/>
                </a:lnTo>
                <a:lnTo>
                  <a:pt x="6" y="287"/>
                </a:lnTo>
                <a:lnTo>
                  <a:pt x="3" y="305"/>
                </a:lnTo>
                <a:lnTo>
                  <a:pt x="1" y="323"/>
                </a:lnTo>
                <a:lnTo>
                  <a:pt x="0" y="341"/>
                </a:lnTo>
                <a:lnTo>
                  <a:pt x="0" y="361"/>
                </a:lnTo>
                <a:lnTo>
                  <a:pt x="0" y="379"/>
                </a:lnTo>
                <a:lnTo>
                  <a:pt x="1" y="397"/>
                </a:lnTo>
                <a:lnTo>
                  <a:pt x="3" y="415"/>
                </a:lnTo>
                <a:lnTo>
                  <a:pt x="6" y="433"/>
                </a:lnTo>
                <a:lnTo>
                  <a:pt x="11" y="451"/>
                </a:lnTo>
                <a:lnTo>
                  <a:pt x="15" y="467"/>
                </a:lnTo>
                <a:lnTo>
                  <a:pt x="21" y="484"/>
                </a:lnTo>
                <a:lnTo>
                  <a:pt x="28" y="501"/>
                </a:lnTo>
                <a:lnTo>
                  <a:pt x="34" y="516"/>
                </a:lnTo>
                <a:lnTo>
                  <a:pt x="43" y="531"/>
                </a:lnTo>
                <a:lnTo>
                  <a:pt x="51" y="547"/>
                </a:lnTo>
                <a:lnTo>
                  <a:pt x="61" y="562"/>
                </a:lnTo>
                <a:lnTo>
                  <a:pt x="71" y="576"/>
                </a:lnTo>
                <a:lnTo>
                  <a:pt x="82" y="589"/>
                </a:lnTo>
                <a:lnTo>
                  <a:pt x="93" y="602"/>
                </a:lnTo>
                <a:lnTo>
                  <a:pt x="105" y="615"/>
                </a:lnTo>
                <a:lnTo>
                  <a:pt x="118" y="626"/>
                </a:lnTo>
                <a:lnTo>
                  <a:pt x="131" y="638"/>
                </a:lnTo>
                <a:lnTo>
                  <a:pt x="145" y="650"/>
                </a:lnTo>
                <a:lnTo>
                  <a:pt x="159" y="659"/>
                </a:lnTo>
                <a:lnTo>
                  <a:pt x="173" y="669"/>
                </a:lnTo>
                <a:lnTo>
                  <a:pt x="188" y="678"/>
                </a:lnTo>
                <a:lnTo>
                  <a:pt x="204" y="686"/>
                </a:lnTo>
                <a:lnTo>
                  <a:pt x="219" y="692"/>
                </a:lnTo>
                <a:lnTo>
                  <a:pt x="236" y="698"/>
                </a:lnTo>
                <a:lnTo>
                  <a:pt x="253" y="705"/>
                </a:lnTo>
                <a:lnTo>
                  <a:pt x="269" y="710"/>
                </a:lnTo>
                <a:lnTo>
                  <a:pt x="287" y="714"/>
                </a:lnTo>
                <a:lnTo>
                  <a:pt x="305" y="716"/>
                </a:lnTo>
                <a:lnTo>
                  <a:pt x="323" y="719"/>
                </a:lnTo>
                <a:lnTo>
                  <a:pt x="341" y="720"/>
                </a:lnTo>
                <a:lnTo>
                  <a:pt x="359" y="720"/>
                </a:lnTo>
                <a:lnTo>
                  <a:pt x="387" y="720"/>
                </a:lnTo>
                <a:lnTo>
                  <a:pt x="414" y="716"/>
                </a:lnTo>
                <a:lnTo>
                  <a:pt x="441" y="711"/>
                </a:lnTo>
                <a:lnTo>
                  <a:pt x="467" y="705"/>
                </a:lnTo>
                <a:lnTo>
                  <a:pt x="493" y="696"/>
                </a:lnTo>
                <a:lnTo>
                  <a:pt x="517" y="686"/>
                </a:lnTo>
                <a:lnTo>
                  <a:pt x="540" y="673"/>
                </a:lnTo>
                <a:lnTo>
                  <a:pt x="563" y="659"/>
                </a:lnTo>
                <a:lnTo>
                  <a:pt x="567" y="655"/>
                </a:lnTo>
                <a:lnTo>
                  <a:pt x="570" y="651"/>
                </a:lnTo>
                <a:lnTo>
                  <a:pt x="572" y="647"/>
                </a:lnTo>
                <a:lnTo>
                  <a:pt x="574" y="643"/>
                </a:lnTo>
                <a:lnTo>
                  <a:pt x="574" y="638"/>
                </a:lnTo>
                <a:lnTo>
                  <a:pt x="574" y="633"/>
                </a:lnTo>
                <a:lnTo>
                  <a:pt x="572" y="629"/>
                </a:lnTo>
                <a:lnTo>
                  <a:pt x="570" y="625"/>
                </a:lnTo>
                <a:lnTo>
                  <a:pt x="567" y="621"/>
                </a:lnTo>
                <a:lnTo>
                  <a:pt x="563" y="617"/>
                </a:lnTo>
                <a:lnTo>
                  <a:pt x="558" y="616"/>
                </a:lnTo>
                <a:lnTo>
                  <a:pt x="554" y="615"/>
                </a:lnTo>
                <a:lnTo>
                  <a:pt x="549" y="614"/>
                </a:lnTo>
                <a:lnTo>
                  <a:pt x="545" y="615"/>
                </a:lnTo>
                <a:lnTo>
                  <a:pt x="540" y="616"/>
                </a:lnTo>
                <a:lnTo>
                  <a:pt x="536" y="619"/>
                </a:lnTo>
                <a:lnTo>
                  <a:pt x="517" y="630"/>
                </a:lnTo>
                <a:lnTo>
                  <a:pt x="495" y="642"/>
                </a:lnTo>
                <a:lnTo>
                  <a:pt x="475" y="651"/>
                </a:lnTo>
                <a:lnTo>
                  <a:pt x="453" y="659"/>
                </a:lnTo>
                <a:lnTo>
                  <a:pt x="430" y="665"/>
                </a:lnTo>
                <a:lnTo>
                  <a:pt x="407" y="669"/>
                </a:lnTo>
                <a:lnTo>
                  <a:pt x="384" y="671"/>
                </a:lnTo>
                <a:lnTo>
                  <a:pt x="359" y="673"/>
                </a:lnTo>
                <a:lnTo>
                  <a:pt x="344" y="673"/>
                </a:lnTo>
                <a:lnTo>
                  <a:pt x="328" y="671"/>
                </a:lnTo>
                <a:lnTo>
                  <a:pt x="312" y="669"/>
                </a:lnTo>
                <a:lnTo>
                  <a:pt x="297" y="666"/>
                </a:lnTo>
                <a:lnTo>
                  <a:pt x="282" y="662"/>
                </a:lnTo>
                <a:lnTo>
                  <a:pt x="267" y="659"/>
                </a:lnTo>
                <a:lnTo>
                  <a:pt x="253" y="653"/>
                </a:lnTo>
                <a:lnTo>
                  <a:pt x="238" y="648"/>
                </a:lnTo>
                <a:lnTo>
                  <a:pt x="224" y="642"/>
                </a:lnTo>
                <a:lnTo>
                  <a:pt x="211" y="635"/>
                </a:lnTo>
                <a:lnTo>
                  <a:pt x="197" y="628"/>
                </a:lnTo>
                <a:lnTo>
                  <a:pt x="186" y="619"/>
                </a:lnTo>
                <a:lnTo>
                  <a:pt x="173" y="611"/>
                </a:lnTo>
                <a:lnTo>
                  <a:pt x="161" y="601"/>
                </a:lnTo>
                <a:lnTo>
                  <a:pt x="150" y="592"/>
                </a:lnTo>
                <a:lnTo>
                  <a:pt x="140" y="582"/>
                </a:lnTo>
                <a:lnTo>
                  <a:pt x="128" y="570"/>
                </a:lnTo>
                <a:lnTo>
                  <a:pt x="119" y="558"/>
                </a:lnTo>
                <a:lnTo>
                  <a:pt x="110" y="547"/>
                </a:lnTo>
                <a:lnTo>
                  <a:pt x="101" y="535"/>
                </a:lnTo>
                <a:lnTo>
                  <a:pt x="92" y="522"/>
                </a:lnTo>
                <a:lnTo>
                  <a:pt x="86" y="510"/>
                </a:lnTo>
                <a:lnTo>
                  <a:pt x="78" y="495"/>
                </a:lnTo>
                <a:lnTo>
                  <a:pt x="71" y="481"/>
                </a:lnTo>
                <a:lnTo>
                  <a:pt x="66" y="467"/>
                </a:lnTo>
                <a:lnTo>
                  <a:pt x="61" y="453"/>
                </a:lnTo>
                <a:lnTo>
                  <a:pt x="57" y="438"/>
                </a:lnTo>
                <a:lnTo>
                  <a:pt x="53" y="424"/>
                </a:lnTo>
                <a:lnTo>
                  <a:pt x="51" y="408"/>
                </a:lnTo>
                <a:lnTo>
                  <a:pt x="48" y="393"/>
                </a:lnTo>
                <a:lnTo>
                  <a:pt x="48" y="376"/>
                </a:lnTo>
                <a:lnTo>
                  <a:pt x="47" y="361"/>
                </a:lnTo>
                <a:lnTo>
                  <a:pt x="48" y="344"/>
                </a:lnTo>
                <a:lnTo>
                  <a:pt x="48" y="329"/>
                </a:lnTo>
                <a:lnTo>
                  <a:pt x="51" y="313"/>
                </a:lnTo>
                <a:lnTo>
                  <a:pt x="53" y="298"/>
                </a:lnTo>
                <a:lnTo>
                  <a:pt x="57" y="282"/>
                </a:lnTo>
                <a:lnTo>
                  <a:pt x="61" y="267"/>
                </a:lnTo>
                <a:lnTo>
                  <a:pt x="66" y="253"/>
                </a:lnTo>
                <a:lnTo>
                  <a:pt x="71" y="239"/>
                </a:lnTo>
                <a:lnTo>
                  <a:pt x="78" y="225"/>
                </a:lnTo>
                <a:lnTo>
                  <a:pt x="86" y="212"/>
                </a:lnTo>
                <a:lnTo>
                  <a:pt x="92" y="199"/>
                </a:lnTo>
                <a:lnTo>
                  <a:pt x="101" y="186"/>
                </a:lnTo>
                <a:lnTo>
                  <a:pt x="110" y="173"/>
                </a:lnTo>
                <a:lnTo>
                  <a:pt x="119" y="162"/>
                </a:lnTo>
                <a:lnTo>
                  <a:pt x="128" y="150"/>
                </a:lnTo>
                <a:lnTo>
                  <a:pt x="140" y="140"/>
                </a:lnTo>
                <a:lnTo>
                  <a:pt x="150" y="129"/>
                </a:lnTo>
                <a:lnTo>
                  <a:pt x="161" y="119"/>
                </a:lnTo>
                <a:lnTo>
                  <a:pt x="173" y="110"/>
                </a:lnTo>
                <a:lnTo>
                  <a:pt x="186" y="101"/>
                </a:lnTo>
                <a:lnTo>
                  <a:pt x="197" y="94"/>
                </a:lnTo>
                <a:lnTo>
                  <a:pt x="211" y="86"/>
                </a:lnTo>
                <a:lnTo>
                  <a:pt x="224" y="78"/>
                </a:lnTo>
                <a:lnTo>
                  <a:pt x="238" y="73"/>
                </a:lnTo>
                <a:lnTo>
                  <a:pt x="253" y="67"/>
                </a:lnTo>
                <a:lnTo>
                  <a:pt x="267" y="61"/>
                </a:lnTo>
                <a:lnTo>
                  <a:pt x="282" y="58"/>
                </a:lnTo>
                <a:lnTo>
                  <a:pt x="297" y="54"/>
                </a:lnTo>
                <a:lnTo>
                  <a:pt x="312" y="51"/>
                </a:lnTo>
                <a:lnTo>
                  <a:pt x="328" y="50"/>
                </a:lnTo>
                <a:lnTo>
                  <a:pt x="344" y="49"/>
                </a:lnTo>
                <a:lnTo>
                  <a:pt x="359" y="47"/>
                </a:lnTo>
                <a:lnTo>
                  <a:pt x="376" y="49"/>
                </a:lnTo>
                <a:lnTo>
                  <a:pt x="391" y="50"/>
                </a:lnTo>
                <a:lnTo>
                  <a:pt x="407" y="51"/>
                </a:lnTo>
                <a:lnTo>
                  <a:pt x="422" y="54"/>
                </a:lnTo>
                <a:lnTo>
                  <a:pt x="437" y="58"/>
                </a:lnTo>
                <a:lnTo>
                  <a:pt x="453" y="61"/>
                </a:lnTo>
                <a:lnTo>
                  <a:pt x="467" y="67"/>
                </a:lnTo>
                <a:lnTo>
                  <a:pt x="481" y="73"/>
                </a:lnTo>
                <a:lnTo>
                  <a:pt x="495" y="78"/>
                </a:lnTo>
                <a:lnTo>
                  <a:pt x="508" y="86"/>
                </a:lnTo>
                <a:lnTo>
                  <a:pt x="522" y="94"/>
                </a:lnTo>
                <a:lnTo>
                  <a:pt x="534" y="101"/>
                </a:lnTo>
                <a:lnTo>
                  <a:pt x="547" y="110"/>
                </a:lnTo>
                <a:lnTo>
                  <a:pt x="558" y="119"/>
                </a:lnTo>
                <a:lnTo>
                  <a:pt x="570" y="129"/>
                </a:lnTo>
                <a:lnTo>
                  <a:pt x="580" y="140"/>
                </a:lnTo>
                <a:lnTo>
                  <a:pt x="592" y="150"/>
                </a:lnTo>
                <a:lnTo>
                  <a:pt x="601" y="162"/>
                </a:lnTo>
                <a:lnTo>
                  <a:pt x="610" y="173"/>
                </a:lnTo>
                <a:lnTo>
                  <a:pt x="619" y="186"/>
                </a:lnTo>
                <a:lnTo>
                  <a:pt x="628" y="199"/>
                </a:lnTo>
                <a:lnTo>
                  <a:pt x="634" y="212"/>
                </a:lnTo>
                <a:lnTo>
                  <a:pt x="642" y="225"/>
                </a:lnTo>
                <a:lnTo>
                  <a:pt x="648" y="239"/>
                </a:lnTo>
                <a:lnTo>
                  <a:pt x="653" y="253"/>
                </a:lnTo>
                <a:lnTo>
                  <a:pt x="658" y="267"/>
                </a:lnTo>
                <a:lnTo>
                  <a:pt x="662" y="282"/>
                </a:lnTo>
                <a:lnTo>
                  <a:pt x="666" y="298"/>
                </a:lnTo>
                <a:lnTo>
                  <a:pt x="669" y="313"/>
                </a:lnTo>
                <a:lnTo>
                  <a:pt x="671" y="329"/>
                </a:lnTo>
                <a:lnTo>
                  <a:pt x="671" y="344"/>
                </a:lnTo>
                <a:lnTo>
                  <a:pt x="672" y="361"/>
                </a:lnTo>
                <a:lnTo>
                  <a:pt x="672" y="389"/>
                </a:lnTo>
                <a:lnTo>
                  <a:pt x="671" y="398"/>
                </a:lnTo>
                <a:lnTo>
                  <a:pt x="671" y="406"/>
                </a:lnTo>
                <a:lnTo>
                  <a:pt x="669" y="413"/>
                </a:lnTo>
                <a:lnTo>
                  <a:pt x="666" y="420"/>
                </a:lnTo>
                <a:lnTo>
                  <a:pt x="662" y="427"/>
                </a:lnTo>
                <a:lnTo>
                  <a:pt x="658" y="434"/>
                </a:lnTo>
                <a:lnTo>
                  <a:pt x="654" y="439"/>
                </a:lnTo>
                <a:lnTo>
                  <a:pt x="649" y="445"/>
                </a:lnTo>
                <a:lnTo>
                  <a:pt x="644" y="451"/>
                </a:lnTo>
                <a:lnTo>
                  <a:pt x="638" y="454"/>
                </a:lnTo>
                <a:lnTo>
                  <a:pt x="631" y="458"/>
                </a:lnTo>
                <a:lnTo>
                  <a:pt x="625" y="462"/>
                </a:lnTo>
                <a:lnTo>
                  <a:pt x="617" y="465"/>
                </a:lnTo>
                <a:lnTo>
                  <a:pt x="610" y="466"/>
                </a:lnTo>
                <a:lnTo>
                  <a:pt x="602" y="467"/>
                </a:lnTo>
                <a:lnTo>
                  <a:pt x="594" y="467"/>
                </a:lnTo>
                <a:lnTo>
                  <a:pt x="586" y="467"/>
                </a:lnTo>
                <a:lnTo>
                  <a:pt x="577" y="466"/>
                </a:lnTo>
                <a:lnTo>
                  <a:pt x="571" y="465"/>
                </a:lnTo>
                <a:lnTo>
                  <a:pt x="563" y="462"/>
                </a:lnTo>
                <a:lnTo>
                  <a:pt x="557" y="458"/>
                </a:lnTo>
                <a:lnTo>
                  <a:pt x="550" y="454"/>
                </a:lnTo>
                <a:lnTo>
                  <a:pt x="544" y="451"/>
                </a:lnTo>
                <a:lnTo>
                  <a:pt x="539" y="445"/>
                </a:lnTo>
                <a:lnTo>
                  <a:pt x="534" y="439"/>
                </a:lnTo>
                <a:lnTo>
                  <a:pt x="529" y="434"/>
                </a:lnTo>
                <a:lnTo>
                  <a:pt x="525" y="427"/>
                </a:lnTo>
                <a:lnTo>
                  <a:pt x="522" y="420"/>
                </a:lnTo>
                <a:lnTo>
                  <a:pt x="518" y="413"/>
                </a:lnTo>
                <a:lnTo>
                  <a:pt x="517" y="406"/>
                </a:lnTo>
                <a:lnTo>
                  <a:pt x="516" y="398"/>
                </a:lnTo>
                <a:lnTo>
                  <a:pt x="516" y="389"/>
                </a:lnTo>
                <a:lnTo>
                  <a:pt x="516" y="361"/>
                </a:lnTo>
                <a:lnTo>
                  <a:pt x="515" y="344"/>
                </a:lnTo>
                <a:lnTo>
                  <a:pt x="512" y="329"/>
                </a:lnTo>
                <a:lnTo>
                  <a:pt x="508" y="314"/>
                </a:lnTo>
                <a:lnTo>
                  <a:pt x="503" y="300"/>
                </a:lnTo>
                <a:lnTo>
                  <a:pt x="497" y="286"/>
                </a:lnTo>
                <a:lnTo>
                  <a:pt x="489" y="273"/>
                </a:lnTo>
                <a:lnTo>
                  <a:pt x="480" y="262"/>
                </a:lnTo>
                <a:lnTo>
                  <a:pt x="470" y="250"/>
                </a:lnTo>
                <a:lnTo>
                  <a:pt x="459" y="240"/>
                </a:lnTo>
                <a:lnTo>
                  <a:pt x="446" y="231"/>
                </a:lnTo>
                <a:lnTo>
                  <a:pt x="434" y="223"/>
                </a:lnTo>
                <a:lnTo>
                  <a:pt x="421" y="217"/>
                </a:lnTo>
                <a:lnTo>
                  <a:pt x="407" y="212"/>
                </a:lnTo>
                <a:lnTo>
                  <a:pt x="391" y="208"/>
                </a:lnTo>
                <a:lnTo>
                  <a:pt x="376" y="205"/>
                </a:lnTo>
                <a:lnTo>
                  <a:pt x="359" y="204"/>
                </a:lnTo>
                <a:lnTo>
                  <a:pt x="344" y="205"/>
                </a:lnTo>
                <a:lnTo>
                  <a:pt x="328" y="208"/>
                </a:lnTo>
                <a:lnTo>
                  <a:pt x="313" y="212"/>
                </a:lnTo>
                <a:lnTo>
                  <a:pt x="299" y="217"/>
                </a:lnTo>
                <a:lnTo>
                  <a:pt x="286" y="223"/>
                </a:lnTo>
                <a:lnTo>
                  <a:pt x="273" y="231"/>
                </a:lnTo>
                <a:lnTo>
                  <a:pt x="260" y="240"/>
                </a:lnTo>
                <a:lnTo>
                  <a:pt x="250" y="250"/>
                </a:lnTo>
                <a:lnTo>
                  <a:pt x="240" y="262"/>
                </a:lnTo>
                <a:lnTo>
                  <a:pt x="231" y="273"/>
                </a:lnTo>
                <a:lnTo>
                  <a:pt x="223" y="286"/>
                </a:lnTo>
                <a:lnTo>
                  <a:pt x="217" y="300"/>
                </a:lnTo>
                <a:lnTo>
                  <a:pt x="211" y="314"/>
                </a:lnTo>
                <a:lnTo>
                  <a:pt x="208" y="329"/>
                </a:lnTo>
                <a:lnTo>
                  <a:pt x="205" y="344"/>
                </a:lnTo>
                <a:lnTo>
                  <a:pt x="204" y="361"/>
                </a:lnTo>
                <a:lnTo>
                  <a:pt x="205" y="376"/>
                </a:lnTo>
                <a:lnTo>
                  <a:pt x="208" y="391"/>
                </a:lnTo>
                <a:lnTo>
                  <a:pt x="211" y="407"/>
                </a:lnTo>
                <a:lnTo>
                  <a:pt x="217" y="421"/>
                </a:lnTo>
                <a:lnTo>
                  <a:pt x="223" y="434"/>
                </a:lnTo>
                <a:lnTo>
                  <a:pt x="231" y="447"/>
                </a:lnTo>
                <a:lnTo>
                  <a:pt x="240" y="460"/>
                </a:lnTo>
                <a:lnTo>
                  <a:pt x="250" y="470"/>
                </a:lnTo>
                <a:lnTo>
                  <a:pt x="260" y="480"/>
                </a:lnTo>
                <a:lnTo>
                  <a:pt x="273" y="489"/>
                </a:lnTo>
                <a:lnTo>
                  <a:pt x="286" y="497"/>
                </a:lnTo>
                <a:lnTo>
                  <a:pt x="299" y="503"/>
                </a:lnTo>
                <a:lnTo>
                  <a:pt x="313" y="508"/>
                </a:lnTo>
                <a:lnTo>
                  <a:pt x="328" y="512"/>
                </a:lnTo>
                <a:lnTo>
                  <a:pt x="344" y="515"/>
                </a:lnTo>
                <a:lnTo>
                  <a:pt x="359" y="516"/>
                </a:lnTo>
                <a:lnTo>
                  <a:pt x="378" y="515"/>
                </a:lnTo>
                <a:lnTo>
                  <a:pt x="396" y="511"/>
                </a:lnTo>
                <a:lnTo>
                  <a:pt x="414" y="506"/>
                </a:lnTo>
                <a:lnTo>
                  <a:pt x="431" y="499"/>
                </a:lnTo>
                <a:lnTo>
                  <a:pt x="446" y="489"/>
                </a:lnTo>
                <a:lnTo>
                  <a:pt x="461" y="479"/>
                </a:lnTo>
                <a:lnTo>
                  <a:pt x="473" y="466"/>
                </a:lnTo>
                <a:lnTo>
                  <a:pt x="485" y="453"/>
                </a:lnTo>
                <a:lnTo>
                  <a:pt x="494" y="466"/>
                </a:lnTo>
                <a:lnTo>
                  <a:pt x="504" y="479"/>
                </a:lnTo>
                <a:lnTo>
                  <a:pt x="517" y="489"/>
                </a:lnTo>
                <a:lnTo>
                  <a:pt x="530" y="498"/>
                </a:lnTo>
                <a:lnTo>
                  <a:pt x="544" y="506"/>
                </a:lnTo>
                <a:lnTo>
                  <a:pt x="561" y="511"/>
                </a:lnTo>
                <a:lnTo>
                  <a:pt x="576" y="515"/>
                </a:lnTo>
                <a:lnTo>
                  <a:pt x="594" y="516"/>
                </a:lnTo>
                <a:lnTo>
                  <a:pt x="607" y="515"/>
                </a:lnTo>
                <a:lnTo>
                  <a:pt x="620" y="513"/>
                </a:lnTo>
                <a:lnTo>
                  <a:pt x="631" y="510"/>
                </a:lnTo>
                <a:lnTo>
                  <a:pt x="643" y="506"/>
                </a:lnTo>
                <a:lnTo>
                  <a:pt x="654" y="501"/>
                </a:lnTo>
                <a:lnTo>
                  <a:pt x="665" y="494"/>
                </a:lnTo>
                <a:lnTo>
                  <a:pt x="674" y="487"/>
                </a:lnTo>
                <a:lnTo>
                  <a:pt x="683" y="479"/>
                </a:lnTo>
                <a:lnTo>
                  <a:pt x="692" y="470"/>
                </a:lnTo>
                <a:lnTo>
                  <a:pt x="698" y="460"/>
                </a:lnTo>
                <a:lnTo>
                  <a:pt x="705" y="449"/>
                </a:lnTo>
                <a:lnTo>
                  <a:pt x="710" y="439"/>
                </a:lnTo>
                <a:lnTo>
                  <a:pt x="715" y="427"/>
                </a:lnTo>
                <a:lnTo>
                  <a:pt x="717" y="415"/>
                </a:lnTo>
                <a:lnTo>
                  <a:pt x="720" y="403"/>
                </a:lnTo>
                <a:lnTo>
                  <a:pt x="720" y="389"/>
                </a:lnTo>
                <a:lnTo>
                  <a:pt x="720" y="361"/>
                </a:lnTo>
                <a:lnTo>
                  <a:pt x="720" y="341"/>
                </a:lnTo>
                <a:lnTo>
                  <a:pt x="719" y="323"/>
                </a:lnTo>
                <a:lnTo>
                  <a:pt x="716" y="305"/>
                </a:lnTo>
                <a:lnTo>
                  <a:pt x="714" y="287"/>
                </a:lnTo>
                <a:lnTo>
                  <a:pt x="708" y="271"/>
                </a:lnTo>
                <a:lnTo>
                  <a:pt x="705" y="253"/>
                </a:lnTo>
                <a:lnTo>
                  <a:pt x="698" y="236"/>
                </a:lnTo>
                <a:lnTo>
                  <a:pt x="692" y="221"/>
                </a:lnTo>
                <a:lnTo>
                  <a:pt x="685" y="204"/>
                </a:lnTo>
                <a:lnTo>
                  <a:pt x="676" y="189"/>
                </a:lnTo>
                <a:lnTo>
                  <a:pt x="669" y="173"/>
                </a:lnTo>
                <a:lnTo>
                  <a:pt x="658" y="159"/>
                </a:lnTo>
                <a:lnTo>
                  <a:pt x="648" y="145"/>
                </a:lnTo>
                <a:lnTo>
                  <a:pt x="638" y="131"/>
                </a:lnTo>
                <a:lnTo>
                  <a:pt x="626" y="118"/>
                </a:lnTo>
                <a:lnTo>
                  <a:pt x="615" y="105"/>
                </a:lnTo>
                <a:lnTo>
                  <a:pt x="602" y="94"/>
                </a:lnTo>
                <a:lnTo>
                  <a:pt x="589" y="82"/>
                </a:lnTo>
                <a:lnTo>
                  <a:pt x="575" y="72"/>
                </a:lnTo>
                <a:lnTo>
                  <a:pt x="561" y="61"/>
                </a:lnTo>
                <a:lnTo>
                  <a:pt x="547" y="52"/>
                </a:lnTo>
                <a:lnTo>
                  <a:pt x="531" y="43"/>
                </a:lnTo>
                <a:lnTo>
                  <a:pt x="516" y="36"/>
                </a:lnTo>
                <a:lnTo>
                  <a:pt x="500" y="28"/>
                </a:lnTo>
                <a:lnTo>
                  <a:pt x="484" y="22"/>
                </a:lnTo>
                <a:lnTo>
                  <a:pt x="467" y="16"/>
                </a:lnTo>
                <a:lnTo>
                  <a:pt x="450" y="11"/>
                </a:lnTo>
                <a:lnTo>
                  <a:pt x="432" y="7"/>
                </a:lnTo>
                <a:lnTo>
                  <a:pt x="414" y="4"/>
                </a:lnTo>
                <a:lnTo>
                  <a:pt x="396" y="1"/>
                </a:lnTo>
                <a:lnTo>
                  <a:pt x="378" y="0"/>
                </a:lnTo>
                <a:lnTo>
                  <a:pt x="359"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46545042"/>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2F269755-AA98-444F-B07A-24D6668A7CBD}"/>
              </a:ext>
            </a:extLst>
          </p:cNvPr>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l="30635" r="30635"/>
          <a:stretch>
            <a:fillRect/>
          </a:stretch>
        </p:blipFill>
        <p:spPr>
          <a:solidFill>
            <a:schemeClr val="bg1">
              <a:lumMod val="85000"/>
            </a:schemeClr>
          </a:solidFill>
        </p:spPr>
      </p:pic>
      <p:sp>
        <p:nvSpPr>
          <p:cNvPr id="5" name="Rectangle 4"/>
          <p:cNvSpPr/>
          <p:nvPr>
            <p:custDataLst>
              <p:tags r:id="rId1"/>
            </p:custDataLst>
          </p:nvPr>
        </p:nvSpPr>
        <p:spPr>
          <a:xfrm>
            <a:off x="406318" y="890857"/>
            <a:ext cx="9271000"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spc="-150" dirty="0">
                <a:solidFill>
                  <a:schemeClr val="tx1">
                    <a:lumMod val="85000"/>
                    <a:lumOff val="15000"/>
                  </a:schemeClr>
                </a:solidFill>
                <a:latin typeface="Montserrat" panose="00000500000000000000" pitchFamily="2" charset="0"/>
                <a:ea typeface="Source Sans Pro" panose="020B0503030403020204" pitchFamily="34" charset="0"/>
                <a:cs typeface="Open Sans Light" panose="020B0306030504020204" pitchFamily="34" charset="0"/>
              </a:rPr>
              <a:t>Our </a:t>
            </a:r>
            <a:r>
              <a:rPr lang="en-US" sz="3200" b="1" spc="-150" dirty="0">
                <a:solidFill>
                  <a:schemeClr val="tx1">
                    <a:lumMod val="85000"/>
                    <a:lumOff val="15000"/>
                  </a:schemeClr>
                </a:solidFill>
                <a:latin typeface="Montserrat" panose="00000500000000000000" pitchFamily="2" charset="0"/>
                <a:ea typeface="Source Sans Pro" panose="020B0503030403020204" pitchFamily="34" charset="0"/>
                <a:cs typeface="Open Sans Light" panose="020B0306030504020204" pitchFamily="34" charset="0"/>
              </a:rPr>
              <a:t>Showcases</a:t>
            </a:r>
          </a:p>
        </p:txBody>
      </p:sp>
      <p:sp>
        <p:nvSpPr>
          <p:cNvPr id="6" name="Rectangle 5"/>
          <p:cNvSpPr/>
          <p:nvPr>
            <p:custDataLst>
              <p:tags r:id="rId2"/>
            </p:custDataLst>
          </p:nvPr>
        </p:nvSpPr>
        <p:spPr>
          <a:xfrm>
            <a:off x="465988" y="1404480"/>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lumMod val="85000"/>
                    <a:lumOff val="15000"/>
                  </a:schemeClr>
                </a:solidFill>
                <a:latin typeface="+mj-lt"/>
                <a:ea typeface="Open Sans" panose="020B0606030504020204" pitchFamily="34" charset="0"/>
                <a:cs typeface="Open Sans" panose="020B0606030504020204" pitchFamily="34" charset="0"/>
              </a:rPr>
              <a:t>Put Your Great Subtitle Here</a:t>
            </a:r>
          </a:p>
        </p:txBody>
      </p:sp>
      <p:sp>
        <p:nvSpPr>
          <p:cNvPr id="7" name="Rectangle 6"/>
          <p:cNvSpPr/>
          <p:nvPr/>
        </p:nvSpPr>
        <p:spPr>
          <a:xfrm>
            <a:off x="1728716" y="2679812"/>
            <a:ext cx="2484863" cy="1095039"/>
          </a:xfrm>
          <a:prstGeom prst="rect">
            <a:avLst/>
          </a:prstGeom>
        </p:spPr>
        <p:txBody>
          <a:bodyPr wrap="square">
            <a:noAutofit/>
          </a:bodyPr>
          <a:lstStyle/>
          <a:p>
            <a:pPr algn="just">
              <a:lnSpc>
                <a:spcPct val="200000"/>
              </a:lnSpc>
              <a:spcBef>
                <a:spcPts val="600"/>
              </a:spcBef>
              <a:buClr>
                <a:srgbClr val="E24848"/>
              </a:buClr>
              <a:defRPr/>
            </a:pPr>
            <a:r>
              <a:rPr lang="en-US" sz="1100" noProof="1">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
        <p:nvSpPr>
          <p:cNvPr id="8" name="Rectangle 7"/>
          <p:cNvSpPr/>
          <p:nvPr/>
        </p:nvSpPr>
        <p:spPr>
          <a:xfrm>
            <a:off x="1728717" y="2321597"/>
            <a:ext cx="1696361" cy="363099"/>
          </a:xfrm>
          <a:prstGeom prst="rect">
            <a:avLst/>
          </a:prstGeom>
        </p:spPr>
        <p:txBody>
          <a:bodyPr vert="horz" lIns="91440" tIns="45720" rIns="91440" bIns="45720" rtlCol="0" anchor="ctr">
            <a:noAutofit/>
          </a:bodyPr>
          <a:lstStyle/>
          <a:p>
            <a:pPr defTabSz="914082">
              <a:spcBef>
                <a:spcPct val="0"/>
              </a:spcBef>
            </a:pPr>
            <a:r>
              <a:rPr lang="en-US" sz="1400" b="1" noProof="1">
                <a:solidFill>
                  <a:schemeClr val="tx1">
                    <a:lumMod val="85000"/>
                    <a:lumOff val="15000"/>
                  </a:schemeClr>
                </a:solidFill>
                <a:latin typeface="Montserrat" panose="00000500000000000000" pitchFamily="2" charset="0"/>
                <a:ea typeface="Roboto" panose="02000000000000000000" pitchFamily="2" charset="0"/>
                <a:cs typeface="Lato Light" panose="020F0402020204030203" pitchFamily="34" charset="0"/>
              </a:rPr>
              <a:t>LOREM </a:t>
            </a:r>
            <a:r>
              <a:rPr lang="en-US" sz="1400" noProof="1">
                <a:solidFill>
                  <a:schemeClr val="tx1">
                    <a:lumMod val="85000"/>
                    <a:lumOff val="15000"/>
                  </a:schemeClr>
                </a:solidFill>
                <a:latin typeface="Montserrat" panose="00000500000000000000" pitchFamily="2" charset="0"/>
                <a:ea typeface="Roboto" panose="02000000000000000000" pitchFamily="2" charset="0"/>
                <a:cs typeface="Lato Light" panose="020F0402020204030203" pitchFamily="34" charset="0"/>
              </a:rPr>
              <a:t>IPSUM</a:t>
            </a:r>
          </a:p>
        </p:txBody>
      </p:sp>
      <p:sp>
        <p:nvSpPr>
          <p:cNvPr id="9" name="Rectangle 8"/>
          <p:cNvSpPr/>
          <p:nvPr/>
        </p:nvSpPr>
        <p:spPr>
          <a:xfrm>
            <a:off x="683168" y="2172380"/>
            <a:ext cx="865073" cy="743616"/>
          </a:xfrm>
          <a:prstGeom prst="rect">
            <a:avLst/>
          </a:prstGeom>
        </p:spPr>
        <p:txBody>
          <a:bodyPr vert="horz" lIns="91440" tIns="45720" rIns="91440" bIns="45720" rtlCol="0" anchor="ctr">
            <a:noAutofit/>
          </a:bodyPr>
          <a:lstStyle/>
          <a:p>
            <a:pPr defTabSz="914082">
              <a:spcBef>
                <a:spcPct val="0"/>
              </a:spcBef>
            </a:pPr>
            <a:r>
              <a:rPr lang="en-US" sz="4000" b="1" noProof="1">
                <a:solidFill>
                  <a:schemeClr val="tx1">
                    <a:lumMod val="85000"/>
                    <a:lumOff val="15000"/>
                  </a:schemeClr>
                </a:solidFill>
                <a:latin typeface="Montserrat" panose="00000500000000000000" pitchFamily="2" charset="0"/>
                <a:ea typeface="Roboto Light" panose="02000000000000000000" pitchFamily="2" charset="0"/>
                <a:cs typeface="Lato Light" panose="020F0402020204030203" pitchFamily="34" charset="0"/>
              </a:rPr>
              <a:t>01</a:t>
            </a:r>
          </a:p>
        </p:txBody>
      </p:sp>
      <p:sp>
        <p:nvSpPr>
          <p:cNvPr id="10" name="Rectangle 9"/>
          <p:cNvSpPr/>
          <p:nvPr/>
        </p:nvSpPr>
        <p:spPr>
          <a:xfrm>
            <a:off x="5439605" y="2679812"/>
            <a:ext cx="2484863" cy="1095039"/>
          </a:xfrm>
          <a:prstGeom prst="rect">
            <a:avLst/>
          </a:prstGeom>
        </p:spPr>
        <p:txBody>
          <a:bodyPr wrap="square">
            <a:noAutofit/>
          </a:bodyPr>
          <a:lstStyle/>
          <a:p>
            <a:pPr algn="just">
              <a:lnSpc>
                <a:spcPct val="200000"/>
              </a:lnSpc>
              <a:spcBef>
                <a:spcPts val="600"/>
              </a:spcBef>
              <a:buClr>
                <a:srgbClr val="E24848"/>
              </a:buClr>
              <a:defRPr/>
            </a:pPr>
            <a:r>
              <a:rPr lang="en-US" sz="1100" noProof="1">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
        <p:nvSpPr>
          <p:cNvPr id="11" name="Rectangle 10"/>
          <p:cNvSpPr/>
          <p:nvPr/>
        </p:nvSpPr>
        <p:spPr>
          <a:xfrm>
            <a:off x="5439606" y="2321597"/>
            <a:ext cx="1696361" cy="363099"/>
          </a:xfrm>
          <a:prstGeom prst="rect">
            <a:avLst/>
          </a:prstGeom>
        </p:spPr>
        <p:txBody>
          <a:bodyPr vert="horz" lIns="91440" tIns="45720" rIns="91440" bIns="45720" rtlCol="0" anchor="ctr">
            <a:noAutofit/>
          </a:bodyPr>
          <a:lstStyle/>
          <a:p>
            <a:pPr defTabSz="914082">
              <a:spcBef>
                <a:spcPct val="0"/>
              </a:spcBef>
            </a:pPr>
            <a:r>
              <a:rPr lang="en-US" sz="1400" b="1" noProof="1">
                <a:solidFill>
                  <a:schemeClr val="tx1">
                    <a:lumMod val="85000"/>
                    <a:lumOff val="15000"/>
                  </a:schemeClr>
                </a:solidFill>
                <a:latin typeface="Montserrat" panose="00000500000000000000" pitchFamily="2" charset="0"/>
                <a:ea typeface="Roboto" panose="02000000000000000000" pitchFamily="2" charset="0"/>
                <a:cs typeface="Lato Light" panose="020F0402020204030203" pitchFamily="34" charset="0"/>
              </a:rPr>
              <a:t>LOREM </a:t>
            </a:r>
            <a:r>
              <a:rPr lang="en-US" sz="1400" noProof="1">
                <a:solidFill>
                  <a:schemeClr val="tx1">
                    <a:lumMod val="85000"/>
                    <a:lumOff val="15000"/>
                  </a:schemeClr>
                </a:solidFill>
                <a:latin typeface="Montserrat" panose="00000500000000000000" pitchFamily="2" charset="0"/>
                <a:ea typeface="Roboto" panose="02000000000000000000" pitchFamily="2" charset="0"/>
                <a:cs typeface="Lato Light" panose="020F0402020204030203" pitchFamily="34" charset="0"/>
              </a:rPr>
              <a:t>IPSUM</a:t>
            </a:r>
          </a:p>
        </p:txBody>
      </p:sp>
      <p:sp>
        <p:nvSpPr>
          <p:cNvPr id="12" name="Rectangle 11"/>
          <p:cNvSpPr/>
          <p:nvPr/>
        </p:nvSpPr>
        <p:spPr>
          <a:xfrm>
            <a:off x="4291089" y="2172380"/>
            <a:ext cx="1071008" cy="743616"/>
          </a:xfrm>
          <a:prstGeom prst="rect">
            <a:avLst/>
          </a:prstGeom>
        </p:spPr>
        <p:txBody>
          <a:bodyPr vert="horz" lIns="91440" tIns="45720" rIns="91440" bIns="45720" rtlCol="0" anchor="ctr">
            <a:noAutofit/>
          </a:bodyPr>
          <a:lstStyle/>
          <a:p>
            <a:pPr defTabSz="914082">
              <a:spcBef>
                <a:spcPct val="0"/>
              </a:spcBef>
            </a:pPr>
            <a:r>
              <a:rPr lang="en-US" sz="4000" b="1" noProof="1">
                <a:solidFill>
                  <a:schemeClr val="tx1">
                    <a:lumMod val="85000"/>
                    <a:lumOff val="15000"/>
                  </a:schemeClr>
                </a:solidFill>
                <a:latin typeface="Montserrat" panose="00000500000000000000" pitchFamily="2" charset="0"/>
                <a:ea typeface="Roboto Light" panose="02000000000000000000" pitchFamily="2" charset="0"/>
                <a:cs typeface="Lato Light" panose="020F0402020204030203" pitchFamily="34" charset="0"/>
              </a:rPr>
              <a:t>02</a:t>
            </a:r>
          </a:p>
        </p:txBody>
      </p:sp>
      <p:sp>
        <p:nvSpPr>
          <p:cNvPr id="13" name="Rectangle 12"/>
          <p:cNvSpPr/>
          <p:nvPr/>
        </p:nvSpPr>
        <p:spPr>
          <a:xfrm>
            <a:off x="1728716" y="4633217"/>
            <a:ext cx="2484863" cy="1095039"/>
          </a:xfrm>
          <a:prstGeom prst="rect">
            <a:avLst/>
          </a:prstGeom>
        </p:spPr>
        <p:txBody>
          <a:bodyPr wrap="square">
            <a:noAutofit/>
          </a:bodyPr>
          <a:lstStyle/>
          <a:p>
            <a:pPr algn="just">
              <a:lnSpc>
                <a:spcPct val="200000"/>
              </a:lnSpc>
              <a:spcBef>
                <a:spcPts val="600"/>
              </a:spcBef>
              <a:buClr>
                <a:srgbClr val="E24848"/>
              </a:buClr>
              <a:defRPr/>
            </a:pPr>
            <a:r>
              <a:rPr lang="en-US" sz="1100" noProof="1">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
        <p:nvSpPr>
          <p:cNvPr id="14" name="Rectangle 13"/>
          <p:cNvSpPr/>
          <p:nvPr/>
        </p:nvSpPr>
        <p:spPr>
          <a:xfrm>
            <a:off x="1728717" y="4275002"/>
            <a:ext cx="1696361" cy="363099"/>
          </a:xfrm>
          <a:prstGeom prst="rect">
            <a:avLst/>
          </a:prstGeom>
        </p:spPr>
        <p:txBody>
          <a:bodyPr vert="horz" lIns="91440" tIns="45720" rIns="91440" bIns="45720" rtlCol="0" anchor="ctr">
            <a:noAutofit/>
          </a:bodyPr>
          <a:lstStyle/>
          <a:p>
            <a:pPr defTabSz="914082">
              <a:spcBef>
                <a:spcPct val="0"/>
              </a:spcBef>
            </a:pPr>
            <a:r>
              <a:rPr lang="en-US" sz="1400" b="1" noProof="1">
                <a:solidFill>
                  <a:schemeClr val="tx1">
                    <a:lumMod val="85000"/>
                    <a:lumOff val="15000"/>
                  </a:schemeClr>
                </a:solidFill>
                <a:latin typeface="Montserrat" panose="00000500000000000000" pitchFamily="2" charset="0"/>
                <a:ea typeface="Roboto" panose="02000000000000000000" pitchFamily="2" charset="0"/>
                <a:cs typeface="Lato Light" panose="020F0402020204030203" pitchFamily="34" charset="0"/>
              </a:rPr>
              <a:t>LOREM </a:t>
            </a:r>
            <a:r>
              <a:rPr lang="en-US" sz="1400" noProof="1">
                <a:solidFill>
                  <a:schemeClr val="tx1">
                    <a:lumMod val="85000"/>
                    <a:lumOff val="15000"/>
                  </a:schemeClr>
                </a:solidFill>
                <a:latin typeface="Montserrat" panose="00000500000000000000" pitchFamily="2" charset="0"/>
                <a:ea typeface="Roboto" panose="02000000000000000000" pitchFamily="2" charset="0"/>
                <a:cs typeface="Lato Light" panose="020F0402020204030203" pitchFamily="34" charset="0"/>
              </a:rPr>
              <a:t>IPSUM</a:t>
            </a:r>
          </a:p>
        </p:txBody>
      </p:sp>
      <p:sp>
        <p:nvSpPr>
          <p:cNvPr id="15" name="Rectangle 14"/>
          <p:cNvSpPr/>
          <p:nvPr/>
        </p:nvSpPr>
        <p:spPr>
          <a:xfrm>
            <a:off x="639914" y="4125785"/>
            <a:ext cx="951580" cy="743616"/>
          </a:xfrm>
          <a:prstGeom prst="rect">
            <a:avLst/>
          </a:prstGeom>
        </p:spPr>
        <p:txBody>
          <a:bodyPr vert="horz" lIns="91440" tIns="45720" rIns="91440" bIns="45720" rtlCol="0" anchor="ctr">
            <a:noAutofit/>
          </a:bodyPr>
          <a:lstStyle/>
          <a:p>
            <a:pPr defTabSz="914082">
              <a:spcBef>
                <a:spcPct val="0"/>
              </a:spcBef>
            </a:pPr>
            <a:r>
              <a:rPr lang="en-US" sz="4000" b="1" noProof="1">
                <a:solidFill>
                  <a:schemeClr val="tx1">
                    <a:lumMod val="85000"/>
                    <a:lumOff val="15000"/>
                  </a:schemeClr>
                </a:solidFill>
                <a:latin typeface="Montserrat" panose="00000500000000000000" pitchFamily="2" charset="0"/>
                <a:ea typeface="Roboto Light" panose="02000000000000000000" pitchFamily="2" charset="0"/>
                <a:cs typeface="Lato Light" panose="020F0402020204030203" pitchFamily="34" charset="0"/>
              </a:rPr>
              <a:t>03</a:t>
            </a:r>
          </a:p>
        </p:txBody>
      </p:sp>
      <p:sp>
        <p:nvSpPr>
          <p:cNvPr id="16" name="Rectangle 15"/>
          <p:cNvSpPr/>
          <p:nvPr/>
        </p:nvSpPr>
        <p:spPr>
          <a:xfrm>
            <a:off x="5439605" y="4633217"/>
            <a:ext cx="2484863" cy="1095039"/>
          </a:xfrm>
          <a:prstGeom prst="rect">
            <a:avLst/>
          </a:prstGeom>
        </p:spPr>
        <p:txBody>
          <a:bodyPr wrap="square">
            <a:noAutofit/>
          </a:bodyPr>
          <a:lstStyle/>
          <a:p>
            <a:pPr algn="just">
              <a:lnSpc>
                <a:spcPct val="200000"/>
              </a:lnSpc>
              <a:spcBef>
                <a:spcPts val="600"/>
              </a:spcBef>
              <a:buClr>
                <a:srgbClr val="E24848"/>
              </a:buClr>
              <a:defRPr/>
            </a:pPr>
            <a:r>
              <a:rPr lang="en-US" sz="1100" noProof="1">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
        <p:nvSpPr>
          <p:cNvPr id="17" name="Rectangle 16"/>
          <p:cNvSpPr/>
          <p:nvPr/>
        </p:nvSpPr>
        <p:spPr>
          <a:xfrm>
            <a:off x="5439606" y="4275002"/>
            <a:ext cx="1696361" cy="363099"/>
          </a:xfrm>
          <a:prstGeom prst="rect">
            <a:avLst/>
          </a:prstGeom>
        </p:spPr>
        <p:txBody>
          <a:bodyPr vert="horz" lIns="91440" tIns="45720" rIns="91440" bIns="45720" rtlCol="0" anchor="ctr">
            <a:noAutofit/>
          </a:bodyPr>
          <a:lstStyle/>
          <a:p>
            <a:pPr defTabSz="914082">
              <a:spcBef>
                <a:spcPct val="0"/>
              </a:spcBef>
            </a:pPr>
            <a:r>
              <a:rPr lang="en-US" sz="1400" b="1" noProof="1">
                <a:solidFill>
                  <a:schemeClr val="tx1">
                    <a:lumMod val="85000"/>
                    <a:lumOff val="15000"/>
                  </a:schemeClr>
                </a:solidFill>
                <a:latin typeface="Montserrat" panose="00000500000000000000" pitchFamily="2" charset="0"/>
                <a:ea typeface="Roboto" panose="02000000000000000000" pitchFamily="2" charset="0"/>
                <a:cs typeface="Lato Light" panose="020F0402020204030203" pitchFamily="34" charset="0"/>
              </a:rPr>
              <a:t>LOREM </a:t>
            </a:r>
            <a:r>
              <a:rPr lang="en-US" sz="1400" noProof="1">
                <a:solidFill>
                  <a:schemeClr val="tx1">
                    <a:lumMod val="85000"/>
                    <a:lumOff val="15000"/>
                  </a:schemeClr>
                </a:solidFill>
                <a:latin typeface="Montserrat" panose="00000500000000000000" pitchFamily="2" charset="0"/>
                <a:ea typeface="Roboto" panose="02000000000000000000" pitchFamily="2" charset="0"/>
                <a:cs typeface="Lato Light" panose="020F0402020204030203" pitchFamily="34" charset="0"/>
              </a:rPr>
              <a:t>IPSUM</a:t>
            </a:r>
          </a:p>
        </p:txBody>
      </p:sp>
      <p:sp>
        <p:nvSpPr>
          <p:cNvPr id="18" name="Rectangle 17"/>
          <p:cNvSpPr/>
          <p:nvPr/>
        </p:nvSpPr>
        <p:spPr>
          <a:xfrm>
            <a:off x="4350803" y="4125785"/>
            <a:ext cx="951580" cy="743616"/>
          </a:xfrm>
          <a:prstGeom prst="rect">
            <a:avLst/>
          </a:prstGeom>
        </p:spPr>
        <p:txBody>
          <a:bodyPr vert="horz" lIns="91440" tIns="45720" rIns="91440" bIns="45720" rtlCol="0" anchor="ctr">
            <a:noAutofit/>
          </a:bodyPr>
          <a:lstStyle/>
          <a:p>
            <a:pPr defTabSz="914082">
              <a:spcBef>
                <a:spcPct val="0"/>
              </a:spcBef>
            </a:pPr>
            <a:r>
              <a:rPr lang="en-US" sz="4000" b="1" noProof="1">
                <a:solidFill>
                  <a:schemeClr val="tx1">
                    <a:lumMod val="85000"/>
                    <a:lumOff val="15000"/>
                  </a:schemeClr>
                </a:solidFill>
                <a:latin typeface="Montserrat" panose="00000500000000000000" pitchFamily="2" charset="0"/>
                <a:ea typeface="Roboto Light" panose="02000000000000000000" pitchFamily="2" charset="0"/>
                <a:cs typeface="Lato Light" panose="020F0402020204030203" pitchFamily="34" charset="0"/>
              </a:rPr>
              <a:t>04</a:t>
            </a:r>
          </a:p>
        </p:txBody>
      </p:sp>
      <p:sp>
        <p:nvSpPr>
          <p:cNvPr id="20" name="Rectangle 19"/>
          <p:cNvSpPr/>
          <p:nvPr/>
        </p:nvSpPr>
        <p:spPr>
          <a:xfrm>
            <a:off x="8345715" y="2757715"/>
            <a:ext cx="3710390" cy="4100285"/>
          </a:xfrm>
          <a:prstGeom prst="rect">
            <a:avLst/>
          </a:prstGeom>
          <a:gradFill flip="none" rotWithShape="1">
            <a:gsLst>
              <a:gs pos="0">
                <a:schemeClr val="accent1">
                  <a:alpha val="91000"/>
                </a:schemeClr>
              </a:gs>
              <a:gs pos="100000">
                <a:schemeClr val="accent2">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1" name="Rectangle 20"/>
          <p:cNvSpPr/>
          <p:nvPr/>
        </p:nvSpPr>
        <p:spPr>
          <a:xfrm>
            <a:off x="8848910" y="4311096"/>
            <a:ext cx="2716830" cy="150989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spc="-150" noProof="1">
                <a:solidFill>
                  <a:schemeClr val="bg1"/>
                </a:solidFill>
                <a:latin typeface="Montserrat" panose="00000500000000000000" pitchFamily="2" charset="0"/>
                <a:ea typeface="Source Sans Pro" panose="020B0503030403020204" pitchFamily="34" charset="0"/>
                <a:cs typeface="Open Sans Light" panose="020B0306030504020204" pitchFamily="34" charset="0"/>
              </a:rPr>
              <a:t>Company Featured</a:t>
            </a:r>
          </a:p>
        </p:txBody>
      </p:sp>
      <p:sp>
        <p:nvSpPr>
          <p:cNvPr id="22" name="Rectangle 21"/>
          <p:cNvSpPr/>
          <p:nvPr/>
        </p:nvSpPr>
        <p:spPr>
          <a:xfrm>
            <a:off x="8908450" y="5728257"/>
            <a:ext cx="2597750" cy="604810"/>
          </a:xfrm>
          <a:prstGeom prst="rect">
            <a:avLst/>
          </a:prstGeom>
        </p:spPr>
        <p:txBody>
          <a:bodyPr wrap="square">
            <a:noAutofit/>
          </a:bodyPr>
          <a:lstStyle/>
          <a:p>
            <a:pPr algn="ctr">
              <a:spcBef>
                <a:spcPts val="600"/>
              </a:spcBef>
              <a:buClr>
                <a:srgbClr val="E24848"/>
              </a:buClr>
              <a:defRPr/>
            </a:pPr>
            <a:r>
              <a:rPr lang="en-US" sz="1050" noProof="1">
                <a:solidFill>
                  <a:schemeClr val="bg1"/>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Tree>
    <p:extLst>
      <p:ext uri="{BB962C8B-B14F-4D97-AF65-F5344CB8AC3E}">
        <p14:creationId xmlns:p14="http://schemas.microsoft.com/office/powerpoint/2010/main" val="1267113275"/>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custDataLst>
              <p:tags r:id="rId1"/>
            </p:custDataLst>
          </p:nvPr>
        </p:nvSpPr>
        <p:spPr>
          <a:xfrm>
            <a:off x="406318" y="890857"/>
            <a:ext cx="9271000"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spc="-150" dirty="0">
                <a:solidFill>
                  <a:schemeClr val="tx1">
                    <a:lumMod val="85000"/>
                    <a:lumOff val="15000"/>
                  </a:schemeClr>
                </a:solidFill>
                <a:ea typeface="Source Sans Pro" panose="020B0503030403020204" pitchFamily="34" charset="0"/>
                <a:cs typeface="Open Sans Light" panose="020B0306030504020204" pitchFamily="34" charset="0"/>
              </a:rPr>
              <a:t>Mission</a:t>
            </a:r>
          </a:p>
        </p:txBody>
      </p:sp>
      <p:sp>
        <p:nvSpPr>
          <p:cNvPr id="6" name="Rectangle 5"/>
          <p:cNvSpPr/>
          <p:nvPr>
            <p:custDataLst>
              <p:tags r:id="rId2"/>
            </p:custDataLst>
          </p:nvPr>
        </p:nvSpPr>
        <p:spPr>
          <a:xfrm>
            <a:off x="465988" y="1404480"/>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lumMod val="85000"/>
                    <a:lumOff val="15000"/>
                  </a:schemeClr>
                </a:solidFill>
                <a:ea typeface="Open Sans" panose="020B0606030504020204" pitchFamily="34" charset="0"/>
                <a:cs typeface="Open Sans" panose="020B0606030504020204" pitchFamily="34" charset="0"/>
              </a:rPr>
              <a:t>Put Your Great Subtitle Here</a:t>
            </a:r>
          </a:p>
        </p:txBody>
      </p:sp>
      <p:sp>
        <p:nvSpPr>
          <p:cNvPr id="8" name="Oval 7"/>
          <p:cNvSpPr/>
          <p:nvPr/>
        </p:nvSpPr>
        <p:spPr bwMode="gray">
          <a:xfrm>
            <a:off x="1207684" y="2408412"/>
            <a:ext cx="948701" cy="948701"/>
          </a:xfrm>
          <a:prstGeom prst="ellipse">
            <a:avLst/>
          </a:prstGeom>
          <a:gradFill>
            <a:gsLst>
              <a:gs pos="100000">
                <a:schemeClr val="accent2"/>
              </a:gs>
              <a:gs pos="0">
                <a:schemeClr val="accent1"/>
              </a:gs>
            </a:gsLst>
            <a:lin ang="8100000" scaled="1"/>
          </a:gradFill>
          <a:ln>
            <a:noFill/>
          </a:ln>
          <a:effectLst>
            <a:outerShdw blurRad="1244600" dist="457200" dir="2220000" algn="tr" rotWithShape="0">
              <a:prstClr val="black">
                <a:alpha val="8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cxnSp>
        <p:nvCxnSpPr>
          <p:cNvPr id="9" name="Straight Connector 8"/>
          <p:cNvCxnSpPr/>
          <p:nvPr/>
        </p:nvCxnSpPr>
        <p:spPr>
          <a:xfrm>
            <a:off x="1687803" y="3448088"/>
            <a:ext cx="0" cy="2165134"/>
          </a:xfrm>
          <a:prstGeom prst="line">
            <a:avLst/>
          </a:prstGeom>
          <a:ln>
            <a:solidFill>
              <a:schemeClr val="accent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1558228" y="2687396"/>
            <a:ext cx="271849" cy="388356"/>
            <a:chOff x="7643813" y="2505076"/>
            <a:chExt cx="200025" cy="285750"/>
          </a:xfrm>
          <a:solidFill>
            <a:schemeClr val="bg1"/>
          </a:solidFill>
        </p:grpSpPr>
        <p:sp>
          <p:nvSpPr>
            <p:cNvPr id="11" name="Freeform 308"/>
            <p:cNvSpPr>
              <a:spLocks noEditPoints="1"/>
            </p:cNvSpPr>
            <p:nvPr/>
          </p:nvSpPr>
          <p:spPr bwMode="auto">
            <a:xfrm>
              <a:off x="7643813" y="2505076"/>
              <a:ext cx="200025" cy="285750"/>
            </a:xfrm>
            <a:custGeom>
              <a:avLst/>
              <a:gdLst>
                <a:gd name="T0" fmla="*/ 149 w 630"/>
                <a:gd name="T1" fmla="*/ 150 h 901"/>
                <a:gd name="T2" fmla="*/ 68 w 630"/>
                <a:gd name="T3" fmla="*/ 182 h 901"/>
                <a:gd name="T4" fmla="*/ 61 w 630"/>
                <a:gd name="T5" fmla="*/ 190 h 901"/>
                <a:gd name="T6" fmla="*/ 60 w 630"/>
                <a:gd name="T7" fmla="*/ 800 h 901"/>
                <a:gd name="T8" fmla="*/ 66 w 630"/>
                <a:gd name="T9" fmla="*/ 809 h 901"/>
                <a:gd name="T10" fmla="*/ 555 w 630"/>
                <a:gd name="T11" fmla="*/ 811 h 901"/>
                <a:gd name="T12" fmla="*/ 566 w 630"/>
                <a:gd name="T13" fmla="*/ 807 h 901"/>
                <a:gd name="T14" fmla="*/ 570 w 630"/>
                <a:gd name="T15" fmla="*/ 796 h 901"/>
                <a:gd name="T16" fmla="*/ 568 w 630"/>
                <a:gd name="T17" fmla="*/ 187 h 901"/>
                <a:gd name="T18" fmla="*/ 558 w 630"/>
                <a:gd name="T19" fmla="*/ 181 h 901"/>
                <a:gd name="T20" fmla="*/ 600 w 630"/>
                <a:gd name="T21" fmla="*/ 150 h 901"/>
                <a:gd name="T22" fmla="*/ 243 w 630"/>
                <a:gd name="T23" fmla="*/ 90 h 901"/>
                <a:gd name="T24" fmla="*/ 252 w 630"/>
                <a:gd name="T25" fmla="*/ 84 h 901"/>
                <a:gd name="T26" fmla="*/ 255 w 630"/>
                <a:gd name="T27" fmla="*/ 69 h 901"/>
                <a:gd name="T28" fmla="*/ 264 w 630"/>
                <a:gd name="T29" fmla="*/ 47 h 901"/>
                <a:gd name="T30" fmla="*/ 286 w 630"/>
                <a:gd name="T31" fmla="*/ 34 h 901"/>
                <a:gd name="T32" fmla="*/ 324 w 630"/>
                <a:gd name="T33" fmla="*/ 30 h 901"/>
                <a:gd name="T34" fmla="*/ 358 w 630"/>
                <a:gd name="T35" fmla="*/ 41 h 901"/>
                <a:gd name="T36" fmla="*/ 371 w 630"/>
                <a:gd name="T37" fmla="*/ 57 h 901"/>
                <a:gd name="T38" fmla="*/ 375 w 630"/>
                <a:gd name="T39" fmla="*/ 78 h 901"/>
                <a:gd name="T40" fmla="*/ 382 w 630"/>
                <a:gd name="T41" fmla="*/ 88 h 901"/>
                <a:gd name="T42" fmla="*/ 450 w 630"/>
                <a:gd name="T43" fmla="*/ 90 h 901"/>
                <a:gd name="T44" fmla="*/ 164 w 630"/>
                <a:gd name="T45" fmla="*/ 271 h 901"/>
                <a:gd name="T46" fmla="*/ 474 w 630"/>
                <a:gd name="T47" fmla="*/ 268 h 901"/>
                <a:gd name="T48" fmla="*/ 480 w 630"/>
                <a:gd name="T49" fmla="*/ 259 h 901"/>
                <a:gd name="T50" fmla="*/ 540 w 630"/>
                <a:gd name="T51" fmla="*/ 781 h 901"/>
                <a:gd name="T52" fmla="*/ 149 w 630"/>
                <a:gd name="T53" fmla="*/ 256 h 901"/>
                <a:gd name="T54" fmla="*/ 154 w 630"/>
                <a:gd name="T55" fmla="*/ 267 h 901"/>
                <a:gd name="T56" fmla="*/ 164 w 630"/>
                <a:gd name="T57" fmla="*/ 271 h 901"/>
                <a:gd name="T58" fmla="*/ 480 w 630"/>
                <a:gd name="T59" fmla="*/ 72 h 901"/>
                <a:gd name="T60" fmla="*/ 474 w 630"/>
                <a:gd name="T61" fmla="*/ 63 h 901"/>
                <a:gd name="T62" fmla="*/ 403 w 630"/>
                <a:gd name="T63" fmla="*/ 60 h 901"/>
                <a:gd name="T64" fmla="*/ 393 w 630"/>
                <a:gd name="T65" fmla="*/ 34 h 901"/>
                <a:gd name="T66" fmla="*/ 375 w 630"/>
                <a:gd name="T67" fmla="*/ 16 h 901"/>
                <a:gd name="T68" fmla="*/ 348 w 630"/>
                <a:gd name="T69" fmla="*/ 4 h 901"/>
                <a:gd name="T70" fmla="*/ 314 w 630"/>
                <a:gd name="T71" fmla="*/ 0 h 901"/>
                <a:gd name="T72" fmla="*/ 281 w 630"/>
                <a:gd name="T73" fmla="*/ 4 h 901"/>
                <a:gd name="T74" fmla="*/ 254 w 630"/>
                <a:gd name="T75" fmla="*/ 16 h 901"/>
                <a:gd name="T76" fmla="*/ 236 w 630"/>
                <a:gd name="T77" fmla="*/ 34 h 901"/>
                <a:gd name="T78" fmla="*/ 226 w 630"/>
                <a:gd name="T79" fmla="*/ 60 h 901"/>
                <a:gd name="T80" fmla="*/ 156 w 630"/>
                <a:gd name="T81" fmla="*/ 63 h 901"/>
                <a:gd name="T82" fmla="*/ 149 w 630"/>
                <a:gd name="T83" fmla="*/ 72 h 901"/>
                <a:gd name="T84" fmla="*/ 11 w 630"/>
                <a:gd name="T85" fmla="*/ 121 h 901"/>
                <a:gd name="T86" fmla="*/ 2 w 630"/>
                <a:gd name="T87" fmla="*/ 127 h 901"/>
                <a:gd name="T88" fmla="*/ 0 w 630"/>
                <a:gd name="T89" fmla="*/ 886 h 901"/>
                <a:gd name="T90" fmla="*/ 4 w 630"/>
                <a:gd name="T91" fmla="*/ 897 h 901"/>
                <a:gd name="T92" fmla="*/ 15 w 630"/>
                <a:gd name="T93" fmla="*/ 901 h 901"/>
                <a:gd name="T94" fmla="*/ 623 w 630"/>
                <a:gd name="T95" fmla="*/ 899 h 901"/>
                <a:gd name="T96" fmla="*/ 630 w 630"/>
                <a:gd name="T97" fmla="*/ 889 h 901"/>
                <a:gd name="T98" fmla="*/ 629 w 630"/>
                <a:gd name="T99" fmla="*/ 130 h 901"/>
                <a:gd name="T100" fmla="*/ 621 w 630"/>
                <a:gd name="T101" fmla="*/ 12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0" h="901">
                  <a:moveTo>
                    <a:pt x="600" y="871"/>
                  </a:moveTo>
                  <a:lnTo>
                    <a:pt x="30" y="871"/>
                  </a:lnTo>
                  <a:lnTo>
                    <a:pt x="30" y="150"/>
                  </a:lnTo>
                  <a:lnTo>
                    <a:pt x="149" y="150"/>
                  </a:lnTo>
                  <a:lnTo>
                    <a:pt x="149" y="180"/>
                  </a:lnTo>
                  <a:lnTo>
                    <a:pt x="75" y="180"/>
                  </a:lnTo>
                  <a:lnTo>
                    <a:pt x="71" y="181"/>
                  </a:lnTo>
                  <a:lnTo>
                    <a:pt x="68" y="182"/>
                  </a:lnTo>
                  <a:lnTo>
                    <a:pt x="66" y="183"/>
                  </a:lnTo>
                  <a:lnTo>
                    <a:pt x="64" y="185"/>
                  </a:lnTo>
                  <a:lnTo>
                    <a:pt x="62" y="187"/>
                  </a:lnTo>
                  <a:lnTo>
                    <a:pt x="61" y="190"/>
                  </a:lnTo>
                  <a:lnTo>
                    <a:pt x="60" y="193"/>
                  </a:lnTo>
                  <a:lnTo>
                    <a:pt x="60" y="195"/>
                  </a:lnTo>
                  <a:lnTo>
                    <a:pt x="60" y="796"/>
                  </a:lnTo>
                  <a:lnTo>
                    <a:pt x="60" y="800"/>
                  </a:lnTo>
                  <a:lnTo>
                    <a:pt x="61" y="802"/>
                  </a:lnTo>
                  <a:lnTo>
                    <a:pt x="62" y="805"/>
                  </a:lnTo>
                  <a:lnTo>
                    <a:pt x="64" y="807"/>
                  </a:lnTo>
                  <a:lnTo>
                    <a:pt x="66" y="809"/>
                  </a:lnTo>
                  <a:lnTo>
                    <a:pt x="68" y="810"/>
                  </a:lnTo>
                  <a:lnTo>
                    <a:pt x="71" y="811"/>
                  </a:lnTo>
                  <a:lnTo>
                    <a:pt x="75" y="811"/>
                  </a:lnTo>
                  <a:lnTo>
                    <a:pt x="555" y="811"/>
                  </a:lnTo>
                  <a:lnTo>
                    <a:pt x="558" y="811"/>
                  </a:lnTo>
                  <a:lnTo>
                    <a:pt x="561" y="810"/>
                  </a:lnTo>
                  <a:lnTo>
                    <a:pt x="564" y="809"/>
                  </a:lnTo>
                  <a:lnTo>
                    <a:pt x="566" y="807"/>
                  </a:lnTo>
                  <a:lnTo>
                    <a:pt x="568" y="805"/>
                  </a:lnTo>
                  <a:lnTo>
                    <a:pt x="569" y="803"/>
                  </a:lnTo>
                  <a:lnTo>
                    <a:pt x="570" y="800"/>
                  </a:lnTo>
                  <a:lnTo>
                    <a:pt x="570" y="796"/>
                  </a:lnTo>
                  <a:lnTo>
                    <a:pt x="570" y="195"/>
                  </a:lnTo>
                  <a:lnTo>
                    <a:pt x="570" y="193"/>
                  </a:lnTo>
                  <a:lnTo>
                    <a:pt x="569" y="190"/>
                  </a:lnTo>
                  <a:lnTo>
                    <a:pt x="568" y="187"/>
                  </a:lnTo>
                  <a:lnTo>
                    <a:pt x="566" y="185"/>
                  </a:lnTo>
                  <a:lnTo>
                    <a:pt x="564" y="183"/>
                  </a:lnTo>
                  <a:lnTo>
                    <a:pt x="561" y="182"/>
                  </a:lnTo>
                  <a:lnTo>
                    <a:pt x="558" y="181"/>
                  </a:lnTo>
                  <a:lnTo>
                    <a:pt x="555" y="180"/>
                  </a:lnTo>
                  <a:lnTo>
                    <a:pt x="480" y="180"/>
                  </a:lnTo>
                  <a:lnTo>
                    <a:pt x="480" y="150"/>
                  </a:lnTo>
                  <a:lnTo>
                    <a:pt x="600" y="150"/>
                  </a:lnTo>
                  <a:lnTo>
                    <a:pt x="600" y="871"/>
                  </a:lnTo>
                  <a:close/>
                  <a:moveTo>
                    <a:pt x="179" y="90"/>
                  </a:moveTo>
                  <a:lnTo>
                    <a:pt x="239" y="90"/>
                  </a:lnTo>
                  <a:lnTo>
                    <a:pt x="243" y="90"/>
                  </a:lnTo>
                  <a:lnTo>
                    <a:pt x="246" y="89"/>
                  </a:lnTo>
                  <a:lnTo>
                    <a:pt x="248" y="88"/>
                  </a:lnTo>
                  <a:lnTo>
                    <a:pt x="250" y="86"/>
                  </a:lnTo>
                  <a:lnTo>
                    <a:pt x="252" y="84"/>
                  </a:lnTo>
                  <a:lnTo>
                    <a:pt x="253" y="81"/>
                  </a:lnTo>
                  <a:lnTo>
                    <a:pt x="254" y="78"/>
                  </a:lnTo>
                  <a:lnTo>
                    <a:pt x="254" y="75"/>
                  </a:lnTo>
                  <a:lnTo>
                    <a:pt x="255" y="69"/>
                  </a:lnTo>
                  <a:lnTo>
                    <a:pt x="256" y="62"/>
                  </a:lnTo>
                  <a:lnTo>
                    <a:pt x="259" y="57"/>
                  </a:lnTo>
                  <a:lnTo>
                    <a:pt x="261" y="52"/>
                  </a:lnTo>
                  <a:lnTo>
                    <a:pt x="264" y="47"/>
                  </a:lnTo>
                  <a:lnTo>
                    <a:pt x="268" y="44"/>
                  </a:lnTo>
                  <a:lnTo>
                    <a:pt x="271" y="41"/>
                  </a:lnTo>
                  <a:lnTo>
                    <a:pt x="277" y="38"/>
                  </a:lnTo>
                  <a:lnTo>
                    <a:pt x="286" y="34"/>
                  </a:lnTo>
                  <a:lnTo>
                    <a:pt x="296" y="31"/>
                  </a:lnTo>
                  <a:lnTo>
                    <a:pt x="306" y="30"/>
                  </a:lnTo>
                  <a:lnTo>
                    <a:pt x="314" y="30"/>
                  </a:lnTo>
                  <a:lnTo>
                    <a:pt x="324" y="30"/>
                  </a:lnTo>
                  <a:lnTo>
                    <a:pt x="333" y="31"/>
                  </a:lnTo>
                  <a:lnTo>
                    <a:pt x="343" y="34"/>
                  </a:lnTo>
                  <a:lnTo>
                    <a:pt x="353" y="38"/>
                  </a:lnTo>
                  <a:lnTo>
                    <a:pt x="358" y="41"/>
                  </a:lnTo>
                  <a:lnTo>
                    <a:pt x="361" y="44"/>
                  </a:lnTo>
                  <a:lnTo>
                    <a:pt x="366" y="47"/>
                  </a:lnTo>
                  <a:lnTo>
                    <a:pt x="369" y="52"/>
                  </a:lnTo>
                  <a:lnTo>
                    <a:pt x="371" y="57"/>
                  </a:lnTo>
                  <a:lnTo>
                    <a:pt x="373" y="62"/>
                  </a:lnTo>
                  <a:lnTo>
                    <a:pt x="374" y="69"/>
                  </a:lnTo>
                  <a:lnTo>
                    <a:pt x="375" y="75"/>
                  </a:lnTo>
                  <a:lnTo>
                    <a:pt x="375" y="78"/>
                  </a:lnTo>
                  <a:lnTo>
                    <a:pt x="376" y="81"/>
                  </a:lnTo>
                  <a:lnTo>
                    <a:pt x="377" y="84"/>
                  </a:lnTo>
                  <a:lnTo>
                    <a:pt x="379" y="86"/>
                  </a:lnTo>
                  <a:lnTo>
                    <a:pt x="382" y="88"/>
                  </a:lnTo>
                  <a:lnTo>
                    <a:pt x="384" y="89"/>
                  </a:lnTo>
                  <a:lnTo>
                    <a:pt x="387" y="90"/>
                  </a:lnTo>
                  <a:lnTo>
                    <a:pt x="390" y="90"/>
                  </a:lnTo>
                  <a:lnTo>
                    <a:pt x="450" y="90"/>
                  </a:lnTo>
                  <a:lnTo>
                    <a:pt x="450" y="240"/>
                  </a:lnTo>
                  <a:lnTo>
                    <a:pt x="179" y="240"/>
                  </a:lnTo>
                  <a:lnTo>
                    <a:pt x="179" y="90"/>
                  </a:lnTo>
                  <a:close/>
                  <a:moveTo>
                    <a:pt x="164" y="271"/>
                  </a:moveTo>
                  <a:lnTo>
                    <a:pt x="465" y="271"/>
                  </a:lnTo>
                  <a:lnTo>
                    <a:pt x="468" y="270"/>
                  </a:lnTo>
                  <a:lnTo>
                    <a:pt x="470" y="270"/>
                  </a:lnTo>
                  <a:lnTo>
                    <a:pt x="474" y="268"/>
                  </a:lnTo>
                  <a:lnTo>
                    <a:pt x="476" y="267"/>
                  </a:lnTo>
                  <a:lnTo>
                    <a:pt x="477" y="264"/>
                  </a:lnTo>
                  <a:lnTo>
                    <a:pt x="479" y="261"/>
                  </a:lnTo>
                  <a:lnTo>
                    <a:pt x="480" y="259"/>
                  </a:lnTo>
                  <a:lnTo>
                    <a:pt x="480" y="256"/>
                  </a:lnTo>
                  <a:lnTo>
                    <a:pt x="480" y="210"/>
                  </a:lnTo>
                  <a:lnTo>
                    <a:pt x="540" y="210"/>
                  </a:lnTo>
                  <a:lnTo>
                    <a:pt x="540" y="781"/>
                  </a:lnTo>
                  <a:lnTo>
                    <a:pt x="90" y="781"/>
                  </a:lnTo>
                  <a:lnTo>
                    <a:pt x="90" y="210"/>
                  </a:lnTo>
                  <a:lnTo>
                    <a:pt x="149" y="210"/>
                  </a:lnTo>
                  <a:lnTo>
                    <a:pt x="149" y="256"/>
                  </a:lnTo>
                  <a:lnTo>
                    <a:pt x="149" y="259"/>
                  </a:lnTo>
                  <a:lnTo>
                    <a:pt x="151" y="261"/>
                  </a:lnTo>
                  <a:lnTo>
                    <a:pt x="153" y="264"/>
                  </a:lnTo>
                  <a:lnTo>
                    <a:pt x="154" y="267"/>
                  </a:lnTo>
                  <a:lnTo>
                    <a:pt x="156" y="268"/>
                  </a:lnTo>
                  <a:lnTo>
                    <a:pt x="159" y="270"/>
                  </a:lnTo>
                  <a:lnTo>
                    <a:pt x="161" y="270"/>
                  </a:lnTo>
                  <a:lnTo>
                    <a:pt x="164" y="271"/>
                  </a:lnTo>
                  <a:close/>
                  <a:moveTo>
                    <a:pt x="615" y="120"/>
                  </a:moveTo>
                  <a:lnTo>
                    <a:pt x="480" y="120"/>
                  </a:lnTo>
                  <a:lnTo>
                    <a:pt x="480" y="75"/>
                  </a:lnTo>
                  <a:lnTo>
                    <a:pt x="480" y="72"/>
                  </a:lnTo>
                  <a:lnTo>
                    <a:pt x="479" y="70"/>
                  </a:lnTo>
                  <a:lnTo>
                    <a:pt x="477" y="68"/>
                  </a:lnTo>
                  <a:lnTo>
                    <a:pt x="476" y="64"/>
                  </a:lnTo>
                  <a:lnTo>
                    <a:pt x="474" y="63"/>
                  </a:lnTo>
                  <a:lnTo>
                    <a:pt x="470" y="61"/>
                  </a:lnTo>
                  <a:lnTo>
                    <a:pt x="468" y="60"/>
                  </a:lnTo>
                  <a:lnTo>
                    <a:pt x="465" y="60"/>
                  </a:lnTo>
                  <a:lnTo>
                    <a:pt x="403" y="60"/>
                  </a:lnTo>
                  <a:lnTo>
                    <a:pt x="402" y="54"/>
                  </a:lnTo>
                  <a:lnTo>
                    <a:pt x="400" y="47"/>
                  </a:lnTo>
                  <a:lnTo>
                    <a:pt x="397" y="41"/>
                  </a:lnTo>
                  <a:lnTo>
                    <a:pt x="393" y="34"/>
                  </a:lnTo>
                  <a:lnTo>
                    <a:pt x="390" y="29"/>
                  </a:lnTo>
                  <a:lnTo>
                    <a:pt x="386" y="25"/>
                  </a:lnTo>
                  <a:lnTo>
                    <a:pt x="381" y="20"/>
                  </a:lnTo>
                  <a:lnTo>
                    <a:pt x="375" y="16"/>
                  </a:lnTo>
                  <a:lnTo>
                    <a:pt x="369" y="12"/>
                  </a:lnTo>
                  <a:lnTo>
                    <a:pt x="362" y="9"/>
                  </a:lnTo>
                  <a:lnTo>
                    <a:pt x="356" y="7"/>
                  </a:lnTo>
                  <a:lnTo>
                    <a:pt x="348" y="4"/>
                  </a:lnTo>
                  <a:lnTo>
                    <a:pt x="341" y="2"/>
                  </a:lnTo>
                  <a:lnTo>
                    <a:pt x="332" y="1"/>
                  </a:lnTo>
                  <a:lnTo>
                    <a:pt x="324" y="0"/>
                  </a:lnTo>
                  <a:lnTo>
                    <a:pt x="314" y="0"/>
                  </a:lnTo>
                  <a:lnTo>
                    <a:pt x="306" y="0"/>
                  </a:lnTo>
                  <a:lnTo>
                    <a:pt x="297" y="1"/>
                  </a:lnTo>
                  <a:lnTo>
                    <a:pt x="289" y="2"/>
                  </a:lnTo>
                  <a:lnTo>
                    <a:pt x="281" y="4"/>
                  </a:lnTo>
                  <a:lnTo>
                    <a:pt x="274" y="7"/>
                  </a:lnTo>
                  <a:lnTo>
                    <a:pt x="267" y="9"/>
                  </a:lnTo>
                  <a:lnTo>
                    <a:pt x="261" y="12"/>
                  </a:lnTo>
                  <a:lnTo>
                    <a:pt x="254" y="16"/>
                  </a:lnTo>
                  <a:lnTo>
                    <a:pt x="249" y="20"/>
                  </a:lnTo>
                  <a:lnTo>
                    <a:pt x="244" y="25"/>
                  </a:lnTo>
                  <a:lnTo>
                    <a:pt x="239" y="29"/>
                  </a:lnTo>
                  <a:lnTo>
                    <a:pt x="236" y="34"/>
                  </a:lnTo>
                  <a:lnTo>
                    <a:pt x="233" y="41"/>
                  </a:lnTo>
                  <a:lnTo>
                    <a:pt x="230" y="47"/>
                  </a:lnTo>
                  <a:lnTo>
                    <a:pt x="228" y="54"/>
                  </a:lnTo>
                  <a:lnTo>
                    <a:pt x="226" y="60"/>
                  </a:lnTo>
                  <a:lnTo>
                    <a:pt x="164" y="60"/>
                  </a:lnTo>
                  <a:lnTo>
                    <a:pt x="161" y="60"/>
                  </a:lnTo>
                  <a:lnTo>
                    <a:pt x="159" y="61"/>
                  </a:lnTo>
                  <a:lnTo>
                    <a:pt x="156" y="63"/>
                  </a:lnTo>
                  <a:lnTo>
                    <a:pt x="154" y="64"/>
                  </a:lnTo>
                  <a:lnTo>
                    <a:pt x="153" y="68"/>
                  </a:lnTo>
                  <a:lnTo>
                    <a:pt x="151" y="70"/>
                  </a:lnTo>
                  <a:lnTo>
                    <a:pt x="149" y="72"/>
                  </a:lnTo>
                  <a:lnTo>
                    <a:pt x="149" y="75"/>
                  </a:lnTo>
                  <a:lnTo>
                    <a:pt x="149" y="120"/>
                  </a:lnTo>
                  <a:lnTo>
                    <a:pt x="15" y="120"/>
                  </a:lnTo>
                  <a:lnTo>
                    <a:pt x="11" y="121"/>
                  </a:lnTo>
                  <a:lnTo>
                    <a:pt x="8" y="121"/>
                  </a:lnTo>
                  <a:lnTo>
                    <a:pt x="6" y="123"/>
                  </a:lnTo>
                  <a:lnTo>
                    <a:pt x="4" y="125"/>
                  </a:lnTo>
                  <a:lnTo>
                    <a:pt x="2" y="127"/>
                  </a:lnTo>
                  <a:lnTo>
                    <a:pt x="1" y="130"/>
                  </a:lnTo>
                  <a:lnTo>
                    <a:pt x="0" y="133"/>
                  </a:lnTo>
                  <a:lnTo>
                    <a:pt x="0" y="135"/>
                  </a:lnTo>
                  <a:lnTo>
                    <a:pt x="0" y="886"/>
                  </a:lnTo>
                  <a:lnTo>
                    <a:pt x="0" y="889"/>
                  </a:lnTo>
                  <a:lnTo>
                    <a:pt x="1" y="893"/>
                  </a:lnTo>
                  <a:lnTo>
                    <a:pt x="2" y="895"/>
                  </a:lnTo>
                  <a:lnTo>
                    <a:pt x="4" y="897"/>
                  </a:lnTo>
                  <a:lnTo>
                    <a:pt x="6" y="899"/>
                  </a:lnTo>
                  <a:lnTo>
                    <a:pt x="8" y="900"/>
                  </a:lnTo>
                  <a:lnTo>
                    <a:pt x="11" y="901"/>
                  </a:lnTo>
                  <a:lnTo>
                    <a:pt x="15" y="901"/>
                  </a:lnTo>
                  <a:lnTo>
                    <a:pt x="615" y="901"/>
                  </a:lnTo>
                  <a:lnTo>
                    <a:pt x="618" y="901"/>
                  </a:lnTo>
                  <a:lnTo>
                    <a:pt x="621" y="900"/>
                  </a:lnTo>
                  <a:lnTo>
                    <a:pt x="623" y="899"/>
                  </a:lnTo>
                  <a:lnTo>
                    <a:pt x="626" y="897"/>
                  </a:lnTo>
                  <a:lnTo>
                    <a:pt x="628" y="895"/>
                  </a:lnTo>
                  <a:lnTo>
                    <a:pt x="629" y="893"/>
                  </a:lnTo>
                  <a:lnTo>
                    <a:pt x="630" y="889"/>
                  </a:lnTo>
                  <a:lnTo>
                    <a:pt x="630" y="886"/>
                  </a:lnTo>
                  <a:lnTo>
                    <a:pt x="630" y="135"/>
                  </a:lnTo>
                  <a:lnTo>
                    <a:pt x="630" y="133"/>
                  </a:lnTo>
                  <a:lnTo>
                    <a:pt x="629" y="130"/>
                  </a:lnTo>
                  <a:lnTo>
                    <a:pt x="628" y="127"/>
                  </a:lnTo>
                  <a:lnTo>
                    <a:pt x="626" y="125"/>
                  </a:lnTo>
                  <a:lnTo>
                    <a:pt x="623" y="123"/>
                  </a:lnTo>
                  <a:lnTo>
                    <a:pt x="621" y="121"/>
                  </a:lnTo>
                  <a:lnTo>
                    <a:pt x="618" y="121"/>
                  </a:lnTo>
                  <a:lnTo>
                    <a:pt x="6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12" name="Freeform 309"/>
            <p:cNvSpPr>
              <a:spLocks/>
            </p:cNvSpPr>
            <p:nvPr/>
          </p:nvSpPr>
          <p:spPr bwMode="auto">
            <a:xfrm>
              <a:off x="7696200" y="2609851"/>
              <a:ext cx="93663" cy="9525"/>
            </a:xfrm>
            <a:custGeom>
              <a:avLst/>
              <a:gdLst>
                <a:gd name="T0" fmla="*/ 15 w 296"/>
                <a:gd name="T1" fmla="*/ 30 h 30"/>
                <a:gd name="T2" fmla="*/ 281 w 296"/>
                <a:gd name="T3" fmla="*/ 30 h 30"/>
                <a:gd name="T4" fmla="*/ 284 w 296"/>
                <a:gd name="T5" fmla="*/ 29 h 30"/>
                <a:gd name="T6" fmla="*/ 286 w 296"/>
                <a:gd name="T7" fmla="*/ 29 h 30"/>
                <a:gd name="T8" fmla="*/ 289 w 296"/>
                <a:gd name="T9" fmla="*/ 28 h 30"/>
                <a:gd name="T10" fmla="*/ 291 w 296"/>
                <a:gd name="T11" fmla="*/ 26 h 30"/>
                <a:gd name="T12" fmla="*/ 294 w 296"/>
                <a:gd name="T13" fmla="*/ 23 h 30"/>
                <a:gd name="T14" fmla="*/ 295 w 296"/>
                <a:gd name="T15" fmla="*/ 20 h 30"/>
                <a:gd name="T16" fmla="*/ 296 w 296"/>
                <a:gd name="T17" fmla="*/ 18 h 30"/>
                <a:gd name="T18" fmla="*/ 296 w 296"/>
                <a:gd name="T19" fmla="*/ 15 h 30"/>
                <a:gd name="T20" fmla="*/ 296 w 296"/>
                <a:gd name="T21" fmla="*/ 12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2 h 30"/>
                <a:gd name="T52" fmla="*/ 0 w 296"/>
                <a:gd name="T53" fmla="*/ 15 h 30"/>
                <a:gd name="T54" fmla="*/ 0 w 296"/>
                <a:gd name="T55" fmla="*/ 18 h 30"/>
                <a:gd name="T56" fmla="*/ 1 w 296"/>
                <a:gd name="T57" fmla="*/ 20 h 30"/>
                <a:gd name="T58" fmla="*/ 4 w 296"/>
                <a:gd name="T59" fmla="*/ 23 h 30"/>
                <a:gd name="T60" fmla="*/ 5 w 296"/>
                <a:gd name="T61" fmla="*/ 26 h 30"/>
                <a:gd name="T62" fmla="*/ 7 w 296"/>
                <a:gd name="T63" fmla="*/ 28 h 30"/>
                <a:gd name="T64" fmla="*/ 10 w 296"/>
                <a:gd name="T65" fmla="*/ 29 h 30"/>
                <a:gd name="T66" fmla="*/ 12 w 296"/>
                <a:gd name="T67" fmla="*/ 29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29"/>
                  </a:lnTo>
                  <a:lnTo>
                    <a:pt x="286" y="29"/>
                  </a:lnTo>
                  <a:lnTo>
                    <a:pt x="289" y="28"/>
                  </a:lnTo>
                  <a:lnTo>
                    <a:pt x="291" y="26"/>
                  </a:lnTo>
                  <a:lnTo>
                    <a:pt x="294" y="23"/>
                  </a:lnTo>
                  <a:lnTo>
                    <a:pt x="295" y="20"/>
                  </a:lnTo>
                  <a:lnTo>
                    <a:pt x="296" y="18"/>
                  </a:lnTo>
                  <a:lnTo>
                    <a:pt x="296" y="15"/>
                  </a:lnTo>
                  <a:lnTo>
                    <a:pt x="296" y="12"/>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2"/>
                  </a:lnTo>
                  <a:lnTo>
                    <a:pt x="0" y="15"/>
                  </a:lnTo>
                  <a:lnTo>
                    <a:pt x="0" y="18"/>
                  </a:lnTo>
                  <a:lnTo>
                    <a:pt x="1" y="20"/>
                  </a:lnTo>
                  <a:lnTo>
                    <a:pt x="4" y="23"/>
                  </a:lnTo>
                  <a:lnTo>
                    <a:pt x="5" y="26"/>
                  </a:lnTo>
                  <a:lnTo>
                    <a:pt x="7" y="28"/>
                  </a:lnTo>
                  <a:lnTo>
                    <a:pt x="10"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13" name="Freeform 310"/>
            <p:cNvSpPr>
              <a:spLocks/>
            </p:cNvSpPr>
            <p:nvPr/>
          </p:nvSpPr>
          <p:spPr bwMode="auto">
            <a:xfrm>
              <a:off x="7696200" y="2638426"/>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8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1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1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8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8"/>
                  </a:lnTo>
                  <a:lnTo>
                    <a:pt x="291" y="25"/>
                  </a:lnTo>
                  <a:lnTo>
                    <a:pt x="294" y="23"/>
                  </a:lnTo>
                  <a:lnTo>
                    <a:pt x="295" y="21"/>
                  </a:lnTo>
                  <a:lnTo>
                    <a:pt x="296" y="18"/>
                  </a:lnTo>
                  <a:lnTo>
                    <a:pt x="296" y="15"/>
                  </a:lnTo>
                  <a:lnTo>
                    <a:pt x="296" y="11"/>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1"/>
                  </a:lnTo>
                  <a:lnTo>
                    <a:pt x="0" y="15"/>
                  </a:lnTo>
                  <a:lnTo>
                    <a:pt x="0" y="18"/>
                  </a:lnTo>
                  <a:lnTo>
                    <a:pt x="1" y="21"/>
                  </a:lnTo>
                  <a:lnTo>
                    <a:pt x="4" y="23"/>
                  </a:lnTo>
                  <a:lnTo>
                    <a:pt x="5" y="25"/>
                  </a:lnTo>
                  <a:lnTo>
                    <a:pt x="7"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14" name="Freeform 311"/>
            <p:cNvSpPr>
              <a:spLocks/>
            </p:cNvSpPr>
            <p:nvPr/>
          </p:nvSpPr>
          <p:spPr bwMode="auto">
            <a:xfrm>
              <a:off x="7696200" y="2667001"/>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7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2 h 30"/>
                <a:gd name="T22" fmla="*/ 295 w 296"/>
                <a:gd name="T23" fmla="*/ 9 h 30"/>
                <a:gd name="T24" fmla="*/ 294 w 296"/>
                <a:gd name="T25" fmla="*/ 7 h 30"/>
                <a:gd name="T26" fmla="*/ 291 w 296"/>
                <a:gd name="T27" fmla="*/ 4 h 30"/>
                <a:gd name="T28" fmla="*/ 289 w 296"/>
                <a:gd name="T29" fmla="*/ 3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3 h 30"/>
                <a:gd name="T44" fmla="*/ 5 w 296"/>
                <a:gd name="T45" fmla="*/ 4 h 30"/>
                <a:gd name="T46" fmla="*/ 4 w 296"/>
                <a:gd name="T47" fmla="*/ 7 h 30"/>
                <a:gd name="T48" fmla="*/ 1 w 296"/>
                <a:gd name="T49" fmla="*/ 9 h 30"/>
                <a:gd name="T50" fmla="*/ 0 w 296"/>
                <a:gd name="T51" fmla="*/ 12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7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7"/>
                  </a:lnTo>
                  <a:lnTo>
                    <a:pt x="291" y="25"/>
                  </a:lnTo>
                  <a:lnTo>
                    <a:pt x="294" y="23"/>
                  </a:lnTo>
                  <a:lnTo>
                    <a:pt x="295" y="21"/>
                  </a:lnTo>
                  <a:lnTo>
                    <a:pt x="296" y="18"/>
                  </a:lnTo>
                  <a:lnTo>
                    <a:pt x="296" y="15"/>
                  </a:lnTo>
                  <a:lnTo>
                    <a:pt x="296" y="12"/>
                  </a:lnTo>
                  <a:lnTo>
                    <a:pt x="295" y="9"/>
                  </a:lnTo>
                  <a:lnTo>
                    <a:pt x="294" y="7"/>
                  </a:lnTo>
                  <a:lnTo>
                    <a:pt x="291" y="4"/>
                  </a:lnTo>
                  <a:lnTo>
                    <a:pt x="289" y="3"/>
                  </a:lnTo>
                  <a:lnTo>
                    <a:pt x="286" y="1"/>
                  </a:lnTo>
                  <a:lnTo>
                    <a:pt x="284" y="0"/>
                  </a:lnTo>
                  <a:lnTo>
                    <a:pt x="281" y="0"/>
                  </a:lnTo>
                  <a:lnTo>
                    <a:pt x="15" y="0"/>
                  </a:lnTo>
                  <a:lnTo>
                    <a:pt x="12" y="0"/>
                  </a:lnTo>
                  <a:lnTo>
                    <a:pt x="10" y="1"/>
                  </a:lnTo>
                  <a:lnTo>
                    <a:pt x="7" y="3"/>
                  </a:lnTo>
                  <a:lnTo>
                    <a:pt x="5" y="4"/>
                  </a:lnTo>
                  <a:lnTo>
                    <a:pt x="4" y="7"/>
                  </a:lnTo>
                  <a:lnTo>
                    <a:pt x="1" y="9"/>
                  </a:lnTo>
                  <a:lnTo>
                    <a:pt x="0" y="12"/>
                  </a:lnTo>
                  <a:lnTo>
                    <a:pt x="0" y="15"/>
                  </a:lnTo>
                  <a:lnTo>
                    <a:pt x="0" y="18"/>
                  </a:lnTo>
                  <a:lnTo>
                    <a:pt x="1" y="21"/>
                  </a:lnTo>
                  <a:lnTo>
                    <a:pt x="4" y="23"/>
                  </a:lnTo>
                  <a:lnTo>
                    <a:pt x="5" y="25"/>
                  </a:lnTo>
                  <a:lnTo>
                    <a:pt x="7"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15" name="Freeform 312"/>
            <p:cNvSpPr>
              <a:spLocks/>
            </p:cNvSpPr>
            <p:nvPr/>
          </p:nvSpPr>
          <p:spPr bwMode="auto">
            <a:xfrm>
              <a:off x="7696200" y="2695576"/>
              <a:ext cx="93663" cy="9525"/>
            </a:xfrm>
            <a:custGeom>
              <a:avLst/>
              <a:gdLst>
                <a:gd name="T0" fmla="*/ 15 w 296"/>
                <a:gd name="T1" fmla="*/ 29 h 29"/>
                <a:gd name="T2" fmla="*/ 281 w 296"/>
                <a:gd name="T3" fmla="*/ 29 h 29"/>
                <a:gd name="T4" fmla="*/ 284 w 296"/>
                <a:gd name="T5" fmla="*/ 29 h 29"/>
                <a:gd name="T6" fmla="*/ 286 w 296"/>
                <a:gd name="T7" fmla="*/ 28 h 29"/>
                <a:gd name="T8" fmla="*/ 289 w 296"/>
                <a:gd name="T9" fmla="*/ 27 h 29"/>
                <a:gd name="T10" fmla="*/ 291 w 296"/>
                <a:gd name="T11" fmla="*/ 26 h 29"/>
                <a:gd name="T12" fmla="*/ 294 w 296"/>
                <a:gd name="T13" fmla="*/ 23 h 29"/>
                <a:gd name="T14" fmla="*/ 295 w 296"/>
                <a:gd name="T15" fmla="*/ 21 h 29"/>
                <a:gd name="T16" fmla="*/ 296 w 296"/>
                <a:gd name="T17" fmla="*/ 18 h 29"/>
                <a:gd name="T18" fmla="*/ 296 w 296"/>
                <a:gd name="T19" fmla="*/ 14 h 29"/>
                <a:gd name="T20" fmla="*/ 296 w 296"/>
                <a:gd name="T21" fmla="*/ 12 h 29"/>
                <a:gd name="T22" fmla="*/ 295 w 296"/>
                <a:gd name="T23" fmla="*/ 9 h 29"/>
                <a:gd name="T24" fmla="*/ 294 w 296"/>
                <a:gd name="T25" fmla="*/ 7 h 29"/>
                <a:gd name="T26" fmla="*/ 291 w 296"/>
                <a:gd name="T27" fmla="*/ 5 h 29"/>
                <a:gd name="T28" fmla="*/ 289 w 296"/>
                <a:gd name="T29" fmla="*/ 3 h 29"/>
                <a:gd name="T30" fmla="*/ 286 w 296"/>
                <a:gd name="T31" fmla="*/ 2 h 29"/>
                <a:gd name="T32" fmla="*/ 284 w 296"/>
                <a:gd name="T33" fmla="*/ 1 h 29"/>
                <a:gd name="T34" fmla="*/ 281 w 296"/>
                <a:gd name="T35" fmla="*/ 0 h 29"/>
                <a:gd name="T36" fmla="*/ 15 w 296"/>
                <a:gd name="T37" fmla="*/ 0 h 29"/>
                <a:gd name="T38" fmla="*/ 12 w 296"/>
                <a:gd name="T39" fmla="*/ 1 h 29"/>
                <a:gd name="T40" fmla="*/ 10 w 296"/>
                <a:gd name="T41" fmla="*/ 2 h 29"/>
                <a:gd name="T42" fmla="*/ 7 w 296"/>
                <a:gd name="T43" fmla="*/ 3 h 29"/>
                <a:gd name="T44" fmla="*/ 5 w 296"/>
                <a:gd name="T45" fmla="*/ 5 h 29"/>
                <a:gd name="T46" fmla="*/ 4 w 296"/>
                <a:gd name="T47" fmla="*/ 7 h 29"/>
                <a:gd name="T48" fmla="*/ 1 w 296"/>
                <a:gd name="T49" fmla="*/ 9 h 29"/>
                <a:gd name="T50" fmla="*/ 0 w 296"/>
                <a:gd name="T51" fmla="*/ 12 h 29"/>
                <a:gd name="T52" fmla="*/ 0 w 296"/>
                <a:gd name="T53" fmla="*/ 14 h 29"/>
                <a:gd name="T54" fmla="*/ 0 w 296"/>
                <a:gd name="T55" fmla="*/ 18 h 29"/>
                <a:gd name="T56" fmla="*/ 1 w 296"/>
                <a:gd name="T57" fmla="*/ 21 h 29"/>
                <a:gd name="T58" fmla="*/ 4 w 296"/>
                <a:gd name="T59" fmla="*/ 23 h 29"/>
                <a:gd name="T60" fmla="*/ 5 w 296"/>
                <a:gd name="T61" fmla="*/ 26 h 29"/>
                <a:gd name="T62" fmla="*/ 7 w 296"/>
                <a:gd name="T63" fmla="*/ 27 h 29"/>
                <a:gd name="T64" fmla="*/ 10 w 296"/>
                <a:gd name="T65" fmla="*/ 28 h 29"/>
                <a:gd name="T66" fmla="*/ 12 w 296"/>
                <a:gd name="T67" fmla="*/ 29 h 29"/>
                <a:gd name="T68" fmla="*/ 15 w 296"/>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
                  <a:moveTo>
                    <a:pt x="15" y="29"/>
                  </a:moveTo>
                  <a:lnTo>
                    <a:pt x="281" y="29"/>
                  </a:lnTo>
                  <a:lnTo>
                    <a:pt x="284" y="29"/>
                  </a:lnTo>
                  <a:lnTo>
                    <a:pt x="286" y="28"/>
                  </a:lnTo>
                  <a:lnTo>
                    <a:pt x="289" y="27"/>
                  </a:lnTo>
                  <a:lnTo>
                    <a:pt x="291" y="26"/>
                  </a:lnTo>
                  <a:lnTo>
                    <a:pt x="294" y="23"/>
                  </a:lnTo>
                  <a:lnTo>
                    <a:pt x="295" y="21"/>
                  </a:lnTo>
                  <a:lnTo>
                    <a:pt x="296" y="18"/>
                  </a:lnTo>
                  <a:lnTo>
                    <a:pt x="296" y="14"/>
                  </a:lnTo>
                  <a:lnTo>
                    <a:pt x="296" y="12"/>
                  </a:lnTo>
                  <a:lnTo>
                    <a:pt x="295" y="9"/>
                  </a:lnTo>
                  <a:lnTo>
                    <a:pt x="294" y="7"/>
                  </a:lnTo>
                  <a:lnTo>
                    <a:pt x="291" y="5"/>
                  </a:lnTo>
                  <a:lnTo>
                    <a:pt x="289" y="3"/>
                  </a:lnTo>
                  <a:lnTo>
                    <a:pt x="286" y="2"/>
                  </a:lnTo>
                  <a:lnTo>
                    <a:pt x="284" y="1"/>
                  </a:lnTo>
                  <a:lnTo>
                    <a:pt x="281" y="0"/>
                  </a:lnTo>
                  <a:lnTo>
                    <a:pt x="15" y="0"/>
                  </a:lnTo>
                  <a:lnTo>
                    <a:pt x="12" y="1"/>
                  </a:lnTo>
                  <a:lnTo>
                    <a:pt x="10" y="2"/>
                  </a:lnTo>
                  <a:lnTo>
                    <a:pt x="7" y="3"/>
                  </a:lnTo>
                  <a:lnTo>
                    <a:pt x="5" y="5"/>
                  </a:lnTo>
                  <a:lnTo>
                    <a:pt x="4" y="7"/>
                  </a:lnTo>
                  <a:lnTo>
                    <a:pt x="1" y="9"/>
                  </a:lnTo>
                  <a:lnTo>
                    <a:pt x="0" y="12"/>
                  </a:lnTo>
                  <a:lnTo>
                    <a:pt x="0" y="14"/>
                  </a:lnTo>
                  <a:lnTo>
                    <a:pt x="0" y="18"/>
                  </a:lnTo>
                  <a:lnTo>
                    <a:pt x="1" y="21"/>
                  </a:lnTo>
                  <a:lnTo>
                    <a:pt x="4" y="23"/>
                  </a:lnTo>
                  <a:lnTo>
                    <a:pt x="5" y="26"/>
                  </a:lnTo>
                  <a:lnTo>
                    <a:pt x="7" y="27"/>
                  </a:lnTo>
                  <a:lnTo>
                    <a:pt x="10" y="28"/>
                  </a:lnTo>
                  <a:lnTo>
                    <a:pt x="12" y="29"/>
                  </a:lnTo>
                  <a:lnTo>
                    <a:pt x="1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grpSp>
      <p:sp>
        <p:nvSpPr>
          <p:cNvPr id="16" name="Rectangle 15"/>
          <p:cNvSpPr/>
          <p:nvPr/>
        </p:nvSpPr>
        <p:spPr>
          <a:xfrm>
            <a:off x="1873619" y="4000804"/>
            <a:ext cx="1932316" cy="363099"/>
          </a:xfrm>
          <a:prstGeom prst="rect">
            <a:avLst/>
          </a:prstGeom>
        </p:spPr>
        <p:txBody>
          <a:bodyPr vert="horz" wrap="square" lIns="91440" tIns="45720" rIns="91440" bIns="45720" rtlCol="0" anchor="ctr">
            <a:noAutofit/>
          </a:bodyPr>
          <a:lstStyle/>
          <a:p>
            <a:pPr>
              <a:lnSpc>
                <a:spcPct val="90000"/>
              </a:lnSpc>
              <a:spcBef>
                <a:spcPct val="0"/>
              </a:spcBef>
            </a:pPr>
            <a:r>
              <a:rPr lang="en-US" sz="1200" b="1" noProof="1">
                <a:solidFill>
                  <a:schemeClr val="tx1">
                    <a:lumMod val="85000"/>
                    <a:lumOff val="15000"/>
                  </a:schemeClr>
                </a:solidFill>
                <a:ea typeface="Roboto" panose="02000000000000000000" pitchFamily="2" charset="0"/>
                <a:cs typeface="Times New Roman" panose="02020603050405020304" pitchFamily="18" charset="0"/>
              </a:rPr>
              <a:t>LOREM</a:t>
            </a:r>
            <a:r>
              <a:rPr lang="en-US" sz="1200" noProof="1">
                <a:solidFill>
                  <a:schemeClr val="tx1">
                    <a:lumMod val="85000"/>
                    <a:lumOff val="15000"/>
                  </a:schemeClr>
                </a:solidFill>
                <a:ea typeface="Roboto" panose="02000000000000000000" pitchFamily="2" charset="0"/>
                <a:cs typeface="Times New Roman" panose="02020603050405020304" pitchFamily="18" charset="0"/>
              </a:rPr>
              <a:t> IPSUM</a:t>
            </a:r>
          </a:p>
        </p:txBody>
      </p:sp>
      <p:sp>
        <p:nvSpPr>
          <p:cNvPr id="17" name="Rectangle 16"/>
          <p:cNvSpPr/>
          <p:nvPr/>
        </p:nvSpPr>
        <p:spPr>
          <a:xfrm>
            <a:off x="1873619" y="4363903"/>
            <a:ext cx="1932316" cy="1280351"/>
          </a:xfrm>
          <a:prstGeom prst="rect">
            <a:avLst/>
          </a:prstGeom>
        </p:spPr>
        <p:txBody>
          <a:bodyPr wrap="square">
            <a:spAutoFit/>
          </a:bodyPr>
          <a:lstStyle/>
          <a:p>
            <a:pPr algn="just">
              <a:lnSpc>
                <a:spcPct val="200000"/>
              </a:lnSpc>
              <a:buClr>
                <a:srgbClr val="E24848"/>
              </a:buClr>
              <a:defRPr/>
            </a:pPr>
            <a:r>
              <a:rPr lang="en-US" sz="1000" noProof="1">
                <a:solidFill>
                  <a:schemeClr val="tx1">
                    <a:lumMod val="75000"/>
                    <a:lumOff val="25000"/>
                  </a:schemeClr>
                </a:solidFill>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
        <p:nvSpPr>
          <p:cNvPr id="18" name="Oval 17"/>
          <p:cNvSpPr/>
          <p:nvPr/>
        </p:nvSpPr>
        <p:spPr bwMode="gray">
          <a:xfrm>
            <a:off x="3800475" y="2408412"/>
            <a:ext cx="948701" cy="948701"/>
          </a:xfrm>
          <a:prstGeom prst="ellipse">
            <a:avLst/>
          </a:prstGeom>
          <a:gradFill>
            <a:gsLst>
              <a:gs pos="100000">
                <a:schemeClr val="accent2"/>
              </a:gs>
              <a:gs pos="0">
                <a:schemeClr val="accent1"/>
              </a:gs>
            </a:gsLst>
            <a:lin ang="8100000" scaled="1"/>
          </a:gradFill>
          <a:ln>
            <a:noFill/>
          </a:ln>
          <a:effectLst>
            <a:outerShdw blurRad="1244600" dist="457200" dir="2220000" algn="tr" rotWithShape="0">
              <a:prstClr val="black">
                <a:alpha val="8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19" name="Group 18"/>
          <p:cNvGrpSpPr/>
          <p:nvPr/>
        </p:nvGrpSpPr>
        <p:grpSpPr>
          <a:xfrm>
            <a:off x="4094551" y="2691579"/>
            <a:ext cx="378003" cy="379991"/>
            <a:chOff x="1547813" y="3240088"/>
            <a:chExt cx="301626" cy="303213"/>
          </a:xfrm>
          <a:solidFill>
            <a:schemeClr val="bg1"/>
          </a:solidFill>
        </p:grpSpPr>
        <p:sp>
          <p:nvSpPr>
            <p:cNvPr id="20" name="Freeform 61"/>
            <p:cNvSpPr>
              <a:spLocks noEditPoints="1"/>
            </p:cNvSpPr>
            <p:nvPr/>
          </p:nvSpPr>
          <p:spPr bwMode="auto">
            <a:xfrm>
              <a:off x="1611313" y="3392488"/>
              <a:ext cx="85725" cy="87313"/>
            </a:xfrm>
            <a:custGeom>
              <a:avLst/>
              <a:gdLst>
                <a:gd name="T0" fmla="*/ 92 w 218"/>
                <a:gd name="T1" fmla="*/ 191 h 219"/>
                <a:gd name="T2" fmla="*/ 70 w 218"/>
                <a:gd name="T3" fmla="*/ 183 h 219"/>
                <a:gd name="T4" fmla="*/ 50 w 218"/>
                <a:gd name="T5" fmla="*/ 168 h 219"/>
                <a:gd name="T6" fmla="*/ 35 w 218"/>
                <a:gd name="T7" fmla="*/ 149 h 219"/>
                <a:gd name="T8" fmla="*/ 27 w 218"/>
                <a:gd name="T9" fmla="*/ 125 h 219"/>
                <a:gd name="T10" fmla="*/ 26 w 218"/>
                <a:gd name="T11" fmla="*/ 101 h 219"/>
                <a:gd name="T12" fmla="*/ 32 w 218"/>
                <a:gd name="T13" fmla="*/ 77 h 219"/>
                <a:gd name="T14" fmla="*/ 45 w 218"/>
                <a:gd name="T15" fmla="*/ 56 h 219"/>
                <a:gd name="T16" fmla="*/ 62 w 218"/>
                <a:gd name="T17" fmla="*/ 40 h 219"/>
                <a:gd name="T18" fmla="*/ 85 w 218"/>
                <a:gd name="T19" fmla="*/ 29 h 219"/>
                <a:gd name="T20" fmla="*/ 109 w 218"/>
                <a:gd name="T21" fmla="*/ 26 h 219"/>
                <a:gd name="T22" fmla="*/ 134 w 218"/>
                <a:gd name="T23" fmla="*/ 29 h 219"/>
                <a:gd name="T24" fmla="*/ 155 w 218"/>
                <a:gd name="T25" fmla="*/ 40 h 219"/>
                <a:gd name="T26" fmla="*/ 174 w 218"/>
                <a:gd name="T27" fmla="*/ 56 h 219"/>
                <a:gd name="T28" fmla="*/ 186 w 218"/>
                <a:gd name="T29" fmla="*/ 77 h 219"/>
                <a:gd name="T30" fmla="*/ 192 w 218"/>
                <a:gd name="T31" fmla="*/ 101 h 219"/>
                <a:gd name="T32" fmla="*/ 191 w 218"/>
                <a:gd name="T33" fmla="*/ 125 h 219"/>
                <a:gd name="T34" fmla="*/ 182 w 218"/>
                <a:gd name="T35" fmla="*/ 149 h 219"/>
                <a:gd name="T36" fmla="*/ 168 w 218"/>
                <a:gd name="T37" fmla="*/ 168 h 219"/>
                <a:gd name="T38" fmla="*/ 149 w 218"/>
                <a:gd name="T39" fmla="*/ 183 h 219"/>
                <a:gd name="T40" fmla="*/ 125 w 218"/>
                <a:gd name="T41" fmla="*/ 191 h 219"/>
                <a:gd name="T42" fmla="*/ 109 w 218"/>
                <a:gd name="T43" fmla="*/ 0 h 219"/>
                <a:gd name="T44" fmla="*/ 77 w 218"/>
                <a:gd name="T45" fmla="*/ 4 h 219"/>
                <a:gd name="T46" fmla="*/ 48 w 218"/>
                <a:gd name="T47" fmla="*/ 18 h 219"/>
                <a:gd name="T48" fmla="*/ 25 w 218"/>
                <a:gd name="T49" fmla="*/ 40 h 219"/>
                <a:gd name="T50" fmla="*/ 8 w 218"/>
                <a:gd name="T51" fmla="*/ 66 h 219"/>
                <a:gd name="T52" fmla="*/ 1 w 218"/>
                <a:gd name="T53" fmla="*/ 98 h 219"/>
                <a:gd name="T54" fmla="*/ 2 w 218"/>
                <a:gd name="T55" fmla="*/ 131 h 219"/>
                <a:gd name="T56" fmla="*/ 13 w 218"/>
                <a:gd name="T57" fmla="*/ 161 h 219"/>
                <a:gd name="T58" fmla="*/ 32 w 218"/>
                <a:gd name="T59" fmla="*/ 187 h 219"/>
                <a:gd name="T60" fmla="*/ 57 w 218"/>
                <a:gd name="T61" fmla="*/ 205 h 219"/>
                <a:gd name="T62" fmla="*/ 87 w 218"/>
                <a:gd name="T63" fmla="*/ 217 h 219"/>
                <a:gd name="T64" fmla="*/ 120 w 218"/>
                <a:gd name="T65" fmla="*/ 218 h 219"/>
                <a:gd name="T66" fmla="*/ 151 w 218"/>
                <a:gd name="T67" fmla="*/ 210 h 219"/>
                <a:gd name="T68" fmla="*/ 178 w 218"/>
                <a:gd name="T69" fmla="*/ 193 h 219"/>
                <a:gd name="T70" fmla="*/ 200 w 218"/>
                <a:gd name="T71" fmla="*/ 171 h 219"/>
                <a:gd name="T72" fmla="*/ 213 w 218"/>
                <a:gd name="T73" fmla="*/ 142 h 219"/>
                <a:gd name="T74" fmla="*/ 218 w 218"/>
                <a:gd name="T75" fmla="*/ 109 h 219"/>
                <a:gd name="T76" fmla="*/ 213 w 218"/>
                <a:gd name="T77" fmla="*/ 77 h 219"/>
                <a:gd name="T78" fmla="*/ 200 w 218"/>
                <a:gd name="T79" fmla="*/ 48 h 219"/>
                <a:gd name="T80" fmla="*/ 178 w 218"/>
                <a:gd name="T81" fmla="*/ 25 h 219"/>
                <a:gd name="T82" fmla="*/ 151 w 218"/>
                <a:gd name="T83" fmla="*/ 8 h 219"/>
                <a:gd name="T84" fmla="*/ 120 w 218"/>
                <a:gd name="T8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8" h="219">
                  <a:moveTo>
                    <a:pt x="109" y="193"/>
                  </a:moveTo>
                  <a:lnTo>
                    <a:pt x="101" y="193"/>
                  </a:lnTo>
                  <a:lnTo>
                    <a:pt x="92" y="191"/>
                  </a:lnTo>
                  <a:lnTo>
                    <a:pt x="85" y="190"/>
                  </a:lnTo>
                  <a:lnTo>
                    <a:pt x="76" y="187"/>
                  </a:lnTo>
                  <a:lnTo>
                    <a:pt x="70" y="183"/>
                  </a:lnTo>
                  <a:lnTo>
                    <a:pt x="62" y="179"/>
                  </a:lnTo>
                  <a:lnTo>
                    <a:pt x="56" y="174"/>
                  </a:lnTo>
                  <a:lnTo>
                    <a:pt x="50" y="168"/>
                  </a:lnTo>
                  <a:lnTo>
                    <a:pt x="45" y="162"/>
                  </a:lnTo>
                  <a:lnTo>
                    <a:pt x="40" y="156"/>
                  </a:lnTo>
                  <a:lnTo>
                    <a:pt x="35" y="149"/>
                  </a:lnTo>
                  <a:lnTo>
                    <a:pt x="32" y="142"/>
                  </a:lnTo>
                  <a:lnTo>
                    <a:pt x="29" y="134"/>
                  </a:lnTo>
                  <a:lnTo>
                    <a:pt x="27" y="125"/>
                  </a:lnTo>
                  <a:lnTo>
                    <a:pt x="26" y="118"/>
                  </a:lnTo>
                  <a:lnTo>
                    <a:pt x="26" y="109"/>
                  </a:lnTo>
                  <a:lnTo>
                    <a:pt x="26" y="101"/>
                  </a:lnTo>
                  <a:lnTo>
                    <a:pt x="27" y="92"/>
                  </a:lnTo>
                  <a:lnTo>
                    <a:pt x="29" y="85"/>
                  </a:lnTo>
                  <a:lnTo>
                    <a:pt x="32" y="77"/>
                  </a:lnTo>
                  <a:lnTo>
                    <a:pt x="35" y="70"/>
                  </a:lnTo>
                  <a:lnTo>
                    <a:pt x="40" y="62"/>
                  </a:lnTo>
                  <a:lnTo>
                    <a:pt x="45" y="56"/>
                  </a:lnTo>
                  <a:lnTo>
                    <a:pt x="50" y="50"/>
                  </a:lnTo>
                  <a:lnTo>
                    <a:pt x="56" y="45"/>
                  </a:lnTo>
                  <a:lnTo>
                    <a:pt x="62" y="40"/>
                  </a:lnTo>
                  <a:lnTo>
                    <a:pt x="70" y="35"/>
                  </a:lnTo>
                  <a:lnTo>
                    <a:pt x="76" y="32"/>
                  </a:lnTo>
                  <a:lnTo>
                    <a:pt x="85" y="29"/>
                  </a:lnTo>
                  <a:lnTo>
                    <a:pt x="92" y="27"/>
                  </a:lnTo>
                  <a:lnTo>
                    <a:pt x="101" y="26"/>
                  </a:lnTo>
                  <a:lnTo>
                    <a:pt x="109" y="26"/>
                  </a:lnTo>
                  <a:lnTo>
                    <a:pt x="118" y="26"/>
                  </a:lnTo>
                  <a:lnTo>
                    <a:pt x="125" y="27"/>
                  </a:lnTo>
                  <a:lnTo>
                    <a:pt x="134" y="29"/>
                  </a:lnTo>
                  <a:lnTo>
                    <a:pt x="142" y="32"/>
                  </a:lnTo>
                  <a:lnTo>
                    <a:pt x="149" y="35"/>
                  </a:lnTo>
                  <a:lnTo>
                    <a:pt x="155" y="40"/>
                  </a:lnTo>
                  <a:lnTo>
                    <a:pt x="162" y="45"/>
                  </a:lnTo>
                  <a:lnTo>
                    <a:pt x="168" y="50"/>
                  </a:lnTo>
                  <a:lnTo>
                    <a:pt x="174" y="56"/>
                  </a:lnTo>
                  <a:lnTo>
                    <a:pt x="178" y="62"/>
                  </a:lnTo>
                  <a:lnTo>
                    <a:pt x="182" y="70"/>
                  </a:lnTo>
                  <a:lnTo>
                    <a:pt x="186" y="77"/>
                  </a:lnTo>
                  <a:lnTo>
                    <a:pt x="189" y="85"/>
                  </a:lnTo>
                  <a:lnTo>
                    <a:pt x="191" y="92"/>
                  </a:lnTo>
                  <a:lnTo>
                    <a:pt x="192" y="101"/>
                  </a:lnTo>
                  <a:lnTo>
                    <a:pt x="193" y="109"/>
                  </a:lnTo>
                  <a:lnTo>
                    <a:pt x="192" y="118"/>
                  </a:lnTo>
                  <a:lnTo>
                    <a:pt x="191" y="125"/>
                  </a:lnTo>
                  <a:lnTo>
                    <a:pt x="189" y="134"/>
                  </a:lnTo>
                  <a:lnTo>
                    <a:pt x="186" y="142"/>
                  </a:lnTo>
                  <a:lnTo>
                    <a:pt x="182" y="149"/>
                  </a:lnTo>
                  <a:lnTo>
                    <a:pt x="178" y="156"/>
                  </a:lnTo>
                  <a:lnTo>
                    <a:pt x="174" y="162"/>
                  </a:lnTo>
                  <a:lnTo>
                    <a:pt x="168" y="168"/>
                  </a:lnTo>
                  <a:lnTo>
                    <a:pt x="162" y="174"/>
                  </a:lnTo>
                  <a:lnTo>
                    <a:pt x="155" y="179"/>
                  </a:lnTo>
                  <a:lnTo>
                    <a:pt x="149" y="183"/>
                  </a:lnTo>
                  <a:lnTo>
                    <a:pt x="142" y="187"/>
                  </a:lnTo>
                  <a:lnTo>
                    <a:pt x="134" y="190"/>
                  </a:lnTo>
                  <a:lnTo>
                    <a:pt x="125" y="191"/>
                  </a:lnTo>
                  <a:lnTo>
                    <a:pt x="118" y="193"/>
                  </a:lnTo>
                  <a:lnTo>
                    <a:pt x="109" y="193"/>
                  </a:lnTo>
                  <a:close/>
                  <a:moveTo>
                    <a:pt x="109" y="0"/>
                  </a:moveTo>
                  <a:lnTo>
                    <a:pt x="98" y="0"/>
                  </a:lnTo>
                  <a:lnTo>
                    <a:pt x="87" y="2"/>
                  </a:lnTo>
                  <a:lnTo>
                    <a:pt x="77" y="4"/>
                  </a:lnTo>
                  <a:lnTo>
                    <a:pt x="66" y="8"/>
                  </a:lnTo>
                  <a:lnTo>
                    <a:pt x="57" y="13"/>
                  </a:lnTo>
                  <a:lnTo>
                    <a:pt x="48" y="18"/>
                  </a:lnTo>
                  <a:lnTo>
                    <a:pt x="40" y="25"/>
                  </a:lnTo>
                  <a:lnTo>
                    <a:pt x="32" y="32"/>
                  </a:lnTo>
                  <a:lnTo>
                    <a:pt x="25" y="40"/>
                  </a:lnTo>
                  <a:lnTo>
                    <a:pt x="19" y="48"/>
                  </a:lnTo>
                  <a:lnTo>
                    <a:pt x="13" y="57"/>
                  </a:lnTo>
                  <a:lnTo>
                    <a:pt x="8" y="66"/>
                  </a:lnTo>
                  <a:lnTo>
                    <a:pt x="5" y="77"/>
                  </a:lnTo>
                  <a:lnTo>
                    <a:pt x="2" y="87"/>
                  </a:lnTo>
                  <a:lnTo>
                    <a:pt x="1" y="98"/>
                  </a:lnTo>
                  <a:lnTo>
                    <a:pt x="0" y="109"/>
                  </a:lnTo>
                  <a:lnTo>
                    <a:pt x="1" y="120"/>
                  </a:lnTo>
                  <a:lnTo>
                    <a:pt x="2" y="131"/>
                  </a:lnTo>
                  <a:lnTo>
                    <a:pt x="5" y="142"/>
                  </a:lnTo>
                  <a:lnTo>
                    <a:pt x="8" y="151"/>
                  </a:lnTo>
                  <a:lnTo>
                    <a:pt x="13" y="161"/>
                  </a:lnTo>
                  <a:lnTo>
                    <a:pt x="19" y="171"/>
                  </a:lnTo>
                  <a:lnTo>
                    <a:pt x="25" y="178"/>
                  </a:lnTo>
                  <a:lnTo>
                    <a:pt x="32" y="187"/>
                  </a:lnTo>
                  <a:lnTo>
                    <a:pt x="40" y="193"/>
                  </a:lnTo>
                  <a:lnTo>
                    <a:pt x="48" y="200"/>
                  </a:lnTo>
                  <a:lnTo>
                    <a:pt x="57" y="205"/>
                  </a:lnTo>
                  <a:lnTo>
                    <a:pt x="66" y="210"/>
                  </a:lnTo>
                  <a:lnTo>
                    <a:pt x="77" y="214"/>
                  </a:lnTo>
                  <a:lnTo>
                    <a:pt x="87" y="217"/>
                  </a:lnTo>
                  <a:lnTo>
                    <a:pt x="98" y="218"/>
                  </a:lnTo>
                  <a:lnTo>
                    <a:pt x="109" y="219"/>
                  </a:lnTo>
                  <a:lnTo>
                    <a:pt x="120" y="218"/>
                  </a:lnTo>
                  <a:lnTo>
                    <a:pt x="131" y="217"/>
                  </a:lnTo>
                  <a:lnTo>
                    <a:pt x="142" y="214"/>
                  </a:lnTo>
                  <a:lnTo>
                    <a:pt x="151" y="210"/>
                  </a:lnTo>
                  <a:lnTo>
                    <a:pt x="161" y="205"/>
                  </a:lnTo>
                  <a:lnTo>
                    <a:pt x="169" y="200"/>
                  </a:lnTo>
                  <a:lnTo>
                    <a:pt x="178" y="193"/>
                  </a:lnTo>
                  <a:lnTo>
                    <a:pt x="187" y="187"/>
                  </a:lnTo>
                  <a:lnTo>
                    <a:pt x="193" y="178"/>
                  </a:lnTo>
                  <a:lnTo>
                    <a:pt x="200" y="171"/>
                  </a:lnTo>
                  <a:lnTo>
                    <a:pt x="205" y="161"/>
                  </a:lnTo>
                  <a:lnTo>
                    <a:pt x="209" y="151"/>
                  </a:lnTo>
                  <a:lnTo>
                    <a:pt x="213" y="142"/>
                  </a:lnTo>
                  <a:lnTo>
                    <a:pt x="216" y="131"/>
                  </a:lnTo>
                  <a:lnTo>
                    <a:pt x="218" y="120"/>
                  </a:lnTo>
                  <a:lnTo>
                    <a:pt x="218" y="109"/>
                  </a:lnTo>
                  <a:lnTo>
                    <a:pt x="218" y="98"/>
                  </a:lnTo>
                  <a:lnTo>
                    <a:pt x="216" y="87"/>
                  </a:lnTo>
                  <a:lnTo>
                    <a:pt x="213" y="77"/>
                  </a:lnTo>
                  <a:lnTo>
                    <a:pt x="209" y="66"/>
                  </a:lnTo>
                  <a:lnTo>
                    <a:pt x="205" y="57"/>
                  </a:lnTo>
                  <a:lnTo>
                    <a:pt x="200" y="48"/>
                  </a:lnTo>
                  <a:lnTo>
                    <a:pt x="193" y="40"/>
                  </a:lnTo>
                  <a:lnTo>
                    <a:pt x="187" y="32"/>
                  </a:lnTo>
                  <a:lnTo>
                    <a:pt x="178" y="25"/>
                  </a:lnTo>
                  <a:lnTo>
                    <a:pt x="169" y="18"/>
                  </a:lnTo>
                  <a:lnTo>
                    <a:pt x="161" y="13"/>
                  </a:lnTo>
                  <a:lnTo>
                    <a:pt x="151" y="8"/>
                  </a:lnTo>
                  <a:lnTo>
                    <a:pt x="142" y="4"/>
                  </a:lnTo>
                  <a:lnTo>
                    <a:pt x="131" y="2"/>
                  </a:lnTo>
                  <a:lnTo>
                    <a:pt x="120" y="0"/>
                  </a:lnTo>
                  <a:lnTo>
                    <a:pt x="1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21" name="Freeform 62"/>
            <p:cNvSpPr>
              <a:spLocks noEditPoints="1"/>
            </p:cNvSpPr>
            <p:nvPr/>
          </p:nvSpPr>
          <p:spPr bwMode="auto">
            <a:xfrm>
              <a:off x="1763713" y="3278188"/>
              <a:ext cx="49213" cy="47625"/>
            </a:xfrm>
            <a:custGeom>
              <a:avLst/>
              <a:gdLst>
                <a:gd name="T0" fmla="*/ 54 w 122"/>
                <a:gd name="T1" fmla="*/ 96 h 121"/>
                <a:gd name="T2" fmla="*/ 41 w 122"/>
                <a:gd name="T3" fmla="*/ 90 h 121"/>
                <a:gd name="T4" fmla="*/ 31 w 122"/>
                <a:gd name="T5" fmla="*/ 81 h 121"/>
                <a:gd name="T6" fmla="*/ 26 w 122"/>
                <a:gd name="T7" fmla="*/ 68 h 121"/>
                <a:gd name="T8" fmla="*/ 26 w 122"/>
                <a:gd name="T9" fmla="*/ 54 h 121"/>
                <a:gd name="T10" fmla="*/ 31 w 122"/>
                <a:gd name="T11" fmla="*/ 41 h 121"/>
                <a:gd name="T12" fmla="*/ 41 w 122"/>
                <a:gd name="T13" fmla="*/ 31 h 121"/>
                <a:gd name="T14" fmla="*/ 54 w 122"/>
                <a:gd name="T15" fmla="*/ 26 h 121"/>
                <a:gd name="T16" fmla="*/ 68 w 122"/>
                <a:gd name="T17" fmla="*/ 26 h 121"/>
                <a:gd name="T18" fmla="*/ 81 w 122"/>
                <a:gd name="T19" fmla="*/ 31 h 121"/>
                <a:gd name="T20" fmla="*/ 90 w 122"/>
                <a:gd name="T21" fmla="*/ 41 h 121"/>
                <a:gd name="T22" fmla="*/ 96 w 122"/>
                <a:gd name="T23" fmla="*/ 54 h 121"/>
                <a:gd name="T24" fmla="*/ 96 w 122"/>
                <a:gd name="T25" fmla="*/ 68 h 121"/>
                <a:gd name="T26" fmla="*/ 90 w 122"/>
                <a:gd name="T27" fmla="*/ 81 h 121"/>
                <a:gd name="T28" fmla="*/ 81 w 122"/>
                <a:gd name="T29" fmla="*/ 90 h 121"/>
                <a:gd name="T30" fmla="*/ 68 w 122"/>
                <a:gd name="T31" fmla="*/ 96 h 121"/>
                <a:gd name="T32" fmla="*/ 61 w 122"/>
                <a:gd name="T33" fmla="*/ 0 h 121"/>
                <a:gd name="T34" fmla="*/ 49 w 122"/>
                <a:gd name="T35" fmla="*/ 1 h 121"/>
                <a:gd name="T36" fmla="*/ 38 w 122"/>
                <a:gd name="T37" fmla="*/ 4 h 121"/>
                <a:gd name="T38" fmla="*/ 27 w 122"/>
                <a:gd name="T39" fmla="*/ 11 h 121"/>
                <a:gd name="T40" fmla="*/ 19 w 122"/>
                <a:gd name="T41" fmla="*/ 18 h 121"/>
                <a:gd name="T42" fmla="*/ 11 w 122"/>
                <a:gd name="T43" fmla="*/ 27 h 121"/>
                <a:gd name="T44" fmla="*/ 5 w 122"/>
                <a:gd name="T45" fmla="*/ 38 h 121"/>
                <a:gd name="T46" fmla="*/ 1 w 122"/>
                <a:gd name="T47" fmla="*/ 48 h 121"/>
                <a:gd name="T48" fmla="*/ 0 w 122"/>
                <a:gd name="T49" fmla="*/ 61 h 121"/>
                <a:gd name="T50" fmla="*/ 1 w 122"/>
                <a:gd name="T51" fmla="*/ 73 h 121"/>
                <a:gd name="T52" fmla="*/ 5 w 122"/>
                <a:gd name="T53" fmla="*/ 85 h 121"/>
                <a:gd name="T54" fmla="*/ 11 w 122"/>
                <a:gd name="T55" fmla="*/ 96 h 121"/>
                <a:gd name="T56" fmla="*/ 19 w 122"/>
                <a:gd name="T57" fmla="*/ 104 h 121"/>
                <a:gd name="T58" fmla="*/ 27 w 122"/>
                <a:gd name="T59" fmla="*/ 112 h 121"/>
                <a:gd name="T60" fmla="*/ 38 w 122"/>
                <a:gd name="T61" fmla="*/ 117 h 121"/>
                <a:gd name="T62" fmla="*/ 49 w 122"/>
                <a:gd name="T63" fmla="*/ 120 h 121"/>
                <a:gd name="T64" fmla="*/ 61 w 122"/>
                <a:gd name="T65" fmla="*/ 121 h 121"/>
                <a:gd name="T66" fmla="*/ 73 w 122"/>
                <a:gd name="T67" fmla="*/ 120 h 121"/>
                <a:gd name="T68" fmla="*/ 85 w 122"/>
                <a:gd name="T69" fmla="*/ 117 h 121"/>
                <a:gd name="T70" fmla="*/ 95 w 122"/>
                <a:gd name="T71" fmla="*/ 112 h 121"/>
                <a:gd name="T72" fmla="*/ 104 w 122"/>
                <a:gd name="T73" fmla="*/ 104 h 121"/>
                <a:gd name="T74" fmla="*/ 112 w 122"/>
                <a:gd name="T75" fmla="*/ 96 h 121"/>
                <a:gd name="T76" fmla="*/ 117 w 122"/>
                <a:gd name="T77" fmla="*/ 85 h 121"/>
                <a:gd name="T78" fmla="*/ 121 w 122"/>
                <a:gd name="T79" fmla="*/ 73 h 121"/>
                <a:gd name="T80" fmla="*/ 122 w 122"/>
                <a:gd name="T81" fmla="*/ 61 h 121"/>
                <a:gd name="T82" fmla="*/ 121 w 122"/>
                <a:gd name="T83" fmla="*/ 48 h 121"/>
                <a:gd name="T84" fmla="*/ 117 w 122"/>
                <a:gd name="T85" fmla="*/ 38 h 121"/>
                <a:gd name="T86" fmla="*/ 112 w 122"/>
                <a:gd name="T87" fmla="*/ 27 h 121"/>
                <a:gd name="T88" fmla="*/ 104 w 122"/>
                <a:gd name="T89" fmla="*/ 18 h 121"/>
                <a:gd name="T90" fmla="*/ 95 w 122"/>
                <a:gd name="T91" fmla="*/ 11 h 121"/>
                <a:gd name="T92" fmla="*/ 85 w 122"/>
                <a:gd name="T93" fmla="*/ 4 h 121"/>
                <a:gd name="T94" fmla="*/ 73 w 122"/>
                <a:gd name="T95" fmla="*/ 1 h 121"/>
                <a:gd name="T96" fmla="*/ 61 w 122"/>
                <a:gd name="T9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2" h="121">
                  <a:moveTo>
                    <a:pt x="61" y="97"/>
                  </a:moveTo>
                  <a:lnTo>
                    <a:pt x="54" y="96"/>
                  </a:lnTo>
                  <a:lnTo>
                    <a:pt x="47" y="93"/>
                  </a:lnTo>
                  <a:lnTo>
                    <a:pt x="41" y="90"/>
                  </a:lnTo>
                  <a:lnTo>
                    <a:pt x="36" y="86"/>
                  </a:lnTo>
                  <a:lnTo>
                    <a:pt x="31" y="81"/>
                  </a:lnTo>
                  <a:lnTo>
                    <a:pt x="28" y="75"/>
                  </a:lnTo>
                  <a:lnTo>
                    <a:pt x="26" y="68"/>
                  </a:lnTo>
                  <a:lnTo>
                    <a:pt x="26" y="61"/>
                  </a:lnTo>
                  <a:lnTo>
                    <a:pt x="26" y="54"/>
                  </a:lnTo>
                  <a:lnTo>
                    <a:pt x="28" y="47"/>
                  </a:lnTo>
                  <a:lnTo>
                    <a:pt x="31" y="41"/>
                  </a:lnTo>
                  <a:lnTo>
                    <a:pt x="36" y="35"/>
                  </a:lnTo>
                  <a:lnTo>
                    <a:pt x="41" y="31"/>
                  </a:lnTo>
                  <a:lnTo>
                    <a:pt x="47" y="28"/>
                  </a:lnTo>
                  <a:lnTo>
                    <a:pt x="54" y="26"/>
                  </a:lnTo>
                  <a:lnTo>
                    <a:pt x="61" y="25"/>
                  </a:lnTo>
                  <a:lnTo>
                    <a:pt x="68" y="26"/>
                  </a:lnTo>
                  <a:lnTo>
                    <a:pt x="75" y="28"/>
                  </a:lnTo>
                  <a:lnTo>
                    <a:pt x="81" y="31"/>
                  </a:lnTo>
                  <a:lnTo>
                    <a:pt x="86" y="35"/>
                  </a:lnTo>
                  <a:lnTo>
                    <a:pt x="90" y="41"/>
                  </a:lnTo>
                  <a:lnTo>
                    <a:pt x="94" y="47"/>
                  </a:lnTo>
                  <a:lnTo>
                    <a:pt x="96" y="54"/>
                  </a:lnTo>
                  <a:lnTo>
                    <a:pt x="97" y="61"/>
                  </a:lnTo>
                  <a:lnTo>
                    <a:pt x="96" y="68"/>
                  </a:lnTo>
                  <a:lnTo>
                    <a:pt x="94" y="75"/>
                  </a:lnTo>
                  <a:lnTo>
                    <a:pt x="90" y="81"/>
                  </a:lnTo>
                  <a:lnTo>
                    <a:pt x="86" y="86"/>
                  </a:lnTo>
                  <a:lnTo>
                    <a:pt x="81" y="90"/>
                  </a:lnTo>
                  <a:lnTo>
                    <a:pt x="75" y="93"/>
                  </a:lnTo>
                  <a:lnTo>
                    <a:pt x="68" y="96"/>
                  </a:lnTo>
                  <a:lnTo>
                    <a:pt x="61" y="97"/>
                  </a:lnTo>
                  <a:close/>
                  <a:moveTo>
                    <a:pt x="61" y="0"/>
                  </a:moveTo>
                  <a:lnTo>
                    <a:pt x="55" y="0"/>
                  </a:lnTo>
                  <a:lnTo>
                    <a:pt x="49" y="1"/>
                  </a:lnTo>
                  <a:lnTo>
                    <a:pt x="43" y="2"/>
                  </a:lnTo>
                  <a:lnTo>
                    <a:pt x="38" y="4"/>
                  </a:lnTo>
                  <a:lnTo>
                    <a:pt x="32" y="8"/>
                  </a:lnTo>
                  <a:lnTo>
                    <a:pt x="27" y="11"/>
                  </a:lnTo>
                  <a:lnTo>
                    <a:pt x="23" y="14"/>
                  </a:lnTo>
                  <a:lnTo>
                    <a:pt x="19" y="18"/>
                  </a:lnTo>
                  <a:lnTo>
                    <a:pt x="14" y="23"/>
                  </a:lnTo>
                  <a:lnTo>
                    <a:pt x="11" y="27"/>
                  </a:lnTo>
                  <a:lnTo>
                    <a:pt x="8" y="32"/>
                  </a:lnTo>
                  <a:lnTo>
                    <a:pt x="5" y="38"/>
                  </a:lnTo>
                  <a:lnTo>
                    <a:pt x="3" y="43"/>
                  </a:lnTo>
                  <a:lnTo>
                    <a:pt x="1" y="48"/>
                  </a:lnTo>
                  <a:lnTo>
                    <a:pt x="0" y="55"/>
                  </a:lnTo>
                  <a:lnTo>
                    <a:pt x="0" y="61"/>
                  </a:lnTo>
                  <a:lnTo>
                    <a:pt x="0" y="67"/>
                  </a:lnTo>
                  <a:lnTo>
                    <a:pt x="1" y="73"/>
                  </a:lnTo>
                  <a:lnTo>
                    <a:pt x="3" y="79"/>
                  </a:lnTo>
                  <a:lnTo>
                    <a:pt x="5" y="85"/>
                  </a:lnTo>
                  <a:lnTo>
                    <a:pt x="8" y="90"/>
                  </a:lnTo>
                  <a:lnTo>
                    <a:pt x="11" y="96"/>
                  </a:lnTo>
                  <a:lnTo>
                    <a:pt x="14" y="100"/>
                  </a:lnTo>
                  <a:lnTo>
                    <a:pt x="19" y="104"/>
                  </a:lnTo>
                  <a:lnTo>
                    <a:pt x="23" y="108"/>
                  </a:lnTo>
                  <a:lnTo>
                    <a:pt x="27" y="112"/>
                  </a:lnTo>
                  <a:lnTo>
                    <a:pt x="32" y="115"/>
                  </a:lnTo>
                  <a:lnTo>
                    <a:pt x="38" y="117"/>
                  </a:lnTo>
                  <a:lnTo>
                    <a:pt x="43" y="119"/>
                  </a:lnTo>
                  <a:lnTo>
                    <a:pt x="49" y="120"/>
                  </a:lnTo>
                  <a:lnTo>
                    <a:pt x="55" y="121"/>
                  </a:lnTo>
                  <a:lnTo>
                    <a:pt x="61" y="121"/>
                  </a:lnTo>
                  <a:lnTo>
                    <a:pt x="68" y="121"/>
                  </a:lnTo>
                  <a:lnTo>
                    <a:pt x="73" y="120"/>
                  </a:lnTo>
                  <a:lnTo>
                    <a:pt x="80" y="119"/>
                  </a:lnTo>
                  <a:lnTo>
                    <a:pt x="85" y="117"/>
                  </a:lnTo>
                  <a:lnTo>
                    <a:pt x="90" y="115"/>
                  </a:lnTo>
                  <a:lnTo>
                    <a:pt x="95" y="112"/>
                  </a:lnTo>
                  <a:lnTo>
                    <a:pt x="100" y="108"/>
                  </a:lnTo>
                  <a:lnTo>
                    <a:pt x="104" y="104"/>
                  </a:lnTo>
                  <a:lnTo>
                    <a:pt x="108" y="100"/>
                  </a:lnTo>
                  <a:lnTo>
                    <a:pt x="112" y="96"/>
                  </a:lnTo>
                  <a:lnTo>
                    <a:pt x="115" y="90"/>
                  </a:lnTo>
                  <a:lnTo>
                    <a:pt x="117" y="85"/>
                  </a:lnTo>
                  <a:lnTo>
                    <a:pt x="119" y="79"/>
                  </a:lnTo>
                  <a:lnTo>
                    <a:pt x="121" y="73"/>
                  </a:lnTo>
                  <a:lnTo>
                    <a:pt x="122" y="67"/>
                  </a:lnTo>
                  <a:lnTo>
                    <a:pt x="122" y="61"/>
                  </a:lnTo>
                  <a:lnTo>
                    <a:pt x="122" y="55"/>
                  </a:lnTo>
                  <a:lnTo>
                    <a:pt x="121" y="48"/>
                  </a:lnTo>
                  <a:lnTo>
                    <a:pt x="119" y="43"/>
                  </a:lnTo>
                  <a:lnTo>
                    <a:pt x="117" y="38"/>
                  </a:lnTo>
                  <a:lnTo>
                    <a:pt x="115" y="32"/>
                  </a:lnTo>
                  <a:lnTo>
                    <a:pt x="112" y="27"/>
                  </a:lnTo>
                  <a:lnTo>
                    <a:pt x="108" y="23"/>
                  </a:lnTo>
                  <a:lnTo>
                    <a:pt x="104" y="18"/>
                  </a:lnTo>
                  <a:lnTo>
                    <a:pt x="100" y="14"/>
                  </a:lnTo>
                  <a:lnTo>
                    <a:pt x="95" y="11"/>
                  </a:lnTo>
                  <a:lnTo>
                    <a:pt x="90" y="8"/>
                  </a:lnTo>
                  <a:lnTo>
                    <a:pt x="85" y="4"/>
                  </a:lnTo>
                  <a:lnTo>
                    <a:pt x="80" y="2"/>
                  </a:lnTo>
                  <a:lnTo>
                    <a:pt x="73" y="1"/>
                  </a:lnTo>
                  <a:lnTo>
                    <a:pt x="68" y="0"/>
                  </a:lnTo>
                  <a:lnTo>
                    <a:pt x="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22" name="Freeform 63"/>
            <p:cNvSpPr>
              <a:spLocks noEditPoints="1"/>
            </p:cNvSpPr>
            <p:nvPr/>
          </p:nvSpPr>
          <p:spPr bwMode="auto">
            <a:xfrm>
              <a:off x="1547813" y="3330576"/>
              <a:ext cx="212725" cy="212725"/>
            </a:xfrm>
            <a:custGeom>
              <a:avLst/>
              <a:gdLst>
                <a:gd name="T0" fmla="*/ 407 w 535"/>
                <a:gd name="T1" fmla="*/ 408 h 536"/>
                <a:gd name="T2" fmla="*/ 367 w 535"/>
                <a:gd name="T3" fmla="*/ 436 h 536"/>
                <a:gd name="T4" fmla="*/ 330 w 535"/>
                <a:gd name="T5" fmla="*/ 452 h 536"/>
                <a:gd name="T6" fmla="*/ 321 w 535"/>
                <a:gd name="T7" fmla="*/ 465 h 536"/>
                <a:gd name="T8" fmla="*/ 217 w 535"/>
                <a:gd name="T9" fmla="*/ 461 h 536"/>
                <a:gd name="T10" fmla="*/ 199 w 535"/>
                <a:gd name="T11" fmla="*/ 449 h 536"/>
                <a:gd name="T12" fmla="*/ 163 w 535"/>
                <a:gd name="T13" fmla="*/ 432 h 536"/>
                <a:gd name="T14" fmla="*/ 134 w 535"/>
                <a:gd name="T15" fmla="*/ 409 h 536"/>
                <a:gd name="T16" fmla="*/ 82 w 535"/>
                <a:gd name="T17" fmla="*/ 433 h 536"/>
                <a:gd name="T18" fmla="*/ 75 w 535"/>
                <a:gd name="T19" fmla="*/ 316 h 536"/>
                <a:gd name="T20" fmla="*/ 72 w 535"/>
                <a:gd name="T21" fmla="*/ 287 h 536"/>
                <a:gd name="T22" fmla="*/ 72 w 535"/>
                <a:gd name="T23" fmla="*/ 246 h 536"/>
                <a:gd name="T24" fmla="*/ 75 w 535"/>
                <a:gd name="T25" fmla="*/ 217 h 536"/>
                <a:gd name="T26" fmla="*/ 82 w 535"/>
                <a:gd name="T27" fmla="*/ 99 h 536"/>
                <a:gd name="T28" fmla="*/ 134 w 535"/>
                <a:gd name="T29" fmla="*/ 124 h 536"/>
                <a:gd name="T30" fmla="*/ 163 w 535"/>
                <a:gd name="T31" fmla="*/ 101 h 536"/>
                <a:gd name="T32" fmla="*/ 199 w 535"/>
                <a:gd name="T33" fmla="*/ 84 h 536"/>
                <a:gd name="T34" fmla="*/ 217 w 535"/>
                <a:gd name="T35" fmla="*/ 72 h 536"/>
                <a:gd name="T36" fmla="*/ 321 w 535"/>
                <a:gd name="T37" fmla="*/ 68 h 536"/>
                <a:gd name="T38" fmla="*/ 330 w 535"/>
                <a:gd name="T39" fmla="*/ 81 h 536"/>
                <a:gd name="T40" fmla="*/ 367 w 535"/>
                <a:gd name="T41" fmla="*/ 97 h 536"/>
                <a:gd name="T42" fmla="*/ 407 w 535"/>
                <a:gd name="T43" fmla="*/ 124 h 536"/>
                <a:gd name="T44" fmla="*/ 505 w 535"/>
                <a:gd name="T45" fmla="*/ 188 h 536"/>
                <a:gd name="T46" fmla="*/ 458 w 535"/>
                <a:gd name="T47" fmla="*/ 221 h 536"/>
                <a:gd name="T48" fmla="*/ 463 w 535"/>
                <a:gd name="T49" fmla="*/ 256 h 536"/>
                <a:gd name="T50" fmla="*/ 461 w 535"/>
                <a:gd name="T51" fmla="*/ 297 h 536"/>
                <a:gd name="T52" fmla="*/ 462 w 535"/>
                <a:gd name="T53" fmla="*/ 319 h 536"/>
                <a:gd name="T54" fmla="*/ 528 w 535"/>
                <a:gd name="T55" fmla="*/ 329 h 536"/>
                <a:gd name="T56" fmla="*/ 489 w 535"/>
                <a:gd name="T57" fmla="*/ 276 h 536"/>
                <a:gd name="T58" fmla="*/ 486 w 535"/>
                <a:gd name="T59" fmla="*/ 238 h 536"/>
                <a:gd name="T60" fmla="*/ 534 w 535"/>
                <a:gd name="T61" fmla="*/ 197 h 536"/>
                <a:gd name="T62" fmla="*/ 467 w 535"/>
                <a:gd name="T63" fmla="*/ 74 h 536"/>
                <a:gd name="T64" fmla="*/ 455 w 535"/>
                <a:gd name="T65" fmla="*/ 70 h 536"/>
                <a:gd name="T66" fmla="*/ 380 w 535"/>
                <a:gd name="T67" fmla="*/ 74 h 536"/>
                <a:gd name="T68" fmla="*/ 346 w 535"/>
                <a:gd name="T69" fmla="*/ 8 h 536"/>
                <a:gd name="T70" fmla="*/ 205 w 535"/>
                <a:gd name="T71" fmla="*/ 0 h 536"/>
                <a:gd name="T72" fmla="*/ 192 w 535"/>
                <a:gd name="T73" fmla="*/ 13 h 536"/>
                <a:gd name="T74" fmla="*/ 143 w 535"/>
                <a:gd name="T75" fmla="*/ 84 h 536"/>
                <a:gd name="T76" fmla="*/ 74 w 535"/>
                <a:gd name="T77" fmla="*/ 70 h 536"/>
                <a:gd name="T78" fmla="*/ 0 w 535"/>
                <a:gd name="T79" fmla="*/ 191 h 536"/>
                <a:gd name="T80" fmla="*/ 49 w 535"/>
                <a:gd name="T81" fmla="*/ 229 h 536"/>
                <a:gd name="T82" fmla="*/ 46 w 535"/>
                <a:gd name="T83" fmla="*/ 266 h 536"/>
                <a:gd name="T84" fmla="*/ 48 w 535"/>
                <a:gd name="T85" fmla="*/ 303 h 536"/>
                <a:gd name="T86" fmla="*/ 0 w 535"/>
                <a:gd name="T87" fmla="*/ 340 h 536"/>
                <a:gd name="T88" fmla="*/ 73 w 535"/>
                <a:gd name="T89" fmla="*/ 463 h 536"/>
                <a:gd name="T90" fmla="*/ 143 w 535"/>
                <a:gd name="T91" fmla="*/ 449 h 536"/>
                <a:gd name="T92" fmla="*/ 192 w 535"/>
                <a:gd name="T93" fmla="*/ 523 h 536"/>
                <a:gd name="T94" fmla="*/ 205 w 535"/>
                <a:gd name="T95" fmla="*/ 536 h 536"/>
                <a:gd name="T96" fmla="*/ 346 w 535"/>
                <a:gd name="T97" fmla="*/ 528 h 536"/>
                <a:gd name="T98" fmla="*/ 364 w 535"/>
                <a:gd name="T99" fmla="*/ 467 h 536"/>
                <a:gd name="T100" fmla="*/ 409 w 535"/>
                <a:gd name="T101" fmla="*/ 437 h 536"/>
                <a:gd name="T102" fmla="*/ 458 w 535"/>
                <a:gd name="T103" fmla="*/ 463 h 536"/>
                <a:gd name="T104" fmla="*/ 467 w 535"/>
                <a:gd name="T105" fmla="*/ 459 h 536"/>
                <a:gd name="T106" fmla="*/ 535 w 535"/>
                <a:gd name="T107" fmla="*/ 335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35" h="536">
                  <a:moveTo>
                    <a:pt x="453" y="433"/>
                  </a:moveTo>
                  <a:lnTo>
                    <a:pt x="414" y="410"/>
                  </a:lnTo>
                  <a:lnTo>
                    <a:pt x="410" y="409"/>
                  </a:lnTo>
                  <a:lnTo>
                    <a:pt x="407" y="408"/>
                  </a:lnTo>
                  <a:lnTo>
                    <a:pt x="403" y="409"/>
                  </a:lnTo>
                  <a:lnTo>
                    <a:pt x="399" y="411"/>
                  </a:lnTo>
                  <a:lnTo>
                    <a:pt x="383" y="424"/>
                  </a:lnTo>
                  <a:lnTo>
                    <a:pt x="367" y="436"/>
                  </a:lnTo>
                  <a:lnTo>
                    <a:pt x="359" y="441"/>
                  </a:lnTo>
                  <a:lnTo>
                    <a:pt x="350" y="446"/>
                  </a:lnTo>
                  <a:lnTo>
                    <a:pt x="340" y="449"/>
                  </a:lnTo>
                  <a:lnTo>
                    <a:pt x="330" y="452"/>
                  </a:lnTo>
                  <a:lnTo>
                    <a:pt x="326" y="454"/>
                  </a:lnTo>
                  <a:lnTo>
                    <a:pt x="323" y="457"/>
                  </a:lnTo>
                  <a:lnTo>
                    <a:pt x="321" y="461"/>
                  </a:lnTo>
                  <a:lnTo>
                    <a:pt x="321" y="465"/>
                  </a:lnTo>
                  <a:lnTo>
                    <a:pt x="321" y="511"/>
                  </a:lnTo>
                  <a:lnTo>
                    <a:pt x="218" y="511"/>
                  </a:lnTo>
                  <a:lnTo>
                    <a:pt x="218" y="465"/>
                  </a:lnTo>
                  <a:lnTo>
                    <a:pt x="217" y="461"/>
                  </a:lnTo>
                  <a:lnTo>
                    <a:pt x="216" y="457"/>
                  </a:lnTo>
                  <a:lnTo>
                    <a:pt x="213" y="454"/>
                  </a:lnTo>
                  <a:lnTo>
                    <a:pt x="208" y="452"/>
                  </a:lnTo>
                  <a:lnTo>
                    <a:pt x="199" y="449"/>
                  </a:lnTo>
                  <a:lnTo>
                    <a:pt x="189" y="446"/>
                  </a:lnTo>
                  <a:lnTo>
                    <a:pt x="180" y="441"/>
                  </a:lnTo>
                  <a:lnTo>
                    <a:pt x="172" y="437"/>
                  </a:lnTo>
                  <a:lnTo>
                    <a:pt x="163" y="432"/>
                  </a:lnTo>
                  <a:lnTo>
                    <a:pt x="155" y="425"/>
                  </a:lnTo>
                  <a:lnTo>
                    <a:pt x="146" y="419"/>
                  </a:lnTo>
                  <a:lnTo>
                    <a:pt x="137" y="411"/>
                  </a:lnTo>
                  <a:lnTo>
                    <a:pt x="134" y="409"/>
                  </a:lnTo>
                  <a:lnTo>
                    <a:pt x="130" y="408"/>
                  </a:lnTo>
                  <a:lnTo>
                    <a:pt x="126" y="409"/>
                  </a:lnTo>
                  <a:lnTo>
                    <a:pt x="122" y="410"/>
                  </a:lnTo>
                  <a:lnTo>
                    <a:pt x="82" y="433"/>
                  </a:lnTo>
                  <a:lnTo>
                    <a:pt x="30" y="344"/>
                  </a:lnTo>
                  <a:lnTo>
                    <a:pt x="70" y="321"/>
                  </a:lnTo>
                  <a:lnTo>
                    <a:pt x="73" y="319"/>
                  </a:lnTo>
                  <a:lnTo>
                    <a:pt x="75" y="316"/>
                  </a:lnTo>
                  <a:lnTo>
                    <a:pt x="75" y="311"/>
                  </a:lnTo>
                  <a:lnTo>
                    <a:pt x="75" y="307"/>
                  </a:lnTo>
                  <a:lnTo>
                    <a:pt x="74" y="297"/>
                  </a:lnTo>
                  <a:lnTo>
                    <a:pt x="72" y="287"/>
                  </a:lnTo>
                  <a:lnTo>
                    <a:pt x="72" y="277"/>
                  </a:lnTo>
                  <a:lnTo>
                    <a:pt x="71" y="266"/>
                  </a:lnTo>
                  <a:lnTo>
                    <a:pt x="72" y="257"/>
                  </a:lnTo>
                  <a:lnTo>
                    <a:pt x="72" y="246"/>
                  </a:lnTo>
                  <a:lnTo>
                    <a:pt x="74" y="236"/>
                  </a:lnTo>
                  <a:lnTo>
                    <a:pt x="75" y="226"/>
                  </a:lnTo>
                  <a:lnTo>
                    <a:pt x="76" y="221"/>
                  </a:lnTo>
                  <a:lnTo>
                    <a:pt x="75" y="217"/>
                  </a:lnTo>
                  <a:lnTo>
                    <a:pt x="73" y="214"/>
                  </a:lnTo>
                  <a:lnTo>
                    <a:pt x="70" y="212"/>
                  </a:lnTo>
                  <a:lnTo>
                    <a:pt x="30" y="188"/>
                  </a:lnTo>
                  <a:lnTo>
                    <a:pt x="82" y="99"/>
                  </a:lnTo>
                  <a:lnTo>
                    <a:pt x="122" y="122"/>
                  </a:lnTo>
                  <a:lnTo>
                    <a:pt x="126" y="124"/>
                  </a:lnTo>
                  <a:lnTo>
                    <a:pt x="130" y="124"/>
                  </a:lnTo>
                  <a:lnTo>
                    <a:pt x="134" y="124"/>
                  </a:lnTo>
                  <a:lnTo>
                    <a:pt x="137" y="121"/>
                  </a:lnTo>
                  <a:lnTo>
                    <a:pt x="146" y="114"/>
                  </a:lnTo>
                  <a:lnTo>
                    <a:pt x="155" y="106"/>
                  </a:lnTo>
                  <a:lnTo>
                    <a:pt x="163" y="101"/>
                  </a:lnTo>
                  <a:lnTo>
                    <a:pt x="172" y="96"/>
                  </a:lnTo>
                  <a:lnTo>
                    <a:pt x="180" y="91"/>
                  </a:lnTo>
                  <a:lnTo>
                    <a:pt x="189" y="87"/>
                  </a:lnTo>
                  <a:lnTo>
                    <a:pt x="199" y="84"/>
                  </a:lnTo>
                  <a:lnTo>
                    <a:pt x="208" y="81"/>
                  </a:lnTo>
                  <a:lnTo>
                    <a:pt x="213" y="78"/>
                  </a:lnTo>
                  <a:lnTo>
                    <a:pt x="215" y="76"/>
                  </a:lnTo>
                  <a:lnTo>
                    <a:pt x="217" y="72"/>
                  </a:lnTo>
                  <a:lnTo>
                    <a:pt x="218" y="68"/>
                  </a:lnTo>
                  <a:lnTo>
                    <a:pt x="218" y="26"/>
                  </a:lnTo>
                  <a:lnTo>
                    <a:pt x="321" y="26"/>
                  </a:lnTo>
                  <a:lnTo>
                    <a:pt x="321" y="68"/>
                  </a:lnTo>
                  <a:lnTo>
                    <a:pt x="321" y="72"/>
                  </a:lnTo>
                  <a:lnTo>
                    <a:pt x="323" y="76"/>
                  </a:lnTo>
                  <a:lnTo>
                    <a:pt x="326" y="78"/>
                  </a:lnTo>
                  <a:lnTo>
                    <a:pt x="330" y="81"/>
                  </a:lnTo>
                  <a:lnTo>
                    <a:pt x="340" y="84"/>
                  </a:lnTo>
                  <a:lnTo>
                    <a:pt x="350" y="87"/>
                  </a:lnTo>
                  <a:lnTo>
                    <a:pt x="360" y="91"/>
                  </a:lnTo>
                  <a:lnTo>
                    <a:pt x="367" y="97"/>
                  </a:lnTo>
                  <a:lnTo>
                    <a:pt x="383" y="107"/>
                  </a:lnTo>
                  <a:lnTo>
                    <a:pt x="399" y="121"/>
                  </a:lnTo>
                  <a:lnTo>
                    <a:pt x="403" y="124"/>
                  </a:lnTo>
                  <a:lnTo>
                    <a:pt x="407" y="124"/>
                  </a:lnTo>
                  <a:lnTo>
                    <a:pt x="410" y="124"/>
                  </a:lnTo>
                  <a:lnTo>
                    <a:pt x="414" y="122"/>
                  </a:lnTo>
                  <a:lnTo>
                    <a:pt x="453" y="99"/>
                  </a:lnTo>
                  <a:lnTo>
                    <a:pt x="505" y="188"/>
                  </a:lnTo>
                  <a:lnTo>
                    <a:pt x="465" y="212"/>
                  </a:lnTo>
                  <a:lnTo>
                    <a:pt x="462" y="214"/>
                  </a:lnTo>
                  <a:lnTo>
                    <a:pt x="460" y="217"/>
                  </a:lnTo>
                  <a:lnTo>
                    <a:pt x="458" y="221"/>
                  </a:lnTo>
                  <a:lnTo>
                    <a:pt x="458" y="226"/>
                  </a:lnTo>
                  <a:lnTo>
                    <a:pt x="461" y="235"/>
                  </a:lnTo>
                  <a:lnTo>
                    <a:pt x="462" y="246"/>
                  </a:lnTo>
                  <a:lnTo>
                    <a:pt x="463" y="256"/>
                  </a:lnTo>
                  <a:lnTo>
                    <a:pt x="463" y="266"/>
                  </a:lnTo>
                  <a:lnTo>
                    <a:pt x="463" y="277"/>
                  </a:lnTo>
                  <a:lnTo>
                    <a:pt x="462" y="287"/>
                  </a:lnTo>
                  <a:lnTo>
                    <a:pt x="461" y="297"/>
                  </a:lnTo>
                  <a:lnTo>
                    <a:pt x="458" y="307"/>
                  </a:lnTo>
                  <a:lnTo>
                    <a:pt x="458" y="311"/>
                  </a:lnTo>
                  <a:lnTo>
                    <a:pt x="460" y="316"/>
                  </a:lnTo>
                  <a:lnTo>
                    <a:pt x="462" y="319"/>
                  </a:lnTo>
                  <a:lnTo>
                    <a:pt x="465" y="321"/>
                  </a:lnTo>
                  <a:lnTo>
                    <a:pt x="505" y="344"/>
                  </a:lnTo>
                  <a:lnTo>
                    <a:pt x="453" y="433"/>
                  </a:lnTo>
                  <a:close/>
                  <a:moveTo>
                    <a:pt x="528" y="329"/>
                  </a:moveTo>
                  <a:lnTo>
                    <a:pt x="485" y="303"/>
                  </a:lnTo>
                  <a:lnTo>
                    <a:pt x="486" y="294"/>
                  </a:lnTo>
                  <a:lnTo>
                    <a:pt x="487" y="285"/>
                  </a:lnTo>
                  <a:lnTo>
                    <a:pt x="489" y="276"/>
                  </a:lnTo>
                  <a:lnTo>
                    <a:pt x="489" y="266"/>
                  </a:lnTo>
                  <a:lnTo>
                    <a:pt x="489" y="257"/>
                  </a:lnTo>
                  <a:lnTo>
                    <a:pt x="487" y="248"/>
                  </a:lnTo>
                  <a:lnTo>
                    <a:pt x="486" y="238"/>
                  </a:lnTo>
                  <a:lnTo>
                    <a:pt x="485" y="229"/>
                  </a:lnTo>
                  <a:lnTo>
                    <a:pt x="528" y="205"/>
                  </a:lnTo>
                  <a:lnTo>
                    <a:pt x="531" y="202"/>
                  </a:lnTo>
                  <a:lnTo>
                    <a:pt x="534" y="197"/>
                  </a:lnTo>
                  <a:lnTo>
                    <a:pt x="535" y="192"/>
                  </a:lnTo>
                  <a:lnTo>
                    <a:pt x="533" y="187"/>
                  </a:lnTo>
                  <a:lnTo>
                    <a:pt x="468" y="76"/>
                  </a:lnTo>
                  <a:lnTo>
                    <a:pt x="467" y="74"/>
                  </a:lnTo>
                  <a:lnTo>
                    <a:pt x="465" y="72"/>
                  </a:lnTo>
                  <a:lnTo>
                    <a:pt x="463" y="71"/>
                  </a:lnTo>
                  <a:lnTo>
                    <a:pt x="461" y="70"/>
                  </a:lnTo>
                  <a:lnTo>
                    <a:pt x="455" y="70"/>
                  </a:lnTo>
                  <a:lnTo>
                    <a:pt x="451" y="71"/>
                  </a:lnTo>
                  <a:lnTo>
                    <a:pt x="409" y="96"/>
                  </a:lnTo>
                  <a:lnTo>
                    <a:pt x="395" y="85"/>
                  </a:lnTo>
                  <a:lnTo>
                    <a:pt x="380" y="74"/>
                  </a:lnTo>
                  <a:lnTo>
                    <a:pt x="364" y="66"/>
                  </a:lnTo>
                  <a:lnTo>
                    <a:pt x="347" y="59"/>
                  </a:lnTo>
                  <a:lnTo>
                    <a:pt x="347" y="13"/>
                  </a:lnTo>
                  <a:lnTo>
                    <a:pt x="346" y="8"/>
                  </a:lnTo>
                  <a:lnTo>
                    <a:pt x="342" y="4"/>
                  </a:lnTo>
                  <a:lnTo>
                    <a:pt x="338" y="1"/>
                  </a:lnTo>
                  <a:lnTo>
                    <a:pt x="334" y="0"/>
                  </a:lnTo>
                  <a:lnTo>
                    <a:pt x="205" y="0"/>
                  </a:lnTo>
                  <a:lnTo>
                    <a:pt x="200" y="1"/>
                  </a:lnTo>
                  <a:lnTo>
                    <a:pt x="196" y="4"/>
                  </a:lnTo>
                  <a:lnTo>
                    <a:pt x="193" y="8"/>
                  </a:lnTo>
                  <a:lnTo>
                    <a:pt x="192" y="13"/>
                  </a:lnTo>
                  <a:lnTo>
                    <a:pt x="192" y="59"/>
                  </a:lnTo>
                  <a:lnTo>
                    <a:pt x="175" y="66"/>
                  </a:lnTo>
                  <a:lnTo>
                    <a:pt x="159" y="73"/>
                  </a:lnTo>
                  <a:lnTo>
                    <a:pt x="143" y="84"/>
                  </a:lnTo>
                  <a:lnTo>
                    <a:pt x="127" y="96"/>
                  </a:lnTo>
                  <a:lnTo>
                    <a:pt x="84" y="71"/>
                  </a:lnTo>
                  <a:lnTo>
                    <a:pt x="78" y="70"/>
                  </a:lnTo>
                  <a:lnTo>
                    <a:pt x="74" y="70"/>
                  </a:lnTo>
                  <a:lnTo>
                    <a:pt x="70" y="72"/>
                  </a:lnTo>
                  <a:lnTo>
                    <a:pt x="67" y="76"/>
                  </a:lnTo>
                  <a:lnTo>
                    <a:pt x="2" y="187"/>
                  </a:lnTo>
                  <a:lnTo>
                    <a:pt x="0" y="191"/>
                  </a:lnTo>
                  <a:lnTo>
                    <a:pt x="0" y="197"/>
                  </a:lnTo>
                  <a:lnTo>
                    <a:pt x="2" y="201"/>
                  </a:lnTo>
                  <a:lnTo>
                    <a:pt x="6" y="205"/>
                  </a:lnTo>
                  <a:lnTo>
                    <a:pt x="49" y="229"/>
                  </a:lnTo>
                  <a:lnTo>
                    <a:pt x="47" y="238"/>
                  </a:lnTo>
                  <a:lnTo>
                    <a:pt x="46" y="248"/>
                  </a:lnTo>
                  <a:lnTo>
                    <a:pt x="46" y="257"/>
                  </a:lnTo>
                  <a:lnTo>
                    <a:pt x="46" y="266"/>
                  </a:lnTo>
                  <a:lnTo>
                    <a:pt x="46" y="276"/>
                  </a:lnTo>
                  <a:lnTo>
                    <a:pt x="46" y="285"/>
                  </a:lnTo>
                  <a:lnTo>
                    <a:pt x="47" y="294"/>
                  </a:lnTo>
                  <a:lnTo>
                    <a:pt x="48" y="303"/>
                  </a:lnTo>
                  <a:lnTo>
                    <a:pt x="6" y="329"/>
                  </a:lnTo>
                  <a:lnTo>
                    <a:pt x="2" y="332"/>
                  </a:lnTo>
                  <a:lnTo>
                    <a:pt x="0" y="335"/>
                  </a:lnTo>
                  <a:lnTo>
                    <a:pt x="0" y="340"/>
                  </a:lnTo>
                  <a:lnTo>
                    <a:pt x="1" y="345"/>
                  </a:lnTo>
                  <a:lnTo>
                    <a:pt x="65" y="457"/>
                  </a:lnTo>
                  <a:lnTo>
                    <a:pt x="69" y="461"/>
                  </a:lnTo>
                  <a:lnTo>
                    <a:pt x="73" y="463"/>
                  </a:lnTo>
                  <a:lnTo>
                    <a:pt x="78" y="463"/>
                  </a:lnTo>
                  <a:lnTo>
                    <a:pt x="83" y="461"/>
                  </a:lnTo>
                  <a:lnTo>
                    <a:pt x="127" y="437"/>
                  </a:lnTo>
                  <a:lnTo>
                    <a:pt x="143" y="449"/>
                  </a:lnTo>
                  <a:lnTo>
                    <a:pt x="159" y="459"/>
                  </a:lnTo>
                  <a:lnTo>
                    <a:pt x="175" y="467"/>
                  </a:lnTo>
                  <a:lnTo>
                    <a:pt x="192" y="474"/>
                  </a:lnTo>
                  <a:lnTo>
                    <a:pt x="192" y="523"/>
                  </a:lnTo>
                  <a:lnTo>
                    <a:pt x="193" y="528"/>
                  </a:lnTo>
                  <a:lnTo>
                    <a:pt x="196" y="533"/>
                  </a:lnTo>
                  <a:lnTo>
                    <a:pt x="200" y="535"/>
                  </a:lnTo>
                  <a:lnTo>
                    <a:pt x="205" y="536"/>
                  </a:lnTo>
                  <a:lnTo>
                    <a:pt x="334" y="536"/>
                  </a:lnTo>
                  <a:lnTo>
                    <a:pt x="338" y="535"/>
                  </a:lnTo>
                  <a:lnTo>
                    <a:pt x="342" y="533"/>
                  </a:lnTo>
                  <a:lnTo>
                    <a:pt x="346" y="528"/>
                  </a:lnTo>
                  <a:lnTo>
                    <a:pt x="347" y="523"/>
                  </a:lnTo>
                  <a:lnTo>
                    <a:pt x="347" y="474"/>
                  </a:lnTo>
                  <a:lnTo>
                    <a:pt x="355" y="470"/>
                  </a:lnTo>
                  <a:lnTo>
                    <a:pt x="364" y="467"/>
                  </a:lnTo>
                  <a:lnTo>
                    <a:pt x="373" y="463"/>
                  </a:lnTo>
                  <a:lnTo>
                    <a:pt x="380" y="459"/>
                  </a:lnTo>
                  <a:lnTo>
                    <a:pt x="395" y="449"/>
                  </a:lnTo>
                  <a:lnTo>
                    <a:pt x="409" y="437"/>
                  </a:lnTo>
                  <a:lnTo>
                    <a:pt x="452" y="461"/>
                  </a:lnTo>
                  <a:lnTo>
                    <a:pt x="454" y="463"/>
                  </a:lnTo>
                  <a:lnTo>
                    <a:pt x="456" y="463"/>
                  </a:lnTo>
                  <a:lnTo>
                    <a:pt x="458" y="463"/>
                  </a:lnTo>
                  <a:lnTo>
                    <a:pt x="462" y="462"/>
                  </a:lnTo>
                  <a:lnTo>
                    <a:pt x="464" y="462"/>
                  </a:lnTo>
                  <a:lnTo>
                    <a:pt x="466" y="461"/>
                  </a:lnTo>
                  <a:lnTo>
                    <a:pt x="467" y="459"/>
                  </a:lnTo>
                  <a:lnTo>
                    <a:pt x="469" y="457"/>
                  </a:lnTo>
                  <a:lnTo>
                    <a:pt x="533" y="345"/>
                  </a:lnTo>
                  <a:lnTo>
                    <a:pt x="535" y="340"/>
                  </a:lnTo>
                  <a:lnTo>
                    <a:pt x="535" y="335"/>
                  </a:lnTo>
                  <a:lnTo>
                    <a:pt x="533" y="332"/>
                  </a:lnTo>
                  <a:lnTo>
                    <a:pt x="528" y="3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23" name="Freeform 64"/>
            <p:cNvSpPr>
              <a:spLocks noEditPoints="1"/>
            </p:cNvSpPr>
            <p:nvPr/>
          </p:nvSpPr>
          <p:spPr bwMode="auto">
            <a:xfrm>
              <a:off x="1727201" y="3240088"/>
              <a:ext cx="122238" cy="125413"/>
            </a:xfrm>
            <a:custGeom>
              <a:avLst/>
              <a:gdLst>
                <a:gd name="T0" fmla="*/ 235 w 308"/>
                <a:gd name="T1" fmla="*/ 227 h 315"/>
                <a:gd name="T2" fmla="*/ 223 w 308"/>
                <a:gd name="T3" fmla="*/ 229 h 315"/>
                <a:gd name="T4" fmla="*/ 195 w 308"/>
                <a:gd name="T5" fmla="*/ 248 h 315"/>
                <a:gd name="T6" fmla="*/ 178 w 308"/>
                <a:gd name="T7" fmla="*/ 257 h 315"/>
                <a:gd name="T8" fmla="*/ 176 w 308"/>
                <a:gd name="T9" fmla="*/ 289 h 315"/>
                <a:gd name="T10" fmla="*/ 136 w 308"/>
                <a:gd name="T11" fmla="*/ 260 h 315"/>
                <a:gd name="T12" fmla="*/ 129 w 308"/>
                <a:gd name="T13" fmla="*/ 253 h 315"/>
                <a:gd name="T14" fmla="*/ 95 w 308"/>
                <a:gd name="T15" fmla="*/ 237 h 315"/>
                <a:gd name="T16" fmla="*/ 79 w 308"/>
                <a:gd name="T17" fmla="*/ 226 h 315"/>
                <a:gd name="T18" fmla="*/ 50 w 308"/>
                <a:gd name="T19" fmla="*/ 240 h 315"/>
                <a:gd name="T20" fmla="*/ 55 w 308"/>
                <a:gd name="T21" fmla="*/ 192 h 315"/>
                <a:gd name="T22" fmla="*/ 58 w 308"/>
                <a:gd name="T23" fmla="*/ 180 h 315"/>
                <a:gd name="T24" fmla="*/ 56 w 308"/>
                <a:gd name="T25" fmla="*/ 145 h 315"/>
                <a:gd name="T26" fmla="*/ 57 w 308"/>
                <a:gd name="T27" fmla="*/ 126 h 315"/>
                <a:gd name="T28" fmla="*/ 31 w 308"/>
                <a:gd name="T29" fmla="*/ 108 h 315"/>
                <a:gd name="T30" fmla="*/ 76 w 308"/>
                <a:gd name="T31" fmla="*/ 87 h 315"/>
                <a:gd name="T32" fmla="*/ 87 w 308"/>
                <a:gd name="T33" fmla="*/ 84 h 315"/>
                <a:gd name="T34" fmla="*/ 117 w 308"/>
                <a:gd name="T35" fmla="*/ 66 h 315"/>
                <a:gd name="T36" fmla="*/ 135 w 308"/>
                <a:gd name="T37" fmla="*/ 57 h 315"/>
                <a:gd name="T38" fmla="*/ 137 w 308"/>
                <a:gd name="T39" fmla="*/ 25 h 315"/>
                <a:gd name="T40" fmla="*/ 176 w 308"/>
                <a:gd name="T41" fmla="*/ 53 h 315"/>
                <a:gd name="T42" fmla="*/ 185 w 308"/>
                <a:gd name="T43" fmla="*/ 62 h 315"/>
                <a:gd name="T44" fmla="*/ 215 w 308"/>
                <a:gd name="T45" fmla="*/ 77 h 315"/>
                <a:gd name="T46" fmla="*/ 231 w 308"/>
                <a:gd name="T47" fmla="*/ 88 h 315"/>
                <a:gd name="T48" fmla="*/ 259 w 308"/>
                <a:gd name="T49" fmla="*/ 76 h 315"/>
                <a:gd name="T50" fmla="*/ 254 w 308"/>
                <a:gd name="T51" fmla="*/ 123 h 315"/>
                <a:gd name="T52" fmla="*/ 251 w 308"/>
                <a:gd name="T53" fmla="*/ 134 h 315"/>
                <a:gd name="T54" fmla="*/ 253 w 308"/>
                <a:gd name="T55" fmla="*/ 169 h 315"/>
                <a:gd name="T56" fmla="*/ 252 w 308"/>
                <a:gd name="T57" fmla="*/ 188 h 315"/>
                <a:gd name="T58" fmla="*/ 278 w 308"/>
                <a:gd name="T59" fmla="*/ 207 h 315"/>
                <a:gd name="T60" fmla="*/ 278 w 308"/>
                <a:gd name="T61" fmla="*/ 178 h 315"/>
                <a:gd name="T62" fmla="*/ 279 w 308"/>
                <a:gd name="T63" fmla="*/ 148 h 315"/>
                <a:gd name="T64" fmla="*/ 304 w 308"/>
                <a:gd name="T65" fmla="*/ 123 h 315"/>
                <a:gd name="T66" fmla="*/ 308 w 308"/>
                <a:gd name="T67" fmla="*/ 116 h 315"/>
                <a:gd name="T68" fmla="*/ 275 w 308"/>
                <a:gd name="T69" fmla="*/ 51 h 315"/>
                <a:gd name="T70" fmla="*/ 269 w 308"/>
                <a:gd name="T71" fmla="*/ 46 h 315"/>
                <a:gd name="T72" fmla="*/ 256 w 308"/>
                <a:gd name="T73" fmla="*/ 46 h 315"/>
                <a:gd name="T74" fmla="*/ 218 w 308"/>
                <a:gd name="T75" fmla="*/ 49 h 315"/>
                <a:gd name="T76" fmla="*/ 202 w 308"/>
                <a:gd name="T77" fmla="*/ 13 h 315"/>
                <a:gd name="T78" fmla="*/ 193 w 308"/>
                <a:gd name="T79" fmla="*/ 2 h 315"/>
                <a:gd name="T80" fmla="*/ 119 w 308"/>
                <a:gd name="T81" fmla="*/ 2 h 315"/>
                <a:gd name="T82" fmla="*/ 112 w 308"/>
                <a:gd name="T83" fmla="*/ 13 h 315"/>
                <a:gd name="T84" fmla="*/ 93 w 308"/>
                <a:gd name="T85" fmla="*/ 50 h 315"/>
                <a:gd name="T86" fmla="*/ 52 w 308"/>
                <a:gd name="T87" fmla="*/ 46 h 315"/>
                <a:gd name="T88" fmla="*/ 37 w 308"/>
                <a:gd name="T89" fmla="*/ 47 h 315"/>
                <a:gd name="T90" fmla="*/ 1 w 308"/>
                <a:gd name="T91" fmla="*/ 111 h 315"/>
                <a:gd name="T92" fmla="*/ 3 w 308"/>
                <a:gd name="T93" fmla="*/ 121 h 315"/>
                <a:gd name="T94" fmla="*/ 31 w 308"/>
                <a:gd name="T95" fmla="*/ 138 h 315"/>
                <a:gd name="T96" fmla="*/ 30 w 308"/>
                <a:gd name="T97" fmla="*/ 167 h 315"/>
                <a:gd name="T98" fmla="*/ 4 w 308"/>
                <a:gd name="T99" fmla="*/ 193 h 315"/>
                <a:gd name="T100" fmla="*/ 1 w 308"/>
                <a:gd name="T101" fmla="*/ 199 h 315"/>
                <a:gd name="T102" fmla="*/ 34 w 308"/>
                <a:gd name="T103" fmla="*/ 263 h 315"/>
                <a:gd name="T104" fmla="*/ 46 w 308"/>
                <a:gd name="T105" fmla="*/ 270 h 315"/>
                <a:gd name="T106" fmla="*/ 85 w 308"/>
                <a:gd name="T107" fmla="*/ 259 h 315"/>
                <a:gd name="T108" fmla="*/ 112 w 308"/>
                <a:gd name="T109" fmla="*/ 274 h 315"/>
                <a:gd name="T110" fmla="*/ 116 w 308"/>
                <a:gd name="T111" fmla="*/ 311 h 315"/>
                <a:gd name="T112" fmla="*/ 189 w 308"/>
                <a:gd name="T113" fmla="*/ 315 h 315"/>
                <a:gd name="T114" fmla="*/ 201 w 308"/>
                <a:gd name="T115" fmla="*/ 306 h 315"/>
                <a:gd name="T116" fmla="*/ 210 w 308"/>
                <a:gd name="T117" fmla="*/ 270 h 315"/>
                <a:gd name="T118" fmla="*/ 234 w 308"/>
                <a:gd name="T119" fmla="*/ 255 h 315"/>
                <a:gd name="T120" fmla="*/ 267 w 308"/>
                <a:gd name="T121" fmla="*/ 270 h 315"/>
                <a:gd name="T122" fmla="*/ 307 w 308"/>
                <a:gd name="T123" fmla="*/ 208 h 315"/>
                <a:gd name="T124" fmla="*/ 306 w 308"/>
                <a:gd name="T125" fmla="*/ 194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8" h="315">
                  <a:moveTo>
                    <a:pt x="260" y="240"/>
                  </a:moveTo>
                  <a:lnTo>
                    <a:pt x="239" y="228"/>
                  </a:lnTo>
                  <a:lnTo>
                    <a:pt x="235" y="227"/>
                  </a:lnTo>
                  <a:lnTo>
                    <a:pt x="231" y="226"/>
                  </a:lnTo>
                  <a:lnTo>
                    <a:pt x="227" y="227"/>
                  </a:lnTo>
                  <a:lnTo>
                    <a:pt x="223" y="229"/>
                  </a:lnTo>
                  <a:lnTo>
                    <a:pt x="215" y="237"/>
                  </a:lnTo>
                  <a:lnTo>
                    <a:pt x="205" y="243"/>
                  </a:lnTo>
                  <a:lnTo>
                    <a:pt x="195" y="248"/>
                  </a:lnTo>
                  <a:lnTo>
                    <a:pt x="185" y="253"/>
                  </a:lnTo>
                  <a:lnTo>
                    <a:pt x="181" y="255"/>
                  </a:lnTo>
                  <a:lnTo>
                    <a:pt x="178" y="257"/>
                  </a:lnTo>
                  <a:lnTo>
                    <a:pt x="177" y="260"/>
                  </a:lnTo>
                  <a:lnTo>
                    <a:pt x="176" y="265"/>
                  </a:lnTo>
                  <a:lnTo>
                    <a:pt x="176" y="289"/>
                  </a:lnTo>
                  <a:lnTo>
                    <a:pt x="137" y="289"/>
                  </a:lnTo>
                  <a:lnTo>
                    <a:pt x="137" y="265"/>
                  </a:lnTo>
                  <a:lnTo>
                    <a:pt x="136" y="260"/>
                  </a:lnTo>
                  <a:lnTo>
                    <a:pt x="135" y="257"/>
                  </a:lnTo>
                  <a:lnTo>
                    <a:pt x="132" y="255"/>
                  </a:lnTo>
                  <a:lnTo>
                    <a:pt x="129" y="253"/>
                  </a:lnTo>
                  <a:lnTo>
                    <a:pt x="117" y="248"/>
                  </a:lnTo>
                  <a:lnTo>
                    <a:pt x="105" y="243"/>
                  </a:lnTo>
                  <a:lnTo>
                    <a:pt x="95" y="237"/>
                  </a:lnTo>
                  <a:lnTo>
                    <a:pt x="87" y="229"/>
                  </a:lnTo>
                  <a:lnTo>
                    <a:pt x="84" y="227"/>
                  </a:lnTo>
                  <a:lnTo>
                    <a:pt x="79" y="226"/>
                  </a:lnTo>
                  <a:lnTo>
                    <a:pt x="76" y="227"/>
                  </a:lnTo>
                  <a:lnTo>
                    <a:pt x="72" y="228"/>
                  </a:lnTo>
                  <a:lnTo>
                    <a:pt x="50" y="240"/>
                  </a:lnTo>
                  <a:lnTo>
                    <a:pt x="30" y="207"/>
                  </a:lnTo>
                  <a:lnTo>
                    <a:pt x="51" y="194"/>
                  </a:lnTo>
                  <a:lnTo>
                    <a:pt x="55" y="192"/>
                  </a:lnTo>
                  <a:lnTo>
                    <a:pt x="57" y="188"/>
                  </a:lnTo>
                  <a:lnTo>
                    <a:pt x="58" y="184"/>
                  </a:lnTo>
                  <a:lnTo>
                    <a:pt x="58" y="180"/>
                  </a:lnTo>
                  <a:lnTo>
                    <a:pt x="56" y="168"/>
                  </a:lnTo>
                  <a:lnTo>
                    <a:pt x="55" y="157"/>
                  </a:lnTo>
                  <a:lnTo>
                    <a:pt x="56" y="145"/>
                  </a:lnTo>
                  <a:lnTo>
                    <a:pt x="58" y="134"/>
                  </a:lnTo>
                  <a:lnTo>
                    <a:pt x="58" y="130"/>
                  </a:lnTo>
                  <a:lnTo>
                    <a:pt x="57" y="126"/>
                  </a:lnTo>
                  <a:lnTo>
                    <a:pt x="55" y="123"/>
                  </a:lnTo>
                  <a:lnTo>
                    <a:pt x="51" y="120"/>
                  </a:lnTo>
                  <a:lnTo>
                    <a:pt x="31" y="108"/>
                  </a:lnTo>
                  <a:lnTo>
                    <a:pt x="50" y="73"/>
                  </a:lnTo>
                  <a:lnTo>
                    <a:pt x="72" y="86"/>
                  </a:lnTo>
                  <a:lnTo>
                    <a:pt x="76" y="87"/>
                  </a:lnTo>
                  <a:lnTo>
                    <a:pt x="79" y="87"/>
                  </a:lnTo>
                  <a:lnTo>
                    <a:pt x="84" y="86"/>
                  </a:lnTo>
                  <a:lnTo>
                    <a:pt x="87" y="84"/>
                  </a:lnTo>
                  <a:lnTo>
                    <a:pt x="95" y="78"/>
                  </a:lnTo>
                  <a:lnTo>
                    <a:pt x="105" y="71"/>
                  </a:lnTo>
                  <a:lnTo>
                    <a:pt x="117" y="66"/>
                  </a:lnTo>
                  <a:lnTo>
                    <a:pt x="129" y="62"/>
                  </a:lnTo>
                  <a:lnTo>
                    <a:pt x="132" y="59"/>
                  </a:lnTo>
                  <a:lnTo>
                    <a:pt x="135" y="57"/>
                  </a:lnTo>
                  <a:lnTo>
                    <a:pt x="136" y="53"/>
                  </a:lnTo>
                  <a:lnTo>
                    <a:pt x="137" y="50"/>
                  </a:lnTo>
                  <a:lnTo>
                    <a:pt x="137" y="25"/>
                  </a:lnTo>
                  <a:lnTo>
                    <a:pt x="176" y="25"/>
                  </a:lnTo>
                  <a:lnTo>
                    <a:pt x="176" y="50"/>
                  </a:lnTo>
                  <a:lnTo>
                    <a:pt x="176" y="53"/>
                  </a:lnTo>
                  <a:lnTo>
                    <a:pt x="178" y="57"/>
                  </a:lnTo>
                  <a:lnTo>
                    <a:pt x="181" y="59"/>
                  </a:lnTo>
                  <a:lnTo>
                    <a:pt x="185" y="62"/>
                  </a:lnTo>
                  <a:lnTo>
                    <a:pt x="195" y="66"/>
                  </a:lnTo>
                  <a:lnTo>
                    <a:pt x="205" y="71"/>
                  </a:lnTo>
                  <a:lnTo>
                    <a:pt x="215" y="77"/>
                  </a:lnTo>
                  <a:lnTo>
                    <a:pt x="223" y="84"/>
                  </a:lnTo>
                  <a:lnTo>
                    <a:pt x="227" y="87"/>
                  </a:lnTo>
                  <a:lnTo>
                    <a:pt x="231" y="88"/>
                  </a:lnTo>
                  <a:lnTo>
                    <a:pt x="235" y="88"/>
                  </a:lnTo>
                  <a:lnTo>
                    <a:pt x="239" y="86"/>
                  </a:lnTo>
                  <a:lnTo>
                    <a:pt x="259" y="76"/>
                  </a:lnTo>
                  <a:lnTo>
                    <a:pt x="278" y="108"/>
                  </a:lnTo>
                  <a:lnTo>
                    <a:pt x="258" y="120"/>
                  </a:lnTo>
                  <a:lnTo>
                    <a:pt x="254" y="123"/>
                  </a:lnTo>
                  <a:lnTo>
                    <a:pt x="252" y="126"/>
                  </a:lnTo>
                  <a:lnTo>
                    <a:pt x="251" y="130"/>
                  </a:lnTo>
                  <a:lnTo>
                    <a:pt x="251" y="134"/>
                  </a:lnTo>
                  <a:lnTo>
                    <a:pt x="253" y="145"/>
                  </a:lnTo>
                  <a:lnTo>
                    <a:pt x="254" y="157"/>
                  </a:lnTo>
                  <a:lnTo>
                    <a:pt x="253" y="169"/>
                  </a:lnTo>
                  <a:lnTo>
                    <a:pt x="251" y="180"/>
                  </a:lnTo>
                  <a:lnTo>
                    <a:pt x="251" y="184"/>
                  </a:lnTo>
                  <a:lnTo>
                    <a:pt x="252" y="188"/>
                  </a:lnTo>
                  <a:lnTo>
                    <a:pt x="254" y="192"/>
                  </a:lnTo>
                  <a:lnTo>
                    <a:pt x="258" y="194"/>
                  </a:lnTo>
                  <a:lnTo>
                    <a:pt x="278" y="207"/>
                  </a:lnTo>
                  <a:lnTo>
                    <a:pt x="260" y="240"/>
                  </a:lnTo>
                  <a:close/>
                  <a:moveTo>
                    <a:pt x="302" y="192"/>
                  </a:moveTo>
                  <a:lnTo>
                    <a:pt x="278" y="178"/>
                  </a:lnTo>
                  <a:lnTo>
                    <a:pt x="279" y="167"/>
                  </a:lnTo>
                  <a:lnTo>
                    <a:pt x="279" y="157"/>
                  </a:lnTo>
                  <a:lnTo>
                    <a:pt x="279" y="148"/>
                  </a:lnTo>
                  <a:lnTo>
                    <a:pt x="278" y="138"/>
                  </a:lnTo>
                  <a:lnTo>
                    <a:pt x="302" y="124"/>
                  </a:lnTo>
                  <a:lnTo>
                    <a:pt x="304" y="123"/>
                  </a:lnTo>
                  <a:lnTo>
                    <a:pt x="306" y="121"/>
                  </a:lnTo>
                  <a:lnTo>
                    <a:pt x="307" y="119"/>
                  </a:lnTo>
                  <a:lnTo>
                    <a:pt x="308" y="116"/>
                  </a:lnTo>
                  <a:lnTo>
                    <a:pt x="308" y="111"/>
                  </a:lnTo>
                  <a:lnTo>
                    <a:pt x="306" y="106"/>
                  </a:lnTo>
                  <a:lnTo>
                    <a:pt x="275" y="51"/>
                  </a:lnTo>
                  <a:lnTo>
                    <a:pt x="273" y="49"/>
                  </a:lnTo>
                  <a:lnTo>
                    <a:pt x="271" y="47"/>
                  </a:lnTo>
                  <a:lnTo>
                    <a:pt x="269" y="46"/>
                  </a:lnTo>
                  <a:lnTo>
                    <a:pt x="266" y="44"/>
                  </a:lnTo>
                  <a:lnTo>
                    <a:pt x="262" y="44"/>
                  </a:lnTo>
                  <a:lnTo>
                    <a:pt x="256" y="46"/>
                  </a:lnTo>
                  <a:lnTo>
                    <a:pt x="234" y="59"/>
                  </a:lnTo>
                  <a:lnTo>
                    <a:pt x="226" y="54"/>
                  </a:lnTo>
                  <a:lnTo>
                    <a:pt x="218" y="49"/>
                  </a:lnTo>
                  <a:lnTo>
                    <a:pt x="210" y="44"/>
                  </a:lnTo>
                  <a:lnTo>
                    <a:pt x="202" y="41"/>
                  </a:lnTo>
                  <a:lnTo>
                    <a:pt x="202" y="13"/>
                  </a:lnTo>
                  <a:lnTo>
                    <a:pt x="201" y="8"/>
                  </a:lnTo>
                  <a:lnTo>
                    <a:pt x="197" y="4"/>
                  </a:lnTo>
                  <a:lnTo>
                    <a:pt x="193" y="2"/>
                  </a:lnTo>
                  <a:lnTo>
                    <a:pt x="189" y="0"/>
                  </a:lnTo>
                  <a:lnTo>
                    <a:pt x="124" y="0"/>
                  </a:lnTo>
                  <a:lnTo>
                    <a:pt x="119" y="2"/>
                  </a:lnTo>
                  <a:lnTo>
                    <a:pt x="116" y="4"/>
                  </a:lnTo>
                  <a:lnTo>
                    <a:pt x="113" y="8"/>
                  </a:lnTo>
                  <a:lnTo>
                    <a:pt x="112" y="13"/>
                  </a:lnTo>
                  <a:lnTo>
                    <a:pt x="112" y="41"/>
                  </a:lnTo>
                  <a:lnTo>
                    <a:pt x="102" y="44"/>
                  </a:lnTo>
                  <a:lnTo>
                    <a:pt x="93" y="50"/>
                  </a:lnTo>
                  <a:lnTo>
                    <a:pt x="85" y="54"/>
                  </a:lnTo>
                  <a:lnTo>
                    <a:pt x="77" y="59"/>
                  </a:lnTo>
                  <a:lnTo>
                    <a:pt x="52" y="46"/>
                  </a:lnTo>
                  <a:lnTo>
                    <a:pt x="47" y="44"/>
                  </a:lnTo>
                  <a:lnTo>
                    <a:pt x="43" y="44"/>
                  </a:lnTo>
                  <a:lnTo>
                    <a:pt x="37" y="47"/>
                  </a:lnTo>
                  <a:lnTo>
                    <a:pt x="34" y="51"/>
                  </a:lnTo>
                  <a:lnTo>
                    <a:pt x="2" y="106"/>
                  </a:lnTo>
                  <a:lnTo>
                    <a:pt x="1" y="111"/>
                  </a:lnTo>
                  <a:lnTo>
                    <a:pt x="1" y="116"/>
                  </a:lnTo>
                  <a:lnTo>
                    <a:pt x="2" y="119"/>
                  </a:lnTo>
                  <a:lnTo>
                    <a:pt x="3" y="121"/>
                  </a:lnTo>
                  <a:lnTo>
                    <a:pt x="5" y="123"/>
                  </a:lnTo>
                  <a:lnTo>
                    <a:pt x="7" y="124"/>
                  </a:lnTo>
                  <a:lnTo>
                    <a:pt x="31" y="138"/>
                  </a:lnTo>
                  <a:lnTo>
                    <a:pt x="30" y="148"/>
                  </a:lnTo>
                  <a:lnTo>
                    <a:pt x="29" y="157"/>
                  </a:lnTo>
                  <a:lnTo>
                    <a:pt x="30" y="167"/>
                  </a:lnTo>
                  <a:lnTo>
                    <a:pt x="31" y="178"/>
                  </a:lnTo>
                  <a:lnTo>
                    <a:pt x="6" y="192"/>
                  </a:lnTo>
                  <a:lnTo>
                    <a:pt x="4" y="193"/>
                  </a:lnTo>
                  <a:lnTo>
                    <a:pt x="3" y="194"/>
                  </a:lnTo>
                  <a:lnTo>
                    <a:pt x="2" y="196"/>
                  </a:lnTo>
                  <a:lnTo>
                    <a:pt x="1" y="199"/>
                  </a:lnTo>
                  <a:lnTo>
                    <a:pt x="0" y="203"/>
                  </a:lnTo>
                  <a:lnTo>
                    <a:pt x="2" y="208"/>
                  </a:lnTo>
                  <a:lnTo>
                    <a:pt x="34" y="263"/>
                  </a:lnTo>
                  <a:lnTo>
                    <a:pt x="37" y="268"/>
                  </a:lnTo>
                  <a:lnTo>
                    <a:pt x="42" y="270"/>
                  </a:lnTo>
                  <a:lnTo>
                    <a:pt x="46" y="270"/>
                  </a:lnTo>
                  <a:lnTo>
                    <a:pt x="51" y="269"/>
                  </a:lnTo>
                  <a:lnTo>
                    <a:pt x="77" y="254"/>
                  </a:lnTo>
                  <a:lnTo>
                    <a:pt x="85" y="259"/>
                  </a:lnTo>
                  <a:lnTo>
                    <a:pt x="93" y="266"/>
                  </a:lnTo>
                  <a:lnTo>
                    <a:pt x="102" y="270"/>
                  </a:lnTo>
                  <a:lnTo>
                    <a:pt x="112" y="274"/>
                  </a:lnTo>
                  <a:lnTo>
                    <a:pt x="112" y="302"/>
                  </a:lnTo>
                  <a:lnTo>
                    <a:pt x="113" y="306"/>
                  </a:lnTo>
                  <a:lnTo>
                    <a:pt x="116" y="311"/>
                  </a:lnTo>
                  <a:lnTo>
                    <a:pt x="119" y="314"/>
                  </a:lnTo>
                  <a:lnTo>
                    <a:pt x="124" y="315"/>
                  </a:lnTo>
                  <a:lnTo>
                    <a:pt x="189" y="315"/>
                  </a:lnTo>
                  <a:lnTo>
                    <a:pt x="193" y="314"/>
                  </a:lnTo>
                  <a:lnTo>
                    <a:pt x="197" y="311"/>
                  </a:lnTo>
                  <a:lnTo>
                    <a:pt x="201" y="306"/>
                  </a:lnTo>
                  <a:lnTo>
                    <a:pt x="202" y="302"/>
                  </a:lnTo>
                  <a:lnTo>
                    <a:pt x="202" y="274"/>
                  </a:lnTo>
                  <a:lnTo>
                    <a:pt x="210" y="270"/>
                  </a:lnTo>
                  <a:lnTo>
                    <a:pt x="218" y="266"/>
                  </a:lnTo>
                  <a:lnTo>
                    <a:pt x="226" y="260"/>
                  </a:lnTo>
                  <a:lnTo>
                    <a:pt x="234" y="255"/>
                  </a:lnTo>
                  <a:lnTo>
                    <a:pt x="258" y="268"/>
                  </a:lnTo>
                  <a:lnTo>
                    <a:pt x="262" y="270"/>
                  </a:lnTo>
                  <a:lnTo>
                    <a:pt x="267" y="270"/>
                  </a:lnTo>
                  <a:lnTo>
                    <a:pt x="271" y="268"/>
                  </a:lnTo>
                  <a:lnTo>
                    <a:pt x="275" y="263"/>
                  </a:lnTo>
                  <a:lnTo>
                    <a:pt x="307" y="208"/>
                  </a:lnTo>
                  <a:lnTo>
                    <a:pt x="308" y="202"/>
                  </a:lnTo>
                  <a:lnTo>
                    <a:pt x="308" y="198"/>
                  </a:lnTo>
                  <a:lnTo>
                    <a:pt x="306" y="194"/>
                  </a:lnTo>
                  <a:lnTo>
                    <a:pt x="30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grpSp>
      <p:cxnSp>
        <p:nvCxnSpPr>
          <p:cNvPr id="24" name="Straight Connector 23"/>
          <p:cNvCxnSpPr/>
          <p:nvPr/>
        </p:nvCxnSpPr>
        <p:spPr>
          <a:xfrm>
            <a:off x="4287704" y="3448088"/>
            <a:ext cx="0" cy="2165134"/>
          </a:xfrm>
          <a:prstGeom prst="line">
            <a:avLst/>
          </a:prstGeom>
          <a:ln>
            <a:solidFill>
              <a:schemeClr val="accent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Oval 25"/>
          <p:cNvSpPr/>
          <p:nvPr/>
        </p:nvSpPr>
        <p:spPr bwMode="gray">
          <a:xfrm>
            <a:off x="6393266" y="2408410"/>
            <a:ext cx="948701" cy="948701"/>
          </a:xfrm>
          <a:prstGeom prst="ellipse">
            <a:avLst/>
          </a:prstGeom>
          <a:gradFill>
            <a:gsLst>
              <a:gs pos="100000">
                <a:schemeClr val="accent2"/>
              </a:gs>
              <a:gs pos="0">
                <a:schemeClr val="accent1"/>
              </a:gs>
            </a:gsLst>
            <a:lin ang="8100000" scaled="1"/>
          </a:gradFill>
          <a:ln>
            <a:noFill/>
          </a:ln>
          <a:effectLst>
            <a:outerShdw blurRad="1244600" dist="457200" dir="2220000" algn="tr" rotWithShape="0">
              <a:prstClr val="black">
                <a:alpha val="8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27" name="Group 26"/>
          <p:cNvGrpSpPr/>
          <p:nvPr/>
        </p:nvGrpSpPr>
        <p:grpSpPr>
          <a:xfrm>
            <a:off x="6737028" y="2723538"/>
            <a:ext cx="314325" cy="316072"/>
            <a:chOff x="10455275" y="2498725"/>
            <a:chExt cx="285750" cy="287338"/>
          </a:xfrm>
          <a:solidFill>
            <a:schemeClr val="bg1"/>
          </a:solidFill>
        </p:grpSpPr>
        <p:sp>
          <p:nvSpPr>
            <p:cNvPr id="29" name="Freeform 214"/>
            <p:cNvSpPr>
              <a:spLocks noEditPoints="1"/>
            </p:cNvSpPr>
            <p:nvPr/>
          </p:nvSpPr>
          <p:spPr bwMode="auto">
            <a:xfrm>
              <a:off x="10455275" y="2593975"/>
              <a:ext cx="285750" cy="192088"/>
            </a:xfrm>
            <a:custGeom>
              <a:avLst/>
              <a:gdLst>
                <a:gd name="T0" fmla="*/ 812 w 903"/>
                <a:gd name="T1" fmla="*/ 30 h 601"/>
                <a:gd name="T2" fmla="*/ 512 w 903"/>
                <a:gd name="T3" fmla="*/ 571 h 601"/>
                <a:gd name="T4" fmla="*/ 602 w 903"/>
                <a:gd name="T5" fmla="*/ 571 h 601"/>
                <a:gd name="T6" fmla="*/ 301 w 903"/>
                <a:gd name="T7" fmla="*/ 210 h 601"/>
                <a:gd name="T8" fmla="*/ 301 w 903"/>
                <a:gd name="T9" fmla="*/ 571 h 601"/>
                <a:gd name="T10" fmla="*/ 181 w 903"/>
                <a:gd name="T11" fmla="*/ 421 h 601"/>
                <a:gd name="T12" fmla="*/ 888 w 903"/>
                <a:gd name="T13" fmla="*/ 571 h 601"/>
                <a:gd name="T14" fmla="*/ 842 w 903"/>
                <a:gd name="T15" fmla="*/ 12 h 601"/>
                <a:gd name="T16" fmla="*/ 838 w 903"/>
                <a:gd name="T17" fmla="*/ 5 h 601"/>
                <a:gd name="T18" fmla="*/ 830 w 903"/>
                <a:gd name="T19" fmla="*/ 0 h 601"/>
                <a:gd name="T20" fmla="*/ 704 w 903"/>
                <a:gd name="T21" fmla="*/ 0 h 601"/>
                <a:gd name="T22" fmla="*/ 696 w 903"/>
                <a:gd name="T23" fmla="*/ 5 h 601"/>
                <a:gd name="T24" fmla="*/ 692 w 903"/>
                <a:gd name="T25" fmla="*/ 12 h 601"/>
                <a:gd name="T26" fmla="*/ 632 w 903"/>
                <a:gd name="T27" fmla="*/ 571 h 601"/>
                <a:gd name="T28" fmla="*/ 631 w 903"/>
                <a:gd name="T29" fmla="*/ 280 h 601"/>
                <a:gd name="T30" fmla="*/ 626 w 903"/>
                <a:gd name="T31" fmla="*/ 274 h 601"/>
                <a:gd name="T32" fmla="*/ 617 w 903"/>
                <a:gd name="T33" fmla="*/ 270 h 601"/>
                <a:gd name="T34" fmla="*/ 491 w 903"/>
                <a:gd name="T35" fmla="*/ 271 h 601"/>
                <a:gd name="T36" fmla="*/ 484 w 903"/>
                <a:gd name="T37" fmla="*/ 278 h 601"/>
                <a:gd name="T38" fmla="*/ 482 w 903"/>
                <a:gd name="T39" fmla="*/ 285 h 601"/>
                <a:gd name="T40" fmla="*/ 421 w 903"/>
                <a:gd name="T41" fmla="*/ 195 h 601"/>
                <a:gd name="T42" fmla="*/ 419 w 903"/>
                <a:gd name="T43" fmla="*/ 187 h 601"/>
                <a:gd name="T44" fmla="*/ 412 w 903"/>
                <a:gd name="T45" fmla="*/ 181 h 601"/>
                <a:gd name="T46" fmla="*/ 286 w 903"/>
                <a:gd name="T47" fmla="*/ 180 h 601"/>
                <a:gd name="T48" fmla="*/ 277 w 903"/>
                <a:gd name="T49" fmla="*/ 184 h 601"/>
                <a:gd name="T50" fmla="*/ 272 w 903"/>
                <a:gd name="T51" fmla="*/ 190 h 601"/>
                <a:gd name="T52" fmla="*/ 271 w 903"/>
                <a:gd name="T53" fmla="*/ 571 h 601"/>
                <a:gd name="T54" fmla="*/ 211 w 903"/>
                <a:gd name="T55" fmla="*/ 403 h 601"/>
                <a:gd name="T56" fmla="*/ 207 w 903"/>
                <a:gd name="T57" fmla="*/ 396 h 601"/>
                <a:gd name="T58" fmla="*/ 199 w 903"/>
                <a:gd name="T59" fmla="*/ 391 h 601"/>
                <a:gd name="T60" fmla="*/ 73 w 903"/>
                <a:gd name="T61" fmla="*/ 391 h 601"/>
                <a:gd name="T62" fmla="*/ 65 w 903"/>
                <a:gd name="T63" fmla="*/ 396 h 601"/>
                <a:gd name="T64" fmla="*/ 61 w 903"/>
                <a:gd name="T65" fmla="*/ 403 h 601"/>
                <a:gd name="T66" fmla="*/ 16 w 903"/>
                <a:gd name="T67" fmla="*/ 571 h 601"/>
                <a:gd name="T68" fmla="*/ 7 w 903"/>
                <a:gd name="T69" fmla="*/ 573 h 601"/>
                <a:gd name="T70" fmla="*/ 2 w 903"/>
                <a:gd name="T71" fmla="*/ 581 h 601"/>
                <a:gd name="T72" fmla="*/ 1 w 903"/>
                <a:gd name="T73" fmla="*/ 590 h 601"/>
                <a:gd name="T74" fmla="*/ 5 w 903"/>
                <a:gd name="T75" fmla="*/ 597 h 601"/>
                <a:gd name="T76" fmla="*/ 13 w 903"/>
                <a:gd name="T77" fmla="*/ 601 h 601"/>
                <a:gd name="T78" fmla="*/ 196 w 903"/>
                <a:gd name="T79" fmla="*/ 601 h 601"/>
                <a:gd name="T80" fmla="*/ 497 w 903"/>
                <a:gd name="T81" fmla="*/ 601 h 601"/>
                <a:gd name="T82" fmla="*/ 827 w 903"/>
                <a:gd name="T83" fmla="*/ 601 h 601"/>
                <a:gd name="T84" fmla="*/ 893 w 903"/>
                <a:gd name="T85" fmla="*/ 600 h 601"/>
                <a:gd name="T86" fmla="*/ 900 w 903"/>
                <a:gd name="T87" fmla="*/ 595 h 601"/>
                <a:gd name="T88" fmla="*/ 903 w 903"/>
                <a:gd name="T89" fmla="*/ 586 h 601"/>
                <a:gd name="T90" fmla="*/ 900 w 903"/>
                <a:gd name="T91" fmla="*/ 578 h 601"/>
                <a:gd name="T92" fmla="*/ 893 w 903"/>
                <a:gd name="T93" fmla="*/ 57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3" h="601">
                  <a:moveTo>
                    <a:pt x="722" y="571"/>
                  </a:moveTo>
                  <a:lnTo>
                    <a:pt x="722" y="30"/>
                  </a:lnTo>
                  <a:lnTo>
                    <a:pt x="812" y="30"/>
                  </a:lnTo>
                  <a:lnTo>
                    <a:pt x="812" y="571"/>
                  </a:lnTo>
                  <a:lnTo>
                    <a:pt x="722" y="571"/>
                  </a:lnTo>
                  <a:close/>
                  <a:moveTo>
                    <a:pt x="512" y="571"/>
                  </a:moveTo>
                  <a:lnTo>
                    <a:pt x="512" y="300"/>
                  </a:lnTo>
                  <a:lnTo>
                    <a:pt x="602" y="300"/>
                  </a:lnTo>
                  <a:lnTo>
                    <a:pt x="602" y="571"/>
                  </a:lnTo>
                  <a:lnTo>
                    <a:pt x="512" y="571"/>
                  </a:lnTo>
                  <a:close/>
                  <a:moveTo>
                    <a:pt x="301" y="571"/>
                  </a:moveTo>
                  <a:lnTo>
                    <a:pt x="301" y="210"/>
                  </a:lnTo>
                  <a:lnTo>
                    <a:pt x="391" y="210"/>
                  </a:lnTo>
                  <a:lnTo>
                    <a:pt x="391" y="571"/>
                  </a:lnTo>
                  <a:lnTo>
                    <a:pt x="301" y="571"/>
                  </a:lnTo>
                  <a:close/>
                  <a:moveTo>
                    <a:pt x="91" y="571"/>
                  </a:moveTo>
                  <a:lnTo>
                    <a:pt x="91" y="421"/>
                  </a:lnTo>
                  <a:lnTo>
                    <a:pt x="181" y="421"/>
                  </a:lnTo>
                  <a:lnTo>
                    <a:pt x="181" y="571"/>
                  </a:lnTo>
                  <a:lnTo>
                    <a:pt x="91" y="571"/>
                  </a:lnTo>
                  <a:close/>
                  <a:moveTo>
                    <a:pt x="888" y="571"/>
                  </a:moveTo>
                  <a:lnTo>
                    <a:pt x="842" y="571"/>
                  </a:lnTo>
                  <a:lnTo>
                    <a:pt x="842" y="15"/>
                  </a:lnTo>
                  <a:lnTo>
                    <a:pt x="842" y="12"/>
                  </a:lnTo>
                  <a:lnTo>
                    <a:pt x="841" y="9"/>
                  </a:lnTo>
                  <a:lnTo>
                    <a:pt x="840" y="7"/>
                  </a:lnTo>
                  <a:lnTo>
                    <a:pt x="838" y="5"/>
                  </a:lnTo>
                  <a:lnTo>
                    <a:pt x="836" y="3"/>
                  </a:lnTo>
                  <a:lnTo>
                    <a:pt x="833" y="1"/>
                  </a:lnTo>
                  <a:lnTo>
                    <a:pt x="830" y="0"/>
                  </a:lnTo>
                  <a:lnTo>
                    <a:pt x="827" y="0"/>
                  </a:lnTo>
                  <a:lnTo>
                    <a:pt x="707" y="0"/>
                  </a:lnTo>
                  <a:lnTo>
                    <a:pt x="704" y="0"/>
                  </a:lnTo>
                  <a:lnTo>
                    <a:pt x="702" y="1"/>
                  </a:lnTo>
                  <a:lnTo>
                    <a:pt x="698" y="3"/>
                  </a:lnTo>
                  <a:lnTo>
                    <a:pt x="696" y="5"/>
                  </a:lnTo>
                  <a:lnTo>
                    <a:pt x="694" y="7"/>
                  </a:lnTo>
                  <a:lnTo>
                    <a:pt x="693" y="9"/>
                  </a:lnTo>
                  <a:lnTo>
                    <a:pt x="692" y="12"/>
                  </a:lnTo>
                  <a:lnTo>
                    <a:pt x="692" y="15"/>
                  </a:lnTo>
                  <a:lnTo>
                    <a:pt x="692" y="571"/>
                  </a:lnTo>
                  <a:lnTo>
                    <a:pt x="632" y="571"/>
                  </a:lnTo>
                  <a:lnTo>
                    <a:pt x="632" y="285"/>
                  </a:lnTo>
                  <a:lnTo>
                    <a:pt x="632" y="283"/>
                  </a:lnTo>
                  <a:lnTo>
                    <a:pt x="631" y="280"/>
                  </a:lnTo>
                  <a:lnTo>
                    <a:pt x="630" y="278"/>
                  </a:lnTo>
                  <a:lnTo>
                    <a:pt x="628" y="275"/>
                  </a:lnTo>
                  <a:lnTo>
                    <a:pt x="626" y="274"/>
                  </a:lnTo>
                  <a:lnTo>
                    <a:pt x="622" y="271"/>
                  </a:lnTo>
                  <a:lnTo>
                    <a:pt x="620" y="271"/>
                  </a:lnTo>
                  <a:lnTo>
                    <a:pt x="617" y="270"/>
                  </a:lnTo>
                  <a:lnTo>
                    <a:pt x="497" y="270"/>
                  </a:lnTo>
                  <a:lnTo>
                    <a:pt x="494" y="271"/>
                  </a:lnTo>
                  <a:lnTo>
                    <a:pt x="491" y="271"/>
                  </a:lnTo>
                  <a:lnTo>
                    <a:pt x="488" y="274"/>
                  </a:lnTo>
                  <a:lnTo>
                    <a:pt x="486" y="275"/>
                  </a:lnTo>
                  <a:lnTo>
                    <a:pt x="484" y="278"/>
                  </a:lnTo>
                  <a:lnTo>
                    <a:pt x="483" y="280"/>
                  </a:lnTo>
                  <a:lnTo>
                    <a:pt x="482" y="283"/>
                  </a:lnTo>
                  <a:lnTo>
                    <a:pt x="482" y="285"/>
                  </a:lnTo>
                  <a:lnTo>
                    <a:pt x="482" y="571"/>
                  </a:lnTo>
                  <a:lnTo>
                    <a:pt x="421" y="571"/>
                  </a:lnTo>
                  <a:lnTo>
                    <a:pt x="421" y="195"/>
                  </a:lnTo>
                  <a:lnTo>
                    <a:pt x="421" y="192"/>
                  </a:lnTo>
                  <a:lnTo>
                    <a:pt x="420" y="190"/>
                  </a:lnTo>
                  <a:lnTo>
                    <a:pt x="419" y="187"/>
                  </a:lnTo>
                  <a:lnTo>
                    <a:pt x="417" y="185"/>
                  </a:lnTo>
                  <a:lnTo>
                    <a:pt x="415" y="184"/>
                  </a:lnTo>
                  <a:lnTo>
                    <a:pt x="412" y="181"/>
                  </a:lnTo>
                  <a:lnTo>
                    <a:pt x="409" y="180"/>
                  </a:lnTo>
                  <a:lnTo>
                    <a:pt x="406" y="180"/>
                  </a:lnTo>
                  <a:lnTo>
                    <a:pt x="286" y="180"/>
                  </a:lnTo>
                  <a:lnTo>
                    <a:pt x="283" y="180"/>
                  </a:lnTo>
                  <a:lnTo>
                    <a:pt x="281" y="181"/>
                  </a:lnTo>
                  <a:lnTo>
                    <a:pt x="277" y="184"/>
                  </a:lnTo>
                  <a:lnTo>
                    <a:pt x="275" y="185"/>
                  </a:lnTo>
                  <a:lnTo>
                    <a:pt x="274" y="187"/>
                  </a:lnTo>
                  <a:lnTo>
                    <a:pt x="272" y="190"/>
                  </a:lnTo>
                  <a:lnTo>
                    <a:pt x="271" y="192"/>
                  </a:lnTo>
                  <a:lnTo>
                    <a:pt x="271" y="195"/>
                  </a:lnTo>
                  <a:lnTo>
                    <a:pt x="271" y="571"/>
                  </a:lnTo>
                  <a:lnTo>
                    <a:pt x="211" y="571"/>
                  </a:lnTo>
                  <a:lnTo>
                    <a:pt x="211" y="406"/>
                  </a:lnTo>
                  <a:lnTo>
                    <a:pt x="211" y="403"/>
                  </a:lnTo>
                  <a:lnTo>
                    <a:pt x="210" y="400"/>
                  </a:lnTo>
                  <a:lnTo>
                    <a:pt x="209" y="398"/>
                  </a:lnTo>
                  <a:lnTo>
                    <a:pt x="207" y="396"/>
                  </a:lnTo>
                  <a:lnTo>
                    <a:pt x="205" y="394"/>
                  </a:lnTo>
                  <a:lnTo>
                    <a:pt x="201" y="392"/>
                  </a:lnTo>
                  <a:lnTo>
                    <a:pt x="199" y="391"/>
                  </a:lnTo>
                  <a:lnTo>
                    <a:pt x="196" y="391"/>
                  </a:lnTo>
                  <a:lnTo>
                    <a:pt x="76" y="391"/>
                  </a:lnTo>
                  <a:lnTo>
                    <a:pt x="73" y="391"/>
                  </a:lnTo>
                  <a:lnTo>
                    <a:pt x="70" y="392"/>
                  </a:lnTo>
                  <a:lnTo>
                    <a:pt x="67" y="394"/>
                  </a:lnTo>
                  <a:lnTo>
                    <a:pt x="65" y="396"/>
                  </a:lnTo>
                  <a:lnTo>
                    <a:pt x="63" y="398"/>
                  </a:lnTo>
                  <a:lnTo>
                    <a:pt x="62" y="400"/>
                  </a:lnTo>
                  <a:lnTo>
                    <a:pt x="61" y="403"/>
                  </a:lnTo>
                  <a:lnTo>
                    <a:pt x="61" y="406"/>
                  </a:lnTo>
                  <a:lnTo>
                    <a:pt x="61" y="571"/>
                  </a:lnTo>
                  <a:lnTo>
                    <a:pt x="16" y="571"/>
                  </a:lnTo>
                  <a:lnTo>
                    <a:pt x="13" y="571"/>
                  </a:lnTo>
                  <a:lnTo>
                    <a:pt x="10" y="572"/>
                  </a:lnTo>
                  <a:lnTo>
                    <a:pt x="7" y="573"/>
                  </a:lnTo>
                  <a:lnTo>
                    <a:pt x="5" y="576"/>
                  </a:lnTo>
                  <a:lnTo>
                    <a:pt x="3" y="578"/>
                  </a:lnTo>
                  <a:lnTo>
                    <a:pt x="2" y="581"/>
                  </a:lnTo>
                  <a:lnTo>
                    <a:pt x="1" y="583"/>
                  </a:lnTo>
                  <a:lnTo>
                    <a:pt x="0" y="586"/>
                  </a:lnTo>
                  <a:lnTo>
                    <a:pt x="1" y="590"/>
                  </a:lnTo>
                  <a:lnTo>
                    <a:pt x="2" y="593"/>
                  </a:lnTo>
                  <a:lnTo>
                    <a:pt x="3" y="595"/>
                  </a:lnTo>
                  <a:lnTo>
                    <a:pt x="5" y="597"/>
                  </a:lnTo>
                  <a:lnTo>
                    <a:pt x="7" y="599"/>
                  </a:lnTo>
                  <a:lnTo>
                    <a:pt x="10" y="600"/>
                  </a:lnTo>
                  <a:lnTo>
                    <a:pt x="13" y="601"/>
                  </a:lnTo>
                  <a:lnTo>
                    <a:pt x="16" y="601"/>
                  </a:lnTo>
                  <a:lnTo>
                    <a:pt x="76" y="601"/>
                  </a:lnTo>
                  <a:lnTo>
                    <a:pt x="196" y="601"/>
                  </a:lnTo>
                  <a:lnTo>
                    <a:pt x="286" y="601"/>
                  </a:lnTo>
                  <a:lnTo>
                    <a:pt x="406" y="601"/>
                  </a:lnTo>
                  <a:lnTo>
                    <a:pt x="497" y="601"/>
                  </a:lnTo>
                  <a:lnTo>
                    <a:pt x="617" y="601"/>
                  </a:lnTo>
                  <a:lnTo>
                    <a:pt x="707" y="601"/>
                  </a:lnTo>
                  <a:lnTo>
                    <a:pt x="827" y="601"/>
                  </a:lnTo>
                  <a:lnTo>
                    <a:pt x="888" y="601"/>
                  </a:lnTo>
                  <a:lnTo>
                    <a:pt x="890" y="601"/>
                  </a:lnTo>
                  <a:lnTo>
                    <a:pt x="893" y="600"/>
                  </a:lnTo>
                  <a:lnTo>
                    <a:pt x="896" y="599"/>
                  </a:lnTo>
                  <a:lnTo>
                    <a:pt x="898" y="597"/>
                  </a:lnTo>
                  <a:lnTo>
                    <a:pt x="900" y="595"/>
                  </a:lnTo>
                  <a:lnTo>
                    <a:pt x="901" y="593"/>
                  </a:lnTo>
                  <a:lnTo>
                    <a:pt x="902" y="590"/>
                  </a:lnTo>
                  <a:lnTo>
                    <a:pt x="903" y="586"/>
                  </a:lnTo>
                  <a:lnTo>
                    <a:pt x="902" y="583"/>
                  </a:lnTo>
                  <a:lnTo>
                    <a:pt x="901" y="581"/>
                  </a:lnTo>
                  <a:lnTo>
                    <a:pt x="900" y="578"/>
                  </a:lnTo>
                  <a:lnTo>
                    <a:pt x="898" y="576"/>
                  </a:lnTo>
                  <a:lnTo>
                    <a:pt x="896" y="573"/>
                  </a:lnTo>
                  <a:lnTo>
                    <a:pt x="893" y="572"/>
                  </a:lnTo>
                  <a:lnTo>
                    <a:pt x="890" y="571"/>
                  </a:lnTo>
                  <a:lnTo>
                    <a:pt x="888" y="5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30" name="Freeform 215"/>
            <p:cNvSpPr>
              <a:spLocks noEditPoints="1"/>
            </p:cNvSpPr>
            <p:nvPr/>
          </p:nvSpPr>
          <p:spPr bwMode="auto">
            <a:xfrm>
              <a:off x="10474325" y="2498725"/>
              <a:ext cx="252413" cy="157163"/>
            </a:xfrm>
            <a:custGeom>
              <a:avLst/>
              <a:gdLst>
                <a:gd name="T0" fmla="*/ 83 w 796"/>
                <a:gd name="T1" fmla="*/ 417 h 496"/>
                <a:gd name="T2" fmla="*/ 89 w 796"/>
                <a:gd name="T3" fmla="*/ 431 h 496"/>
                <a:gd name="T4" fmla="*/ 76 w 796"/>
                <a:gd name="T5" fmla="*/ 461 h 496"/>
                <a:gd name="T6" fmla="*/ 43 w 796"/>
                <a:gd name="T7" fmla="*/ 461 h 496"/>
                <a:gd name="T8" fmla="*/ 30 w 796"/>
                <a:gd name="T9" fmla="*/ 430 h 496"/>
                <a:gd name="T10" fmla="*/ 54 w 796"/>
                <a:gd name="T11" fmla="*/ 407 h 496"/>
                <a:gd name="T12" fmla="*/ 302 w 796"/>
                <a:gd name="T13" fmla="*/ 216 h 496"/>
                <a:gd name="T14" fmla="*/ 315 w 796"/>
                <a:gd name="T15" fmla="*/ 247 h 496"/>
                <a:gd name="T16" fmla="*/ 291 w 796"/>
                <a:gd name="T17" fmla="*/ 270 h 496"/>
                <a:gd name="T18" fmla="*/ 260 w 796"/>
                <a:gd name="T19" fmla="*/ 257 h 496"/>
                <a:gd name="T20" fmla="*/ 260 w 796"/>
                <a:gd name="T21" fmla="*/ 224 h 496"/>
                <a:gd name="T22" fmla="*/ 511 w 796"/>
                <a:gd name="T23" fmla="*/ 301 h 496"/>
                <a:gd name="T24" fmla="*/ 530 w 796"/>
                <a:gd name="T25" fmla="*/ 308 h 496"/>
                <a:gd name="T26" fmla="*/ 541 w 796"/>
                <a:gd name="T27" fmla="*/ 331 h 496"/>
                <a:gd name="T28" fmla="*/ 523 w 796"/>
                <a:gd name="T29" fmla="*/ 359 h 496"/>
                <a:gd name="T30" fmla="*/ 490 w 796"/>
                <a:gd name="T31" fmla="*/ 353 h 496"/>
                <a:gd name="T32" fmla="*/ 483 w 796"/>
                <a:gd name="T33" fmla="*/ 320 h 496"/>
                <a:gd name="T34" fmla="*/ 511 w 796"/>
                <a:gd name="T35" fmla="*/ 301 h 496"/>
                <a:gd name="T36" fmla="*/ 757 w 796"/>
                <a:gd name="T37" fmla="*/ 39 h 496"/>
                <a:gd name="T38" fmla="*/ 764 w 796"/>
                <a:gd name="T39" fmla="*/ 72 h 496"/>
                <a:gd name="T40" fmla="*/ 736 w 796"/>
                <a:gd name="T41" fmla="*/ 90 h 496"/>
                <a:gd name="T42" fmla="*/ 708 w 796"/>
                <a:gd name="T43" fmla="*/ 72 h 496"/>
                <a:gd name="T44" fmla="*/ 716 w 796"/>
                <a:gd name="T45" fmla="*/ 39 h 496"/>
                <a:gd name="T46" fmla="*/ 60 w 796"/>
                <a:gd name="T47" fmla="*/ 496 h 496"/>
                <a:gd name="T48" fmla="*/ 93 w 796"/>
                <a:gd name="T49" fmla="*/ 487 h 496"/>
                <a:gd name="T50" fmla="*/ 115 w 796"/>
                <a:gd name="T51" fmla="*/ 460 h 496"/>
                <a:gd name="T52" fmla="*/ 118 w 796"/>
                <a:gd name="T53" fmla="*/ 422 h 496"/>
                <a:gd name="T54" fmla="*/ 276 w 796"/>
                <a:gd name="T55" fmla="*/ 300 h 496"/>
                <a:gd name="T56" fmla="*/ 318 w 796"/>
                <a:gd name="T57" fmla="*/ 291 h 496"/>
                <a:gd name="T58" fmla="*/ 451 w 796"/>
                <a:gd name="T59" fmla="*/ 331 h 496"/>
                <a:gd name="T60" fmla="*/ 461 w 796"/>
                <a:gd name="T61" fmla="*/ 365 h 496"/>
                <a:gd name="T62" fmla="*/ 487 w 796"/>
                <a:gd name="T63" fmla="*/ 387 h 496"/>
                <a:gd name="T64" fmla="*/ 523 w 796"/>
                <a:gd name="T65" fmla="*/ 390 h 496"/>
                <a:gd name="T66" fmla="*/ 554 w 796"/>
                <a:gd name="T67" fmla="*/ 373 h 496"/>
                <a:gd name="T68" fmla="*/ 570 w 796"/>
                <a:gd name="T69" fmla="*/ 343 h 496"/>
                <a:gd name="T70" fmla="*/ 559 w 796"/>
                <a:gd name="T71" fmla="*/ 296 h 496"/>
                <a:gd name="T72" fmla="*/ 742 w 796"/>
                <a:gd name="T73" fmla="*/ 120 h 496"/>
                <a:gd name="T74" fmla="*/ 775 w 796"/>
                <a:gd name="T75" fmla="*/ 106 h 496"/>
                <a:gd name="T76" fmla="*/ 794 w 796"/>
                <a:gd name="T77" fmla="*/ 79 h 496"/>
                <a:gd name="T78" fmla="*/ 794 w 796"/>
                <a:gd name="T79" fmla="*/ 43 h 496"/>
                <a:gd name="T80" fmla="*/ 775 w 796"/>
                <a:gd name="T81" fmla="*/ 14 h 496"/>
                <a:gd name="T82" fmla="*/ 742 w 796"/>
                <a:gd name="T83" fmla="*/ 0 h 496"/>
                <a:gd name="T84" fmla="*/ 708 w 796"/>
                <a:gd name="T85" fmla="*/ 8 h 496"/>
                <a:gd name="T86" fmla="*/ 683 w 796"/>
                <a:gd name="T87" fmla="*/ 31 h 496"/>
                <a:gd name="T88" fmla="*/ 677 w 796"/>
                <a:gd name="T89" fmla="*/ 70 h 496"/>
                <a:gd name="T90" fmla="*/ 524 w 796"/>
                <a:gd name="T91" fmla="*/ 272 h 496"/>
                <a:gd name="T92" fmla="*/ 483 w 796"/>
                <a:gd name="T93" fmla="*/ 278 h 496"/>
                <a:gd name="T94" fmla="*/ 345 w 796"/>
                <a:gd name="T95" fmla="*/ 245 h 496"/>
                <a:gd name="T96" fmla="*/ 339 w 796"/>
                <a:gd name="T97" fmla="*/ 212 h 496"/>
                <a:gd name="T98" fmla="*/ 314 w 796"/>
                <a:gd name="T99" fmla="*/ 188 h 496"/>
                <a:gd name="T100" fmla="*/ 280 w 796"/>
                <a:gd name="T101" fmla="*/ 181 h 496"/>
                <a:gd name="T102" fmla="*/ 247 w 796"/>
                <a:gd name="T103" fmla="*/ 194 h 496"/>
                <a:gd name="T104" fmla="*/ 228 w 796"/>
                <a:gd name="T105" fmla="*/ 223 h 496"/>
                <a:gd name="T106" fmla="*/ 229 w 796"/>
                <a:gd name="T107" fmla="*/ 262 h 496"/>
                <a:gd name="T108" fmla="*/ 60 w 796"/>
                <a:gd name="T109" fmla="*/ 376 h 496"/>
                <a:gd name="T110" fmla="*/ 26 w 796"/>
                <a:gd name="T111" fmla="*/ 387 h 496"/>
                <a:gd name="T112" fmla="*/ 4 w 796"/>
                <a:gd name="T113" fmla="*/ 413 h 496"/>
                <a:gd name="T114" fmla="*/ 1 w 796"/>
                <a:gd name="T115" fmla="*/ 448 h 496"/>
                <a:gd name="T116" fmla="*/ 17 w 796"/>
                <a:gd name="T117" fmla="*/ 479 h 496"/>
                <a:gd name="T118" fmla="*/ 47 w 796"/>
                <a:gd name="T119" fmla="*/ 495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6" h="496">
                  <a:moveTo>
                    <a:pt x="60" y="406"/>
                  </a:moveTo>
                  <a:lnTo>
                    <a:pt x="66" y="407"/>
                  </a:lnTo>
                  <a:lnTo>
                    <a:pt x="73" y="410"/>
                  </a:lnTo>
                  <a:lnTo>
                    <a:pt x="78" y="413"/>
                  </a:lnTo>
                  <a:lnTo>
                    <a:pt x="83" y="417"/>
                  </a:lnTo>
                  <a:lnTo>
                    <a:pt x="83" y="417"/>
                  </a:lnTo>
                  <a:lnTo>
                    <a:pt x="83" y="417"/>
                  </a:lnTo>
                  <a:lnTo>
                    <a:pt x="83" y="417"/>
                  </a:lnTo>
                  <a:lnTo>
                    <a:pt x="83" y="417"/>
                  </a:lnTo>
                  <a:lnTo>
                    <a:pt x="86" y="421"/>
                  </a:lnTo>
                  <a:lnTo>
                    <a:pt x="88" y="426"/>
                  </a:lnTo>
                  <a:lnTo>
                    <a:pt x="89" y="431"/>
                  </a:lnTo>
                  <a:lnTo>
                    <a:pt x="90" y="436"/>
                  </a:lnTo>
                  <a:lnTo>
                    <a:pt x="89" y="443"/>
                  </a:lnTo>
                  <a:lnTo>
                    <a:pt x="88" y="448"/>
                  </a:lnTo>
                  <a:lnTo>
                    <a:pt x="85" y="453"/>
                  </a:lnTo>
                  <a:lnTo>
                    <a:pt x="81" y="458"/>
                  </a:lnTo>
                  <a:lnTo>
                    <a:pt x="76" y="461"/>
                  </a:lnTo>
                  <a:lnTo>
                    <a:pt x="72" y="464"/>
                  </a:lnTo>
                  <a:lnTo>
                    <a:pt x="65" y="466"/>
                  </a:lnTo>
                  <a:lnTo>
                    <a:pt x="60" y="466"/>
                  </a:lnTo>
                  <a:lnTo>
                    <a:pt x="54" y="466"/>
                  </a:lnTo>
                  <a:lnTo>
                    <a:pt x="48" y="464"/>
                  </a:lnTo>
                  <a:lnTo>
                    <a:pt x="43" y="461"/>
                  </a:lnTo>
                  <a:lnTo>
                    <a:pt x="39" y="458"/>
                  </a:lnTo>
                  <a:lnTo>
                    <a:pt x="34" y="453"/>
                  </a:lnTo>
                  <a:lnTo>
                    <a:pt x="32" y="448"/>
                  </a:lnTo>
                  <a:lnTo>
                    <a:pt x="30" y="443"/>
                  </a:lnTo>
                  <a:lnTo>
                    <a:pt x="30" y="436"/>
                  </a:lnTo>
                  <a:lnTo>
                    <a:pt x="30" y="430"/>
                  </a:lnTo>
                  <a:lnTo>
                    <a:pt x="32" y="425"/>
                  </a:lnTo>
                  <a:lnTo>
                    <a:pt x="34" y="419"/>
                  </a:lnTo>
                  <a:lnTo>
                    <a:pt x="39" y="415"/>
                  </a:lnTo>
                  <a:lnTo>
                    <a:pt x="43" y="412"/>
                  </a:lnTo>
                  <a:lnTo>
                    <a:pt x="48" y="409"/>
                  </a:lnTo>
                  <a:lnTo>
                    <a:pt x="54" y="407"/>
                  </a:lnTo>
                  <a:lnTo>
                    <a:pt x="60" y="406"/>
                  </a:lnTo>
                  <a:lnTo>
                    <a:pt x="60" y="406"/>
                  </a:lnTo>
                  <a:close/>
                  <a:moveTo>
                    <a:pt x="285" y="211"/>
                  </a:moveTo>
                  <a:lnTo>
                    <a:pt x="291" y="211"/>
                  </a:lnTo>
                  <a:lnTo>
                    <a:pt x="297" y="214"/>
                  </a:lnTo>
                  <a:lnTo>
                    <a:pt x="302" y="216"/>
                  </a:lnTo>
                  <a:lnTo>
                    <a:pt x="306" y="220"/>
                  </a:lnTo>
                  <a:lnTo>
                    <a:pt x="311" y="224"/>
                  </a:lnTo>
                  <a:lnTo>
                    <a:pt x="313" y="230"/>
                  </a:lnTo>
                  <a:lnTo>
                    <a:pt x="315" y="235"/>
                  </a:lnTo>
                  <a:lnTo>
                    <a:pt x="315" y="241"/>
                  </a:lnTo>
                  <a:lnTo>
                    <a:pt x="315" y="247"/>
                  </a:lnTo>
                  <a:lnTo>
                    <a:pt x="313" y="253"/>
                  </a:lnTo>
                  <a:lnTo>
                    <a:pt x="311" y="257"/>
                  </a:lnTo>
                  <a:lnTo>
                    <a:pt x="306" y="262"/>
                  </a:lnTo>
                  <a:lnTo>
                    <a:pt x="302" y="266"/>
                  </a:lnTo>
                  <a:lnTo>
                    <a:pt x="297" y="268"/>
                  </a:lnTo>
                  <a:lnTo>
                    <a:pt x="291" y="270"/>
                  </a:lnTo>
                  <a:lnTo>
                    <a:pt x="285" y="271"/>
                  </a:lnTo>
                  <a:lnTo>
                    <a:pt x="280" y="270"/>
                  </a:lnTo>
                  <a:lnTo>
                    <a:pt x="273" y="268"/>
                  </a:lnTo>
                  <a:lnTo>
                    <a:pt x="269" y="266"/>
                  </a:lnTo>
                  <a:lnTo>
                    <a:pt x="264" y="262"/>
                  </a:lnTo>
                  <a:lnTo>
                    <a:pt x="260" y="257"/>
                  </a:lnTo>
                  <a:lnTo>
                    <a:pt x="257" y="253"/>
                  </a:lnTo>
                  <a:lnTo>
                    <a:pt x="256" y="247"/>
                  </a:lnTo>
                  <a:lnTo>
                    <a:pt x="255" y="241"/>
                  </a:lnTo>
                  <a:lnTo>
                    <a:pt x="256" y="235"/>
                  </a:lnTo>
                  <a:lnTo>
                    <a:pt x="257" y="230"/>
                  </a:lnTo>
                  <a:lnTo>
                    <a:pt x="260" y="224"/>
                  </a:lnTo>
                  <a:lnTo>
                    <a:pt x="264" y="220"/>
                  </a:lnTo>
                  <a:lnTo>
                    <a:pt x="269" y="216"/>
                  </a:lnTo>
                  <a:lnTo>
                    <a:pt x="273" y="214"/>
                  </a:lnTo>
                  <a:lnTo>
                    <a:pt x="280" y="211"/>
                  </a:lnTo>
                  <a:lnTo>
                    <a:pt x="285" y="211"/>
                  </a:lnTo>
                  <a:close/>
                  <a:moveTo>
                    <a:pt x="511" y="301"/>
                  </a:moveTo>
                  <a:lnTo>
                    <a:pt x="516" y="301"/>
                  </a:lnTo>
                  <a:lnTo>
                    <a:pt x="521" y="302"/>
                  </a:lnTo>
                  <a:lnTo>
                    <a:pt x="526" y="306"/>
                  </a:lnTo>
                  <a:lnTo>
                    <a:pt x="530" y="308"/>
                  </a:lnTo>
                  <a:lnTo>
                    <a:pt x="530" y="308"/>
                  </a:lnTo>
                  <a:lnTo>
                    <a:pt x="530" y="308"/>
                  </a:lnTo>
                  <a:lnTo>
                    <a:pt x="530" y="308"/>
                  </a:lnTo>
                  <a:lnTo>
                    <a:pt x="530" y="308"/>
                  </a:lnTo>
                  <a:lnTo>
                    <a:pt x="535" y="313"/>
                  </a:lnTo>
                  <a:lnTo>
                    <a:pt x="538" y="319"/>
                  </a:lnTo>
                  <a:lnTo>
                    <a:pt x="540" y="325"/>
                  </a:lnTo>
                  <a:lnTo>
                    <a:pt x="541" y="331"/>
                  </a:lnTo>
                  <a:lnTo>
                    <a:pt x="540" y="337"/>
                  </a:lnTo>
                  <a:lnTo>
                    <a:pt x="539" y="343"/>
                  </a:lnTo>
                  <a:lnTo>
                    <a:pt x="536" y="347"/>
                  </a:lnTo>
                  <a:lnTo>
                    <a:pt x="532" y="353"/>
                  </a:lnTo>
                  <a:lnTo>
                    <a:pt x="527" y="356"/>
                  </a:lnTo>
                  <a:lnTo>
                    <a:pt x="523" y="359"/>
                  </a:lnTo>
                  <a:lnTo>
                    <a:pt x="516" y="360"/>
                  </a:lnTo>
                  <a:lnTo>
                    <a:pt x="511" y="361"/>
                  </a:lnTo>
                  <a:lnTo>
                    <a:pt x="505" y="360"/>
                  </a:lnTo>
                  <a:lnTo>
                    <a:pt x="499" y="359"/>
                  </a:lnTo>
                  <a:lnTo>
                    <a:pt x="494" y="356"/>
                  </a:lnTo>
                  <a:lnTo>
                    <a:pt x="490" y="353"/>
                  </a:lnTo>
                  <a:lnTo>
                    <a:pt x="486" y="349"/>
                  </a:lnTo>
                  <a:lnTo>
                    <a:pt x="483" y="343"/>
                  </a:lnTo>
                  <a:lnTo>
                    <a:pt x="481" y="337"/>
                  </a:lnTo>
                  <a:lnTo>
                    <a:pt x="481" y="331"/>
                  </a:lnTo>
                  <a:lnTo>
                    <a:pt x="481" y="325"/>
                  </a:lnTo>
                  <a:lnTo>
                    <a:pt x="483" y="320"/>
                  </a:lnTo>
                  <a:lnTo>
                    <a:pt x="486" y="314"/>
                  </a:lnTo>
                  <a:lnTo>
                    <a:pt x="490" y="310"/>
                  </a:lnTo>
                  <a:lnTo>
                    <a:pt x="494" y="307"/>
                  </a:lnTo>
                  <a:lnTo>
                    <a:pt x="499" y="304"/>
                  </a:lnTo>
                  <a:lnTo>
                    <a:pt x="505" y="301"/>
                  </a:lnTo>
                  <a:lnTo>
                    <a:pt x="511" y="301"/>
                  </a:lnTo>
                  <a:lnTo>
                    <a:pt x="511" y="301"/>
                  </a:lnTo>
                  <a:close/>
                  <a:moveTo>
                    <a:pt x="736" y="30"/>
                  </a:moveTo>
                  <a:lnTo>
                    <a:pt x="742" y="31"/>
                  </a:lnTo>
                  <a:lnTo>
                    <a:pt x="748" y="33"/>
                  </a:lnTo>
                  <a:lnTo>
                    <a:pt x="753" y="36"/>
                  </a:lnTo>
                  <a:lnTo>
                    <a:pt x="757" y="39"/>
                  </a:lnTo>
                  <a:lnTo>
                    <a:pt x="762" y="43"/>
                  </a:lnTo>
                  <a:lnTo>
                    <a:pt x="764" y="49"/>
                  </a:lnTo>
                  <a:lnTo>
                    <a:pt x="766" y="55"/>
                  </a:lnTo>
                  <a:lnTo>
                    <a:pt x="766" y="60"/>
                  </a:lnTo>
                  <a:lnTo>
                    <a:pt x="766" y="67"/>
                  </a:lnTo>
                  <a:lnTo>
                    <a:pt x="764" y="72"/>
                  </a:lnTo>
                  <a:lnTo>
                    <a:pt x="762" y="78"/>
                  </a:lnTo>
                  <a:lnTo>
                    <a:pt x="757" y="82"/>
                  </a:lnTo>
                  <a:lnTo>
                    <a:pt x="753" y="85"/>
                  </a:lnTo>
                  <a:lnTo>
                    <a:pt x="748" y="88"/>
                  </a:lnTo>
                  <a:lnTo>
                    <a:pt x="742" y="90"/>
                  </a:lnTo>
                  <a:lnTo>
                    <a:pt x="736" y="90"/>
                  </a:lnTo>
                  <a:lnTo>
                    <a:pt x="731" y="90"/>
                  </a:lnTo>
                  <a:lnTo>
                    <a:pt x="724" y="88"/>
                  </a:lnTo>
                  <a:lnTo>
                    <a:pt x="720" y="85"/>
                  </a:lnTo>
                  <a:lnTo>
                    <a:pt x="716" y="82"/>
                  </a:lnTo>
                  <a:lnTo>
                    <a:pt x="711" y="78"/>
                  </a:lnTo>
                  <a:lnTo>
                    <a:pt x="708" y="72"/>
                  </a:lnTo>
                  <a:lnTo>
                    <a:pt x="707" y="67"/>
                  </a:lnTo>
                  <a:lnTo>
                    <a:pt x="706" y="60"/>
                  </a:lnTo>
                  <a:lnTo>
                    <a:pt x="707" y="55"/>
                  </a:lnTo>
                  <a:lnTo>
                    <a:pt x="708" y="49"/>
                  </a:lnTo>
                  <a:lnTo>
                    <a:pt x="711" y="43"/>
                  </a:lnTo>
                  <a:lnTo>
                    <a:pt x="716" y="39"/>
                  </a:lnTo>
                  <a:lnTo>
                    <a:pt x="720" y="36"/>
                  </a:lnTo>
                  <a:lnTo>
                    <a:pt x="724" y="33"/>
                  </a:lnTo>
                  <a:lnTo>
                    <a:pt x="731" y="31"/>
                  </a:lnTo>
                  <a:lnTo>
                    <a:pt x="736" y="30"/>
                  </a:lnTo>
                  <a:lnTo>
                    <a:pt x="736" y="30"/>
                  </a:lnTo>
                  <a:close/>
                  <a:moveTo>
                    <a:pt x="60" y="496"/>
                  </a:moveTo>
                  <a:lnTo>
                    <a:pt x="66" y="496"/>
                  </a:lnTo>
                  <a:lnTo>
                    <a:pt x="72" y="495"/>
                  </a:lnTo>
                  <a:lnTo>
                    <a:pt x="77" y="494"/>
                  </a:lnTo>
                  <a:lnTo>
                    <a:pt x="84" y="492"/>
                  </a:lnTo>
                  <a:lnTo>
                    <a:pt x="89" y="489"/>
                  </a:lnTo>
                  <a:lnTo>
                    <a:pt x="93" y="487"/>
                  </a:lnTo>
                  <a:lnTo>
                    <a:pt x="98" y="482"/>
                  </a:lnTo>
                  <a:lnTo>
                    <a:pt x="102" y="479"/>
                  </a:lnTo>
                  <a:lnTo>
                    <a:pt x="106" y="475"/>
                  </a:lnTo>
                  <a:lnTo>
                    <a:pt x="109" y="470"/>
                  </a:lnTo>
                  <a:lnTo>
                    <a:pt x="113" y="465"/>
                  </a:lnTo>
                  <a:lnTo>
                    <a:pt x="115" y="460"/>
                  </a:lnTo>
                  <a:lnTo>
                    <a:pt x="117" y="455"/>
                  </a:lnTo>
                  <a:lnTo>
                    <a:pt x="119" y="448"/>
                  </a:lnTo>
                  <a:lnTo>
                    <a:pt x="120" y="443"/>
                  </a:lnTo>
                  <a:lnTo>
                    <a:pt x="120" y="436"/>
                  </a:lnTo>
                  <a:lnTo>
                    <a:pt x="119" y="429"/>
                  </a:lnTo>
                  <a:lnTo>
                    <a:pt x="118" y="422"/>
                  </a:lnTo>
                  <a:lnTo>
                    <a:pt x="116" y="416"/>
                  </a:lnTo>
                  <a:lnTo>
                    <a:pt x="114" y="410"/>
                  </a:lnTo>
                  <a:lnTo>
                    <a:pt x="251" y="291"/>
                  </a:lnTo>
                  <a:lnTo>
                    <a:pt x="259" y="295"/>
                  </a:lnTo>
                  <a:lnTo>
                    <a:pt x="267" y="298"/>
                  </a:lnTo>
                  <a:lnTo>
                    <a:pt x="276" y="300"/>
                  </a:lnTo>
                  <a:lnTo>
                    <a:pt x="285" y="301"/>
                  </a:lnTo>
                  <a:lnTo>
                    <a:pt x="292" y="300"/>
                  </a:lnTo>
                  <a:lnTo>
                    <a:pt x="300" y="299"/>
                  </a:lnTo>
                  <a:lnTo>
                    <a:pt x="306" y="297"/>
                  </a:lnTo>
                  <a:lnTo>
                    <a:pt x="313" y="294"/>
                  </a:lnTo>
                  <a:lnTo>
                    <a:pt x="318" y="291"/>
                  </a:lnTo>
                  <a:lnTo>
                    <a:pt x="325" y="286"/>
                  </a:lnTo>
                  <a:lnTo>
                    <a:pt x="329" y="282"/>
                  </a:lnTo>
                  <a:lnTo>
                    <a:pt x="333" y="277"/>
                  </a:lnTo>
                  <a:lnTo>
                    <a:pt x="451" y="324"/>
                  </a:lnTo>
                  <a:lnTo>
                    <a:pt x="451" y="327"/>
                  </a:lnTo>
                  <a:lnTo>
                    <a:pt x="451" y="331"/>
                  </a:lnTo>
                  <a:lnTo>
                    <a:pt x="451" y="338"/>
                  </a:lnTo>
                  <a:lnTo>
                    <a:pt x="452" y="343"/>
                  </a:lnTo>
                  <a:lnTo>
                    <a:pt x="453" y="350"/>
                  </a:lnTo>
                  <a:lnTo>
                    <a:pt x="455" y="355"/>
                  </a:lnTo>
                  <a:lnTo>
                    <a:pt x="457" y="360"/>
                  </a:lnTo>
                  <a:lnTo>
                    <a:pt x="461" y="365"/>
                  </a:lnTo>
                  <a:lnTo>
                    <a:pt x="464" y="370"/>
                  </a:lnTo>
                  <a:lnTo>
                    <a:pt x="468" y="374"/>
                  </a:lnTo>
                  <a:lnTo>
                    <a:pt x="472" y="377"/>
                  </a:lnTo>
                  <a:lnTo>
                    <a:pt x="477" y="381"/>
                  </a:lnTo>
                  <a:lnTo>
                    <a:pt x="482" y="384"/>
                  </a:lnTo>
                  <a:lnTo>
                    <a:pt x="487" y="387"/>
                  </a:lnTo>
                  <a:lnTo>
                    <a:pt x="493" y="388"/>
                  </a:lnTo>
                  <a:lnTo>
                    <a:pt x="498" y="390"/>
                  </a:lnTo>
                  <a:lnTo>
                    <a:pt x="505" y="391"/>
                  </a:lnTo>
                  <a:lnTo>
                    <a:pt x="511" y="391"/>
                  </a:lnTo>
                  <a:lnTo>
                    <a:pt x="517" y="391"/>
                  </a:lnTo>
                  <a:lnTo>
                    <a:pt x="523" y="390"/>
                  </a:lnTo>
                  <a:lnTo>
                    <a:pt x="529" y="388"/>
                  </a:lnTo>
                  <a:lnTo>
                    <a:pt x="535" y="387"/>
                  </a:lnTo>
                  <a:lnTo>
                    <a:pt x="540" y="384"/>
                  </a:lnTo>
                  <a:lnTo>
                    <a:pt x="544" y="381"/>
                  </a:lnTo>
                  <a:lnTo>
                    <a:pt x="550" y="377"/>
                  </a:lnTo>
                  <a:lnTo>
                    <a:pt x="554" y="373"/>
                  </a:lnTo>
                  <a:lnTo>
                    <a:pt x="557" y="370"/>
                  </a:lnTo>
                  <a:lnTo>
                    <a:pt x="560" y="365"/>
                  </a:lnTo>
                  <a:lnTo>
                    <a:pt x="564" y="360"/>
                  </a:lnTo>
                  <a:lnTo>
                    <a:pt x="567" y="355"/>
                  </a:lnTo>
                  <a:lnTo>
                    <a:pt x="568" y="350"/>
                  </a:lnTo>
                  <a:lnTo>
                    <a:pt x="570" y="343"/>
                  </a:lnTo>
                  <a:lnTo>
                    <a:pt x="571" y="338"/>
                  </a:lnTo>
                  <a:lnTo>
                    <a:pt x="571" y="331"/>
                  </a:lnTo>
                  <a:lnTo>
                    <a:pt x="570" y="322"/>
                  </a:lnTo>
                  <a:lnTo>
                    <a:pt x="568" y="312"/>
                  </a:lnTo>
                  <a:lnTo>
                    <a:pt x="565" y="304"/>
                  </a:lnTo>
                  <a:lnTo>
                    <a:pt x="559" y="296"/>
                  </a:lnTo>
                  <a:lnTo>
                    <a:pt x="710" y="115"/>
                  </a:lnTo>
                  <a:lnTo>
                    <a:pt x="717" y="117"/>
                  </a:lnTo>
                  <a:lnTo>
                    <a:pt x="723" y="119"/>
                  </a:lnTo>
                  <a:lnTo>
                    <a:pt x="730" y="120"/>
                  </a:lnTo>
                  <a:lnTo>
                    <a:pt x="736" y="120"/>
                  </a:lnTo>
                  <a:lnTo>
                    <a:pt x="742" y="120"/>
                  </a:lnTo>
                  <a:lnTo>
                    <a:pt x="749" y="119"/>
                  </a:lnTo>
                  <a:lnTo>
                    <a:pt x="754" y="118"/>
                  </a:lnTo>
                  <a:lnTo>
                    <a:pt x="760" y="116"/>
                  </a:lnTo>
                  <a:lnTo>
                    <a:pt x="765" y="114"/>
                  </a:lnTo>
                  <a:lnTo>
                    <a:pt x="770" y="111"/>
                  </a:lnTo>
                  <a:lnTo>
                    <a:pt x="775" y="106"/>
                  </a:lnTo>
                  <a:lnTo>
                    <a:pt x="779" y="103"/>
                  </a:lnTo>
                  <a:lnTo>
                    <a:pt x="783" y="99"/>
                  </a:lnTo>
                  <a:lnTo>
                    <a:pt x="786" y="95"/>
                  </a:lnTo>
                  <a:lnTo>
                    <a:pt x="790" y="89"/>
                  </a:lnTo>
                  <a:lnTo>
                    <a:pt x="792" y="84"/>
                  </a:lnTo>
                  <a:lnTo>
                    <a:pt x="794" y="79"/>
                  </a:lnTo>
                  <a:lnTo>
                    <a:pt x="795" y="73"/>
                  </a:lnTo>
                  <a:lnTo>
                    <a:pt x="796" y="67"/>
                  </a:lnTo>
                  <a:lnTo>
                    <a:pt x="796" y="60"/>
                  </a:lnTo>
                  <a:lnTo>
                    <a:pt x="796" y="54"/>
                  </a:lnTo>
                  <a:lnTo>
                    <a:pt x="795" y="49"/>
                  </a:lnTo>
                  <a:lnTo>
                    <a:pt x="794" y="43"/>
                  </a:lnTo>
                  <a:lnTo>
                    <a:pt x="792" y="37"/>
                  </a:lnTo>
                  <a:lnTo>
                    <a:pt x="790" y="31"/>
                  </a:lnTo>
                  <a:lnTo>
                    <a:pt x="786" y="27"/>
                  </a:lnTo>
                  <a:lnTo>
                    <a:pt x="783" y="23"/>
                  </a:lnTo>
                  <a:lnTo>
                    <a:pt x="779" y="19"/>
                  </a:lnTo>
                  <a:lnTo>
                    <a:pt x="775" y="14"/>
                  </a:lnTo>
                  <a:lnTo>
                    <a:pt x="770" y="11"/>
                  </a:lnTo>
                  <a:lnTo>
                    <a:pt x="765" y="8"/>
                  </a:lnTo>
                  <a:lnTo>
                    <a:pt x="760" y="5"/>
                  </a:lnTo>
                  <a:lnTo>
                    <a:pt x="754" y="4"/>
                  </a:lnTo>
                  <a:lnTo>
                    <a:pt x="749" y="1"/>
                  </a:lnTo>
                  <a:lnTo>
                    <a:pt x="742" y="0"/>
                  </a:lnTo>
                  <a:lnTo>
                    <a:pt x="736" y="0"/>
                  </a:lnTo>
                  <a:lnTo>
                    <a:pt x="731" y="0"/>
                  </a:lnTo>
                  <a:lnTo>
                    <a:pt x="724" y="1"/>
                  </a:lnTo>
                  <a:lnTo>
                    <a:pt x="719" y="4"/>
                  </a:lnTo>
                  <a:lnTo>
                    <a:pt x="712" y="5"/>
                  </a:lnTo>
                  <a:lnTo>
                    <a:pt x="708" y="8"/>
                  </a:lnTo>
                  <a:lnTo>
                    <a:pt x="703" y="11"/>
                  </a:lnTo>
                  <a:lnTo>
                    <a:pt x="698" y="14"/>
                  </a:lnTo>
                  <a:lnTo>
                    <a:pt x="694" y="19"/>
                  </a:lnTo>
                  <a:lnTo>
                    <a:pt x="690" y="22"/>
                  </a:lnTo>
                  <a:lnTo>
                    <a:pt x="687" y="27"/>
                  </a:lnTo>
                  <a:lnTo>
                    <a:pt x="683" y="31"/>
                  </a:lnTo>
                  <a:lnTo>
                    <a:pt x="681" y="37"/>
                  </a:lnTo>
                  <a:lnTo>
                    <a:pt x="679" y="43"/>
                  </a:lnTo>
                  <a:lnTo>
                    <a:pt x="677" y="49"/>
                  </a:lnTo>
                  <a:lnTo>
                    <a:pt x="676" y="54"/>
                  </a:lnTo>
                  <a:lnTo>
                    <a:pt x="676" y="60"/>
                  </a:lnTo>
                  <a:lnTo>
                    <a:pt x="677" y="70"/>
                  </a:lnTo>
                  <a:lnTo>
                    <a:pt x="679" y="80"/>
                  </a:lnTo>
                  <a:lnTo>
                    <a:pt x="682" y="88"/>
                  </a:lnTo>
                  <a:lnTo>
                    <a:pt x="688" y="96"/>
                  </a:lnTo>
                  <a:lnTo>
                    <a:pt x="537" y="277"/>
                  </a:lnTo>
                  <a:lnTo>
                    <a:pt x="530" y="275"/>
                  </a:lnTo>
                  <a:lnTo>
                    <a:pt x="524" y="272"/>
                  </a:lnTo>
                  <a:lnTo>
                    <a:pt x="517" y="271"/>
                  </a:lnTo>
                  <a:lnTo>
                    <a:pt x="511" y="271"/>
                  </a:lnTo>
                  <a:lnTo>
                    <a:pt x="504" y="271"/>
                  </a:lnTo>
                  <a:lnTo>
                    <a:pt x="496" y="272"/>
                  </a:lnTo>
                  <a:lnTo>
                    <a:pt x="490" y="275"/>
                  </a:lnTo>
                  <a:lnTo>
                    <a:pt x="483" y="278"/>
                  </a:lnTo>
                  <a:lnTo>
                    <a:pt x="478" y="281"/>
                  </a:lnTo>
                  <a:lnTo>
                    <a:pt x="472" y="285"/>
                  </a:lnTo>
                  <a:lnTo>
                    <a:pt x="467" y="291"/>
                  </a:lnTo>
                  <a:lnTo>
                    <a:pt x="463" y="296"/>
                  </a:lnTo>
                  <a:lnTo>
                    <a:pt x="345" y="249"/>
                  </a:lnTo>
                  <a:lnTo>
                    <a:pt x="345" y="245"/>
                  </a:lnTo>
                  <a:lnTo>
                    <a:pt x="345" y="241"/>
                  </a:lnTo>
                  <a:lnTo>
                    <a:pt x="345" y="235"/>
                  </a:lnTo>
                  <a:lnTo>
                    <a:pt x="344" y="229"/>
                  </a:lnTo>
                  <a:lnTo>
                    <a:pt x="343" y="223"/>
                  </a:lnTo>
                  <a:lnTo>
                    <a:pt x="341" y="218"/>
                  </a:lnTo>
                  <a:lnTo>
                    <a:pt x="339" y="212"/>
                  </a:lnTo>
                  <a:lnTo>
                    <a:pt x="335" y="207"/>
                  </a:lnTo>
                  <a:lnTo>
                    <a:pt x="332" y="203"/>
                  </a:lnTo>
                  <a:lnTo>
                    <a:pt x="328" y="199"/>
                  </a:lnTo>
                  <a:lnTo>
                    <a:pt x="324" y="194"/>
                  </a:lnTo>
                  <a:lnTo>
                    <a:pt x="319" y="191"/>
                  </a:lnTo>
                  <a:lnTo>
                    <a:pt x="314" y="188"/>
                  </a:lnTo>
                  <a:lnTo>
                    <a:pt x="309" y="186"/>
                  </a:lnTo>
                  <a:lnTo>
                    <a:pt x="303" y="184"/>
                  </a:lnTo>
                  <a:lnTo>
                    <a:pt x="298" y="182"/>
                  </a:lnTo>
                  <a:lnTo>
                    <a:pt x="291" y="181"/>
                  </a:lnTo>
                  <a:lnTo>
                    <a:pt x="285" y="180"/>
                  </a:lnTo>
                  <a:lnTo>
                    <a:pt x="280" y="181"/>
                  </a:lnTo>
                  <a:lnTo>
                    <a:pt x="273" y="182"/>
                  </a:lnTo>
                  <a:lnTo>
                    <a:pt x="268" y="184"/>
                  </a:lnTo>
                  <a:lnTo>
                    <a:pt x="261" y="186"/>
                  </a:lnTo>
                  <a:lnTo>
                    <a:pt x="257" y="188"/>
                  </a:lnTo>
                  <a:lnTo>
                    <a:pt x="252" y="191"/>
                  </a:lnTo>
                  <a:lnTo>
                    <a:pt x="247" y="194"/>
                  </a:lnTo>
                  <a:lnTo>
                    <a:pt x="243" y="199"/>
                  </a:lnTo>
                  <a:lnTo>
                    <a:pt x="239" y="203"/>
                  </a:lnTo>
                  <a:lnTo>
                    <a:pt x="236" y="207"/>
                  </a:lnTo>
                  <a:lnTo>
                    <a:pt x="232" y="212"/>
                  </a:lnTo>
                  <a:lnTo>
                    <a:pt x="230" y="218"/>
                  </a:lnTo>
                  <a:lnTo>
                    <a:pt x="228" y="223"/>
                  </a:lnTo>
                  <a:lnTo>
                    <a:pt x="226" y="229"/>
                  </a:lnTo>
                  <a:lnTo>
                    <a:pt x="225" y="235"/>
                  </a:lnTo>
                  <a:lnTo>
                    <a:pt x="225" y="241"/>
                  </a:lnTo>
                  <a:lnTo>
                    <a:pt x="226" y="248"/>
                  </a:lnTo>
                  <a:lnTo>
                    <a:pt x="227" y="255"/>
                  </a:lnTo>
                  <a:lnTo>
                    <a:pt x="229" y="262"/>
                  </a:lnTo>
                  <a:lnTo>
                    <a:pt x="231" y="267"/>
                  </a:lnTo>
                  <a:lnTo>
                    <a:pt x="94" y="387"/>
                  </a:lnTo>
                  <a:lnTo>
                    <a:pt x="86" y="383"/>
                  </a:lnTo>
                  <a:lnTo>
                    <a:pt x="78" y="380"/>
                  </a:lnTo>
                  <a:lnTo>
                    <a:pt x="69" y="377"/>
                  </a:lnTo>
                  <a:lnTo>
                    <a:pt x="60" y="376"/>
                  </a:lnTo>
                  <a:lnTo>
                    <a:pt x="54" y="376"/>
                  </a:lnTo>
                  <a:lnTo>
                    <a:pt x="47" y="377"/>
                  </a:lnTo>
                  <a:lnTo>
                    <a:pt x="42" y="379"/>
                  </a:lnTo>
                  <a:lnTo>
                    <a:pt x="36" y="381"/>
                  </a:lnTo>
                  <a:lnTo>
                    <a:pt x="31" y="384"/>
                  </a:lnTo>
                  <a:lnTo>
                    <a:pt x="26" y="387"/>
                  </a:lnTo>
                  <a:lnTo>
                    <a:pt x="21" y="390"/>
                  </a:lnTo>
                  <a:lnTo>
                    <a:pt x="17" y="394"/>
                  </a:lnTo>
                  <a:lnTo>
                    <a:pt x="13" y="398"/>
                  </a:lnTo>
                  <a:lnTo>
                    <a:pt x="10" y="403"/>
                  </a:lnTo>
                  <a:lnTo>
                    <a:pt x="6" y="407"/>
                  </a:lnTo>
                  <a:lnTo>
                    <a:pt x="4" y="413"/>
                  </a:lnTo>
                  <a:lnTo>
                    <a:pt x="2" y="418"/>
                  </a:lnTo>
                  <a:lnTo>
                    <a:pt x="1" y="425"/>
                  </a:lnTo>
                  <a:lnTo>
                    <a:pt x="0" y="430"/>
                  </a:lnTo>
                  <a:lnTo>
                    <a:pt x="0" y="436"/>
                  </a:lnTo>
                  <a:lnTo>
                    <a:pt x="0" y="443"/>
                  </a:lnTo>
                  <a:lnTo>
                    <a:pt x="1" y="448"/>
                  </a:lnTo>
                  <a:lnTo>
                    <a:pt x="2" y="455"/>
                  </a:lnTo>
                  <a:lnTo>
                    <a:pt x="4" y="460"/>
                  </a:lnTo>
                  <a:lnTo>
                    <a:pt x="6" y="465"/>
                  </a:lnTo>
                  <a:lnTo>
                    <a:pt x="10" y="470"/>
                  </a:lnTo>
                  <a:lnTo>
                    <a:pt x="13" y="475"/>
                  </a:lnTo>
                  <a:lnTo>
                    <a:pt x="17" y="479"/>
                  </a:lnTo>
                  <a:lnTo>
                    <a:pt x="21" y="482"/>
                  </a:lnTo>
                  <a:lnTo>
                    <a:pt x="26" y="487"/>
                  </a:lnTo>
                  <a:lnTo>
                    <a:pt x="31" y="489"/>
                  </a:lnTo>
                  <a:lnTo>
                    <a:pt x="36" y="492"/>
                  </a:lnTo>
                  <a:lnTo>
                    <a:pt x="42" y="494"/>
                  </a:lnTo>
                  <a:lnTo>
                    <a:pt x="47" y="495"/>
                  </a:lnTo>
                  <a:lnTo>
                    <a:pt x="54" y="496"/>
                  </a:lnTo>
                  <a:lnTo>
                    <a:pt x="60" y="4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grpSp>
      <p:cxnSp>
        <p:nvCxnSpPr>
          <p:cNvPr id="28" name="Straight Connector 27"/>
          <p:cNvCxnSpPr/>
          <p:nvPr/>
        </p:nvCxnSpPr>
        <p:spPr>
          <a:xfrm>
            <a:off x="6887605" y="3448088"/>
            <a:ext cx="0" cy="2165134"/>
          </a:xfrm>
          <a:prstGeom prst="line">
            <a:avLst/>
          </a:prstGeom>
          <a:ln>
            <a:solidFill>
              <a:schemeClr val="accent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Oval 31"/>
          <p:cNvSpPr/>
          <p:nvPr/>
        </p:nvSpPr>
        <p:spPr bwMode="gray">
          <a:xfrm>
            <a:off x="8986056" y="2408410"/>
            <a:ext cx="948701" cy="948701"/>
          </a:xfrm>
          <a:prstGeom prst="ellipse">
            <a:avLst/>
          </a:prstGeom>
          <a:gradFill>
            <a:gsLst>
              <a:gs pos="100000">
                <a:schemeClr val="accent2"/>
              </a:gs>
              <a:gs pos="0">
                <a:schemeClr val="accent1"/>
              </a:gs>
            </a:gsLst>
            <a:lin ang="8100000" scaled="1"/>
          </a:gradFill>
          <a:ln>
            <a:noFill/>
          </a:ln>
          <a:effectLst>
            <a:outerShdw blurRad="1244600" dist="457200" dir="2220000" algn="tr" rotWithShape="0">
              <a:prstClr val="black">
                <a:alpha val="8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33" name="Freeform 192"/>
          <p:cNvSpPr>
            <a:spLocks noEditPoints="1"/>
          </p:cNvSpPr>
          <p:nvPr/>
        </p:nvSpPr>
        <p:spPr bwMode="auto">
          <a:xfrm>
            <a:off x="9315827" y="2710845"/>
            <a:ext cx="343356" cy="341459"/>
          </a:xfrm>
          <a:custGeom>
            <a:avLst/>
            <a:gdLst>
              <a:gd name="T0" fmla="*/ 373 w 902"/>
              <a:gd name="T1" fmla="*/ 840 h 902"/>
              <a:gd name="T2" fmla="*/ 386 w 902"/>
              <a:gd name="T3" fmla="*/ 772 h 902"/>
              <a:gd name="T4" fmla="*/ 709 w 902"/>
              <a:gd name="T5" fmla="*/ 790 h 902"/>
              <a:gd name="T6" fmla="*/ 871 w 902"/>
              <a:gd name="T7" fmla="*/ 816 h 902"/>
              <a:gd name="T8" fmla="*/ 713 w 902"/>
              <a:gd name="T9" fmla="*/ 865 h 902"/>
              <a:gd name="T10" fmla="*/ 102 w 902"/>
              <a:gd name="T11" fmla="*/ 580 h 902"/>
              <a:gd name="T12" fmla="*/ 214 w 902"/>
              <a:gd name="T13" fmla="*/ 672 h 902"/>
              <a:gd name="T14" fmla="*/ 34 w 902"/>
              <a:gd name="T15" fmla="*/ 625 h 902"/>
              <a:gd name="T16" fmla="*/ 483 w 902"/>
              <a:gd name="T17" fmla="*/ 47 h 902"/>
              <a:gd name="T18" fmla="*/ 567 w 902"/>
              <a:gd name="T19" fmla="*/ 98 h 902"/>
              <a:gd name="T20" fmla="*/ 391 w 902"/>
              <a:gd name="T21" fmla="*/ 145 h 902"/>
              <a:gd name="T22" fmla="*/ 100 w 902"/>
              <a:gd name="T23" fmla="*/ 127 h 902"/>
              <a:gd name="T24" fmla="*/ 40 w 902"/>
              <a:gd name="T25" fmla="*/ 77 h 902"/>
              <a:gd name="T26" fmla="*/ 239 w 902"/>
              <a:gd name="T27" fmla="*/ 31 h 902"/>
              <a:gd name="T28" fmla="*/ 516 w 902"/>
              <a:gd name="T29" fmla="*/ 366 h 902"/>
              <a:gd name="T30" fmla="*/ 529 w 902"/>
              <a:gd name="T31" fmla="*/ 434 h 902"/>
              <a:gd name="T32" fmla="*/ 270 w 902"/>
              <a:gd name="T33" fmla="*/ 464 h 902"/>
              <a:gd name="T34" fmla="*/ 49 w 902"/>
              <a:gd name="T35" fmla="*/ 425 h 902"/>
              <a:gd name="T36" fmla="*/ 119 w 902"/>
              <a:gd name="T37" fmla="*/ 373 h 902"/>
              <a:gd name="T38" fmla="*/ 408 w 902"/>
              <a:gd name="T39" fmla="*/ 279 h 902"/>
              <a:gd name="T40" fmla="*/ 570 w 902"/>
              <a:gd name="T41" fmla="*/ 305 h 902"/>
              <a:gd name="T42" fmla="*/ 412 w 902"/>
              <a:gd name="T43" fmla="*/ 354 h 902"/>
              <a:gd name="T44" fmla="*/ 122 w 902"/>
              <a:gd name="T45" fmla="*/ 343 h 902"/>
              <a:gd name="T46" fmla="*/ 42 w 902"/>
              <a:gd name="T47" fmla="*/ 245 h 902"/>
              <a:gd name="T48" fmla="*/ 301 w 902"/>
              <a:gd name="T49" fmla="*/ 285 h 902"/>
              <a:gd name="T50" fmla="*/ 459 w 902"/>
              <a:gd name="T51" fmla="*/ 243 h 902"/>
              <a:gd name="T52" fmla="*/ 165 w 902"/>
              <a:gd name="T53" fmla="*/ 246 h 902"/>
              <a:gd name="T54" fmla="*/ 30 w 902"/>
              <a:gd name="T55" fmla="*/ 195 h 902"/>
              <a:gd name="T56" fmla="*/ 221 w 902"/>
              <a:gd name="T57" fmla="*/ 176 h 902"/>
              <a:gd name="T58" fmla="*/ 536 w 902"/>
              <a:gd name="T59" fmla="*/ 148 h 902"/>
              <a:gd name="T60" fmla="*/ 189 w 902"/>
              <a:gd name="T61" fmla="*/ 564 h 902"/>
              <a:gd name="T62" fmla="*/ 31 w 902"/>
              <a:gd name="T63" fmla="*/ 515 h 902"/>
              <a:gd name="T64" fmla="*/ 193 w 902"/>
              <a:gd name="T65" fmla="*/ 490 h 902"/>
              <a:gd name="T66" fmla="*/ 516 w 902"/>
              <a:gd name="T67" fmla="*/ 471 h 902"/>
              <a:gd name="T68" fmla="*/ 417 w 902"/>
              <a:gd name="T69" fmla="*/ 528 h 902"/>
              <a:gd name="T70" fmla="*/ 871 w 902"/>
              <a:gd name="T71" fmla="*/ 605 h 902"/>
              <a:gd name="T72" fmla="*/ 718 w 902"/>
              <a:gd name="T73" fmla="*/ 654 h 902"/>
              <a:gd name="T74" fmla="*/ 419 w 902"/>
              <a:gd name="T75" fmla="*/ 642 h 902"/>
              <a:gd name="T76" fmla="*/ 335 w 902"/>
              <a:gd name="T77" fmla="*/ 592 h 902"/>
              <a:gd name="T78" fmla="*/ 511 w 902"/>
              <a:gd name="T79" fmla="*/ 544 h 902"/>
              <a:gd name="T80" fmla="*/ 802 w 902"/>
              <a:gd name="T81" fmla="*/ 563 h 902"/>
              <a:gd name="T82" fmla="*/ 867 w 902"/>
              <a:gd name="T83" fmla="*/ 715 h 902"/>
              <a:gd name="T84" fmla="*/ 688 w 902"/>
              <a:gd name="T85" fmla="*/ 762 h 902"/>
              <a:gd name="T86" fmla="*/ 404 w 902"/>
              <a:gd name="T87" fmla="*/ 745 h 902"/>
              <a:gd name="T88" fmla="*/ 352 w 902"/>
              <a:gd name="T89" fmla="*/ 654 h 902"/>
              <a:gd name="T90" fmla="*/ 642 w 902"/>
              <a:gd name="T91" fmla="*/ 691 h 902"/>
              <a:gd name="T92" fmla="*/ 872 w 902"/>
              <a:gd name="T93" fmla="*/ 643 h 902"/>
              <a:gd name="T94" fmla="*/ 590 w 902"/>
              <a:gd name="T95" fmla="*/ 63 h 902"/>
              <a:gd name="T96" fmla="*/ 408 w 902"/>
              <a:gd name="T97" fmla="*/ 5 h 902"/>
              <a:gd name="T98" fmla="*/ 118 w 902"/>
              <a:gd name="T99" fmla="*/ 16 h 902"/>
              <a:gd name="T100" fmla="*/ 2 w 902"/>
              <a:gd name="T101" fmla="*/ 78 h 902"/>
              <a:gd name="T102" fmla="*/ 9 w 902"/>
              <a:gd name="T103" fmla="*/ 640 h 902"/>
              <a:gd name="T104" fmla="*/ 181 w 902"/>
              <a:gd name="T105" fmla="*/ 699 h 902"/>
              <a:gd name="T106" fmla="*/ 325 w 902"/>
              <a:gd name="T107" fmla="*/ 851 h 902"/>
              <a:gd name="T108" fmla="*/ 601 w 902"/>
              <a:gd name="T109" fmla="*/ 902 h 902"/>
              <a:gd name="T110" fmla="*/ 877 w 902"/>
              <a:gd name="T111" fmla="*/ 851 h 902"/>
              <a:gd name="T112" fmla="*/ 900 w 902"/>
              <a:gd name="T113" fmla="*/ 590 h 902"/>
              <a:gd name="T114" fmla="*/ 784 w 902"/>
              <a:gd name="T115" fmla="*/ 5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2" h="902">
                <a:moveTo>
                  <a:pt x="601" y="872"/>
                </a:moveTo>
                <a:lnTo>
                  <a:pt x="571" y="870"/>
                </a:lnTo>
                <a:lnTo>
                  <a:pt x="542" y="869"/>
                </a:lnTo>
                <a:lnTo>
                  <a:pt x="515" y="867"/>
                </a:lnTo>
                <a:lnTo>
                  <a:pt x="490" y="865"/>
                </a:lnTo>
                <a:lnTo>
                  <a:pt x="465" y="862"/>
                </a:lnTo>
                <a:lnTo>
                  <a:pt x="444" y="859"/>
                </a:lnTo>
                <a:lnTo>
                  <a:pt x="422" y="854"/>
                </a:lnTo>
                <a:lnTo>
                  <a:pt x="404" y="850"/>
                </a:lnTo>
                <a:lnTo>
                  <a:pt x="388" y="846"/>
                </a:lnTo>
                <a:lnTo>
                  <a:pt x="373" y="840"/>
                </a:lnTo>
                <a:lnTo>
                  <a:pt x="360" y="836"/>
                </a:lnTo>
                <a:lnTo>
                  <a:pt x="349" y="831"/>
                </a:lnTo>
                <a:lnTo>
                  <a:pt x="342" y="825"/>
                </a:lnTo>
                <a:lnTo>
                  <a:pt x="335" y="821"/>
                </a:lnTo>
                <a:lnTo>
                  <a:pt x="332" y="816"/>
                </a:lnTo>
                <a:lnTo>
                  <a:pt x="331" y="812"/>
                </a:lnTo>
                <a:lnTo>
                  <a:pt x="331" y="749"/>
                </a:lnTo>
                <a:lnTo>
                  <a:pt x="342" y="756"/>
                </a:lnTo>
                <a:lnTo>
                  <a:pt x="356" y="761"/>
                </a:lnTo>
                <a:lnTo>
                  <a:pt x="370" y="767"/>
                </a:lnTo>
                <a:lnTo>
                  <a:pt x="386" y="772"/>
                </a:lnTo>
                <a:lnTo>
                  <a:pt x="402" y="776"/>
                </a:lnTo>
                <a:lnTo>
                  <a:pt x="419" y="779"/>
                </a:lnTo>
                <a:lnTo>
                  <a:pt x="437" y="783"/>
                </a:lnTo>
                <a:lnTo>
                  <a:pt x="456" y="786"/>
                </a:lnTo>
                <a:lnTo>
                  <a:pt x="494" y="791"/>
                </a:lnTo>
                <a:lnTo>
                  <a:pt x="531" y="793"/>
                </a:lnTo>
                <a:lnTo>
                  <a:pt x="568" y="795"/>
                </a:lnTo>
                <a:lnTo>
                  <a:pt x="601" y="797"/>
                </a:lnTo>
                <a:lnTo>
                  <a:pt x="635" y="795"/>
                </a:lnTo>
                <a:lnTo>
                  <a:pt x="671" y="793"/>
                </a:lnTo>
                <a:lnTo>
                  <a:pt x="709" y="790"/>
                </a:lnTo>
                <a:lnTo>
                  <a:pt x="747" y="786"/>
                </a:lnTo>
                <a:lnTo>
                  <a:pt x="765" y="783"/>
                </a:lnTo>
                <a:lnTo>
                  <a:pt x="783" y="779"/>
                </a:lnTo>
                <a:lnTo>
                  <a:pt x="800" y="776"/>
                </a:lnTo>
                <a:lnTo>
                  <a:pt x="817" y="772"/>
                </a:lnTo>
                <a:lnTo>
                  <a:pt x="832" y="767"/>
                </a:lnTo>
                <a:lnTo>
                  <a:pt x="847" y="761"/>
                </a:lnTo>
                <a:lnTo>
                  <a:pt x="860" y="756"/>
                </a:lnTo>
                <a:lnTo>
                  <a:pt x="872" y="749"/>
                </a:lnTo>
                <a:lnTo>
                  <a:pt x="872" y="812"/>
                </a:lnTo>
                <a:lnTo>
                  <a:pt x="871" y="816"/>
                </a:lnTo>
                <a:lnTo>
                  <a:pt x="867" y="821"/>
                </a:lnTo>
                <a:lnTo>
                  <a:pt x="861" y="825"/>
                </a:lnTo>
                <a:lnTo>
                  <a:pt x="853" y="831"/>
                </a:lnTo>
                <a:lnTo>
                  <a:pt x="842" y="836"/>
                </a:lnTo>
                <a:lnTo>
                  <a:pt x="830" y="840"/>
                </a:lnTo>
                <a:lnTo>
                  <a:pt x="815" y="846"/>
                </a:lnTo>
                <a:lnTo>
                  <a:pt x="798" y="850"/>
                </a:lnTo>
                <a:lnTo>
                  <a:pt x="780" y="854"/>
                </a:lnTo>
                <a:lnTo>
                  <a:pt x="760" y="859"/>
                </a:lnTo>
                <a:lnTo>
                  <a:pt x="737" y="862"/>
                </a:lnTo>
                <a:lnTo>
                  <a:pt x="713" y="865"/>
                </a:lnTo>
                <a:lnTo>
                  <a:pt x="688" y="867"/>
                </a:lnTo>
                <a:lnTo>
                  <a:pt x="660" y="869"/>
                </a:lnTo>
                <a:lnTo>
                  <a:pt x="632" y="870"/>
                </a:lnTo>
                <a:lnTo>
                  <a:pt x="601" y="872"/>
                </a:lnTo>
                <a:close/>
                <a:moveTo>
                  <a:pt x="30" y="616"/>
                </a:moveTo>
                <a:lnTo>
                  <a:pt x="30" y="553"/>
                </a:lnTo>
                <a:lnTo>
                  <a:pt x="42" y="560"/>
                </a:lnTo>
                <a:lnTo>
                  <a:pt x="55" y="566"/>
                </a:lnTo>
                <a:lnTo>
                  <a:pt x="70" y="572"/>
                </a:lnTo>
                <a:lnTo>
                  <a:pt x="85" y="576"/>
                </a:lnTo>
                <a:lnTo>
                  <a:pt x="102" y="580"/>
                </a:lnTo>
                <a:lnTo>
                  <a:pt x="119" y="584"/>
                </a:lnTo>
                <a:lnTo>
                  <a:pt x="137" y="588"/>
                </a:lnTo>
                <a:lnTo>
                  <a:pt x="155" y="591"/>
                </a:lnTo>
                <a:lnTo>
                  <a:pt x="193" y="595"/>
                </a:lnTo>
                <a:lnTo>
                  <a:pt x="230" y="598"/>
                </a:lnTo>
                <a:lnTo>
                  <a:pt x="267" y="601"/>
                </a:lnTo>
                <a:lnTo>
                  <a:pt x="301" y="601"/>
                </a:lnTo>
                <a:lnTo>
                  <a:pt x="301" y="676"/>
                </a:lnTo>
                <a:lnTo>
                  <a:pt x="270" y="676"/>
                </a:lnTo>
                <a:lnTo>
                  <a:pt x="241" y="674"/>
                </a:lnTo>
                <a:lnTo>
                  <a:pt x="214" y="672"/>
                </a:lnTo>
                <a:lnTo>
                  <a:pt x="189" y="670"/>
                </a:lnTo>
                <a:lnTo>
                  <a:pt x="165" y="667"/>
                </a:lnTo>
                <a:lnTo>
                  <a:pt x="142" y="664"/>
                </a:lnTo>
                <a:lnTo>
                  <a:pt x="122" y="659"/>
                </a:lnTo>
                <a:lnTo>
                  <a:pt x="103" y="655"/>
                </a:lnTo>
                <a:lnTo>
                  <a:pt x="87" y="650"/>
                </a:lnTo>
                <a:lnTo>
                  <a:pt x="72" y="646"/>
                </a:lnTo>
                <a:lnTo>
                  <a:pt x="59" y="640"/>
                </a:lnTo>
                <a:lnTo>
                  <a:pt x="49" y="636"/>
                </a:lnTo>
                <a:lnTo>
                  <a:pt x="41" y="631"/>
                </a:lnTo>
                <a:lnTo>
                  <a:pt x="34" y="625"/>
                </a:lnTo>
                <a:lnTo>
                  <a:pt x="31" y="621"/>
                </a:lnTo>
                <a:lnTo>
                  <a:pt x="30" y="616"/>
                </a:lnTo>
                <a:lnTo>
                  <a:pt x="30" y="616"/>
                </a:lnTo>
                <a:close/>
                <a:moveTo>
                  <a:pt x="301" y="30"/>
                </a:moveTo>
                <a:lnTo>
                  <a:pt x="332" y="30"/>
                </a:lnTo>
                <a:lnTo>
                  <a:pt x="362" y="31"/>
                </a:lnTo>
                <a:lnTo>
                  <a:pt x="391" y="33"/>
                </a:lnTo>
                <a:lnTo>
                  <a:pt x="417" y="36"/>
                </a:lnTo>
                <a:lnTo>
                  <a:pt x="441" y="39"/>
                </a:lnTo>
                <a:lnTo>
                  <a:pt x="463" y="42"/>
                </a:lnTo>
                <a:lnTo>
                  <a:pt x="483" y="47"/>
                </a:lnTo>
                <a:lnTo>
                  <a:pt x="501" y="52"/>
                </a:lnTo>
                <a:lnTo>
                  <a:pt x="517" y="56"/>
                </a:lnTo>
                <a:lnTo>
                  <a:pt x="531" y="62"/>
                </a:lnTo>
                <a:lnTo>
                  <a:pt x="544" y="66"/>
                </a:lnTo>
                <a:lnTo>
                  <a:pt x="554" y="71"/>
                </a:lnTo>
                <a:lnTo>
                  <a:pt x="561" y="77"/>
                </a:lnTo>
                <a:lnTo>
                  <a:pt x="567" y="81"/>
                </a:lnTo>
                <a:lnTo>
                  <a:pt x="570" y="85"/>
                </a:lnTo>
                <a:lnTo>
                  <a:pt x="571" y="90"/>
                </a:lnTo>
                <a:lnTo>
                  <a:pt x="570" y="94"/>
                </a:lnTo>
                <a:lnTo>
                  <a:pt x="567" y="98"/>
                </a:lnTo>
                <a:lnTo>
                  <a:pt x="561" y="102"/>
                </a:lnTo>
                <a:lnTo>
                  <a:pt x="554" y="108"/>
                </a:lnTo>
                <a:lnTo>
                  <a:pt x="544" y="112"/>
                </a:lnTo>
                <a:lnTo>
                  <a:pt x="531" y="117"/>
                </a:lnTo>
                <a:lnTo>
                  <a:pt x="517" y="123"/>
                </a:lnTo>
                <a:lnTo>
                  <a:pt x="501" y="127"/>
                </a:lnTo>
                <a:lnTo>
                  <a:pt x="483" y="131"/>
                </a:lnTo>
                <a:lnTo>
                  <a:pt x="463" y="136"/>
                </a:lnTo>
                <a:lnTo>
                  <a:pt x="441" y="140"/>
                </a:lnTo>
                <a:lnTo>
                  <a:pt x="417" y="143"/>
                </a:lnTo>
                <a:lnTo>
                  <a:pt x="391" y="145"/>
                </a:lnTo>
                <a:lnTo>
                  <a:pt x="362" y="147"/>
                </a:lnTo>
                <a:lnTo>
                  <a:pt x="332" y="150"/>
                </a:lnTo>
                <a:lnTo>
                  <a:pt x="301" y="150"/>
                </a:lnTo>
                <a:lnTo>
                  <a:pt x="269" y="150"/>
                </a:lnTo>
                <a:lnTo>
                  <a:pt x="239" y="147"/>
                </a:lnTo>
                <a:lnTo>
                  <a:pt x="211" y="145"/>
                </a:lnTo>
                <a:lnTo>
                  <a:pt x="184" y="143"/>
                </a:lnTo>
                <a:lnTo>
                  <a:pt x="161" y="140"/>
                </a:lnTo>
                <a:lnTo>
                  <a:pt x="138" y="136"/>
                </a:lnTo>
                <a:lnTo>
                  <a:pt x="118" y="131"/>
                </a:lnTo>
                <a:lnTo>
                  <a:pt x="100" y="127"/>
                </a:lnTo>
                <a:lnTo>
                  <a:pt x="84" y="123"/>
                </a:lnTo>
                <a:lnTo>
                  <a:pt x="70" y="117"/>
                </a:lnTo>
                <a:lnTo>
                  <a:pt x="58" y="112"/>
                </a:lnTo>
                <a:lnTo>
                  <a:pt x="47" y="108"/>
                </a:lnTo>
                <a:lnTo>
                  <a:pt x="40" y="102"/>
                </a:lnTo>
                <a:lnTo>
                  <a:pt x="34" y="98"/>
                </a:lnTo>
                <a:lnTo>
                  <a:pt x="31" y="94"/>
                </a:lnTo>
                <a:lnTo>
                  <a:pt x="30" y="90"/>
                </a:lnTo>
                <a:lnTo>
                  <a:pt x="31" y="85"/>
                </a:lnTo>
                <a:lnTo>
                  <a:pt x="34" y="81"/>
                </a:lnTo>
                <a:lnTo>
                  <a:pt x="40" y="77"/>
                </a:lnTo>
                <a:lnTo>
                  <a:pt x="47" y="71"/>
                </a:lnTo>
                <a:lnTo>
                  <a:pt x="58" y="66"/>
                </a:lnTo>
                <a:lnTo>
                  <a:pt x="70" y="62"/>
                </a:lnTo>
                <a:lnTo>
                  <a:pt x="84" y="56"/>
                </a:lnTo>
                <a:lnTo>
                  <a:pt x="100" y="52"/>
                </a:lnTo>
                <a:lnTo>
                  <a:pt x="118" y="47"/>
                </a:lnTo>
                <a:lnTo>
                  <a:pt x="138" y="42"/>
                </a:lnTo>
                <a:lnTo>
                  <a:pt x="161" y="39"/>
                </a:lnTo>
                <a:lnTo>
                  <a:pt x="184" y="36"/>
                </a:lnTo>
                <a:lnTo>
                  <a:pt x="211" y="33"/>
                </a:lnTo>
                <a:lnTo>
                  <a:pt x="239" y="31"/>
                </a:lnTo>
                <a:lnTo>
                  <a:pt x="269" y="30"/>
                </a:lnTo>
                <a:lnTo>
                  <a:pt x="301" y="30"/>
                </a:lnTo>
                <a:close/>
                <a:moveTo>
                  <a:pt x="301" y="390"/>
                </a:moveTo>
                <a:lnTo>
                  <a:pt x="334" y="390"/>
                </a:lnTo>
                <a:lnTo>
                  <a:pt x="371" y="387"/>
                </a:lnTo>
                <a:lnTo>
                  <a:pt x="408" y="385"/>
                </a:lnTo>
                <a:lnTo>
                  <a:pt x="446" y="380"/>
                </a:lnTo>
                <a:lnTo>
                  <a:pt x="464" y="378"/>
                </a:lnTo>
                <a:lnTo>
                  <a:pt x="482" y="373"/>
                </a:lnTo>
                <a:lnTo>
                  <a:pt x="500" y="370"/>
                </a:lnTo>
                <a:lnTo>
                  <a:pt x="516" y="366"/>
                </a:lnTo>
                <a:lnTo>
                  <a:pt x="532" y="361"/>
                </a:lnTo>
                <a:lnTo>
                  <a:pt x="546" y="355"/>
                </a:lnTo>
                <a:lnTo>
                  <a:pt x="559" y="350"/>
                </a:lnTo>
                <a:lnTo>
                  <a:pt x="571" y="343"/>
                </a:lnTo>
                <a:lnTo>
                  <a:pt x="571" y="406"/>
                </a:lnTo>
                <a:lnTo>
                  <a:pt x="570" y="410"/>
                </a:lnTo>
                <a:lnTo>
                  <a:pt x="567" y="415"/>
                </a:lnTo>
                <a:lnTo>
                  <a:pt x="560" y="419"/>
                </a:lnTo>
                <a:lnTo>
                  <a:pt x="552" y="425"/>
                </a:lnTo>
                <a:lnTo>
                  <a:pt x="542" y="430"/>
                </a:lnTo>
                <a:lnTo>
                  <a:pt x="529" y="434"/>
                </a:lnTo>
                <a:lnTo>
                  <a:pt x="514" y="440"/>
                </a:lnTo>
                <a:lnTo>
                  <a:pt x="498" y="444"/>
                </a:lnTo>
                <a:lnTo>
                  <a:pt x="479" y="448"/>
                </a:lnTo>
                <a:lnTo>
                  <a:pt x="459" y="453"/>
                </a:lnTo>
                <a:lnTo>
                  <a:pt x="437" y="456"/>
                </a:lnTo>
                <a:lnTo>
                  <a:pt x="412" y="459"/>
                </a:lnTo>
                <a:lnTo>
                  <a:pt x="387" y="462"/>
                </a:lnTo>
                <a:lnTo>
                  <a:pt x="360" y="463"/>
                </a:lnTo>
                <a:lnTo>
                  <a:pt x="331" y="464"/>
                </a:lnTo>
                <a:lnTo>
                  <a:pt x="301" y="466"/>
                </a:lnTo>
                <a:lnTo>
                  <a:pt x="270" y="464"/>
                </a:lnTo>
                <a:lnTo>
                  <a:pt x="241" y="463"/>
                </a:lnTo>
                <a:lnTo>
                  <a:pt x="214" y="462"/>
                </a:lnTo>
                <a:lnTo>
                  <a:pt x="189" y="459"/>
                </a:lnTo>
                <a:lnTo>
                  <a:pt x="165" y="456"/>
                </a:lnTo>
                <a:lnTo>
                  <a:pt x="142" y="453"/>
                </a:lnTo>
                <a:lnTo>
                  <a:pt x="122" y="448"/>
                </a:lnTo>
                <a:lnTo>
                  <a:pt x="103" y="444"/>
                </a:lnTo>
                <a:lnTo>
                  <a:pt x="87" y="440"/>
                </a:lnTo>
                <a:lnTo>
                  <a:pt x="72" y="434"/>
                </a:lnTo>
                <a:lnTo>
                  <a:pt x="59" y="430"/>
                </a:lnTo>
                <a:lnTo>
                  <a:pt x="49" y="425"/>
                </a:lnTo>
                <a:lnTo>
                  <a:pt x="41" y="419"/>
                </a:lnTo>
                <a:lnTo>
                  <a:pt x="34" y="415"/>
                </a:lnTo>
                <a:lnTo>
                  <a:pt x="31" y="410"/>
                </a:lnTo>
                <a:lnTo>
                  <a:pt x="30" y="406"/>
                </a:lnTo>
                <a:lnTo>
                  <a:pt x="30" y="343"/>
                </a:lnTo>
                <a:lnTo>
                  <a:pt x="42" y="350"/>
                </a:lnTo>
                <a:lnTo>
                  <a:pt x="55" y="355"/>
                </a:lnTo>
                <a:lnTo>
                  <a:pt x="70" y="361"/>
                </a:lnTo>
                <a:lnTo>
                  <a:pt x="85" y="366"/>
                </a:lnTo>
                <a:lnTo>
                  <a:pt x="102" y="370"/>
                </a:lnTo>
                <a:lnTo>
                  <a:pt x="119" y="373"/>
                </a:lnTo>
                <a:lnTo>
                  <a:pt x="137" y="378"/>
                </a:lnTo>
                <a:lnTo>
                  <a:pt x="155" y="380"/>
                </a:lnTo>
                <a:lnTo>
                  <a:pt x="193" y="385"/>
                </a:lnTo>
                <a:lnTo>
                  <a:pt x="230" y="387"/>
                </a:lnTo>
                <a:lnTo>
                  <a:pt x="267" y="390"/>
                </a:lnTo>
                <a:lnTo>
                  <a:pt x="301" y="391"/>
                </a:lnTo>
                <a:lnTo>
                  <a:pt x="301" y="390"/>
                </a:lnTo>
                <a:close/>
                <a:moveTo>
                  <a:pt x="301" y="285"/>
                </a:moveTo>
                <a:lnTo>
                  <a:pt x="334" y="285"/>
                </a:lnTo>
                <a:lnTo>
                  <a:pt x="371" y="282"/>
                </a:lnTo>
                <a:lnTo>
                  <a:pt x="408" y="279"/>
                </a:lnTo>
                <a:lnTo>
                  <a:pt x="446" y="275"/>
                </a:lnTo>
                <a:lnTo>
                  <a:pt x="464" y="272"/>
                </a:lnTo>
                <a:lnTo>
                  <a:pt x="482" y="268"/>
                </a:lnTo>
                <a:lnTo>
                  <a:pt x="500" y="265"/>
                </a:lnTo>
                <a:lnTo>
                  <a:pt x="516" y="261"/>
                </a:lnTo>
                <a:lnTo>
                  <a:pt x="532" y="256"/>
                </a:lnTo>
                <a:lnTo>
                  <a:pt x="546" y="250"/>
                </a:lnTo>
                <a:lnTo>
                  <a:pt x="559" y="245"/>
                </a:lnTo>
                <a:lnTo>
                  <a:pt x="571" y="238"/>
                </a:lnTo>
                <a:lnTo>
                  <a:pt x="571" y="300"/>
                </a:lnTo>
                <a:lnTo>
                  <a:pt x="570" y="305"/>
                </a:lnTo>
                <a:lnTo>
                  <a:pt x="567" y="309"/>
                </a:lnTo>
                <a:lnTo>
                  <a:pt x="560" y="315"/>
                </a:lnTo>
                <a:lnTo>
                  <a:pt x="552" y="320"/>
                </a:lnTo>
                <a:lnTo>
                  <a:pt x="542" y="325"/>
                </a:lnTo>
                <a:lnTo>
                  <a:pt x="529" y="330"/>
                </a:lnTo>
                <a:lnTo>
                  <a:pt x="514" y="335"/>
                </a:lnTo>
                <a:lnTo>
                  <a:pt x="498" y="339"/>
                </a:lnTo>
                <a:lnTo>
                  <a:pt x="479" y="343"/>
                </a:lnTo>
                <a:lnTo>
                  <a:pt x="459" y="348"/>
                </a:lnTo>
                <a:lnTo>
                  <a:pt x="437" y="351"/>
                </a:lnTo>
                <a:lnTo>
                  <a:pt x="412" y="354"/>
                </a:lnTo>
                <a:lnTo>
                  <a:pt x="387" y="356"/>
                </a:lnTo>
                <a:lnTo>
                  <a:pt x="360" y="358"/>
                </a:lnTo>
                <a:lnTo>
                  <a:pt x="331" y="360"/>
                </a:lnTo>
                <a:lnTo>
                  <a:pt x="301" y="361"/>
                </a:lnTo>
                <a:lnTo>
                  <a:pt x="270" y="360"/>
                </a:lnTo>
                <a:lnTo>
                  <a:pt x="241" y="358"/>
                </a:lnTo>
                <a:lnTo>
                  <a:pt x="214" y="356"/>
                </a:lnTo>
                <a:lnTo>
                  <a:pt x="189" y="354"/>
                </a:lnTo>
                <a:lnTo>
                  <a:pt x="165" y="351"/>
                </a:lnTo>
                <a:lnTo>
                  <a:pt x="142" y="348"/>
                </a:lnTo>
                <a:lnTo>
                  <a:pt x="122" y="343"/>
                </a:lnTo>
                <a:lnTo>
                  <a:pt x="103" y="339"/>
                </a:lnTo>
                <a:lnTo>
                  <a:pt x="87" y="335"/>
                </a:lnTo>
                <a:lnTo>
                  <a:pt x="72" y="330"/>
                </a:lnTo>
                <a:lnTo>
                  <a:pt x="59" y="325"/>
                </a:lnTo>
                <a:lnTo>
                  <a:pt x="49" y="320"/>
                </a:lnTo>
                <a:lnTo>
                  <a:pt x="41" y="315"/>
                </a:lnTo>
                <a:lnTo>
                  <a:pt x="34" y="309"/>
                </a:lnTo>
                <a:lnTo>
                  <a:pt x="31" y="305"/>
                </a:lnTo>
                <a:lnTo>
                  <a:pt x="30" y="300"/>
                </a:lnTo>
                <a:lnTo>
                  <a:pt x="30" y="237"/>
                </a:lnTo>
                <a:lnTo>
                  <a:pt x="42" y="245"/>
                </a:lnTo>
                <a:lnTo>
                  <a:pt x="55" y="250"/>
                </a:lnTo>
                <a:lnTo>
                  <a:pt x="70" y="256"/>
                </a:lnTo>
                <a:lnTo>
                  <a:pt x="85" y="261"/>
                </a:lnTo>
                <a:lnTo>
                  <a:pt x="102" y="265"/>
                </a:lnTo>
                <a:lnTo>
                  <a:pt x="119" y="268"/>
                </a:lnTo>
                <a:lnTo>
                  <a:pt x="137" y="272"/>
                </a:lnTo>
                <a:lnTo>
                  <a:pt x="155" y="275"/>
                </a:lnTo>
                <a:lnTo>
                  <a:pt x="193" y="279"/>
                </a:lnTo>
                <a:lnTo>
                  <a:pt x="230" y="282"/>
                </a:lnTo>
                <a:lnTo>
                  <a:pt x="267" y="285"/>
                </a:lnTo>
                <a:lnTo>
                  <a:pt x="301" y="285"/>
                </a:lnTo>
                <a:close/>
                <a:moveTo>
                  <a:pt x="571" y="195"/>
                </a:moveTo>
                <a:lnTo>
                  <a:pt x="570" y="199"/>
                </a:lnTo>
                <a:lnTo>
                  <a:pt x="567" y="204"/>
                </a:lnTo>
                <a:lnTo>
                  <a:pt x="560" y="210"/>
                </a:lnTo>
                <a:lnTo>
                  <a:pt x="552" y="215"/>
                </a:lnTo>
                <a:lnTo>
                  <a:pt x="542" y="219"/>
                </a:lnTo>
                <a:lnTo>
                  <a:pt x="529" y="225"/>
                </a:lnTo>
                <a:lnTo>
                  <a:pt x="514" y="229"/>
                </a:lnTo>
                <a:lnTo>
                  <a:pt x="498" y="234"/>
                </a:lnTo>
                <a:lnTo>
                  <a:pt x="479" y="238"/>
                </a:lnTo>
                <a:lnTo>
                  <a:pt x="459" y="243"/>
                </a:lnTo>
                <a:lnTo>
                  <a:pt x="437" y="246"/>
                </a:lnTo>
                <a:lnTo>
                  <a:pt x="412" y="249"/>
                </a:lnTo>
                <a:lnTo>
                  <a:pt x="387" y="251"/>
                </a:lnTo>
                <a:lnTo>
                  <a:pt x="360" y="253"/>
                </a:lnTo>
                <a:lnTo>
                  <a:pt x="331" y="255"/>
                </a:lnTo>
                <a:lnTo>
                  <a:pt x="301" y="255"/>
                </a:lnTo>
                <a:lnTo>
                  <a:pt x="270" y="255"/>
                </a:lnTo>
                <a:lnTo>
                  <a:pt x="241" y="253"/>
                </a:lnTo>
                <a:lnTo>
                  <a:pt x="214" y="251"/>
                </a:lnTo>
                <a:lnTo>
                  <a:pt x="189" y="249"/>
                </a:lnTo>
                <a:lnTo>
                  <a:pt x="165" y="246"/>
                </a:lnTo>
                <a:lnTo>
                  <a:pt x="142" y="242"/>
                </a:lnTo>
                <a:lnTo>
                  <a:pt x="122" y="238"/>
                </a:lnTo>
                <a:lnTo>
                  <a:pt x="103" y="234"/>
                </a:lnTo>
                <a:lnTo>
                  <a:pt x="87" y="229"/>
                </a:lnTo>
                <a:lnTo>
                  <a:pt x="72" y="225"/>
                </a:lnTo>
                <a:lnTo>
                  <a:pt x="59" y="219"/>
                </a:lnTo>
                <a:lnTo>
                  <a:pt x="49" y="215"/>
                </a:lnTo>
                <a:lnTo>
                  <a:pt x="41" y="210"/>
                </a:lnTo>
                <a:lnTo>
                  <a:pt x="34" y="204"/>
                </a:lnTo>
                <a:lnTo>
                  <a:pt x="31" y="200"/>
                </a:lnTo>
                <a:lnTo>
                  <a:pt x="30" y="195"/>
                </a:lnTo>
                <a:lnTo>
                  <a:pt x="30" y="131"/>
                </a:lnTo>
                <a:lnTo>
                  <a:pt x="41" y="138"/>
                </a:lnTo>
                <a:lnTo>
                  <a:pt x="53" y="143"/>
                </a:lnTo>
                <a:lnTo>
                  <a:pt x="65" y="148"/>
                </a:lnTo>
                <a:lnTo>
                  <a:pt x="79" y="153"/>
                </a:lnTo>
                <a:lnTo>
                  <a:pt x="94" y="157"/>
                </a:lnTo>
                <a:lnTo>
                  <a:pt x="110" y="161"/>
                </a:lnTo>
                <a:lnTo>
                  <a:pt x="127" y="165"/>
                </a:lnTo>
                <a:lnTo>
                  <a:pt x="145" y="168"/>
                </a:lnTo>
                <a:lnTo>
                  <a:pt x="182" y="173"/>
                </a:lnTo>
                <a:lnTo>
                  <a:pt x="221" y="176"/>
                </a:lnTo>
                <a:lnTo>
                  <a:pt x="260" y="178"/>
                </a:lnTo>
                <a:lnTo>
                  <a:pt x="301" y="180"/>
                </a:lnTo>
                <a:lnTo>
                  <a:pt x="341" y="178"/>
                </a:lnTo>
                <a:lnTo>
                  <a:pt x="380" y="176"/>
                </a:lnTo>
                <a:lnTo>
                  <a:pt x="419" y="173"/>
                </a:lnTo>
                <a:lnTo>
                  <a:pt x="456" y="168"/>
                </a:lnTo>
                <a:lnTo>
                  <a:pt x="474" y="165"/>
                </a:lnTo>
                <a:lnTo>
                  <a:pt x="491" y="161"/>
                </a:lnTo>
                <a:lnTo>
                  <a:pt x="507" y="157"/>
                </a:lnTo>
                <a:lnTo>
                  <a:pt x="522" y="153"/>
                </a:lnTo>
                <a:lnTo>
                  <a:pt x="536" y="148"/>
                </a:lnTo>
                <a:lnTo>
                  <a:pt x="548" y="143"/>
                </a:lnTo>
                <a:lnTo>
                  <a:pt x="560" y="138"/>
                </a:lnTo>
                <a:lnTo>
                  <a:pt x="571" y="131"/>
                </a:lnTo>
                <a:lnTo>
                  <a:pt x="571" y="195"/>
                </a:lnTo>
                <a:close/>
                <a:moveTo>
                  <a:pt x="315" y="571"/>
                </a:moveTo>
                <a:lnTo>
                  <a:pt x="307" y="571"/>
                </a:lnTo>
                <a:lnTo>
                  <a:pt x="301" y="571"/>
                </a:lnTo>
                <a:lnTo>
                  <a:pt x="270" y="571"/>
                </a:lnTo>
                <a:lnTo>
                  <a:pt x="241" y="569"/>
                </a:lnTo>
                <a:lnTo>
                  <a:pt x="214" y="567"/>
                </a:lnTo>
                <a:lnTo>
                  <a:pt x="189" y="564"/>
                </a:lnTo>
                <a:lnTo>
                  <a:pt x="165" y="562"/>
                </a:lnTo>
                <a:lnTo>
                  <a:pt x="142" y="558"/>
                </a:lnTo>
                <a:lnTo>
                  <a:pt x="122" y="554"/>
                </a:lnTo>
                <a:lnTo>
                  <a:pt x="103" y="550"/>
                </a:lnTo>
                <a:lnTo>
                  <a:pt x="87" y="545"/>
                </a:lnTo>
                <a:lnTo>
                  <a:pt x="72" y="541"/>
                </a:lnTo>
                <a:lnTo>
                  <a:pt x="59" y="535"/>
                </a:lnTo>
                <a:lnTo>
                  <a:pt x="49" y="530"/>
                </a:lnTo>
                <a:lnTo>
                  <a:pt x="41" y="526"/>
                </a:lnTo>
                <a:lnTo>
                  <a:pt x="34" y="520"/>
                </a:lnTo>
                <a:lnTo>
                  <a:pt x="31" y="515"/>
                </a:lnTo>
                <a:lnTo>
                  <a:pt x="30" y="511"/>
                </a:lnTo>
                <a:lnTo>
                  <a:pt x="30" y="448"/>
                </a:lnTo>
                <a:lnTo>
                  <a:pt x="42" y="455"/>
                </a:lnTo>
                <a:lnTo>
                  <a:pt x="55" y="461"/>
                </a:lnTo>
                <a:lnTo>
                  <a:pt x="70" y="467"/>
                </a:lnTo>
                <a:lnTo>
                  <a:pt x="85" y="471"/>
                </a:lnTo>
                <a:lnTo>
                  <a:pt x="102" y="475"/>
                </a:lnTo>
                <a:lnTo>
                  <a:pt x="119" y="479"/>
                </a:lnTo>
                <a:lnTo>
                  <a:pt x="137" y="483"/>
                </a:lnTo>
                <a:lnTo>
                  <a:pt x="155" y="486"/>
                </a:lnTo>
                <a:lnTo>
                  <a:pt x="193" y="490"/>
                </a:lnTo>
                <a:lnTo>
                  <a:pt x="230" y="493"/>
                </a:lnTo>
                <a:lnTo>
                  <a:pt x="267" y="494"/>
                </a:lnTo>
                <a:lnTo>
                  <a:pt x="301" y="496"/>
                </a:lnTo>
                <a:lnTo>
                  <a:pt x="334" y="494"/>
                </a:lnTo>
                <a:lnTo>
                  <a:pt x="371" y="493"/>
                </a:lnTo>
                <a:lnTo>
                  <a:pt x="408" y="490"/>
                </a:lnTo>
                <a:lnTo>
                  <a:pt x="446" y="486"/>
                </a:lnTo>
                <a:lnTo>
                  <a:pt x="464" y="483"/>
                </a:lnTo>
                <a:lnTo>
                  <a:pt x="482" y="479"/>
                </a:lnTo>
                <a:lnTo>
                  <a:pt x="500" y="475"/>
                </a:lnTo>
                <a:lnTo>
                  <a:pt x="516" y="471"/>
                </a:lnTo>
                <a:lnTo>
                  <a:pt x="532" y="467"/>
                </a:lnTo>
                <a:lnTo>
                  <a:pt x="546" y="461"/>
                </a:lnTo>
                <a:lnTo>
                  <a:pt x="559" y="455"/>
                </a:lnTo>
                <a:lnTo>
                  <a:pt x="571" y="448"/>
                </a:lnTo>
                <a:lnTo>
                  <a:pt x="571" y="511"/>
                </a:lnTo>
                <a:lnTo>
                  <a:pt x="571" y="511"/>
                </a:lnTo>
                <a:lnTo>
                  <a:pt x="571" y="511"/>
                </a:lnTo>
                <a:lnTo>
                  <a:pt x="530" y="513"/>
                </a:lnTo>
                <a:lnTo>
                  <a:pt x="491" y="516"/>
                </a:lnTo>
                <a:lnTo>
                  <a:pt x="452" y="521"/>
                </a:lnTo>
                <a:lnTo>
                  <a:pt x="417" y="528"/>
                </a:lnTo>
                <a:lnTo>
                  <a:pt x="400" y="532"/>
                </a:lnTo>
                <a:lnTo>
                  <a:pt x="384" y="536"/>
                </a:lnTo>
                <a:lnTo>
                  <a:pt x="370" y="541"/>
                </a:lnTo>
                <a:lnTo>
                  <a:pt x="356" y="546"/>
                </a:lnTo>
                <a:lnTo>
                  <a:pt x="343" y="551"/>
                </a:lnTo>
                <a:lnTo>
                  <a:pt x="332" y="558"/>
                </a:lnTo>
                <a:lnTo>
                  <a:pt x="322" y="563"/>
                </a:lnTo>
                <a:lnTo>
                  <a:pt x="315" y="571"/>
                </a:lnTo>
                <a:lnTo>
                  <a:pt x="315" y="571"/>
                </a:lnTo>
                <a:close/>
                <a:moveTo>
                  <a:pt x="872" y="601"/>
                </a:moveTo>
                <a:lnTo>
                  <a:pt x="871" y="605"/>
                </a:lnTo>
                <a:lnTo>
                  <a:pt x="868" y="609"/>
                </a:lnTo>
                <a:lnTo>
                  <a:pt x="862" y="613"/>
                </a:lnTo>
                <a:lnTo>
                  <a:pt x="854" y="619"/>
                </a:lnTo>
                <a:lnTo>
                  <a:pt x="844" y="624"/>
                </a:lnTo>
                <a:lnTo>
                  <a:pt x="832" y="628"/>
                </a:lnTo>
                <a:lnTo>
                  <a:pt x="818" y="634"/>
                </a:lnTo>
                <a:lnTo>
                  <a:pt x="802" y="638"/>
                </a:lnTo>
                <a:lnTo>
                  <a:pt x="784" y="643"/>
                </a:lnTo>
                <a:lnTo>
                  <a:pt x="764" y="647"/>
                </a:lnTo>
                <a:lnTo>
                  <a:pt x="741" y="651"/>
                </a:lnTo>
                <a:lnTo>
                  <a:pt x="718" y="654"/>
                </a:lnTo>
                <a:lnTo>
                  <a:pt x="691" y="657"/>
                </a:lnTo>
                <a:lnTo>
                  <a:pt x="663" y="659"/>
                </a:lnTo>
                <a:lnTo>
                  <a:pt x="633" y="661"/>
                </a:lnTo>
                <a:lnTo>
                  <a:pt x="601" y="661"/>
                </a:lnTo>
                <a:lnTo>
                  <a:pt x="569" y="661"/>
                </a:lnTo>
                <a:lnTo>
                  <a:pt x="539" y="659"/>
                </a:lnTo>
                <a:lnTo>
                  <a:pt x="511" y="657"/>
                </a:lnTo>
                <a:lnTo>
                  <a:pt x="485" y="654"/>
                </a:lnTo>
                <a:lnTo>
                  <a:pt x="461" y="651"/>
                </a:lnTo>
                <a:lnTo>
                  <a:pt x="438" y="647"/>
                </a:lnTo>
                <a:lnTo>
                  <a:pt x="419" y="642"/>
                </a:lnTo>
                <a:lnTo>
                  <a:pt x="401" y="638"/>
                </a:lnTo>
                <a:lnTo>
                  <a:pt x="385" y="634"/>
                </a:lnTo>
                <a:lnTo>
                  <a:pt x="370" y="628"/>
                </a:lnTo>
                <a:lnTo>
                  <a:pt x="358" y="624"/>
                </a:lnTo>
                <a:lnTo>
                  <a:pt x="348" y="619"/>
                </a:lnTo>
                <a:lnTo>
                  <a:pt x="341" y="613"/>
                </a:lnTo>
                <a:lnTo>
                  <a:pt x="335" y="609"/>
                </a:lnTo>
                <a:lnTo>
                  <a:pt x="332" y="605"/>
                </a:lnTo>
                <a:lnTo>
                  <a:pt x="331" y="601"/>
                </a:lnTo>
                <a:lnTo>
                  <a:pt x="332" y="596"/>
                </a:lnTo>
                <a:lnTo>
                  <a:pt x="335" y="592"/>
                </a:lnTo>
                <a:lnTo>
                  <a:pt x="341" y="588"/>
                </a:lnTo>
                <a:lnTo>
                  <a:pt x="348" y="582"/>
                </a:lnTo>
                <a:lnTo>
                  <a:pt x="358" y="578"/>
                </a:lnTo>
                <a:lnTo>
                  <a:pt x="370" y="573"/>
                </a:lnTo>
                <a:lnTo>
                  <a:pt x="385" y="567"/>
                </a:lnTo>
                <a:lnTo>
                  <a:pt x="401" y="563"/>
                </a:lnTo>
                <a:lnTo>
                  <a:pt x="419" y="559"/>
                </a:lnTo>
                <a:lnTo>
                  <a:pt x="438" y="554"/>
                </a:lnTo>
                <a:lnTo>
                  <a:pt x="461" y="550"/>
                </a:lnTo>
                <a:lnTo>
                  <a:pt x="485" y="547"/>
                </a:lnTo>
                <a:lnTo>
                  <a:pt x="511" y="544"/>
                </a:lnTo>
                <a:lnTo>
                  <a:pt x="539" y="543"/>
                </a:lnTo>
                <a:lnTo>
                  <a:pt x="569" y="541"/>
                </a:lnTo>
                <a:lnTo>
                  <a:pt x="601" y="541"/>
                </a:lnTo>
                <a:lnTo>
                  <a:pt x="633" y="541"/>
                </a:lnTo>
                <a:lnTo>
                  <a:pt x="663" y="543"/>
                </a:lnTo>
                <a:lnTo>
                  <a:pt x="691" y="544"/>
                </a:lnTo>
                <a:lnTo>
                  <a:pt x="718" y="547"/>
                </a:lnTo>
                <a:lnTo>
                  <a:pt x="741" y="550"/>
                </a:lnTo>
                <a:lnTo>
                  <a:pt x="764" y="554"/>
                </a:lnTo>
                <a:lnTo>
                  <a:pt x="784" y="559"/>
                </a:lnTo>
                <a:lnTo>
                  <a:pt x="802" y="563"/>
                </a:lnTo>
                <a:lnTo>
                  <a:pt x="818" y="567"/>
                </a:lnTo>
                <a:lnTo>
                  <a:pt x="832" y="573"/>
                </a:lnTo>
                <a:lnTo>
                  <a:pt x="844" y="578"/>
                </a:lnTo>
                <a:lnTo>
                  <a:pt x="854" y="582"/>
                </a:lnTo>
                <a:lnTo>
                  <a:pt x="862" y="588"/>
                </a:lnTo>
                <a:lnTo>
                  <a:pt x="868" y="592"/>
                </a:lnTo>
                <a:lnTo>
                  <a:pt x="871" y="596"/>
                </a:lnTo>
                <a:lnTo>
                  <a:pt x="872" y="601"/>
                </a:lnTo>
                <a:close/>
                <a:moveTo>
                  <a:pt x="872" y="706"/>
                </a:moveTo>
                <a:lnTo>
                  <a:pt x="871" y="711"/>
                </a:lnTo>
                <a:lnTo>
                  <a:pt x="867" y="715"/>
                </a:lnTo>
                <a:lnTo>
                  <a:pt x="861" y="721"/>
                </a:lnTo>
                <a:lnTo>
                  <a:pt x="853" y="726"/>
                </a:lnTo>
                <a:lnTo>
                  <a:pt x="842" y="730"/>
                </a:lnTo>
                <a:lnTo>
                  <a:pt x="830" y="735"/>
                </a:lnTo>
                <a:lnTo>
                  <a:pt x="815" y="741"/>
                </a:lnTo>
                <a:lnTo>
                  <a:pt x="798" y="745"/>
                </a:lnTo>
                <a:lnTo>
                  <a:pt x="780" y="749"/>
                </a:lnTo>
                <a:lnTo>
                  <a:pt x="760" y="754"/>
                </a:lnTo>
                <a:lnTo>
                  <a:pt x="737" y="757"/>
                </a:lnTo>
                <a:lnTo>
                  <a:pt x="713" y="760"/>
                </a:lnTo>
                <a:lnTo>
                  <a:pt x="688" y="762"/>
                </a:lnTo>
                <a:lnTo>
                  <a:pt x="660" y="764"/>
                </a:lnTo>
                <a:lnTo>
                  <a:pt x="632" y="765"/>
                </a:lnTo>
                <a:lnTo>
                  <a:pt x="601" y="765"/>
                </a:lnTo>
                <a:lnTo>
                  <a:pt x="571" y="765"/>
                </a:lnTo>
                <a:lnTo>
                  <a:pt x="542" y="764"/>
                </a:lnTo>
                <a:lnTo>
                  <a:pt x="515" y="762"/>
                </a:lnTo>
                <a:lnTo>
                  <a:pt x="490" y="760"/>
                </a:lnTo>
                <a:lnTo>
                  <a:pt x="465" y="757"/>
                </a:lnTo>
                <a:lnTo>
                  <a:pt x="444" y="754"/>
                </a:lnTo>
                <a:lnTo>
                  <a:pt x="422" y="749"/>
                </a:lnTo>
                <a:lnTo>
                  <a:pt x="404" y="745"/>
                </a:lnTo>
                <a:lnTo>
                  <a:pt x="388" y="741"/>
                </a:lnTo>
                <a:lnTo>
                  <a:pt x="373" y="735"/>
                </a:lnTo>
                <a:lnTo>
                  <a:pt x="360" y="730"/>
                </a:lnTo>
                <a:lnTo>
                  <a:pt x="349" y="726"/>
                </a:lnTo>
                <a:lnTo>
                  <a:pt x="342" y="721"/>
                </a:lnTo>
                <a:lnTo>
                  <a:pt x="335" y="715"/>
                </a:lnTo>
                <a:lnTo>
                  <a:pt x="332" y="711"/>
                </a:lnTo>
                <a:lnTo>
                  <a:pt x="331" y="706"/>
                </a:lnTo>
                <a:lnTo>
                  <a:pt x="331" y="643"/>
                </a:lnTo>
                <a:lnTo>
                  <a:pt x="341" y="649"/>
                </a:lnTo>
                <a:lnTo>
                  <a:pt x="352" y="654"/>
                </a:lnTo>
                <a:lnTo>
                  <a:pt x="366" y="659"/>
                </a:lnTo>
                <a:lnTo>
                  <a:pt x="380" y="664"/>
                </a:lnTo>
                <a:lnTo>
                  <a:pt x="395" y="668"/>
                </a:lnTo>
                <a:lnTo>
                  <a:pt x="411" y="672"/>
                </a:lnTo>
                <a:lnTo>
                  <a:pt x="429" y="676"/>
                </a:lnTo>
                <a:lnTo>
                  <a:pt x="446" y="679"/>
                </a:lnTo>
                <a:lnTo>
                  <a:pt x="483" y="684"/>
                </a:lnTo>
                <a:lnTo>
                  <a:pt x="522" y="688"/>
                </a:lnTo>
                <a:lnTo>
                  <a:pt x="561" y="691"/>
                </a:lnTo>
                <a:lnTo>
                  <a:pt x="601" y="691"/>
                </a:lnTo>
                <a:lnTo>
                  <a:pt x="642" y="691"/>
                </a:lnTo>
                <a:lnTo>
                  <a:pt x="681" y="688"/>
                </a:lnTo>
                <a:lnTo>
                  <a:pt x="720" y="684"/>
                </a:lnTo>
                <a:lnTo>
                  <a:pt x="757" y="679"/>
                </a:lnTo>
                <a:lnTo>
                  <a:pt x="775" y="676"/>
                </a:lnTo>
                <a:lnTo>
                  <a:pt x="792" y="672"/>
                </a:lnTo>
                <a:lnTo>
                  <a:pt x="808" y="668"/>
                </a:lnTo>
                <a:lnTo>
                  <a:pt x="823" y="664"/>
                </a:lnTo>
                <a:lnTo>
                  <a:pt x="837" y="659"/>
                </a:lnTo>
                <a:lnTo>
                  <a:pt x="850" y="654"/>
                </a:lnTo>
                <a:lnTo>
                  <a:pt x="861" y="649"/>
                </a:lnTo>
                <a:lnTo>
                  <a:pt x="872" y="643"/>
                </a:lnTo>
                <a:lnTo>
                  <a:pt x="872" y="706"/>
                </a:lnTo>
                <a:close/>
                <a:moveTo>
                  <a:pt x="601" y="511"/>
                </a:moveTo>
                <a:lnTo>
                  <a:pt x="601" y="406"/>
                </a:lnTo>
                <a:lnTo>
                  <a:pt x="601" y="300"/>
                </a:lnTo>
                <a:lnTo>
                  <a:pt x="601" y="195"/>
                </a:lnTo>
                <a:lnTo>
                  <a:pt x="601" y="90"/>
                </a:lnTo>
                <a:lnTo>
                  <a:pt x="601" y="83"/>
                </a:lnTo>
                <a:lnTo>
                  <a:pt x="600" y="78"/>
                </a:lnTo>
                <a:lnTo>
                  <a:pt x="598" y="72"/>
                </a:lnTo>
                <a:lnTo>
                  <a:pt x="595" y="68"/>
                </a:lnTo>
                <a:lnTo>
                  <a:pt x="590" y="63"/>
                </a:lnTo>
                <a:lnTo>
                  <a:pt x="586" y="59"/>
                </a:lnTo>
                <a:lnTo>
                  <a:pt x="581" y="53"/>
                </a:lnTo>
                <a:lnTo>
                  <a:pt x="574" y="49"/>
                </a:lnTo>
                <a:lnTo>
                  <a:pt x="560" y="41"/>
                </a:lnTo>
                <a:lnTo>
                  <a:pt x="544" y="34"/>
                </a:lnTo>
                <a:lnTo>
                  <a:pt x="526" y="27"/>
                </a:lnTo>
                <a:lnTo>
                  <a:pt x="506" y="21"/>
                </a:lnTo>
                <a:lnTo>
                  <a:pt x="483" y="16"/>
                </a:lnTo>
                <a:lnTo>
                  <a:pt x="460" y="11"/>
                </a:lnTo>
                <a:lnTo>
                  <a:pt x="435" y="8"/>
                </a:lnTo>
                <a:lnTo>
                  <a:pt x="408" y="5"/>
                </a:lnTo>
                <a:lnTo>
                  <a:pt x="382" y="2"/>
                </a:lnTo>
                <a:lnTo>
                  <a:pt x="355" y="1"/>
                </a:lnTo>
                <a:lnTo>
                  <a:pt x="328" y="0"/>
                </a:lnTo>
                <a:lnTo>
                  <a:pt x="301" y="0"/>
                </a:lnTo>
                <a:lnTo>
                  <a:pt x="273" y="0"/>
                </a:lnTo>
                <a:lnTo>
                  <a:pt x="246" y="1"/>
                </a:lnTo>
                <a:lnTo>
                  <a:pt x="219" y="2"/>
                </a:lnTo>
                <a:lnTo>
                  <a:pt x="193" y="5"/>
                </a:lnTo>
                <a:lnTo>
                  <a:pt x="167" y="8"/>
                </a:lnTo>
                <a:lnTo>
                  <a:pt x="141" y="11"/>
                </a:lnTo>
                <a:lnTo>
                  <a:pt x="118" y="16"/>
                </a:lnTo>
                <a:lnTo>
                  <a:pt x="96" y="21"/>
                </a:lnTo>
                <a:lnTo>
                  <a:pt x="75" y="27"/>
                </a:lnTo>
                <a:lnTo>
                  <a:pt x="57" y="34"/>
                </a:lnTo>
                <a:lnTo>
                  <a:pt x="41" y="41"/>
                </a:lnTo>
                <a:lnTo>
                  <a:pt x="27" y="49"/>
                </a:lnTo>
                <a:lnTo>
                  <a:pt x="20" y="53"/>
                </a:lnTo>
                <a:lnTo>
                  <a:pt x="15" y="59"/>
                </a:lnTo>
                <a:lnTo>
                  <a:pt x="11" y="63"/>
                </a:lnTo>
                <a:lnTo>
                  <a:pt x="6" y="68"/>
                </a:lnTo>
                <a:lnTo>
                  <a:pt x="4" y="72"/>
                </a:lnTo>
                <a:lnTo>
                  <a:pt x="2" y="78"/>
                </a:lnTo>
                <a:lnTo>
                  <a:pt x="0" y="84"/>
                </a:lnTo>
                <a:lnTo>
                  <a:pt x="0" y="90"/>
                </a:lnTo>
                <a:lnTo>
                  <a:pt x="0" y="195"/>
                </a:lnTo>
                <a:lnTo>
                  <a:pt x="0" y="300"/>
                </a:lnTo>
                <a:lnTo>
                  <a:pt x="0" y="406"/>
                </a:lnTo>
                <a:lnTo>
                  <a:pt x="0" y="511"/>
                </a:lnTo>
                <a:lnTo>
                  <a:pt x="0" y="616"/>
                </a:lnTo>
                <a:lnTo>
                  <a:pt x="0" y="622"/>
                </a:lnTo>
                <a:lnTo>
                  <a:pt x="2" y="628"/>
                </a:lnTo>
                <a:lnTo>
                  <a:pt x="4" y="634"/>
                </a:lnTo>
                <a:lnTo>
                  <a:pt x="9" y="640"/>
                </a:lnTo>
                <a:lnTo>
                  <a:pt x="13" y="646"/>
                </a:lnTo>
                <a:lnTo>
                  <a:pt x="18" y="650"/>
                </a:lnTo>
                <a:lnTo>
                  <a:pt x="25" y="655"/>
                </a:lnTo>
                <a:lnTo>
                  <a:pt x="31" y="659"/>
                </a:lnTo>
                <a:lnTo>
                  <a:pt x="47" y="668"/>
                </a:lnTo>
                <a:lnTo>
                  <a:pt x="65" y="676"/>
                </a:lnTo>
                <a:lnTo>
                  <a:pt x="86" y="682"/>
                </a:lnTo>
                <a:lnTo>
                  <a:pt x="108" y="687"/>
                </a:lnTo>
                <a:lnTo>
                  <a:pt x="132" y="693"/>
                </a:lnTo>
                <a:lnTo>
                  <a:pt x="156" y="696"/>
                </a:lnTo>
                <a:lnTo>
                  <a:pt x="181" y="699"/>
                </a:lnTo>
                <a:lnTo>
                  <a:pt x="207" y="701"/>
                </a:lnTo>
                <a:lnTo>
                  <a:pt x="256" y="704"/>
                </a:lnTo>
                <a:lnTo>
                  <a:pt x="301" y="706"/>
                </a:lnTo>
                <a:lnTo>
                  <a:pt x="301" y="812"/>
                </a:lnTo>
                <a:lnTo>
                  <a:pt x="301" y="818"/>
                </a:lnTo>
                <a:lnTo>
                  <a:pt x="303" y="823"/>
                </a:lnTo>
                <a:lnTo>
                  <a:pt x="305" y="830"/>
                </a:lnTo>
                <a:lnTo>
                  <a:pt x="309" y="835"/>
                </a:lnTo>
                <a:lnTo>
                  <a:pt x="314" y="840"/>
                </a:lnTo>
                <a:lnTo>
                  <a:pt x="319" y="846"/>
                </a:lnTo>
                <a:lnTo>
                  <a:pt x="325" y="851"/>
                </a:lnTo>
                <a:lnTo>
                  <a:pt x="332" y="855"/>
                </a:lnTo>
                <a:lnTo>
                  <a:pt x="348" y="864"/>
                </a:lnTo>
                <a:lnTo>
                  <a:pt x="366" y="870"/>
                </a:lnTo>
                <a:lnTo>
                  <a:pt x="387" y="877"/>
                </a:lnTo>
                <a:lnTo>
                  <a:pt x="409" y="883"/>
                </a:lnTo>
                <a:lnTo>
                  <a:pt x="433" y="888"/>
                </a:lnTo>
                <a:lnTo>
                  <a:pt x="457" y="892"/>
                </a:lnTo>
                <a:lnTo>
                  <a:pt x="482" y="895"/>
                </a:lnTo>
                <a:lnTo>
                  <a:pt x="507" y="897"/>
                </a:lnTo>
                <a:lnTo>
                  <a:pt x="556" y="900"/>
                </a:lnTo>
                <a:lnTo>
                  <a:pt x="601" y="902"/>
                </a:lnTo>
                <a:lnTo>
                  <a:pt x="646" y="900"/>
                </a:lnTo>
                <a:lnTo>
                  <a:pt x="695" y="897"/>
                </a:lnTo>
                <a:lnTo>
                  <a:pt x="721" y="895"/>
                </a:lnTo>
                <a:lnTo>
                  <a:pt x="746" y="892"/>
                </a:lnTo>
                <a:lnTo>
                  <a:pt x="770" y="888"/>
                </a:lnTo>
                <a:lnTo>
                  <a:pt x="794" y="883"/>
                </a:lnTo>
                <a:lnTo>
                  <a:pt x="815" y="877"/>
                </a:lnTo>
                <a:lnTo>
                  <a:pt x="837" y="870"/>
                </a:lnTo>
                <a:lnTo>
                  <a:pt x="855" y="864"/>
                </a:lnTo>
                <a:lnTo>
                  <a:pt x="871" y="855"/>
                </a:lnTo>
                <a:lnTo>
                  <a:pt x="877" y="851"/>
                </a:lnTo>
                <a:lnTo>
                  <a:pt x="884" y="846"/>
                </a:lnTo>
                <a:lnTo>
                  <a:pt x="889" y="840"/>
                </a:lnTo>
                <a:lnTo>
                  <a:pt x="893" y="835"/>
                </a:lnTo>
                <a:lnTo>
                  <a:pt x="898" y="830"/>
                </a:lnTo>
                <a:lnTo>
                  <a:pt x="900" y="823"/>
                </a:lnTo>
                <a:lnTo>
                  <a:pt x="901" y="818"/>
                </a:lnTo>
                <a:lnTo>
                  <a:pt x="902" y="812"/>
                </a:lnTo>
                <a:lnTo>
                  <a:pt x="902" y="706"/>
                </a:lnTo>
                <a:lnTo>
                  <a:pt x="902" y="601"/>
                </a:lnTo>
                <a:lnTo>
                  <a:pt x="902" y="595"/>
                </a:lnTo>
                <a:lnTo>
                  <a:pt x="900" y="590"/>
                </a:lnTo>
                <a:lnTo>
                  <a:pt x="898" y="584"/>
                </a:lnTo>
                <a:lnTo>
                  <a:pt x="895" y="579"/>
                </a:lnTo>
                <a:lnTo>
                  <a:pt x="891" y="574"/>
                </a:lnTo>
                <a:lnTo>
                  <a:pt x="887" y="569"/>
                </a:lnTo>
                <a:lnTo>
                  <a:pt x="882" y="565"/>
                </a:lnTo>
                <a:lnTo>
                  <a:pt x="875" y="560"/>
                </a:lnTo>
                <a:lnTo>
                  <a:pt x="861" y="552"/>
                </a:lnTo>
                <a:lnTo>
                  <a:pt x="845" y="545"/>
                </a:lnTo>
                <a:lnTo>
                  <a:pt x="826" y="538"/>
                </a:lnTo>
                <a:lnTo>
                  <a:pt x="806" y="532"/>
                </a:lnTo>
                <a:lnTo>
                  <a:pt x="784" y="527"/>
                </a:lnTo>
                <a:lnTo>
                  <a:pt x="760" y="522"/>
                </a:lnTo>
                <a:lnTo>
                  <a:pt x="735" y="519"/>
                </a:lnTo>
                <a:lnTo>
                  <a:pt x="709" y="516"/>
                </a:lnTo>
                <a:lnTo>
                  <a:pt x="682" y="514"/>
                </a:lnTo>
                <a:lnTo>
                  <a:pt x="656" y="512"/>
                </a:lnTo>
                <a:lnTo>
                  <a:pt x="629" y="511"/>
                </a:lnTo>
                <a:lnTo>
                  <a:pt x="601" y="511"/>
                </a:lnTo>
                <a:lnTo>
                  <a:pt x="601" y="5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cxnSp>
        <p:nvCxnSpPr>
          <p:cNvPr id="34" name="Straight Connector 33"/>
          <p:cNvCxnSpPr/>
          <p:nvPr/>
        </p:nvCxnSpPr>
        <p:spPr>
          <a:xfrm>
            <a:off x="9487505" y="3448088"/>
            <a:ext cx="0" cy="2165134"/>
          </a:xfrm>
          <a:prstGeom prst="line">
            <a:avLst/>
          </a:prstGeom>
          <a:ln>
            <a:solidFill>
              <a:schemeClr val="accent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4508675" y="4000804"/>
            <a:ext cx="1932316" cy="363099"/>
          </a:xfrm>
          <a:prstGeom prst="rect">
            <a:avLst/>
          </a:prstGeom>
        </p:spPr>
        <p:txBody>
          <a:bodyPr vert="horz" wrap="square" lIns="91440" tIns="45720" rIns="91440" bIns="45720" rtlCol="0" anchor="ctr">
            <a:noAutofit/>
          </a:bodyPr>
          <a:lstStyle/>
          <a:p>
            <a:pPr>
              <a:lnSpc>
                <a:spcPct val="90000"/>
              </a:lnSpc>
              <a:spcBef>
                <a:spcPct val="0"/>
              </a:spcBef>
            </a:pPr>
            <a:r>
              <a:rPr lang="en-US" sz="1200" b="1" noProof="1">
                <a:solidFill>
                  <a:schemeClr val="tx1">
                    <a:lumMod val="85000"/>
                    <a:lumOff val="15000"/>
                  </a:schemeClr>
                </a:solidFill>
                <a:ea typeface="Roboto" panose="02000000000000000000" pitchFamily="2" charset="0"/>
                <a:cs typeface="Times New Roman" panose="02020603050405020304" pitchFamily="18" charset="0"/>
              </a:rPr>
              <a:t>LOREM</a:t>
            </a:r>
            <a:r>
              <a:rPr lang="en-US" sz="1200" noProof="1">
                <a:solidFill>
                  <a:schemeClr val="tx1">
                    <a:lumMod val="85000"/>
                    <a:lumOff val="15000"/>
                  </a:schemeClr>
                </a:solidFill>
                <a:ea typeface="Roboto" panose="02000000000000000000" pitchFamily="2" charset="0"/>
                <a:cs typeface="Times New Roman" panose="02020603050405020304" pitchFamily="18" charset="0"/>
              </a:rPr>
              <a:t> IPSUM</a:t>
            </a:r>
          </a:p>
        </p:txBody>
      </p:sp>
      <p:sp>
        <p:nvSpPr>
          <p:cNvPr id="36" name="Rectangle 35"/>
          <p:cNvSpPr/>
          <p:nvPr/>
        </p:nvSpPr>
        <p:spPr>
          <a:xfrm>
            <a:off x="4508675" y="4363903"/>
            <a:ext cx="1932316" cy="1280351"/>
          </a:xfrm>
          <a:prstGeom prst="rect">
            <a:avLst/>
          </a:prstGeom>
        </p:spPr>
        <p:txBody>
          <a:bodyPr wrap="square">
            <a:spAutoFit/>
          </a:bodyPr>
          <a:lstStyle/>
          <a:p>
            <a:pPr algn="just">
              <a:lnSpc>
                <a:spcPct val="200000"/>
              </a:lnSpc>
              <a:buClr>
                <a:srgbClr val="E24848"/>
              </a:buClr>
              <a:defRPr/>
            </a:pPr>
            <a:r>
              <a:rPr lang="en-US" sz="1000" noProof="1">
                <a:solidFill>
                  <a:schemeClr val="tx1">
                    <a:lumMod val="75000"/>
                    <a:lumOff val="25000"/>
                  </a:schemeClr>
                </a:solidFill>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
        <p:nvSpPr>
          <p:cNvPr id="37" name="Rectangle 36"/>
          <p:cNvSpPr/>
          <p:nvPr/>
        </p:nvSpPr>
        <p:spPr>
          <a:xfrm>
            <a:off x="7108575" y="4000804"/>
            <a:ext cx="1932316" cy="363099"/>
          </a:xfrm>
          <a:prstGeom prst="rect">
            <a:avLst/>
          </a:prstGeom>
        </p:spPr>
        <p:txBody>
          <a:bodyPr vert="horz" wrap="square" lIns="91440" tIns="45720" rIns="91440" bIns="45720" rtlCol="0" anchor="ctr">
            <a:noAutofit/>
          </a:bodyPr>
          <a:lstStyle/>
          <a:p>
            <a:pPr>
              <a:lnSpc>
                <a:spcPct val="90000"/>
              </a:lnSpc>
              <a:spcBef>
                <a:spcPct val="0"/>
              </a:spcBef>
            </a:pPr>
            <a:r>
              <a:rPr lang="en-US" sz="1200" b="1" noProof="1">
                <a:solidFill>
                  <a:schemeClr val="tx1">
                    <a:lumMod val="85000"/>
                    <a:lumOff val="15000"/>
                  </a:schemeClr>
                </a:solidFill>
                <a:ea typeface="Roboto" panose="02000000000000000000" pitchFamily="2" charset="0"/>
                <a:cs typeface="Times New Roman" panose="02020603050405020304" pitchFamily="18" charset="0"/>
              </a:rPr>
              <a:t>LOREM</a:t>
            </a:r>
            <a:r>
              <a:rPr lang="en-US" sz="1200" noProof="1">
                <a:solidFill>
                  <a:schemeClr val="tx1">
                    <a:lumMod val="85000"/>
                    <a:lumOff val="15000"/>
                  </a:schemeClr>
                </a:solidFill>
                <a:ea typeface="Roboto" panose="02000000000000000000" pitchFamily="2" charset="0"/>
                <a:cs typeface="Times New Roman" panose="02020603050405020304" pitchFamily="18" charset="0"/>
              </a:rPr>
              <a:t> IPSUM</a:t>
            </a:r>
          </a:p>
        </p:txBody>
      </p:sp>
      <p:sp>
        <p:nvSpPr>
          <p:cNvPr id="38" name="Rectangle 37"/>
          <p:cNvSpPr/>
          <p:nvPr/>
        </p:nvSpPr>
        <p:spPr>
          <a:xfrm>
            <a:off x="7108575" y="4363903"/>
            <a:ext cx="1932316" cy="1280351"/>
          </a:xfrm>
          <a:prstGeom prst="rect">
            <a:avLst/>
          </a:prstGeom>
        </p:spPr>
        <p:txBody>
          <a:bodyPr wrap="square">
            <a:spAutoFit/>
          </a:bodyPr>
          <a:lstStyle/>
          <a:p>
            <a:pPr algn="just">
              <a:lnSpc>
                <a:spcPct val="200000"/>
              </a:lnSpc>
              <a:buClr>
                <a:srgbClr val="E24848"/>
              </a:buClr>
              <a:defRPr/>
            </a:pPr>
            <a:r>
              <a:rPr lang="en-US" sz="1000" noProof="1">
                <a:solidFill>
                  <a:schemeClr val="tx1">
                    <a:lumMod val="75000"/>
                    <a:lumOff val="25000"/>
                  </a:schemeClr>
                </a:solidFill>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
        <p:nvSpPr>
          <p:cNvPr id="39" name="Rectangle 38"/>
          <p:cNvSpPr/>
          <p:nvPr/>
        </p:nvSpPr>
        <p:spPr>
          <a:xfrm>
            <a:off x="9708475" y="4000804"/>
            <a:ext cx="1932316" cy="363099"/>
          </a:xfrm>
          <a:prstGeom prst="rect">
            <a:avLst/>
          </a:prstGeom>
        </p:spPr>
        <p:txBody>
          <a:bodyPr vert="horz" wrap="square" lIns="91440" tIns="45720" rIns="91440" bIns="45720" rtlCol="0" anchor="ctr">
            <a:noAutofit/>
          </a:bodyPr>
          <a:lstStyle/>
          <a:p>
            <a:pPr>
              <a:lnSpc>
                <a:spcPct val="90000"/>
              </a:lnSpc>
              <a:spcBef>
                <a:spcPct val="0"/>
              </a:spcBef>
            </a:pPr>
            <a:r>
              <a:rPr lang="en-US" sz="1200" b="1" noProof="1">
                <a:solidFill>
                  <a:schemeClr val="tx1">
                    <a:lumMod val="85000"/>
                    <a:lumOff val="15000"/>
                  </a:schemeClr>
                </a:solidFill>
                <a:ea typeface="Roboto" panose="02000000000000000000" pitchFamily="2" charset="0"/>
                <a:cs typeface="Times New Roman" panose="02020603050405020304" pitchFamily="18" charset="0"/>
              </a:rPr>
              <a:t>LOREM</a:t>
            </a:r>
            <a:r>
              <a:rPr lang="en-US" sz="1200" noProof="1">
                <a:solidFill>
                  <a:schemeClr val="tx1">
                    <a:lumMod val="85000"/>
                    <a:lumOff val="15000"/>
                  </a:schemeClr>
                </a:solidFill>
                <a:ea typeface="Roboto" panose="02000000000000000000" pitchFamily="2" charset="0"/>
                <a:cs typeface="Times New Roman" panose="02020603050405020304" pitchFamily="18" charset="0"/>
              </a:rPr>
              <a:t> IPSUM</a:t>
            </a:r>
          </a:p>
        </p:txBody>
      </p:sp>
      <p:sp>
        <p:nvSpPr>
          <p:cNvPr id="40" name="Rectangle 39"/>
          <p:cNvSpPr/>
          <p:nvPr/>
        </p:nvSpPr>
        <p:spPr>
          <a:xfrm>
            <a:off x="9708475" y="4363903"/>
            <a:ext cx="1932316" cy="1280351"/>
          </a:xfrm>
          <a:prstGeom prst="rect">
            <a:avLst/>
          </a:prstGeom>
        </p:spPr>
        <p:txBody>
          <a:bodyPr wrap="square">
            <a:spAutoFit/>
          </a:bodyPr>
          <a:lstStyle/>
          <a:p>
            <a:pPr algn="just">
              <a:lnSpc>
                <a:spcPct val="200000"/>
              </a:lnSpc>
              <a:buClr>
                <a:srgbClr val="E24848"/>
              </a:buClr>
              <a:defRPr/>
            </a:pPr>
            <a:r>
              <a:rPr lang="en-US" sz="1000" noProof="1">
                <a:solidFill>
                  <a:schemeClr val="tx1">
                    <a:lumMod val="75000"/>
                    <a:lumOff val="25000"/>
                  </a:schemeClr>
                </a:solidFill>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Tree>
    <p:extLst>
      <p:ext uri="{BB962C8B-B14F-4D97-AF65-F5344CB8AC3E}">
        <p14:creationId xmlns:p14="http://schemas.microsoft.com/office/powerpoint/2010/main" val="3432375439"/>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1259"/>
          <p:cNvSpPr>
            <a:spLocks/>
          </p:cNvSpPr>
          <p:nvPr/>
        </p:nvSpPr>
        <p:spPr bwMode="auto">
          <a:xfrm>
            <a:off x="6225198" y="2354843"/>
            <a:ext cx="2103041" cy="623831"/>
          </a:xfrm>
          <a:custGeom>
            <a:avLst/>
            <a:gdLst>
              <a:gd name="T0" fmla="*/ 970 w 1032"/>
              <a:gd name="T1" fmla="*/ 166 h 244"/>
              <a:gd name="T2" fmla="*/ 980 w 1032"/>
              <a:gd name="T3" fmla="*/ 154 h 244"/>
              <a:gd name="T4" fmla="*/ 988 w 1032"/>
              <a:gd name="T5" fmla="*/ 146 h 244"/>
              <a:gd name="T6" fmla="*/ 994 w 1032"/>
              <a:gd name="T7" fmla="*/ 134 h 244"/>
              <a:gd name="T8" fmla="*/ 1012 w 1032"/>
              <a:gd name="T9" fmla="*/ 128 h 244"/>
              <a:gd name="T10" fmla="*/ 960 w 1032"/>
              <a:gd name="T11" fmla="*/ 122 h 244"/>
              <a:gd name="T12" fmla="*/ 970 w 1032"/>
              <a:gd name="T13" fmla="*/ 120 h 244"/>
              <a:gd name="T14" fmla="*/ 952 w 1032"/>
              <a:gd name="T15" fmla="*/ 114 h 244"/>
              <a:gd name="T16" fmla="*/ 984 w 1032"/>
              <a:gd name="T17" fmla="*/ 102 h 244"/>
              <a:gd name="T18" fmla="*/ 968 w 1032"/>
              <a:gd name="T19" fmla="*/ 100 h 244"/>
              <a:gd name="T20" fmla="*/ 932 w 1032"/>
              <a:gd name="T21" fmla="*/ 94 h 244"/>
              <a:gd name="T22" fmla="*/ 950 w 1032"/>
              <a:gd name="T23" fmla="*/ 90 h 244"/>
              <a:gd name="T24" fmla="*/ 928 w 1032"/>
              <a:gd name="T25" fmla="*/ 86 h 244"/>
              <a:gd name="T26" fmla="*/ 920 w 1032"/>
              <a:gd name="T27" fmla="*/ 80 h 244"/>
              <a:gd name="T28" fmla="*/ 920 w 1032"/>
              <a:gd name="T29" fmla="*/ 74 h 244"/>
              <a:gd name="T30" fmla="*/ 922 w 1032"/>
              <a:gd name="T31" fmla="*/ 64 h 244"/>
              <a:gd name="T32" fmla="*/ 984 w 1032"/>
              <a:gd name="T33" fmla="*/ 56 h 244"/>
              <a:gd name="T34" fmla="*/ 996 w 1032"/>
              <a:gd name="T35" fmla="*/ 52 h 244"/>
              <a:gd name="T36" fmla="*/ 1026 w 1032"/>
              <a:gd name="T37" fmla="*/ 42 h 244"/>
              <a:gd name="T38" fmla="*/ 1000 w 1032"/>
              <a:gd name="T39" fmla="*/ 36 h 244"/>
              <a:gd name="T40" fmla="*/ 870 w 1032"/>
              <a:gd name="T41" fmla="*/ 22 h 244"/>
              <a:gd name="T42" fmla="*/ 588 w 1032"/>
              <a:gd name="T43" fmla="*/ 0 h 244"/>
              <a:gd name="T44" fmla="*/ 328 w 1032"/>
              <a:gd name="T45" fmla="*/ 2 h 244"/>
              <a:gd name="T46" fmla="*/ 88 w 1032"/>
              <a:gd name="T47" fmla="*/ 26 h 244"/>
              <a:gd name="T48" fmla="*/ 38 w 1032"/>
              <a:gd name="T49" fmla="*/ 48 h 244"/>
              <a:gd name="T50" fmla="*/ 54 w 1032"/>
              <a:gd name="T51" fmla="*/ 58 h 244"/>
              <a:gd name="T52" fmla="*/ 60 w 1032"/>
              <a:gd name="T53" fmla="*/ 80 h 244"/>
              <a:gd name="T54" fmla="*/ 48 w 1032"/>
              <a:gd name="T55" fmla="*/ 82 h 244"/>
              <a:gd name="T56" fmla="*/ 56 w 1032"/>
              <a:gd name="T57" fmla="*/ 86 h 244"/>
              <a:gd name="T58" fmla="*/ 74 w 1032"/>
              <a:gd name="T59" fmla="*/ 92 h 244"/>
              <a:gd name="T60" fmla="*/ 62 w 1032"/>
              <a:gd name="T61" fmla="*/ 96 h 244"/>
              <a:gd name="T62" fmla="*/ 72 w 1032"/>
              <a:gd name="T63" fmla="*/ 100 h 244"/>
              <a:gd name="T64" fmla="*/ 48 w 1032"/>
              <a:gd name="T65" fmla="*/ 108 h 244"/>
              <a:gd name="T66" fmla="*/ 34 w 1032"/>
              <a:gd name="T67" fmla="*/ 112 h 244"/>
              <a:gd name="T68" fmla="*/ 56 w 1032"/>
              <a:gd name="T69" fmla="*/ 124 h 244"/>
              <a:gd name="T70" fmla="*/ 56 w 1032"/>
              <a:gd name="T71" fmla="*/ 138 h 244"/>
              <a:gd name="T72" fmla="*/ 30 w 1032"/>
              <a:gd name="T73" fmla="*/ 144 h 244"/>
              <a:gd name="T74" fmla="*/ 0 w 1032"/>
              <a:gd name="T75" fmla="*/ 152 h 244"/>
              <a:gd name="T76" fmla="*/ 6 w 1032"/>
              <a:gd name="T77" fmla="*/ 164 h 244"/>
              <a:gd name="T78" fmla="*/ 14 w 1032"/>
              <a:gd name="T79" fmla="*/ 178 h 244"/>
              <a:gd name="T80" fmla="*/ 32 w 1032"/>
              <a:gd name="T81" fmla="*/ 200 h 244"/>
              <a:gd name="T82" fmla="*/ 56 w 1032"/>
              <a:gd name="T83" fmla="*/ 216 h 244"/>
              <a:gd name="T84" fmla="*/ 78 w 1032"/>
              <a:gd name="T85" fmla="*/ 232 h 244"/>
              <a:gd name="T86" fmla="*/ 118 w 1032"/>
              <a:gd name="T87" fmla="*/ 236 h 244"/>
              <a:gd name="T88" fmla="*/ 144 w 1032"/>
              <a:gd name="T89" fmla="*/ 238 h 244"/>
              <a:gd name="T90" fmla="*/ 168 w 1032"/>
              <a:gd name="T91" fmla="*/ 240 h 244"/>
              <a:gd name="T92" fmla="*/ 200 w 1032"/>
              <a:gd name="T93" fmla="*/ 242 h 244"/>
              <a:gd name="T94" fmla="*/ 246 w 1032"/>
              <a:gd name="T95" fmla="*/ 244 h 244"/>
              <a:gd name="T96" fmla="*/ 306 w 1032"/>
              <a:gd name="T97" fmla="*/ 238 h 244"/>
              <a:gd name="T98" fmla="*/ 362 w 1032"/>
              <a:gd name="T99" fmla="*/ 238 h 244"/>
              <a:gd name="T100" fmla="*/ 374 w 1032"/>
              <a:gd name="T101" fmla="*/ 238 h 244"/>
              <a:gd name="T102" fmla="*/ 522 w 1032"/>
              <a:gd name="T103" fmla="*/ 238 h 244"/>
              <a:gd name="T104" fmla="*/ 582 w 1032"/>
              <a:gd name="T105" fmla="*/ 236 h 244"/>
              <a:gd name="T106" fmla="*/ 848 w 1032"/>
              <a:gd name="T107" fmla="*/ 234 h 244"/>
              <a:gd name="T108" fmla="*/ 922 w 1032"/>
              <a:gd name="T109" fmla="*/ 232 h 244"/>
              <a:gd name="T110" fmla="*/ 880 w 1032"/>
              <a:gd name="T111" fmla="*/ 230 h 244"/>
              <a:gd name="T112" fmla="*/ 858 w 1032"/>
              <a:gd name="T113" fmla="*/ 230 h 244"/>
              <a:gd name="T114" fmla="*/ 854 w 1032"/>
              <a:gd name="T115" fmla="*/ 228 h 244"/>
              <a:gd name="T116" fmla="*/ 920 w 1032"/>
              <a:gd name="T117" fmla="*/ 228 h 244"/>
              <a:gd name="T118" fmla="*/ 992 w 1032"/>
              <a:gd name="T119" fmla="*/ 226 h 244"/>
              <a:gd name="T120" fmla="*/ 1032 w 1032"/>
              <a:gd name="T121" fmla="*/ 20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32" h="244">
                <a:moveTo>
                  <a:pt x="1032" y="172"/>
                </a:moveTo>
                <a:lnTo>
                  <a:pt x="1032" y="172"/>
                </a:lnTo>
                <a:lnTo>
                  <a:pt x="964" y="174"/>
                </a:lnTo>
                <a:lnTo>
                  <a:pt x="964" y="174"/>
                </a:lnTo>
                <a:lnTo>
                  <a:pt x="966" y="170"/>
                </a:lnTo>
                <a:lnTo>
                  <a:pt x="970" y="166"/>
                </a:lnTo>
                <a:lnTo>
                  <a:pt x="970" y="166"/>
                </a:lnTo>
                <a:lnTo>
                  <a:pt x="976" y="164"/>
                </a:lnTo>
                <a:lnTo>
                  <a:pt x="978" y="162"/>
                </a:lnTo>
                <a:lnTo>
                  <a:pt x="982" y="158"/>
                </a:lnTo>
                <a:lnTo>
                  <a:pt x="982" y="158"/>
                </a:lnTo>
                <a:lnTo>
                  <a:pt x="980" y="154"/>
                </a:lnTo>
                <a:lnTo>
                  <a:pt x="980" y="152"/>
                </a:lnTo>
                <a:lnTo>
                  <a:pt x="982" y="150"/>
                </a:lnTo>
                <a:lnTo>
                  <a:pt x="982" y="150"/>
                </a:lnTo>
                <a:lnTo>
                  <a:pt x="984" y="148"/>
                </a:lnTo>
                <a:lnTo>
                  <a:pt x="988" y="146"/>
                </a:lnTo>
                <a:lnTo>
                  <a:pt x="988" y="146"/>
                </a:lnTo>
                <a:lnTo>
                  <a:pt x="996" y="140"/>
                </a:lnTo>
                <a:lnTo>
                  <a:pt x="998" y="136"/>
                </a:lnTo>
                <a:lnTo>
                  <a:pt x="996" y="136"/>
                </a:lnTo>
                <a:lnTo>
                  <a:pt x="992" y="134"/>
                </a:lnTo>
                <a:lnTo>
                  <a:pt x="992" y="134"/>
                </a:lnTo>
                <a:lnTo>
                  <a:pt x="994" y="134"/>
                </a:lnTo>
                <a:lnTo>
                  <a:pt x="996" y="132"/>
                </a:lnTo>
                <a:lnTo>
                  <a:pt x="1002" y="132"/>
                </a:lnTo>
                <a:lnTo>
                  <a:pt x="1008" y="130"/>
                </a:lnTo>
                <a:lnTo>
                  <a:pt x="1010" y="130"/>
                </a:lnTo>
                <a:lnTo>
                  <a:pt x="1012" y="128"/>
                </a:lnTo>
                <a:lnTo>
                  <a:pt x="1012" y="128"/>
                </a:lnTo>
                <a:lnTo>
                  <a:pt x="1004" y="126"/>
                </a:lnTo>
                <a:lnTo>
                  <a:pt x="986" y="126"/>
                </a:lnTo>
                <a:lnTo>
                  <a:pt x="958" y="126"/>
                </a:lnTo>
                <a:lnTo>
                  <a:pt x="958" y="126"/>
                </a:lnTo>
                <a:lnTo>
                  <a:pt x="960" y="124"/>
                </a:lnTo>
                <a:lnTo>
                  <a:pt x="960" y="122"/>
                </a:lnTo>
                <a:lnTo>
                  <a:pt x="966" y="122"/>
                </a:lnTo>
                <a:lnTo>
                  <a:pt x="970" y="124"/>
                </a:lnTo>
                <a:lnTo>
                  <a:pt x="974" y="122"/>
                </a:lnTo>
                <a:lnTo>
                  <a:pt x="974" y="122"/>
                </a:lnTo>
                <a:lnTo>
                  <a:pt x="972" y="120"/>
                </a:lnTo>
                <a:lnTo>
                  <a:pt x="970" y="120"/>
                </a:lnTo>
                <a:lnTo>
                  <a:pt x="964" y="120"/>
                </a:lnTo>
                <a:lnTo>
                  <a:pt x="956" y="118"/>
                </a:lnTo>
                <a:lnTo>
                  <a:pt x="952" y="118"/>
                </a:lnTo>
                <a:lnTo>
                  <a:pt x="952" y="118"/>
                </a:lnTo>
                <a:lnTo>
                  <a:pt x="954" y="114"/>
                </a:lnTo>
                <a:lnTo>
                  <a:pt x="952" y="114"/>
                </a:lnTo>
                <a:lnTo>
                  <a:pt x="950" y="112"/>
                </a:lnTo>
                <a:lnTo>
                  <a:pt x="950" y="112"/>
                </a:lnTo>
                <a:lnTo>
                  <a:pt x="956" y="108"/>
                </a:lnTo>
                <a:lnTo>
                  <a:pt x="960" y="106"/>
                </a:lnTo>
                <a:lnTo>
                  <a:pt x="972" y="104"/>
                </a:lnTo>
                <a:lnTo>
                  <a:pt x="984" y="102"/>
                </a:lnTo>
                <a:lnTo>
                  <a:pt x="994" y="98"/>
                </a:lnTo>
                <a:lnTo>
                  <a:pt x="994" y="98"/>
                </a:lnTo>
                <a:lnTo>
                  <a:pt x="990" y="96"/>
                </a:lnTo>
                <a:lnTo>
                  <a:pt x="982" y="96"/>
                </a:lnTo>
                <a:lnTo>
                  <a:pt x="968" y="100"/>
                </a:lnTo>
                <a:lnTo>
                  <a:pt x="968" y="100"/>
                </a:lnTo>
                <a:lnTo>
                  <a:pt x="946" y="100"/>
                </a:lnTo>
                <a:lnTo>
                  <a:pt x="936" y="100"/>
                </a:lnTo>
                <a:lnTo>
                  <a:pt x="930" y="98"/>
                </a:lnTo>
                <a:lnTo>
                  <a:pt x="928" y="96"/>
                </a:lnTo>
                <a:lnTo>
                  <a:pt x="928" y="96"/>
                </a:lnTo>
                <a:lnTo>
                  <a:pt x="932" y="94"/>
                </a:lnTo>
                <a:lnTo>
                  <a:pt x="942" y="94"/>
                </a:lnTo>
                <a:lnTo>
                  <a:pt x="950" y="92"/>
                </a:lnTo>
                <a:lnTo>
                  <a:pt x="952" y="92"/>
                </a:lnTo>
                <a:lnTo>
                  <a:pt x="952" y="92"/>
                </a:lnTo>
                <a:lnTo>
                  <a:pt x="952" y="90"/>
                </a:lnTo>
                <a:lnTo>
                  <a:pt x="950" y="90"/>
                </a:lnTo>
                <a:lnTo>
                  <a:pt x="940" y="90"/>
                </a:lnTo>
                <a:lnTo>
                  <a:pt x="930" y="90"/>
                </a:lnTo>
                <a:lnTo>
                  <a:pt x="928" y="88"/>
                </a:lnTo>
                <a:lnTo>
                  <a:pt x="926" y="86"/>
                </a:lnTo>
                <a:lnTo>
                  <a:pt x="926" y="86"/>
                </a:lnTo>
                <a:lnTo>
                  <a:pt x="928" y="86"/>
                </a:lnTo>
                <a:lnTo>
                  <a:pt x="928" y="84"/>
                </a:lnTo>
                <a:lnTo>
                  <a:pt x="928" y="80"/>
                </a:lnTo>
                <a:lnTo>
                  <a:pt x="928" y="80"/>
                </a:lnTo>
                <a:lnTo>
                  <a:pt x="928" y="82"/>
                </a:lnTo>
                <a:lnTo>
                  <a:pt x="924" y="82"/>
                </a:lnTo>
                <a:lnTo>
                  <a:pt x="920" y="80"/>
                </a:lnTo>
                <a:lnTo>
                  <a:pt x="918" y="78"/>
                </a:lnTo>
                <a:lnTo>
                  <a:pt x="918" y="78"/>
                </a:lnTo>
                <a:lnTo>
                  <a:pt x="920" y="78"/>
                </a:lnTo>
                <a:lnTo>
                  <a:pt x="922" y="76"/>
                </a:lnTo>
                <a:lnTo>
                  <a:pt x="922" y="76"/>
                </a:lnTo>
                <a:lnTo>
                  <a:pt x="920" y="74"/>
                </a:lnTo>
                <a:lnTo>
                  <a:pt x="914" y="74"/>
                </a:lnTo>
                <a:lnTo>
                  <a:pt x="904" y="72"/>
                </a:lnTo>
                <a:lnTo>
                  <a:pt x="904" y="72"/>
                </a:lnTo>
                <a:lnTo>
                  <a:pt x="906" y="70"/>
                </a:lnTo>
                <a:lnTo>
                  <a:pt x="910" y="68"/>
                </a:lnTo>
                <a:lnTo>
                  <a:pt x="922" y="64"/>
                </a:lnTo>
                <a:lnTo>
                  <a:pt x="942" y="60"/>
                </a:lnTo>
                <a:lnTo>
                  <a:pt x="942" y="60"/>
                </a:lnTo>
                <a:lnTo>
                  <a:pt x="970" y="56"/>
                </a:lnTo>
                <a:lnTo>
                  <a:pt x="970" y="56"/>
                </a:lnTo>
                <a:lnTo>
                  <a:pt x="984" y="56"/>
                </a:lnTo>
                <a:lnTo>
                  <a:pt x="984" y="56"/>
                </a:lnTo>
                <a:lnTo>
                  <a:pt x="990" y="56"/>
                </a:lnTo>
                <a:lnTo>
                  <a:pt x="998" y="54"/>
                </a:lnTo>
                <a:lnTo>
                  <a:pt x="998" y="54"/>
                </a:lnTo>
                <a:lnTo>
                  <a:pt x="998" y="54"/>
                </a:lnTo>
                <a:lnTo>
                  <a:pt x="998" y="52"/>
                </a:lnTo>
                <a:lnTo>
                  <a:pt x="996" y="52"/>
                </a:lnTo>
                <a:lnTo>
                  <a:pt x="996" y="52"/>
                </a:lnTo>
                <a:lnTo>
                  <a:pt x="1002" y="46"/>
                </a:lnTo>
                <a:lnTo>
                  <a:pt x="1010" y="42"/>
                </a:lnTo>
                <a:lnTo>
                  <a:pt x="1010" y="42"/>
                </a:lnTo>
                <a:lnTo>
                  <a:pt x="1022" y="42"/>
                </a:lnTo>
                <a:lnTo>
                  <a:pt x="1026" y="42"/>
                </a:lnTo>
                <a:lnTo>
                  <a:pt x="1032" y="40"/>
                </a:lnTo>
                <a:lnTo>
                  <a:pt x="1032" y="40"/>
                </a:lnTo>
                <a:lnTo>
                  <a:pt x="1026" y="38"/>
                </a:lnTo>
                <a:lnTo>
                  <a:pt x="1016" y="36"/>
                </a:lnTo>
                <a:lnTo>
                  <a:pt x="1000" y="36"/>
                </a:lnTo>
                <a:lnTo>
                  <a:pt x="1000" y="36"/>
                </a:lnTo>
                <a:lnTo>
                  <a:pt x="970" y="36"/>
                </a:lnTo>
                <a:lnTo>
                  <a:pt x="970" y="36"/>
                </a:lnTo>
                <a:lnTo>
                  <a:pt x="944" y="32"/>
                </a:lnTo>
                <a:lnTo>
                  <a:pt x="916" y="30"/>
                </a:lnTo>
                <a:lnTo>
                  <a:pt x="916" y="30"/>
                </a:lnTo>
                <a:lnTo>
                  <a:pt x="870" y="22"/>
                </a:lnTo>
                <a:lnTo>
                  <a:pt x="822" y="16"/>
                </a:lnTo>
                <a:lnTo>
                  <a:pt x="822" y="16"/>
                </a:lnTo>
                <a:lnTo>
                  <a:pt x="714" y="8"/>
                </a:lnTo>
                <a:lnTo>
                  <a:pt x="714" y="8"/>
                </a:lnTo>
                <a:lnTo>
                  <a:pt x="650" y="2"/>
                </a:lnTo>
                <a:lnTo>
                  <a:pt x="588" y="0"/>
                </a:lnTo>
                <a:lnTo>
                  <a:pt x="588" y="0"/>
                </a:lnTo>
                <a:lnTo>
                  <a:pt x="500" y="0"/>
                </a:lnTo>
                <a:lnTo>
                  <a:pt x="416" y="2"/>
                </a:lnTo>
                <a:lnTo>
                  <a:pt x="416" y="2"/>
                </a:lnTo>
                <a:lnTo>
                  <a:pt x="358" y="2"/>
                </a:lnTo>
                <a:lnTo>
                  <a:pt x="328" y="2"/>
                </a:lnTo>
                <a:lnTo>
                  <a:pt x="300" y="6"/>
                </a:lnTo>
                <a:lnTo>
                  <a:pt x="300" y="6"/>
                </a:lnTo>
                <a:lnTo>
                  <a:pt x="248" y="10"/>
                </a:lnTo>
                <a:lnTo>
                  <a:pt x="194" y="14"/>
                </a:lnTo>
                <a:lnTo>
                  <a:pt x="140" y="18"/>
                </a:lnTo>
                <a:lnTo>
                  <a:pt x="88" y="26"/>
                </a:lnTo>
                <a:lnTo>
                  <a:pt x="88" y="26"/>
                </a:lnTo>
                <a:lnTo>
                  <a:pt x="72" y="28"/>
                </a:lnTo>
                <a:lnTo>
                  <a:pt x="52" y="36"/>
                </a:lnTo>
                <a:lnTo>
                  <a:pt x="44" y="40"/>
                </a:lnTo>
                <a:lnTo>
                  <a:pt x="38" y="44"/>
                </a:lnTo>
                <a:lnTo>
                  <a:pt x="38" y="48"/>
                </a:lnTo>
                <a:lnTo>
                  <a:pt x="38" y="50"/>
                </a:lnTo>
                <a:lnTo>
                  <a:pt x="38" y="52"/>
                </a:lnTo>
                <a:lnTo>
                  <a:pt x="42" y="56"/>
                </a:lnTo>
                <a:lnTo>
                  <a:pt x="42" y="56"/>
                </a:lnTo>
                <a:lnTo>
                  <a:pt x="48" y="58"/>
                </a:lnTo>
                <a:lnTo>
                  <a:pt x="54" y="58"/>
                </a:lnTo>
                <a:lnTo>
                  <a:pt x="54" y="58"/>
                </a:lnTo>
                <a:lnTo>
                  <a:pt x="58" y="66"/>
                </a:lnTo>
                <a:lnTo>
                  <a:pt x="60" y="72"/>
                </a:lnTo>
                <a:lnTo>
                  <a:pt x="60" y="72"/>
                </a:lnTo>
                <a:lnTo>
                  <a:pt x="62" y="76"/>
                </a:lnTo>
                <a:lnTo>
                  <a:pt x="60" y="80"/>
                </a:lnTo>
                <a:lnTo>
                  <a:pt x="60" y="80"/>
                </a:lnTo>
                <a:lnTo>
                  <a:pt x="54" y="80"/>
                </a:lnTo>
                <a:lnTo>
                  <a:pt x="48" y="80"/>
                </a:lnTo>
                <a:lnTo>
                  <a:pt x="48" y="80"/>
                </a:lnTo>
                <a:lnTo>
                  <a:pt x="48" y="82"/>
                </a:lnTo>
                <a:lnTo>
                  <a:pt x="48" y="82"/>
                </a:lnTo>
                <a:lnTo>
                  <a:pt x="54" y="84"/>
                </a:lnTo>
                <a:lnTo>
                  <a:pt x="62" y="82"/>
                </a:lnTo>
                <a:lnTo>
                  <a:pt x="62" y="82"/>
                </a:lnTo>
                <a:lnTo>
                  <a:pt x="62" y="84"/>
                </a:lnTo>
                <a:lnTo>
                  <a:pt x="60" y="86"/>
                </a:lnTo>
                <a:lnTo>
                  <a:pt x="56" y="86"/>
                </a:lnTo>
                <a:lnTo>
                  <a:pt x="50" y="86"/>
                </a:lnTo>
                <a:lnTo>
                  <a:pt x="46" y="88"/>
                </a:lnTo>
                <a:lnTo>
                  <a:pt x="46" y="88"/>
                </a:lnTo>
                <a:lnTo>
                  <a:pt x="62" y="88"/>
                </a:lnTo>
                <a:lnTo>
                  <a:pt x="72" y="90"/>
                </a:lnTo>
                <a:lnTo>
                  <a:pt x="74" y="92"/>
                </a:lnTo>
                <a:lnTo>
                  <a:pt x="76" y="94"/>
                </a:lnTo>
                <a:lnTo>
                  <a:pt x="76" y="94"/>
                </a:lnTo>
                <a:lnTo>
                  <a:pt x="74" y="96"/>
                </a:lnTo>
                <a:lnTo>
                  <a:pt x="72" y="96"/>
                </a:lnTo>
                <a:lnTo>
                  <a:pt x="66" y="96"/>
                </a:lnTo>
                <a:lnTo>
                  <a:pt x="62" y="96"/>
                </a:lnTo>
                <a:lnTo>
                  <a:pt x="58" y="96"/>
                </a:lnTo>
                <a:lnTo>
                  <a:pt x="58" y="98"/>
                </a:lnTo>
                <a:lnTo>
                  <a:pt x="58" y="98"/>
                </a:lnTo>
                <a:lnTo>
                  <a:pt x="64" y="98"/>
                </a:lnTo>
                <a:lnTo>
                  <a:pt x="72" y="100"/>
                </a:lnTo>
                <a:lnTo>
                  <a:pt x="72" y="100"/>
                </a:lnTo>
                <a:lnTo>
                  <a:pt x="58" y="102"/>
                </a:lnTo>
                <a:lnTo>
                  <a:pt x="42" y="102"/>
                </a:lnTo>
                <a:lnTo>
                  <a:pt x="42" y="102"/>
                </a:lnTo>
                <a:lnTo>
                  <a:pt x="44" y="104"/>
                </a:lnTo>
                <a:lnTo>
                  <a:pt x="46" y="104"/>
                </a:lnTo>
                <a:lnTo>
                  <a:pt x="48" y="108"/>
                </a:lnTo>
                <a:lnTo>
                  <a:pt x="48" y="108"/>
                </a:lnTo>
                <a:lnTo>
                  <a:pt x="48" y="110"/>
                </a:lnTo>
                <a:lnTo>
                  <a:pt x="46" y="110"/>
                </a:lnTo>
                <a:lnTo>
                  <a:pt x="38" y="110"/>
                </a:lnTo>
                <a:lnTo>
                  <a:pt x="34" y="110"/>
                </a:lnTo>
                <a:lnTo>
                  <a:pt x="34" y="112"/>
                </a:lnTo>
                <a:lnTo>
                  <a:pt x="34" y="116"/>
                </a:lnTo>
                <a:lnTo>
                  <a:pt x="34" y="116"/>
                </a:lnTo>
                <a:lnTo>
                  <a:pt x="38" y="120"/>
                </a:lnTo>
                <a:lnTo>
                  <a:pt x="44" y="122"/>
                </a:lnTo>
                <a:lnTo>
                  <a:pt x="50" y="122"/>
                </a:lnTo>
                <a:lnTo>
                  <a:pt x="56" y="124"/>
                </a:lnTo>
                <a:lnTo>
                  <a:pt x="56" y="124"/>
                </a:lnTo>
                <a:lnTo>
                  <a:pt x="52" y="128"/>
                </a:lnTo>
                <a:lnTo>
                  <a:pt x="52" y="134"/>
                </a:lnTo>
                <a:lnTo>
                  <a:pt x="52" y="134"/>
                </a:lnTo>
                <a:lnTo>
                  <a:pt x="54" y="136"/>
                </a:lnTo>
                <a:lnTo>
                  <a:pt x="56" y="138"/>
                </a:lnTo>
                <a:lnTo>
                  <a:pt x="56" y="138"/>
                </a:lnTo>
                <a:lnTo>
                  <a:pt x="54" y="142"/>
                </a:lnTo>
                <a:lnTo>
                  <a:pt x="54" y="142"/>
                </a:lnTo>
                <a:lnTo>
                  <a:pt x="48" y="144"/>
                </a:lnTo>
                <a:lnTo>
                  <a:pt x="42" y="144"/>
                </a:lnTo>
                <a:lnTo>
                  <a:pt x="30" y="144"/>
                </a:lnTo>
                <a:lnTo>
                  <a:pt x="30" y="144"/>
                </a:lnTo>
                <a:lnTo>
                  <a:pt x="16" y="144"/>
                </a:lnTo>
                <a:lnTo>
                  <a:pt x="10" y="144"/>
                </a:lnTo>
                <a:lnTo>
                  <a:pt x="4" y="148"/>
                </a:lnTo>
                <a:lnTo>
                  <a:pt x="4" y="148"/>
                </a:lnTo>
                <a:lnTo>
                  <a:pt x="0" y="152"/>
                </a:lnTo>
                <a:lnTo>
                  <a:pt x="0" y="152"/>
                </a:lnTo>
                <a:lnTo>
                  <a:pt x="0" y="158"/>
                </a:lnTo>
                <a:lnTo>
                  <a:pt x="0" y="164"/>
                </a:lnTo>
                <a:lnTo>
                  <a:pt x="0" y="164"/>
                </a:lnTo>
                <a:lnTo>
                  <a:pt x="4" y="164"/>
                </a:lnTo>
                <a:lnTo>
                  <a:pt x="6" y="164"/>
                </a:lnTo>
                <a:lnTo>
                  <a:pt x="12" y="164"/>
                </a:lnTo>
                <a:lnTo>
                  <a:pt x="12" y="164"/>
                </a:lnTo>
                <a:lnTo>
                  <a:pt x="14" y="168"/>
                </a:lnTo>
                <a:lnTo>
                  <a:pt x="14" y="172"/>
                </a:lnTo>
                <a:lnTo>
                  <a:pt x="14" y="174"/>
                </a:lnTo>
                <a:lnTo>
                  <a:pt x="14" y="178"/>
                </a:lnTo>
                <a:lnTo>
                  <a:pt x="14" y="178"/>
                </a:lnTo>
                <a:lnTo>
                  <a:pt x="24" y="190"/>
                </a:lnTo>
                <a:lnTo>
                  <a:pt x="24" y="190"/>
                </a:lnTo>
                <a:lnTo>
                  <a:pt x="30" y="196"/>
                </a:lnTo>
                <a:lnTo>
                  <a:pt x="30" y="196"/>
                </a:lnTo>
                <a:lnTo>
                  <a:pt x="32" y="200"/>
                </a:lnTo>
                <a:lnTo>
                  <a:pt x="36" y="206"/>
                </a:lnTo>
                <a:lnTo>
                  <a:pt x="36" y="206"/>
                </a:lnTo>
                <a:lnTo>
                  <a:pt x="40" y="208"/>
                </a:lnTo>
                <a:lnTo>
                  <a:pt x="46" y="210"/>
                </a:lnTo>
                <a:lnTo>
                  <a:pt x="56" y="216"/>
                </a:lnTo>
                <a:lnTo>
                  <a:pt x="56" y="216"/>
                </a:lnTo>
                <a:lnTo>
                  <a:pt x="66" y="226"/>
                </a:lnTo>
                <a:lnTo>
                  <a:pt x="66" y="226"/>
                </a:lnTo>
                <a:lnTo>
                  <a:pt x="70" y="228"/>
                </a:lnTo>
                <a:lnTo>
                  <a:pt x="70" y="230"/>
                </a:lnTo>
                <a:lnTo>
                  <a:pt x="78" y="232"/>
                </a:lnTo>
                <a:lnTo>
                  <a:pt x="78" y="232"/>
                </a:lnTo>
                <a:lnTo>
                  <a:pt x="80" y="228"/>
                </a:lnTo>
                <a:lnTo>
                  <a:pt x="80" y="228"/>
                </a:lnTo>
                <a:lnTo>
                  <a:pt x="114" y="236"/>
                </a:lnTo>
                <a:lnTo>
                  <a:pt x="114" y="236"/>
                </a:lnTo>
                <a:lnTo>
                  <a:pt x="116" y="236"/>
                </a:lnTo>
                <a:lnTo>
                  <a:pt x="118" y="236"/>
                </a:lnTo>
                <a:lnTo>
                  <a:pt x="120" y="234"/>
                </a:lnTo>
                <a:lnTo>
                  <a:pt x="120" y="234"/>
                </a:lnTo>
                <a:lnTo>
                  <a:pt x="130" y="234"/>
                </a:lnTo>
                <a:lnTo>
                  <a:pt x="140" y="238"/>
                </a:lnTo>
                <a:lnTo>
                  <a:pt x="140" y="238"/>
                </a:lnTo>
                <a:lnTo>
                  <a:pt x="144" y="238"/>
                </a:lnTo>
                <a:lnTo>
                  <a:pt x="150" y="238"/>
                </a:lnTo>
                <a:lnTo>
                  <a:pt x="150" y="238"/>
                </a:lnTo>
                <a:lnTo>
                  <a:pt x="154" y="238"/>
                </a:lnTo>
                <a:lnTo>
                  <a:pt x="158" y="238"/>
                </a:lnTo>
                <a:lnTo>
                  <a:pt x="168" y="240"/>
                </a:lnTo>
                <a:lnTo>
                  <a:pt x="168" y="240"/>
                </a:lnTo>
                <a:lnTo>
                  <a:pt x="184" y="242"/>
                </a:lnTo>
                <a:lnTo>
                  <a:pt x="194" y="242"/>
                </a:lnTo>
                <a:lnTo>
                  <a:pt x="200" y="240"/>
                </a:lnTo>
                <a:lnTo>
                  <a:pt x="200" y="240"/>
                </a:lnTo>
                <a:lnTo>
                  <a:pt x="198" y="242"/>
                </a:lnTo>
                <a:lnTo>
                  <a:pt x="200" y="242"/>
                </a:lnTo>
                <a:lnTo>
                  <a:pt x="206" y="244"/>
                </a:lnTo>
                <a:lnTo>
                  <a:pt x="218" y="242"/>
                </a:lnTo>
                <a:lnTo>
                  <a:pt x="218" y="242"/>
                </a:lnTo>
                <a:lnTo>
                  <a:pt x="234" y="242"/>
                </a:lnTo>
                <a:lnTo>
                  <a:pt x="242" y="242"/>
                </a:lnTo>
                <a:lnTo>
                  <a:pt x="246" y="244"/>
                </a:lnTo>
                <a:lnTo>
                  <a:pt x="246" y="244"/>
                </a:lnTo>
                <a:lnTo>
                  <a:pt x="252" y="242"/>
                </a:lnTo>
                <a:lnTo>
                  <a:pt x="262" y="240"/>
                </a:lnTo>
                <a:lnTo>
                  <a:pt x="280" y="238"/>
                </a:lnTo>
                <a:lnTo>
                  <a:pt x="280" y="238"/>
                </a:lnTo>
                <a:lnTo>
                  <a:pt x="306" y="238"/>
                </a:lnTo>
                <a:lnTo>
                  <a:pt x="306" y="238"/>
                </a:lnTo>
                <a:lnTo>
                  <a:pt x="324" y="236"/>
                </a:lnTo>
                <a:lnTo>
                  <a:pt x="340" y="238"/>
                </a:lnTo>
                <a:lnTo>
                  <a:pt x="340" y="238"/>
                </a:lnTo>
                <a:lnTo>
                  <a:pt x="354" y="240"/>
                </a:lnTo>
                <a:lnTo>
                  <a:pt x="362" y="238"/>
                </a:lnTo>
                <a:lnTo>
                  <a:pt x="366" y="238"/>
                </a:lnTo>
                <a:lnTo>
                  <a:pt x="366" y="238"/>
                </a:lnTo>
                <a:lnTo>
                  <a:pt x="370" y="236"/>
                </a:lnTo>
                <a:lnTo>
                  <a:pt x="370" y="236"/>
                </a:lnTo>
                <a:lnTo>
                  <a:pt x="374" y="238"/>
                </a:lnTo>
                <a:lnTo>
                  <a:pt x="374" y="238"/>
                </a:lnTo>
                <a:lnTo>
                  <a:pt x="382" y="238"/>
                </a:lnTo>
                <a:lnTo>
                  <a:pt x="390" y="238"/>
                </a:lnTo>
                <a:lnTo>
                  <a:pt x="390" y="238"/>
                </a:lnTo>
                <a:lnTo>
                  <a:pt x="450" y="236"/>
                </a:lnTo>
                <a:lnTo>
                  <a:pt x="450" y="236"/>
                </a:lnTo>
                <a:lnTo>
                  <a:pt x="522" y="238"/>
                </a:lnTo>
                <a:lnTo>
                  <a:pt x="522" y="238"/>
                </a:lnTo>
                <a:lnTo>
                  <a:pt x="536" y="236"/>
                </a:lnTo>
                <a:lnTo>
                  <a:pt x="550" y="238"/>
                </a:lnTo>
                <a:lnTo>
                  <a:pt x="550" y="238"/>
                </a:lnTo>
                <a:lnTo>
                  <a:pt x="568" y="238"/>
                </a:lnTo>
                <a:lnTo>
                  <a:pt x="582" y="236"/>
                </a:lnTo>
                <a:lnTo>
                  <a:pt x="582" y="236"/>
                </a:lnTo>
                <a:lnTo>
                  <a:pt x="668" y="236"/>
                </a:lnTo>
                <a:lnTo>
                  <a:pt x="758" y="234"/>
                </a:lnTo>
                <a:lnTo>
                  <a:pt x="758" y="234"/>
                </a:lnTo>
                <a:lnTo>
                  <a:pt x="802" y="234"/>
                </a:lnTo>
                <a:lnTo>
                  <a:pt x="848" y="234"/>
                </a:lnTo>
                <a:lnTo>
                  <a:pt x="848" y="234"/>
                </a:lnTo>
                <a:lnTo>
                  <a:pt x="892" y="236"/>
                </a:lnTo>
                <a:lnTo>
                  <a:pt x="920" y="236"/>
                </a:lnTo>
                <a:lnTo>
                  <a:pt x="932" y="234"/>
                </a:lnTo>
                <a:lnTo>
                  <a:pt x="932" y="234"/>
                </a:lnTo>
                <a:lnTo>
                  <a:pt x="922" y="232"/>
                </a:lnTo>
                <a:lnTo>
                  <a:pt x="912" y="232"/>
                </a:lnTo>
                <a:lnTo>
                  <a:pt x="912" y="232"/>
                </a:lnTo>
                <a:lnTo>
                  <a:pt x="906" y="232"/>
                </a:lnTo>
                <a:lnTo>
                  <a:pt x="898" y="232"/>
                </a:lnTo>
                <a:lnTo>
                  <a:pt x="898" y="232"/>
                </a:lnTo>
                <a:lnTo>
                  <a:pt x="880" y="230"/>
                </a:lnTo>
                <a:lnTo>
                  <a:pt x="880" y="230"/>
                </a:lnTo>
                <a:lnTo>
                  <a:pt x="868" y="232"/>
                </a:lnTo>
                <a:lnTo>
                  <a:pt x="868" y="232"/>
                </a:lnTo>
                <a:lnTo>
                  <a:pt x="860" y="230"/>
                </a:lnTo>
                <a:lnTo>
                  <a:pt x="860" y="230"/>
                </a:lnTo>
                <a:lnTo>
                  <a:pt x="858" y="230"/>
                </a:lnTo>
                <a:lnTo>
                  <a:pt x="858" y="230"/>
                </a:lnTo>
                <a:lnTo>
                  <a:pt x="856" y="232"/>
                </a:lnTo>
                <a:lnTo>
                  <a:pt x="856" y="232"/>
                </a:lnTo>
                <a:lnTo>
                  <a:pt x="856" y="232"/>
                </a:lnTo>
                <a:lnTo>
                  <a:pt x="854" y="230"/>
                </a:lnTo>
                <a:lnTo>
                  <a:pt x="854" y="228"/>
                </a:lnTo>
                <a:lnTo>
                  <a:pt x="854" y="228"/>
                </a:lnTo>
                <a:lnTo>
                  <a:pt x="856" y="228"/>
                </a:lnTo>
                <a:lnTo>
                  <a:pt x="864" y="226"/>
                </a:lnTo>
                <a:lnTo>
                  <a:pt x="886" y="226"/>
                </a:lnTo>
                <a:lnTo>
                  <a:pt x="920" y="228"/>
                </a:lnTo>
                <a:lnTo>
                  <a:pt x="920" y="228"/>
                </a:lnTo>
                <a:lnTo>
                  <a:pt x="930" y="226"/>
                </a:lnTo>
                <a:lnTo>
                  <a:pt x="930" y="226"/>
                </a:lnTo>
                <a:lnTo>
                  <a:pt x="946" y="226"/>
                </a:lnTo>
                <a:lnTo>
                  <a:pt x="946" y="226"/>
                </a:lnTo>
                <a:lnTo>
                  <a:pt x="968" y="228"/>
                </a:lnTo>
                <a:lnTo>
                  <a:pt x="992" y="226"/>
                </a:lnTo>
                <a:lnTo>
                  <a:pt x="992" y="226"/>
                </a:lnTo>
                <a:lnTo>
                  <a:pt x="1016" y="220"/>
                </a:lnTo>
                <a:lnTo>
                  <a:pt x="1030" y="214"/>
                </a:lnTo>
                <a:lnTo>
                  <a:pt x="1032" y="210"/>
                </a:lnTo>
                <a:lnTo>
                  <a:pt x="1032" y="208"/>
                </a:lnTo>
                <a:lnTo>
                  <a:pt x="1032" y="208"/>
                </a:lnTo>
                <a:lnTo>
                  <a:pt x="1022" y="208"/>
                </a:lnTo>
                <a:lnTo>
                  <a:pt x="1022" y="208"/>
                </a:lnTo>
                <a:lnTo>
                  <a:pt x="1028" y="188"/>
                </a:lnTo>
                <a:lnTo>
                  <a:pt x="1032" y="172"/>
                </a:lnTo>
                <a:lnTo>
                  <a:pt x="1032" y="172"/>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1259"/>
          <p:cNvSpPr>
            <a:spLocks/>
          </p:cNvSpPr>
          <p:nvPr/>
        </p:nvSpPr>
        <p:spPr bwMode="auto">
          <a:xfrm>
            <a:off x="465988" y="2442566"/>
            <a:ext cx="3592376" cy="623831"/>
          </a:xfrm>
          <a:custGeom>
            <a:avLst/>
            <a:gdLst>
              <a:gd name="T0" fmla="*/ 970 w 1032"/>
              <a:gd name="T1" fmla="*/ 166 h 244"/>
              <a:gd name="T2" fmla="*/ 980 w 1032"/>
              <a:gd name="T3" fmla="*/ 154 h 244"/>
              <a:gd name="T4" fmla="*/ 988 w 1032"/>
              <a:gd name="T5" fmla="*/ 146 h 244"/>
              <a:gd name="T6" fmla="*/ 994 w 1032"/>
              <a:gd name="T7" fmla="*/ 134 h 244"/>
              <a:gd name="T8" fmla="*/ 1012 w 1032"/>
              <a:gd name="T9" fmla="*/ 128 h 244"/>
              <a:gd name="T10" fmla="*/ 960 w 1032"/>
              <a:gd name="T11" fmla="*/ 122 h 244"/>
              <a:gd name="T12" fmla="*/ 970 w 1032"/>
              <a:gd name="T13" fmla="*/ 120 h 244"/>
              <a:gd name="T14" fmla="*/ 952 w 1032"/>
              <a:gd name="T15" fmla="*/ 114 h 244"/>
              <a:gd name="T16" fmla="*/ 984 w 1032"/>
              <a:gd name="T17" fmla="*/ 102 h 244"/>
              <a:gd name="T18" fmla="*/ 968 w 1032"/>
              <a:gd name="T19" fmla="*/ 100 h 244"/>
              <a:gd name="T20" fmla="*/ 932 w 1032"/>
              <a:gd name="T21" fmla="*/ 94 h 244"/>
              <a:gd name="T22" fmla="*/ 950 w 1032"/>
              <a:gd name="T23" fmla="*/ 90 h 244"/>
              <a:gd name="T24" fmla="*/ 928 w 1032"/>
              <a:gd name="T25" fmla="*/ 86 h 244"/>
              <a:gd name="T26" fmla="*/ 920 w 1032"/>
              <a:gd name="T27" fmla="*/ 80 h 244"/>
              <a:gd name="T28" fmla="*/ 920 w 1032"/>
              <a:gd name="T29" fmla="*/ 74 h 244"/>
              <a:gd name="T30" fmla="*/ 922 w 1032"/>
              <a:gd name="T31" fmla="*/ 64 h 244"/>
              <a:gd name="T32" fmla="*/ 984 w 1032"/>
              <a:gd name="T33" fmla="*/ 56 h 244"/>
              <a:gd name="T34" fmla="*/ 996 w 1032"/>
              <a:gd name="T35" fmla="*/ 52 h 244"/>
              <a:gd name="T36" fmla="*/ 1026 w 1032"/>
              <a:gd name="T37" fmla="*/ 42 h 244"/>
              <a:gd name="T38" fmla="*/ 1000 w 1032"/>
              <a:gd name="T39" fmla="*/ 36 h 244"/>
              <a:gd name="T40" fmla="*/ 870 w 1032"/>
              <a:gd name="T41" fmla="*/ 22 h 244"/>
              <a:gd name="T42" fmla="*/ 588 w 1032"/>
              <a:gd name="T43" fmla="*/ 0 h 244"/>
              <a:gd name="T44" fmla="*/ 328 w 1032"/>
              <a:gd name="T45" fmla="*/ 2 h 244"/>
              <a:gd name="T46" fmla="*/ 88 w 1032"/>
              <a:gd name="T47" fmla="*/ 26 h 244"/>
              <a:gd name="T48" fmla="*/ 38 w 1032"/>
              <a:gd name="T49" fmla="*/ 48 h 244"/>
              <a:gd name="T50" fmla="*/ 54 w 1032"/>
              <a:gd name="T51" fmla="*/ 58 h 244"/>
              <a:gd name="T52" fmla="*/ 60 w 1032"/>
              <a:gd name="T53" fmla="*/ 80 h 244"/>
              <a:gd name="T54" fmla="*/ 48 w 1032"/>
              <a:gd name="T55" fmla="*/ 82 h 244"/>
              <a:gd name="T56" fmla="*/ 56 w 1032"/>
              <a:gd name="T57" fmla="*/ 86 h 244"/>
              <a:gd name="T58" fmla="*/ 74 w 1032"/>
              <a:gd name="T59" fmla="*/ 92 h 244"/>
              <a:gd name="T60" fmla="*/ 62 w 1032"/>
              <a:gd name="T61" fmla="*/ 96 h 244"/>
              <a:gd name="T62" fmla="*/ 72 w 1032"/>
              <a:gd name="T63" fmla="*/ 100 h 244"/>
              <a:gd name="T64" fmla="*/ 48 w 1032"/>
              <a:gd name="T65" fmla="*/ 108 h 244"/>
              <a:gd name="T66" fmla="*/ 34 w 1032"/>
              <a:gd name="T67" fmla="*/ 112 h 244"/>
              <a:gd name="T68" fmla="*/ 56 w 1032"/>
              <a:gd name="T69" fmla="*/ 124 h 244"/>
              <a:gd name="T70" fmla="*/ 56 w 1032"/>
              <a:gd name="T71" fmla="*/ 138 h 244"/>
              <a:gd name="T72" fmla="*/ 30 w 1032"/>
              <a:gd name="T73" fmla="*/ 144 h 244"/>
              <a:gd name="T74" fmla="*/ 0 w 1032"/>
              <a:gd name="T75" fmla="*/ 152 h 244"/>
              <a:gd name="T76" fmla="*/ 6 w 1032"/>
              <a:gd name="T77" fmla="*/ 164 h 244"/>
              <a:gd name="T78" fmla="*/ 14 w 1032"/>
              <a:gd name="T79" fmla="*/ 178 h 244"/>
              <a:gd name="T80" fmla="*/ 32 w 1032"/>
              <a:gd name="T81" fmla="*/ 200 h 244"/>
              <a:gd name="T82" fmla="*/ 56 w 1032"/>
              <a:gd name="T83" fmla="*/ 216 h 244"/>
              <a:gd name="T84" fmla="*/ 78 w 1032"/>
              <a:gd name="T85" fmla="*/ 232 h 244"/>
              <a:gd name="T86" fmla="*/ 118 w 1032"/>
              <a:gd name="T87" fmla="*/ 236 h 244"/>
              <a:gd name="T88" fmla="*/ 144 w 1032"/>
              <a:gd name="T89" fmla="*/ 238 h 244"/>
              <a:gd name="T90" fmla="*/ 168 w 1032"/>
              <a:gd name="T91" fmla="*/ 240 h 244"/>
              <a:gd name="T92" fmla="*/ 200 w 1032"/>
              <a:gd name="T93" fmla="*/ 242 h 244"/>
              <a:gd name="T94" fmla="*/ 246 w 1032"/>
              <a:gd name="T95" fmla="*/ 244 h 244"/>
              <a:gd name="T96" fmla="*/ 306 w 1032"/>
              <a:gd name="T97" fmla="*/ 238 h 244"/>
              <a:gd name="T98" fmla="*/ 362 w 1032"/>
              <a:gd name="T99" fmla="*/ 238 h 244"/>
              <a:gd name="T100" fmla="*/ 374 w 1032"/>
              <a:gd name="T101" fmla="*/ 238 h 244"/>
              <a:gd name="T102" fmla="*/ 522 w 1032"/>
              <a:gd name="T103" fmla="*/ 238 h 244"/>
              <a:gd name="T104" fmla="*/ 582 w 1032"/>
              <a:gd name="T105" fmla="*/ 236 h 244"/>
              <a:gd name="T106" fmla="*/ 848 w 1032"/>
              <a:gd name="T107" fmla="*/ 234 h 244"/>
              <a:gd name="T108" fmla="*/ 922 w 1032"/>
              <a:gd name="T109" fmla="*/ 232 h 244"/>
              <a:gd name="T110" fmla="*/ 880 w 1032"/>
              <a:gd name="T111" fmla="*/ 230 h 244"/>
              <a:gd name="T112" fmla="*/ 858 w 1032"/>
              <a:gd name="T113" fmla="*/ 230 h 244"/>
              <a:gd name="T114" fmla="*/ 854 w 1032"/>
              <a:gd name="T115" fmla="*/ 228 h 244"/>
              <a:gd name="T116" fmla="*/ 920 w 1032"/>
              <a:gd name="T117" fmla="*/ 228 h 244"/>
              <a:gd name="T118" fmla="*/ 992 w 1032"/>
              <a:gd name="T119" fmla="*/ 226 h 244"/>
              <a:gd name="T120" fmla="*/ 1032 w 1032"/>
              <a:gd name="T121" fmla="*/ 20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32" h="244">
                <a:moveTo>
                  <a:pt x="1032" y="172"/>
                </a:moveTo>
                <a:lnTo>
                  <a:pt x="1032" y="172"/>
                </a:lnTo>
                <a:lnTo>
                  <a:pt x="964" y="174"/>
                </a:lnTo>
                <a:lnTo>
                  <a:pt x="964" y="174"/>
                </a:lnTo>
                <a:lnTo>
                  <a:pt x="966" y="170"/>
                </a:lnTo>
                <a:lnTo>
                  <a:pt x="970" y="166"/>
                </a:lnTo>
                <a:lnTo>
                  <a:pt x="970" y="166"/>
                </a:lnTo>
                <a:lnTo>
                  <a:pt x="976" y="164"/>
                </a:lnTo>
                <a:lnTo>
                  <a:pt x="978" y="162"/>
                </a:lnTo>
                <a:lnTo>
                  <a:pt x="982" y="158"/>
                </a:lnTo>
                <a:lnTo>
                  <a:pt x="982" y="158"/>
                </a:lnTo>
                <a:lnTo>
                  <a:pt x="980" y="154"/>
                </a:lnTo>
                <a:lnTo>
                  <a:pt x="980" y="152"/>
                </a:lnTo>
                <a:lnTo>
                  <a:pt x="982" y="150"/>
                </a:lnTo>
                <a:lnTo>
                  <a:pt x="982" y="150"/>
                </a:lnTo>
                <a:lnTo>
                  <a:pt x="984" y="148"/>
                </a:lnTo>
                <a:lnTo>
                  <a:pt x="988" y="146"/>
                </a:lnTo>
                <a:lnTo>
                  <a:pt x="988" y="146"/>
                </a:lnTo>
                <a:lnTo>
                  <a:pt x="996" y="140"/>
                </a:lnTo>
                <a:lnTo>
                  <a:pt x="998" y="136"/>
                </a:lnTo>
                <a:lnTo>
                  <a:pt x="996" y="136"/>
                </a:lnTo>
                <a:lnTo>
                  <a:pt x="992" y="134"/>
                </a:lnTo>
                <a:lnTo>
                  <a:pt x="992" y="134"/>
                </a:lnTo>
                <a:lnTo>
                  <a:pt x="994" y="134"/>
                </a:lnTo>
                <a:lnTo>
                  <a:pt x="996" y="132"/>
                </a:lnTo>
                <a:lnTo>
                  <a:pt x="1002" y="132"/>
                </a:lnTo>
                <a:lnTo>
                  <a:pt x="1008" y="130"/>
                </a:lnTo>
                <a:lnTo>
                  <a:pt x="1010" y="130"/>
                </a:lnTo>
                <a:lnTo>
                  <a:pt x="1012" y="128"/>
                </a:lnTo>
                <a:lnTo>
                  <a:pt x="1012" y="128"/>
                </a:lnTo>
                <a:lnTo>
                  <a:pt x="1004" y="126"/>
                </a:lnTo>
                <a:lnTo>
                  <a:pt x="986" y="126"/>
                </a:lnTo>
                <a:lnTo>
                  <a:pt x="958" y="126"/>
                </a:lnTo>
                <a:lnTo>
                  <a:pt x="958" y="126"/>
                </a:lnTo>
                <a:lnTo>
                  <a:pt x="960" y="124"/>
                </a:lnTo>
                <a:lnTo>
                  <a:pt x="960" y="122"/>
                </a:lnTo>
                <a:lnTo>
                  <a:pt x="966" y="122"/>
                </a:lnTo>
                <a:lnTo>
                  <a:pt x="970" y="124"/>
                </a:lnTo>
                <a:lnTo>
                  <a:pt x="974" y="122"/>
                </a:lnTo>
                <a:lnTo>
                  <a:pt x="974" y="122"/>
                </a:lnTo>
                <a:lnTo>
                  <a:pt x="972" y="120"/>
                </a:lnTo>
                <a:lnTo>
                  <a:pt x="970" y="120"/>
                </a:lnTo>
                <a:lnTo>
                  <a:pt x="964" y="120"/>
                </a:lnTo>
                <a:lnTo>
                  <a:pt x="956" y="118"/>
                </a:lnTo>
                <a:lnTo>
                  <a:pt x="952" y="118"/>
                </a:lnTo>
                <a:lnTo>
                  <a:pt x="952" y="118"/>
                </a:lnTo>
                <a:lnTo>
                  <a:pt x="954" y="114"/>
                </a:lnTo>
                <a:lnTo>
                  <a:pt x="952" y="114"/>
                </a:lnTo>
                <a:lnTo>
                  <a:pt x="950" y="112"/>
                </a:lnTo>
                <a:lnTo>
                  <a:pt x="950" y="112"/>
                </a:lnTo>
                <a:lnTo>
                  <a:pt x="956" y="108"/>
                </a:lnTo>
                <a:lnTo>
                  <a:pt x="960" y="106"/>
                </a:lnTo>
                <a:lnTo>
                  <a:pt x="972" y="104"/>
                </a:lnTo>
                <a:lnTo>
                  <a:pt x="984" y="102"/>
                </a:lnTo>
                <a:lnTo>
                  <a:pt x="994" y="98"/>
                </a:lnTo>
                <a:lnTo>
                  <a:pt x="994" y="98"/>
                </a:lnTo>
                <a:lnTo>
                  <a:pt x="990" y="96"/>
                </a:lnTo>
                <a:lnTo>
                  <a:pt x="982" y="96"/>
                </a:lnTo>
                <a:lnTo>
                  <a:pt x="968" y="100"/>
                </a:lnTo>
                <a:lnTo>
                  <a:pt x="968" y="100"/>
                </a:lnTo>
                <a:lnTo>
                  <a:pt x="946" y="100"/>
                </a:lnTo>
                <a:lnTo>
                  <a:pt x="936" y="100"/>
                </a:lnTo>
                <a:lnTo>
                  <a:pt x="930" y="98"/>
                </a:lnTo>
                <a:lnTo>
                  <a:pt x="928" y="96"/>
                </a:lnTo>
                <a:lnTo>
                  <a:pt x="928" y="96"/>
                </a:lnTo>
                <a:lnTo>
                  <a:pt x="932" y="94"/>
                </a:lnTo>
                <a:lnTo>
                  <a:pt x="942" y="94"/>
                </a:lnTo>
                <a:lnTo>
                  <a:pt x="950" y="92"/>
                </a:lnTo>
                <a:lnTo>
                  <a:pt x="952" y="92"/>
                </a:lnTo>
                <a:lnTo>
                  <a:pt x="952" y="92"/>
                </a:lnTo>
                <a:lnTo>
                  <a:pt x="952" y="90"/>
                </a:lnTo>
                <a:lnTo>
                  <a:pt x="950" y="90"/>
                </a:lnTo>
                <a:lnTo>
                  <a:pt x="940" y="90"/>
                </a:lnTo>
                <a:lnTo>
                  <a:pt x="930" y="90"/>
                </a:lnTo>
                <a:lnTo>
                  <a:pt x="928" y="88"/>
                </a:lnTo>
                <a:lnTo>
                  <a:pt x="926" y="86"/>
                </a:lnTo>
                <a:lnTo>
                  <a:pt x="926" y="86"/>
                </a:lnTo>
                <a:lnTo>
                  <a:pt x="928" y="86"/>
                </a:lnTo>
                <a:lnTo>
                  <a:pt x="928" y="84"/>
                </a:lnTo>
                <a:lnTo>
                  <a:pt x="928" y="80"/>
                </a:lnTo>
                <a:lnTo>
                  <a:pt x="928" y="80"/>
                </a:lnTo>
                <a:lnTo>
                  <a:pt x="928" y="82"/>
                </a:lnTo>
                <a:lnTo>
                  <a:pt x="924" y="82"/>
                </a:lnTo>
                <a:lnTo>
                  <a:pt x="920" y="80"/>
                </a:lnTo>
                <a:lnTo>
                  <a:pt x="918" y="78"/>
                </a:lnTo>
                <a:lnTo>
                  <a:pt x="918" y="78"/>
                </a:lnTo>
                <a:lnTo>
                  <a:pt x="920" y="78"/>
                </a:lnTo>
                <a:lnTo>
                  <a:pt x="922" y="76"/>
                </a:lnTo>
                <a:lnTo>
                  <a:pt x="922" y="76"/>
                </a:lnTo>
                <a:lnTo>
                  <a:pt x="920" y="74"/>
                </a:lnTo>
                <a:lnTo>
                  <a:pt x="914" y="74"/>
                </a:lnTo>
                <a:lnTo>
                  <a:pt x="904" y="72"/>
                </a:lnTo>
                <a:lnTo>
                  <a:pt x="904" y="72"/>
                </a:lnTo>
                <a:lnTo>
                  <a:pt x="906" y="70"/>
                </a:lnTo>
                <a:lnTo>
                  <a:pt x="910" y="68"/>
                </a:lnTo>
                <a:lnTo>
                  <a:pt x="922" y="64"/>
                </a:lnTo>
                <a:lnTo>
                  <a:pt x="942" y="60"/>
                </a:lnTo>
                <a:lnTo>
                  <a:pt x="942" y="60"/>
                </a:lnTo>
                <a:lnTo>
                  <a:pt x="970" y="56"/>
                </a:lnTo>
                <a:lnTo>
                  <a:pt x="970" y="56"/>
                </a:lnTo>
                <a:lnTo>
                  <a:pt x="984" y="56"/>
                </a:lnTo>
                <a:lnTo>
                  <a:pt x="984" y="56"/>
                </a:lnTo>
                <a:lnTo>
                  <a:pt x="990" y="56"/>
                </a:lnTo>
                <a:lnTo>
                  <a:pt x="998" y="54"/>
                </a:lnTo>
                <a:lnTo>
                  <a:pt x="998" y="54"/>
                </a:lnTo>
                <a:lnTo>
                  <a:pt x="998" y="54"/>
                </a:lnTo>
                <a:lnTo>
                  <a:pt x="998" y="52"/>
                </a:lnTo>
                <a:lnTo>
                  <a:pt x="996" y="52"/>
                </a:lnTo>
                <a:lnTo>
                  <a:pt x="996" y="52"/>
                </a:lnTo>
                <a:lnTo>
                  <a:pt x="1002" y="46"/>
                </a:lnTo>
                <a:lnTo>
                  <a:pt x="1010" y="42"/>
                </a:lnTo>
                <a:lnTo>
                  <a:pt x="1010" y="42"/>
                </a:lnTo>
                <a:lnTo>
                  <a:pt x="1022" y="42"/>
                </a:lnTo>
                <a:lnTo>
                  <a:pt x="1026" y="42"/>
                </a:lnTo>
                <a:lnTo>
                  <a:pt x="1032" y="40"/>
                </a:lnTo>
                <a:lnTo>
                  <a:pt x="1032" y="40"/>
                </a:lnTo>
                <a:lnTo>
                  <a:pt x="1026" y="38"/>
                </a:lnTo>
                <a:lnTo>
                  <a:pt x="1016" y="36"/>
                </a:lnTo>
                <a:lnTo>
                  <a:pt x="1000" y="36"/>
                </a:lnTo>
                <a:lnTo>
                  <a:pt x="1000" y="36"/>
                </a:lnTo>
                <a:lnTo>
                  <a:pt x="970" y="36"/>
                </a:lnTo>
                <a:lnTo>
                  <a:pt x="970" y="36"/>
                </a:lnTo>
                <a:lnTo>
                  <a:pt x="944" y="32"/>
                </a:lnTo>
                <a:lnTo>
                  <a:pt x="916" y="30"/>
                </a:lnTo>
                <a:lnTo>
                  <a:pt x="916" y="30"/>
                </a:lnTo>
                <a:lnTo>
                  <a:pt x="870" y="22"/>
                </a:lnTo>
                <a:lnTo>
                  <a:pt x="822" y="16"/>
                </a:lnTo>
                <a:lnTo>
                  <a:pt x="822" y="16"/>
                </a:lnTo>
                <a:lnTo>
                  <a:pt x="714" y="8"/>
                </a:lnTo>
                <a:lnTo>
                  <a:pt x="714" y="8"/>
                </a:lnTo>
                <a:lnTo>
                  <a:pt x="650" y="2"/>
                </a:lnTo>
                <a:lnTo>
                  <a:pt x="588" y="0"/>
                </a:lnTo>
                <a:lnTo>
                  <a:pt x="588" y="0"/>
                </a:lnTo>
                <a:lnTo>
                  <a:pt x="500" y="0"/>
                </a:lnTo>
                <a:lnTo>
                  <a:pt x="416" y="2"/>
                </a:lnTo>
                <a:lnTo>
                  <a:pt x="416" y="2"/>
                </a:lnTo>
                <a:lnTo>
                  <a:pt x="358" y="2"/>
                </a:lnTo>
                <a:lnTo>
                  <a:pt x="328" y="2"/>
                </a:lnTo>
                <a:lnTo>
                  <a:pt x="300" y="6"/>
                </a:lnTo>
                <a:lnTo>
                  <a:pt x="300" y="6"/>
                </a:lnTo>
                <a:lnTo>
                  <a:pt x="248" y="10"/>
                </a:lnTo>
                <a:lnTo>
                  <a:pt x="194" y="14"/>
                </a:lnTo>
                <a:lnTo>
                  <a:pt x="140" y="18"/>
                </a:lnTo>
                <a:lnTo>
                  <a:pt x="88" y="26"/>
                </a:lnTo>
                <a:lnTo>
                  <a:pt x="88" y="26"/>
                </a:lnTo>
                <a:lnTo>
                  <a:pt x="72" y="28"/>
                </a:lnTo>
                <a:lnTo>
                  <a:pt x="52" y="36"/>
                </a:lnTo>
                <a:lnTo>
                  <a:pt x="44" y="40"/>
                </a:lnTo>
                <a:lnTo>
                  <a:pt x="38" y="44"/>
                </a:lnTo>
                <a:lnTo>
                  <a:pt x="38" y="48"/>
                </a:lnTo>
                <a:lnTo>
                  <a:pt x="38" y="50"/>
                </a:lnTo>
                <a:lnTo>
                  <a:pt x="38" y="52"/>
                </a:lnTo>
                <a:lnTo>
                  <a:pt x="42" y="56"/>
                </a:lnTo>
                <a:lnTo>
                  <a:pt x="42" y="56"/>
                </a:lnTo>
                <a:lnTo>
                  <a:pt x="48" y="58"/>
                </a:lnTo>
                <a:lnTo>
                  <a:pt x="54" y="58"/>
                </a:lnTo>
                <a:lnTo>
                  <a:pt x="54" y="58"/>
                </a:lnTo>
                <a:lnTo>
                  <a:pt x="58" y="66"/>
                </a:lnTo>
                <a:lnTo>
                  <a:pt x="60" y="72"/>
                </a:lnTo>
                <a:lnTo>
                  <a:pt x="60" y="72"/>
                </a:lnTo>
                <a:lnTo>
                  <a:pt x="62" y="76"/>
                </a:lnTo>
                <a:lnTo>
                  <a:pt x="60" y="80"/>
                </a:lnTo>
                <a:lnTo>
                  <a:pt x="60" y="80"/>
                </a:lnTo>
                <a:lnTo>
                  <a:pt x="54" y="80"/>
                </a:lnTo>
                <a:lnTo>
                  <a:pt x="48" y="80"/>
                </a:lnTo>
                <a:lnTo>
                  <a:pt x="48" y="80"/>
                </a:lnTo>
                <a:lnTo>
                  <a:pt x="48" y="82"/>
                </a:lnTo>
                <a:lnTo>
                  <a:pt x="48" y="82"/>
                </a:lnTo>
                <a:lnTo>
                  <a:pt x="54" y="84"/>
                </a:lnTo>
                <a:lnTo>
                  <a:pt x="62" y="82"/>
                </a:lnTo>
                <a:lnTo>
                  <a:pt x="62" y="82"/>
                </a:lnTo>
                <a:lnTo>
                  <a:pt x="62" y="84"/>
                </a:lnTo>
                <a:lnTo>
                  <a:pt x="60" y="86"/>
                </a:lnTo>
                <a:lnTo>
                  <a:pt x="56" y="86"/>
                </a:lnTo>
                <a:lnTo>
                  <a:pt x="50" y="86"/>
                </a:lnTo>
                <a:lnTo>
                  <a:pt x="46" y="88"/>
                </a:lnTo>
                <a:lnTo>
                  <a:pt x="46" y="88"/>
                </a:lnTo>
                <a:lnTo>
                  <a:pt x="62" y="88"/>
                </a:lnTo>
                <a:lnTo>
                  <a:pt x="72" y="90"/>
                </a:lnTo>
                <a:lnTo>
                  <a:pt x="74" y="92"/>
                </a:lnTo>
                <a:lnTo>
                  <a:pt x="76" y="94"/>
                </a:lnTo>
                <a:lnTo>
                  <a:pt x="76" y="94"/>
                </a:lnTo>
                <a:lnTo>
                  <a:pt x="74" y="96"/>
                </a:lnTo>
                <a:lnTo>
                  <a:pt x="72" y="96"/>
                </a:lnTo>
                <a:lnTo>
                  <a:pt x="66" y="96"/>
                </a:lnTo>
                <a:lnTo>
                  <a:pt x="62" y="96"/>
                </a:lnTo>
                <a:lnTo>
                  <a:pt x="58" y="96"/>
                </a:lnTo>
                <a:lnTo>
                  <a:pt x="58" y="98"/>
                </a:lnTo>
                <a:lnTo>
                  <a:pt x="58" y="98"/>
                </a:lnTo>
                <a:lnTo>
                  <a:pt x="64" y="98"/>
                </a:lnTo>
                <a:lnTo>
                  <a:pt x="72" y="100"/>
                </a:lnTo>
                <a:lnTo>
                  <a:pt x="72" y="100"/>
                </a:lnTo>
                <a:lnTo>
                  <a:pt x="58" y="102"/>
                </a:lnTo>
                <a:lnTo>
                  <a:pt x="42" y="102"/>
                </a:lnTo>
                <a:lnTo>
                  <a:pt x="42" y="102"/>
                </a:lnTo>
                <a:lnTo>
                  <a:pt x="44" y="104"/>
                </a:lnTo>
                <a:lnTo>
                  <a:pt x="46" y="104"/>
                </a:lnTo>
                <a:lnTo>
                  <a:pt x="48" y="108"/>
                </a:lnTo>
                <a:lnTo>
                  <a:pt x="48" y="108"/>
                </a:lnTo>
                <a:lnTo>
                  <a:pt x="48" y="110"/>
                </a:lnTo>
                <a:lnTo>
                  <a:pt x="46" y="110"/>
                </a:lnTo>
                <a:lnTo>
                  <a:pt x="38" y="110"/>
                </a:lnTo>
                <a:lnTo>
                  <a:pt x="34" y="110"/>
                </a:lnTo>
                <a:lnTo>
                  <a:pt x="34" y="112"/>
                </a:lnTo>
                <a:lnTo>
                  <a:pt x="34" y="116"/>
                </a:lnTo>
                <a:lnTo>
                  <a:pt x="34" y="116"/>
                </a:lnTo>
                <a:lnTo>
                  <a:pt x="38" y="120"/>
                </a:lnTo>
                <a:lnTo>
                  <a:pt x="44" y="122"/>
                </a:lnTo>
                <a:lnTo>
                  <a:pt x="50" y="122"/>
                </a:lnTo>
                <a:lnTo>
                  <a:pt x="56" y="124"/>
                </a:lnTo>
                <a:lnTo>
                  <a:pt x="56" y="124"/>
                </a:lnTo>
                <a:lnTo>
                  <a:pt x="52" y="128"/>
                </a:lnTo>
                <a:lnTo>
                  <a:pt x="52" y="134"/>
                </a:lnTo>
                <a:lnTo>
                  <a:pt x="52" y="134"/>
                </a:lnTo>
                <a:lnTo>
                  <a:pt x="54" y="136"/>
                </a:lnTo>
                <a:lnTo>
                  <a:pt x="56" y="138"/>
                </a:lnTo>
                <a:lnTo>
                  <a:pt x="56" y="138"/>
                </a:lnTo>
                <a:lnTo>
                  <a:pt x="54" y="142"/>
                </a:lnTo>
                <a:lnTo>
                  <a:pt x="54" y="142"/>
                </a:lnTo>
                <a:lnTo>
                  <a:pt x="48" y="144"/>
                </a:lnTo>
                <a:lnTo>
                  <a:pt x="42" y="144"/>
                </a:lnTo>
                <a:lnTo>
                  <a:pt x="30" y="144"/>
                </a:lnTo>
                <a:lnTo>
                  <a:pt x="30" y="144"/>
                </a:lnTo>
                <a:lnTo>
                  <a:pt x="16" y="144"/>
                </a:lnTo>
                <a:lnTo>
                  <a:pt x="10" y="144"/>
                </a:lnTo>
                <a:lnTo>
                  <a:pt x="4" y="148"/>
                </a:lnTo>
                <a:lnTo>
                  <a:pt x="4" y="148"/>
                </a:lnTo>
                <a:lnTo>
                  <a:pt x="0" y="152"/>
                </a:lnTo>
                <a:lnTo>
                  <a:pt x="0" y="152"/>
                </a:lnTo>
                <a:lnTo>
                  <a:pt x="0" y="158"/>
                </a:lnTo>
                <a:lnTo>
                  <a:pt x="0" y="164"/>
                </a:lnTo>
                <a:lnTo>
                  <a:pt x="0" y="164"/>
                </a:lnTo>
                <a:lnTo>
                  <a:pt x="4" y="164"/>
                </a:lnTo>
                <a:lnTo>
                  <a:pt x="6" y="164"/>
                </a:lnTo>
                <a:lnTo>
                  <a:pt x="12" y="164"/>
                </a:lnTo>
                <a:lnTo>
                  <a:pt x="12" y="164"/>
                </a:lnTo>
                <a:lnTo>
                  <a:pt x="14" y="168"/>
                </a:lnTo>
                <a:lnTo>
                  <a:pt x="14" y="172"/>
                </a:lnTo>
                <a:lnTo>
                  <a:pt x="14" y="174"/>
                </a:lnTo>
                <a:lnTo>
                  <a:pt x="14" y="178"/>
                </a:lnTo>
                <a:lnTo>
                  <a:pt x="14" y="178"/>
                </a:lnTo>
                <a:lnTo>
                  <a:pt x="24" y="190"/>
                </a:lnTo>
                <a:lnTo>
                  <a:pt x="24" y="190"/>
                </a:lnTo>
                <a:lnTo>
                  <a:pt x="30" y="196"/>
                </a:lnTo>
                <a:lnTo>
                  <a:pt x="30" y="196"/>
                </a:lnTo>
                <a:lnTo>
                  <a:pt x="32" y="200"/>
                </a:lnTo>
                <a:lnTo>
                  <a:pt x="36" y="206"/>
                </a:lnTo>
                <a:lnTo>
                  <a:pt x="36" y="206"/>
                </a:lnTo>
                <a:lnTo>
                  <a:pt x="40" y="208"/>
                </a:lnTo>
                <a:lnTo>
                  <a:pt x="46" y="210"/>
                </a:lnTo>
                <a:lnTo>
                  <a:pt x="56" y="216"/>
                </a:lnTo>
                <a:lnTo>
                  <a:pt x="56" y="216"/>
                </a:lnTo>
                <a:lnTo>
                  <a:pt x="66" y="226"/>
                </a:lnTo>
                <a:lnTo>
                  <a:pt x="66" y="226"/>
                </a:lnTo>
                <a:lnTo>
                  <a:pt x="70" y="228"/>
                </a:lnTo>
                <a:lnTo>
                  <a:pt x="70" y="230"/>
                </a:lnTo>
                <a:lnTo>
                  <a:pt x="78" y="232"/>
                </a:lnTo>
                <a:lnTo>
                  <a:pt x="78" y="232"/>
                </a:lnTo>
                <a:lnTo>
                  <a:pt x="80" y="228"/>
                </a:lnTo>
                <a:lnTo>
                  <a:pt x="80" y="228"/>
                </a:lnTo>
                <a:lnTo>
                  <a:pt x="114" y="236"/>
                </a:lnTo>
                <a:lnTo>
                  <a:pt x="114" y="236"/>
                </a:lnTo>
                <a:lnTo>
                  <a:pt x="116" y="236"/>
                </a:lnTo>
                <a:lnTo>
                  <a:pt x="118" y="236"/>
                </a:lnTo>
                <a:lnTo>
                  <a:pt x="120" y="234"/>
                </a:lnTo>
                <a:lnTo>
                  <a:pt x="120" y="234"/>
                </a:lnTo>
                <a:lnTo>
                  <a:pt x="130" y="234"/>
                </a:lnTo>
                <a:lnTo>
                  <a:pt x="140" y="238"/>
                </a:lnTo>
                <a:lnTo>
                  <a:pt x="140" y="238"/>
                </a:lnTo>
                <a:lnTo>
                  <a:pt x="144" y="238"/>
                </a:lnTo>
                <a:lnTo>
                  <a:pt x="150" y="238"/>
                </a:lnTo>
                <a:lnTo>
                  <a:pt x="150" y="238"/>
                </a:lnTo>
                <a:lnTo>
                  <a:pt x="154" y="238"/>
                </a:lnTo>
                <a:lnTo>
                  <a:pt x="158" y="238"/>
                </a:lnTo>
                <a:lnTo>
                  <a:pt x="168" y="240"/>
                </a:lnTo>
                <a:lnTo>
                  <a:pt x="168" y="240"/>
                </a:lnTo>
                <a:lnTo>
                  <a:pt x="184" y="242"/>
                </a:lnTo>
                <a:lnTo>
                  <a:pt x="194" y="242"/>
                </a:lnTo>
                <a:lnTo>
                  <a:pt x="200" y="240"/>
                </a:lnTo>
                <a:lnTo>
                  <a:pt x="200" y="240"/>
                </a:lnTo>
                <a:lnTo>
                  <a:pt x="198" y="242"/>
                </a:lnTo>
                <a:lnTo>
                  <a:pt x="200" y="242"/>
                </a:lnTo>
                <a:lnTo>
                  <a:pt x="206" y="244"/>
                </a:lnTo>
                <a:lnTo>
                  <a:pt x="218" y="242"/>
                </a:lnTo>
                <a:lnTo>
                  <a:pt x="218" y="242"/>
                </a:lnTo>
                <a:lnTo>
                  <a:pt x="234" y="242"/>
                </a:lnTo>
                <a:lnTo>
                  <a:pt x="242" y="242"/>
                </a:lnTo>
                <a:lnTo>
                  <a:pt x="246" y="244"/>
                </a:lnTo>
                <a:lnTo>
                  <a:pt x="246" y="244"/>
                </a:lnTo>
                <a:lnTo>
                  <a:pt x="252" y="242"/>
                </a:lnTo>
                <a:lnTo>
                  <a:pt x="262" y="240"/>
                </a:lnTo>
                <a:lnTo>
                  <a:pt x="280" y="238"/>
                </a:lnTo>
                <a:lnTo>
                  <a:pt x="280" y="238"/>
                </a:lnTo>
                <a:lnTo>
                  <a:pt x="306" y="238"/>
                </a:lnTo>
                <a:lnTo>
                  <a:pt x="306" y="238"/>
                </a:lnTo>
                <a:lnTo>
                  <a:pt x="324" y="236"/>
                </a:lnTo>
                <a:lnTo>
                  <a:pt x="340" y="238"/>
                </a:lnTo>
                <a:lnTo>
                  <a:pt x="340" y="238"/>
                </a:lnTo>
                <a:lnTo>
                  <a:pt x="354" y="240"/>
                </a:lnTo>
                <a:lnTo>
                  <a:pt x="362" y="238"/>
                </a:lnTo>
                <a:lnTo>
                  <a:pt x="366" y="238"/>
                </a:lnTo>
                <a:lnTo>
                  <a:pt x="366" y="238"/>
                </a:lnTo>
                <a:lnTo>
                  <a:pt x="370" y="236"/>
                </a:lnTo>
                <a:lnTo>
                  <a:pt x="370" y="236"/>
                </a:lnTo>
                <a:lnTo>
                  <a:pt x="374" y="238"/>
                </a:lnTo>
                <a:lnTo>
                  <a:pt x="374" y="238"/>
                </a:lnTo>
                <a:lnTo>
                  <a:pt x="382" y="238"/>
                </a:lnTo>
                <a:lnTo>
                  <a:pt x="390" y="238"/>
                </a:lnTo>
                <a:lnTo>
                  <a:pt x="390" y="238"/>
                </a:lnTo>
                <a:lnTo>
                  <a:pt x="450" y="236"/>
                </a:lnTo>
                <a:lnTo>
                  <a:pt x="450" y="236"/>
                </a:lnTo>
                <a:lnTo>
                  <a:pt x="522" y="238"/>
                </a:lnTo>
                <a:lnTo>
                  <a:pt x="522" y="238"/>
                </a:lnTo>
                <a:lnTo>
                  <a:pt x="536" y="236"/>
                </a:lnTo>
                <a:lnTo>
                  <a:pt x="550" y="238"/>
                </a:lnTo>
                <a:lnTo>
                  <a:pt x="550" y="238"/>
                </a:lnTo>
                <a:lnTo>
                  <a:pt x="568" y="238"/>
                </a:lnTo>
                <a:lnTo>
                  <a:pt x="582" y="236"/>
                </a:lnTo>
                <a:lnTo>
                  <a:pt x="582" y="236"/>
                </a:lnTo>
                <a:lnTo>
                  <a:pt x="668" y="236"/>
                </a:lnTo>
                <a:lnTo>
                  <a:pt x="758" y="234"/>
                </a:lnTo>
                <a:lnTo>
                  <a:pt x="758" y="234"/>
                </a:lnTo>
                <a:lnTo>
                  <a:pt x="802" y="234"/>
                </a:lnTo>
                <a:lnTo>
                  <a:pt x="848" y="234"/>
                </a:lnTo>
                <a:lnTo>
                  <a:pt x="848" y="234"/>
                </a:lnTo>
                <a:lnTo>
                  <a:pt x="892" y="236"/>
                </a:lnTo>
                <a:lnTo>
                  <a:pt x="920" y="236"/>
                </a:lnTo>
                <a:lnTo>
                  <a:pt x="932" y="234"/>
                </a:lnTo>
                <a:lnTo>
                  <a:pt x="932" y="234"/>
                </a:lnTo>
                <a:lnTo>
                  <a:pt x="922" y="232"/>
                </a:lnTo>
                <a:lnTo>
                  <a:pt x="912" y="232"/>
                </a:lnTo>
                <a:lnTo>
                  <a:pt x="912" y="232"/>
                </a:lnTo>
                <a:lnTo>
                  <a:pt x="906" y="232"/>
                </a:lnTo>
                <a:lnTo>
                  <a:pt x="898" y="232"/>
                </a:lnTo>
                <a:lnTo>
                  <a:pt x="898" y="232"/>
                </a:lnTo>
                <a:lnTo>
                  <a:pt x="880" y="230"/>
                </a:lnTo>
                <a:lnTo>
                  <a:pt x="880" y="230"/>
                </a:lnTo>
                <a:lnTo>
                  <a:pt x="868" y="232"/>
                </a:lnTo>
                <a:lnTo>
                  <a:pt x="868" y="232"/>
                </a:lnTo>
                <a:lnTo>
                  <a:pt x="860" y="230"/>
                </a:lnTo>
                <a:lnTo>
                  <a:pt x="860" y="230"/>
                </a:lnTo>
                <a:lnTo>
                  <a:pt x="858" y="230"/>
                </a:lnTo>
                <a:lnTo>
                  <a:pt x="858" y="230"/>
                </a:lnTo>
                <a:lnTo>
                  <a:pt x="856" y="232"/>
                </a:lnTo>
                <a:lnTo>
                  <a:pt x="856" y="232"/>
                </a:lnTo>
                <a:lnTo>
                  <a:pt x="856" y="232"/>
                </a:lnTo>
                <a:lnTo>
                  <a:pt x="854" y="230"/>
                </a:lnTo>
                <a:lnTo>
                  <a:pt x="854" y="228"/>
                </a:lnTo>
                <a:lnTo>
                  <a:pt x="854" y="228"/>
                </a:lnTo>
                <a:lnTo>
                  <a:pt x="856" y="228"/>
                </a:lnTo>
                <a:lnTo>
                  <a:pt x="864" y="226"/>
                </a:lnTo>
                <a:lnTo>
                  <a:pt x="886" y="226"/>
                </a:lnTo>
                <a:lnTo>
                  <a:pt x="920" y="228"/>
                </a:lnTo>
                <a:lnTo>
                  <a:pt x="920" y="228"/>
                </a:lnTo>
                <a:lnTo>
                  <a:pt x="930" y="226"/>
                </a:lnTo>
                <a:lnTo>
                  <a:pt x="930" y="226"/>
                </a:lnTo>
                <a:lnTo>
                  <a:pt x="946" y="226"/>
                </a:lnTo>
                <a:lnTo>
                  <a:pt x="946" y="226"/>
                </a:lnTo>
                <a:lnTo>
                  <a:pt x="968" y="228"/>
                </a:lnTo>
                <a:lnTo>
                  <a:pt x="992" y="226"/>
                </a:lnTo>
                <a:lnTo>
                  <a:pt x="992" y="226"/>
                </a:lnTo>
                <a:lnTo>
                  <a:pt x="1016" y="220"/>
                </a:lnTo>
                <a:lnTo>
                  <a:pt x="1030" y="214"/>
                </a:lnTo>
                <a:lnTo>
                  <a:pt x="1032" y="210"/>
                </a:lnTo>
                <a:lnTo>
                  <a:pt x="1032" y="208"/>
                </a:lnTo>
                <a:lnTo>
                  <a:pt x="1032" y="208"/>
                </a:lnTo>
                <a:lnTo>
                  <a:pt x="1022" y="208"/>
                </a:lnTo>
                <a:lnTo>
                  <a:pt x="1022" y="208"/>
                </a:lnTo>
                <a:lnTo>
                  <a:pt x="1028" y="188"/>
                </a:lnTo>
                <a:lnTo>
                  <a:pt x="1032" y="172"/>
                </a:lnTo>
                <a:lnTo>
                  <a:pt x="1032" y="172"/>
                </a:lnTo>
                <a:close/>
              </a:path>
            </a:pathLst>
          </a:custGeom>
          <a:gradFill>
            <a:gsLst>
              <a:gs pos="100000">
                <a:schemeClr val="accent1"/>
              </a:gs>
              <a:gs pos="0">
                <a:schemeClr val="accent2"/>
              </a:gs>
            </a:gsLst>
            <a:lin ang="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5" name="Rectangle 4"/>
          <p:cNvSpPr/>
          <p:nvPr>
            <p:custDataLst>
              <p:tags r:id="rId1"/>
            </p:custDataLst>
          </p:nvPr>
        </p:nvSpPr>
        <p:spPr>
          <a:xfrm>
            <a:off x="406318" y="890857"/>
            <a:ext cx="9271000"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spc="-150" dirty="0">
                <a:solidFill>
                  <a:schemeClr val="tx1">
                    <a:lumMod val="85000"/>
                    <a:lumOff val="15000"/>
                  </a:schemeClr>
                </a:solidFill>
                <a:latin typeface="Montserrat" panose="00000500000000000000" pitchFamily="2" charset="0"/>
                <a:ea typeface="Source Sans Pro" panose="020B0503030403020204" pitchFamily="34" charset="0"/>
                <a:cs typeface="Open Sans Light" panose="020B0306030504020204" pitchFamily="34" charset="0"/>
              </a:rPr>
              <a:t>Our </a:t>
            </a:r>
            <a:r>
              <a:rPr lang="en-US" sz="3200" b="1" spc="-150" dirty="0">
                <a:solidFill>
                  <a:schemeClr val="tx1">
                    <a:lumMod val="85000"/>
                    <a:lumOff val="15000"/>
                  </a:schemeClr>
                </a:solidFill>
                <a:latin typeface="Montserrat" panose="00000500000000000000" pitchFamily="2" charset="0"/>
                <a:ea typeface="Source Sans Pro" panose="020B0503030403020204" pitchFamily="34" charset="0"/>
                <a:cs typeface="Open Sans Light" panose="020B0306030504020204" pitchFamily="34" charset="0"/>
              </a:rPr>
              <a:t>Company</a:t>
            </a:r>
          </a:p>
        </p:txBody>
      </p:sp>
      <p:sp>
        <p:nvSpPr>
          <p:cNvPr id="6" name="Rectangle 5"/>
          <p:cNvSpPr/>
          <p:nvPr>
            <p:custDataLst>
              <p:tags r:id="rId2"/>
            </p:custDataLst>
          </p:nvPr>
        </p:nvSpPr>
        <p:spPr>
          <a:xfrm>
            <a:off x="465988" y="1404480"/>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lumMod val="85000"/>
                    <a:lumOff val="15000"/>
                  </a:schemeClr>
                </a:solidFill>
                <a:latin typeface="+mj-lt"/>
                <a:ea typeface="Open Sans" panose="020B0606030504020204" pitchFamily="34" charset="0"/>
                <a:cs typeface="Open Sans" panose="020B0606030504020204" pitchFamily="34" charset="0"/>
              </a:rPr>
              <a:t>Put Your Great Subtitle Here</a:t>
            </a:r>
          </a:p>
        </p:txBody>
      </p:sp>
      <p:sp>
        <p:nvSpPr>
          <p:cNvPr id="20" name="Rectangle 19"/>
          <p:cNvSpPr/>
          <p:nvPr/>
        </p:nvSpPr>
        <p:spPr>
          <a:xfrm>
            <a:off x="842011" y="3313923"/>
            <a:ext cx="5064788" cy="2967415"/>
          </a:xfrm>
          <a:prstGeom prst="rect">
            <a:avLst/>
          </a:prstGeom>
        </p:spPr>
        <p:txBody>
          <a:bodyPr wrap="square">
            <a:spAutoFit/>
          </a:bodyPr>
          <a:lstStyle/>
          <a:p>
            <a:pPr algn="just">
              <a:lnSpc>
                <a:spcPct val="150000"/>
              </a:lnSpc>
              <a:buClr>
                <a:srgbClr val="E24848"/>
              </a:buClr>
              <a:defRPr/>
            </a:pPr>
            <a:r>
              <a:rPr lang="en-US" sz="1400" noProof="1">
                <a:solidFill>
                  <a:schemeClr val="tx1">
                    <a:lumMod val="75000"/>
                    <a:lumOff val="2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Nam auctor metus vitae quam gravida, ac vehicula elit mollis. Nunc elementum fringilla nisl, a ornare arcu condimentum a. Nulla euismod congue arcu quis feugiat. Phasellus porttitor felis mauris, sed suscipit quam egestas nec. Suspendisse sapien quam, cursus et tincidunt quis, ultricies sit amet ex. Integer porta metus enim, ac tincidunt massa euismod tempus.</a:t>
            </a:r>
          </a:p>
        </p:txBody>
      </p:sp>
      <p:sp>
        <p:nvSpPr>
          <p:cNvPr id="21" name="Title 11"/>
          <p:cNvSpPr txBox="1">
            <a:spLocks/>
          </p:cNvSpPr>
          <p:nvPr/>
        </p:nvSpPr>
        <p:spPr>
          <a:xfrm>
            <a:off x="842012" y="2520134"/>
            <a:ext cx="3216352" cy="556076"/>
          </a:xfrm>
          <a:prstGeom prst="rect">
            <a:avLst/>
          </a:prstGeom>
        </p:spPr>
        <p:txBody>
          <a:bodyPr vert="horz" wrap="square"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800" b="1" dirty="0">
                <a:solidFill>
                  <a:schemeClr val="bg1"/>
                </a:solidFill>
                <a:latin typeface="Montserrat" panose="00000500000000000000" pitchFamily="2" charset="0"/>
                <a:ea typeface="Roboto" panose="02000000000000000000" pitchFamily="2" charset="0"/>
                <a:cs typeface="Times New Roman" panose="02020603050405020304" pitchFamily="18" charset="0"/>
              </a:rPr>
              <a:t>Heads are </a:t>
            </a:r>
            <a:r>
              <a:rPr lang="en-US" sz="1800" dirty="0">
                <a:solidFill>
                  <a:schemeClr val="bg1"/>
                </a:solidFill>
                <a:latin typeface="Montserrat" panose="00000500000000000000" pitchFamily="2" charset="0"/>
                <a:ea typeface="Roboto" panose="02000000000000000000" pitchFamily="2" charset="0"/>
                <a:cs typeface="Times New Roman" panose="02020603050405020304" pitchFamily="18" charset="0"/>
              </a:rPr>
              <a:t>Gonne Roll</a:t>
            </a:r>
          </a:p>
        </p:txBody>
      </p:sp>
      <p:sp>
        <p:nvSpPr>
          <p:cNvPr id="22" name="Rectangle 21"/>
          <p:cNvSpPr/>
          <p:nvPr/>
        </p:nvSpPr>
        <p:spPr>
          <a:xfrm>
            <a:off x="6512923" y="3206201"/>
            <a:ext cx="5064788" cy="2639441"/>
          </a:xfrm>
          <a:prstGeom prst="rect">
            <a:avLst/>
          </a:prstGeom>
        </p:spPr>
        <p:txBody>
          <a:bodyPr wrap="square">
            <a:spAutoFit/>
          </a:bodyPr>
          <a:lstStyle/>
          <a:p>
            <a:pPr marL="285750" indent="-285750">
              <a:lnSpc>
                <a:spcPct val="150000"/>
              </a:lnSpc>
              <a:buClr>
                <a:schemeClr val="tx1">
                  <a:lumMod val="85000"/>
                  <a:lumOff val="15000"/>
                </a:schemeClr>
              </a:buClr>
              <a:buFont typeface="Arial" panose="020B0604020202020204" pitchFamily="34" charset="0"/>
              <a:buChar char="•"/>
              <a:defRPr/>
            </a:pPr>
            <a:r>
              <a:rPr lang="en-US" sz="16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a:t>
            </a:r>
          </a:p>
          <a:p>
            <a:pPr marL="285750" indent="-285750">
              <a:lnSpc>
                <a:spcPct val="150000"/>
              </a:lnSpc>
              <a:buClr>
                <a:schemeClr val="tx1">
                  <a:lumMod val="85000"/>
                  <a:lumOff val="15000"/>
                </a:schemeClr>
              </a:buClr>
              <a:buFont typeface="Arial" panose="020B0604020202020204" pitchFamily="34" charset="0"/>
              <a:buChar char="•"/>
              <a:defRPr/>
            </a:pPr>
            <a:r>
              <a:rPr lang="en-US" sz="16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Nulla Imperdiet Volutpat Dui At Fermentum.</a:t>
            </a:r>
          </a:p>
          <a:p>
            <a:pPr marL="285750" indent="-285750">
              <a:lnSpc>
                <a:spcPct val="150000"/>
              </a:lnSpc>
              <a:buClr>
                <a:schemeClr val="tx1">
                  <a:lumMod val="85000"/>
                  <a:lumOff val="15000"/>
                </a:schemeClr>
              </a:buClr>
              <a:buFont typeface="Arial" panose="020B0604020202020204" pitchFamily="34" charset="0"/>
              <a:buChar char="•"/>
              <a:defRPr/>
            </a:pPr>
            <a:r>
              <a:rPr lang="en-US" sz="16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Aliquam Erat Volutpat. </a:t>
            </a:r>
          </a:p>
          <a:p>
            <a:pPr marL="285750" indent="-285750">
              <a:lnSpc>
                <a:spcPct val="150000"/>
              </a:lnSpc>
              <a:buClr>
                <a:schemeClr val="tx1">
                  <a:lumMod val="85000"/>
                  <a:lumOff val="15000"/>
                </a:schemeClr>
              </a:buClr>
              <a:buFont typeface="Arial" panose="020B0604020202020204" pitchFamily="34" charset="0"/>
              <a:buChar char="•"/>
              <a:defRPr/>
            </a:pPr>
            <a:r>
              <a:rPr lang="en-US" sz="16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Aenean Lacinia Lacus </a:t>
            </a:r>
          </a:p>
          <a:p>
            <a:pPr marL="285750" indent="-285750">
              <a:lnSpc>
                <a:spcPct val="150000"/>
              </a:lnSpc>
              <a:buClr>
                <a:schemeClr val="tx1">
                  <a:lumMod val="85000"/>
                  <a:lumOff val="15000"/>
                </a:schemeClr>
              </a:buClr>
              <a:buFont typeface="Arial" panose="020B0604020202020204" pitchFamily="34" charset="0"/>
              <a:buChar char="•"/>
              <a:defRPr/>
            </a:pPr>
            <a:r>
              <a:rPr lang="en-US" sz="16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Aliquet Ante Mollis</a:t>
            </a:r>
          </a:p>
          <a:p>
            <a:pPr marL="285750" indent="-285750">
              <a:lnSpc>
                <a:spcPct val="150000"/>
              </a:lnSpc>
              <a:buClr>
                <a:schemeClr val="tx1">
                  <a:lumMod val="85000"/>
                  <a:lumOff val="15000"/>
                </a:schemeClr>
              </a:buClr>
              <a:buFont typeface="Arial" panose="020B0604020202020204" pitchFamily="34" charset="0"/>
              <a:buChar char="•"/>
              <a:defRPr/>
            </a:pPr>
            <a:r>
              <a:rPr lang="en-US" sz="16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Sollicitudin Tempor Tortor Aliquam. </a:t>
            </a:r>
          </a:p>
          <a:p>
            <a:pPr marL="285750" indent="-285750">
              <a:lnSpc>
                <a:spcPct val="150000"/>
              </a:lnSpc>
              <a:buClr>
                <a:schemeClr val="tx1">
                  <a:lumMod val="85000"/>
                  <a:lumOff val="15000"/>
                </a:schemeClr>
              </a:buClr>
              <a:buFont typeface="Arial" panose="020B0604020202020204" pitchFamily="34" charset="0"/>
              <a:buChar char="•"/>
              <a:defRPr/>
            </a:pPr>
            <a:r>
              <a:rPr lang="en-US" sz="16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Nulla Facilisi.</a:t>
            </a:r>
          </a:p>
        </p:txBody>
      </p:sp>
      <p:sp>
        <p:nvSpPr>
          <p:cNvPr id="23" name="Title 11"/>
          <p:cNvSpPr txBox="1">
            <a:spLocks/>
          </p:cNvSpPr>
          <p:nvPr/>
        </p:nvSpPr>
        <p:spPr>
          <a:xfrm>
            <a:off x="6672580" y="2388720"/>
            <a:ext cx="3985924" cy="556076"/>
          </a:xfrm>
          <a:prstGeom prst="rect">
            <a:avLst/>
          </a:prstGeom>
        </p:spPr>
        <p:txBody>
          <a:bodyPr vert="horz" wrap="square"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800" b="1" dirty="0">
                <a:solidFill>
                  <a:schemeClr val="bg1"/>
                </a:solidFill>
                <a:latin typeface="Montserrat" panose="00000500000000000000" pitchFamily="2" charset="0"/>
                <a:ea typeface="Roboto" panose="02000000000000000000" pitchFamily="2" charset="0"/>
                <a:cs typeface="Times New Roman" panose="02020603050405020304" pitchFamily="18" charset="0"/>
              </a:rPr>
              <a:t>Let's Ride </a:t>
            </a:r>
          </a:p>
        </p:txBody>
      </p:sp>
    </p:spTree>
    <p:extLst>
      <p:ext uri="{BB962C8B-B14F-4D97-AF65-F5344CB8AC3E}">
        <p14:creationId xmlns:p14="http://schemas.microsoft.com/office/powerpoint/2010/main" val="1389109922"/>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6E3AB4E3-9EC7-4DC2-86D3-A3E0513AE54D}"/>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7813" b="7813"/>
          <a:stretch>
            <a:fillRect/>
          </a:stretch>
        </p:blipFill>
        <p:spPr>
          <a:solidFill>
            <a:schemeClr val="bg1">
              <a:lumMod val="85000"/>
            </a:schemeClr>
          </a:solidFill>
        </p:spPr>
      </p:pic>
      <p:sp>
        <p:nvSpPr>
          <p:cNvPr id="10" name="Freeform 9"/>
          <p:cNvSpPr>
            <a:spLocks/>
          </p:cNvSpPr>
          <p:nvPr/>
        </p:nvSpPr>
        <p:spPr bwMode="auto">
          <a:xfrm>
            <a:off x="-2060790" y="-731250"/>
            <a:ext cx="7396171" cy="8387160"/>
          </a:xfrm>
          <a:custGeom>
            <a:avLst/>
            <a:gdLst>
              <a:gd name="connsiteX0" fmla="*/ 1273175 w 1943100"/>
              <a:gd name="connsiteY0" fmla="*/ 1971675 h 2203450"/>
              <a:gd name="connsiteX1" fmla="*/ 1298575 w 1943100"/>
              <a:gd name="connsiteY1" fmla="*/ 1974850 h 2203450"/>
              <a:gd name="connsiteX2" fmla="*/ 1323975 w 1943100"/>
              <a:gd name="connsiteY2" fmla="*/ 1981200 h 2203450"/>
              <a:gd name="connsiteX3" fmla="*/ 1346200 w 1943100"/>
              <a:gd name="connsiteY3" fmla="*/ 1990725 h 2203450"/>
              <a:gd name="connsiteX4" fmla="*/ 1365250 w 1943100"/>
              <a:gd name="connsiteY4" fmla="*/ 2006600 h 2203450"/>
              <a:gd name="connsiteX5" fmla="*/ 1381125 w 1943100"/>
              <a:gd name="connsiteY5" fmla="*/ 2022475 h 2203450"/>
              <a:gd name="connsiteX6" fmla="*/ 1393825 w 1943100"/>
              <a:gd name="connsiteY6" fmla="*/ 2041525 h 2203450"/>
              <a:gd name="connsiteX7" fmla="*/ 1400175 w 1943100"/>
              <a:gd name="connsiteY7" fmla="*/ 2063750 h 2203450"/>
              <a:gd name="connsiteX8" fmla="*/ 1403350 w 1943100"/>
              <a:gd name="connsiteY8" fmla="*/ 2089150 h 2203450"/>
              <a:gd name="connsiteX9" fmla="*/ 1400175 w 1943100"/>
              <a:gd name="connsiteY9" fmla="*/ 2111375 h 2203450"/>
              <a:gd name="connsiteX10" fmla="*/ 1393825 w 1943100"/>
              <a:gd name="connsiteY10" fmla="*/ 2133600 h 2203450"/>
              <a:gd name="connsiteX11" fmla="*/ 1381125 w 1943100"/>
              <a:gd name="connsiteY11" fmla="*/ 2152650 h 2203450"/>
              <a:gd name="connsiteX12" fmla="*/ 1365250 w 1943100"/>
              <a:gd name="connsiteY12" fmla="*/ 2168525 h 2203450"/>
              <a:gd name="connsiteX13" fmla="*/ 1346200 w 1943100"/>
              <a:gd name="connsiteY13" fmla="*/ 2184400 h 2203450"/>
              <a:gd name="connsiteX14" fmla="*/ 1323975 w 1943100"/>
              <a:gd name="connsiteY14" fmla="*/ 2193925 h 2203450"/>
              <a:gd name="connsiteX15" fmla="*/ 1298575 w 1943100"/>
              <a:gd name="connsiteY15" fmla="*/ 2200275 h 2203450"/>
              <a:gd name="connsiteX16" fmla="*/ 1273175 w 1943100"/>
              <a:gd name="connsiteY16" fmla="*/ 2203450 h 2203450"/>
              <a:gd name="connsiteX17" fmla="*/ 1244600 w 1943100"/>
              <a:gd name="connsiteY17" fmla="*/ 2200275 h 2203450"/>
              <a:gd name="connsiteX18" fmla="*/ 1222375 w 1943100"/>
              <a:gd name="connsiteY18" fmla="*/ 2193925 h 2203450"/>
              <a:gd name="connsiteX19" fmla="*/ 1200150 w 1943100"/>
              <a:gd name="connsiteY19" fmla="*/ 2184400 h 2203450"/>
              <a:gd name="connsiteX20" fmla="*/ 1177925 w 1943100"/>
              <a:gd name="connsiteY20" fmla="*/ 2168525 h 2203450"/>
              <a:gd name="connsiteX21" fmla="*/ 1162050 w 1943100"/>
              <a:gd name="connsiteY21" fmla="*/ 2152650 h 2203450"/>
              <a:gd name="connsiteX22" fmla="*/ 1152525 w 1943100"/>
              <a:gd name="connsiteY22" fmla="*/ 2133600 h 2203450"/>
              <a:gd name="connsiteX23" fmla="*/ 1143000 w 1943100"/>
              <a:gd name="connsiteY23" fmla="*/ 2111375 h 2203450"/>
              <a:gd name="connsiteX24" fmla="*/ 1139825 w 1943100"/>
              <a:gd name="connsiteY24" fmla="*/ 2089150 h 2203450"/>
              <a:gd name="connsiteX25" fmla="*/ 1143000 w 1943100"/>
              <a:gd name="connsiteY25" fmla="*/ 2063750 h 2203450"/>
              <a:gd name="connsiteX26" fmla="*/ 1152525 w 1943100"/>
              <a:gd name="connsiteY26" fmla="*/ 2041525 h 2203450"/>
              <a:gd name="connsiteX27" fmla="*/ 1162050 w 1943100"/>
              <a:gd name="connsiteY27" fmla="*/ 2022475 h 2203450"/>
              <a:gd name="connsiteX28" fmla="*/ 1177925 w 1943100"/>
              <a:gd name="connsiteY28" fmla="*/ 2006600 h 2203450"/>
              <a:gd name="connsiteX29" fmla="*/ 1200150 w 1943100"/>
              <a:gd name="connsiteY29" fmla="*/ 1990725 h 2203450"/>
              <a:gd name="connsiteX30" fmla="*/ 1222375 w 1943100"/>
              <a:gd name="connsiteY30" fmla="*/ 1981200 h 2203450"/>
              <a:gd name="connsiteX31" fmla="*/ 1244600 w 1943100"/>
              <a:gd name="connsiteY31" fmla="*/ 1974850 h 2203450"/>
              <a:gd name="connsiteX32" fmla="*/ 1498600 w 1943100"/>
              <a:gd name="connsiteY32" fmla="*/ 1819275 h 2203450"/>
              <a:gd name="connsiteX33" fmla="*/ 1530350 w 1943100"/>
              <a:gd name="connsiteY33" fmla="*/ 1822450 h 2203450"/>
              <a:gd name="connsiteX34" fmla="*/ 1562100 w 1943100"/>
              <a:gd name="connsiteY34" fmla="*/ 1825625 h 2203450"/>
              <a:gd name="connsiteX35" fmla="*/ 1587500 w 1943100"/>
              <a:gd name="connsiteY35" fmla="*/ 1831975 h 2203450"/>
              <a:gd name="connsiteX36" fmla="*/ 1612900 w 1943100"/>
              <a:gd name="connsiteY36" fmla="*/ 1841500 h 2203450"/>
              <a:gd name="connsiteX37" fmla="*/ 1631950 w 1943100"/>
              <a:gd name="connsiteY37" fmla="*/ 1854200 h 2203450"/>
              <a:gd name="connsiteX38" fmla="*/ 1647825 w 1943100"/>
              <a:gd name="connsiteY38" fmla="*/ 1866900 h 2203450"/>
              <a:gd name="connsiteX39" fmla="*/ 1657350 w 1943100"/>
              <a:gd name="connsiteY39" fmla="*/ 1879600 h 2203450"/>
              <a:gd name="connsiteX40" fmla="*/ 1660525 w 1943100"/>
              <a:gd name="connsiteY40" fmla="*/ 1895475 h 2203450"/>
              <a:gd name="connsiteX41" fmla="*/ 1657350 w 1943100"/>
              <a:gd name="connsiteY41" fmla="*/ 1911350 h 2203450"/>
              <a:gd name="connsiteX42" fmla="*/ 1647825 w 1943100"/>
              <a:gd name="connsiteY42" fmla="*/ 1924050 h 2203450"/>
              <a:gd name="connsiteX43" fmla="*/ 1631950 w 1943100"/>
              <a:gd name="connsiteY43" fmla="*/ 1939925 h 2203450"/>
              <a:gd name="connsiteX44" fmla="*/ 1612900 w 1943100"/>
              <a:gd name="connsiteY44" fmla="*/ 1949450 h 2203450"/>
              <a:gd name="connsiteX45" fmla="*/ 1587500 w 1943100"/>
              <a:gd name="connsiteY45" fmla="*/ 1958975 h 2203450"/>
              <a:gd name="connsiteX46" fmla="*/ 1562100 w 1943100"/>
              <a:gd name="connsiteY46" fmla="*/ 1965325 h 2203450"/>
              <a:gd name="connsiteX47" fmla="*/ 1530350 w 1943100"/>
              <a:gd name="connsiteY47" fmla="*/ 1971675 h 2203450"/>
              <a:gd name="connsiteX48" fmla="*/ 1498600 w 1943100"/>
              <a:gd name="connsiteY48" fmla="*/ 1971675 h 2203450"/>
              <a:gd name="connsiteX49" fmla="*/ 1466850 w 1943100"/>
              <a:gd name="connsiteY49" fmla="*/ 1971675 h 2203450"/>
              <a:gd name="connsiteX50" fmla="*/ 1435100 w 1943100"/>
              <a:gd name="connsiteY50" fmla="*/ 1965325 h 2203450"/>
              <a:gd name="connsiteX51" fmla="*/ 1409700 w 1943100"/>
              <a:gd name="connsiteY51" fmla="*/ 1958975 h 2203450"/>
              <a:gd name="connsiteX52" fmla="*/ 1384300 w 1943100"/>
              <a:gd name="connsiteY52" fmla="*/ 1949450 h 2203450"/>
              <a:gd name="connsiteX53" fmla="*/ 1365250 w 1943100"/>
              <a:gd name="connsiteY53" fmla="*/ 1939925 h 2203450"/>
              <a:gd name="connsiteX54" fmla="*/ 1349375 w 1943100"/>
              <a:gd name="connsiteY54" fmla="*/ 1924050 h 2203450"/>
              <a:gd name="connsiteX55" fmla="*/ 1339850 w 1943100"/>
              <a:gd name="connsiteY55" fmla="*/ 1911350 h 2203450"/>
              <a:gd name="connsiteX56" fmla="*/ 1336675 w 1943100"/>
              <a:gd name="connsiteY56" fmla="*/ 1895475 h 2203450"/>
              <a:gd name="connsiteX57" fmla="*/ 1339850 w 1943100"/>
              <a:gd name="connsiteY57" fmla="*/ 1879600 h 2203450"/>
              <a:gd name="connsiteX58" fmla="*/ 1349375 w 1943100"/>
              <a:gd name="connsiteY58" fmla="*/ 1866900 h 2203450"/>
              <a:gd name="connsiteX59" fmla="*/ 1365250 w 1943100"/>
              <a:gd name="connsiteY59" fmla="*/ 1854200 h 2203450"/>
              <a:gd name="connsiteX60" fmla="*/ 1384300 w 1943100"/>
              <a:gd name="connsiteY60" fmla="*/ 1841500 h 2203450"/>
              <a:gd name="connsiteX61" fmla="*/ 1409700 w 1943100"/>
              <a:gd name="connsiteY61" fmla="*/ 1831975 h 2203450"/>
              <a:gd name="connsiteX62" fmla="*/ 1435100 w 1943100"/>
              <a:gd name="connsiteY62" fmla="*/ 1825625 h 2203450"/>
              <a:gd name="connsiteX63" fmla="*/ 1466850 w 1943100"/>
              <a:gd name="connsiteY63" fmla="*/ 1822450 h 2203450"/>
              <a:gd name="connsiteX64" fmla="*/ 752475 w 1943100"/>
              <a:gd name="connsiteY64" fmla="*/ 1781175 h 2203450"/>
              <a:gd name="connsiteX65" fmla="*/ 762000 w 1943100"/>
              <a:gd name="connsiteY65" fmla="*/ 1784350 h 2203450"/>
              <a:gd name="connsiteX66" fmla="*/ 768350 w 1943100"/>
              <a:gd name="connsiteY66" fmla="*/ 1787525 h 2203450"/>
              <a:gd name="connsiteX67" fmla="*/ 777875 w 1943100"/>
              <a:gd name="connsiteY67" fmla="*/ 1790700 h 2203450"/>
              <a:gd name="connsiteX68" fmla="*/ 784225 w 1943100"/>
              <a:gd name="connsiteY68" fmla="*/ 1800225 h 2203450"/>
              <a:gd name="connsiteX69" fmla="*/ 793750 w 1943100"/>
              <a:gd name="connsiteY69" fmla="*/ 1816100 h 2203450"/>
              <a:gd name="connsiteX70" fmla="*/ 796925 w 1943100"/>
              <a:gd name="connsiteY70" fmla="*/ 1838325 h 2203450"/>
              <a:gd name="connsiteX71" fmla="*/ 793750 w 1943100"/>
              <a:gd name="connsiteY71" fmla="*/ 1860550 h 2203450"/>
              <a:gd name="connsiteX72" fmla="*/ 784225 w 1943100"/>
              <a:gd name="connsiteY72" fmla="*/ 1879600 h 2203450"/>
              <a:gd name="connsiteX73" fmla="*/ 777875 w 1943100"/>
              <a:gd name="connsiteY73" fmla="*/ 1885950 h 2203450"/>
              <a:gd name="connsiteX74" fmla="*/ 768350 w 1943100"/>
              <a:gd name="connsiteY74" fmla="*/ 1889125 h 2203450"/>
              <a:gd name="connsiteX75" fmla="*/ 762000 w 1943100"/>
              <a:gd name="connsiteY75" fmla="*/ 1892300 h 2203450"/>
              <a:gd name="connsiteX76" fmla="*/ 752475 w 1943100"/>
              <a:gd name="connsiteY76" fmla="*/ 1895475 h 2203450"/>
              <a:gd name="connsiteX77" fmla="*/ 742950 w 1943100"/>
              <a:gd name="connsiteY77" fmla="*/ 1892300 h 2203450"/>
              <a:gd name="connsiteX78" fmla="*/ 736600 w 1943100"/>
              <a:gd name="connsiteY78" fmla="*/ 1889125 h 2203450"/>
              <a:gd name="connsiteX79" fmla="*/ 727075 w 1943100"/>
              <a:gd name="connsiteY79" fmla="*/ 1885950 h 2203450"/>
              <a:gd name="connsiteX80" fmla="*/ 720725 w 1943100"/>
              <a:gd name="connsiteY80" fmla="*/ 1879600 h 2203450"/>
              <a:gd name="connsiteX81" fmla="*/ 711200 w 1943100"/>
              <a:gd name="connsiteY81" fmla="*/ 1860550 h 2203450"/>
              <a:gd name="connsiteX82" fmla="*/ 708025 w 1943100"/>
              <a:gd name="connsiteY82" fmla="*/ 1838325 h 2203450"/>
              <a:gd name="connsiteX83" fmla="*/ 711200 w 1943100"/>
              <a:gd name="connsiteY83" fmla="*/ 1816100 h 2203450"/>
              <a:gd name="connsiteX84" fmla="*/ 720725 w 1943100"/>
              <a:gd name="connsiteY84" fmla="*/ 1800225 h 2203450"/>
              <a:gd name="connsiteX85" fmla="*/ 727075 w 1943100"/>
              <a:gd name="connsiteY85" fmla="*/ 1790700 h 2203450"/>
              <a:gd name="connsiteX86" fmla="*/ 736600 w 1943100"/>
              <a:gd name="connsiteY86" fmla="*/ 1787525 h 2203450"/>
              <a:gd name="connsiteX87" fmla="*/ 742950 w 1943100"/>
              <a:gd name="connsiteY87" fmla="*/ 1784350 h 2203450"/>
              <a:gd name="connsiteX88" fmla="*/ 492125 w 1943100"/>
              <a:gd name="connsiteY88" fmla="*/ 1670050 h 2203450"/>
              <a:gd name="connsiteX89" fmla="*/ 520700 w 1943100"/>
              <a:gd name="connsiteY89" fmla="*/ 1673225 h 2203450"/>
              <a:gd name="connsiteX90" fmla="*/ 546100 w 1943100"/>
              <a:gd name="connsiteY90" fmla="*/ 1679575 h 2203450"/>
              <a:gd name="connsiteX91" fmla="*/ 568325 w 1943100"/>
              <a:gd name="connsiteY91" fmla="*/ 1689100 h 2203450"/>
              <a:gd name="connsiteX92" fmla="*/ 590550 w 1943100"/>
              <a:gd name="connsiteY92" fmla="*/ 1704975 h 2203450"/>
              <a:gd name="connsiteX93" fmla="*/ 606425 w 1943100"/>
              <a:gd name="connsiteY93" fmla="*/ 1720850 h 2203450"/>
              <a:gd name="connsiteX94" fmla="*/ 619125 w 1943100"/>
              <a:gd name="connsiteY94" fmla="*/ 1739900 h 2203450"/>
              <a:gd name="connsiteX95" fmla="*/ 628650 w 1943100"/>
              <a:gd name="connsiteY95" fmla="*/ 1758950 h 2203450"/>
              <a:gd name="connsiteX96" fmla="*/ 631825 w 1943100"/>
              <a:gd name="connsiteY96" fmla="*/ 1781175 h 2203450"/>
              <a:gd name="connsiteX97" fmla="*/ 628650 w 1943100"/>
              <a:gd name="connsiteY97" fmla="*/ 1806575 h 2203450"/>
              <a:gd name="connsiteX98" fmla="*/ 619125 w 1943100"/>
              <a:gd name="connsiteY98" fmla="*/ 1825625 h 2203450"/>
              <a:gd name="connsiteX99" fmla="*/ 606425 w 1943100"/>
              <a:gd name="connsiteY99" fmla="*/ 1844675 h 2203450"/>
              <a:gd name="connsiteX100" fmla="*/ 590550 w 1943100"/>
              <a:gd name="connsiteY100" fmla="*/ 1860550 h 2203450"/>
              <a:gd name="connsiteX101" fmla="*/ 568325 w 1943100"/>
              <a:gd name="connsiteY101" fmla="*/ 1876425 h 2203450"/>
              <a:gd name="connsiteX102" fmla="*/ 546100 w 1943100"/>
              <a:gd name="connsiteY102" fmla="*/ 1885950 h 2203450"/>
              <a:gd name="connsiteX103" fmla="*/ 520700 w 1943100"/>
              <a:gd name="connsiteY103" fmla="*/ 1892300 h 2203450"/>
              <a:gd name="connsiteX104" fmla="*/ 492125 w 1943100"/>
              <a:gd name="connsiteY104" fmla="*/ 1895475 h 2203450"/>
              <a:gd name="connsiteX105" fmla="*/ 463550 w 1943100"/>
              <a:gd name="connsiteY105" fmla="*/ 1892300 h 2203450"/>
              <a:gd name="connsiteX106" fmla="*/ 438150 w 1943100"/>
              <a:gd name="connsiteY106" fmla="*/ 1885950 h 2203450"/>
              <a:gd name="connsiteX107" fmla="*/ 412750 w 1943100"/>
              <a:gd name="connsiteY107" fmla="*/ 1876425 h 2203450"/>
              <a:gd name="connsiteX108" fmla="*/ 393700 w 1943100"/>
              <a:gd name="connsiteY108" fmla="*/ 1860550 h 2203450"/>
              <a:gd name="connsiteX109" fmla="*/ 374650 w 1943100"/>
              <a:gd name="connsiteY109" fmla="*/ 1844675 h 2203450"/>
              <a:gd name="connsiteX110" fmla="*/ 361950 w 1943100"/>
              <a:gd name="connsiteY110" fmla="*/ 1825625 h 2203450"/>
              <a:gd name="connsiteX111" fmla="*/ 355600 w 1943100"/>
              <a:gd name="connsiteY111" fmla="*/ 1806575 h 2203450"/>
              <a:gd name="connsiteX112" fmla="*/ 352425 w 1943100"/>
              <a:gd name="connsiteY112" fmla="*/ 1781175 h 2203450"/>
              <a:gd name="connsiteX113" fmla="*/ 355600 w 1943100"/>
              <a:gd name="connsiteY113" fmla="*/ 1758950 h 2203450"/>
              <a:gd name="connsiteX114" fmla="*/ 361950 w 1943100"/>
              <a:gd name="connsiteY114" fmla="*/ 1739900 h 2203450"/>
              <a:gd name="connsiteX115" fmla="*/ 374650 w 1943100"/>
              <a:gd name="connsiteY115" fmla="*/ 1720850 h 2203450"/>
              <a:gd name="connsiteX116" fmla="*/ 393700 w 1943100"/>
              <a:gd name="connsiteY116" fmla="*/ 1704975 h 2203450"/>
              <a:gd name="connsiteX117" fmla="*/ 412750 w 1943100"/>
              <a:gd name="connsiteY117" fmla="*/ 1689100 h 2203450"/>
              <a:gd name="connsiteX118" fmla="*/ 438150 w 1943100"/>
              <a:gd name="connsiteY118" fmla="*/ 1679575 h 2203450"/>
              <a:gd name="connsiteX119" fmla="*/ 463550 w 1943100"/>
              <a:gd name="connsiteY119" fmla="*/ 1673225 h 2203450"/>
              <a:gd name="connsiteX120" fmla="*/ 212725 w 1943100"/>
              <a:gd name="connsiteY120" fmla="*/ 1670050 h 2203450"/>
              <a:gd name="connsiteX121" fmla="*/ 228600 w 1943100"/>
              <a:gd name="connsiteY121" fmla="*/ 1673225 h 2203450"/>
              <a:gd name="connsiteX122" fmla="*/ 244475 w 1943100"/>
              <a:gd name="connsiteY122" fmla="*/ 1676400 h 2203450"/>
              <a:gd name="connsiteX123" fmla="*/ 257175 w 1943100"/>
              <a:gd name="connsiteY123" fmla="*/ 1679575 h 2203450"/>
              <a:gd name="connsiteX124" fmla="*/ 266700 w 1943100"/>
              <a:gd name="connsiteY124" fmla="*/ 1685925 h 2203450"/>
              <a:gd name="connsiteX125" fmla="*/ 276225 w 1943100"/>
              <a:gd name="connsiteY125" fmla="*/ 1692275 h 2203450"/>
              <a:gd name="connsiteX126" fmla="*/ 285750 w 1943100"/>
              <a:gd name="connsiteY126" fmla="*/ 1701800 h 2203450"/>
              <a:gd name="connsiteX127" fmla="*/ 288925 w 1943100"/>
              <a:gd name="connsiteY127" fmla="*/ 1711325 h 2203450"/>
              <a:gd name="connsiteX128" fmla="*/ 288925 w 1943100"/>
              <a:gd name="connsiteY128" fmla="*/ 1724025 h 2203450"/>
              <a:gd name="connsiteX129" fmla="*/ 288925 w 1943100"/>
              <a:gd name="connsiteY129" fmla="*/ 1733550 h 2203450"/>
              <a:gd name="connsiteX130" fmla="*/ 285750 w 1943100"/>
              <a:gd name="connsiteY130" fmla="*/ 1743075 h 2203450"/>
              <a:gd name="connsiteX131" fmla="*/ 276225 w 1943100"/>
              <a:gd name="connsiteY131" fmla="*/ 1752600 h 2203450"/>
              <a:gd name="connsiteX132" fmla="*/ 266700 w 1943100"/>
              <a:gd name="connsiteY132" fmla="*/ 1758950 h 2203450"/>
              <a:gd name="connsiteX133" fmla="*/ 257175 w 1943100"/>
              <a:gd name="connsiteY133" fmla="*/ 1765300 h 2203450"/>
              <a:gd name="connsiteX134" fmla="*/ 244475 w 1943100"/>
              <a:gd name="connsiteY134" fmla="*/ 1771650 h 2203450"/>
              <a:gd name="connsiteX135" fmla="*/ 228600 w 1943100"/>
              <a:gd name="connsiteY135" fmla="*/ 1774825 h 2203450"/>
              <a:gd name="connsiteX136" fmla="*/ 212725 w 1943100"/>
              <a:gd name="connsiteY136" fmla="*/ 1774825 h 2203450"/>
              <a:gd name="connsiteX137" fmla="*/ 196850 w 1943100"/>
              <a:gd name="connsiteY137" fmla="*/ 1774825 h 2203450"/>
              <a:gd name="connsiteX138" fmla="*/ 184150 w 1943100"/>
              <a:gd name="connsiteY138" fmla="*/ 1771650 h 2203450"/>
              <a:gd name="connsiteX139" fmla="*/ 168275 w 1943100"/>
              <a:gd name="connsiteY139" fmla="*/ 1765300 h 2203450"/>
              <a:gd name="connsiteX140" fmla="*/ 158750 w 1943100"/>
              <a:gd name="connsiteY140" fmla="*/ 1758950 h 2203450"/>
              <a:gd name="connsiteX141" fmla="*/ 149225 w 1943100"/>
              <a:gd name="connsiteY141" fmla="*/ 1752600 h 2203450"/>
              <a:gd name="connsiteX142" fmla="*/ 142875 w 1943100"/>
              <a:gd name="connsiteY142" fmla="*/ 1743075 h 2203450"/>
              <a:gd name="connsiteX143" fmla="*/ 136525 w 1943100"/>
              <a:gd name="connsiteY143" fmla="*/ 1733550 h 2203450"/>
              <a:gd name="connsiteX144" fmla="*/ 136525 w 1943100"/>
              <a:gd name="connsiteY144" fmla="*/ 1724025 h 2203450"/>
              <a:gd name="connsiteX145" fmla="*/ 136525 w 1943100"/>
              <a:gd name="connsiteY145" fmla="*/ 1711325 h 2203450"/>
              <a:gd name="connsiteX146" fmla="*/ 142875 w 1943100"/>
              <a:gd name="connsiteY146" fmla="*/ 1701800 h 2203450"/>
              <a:gd name="connsiteX147" fmla="*/ 149225 w 1943100"/>
              <a:gd name="connsiteY147" fmla="*/ 1692275 h 2203450"/>
              <a:gd name="connsiteX148" fmla="*/ 158750 w 1943100"/>
              <a:gd name="connsiteY148" fmla="*/ 1685925 h 2203450"/>
              <a:gd name="connsiteX149" fmla="*/ 168275 w 1943100"/>
              <a:gd name="connsiteY149" fmla="*/ 1679575 h 2203450"/>
              <a:gd name="connsiteX150" fmla="*/ 184150 w 1943100"/>
              <a:gd name="connsiteY150" fmla="*/ 1676400 h 2203450"/>
              <a:gd name="connsiteX151" fmla="*/ 196850 w 1943100"/>
              <a:gd name="connsiteY151" fmla="*/ 1673225 h 2203450"/>
              <a:gd name="connsiteX152" fmla="*/ 44450 w 1943100"/>
              <a:gd name="connsiteY152" fmla="*/ 1260475 h 2203450"/>
              <a:gd name="connsiteX153" fmla="*/ 53975 w 1943100"/>
              <a:gd name="connsiteY153" fmla="*/ 1260475 h 2203450"/>
              <a:gd name="connsiteX154" fmla="*/ 63500 w 1943100"/>
              <a:gd name="connsiteY154" fmla="*/ 1260475 h 2203450"/>
              <a:gd name="connsiteX155" fmla="*/ 76200 w 1943100"/>
              <a:gd name="connsiteY155" fmla="*/ 1266825 h 2203450"/>
              <a:gd name="connsiteX156" fmla="*/ 82550 w 1943100"/>
              <a:gd name="connsiteY156" fmla="*/ 1273175 h 2203450"/>
              <a:gd name="connsiteX157" fmla="*/ 92075 w 1943100"/>
              <a:gd name="connsiteY157" fmla="*/ 1279525 h 2203450"/>
              <a:gd name="connsiteX158" fmla="*/ 98425 w 1943100"/>
              <a:gd name="connsiteY158" fmla="*/ 1289050 h 2203450"/>
              <a:gd name="connsiteX159" fmla="*/ 101600 w 1943100"/>
              <a:gd name="connsiteY159" fmla="*/ 1298575 h 2203450"/>
              <a:gd name="connsiteX160" fmla="*/ 104775 w 1943100"/>
              <a:gd name="connsiteY160" fmla="*/ 1311275 h 2203450"/>
              <a:gd name="connsiteX161" fmla="*/ 107950 w 1943100"/>
              <a:gd name="connsiteY161" fmla="*/ 1323975 h 2203450"/>
              <a:gd name="connsiteX162" fmla="*/ 104775 w 1943100"/>
              <a:gd name="connsiteY162" fmla="*/ 1336675 h 2203450"/>
              <a:gd name="connsiteX163" fmla="*/ 101600 w 1943100"/>
              <a:gd name="connsiteY163" fmla="*/ 1349375 h 2203450"/>
              <a:gd name="connsiteX164" fmla="*/ 98425 w 1943100"/>
              <a:gd name="connsiteY164" fmla="*/ 1362075 h 2203450"/>
              <a:gd name="connsiteX165" fmla="*/ 92075 w 1943100"/>
              <a:gd name="connsiteY165" fmla="*/ 1371600 h 2203450"/>
              <a:gd name="connsiteX166" fmla="*/ 82550 w 1943100"/>
              <a:gd name="connsiteY166" fmla="*/ 1377950 h 2203450"/>
              <a:gd name="connsiteX167" fmla="*/ 76200 w 1943100"/>
              <a:gd name="connsiteY167" fmla="*/ 1384300 h 2203450"/>
              <a:gd name="connsiteX168" fmla="*/ 63500 w 1943100"/>
              <a:gd name="connsiteY168" fmla="*/ 1387475 h 2203450"/>
              <a:gd name="connsiteX169" fmla="*/ 53975 w 1943100"/>
              <a:gd name="connsiteY169" fmla="*/ 1390650 h 2203450"/>
              <a:gd name="connsiteX170" fmla="*/ 44450 w 1943100"/>
              <a:gd name="connsiteY170" fmla="*/ 1387475 h 2203450"/>
              <a:gd name="connsiteX171" fmla="*/ 34925 w 1943100"/>
              <a:gd name="connsiteY171" fmla="*/ 1384300 h 2203450"/>
              <a:gd name="connsiteX172" fmla="*/ 25400 w 1943100"/>
              <a:gd name="connsiteY172" fmla="*/ 1377950 h 2203450"/>
              <a:gd name="connsiteX173" fmla="*/ 15875 w 1943100"/>
              <a:gd name="connsiteY173" fmla="*/ 1371600 h 2203450"/>
              <a:gd name="connsiteX174" fmla="*/ 9525 w 1943100"/>
              <a:gd name="connsiteY174" fmla="*/ 1362075 h 2203450"/>
              <a:gd name="connsiteX175" fmla="*/ 6350 w 1943100"/>
              <a:gd name="connsiteY175" fmla="*/ 1349375 h 2203450"/>
              <a:gd name="connsiteX176" fmla="*/ 3175 w 1943100"/>
              <a:gd name="connsiteY176" fmla="*/ 1336675 h 2203450"/>
              <a:gd name="connsiteX177" fmla="*/ 0 w 1943100"/>
              <a:gd name="connsiteY177" fmla="*/ 1323975 h 2203450"/>
              <a:gd name="connsiteX178" fmla="*/ 3175 w 1943100"/>
              <a:gd name="connsiteY178" fmla="*/ 1311275 h 2203450"/>
              <a:gd name="connsiteX179" fmla="*/ 6350 w 1943100"/>
              <a:gd name="connsiteY179" fmla="*/ 1298575 h 2203450"/>
              <a:gd name="connsiteX180" fmla="*/ 9525 w 1943100"/>
              <a:gd name="connsiteY180" fmla="*/ 1289050 h 2203450"/>
              <a:gd name="connsiteX181" fmla="*/ 15875 w 1943100"/>
              <a:gd name="connsiteY181" fmla="*/ 1279525 h 2203450"/>
              <a:gd name="connsiteX182" fmla="*/ 25400 w 1943100"/>
              <a:gd name="connsiteY182" fmla="*/ 1273175 h 2203450"/>
              <a:gd name="connsiteX183" fmla="*/ 34925 w 1943100"/>
              <a:gd name="connsiteY183" fmla="*/ 1266825 h 2203450"/>
              <a:gd name="connsiteX184" fmla="*/ 171450 w 1943100"/>
              <a:gd name="connsiteY184" fmla="*/ 1098550 h 2203450"/>
              <a:gd name="connsiteX185" fmla="*/ 184150 w 1943100"/>
              <a:gd name="connsiteY185" fmla="*/ 1101725 h 2203450"/>
              <a:gd name="connsiteX186" fmla="*/ 193675 w 1943100"/>
              <a:gd name="connsiteY186" fmla="*/ 1104900 h 2203450"/>
              <a:gd name="connsiteX187" fmla="*/ 206375 w 1943100"/>
              <a:gd name="connsiteY187" fmla="*/ 1108075 h 2203450"/>
              <a:gd name="connsiteX188" fmla="*/ 215900 w 1943100"/>
              <a:gd name="connsiteY188" fmla="*/ 1117600 h 2203450"/>
              <a:gd name="connsiteX189" fmla="*/ 222250 w 1943100"/>
              <a:gd name="connsiteY189" fmla="*/ 1123950 h 2203450"/>
              <a:gd name="connsiteX190" fmla="*/ 228600 w 1943100"/>
              <a:gd name="connsiteY190" fmla="*/ 1136650 h 2203450"/>
              <a:gd name="connsiteX191" fmla="*/ 231775 w 1943100"/>
              <a:gd name="connsiteY191" fmla="*/ 1146175 h 2203450"/>
              <a:gd name="connsiteX192" fmla="*/ 234950 w 1943100"/>
              <a:gd name="connsiteY192" fmla="*/ 1158875 h 2203450"/>
              <a:gd name="connsiteX193" fmla="*/ 231775 w 1943100"/>
              <a:gd name="connsiteY193" fmla="*/ 1168400 h 2203450"/>
              <a:gd name="connsiteX194" fmla="*/ 228600 w 1943100"/>
              <a:gd name="connsiteY194" fmla="*/ 1181100 h 2203450"/>
              <a:gd name="connsiteX195" fmla="*/ 222250 w 1943100"/>
              <a:gd name="connsiteY195" fmla="*/ 1190625 h 2203450"/>
              <a:gd name="connsiteX196" fmla="*/ 215900 w 1943100"/>
              <a:gd name="connsiteY196" fmla="*/ 1200150 h 2203450"/>
              <a:gd name="connsiteX197" fmla="*/ 206375 w 1943100"/>
              <a:gd name="connsiteY197" fmla="*/ 1206500 h 2203450"/>
              <a:gd name="connsiteX198" fmla="*/ 193675 w 1943100"/>
              <a:gd name="connsiteY198" fmla="*/ 1212850 h 2203450"/>
              <a:gd name="connsiteX199" fmla="*/ 184150 w 1943100"/>
              <a:gd name="connsiteY199" fmla="*/ 1216025 h 2203450"/>
              <a:gd name="connsiteX200" fmla="*/ 171450 w 1943100"/>
              <a:gd name="connsiteY200" fmla="*/ 1216025 h 2203450"/>
              <a:gd name="connsiteX201" fmla="*/ 158750 w 1943100"/>
              <a:gd name="connsiteY201" fmla="*/ 1216025 h 2203450"/>
              <a:gd name="connsiteX202" fmla="*/ 146050 w 1943100"/>
              <a:gd name="connsiteY202" fmla="*/ 1212850 h 2203450"/>
              <a:gd name="connsiteX203" fmla="*/ 136525 w 1943100"/>
              <a:gd name="connsiteY203" fmla="*/ 1206500 h 2203450"/>
              <a:gd name="connsiteX204" fmla="*/ 127000 w 1943100"/>
              <a:gd name="connsiteY204" fmla="*/ 1200150 h 2203450"/>
              <a:gd name="connsiteX205" fmla="*/ 117475 w 1943100"/>
              <a:gd name="connsiteY205" fmla="*/ 1190625 h 2203450"/>
              <a:gd name="connsiteX206" fmla="*/ 111125 w 1943100"/>
              <a:gd name="connsiteY206" fmla="*/ 1181100 h 2203450"/>
              <a:gd name="connsiteX207" fmla="*/ 107950 w 1943100"/>
              <a:gd name="connsiteY207" fmla="*/ 1168400 h 2203450"/>
              <a:gd name="connsiteX208" fmla="*/ 107950 w 1943100"/>
              <a:gd name="connsiteY208" fmla="*/ 1158875 h 2203450"/>
              <a:gd name="connsiteX209" fmla="*/ 107950 w 1943100"/>
              <a:gd name="connsiteY209" fmla="*/ 1146175 h 2203450"/>
              <a:gd name="connsiteX210" fmla="*/ 111125 w 1943100"/>
              <a:gd name="connsiteY210" fmla="*/ 1136650 h 2203450"/>
              <a:gd name="connsiteX211" fmla="*/ 117475 w 1943100"/>
              <a:gd name="connsiteY211" fmla="*/ 1123950 h 2203450"/>
              <a:gd name="connsiteX212" fmla="*/ 127000 w 1943100"/>
              <a:gd name="connsiteY212" fmla="*/ 1117600 h 2203450"/>
              <a:gd name="connsiteX213" fmla="*/ 136525 w 1943100"/>
              <a:gd name="connsiteY213" fmla="*/ 1108075 h 2203450"/>
              <a:gd name="connsiteX214" fmla="*/ 146050 w 1943100"/>
              <a:gd name="connsiteY214" fmla="*/ 1104900 h 2203450"/>
              <a:gd name="connsiteX215" fmla="*/ 158750 w 1943100"/>
              <a:gd name="connsiteY215" fmla="*/ 1101725 h 2203450"/>
              <a:gd name="connsiteX216" fmla="*/ 136525 w 1943100"/>
              <a:gd name="connsiteY216" fmla="*/ 812800 h 2203450"/>
              <a:gd name="connsiteX217" fmla="*/ 155575 w 1943100"/>
              <a:gd name="connsiteY217" fmla="*/ 815975 h 2203450"/>
              <a:gd name="connsiteX218" fmla="*/ 174625 w 1943100"/>
              <a:gd name="connsiteY218" fmla="*/ 822325 h 2203450"/>
              <a:gd name="connsiteX219" fmla="*/ 190500 w 1943100"/>
              <a:gd name="connsiteY219" fmla="*/ 831850 h 2203450"/>
              <a:gd name="connsiteX220" fmla="*/ 206375 w 1943100"/>
              <a:gd name="connsiteY220" fmla="*/ 844550 h 2203450"/>
              <a:gd name="connsiteX221" fmla="*/ 215900 w 1943100"/>
              <a:gd name="connsiteY221" fmla="*/ 860425 h 2203450"/>
              <a:gd name="connsiteX222" fmla="*/ 225425 w 1943100"/>
              <a:gd name="connsiteY222" fmla="*/ 879475 h 2203450"/>
              <a:gd name="connsiteX223" fmla="*/ 231775 w 1943100"/>
              <a:gd name="connsiteY223" fmla="*/ 898525 h 2203450"/>
              <a:gd name="connsiteX224" fmla="*/ 234950 w 1943100"/>
              <a:gd name="connsiteY224" fmla="*/ 920750 h 2203450"/>
              <a:gd name="connsiteX225" fmla="*/ 231775 w 1943100"/>
              <a:gd name="connsiteY225" fmla="*/ 939800 h 2203450"/>
              <a:gd name="connsiteX226" fmla="*/ 225425 w 1943100"/>
              <a:gd name="connsiteY226" fmla="*/ 958850 h 2203450"/>
              <a:gd name="connsiteX227" fmla="*/ 215900 w 1943100"/>
              <a:gd name="connsiteY227" fmla="*/ 977900 h 2203450"/>
              <a:gd name="connsiteX228" fmla="*/ 206375 w 1943100"/>
              <a:gd name="connsiteY228" fmla="*/ 993775 h 2203450"/>
              <a:gd name="connsiteX229" fmla="*/ 190500 w 1943100"/>
              <a:gd name="connsiteY229" fmla="*/ 1006475 h 2203450"/>
              <a:gd name="connsiteX230" fmla="*/ 174625 w 1943100"/>
              <a:gd name="connsiteY230" fmla="*/ 1016000 h 2203450"/>
              <a:gd name="connsiteX231" fmla="*/ 155575 w 1943100"/>
              <a:gd name="connsiteY231" fmla="*/ 1022350 h 2203450"/>
              <a:gd name="connsiteX232" fmla="*/ 136525 w 1943100"/>
              <a:gd name="connsiteY232" fmla="*/ 1025525 h 2203450"/>
              <a:gd name="connsiteX233" fmla="*/ 114300 w 1943100"/>
              <a:gd name="connsiteY233" fmla="*/ 1022350 h 2203450"/>
              <a:gd name="connsiteX234" fmla="*/ 98425 w 1943100"/>
              <a:gd name="connsiteY234" fmla="*/ 1016000 h 2203450"/>
              <a:gd name="connsiteX235" fmla="*/ 79375 w 1943100"/>
              <a:gd name="connsiteY235" fmla="*/ 1006475 h 2203450"/>
              <a:gd name="connsiteX236" fmla="*/ 66675 w 1943100"/>
              <a:gd name="connsiteY236" fmla="*/ 993775 h 2203450"/>
              <a:gd name="connsiteX237" fmla="*/ 53975 w 1943100"/>
              <a:gd name="connsiteY237" fmla="*/ 977900 h 2203450"/>
              <a:gd name="connsiteX238" fmla="*/ 44450 w 1943100"/>
              <a:gd name="connsiteY238" fmla="*/ 958850 h 2203450"/>
              <a:gd name="connsiteX239" fmla="*/ 38100 w 1943100"/>
              <a:gd name="connsiteY239" fmla="*/ 939800 h 2203450"/>
              <a:gd name="connsiteX240" fmla="*/ 38100 w 1943100"/>
              <a:gd name="connsiteY240" fmla="*/ 920750 h 2203450"/>
              <a:gd name="connsiteX241" fmla="*/ 38100 w 1943100"/>
              <a:gd name="connsiteY241" fmla="*/ 898525 h 2203450"/>
              <a:gd name="connsiteX242" fmla="*/ 44450 w 1943100"/>
              <a:gd name="connsiteY242" fmla="*/ 879475 h 2203450"/>
              <a:gd name="connsiteX243" fmla="*/ 53975 w 1943100"/>
              <a:gd name="connsiteY243" fmla="*/ 860425 h 2203450"/>
              <a:gd name="connsiteX244" fmla="*/ 66675 w 1943100"/>
              <a:gd name="connsiteY244" fmla="*/ 844550 h 2203450"/>
              <a:gd name="connsiteX245" fmla="*/ 79375 w 1943100"/>
              <a:gd name="connsiteY245" fmla="*/ 831850 h 2203450"/>
              <a:gd name="connsiteX246" fmla="*/ 98425 w 1943100"/>
              <a:gd name="connsiteY246" fmla="*/ 822325 h 2203450"/>
              <a:gd name="connsiteX247" fmla="*/ 114300 w 1943100"/>
              <a:gd name="connsiteY247" fmla="*/ 815975 h 2203450"/>
              <a:gd name="connsiteX248" fmla="*/ 352425 w 1943100"/>
              <a:gd name="connsiteY248" fmla="*/ 698500 h 2203450"/>
              <a:gd name="connsiteX249" fmla="*/ 368300 w 1943100"/>
              <a:gd name="connsiteY249" fmla="*/ 701675 h 2203450"/>
              <a:gd name="connsiteX250" fmla="*/ 381000 w 1943100"/>
              <a:gd name="connsiteY250" fmla="*/ 708025 h 2203450"/>
              <a:gd name="connsiteX251" fmla="*/ 390525 w 1943100"/>
              <a:gd name="connsiteY251" fmla="*/ 720725 h 2203450"/>
              <a:gd name="connsiteX252" fmla="*/ 393700 w 1943100"/>
              <a:gd name="connsiteY252" fmla="*/ 733425 h 2203450"/>
              <a:gd name="connsiteX253" fmla="*/ 390525 w 1943100"/>
              <a:gd name="connsiteY253" fmla="*/ 749300 h 2203450"/>
              <a:gd name="connsiteX254" fmla="*/ 381000 w 1943100"/>
              <a:gd name="connsiteY254" fmla="*/ 762000 h 2203450"/>
              <a:gd name="connsiteX255" fmla="*/ 368300 w 1943100"/>
              <a:gd name="connsiteY255" fmla="*/ 768350 h 2203450"/>
              <a:gd name="connsiteX256" fmla="*/ 352425 w 1943100"/>
              <a:gd name="connsiteY256" fmla="*/ 771525 h 2203450"/>
              <a:gd name="connsiteX257" fmla="*/ 333375 w 1943100"/>
              <a:gd name="connsiteY257" fmla="*/ 768350 h 2203450"/>
              <a:gd name="connsiteX258" fmla="*/ 320675 w 1943100"/>
              <a:gd name="connsiteY258" fmla="*/ 762000 h 2203450"/>
              <a:gd name="connsiteX259" fmla="*/ 311150 w 1943100"/>
              <a:gd name="connsiteY259" fmla="*/ 749300 h 2203450"/>
              <a:gd name="connsiteX260" fmla="*/ 307975 w 1943100"/>
              <a:gd name="connsiteY260" fmla="*/ 733425 h 2203450"/>
              <a:gd name="connsiteX261" fmla="*/ 311150 w 1943100"/>
              <a:gd name="connsiteY261" fmla="*/ 720725 h 2203450"/>
              <a:gd name="connsiteX262" fmla="*/ 320675 w 1943100"/>
              <a:gd name="connsiteY262" fmla="*/ 708025 h 2203450"/>
              <a:gd name="connsiteX263" fmla="*/ 333375 w 1943100"/>
              <a:gd name="connsiteY263" fmla="*/ 701675 h 2203450"/>
              <a:gd name="connsiteX264" fmla="*/ 1809750 w 1943100"/>
              <a:gd name="connsiteY264" fmla="*/ 631825 h 2203450"/>
              <a:gd name="connsiteX265" fmla="*/ 1825625 w 1943100"/>
              <a:gd name="connsiteY265" fmla="*/ 631825 h 2203450"/>
              <a:gd name="connsiteX266" fmla="*/ 1841500 w 1943100"/>
              <a:gd name="connsiteY266" fmla="*/ 631825 h 2203450"/>
              <a:gd name="connsiteX267" fmla="*/ 1863725 w 1943100"/>
              <a:gd name="connsiteY267" fmla="*/ 635000 h 2203450"/>
              <a:gd name="connsiteX268" fmla="*/ 1885950 w 1943100"/>
              <a:gd name="connsiteY268" fmla="*/ 644525 h 2203450"/>
              <a:gd name="connsiteX269" fmla="*/ 1895475 w 1943100"/>
              <a:gd name="connsiteY269" fmla="*/ 654050 h 2203450"/>
              <a:gd name="connsiteX270" fmla="*/ 1908175 w 1943100"/>
              <a:gd name="connsiteY270" fmla="*/ 663575 h 2203450"/>
              <a:gd name="connsiteX271" fmla="*/ 1917700 w 1943100"/>
              <a:gd name="connsiteY271" fmla="*/ 679450 h 2203450"/>
              <a:gd name="connsiteX272" fmla="*/ 1927225 w 1943100"/>
              <a:gd name="connsiteY272" fmla="*/ 695325 h 2203450"/>
              <a:gd name="connsiteX273" fmla="*/ 1933575 w 1943100"/>
              <a:gd name="connsiteY273" fmla="*/ 704850 h 2203450"/>
              <a:gd name="connsiteX274" fmla="*/ 1939925 w 1943100"/>
              <a:gd name="connsiteY274" fmla="*/ 720725 h 2203450"/>
              <a:gd name="connsiteX275" fmla="*/ 1943100 w 1943100"/>
              <a:gd name="connsiteY275" fmla="*/ 739775 h 2203450"/>
              <a:gd name="connsiteX276" fmla="*/ 1943100 w 1943100"/>
              <a:gd name="connsiteY276" fmla="*/ 768350 h 2203450"/>
              <a:gd name="connsiteX277" fmla="*/ 1939925 w 1943100"/>
              <a:gd name="connsiteY277" fmla="*/ 800100 h 2203450"/>
              <a:gd name="connsiteX278" fmla="*/ 1930400 w 1943100"/>
              <a:gd name="connsiteY278" fmla="*/ 841375 h 2203450"/>
              <a:gd name="connsiteX279" fmla="*/ 1911350 w 1943100"/>
              <a:gd name="connsiteY279" fmla="*/ 885825 h 2203450"/>
              <a:gd name="connsiteX280" fmla="*/ 1898650 w 1943100"/>
              <a:gd name="connsiteY280" fmla="*/ 914400 h 2203450"/>
              <a:gd name="connsiteX281" fmla="*/ 1882775 w 1943100"/>
              <a:gd name="connsiteY281" fmla="*/ 939800 h 2203450"/>
              <a:gd name="connsiteX282" fmla="*/ 1863725 w 1943100"/>
              <a:gd name="connsiteY282" fmla="*/ 958850 h 2203450"/>
              <a:gd name="connsiteX283" fmla="*/ 1847850 w 1943100"/>
              <a:gd name="connsiteY283" fmla="*/ 974725 h 2203450"/>
              <a:gd name="connsiteX284" fmla="*/ 1828800 w 1943100"/>
              <a:gd name="connsiteY284" fmla="*/ 987425 h 2203450"/>
              <a:gd name="connsiteX285" fmla="*/ 1809750 w 1943100"/>
              <a:gd name="connsiteY285" fmla="*/ 993775 h 2203450"/>
              <a:gd name="connsiteX286" fmla="*/ 1793875 w 1943100"/>
              <a:gd name="connsiteY286" fmla="*/ 996950 h 2203450"/>
              <a:gd name="connsiteX287" fmla="*/ 1778000 w 1943100"/>
              <a:gd name="connsiteY287" fmla="*/ 990600 h 2203450"/>
              <a:gd name="connsiteX288" fmla="*/ 1765300 w 1943100"/>
              <a:gd name="connsiteY288" fmla="*/ 977900 h 2203450"/>
              <a:gd name="connsiteX289" fmla="*/ 1755775 w 1943100"/>
              <a:gd name="connsiteY289" fmla="*/ 962025 h 2203450"/>
              <a:gd name="connsiteX290" fmla="*/ 1749425 w 1943100"/>
              <a:gd name="connsiteY290" fmla="*/ 942975 h 2203450"/>
              <a:gd name="connsiteX291" fmla="*/ 1746250 w 1943100"/>
              <a:gd name="connsiteY291" fmla="*/ 917575 h 2203450"/>
              <a:gd name="connsiteX292" fmla="*/ 1746250 w 1943100"/>
              <a:gd name="connsiteY292" fmla="*/ 892175 h 2203450"/>
              <a:gd name="connsiteX293" fmla="*/ 1749425 w 1943100"/>
              <a:gd name="connsiteY293" fmla="*/ 863600 h 2203450"/>
              <a:gd name="connsiteX294" fmla="*/ 1755775 w 1943100"/>
              <a:gd name="connsiteY294" fmla="*/ 835025 h 2203450"/>
              <a:gd name="connsiteX295" fmla="*/ 1768475 w 1943100"/>
              <a:gd name="connsiteY295" fmla="*/ 803275 h 2203450"/>
              <a:gd name="connsiteX296" fmla="*/ 1771650 w 1943100"/>
              <a:gd name="connsiteY296" fmla="*/ 796925 h 2203450"/>
              <a:gd name="connsiteX297" fmla="*/ 1774825 w 1943100"/>
              <a:gd name="connsiteY297" fmla="*/ 777875 h 2203450"/>
              <a:gd name="connsiteX298" fmla="*/ 1774825 w 1943100"/>
              <a:gd name="connsiteY298" fmla="*/ 752475 h 2203450"/>
              <a:gd name="connsiteX299" fmla="*/ 1774825 w 1943100"/>
              <a:gd name="connsiteY299" fmla="*/ 739775 h 2203450"/>
              <a:gd name="connsiteX300" fmla="*/ 1768475 w 1943100"/>
              <a:gd name="connsiteY300" fmla="*/ 727075 h 2203450"/>
              <a:gd name="connsiteX301" fmla="*/ 1762125 w 1943100"/>
              <a:gd name="connsiteY301" fmla="*/ 717550 h 2203450"/>
              <a:gd name="connsiteX302" fmla="*/ 1758950 w 1943100"/>
              <a:gd name="connsiteY302" fmla="*/ 708025 h 2203450"/>
              <a:gd name="connsiteX303" fmla="*/ 1755775 w 1943100"/>
              <a:gd name="connsiteY303" fmla="*/ 695325 h 2203450"/>
              <a:gd name="connsiteX304" fmla="*/ 1755775 w 1943100"/>
              <a:gd name="connsiteY304" fmla="*/ 682625 h 2203450"/>
              <a:gd name="connsiteX305" fmla="*/ 1762125 w 1943100"/>
              <a:gd name="connsiteY305" fmla="*/ 666750 h 2203450"/>
              <a:gd name="connsiteX306" fmla="*/ 1774825 w 1943100"/>
              <a:gd name="connsiteY306" fmla="*/ 650875 h 2203450"/>
              <a:gd name="connsiteX307" fmla="*/ 1797050 w 1943100"/>
              <a:gd name="connsiteY307" fmla="*/ 638175 h 2203450"/>
              <a:gd name="connsiteX308" fmla="*/ 504825 w 1943100"/>
              <a:gd name="connsiteY308" fmla="*/ 593725 h 2203450"/>
              <a:gd name="connsiteX309" fmla="*/ 520700 w 1943100"/>
              <a:gd name="connsiteY309" fmla="*/ 596900 h 2203450"/>
              <a:gd name="connsiteX310" fmla="*/ 536575 w 1943100"/>
              <a:gd name="connsiteY310" fmla="*/ 600075 h 2203450"/>
              <a:gd name="connsiteX311" fmla="*/ 549275 w 1943100"/>
              <a:gd name="connsiteY311" fmla="*/ 606425 h 2203450"/>
              <a:gd name="connsiteX312" fmla="*/ 561975 w 1943100"/>
              <a:gd name="connsiteY312" fmla="*/ 612775 h 2203450"/>
              <a:gd name="connsiteX313" fmla="*/ 571500 w 1943100"/>
              <a:gd name="connsiteY313" fmla="*/ 622300 h 2203450"/>
              <a:gd name="connsiteX314" fmla="*/ 581025 w 1943100"/>
              <a:gd name="connsiteY314" fmla="*/ 631825 h 2203450"/>
              <a:gd name="connsiteX315" fmla="*/ 584200 w 1943100"/>
              <a:gd name="connsiteY315" fmla="*/ 641350 h 2203450"/>
              <a:gd name="connsiteX316" fmla="*/ 587375 w 1943100"/>
              <a:gd name="connsiteY316" fmla="*/ 654050 h 2203450"/>
              <a:gd name="connsiteX317" fmla="*/ 584200 w 1943100"/>
              <a:gd name="connsiteY317" fmla="*/ 666750 h 2203450"/>
              <a:gd name="connsiteX318" fmla="*/ 581025 w 1943100"/>
              <a:gd name="connsiteY318" fmla="*/ 679450 h 2203450"/>
              <a:gd name="connsiteX319" fmla="*/ 571500 w 1943100"/>
              <a:gd name="connsiteY319" fmla="*/ 688975 h 2203450"/>
              <a:gd name="connsiteX320" fmla="*/ 561975 w 1943100"/>
              <a:gd name="connsiteY320" fmla="*/ 698500 h 2203450"/>
              <a:gd name="connsiteX321" fmla="*/ 549275 w 1943100"/>
              <a:gd name="connsiteY321" fmla="*/ 704850 h 2203450"/>
              <a:gd name="connsiteX322" fmla="*/ 536575 w 1943100"/>
              <a:gd name="connsiteY322" fmla="*/ 711200 h 2203450"/>
              <a:gd name="connsiteX323" fmla="*/ 520700 w 1943100"/>
              <a:gd name="connsiteY323" fmla="*/ 714375 h 2203450"/>
              <a:gd name="connsiteX324" fmla="*/ 504825 w 1943100"/>
              <a:gd name="connsiteY324" fmla="*/ 714375 h 2203450"/>
              <a:gd name="connsiteX325" fmla="*/ 488950 w 1943100"/>
              <a:gd name="connsiteY325" fmla="*/ 714375 h 2203450"/>
              <a:gd name="connsiteX326" fmla="*/ 473075 w 1943100"/>
              <a:gd name="connsiteY326" fmla="*/ 711200 h 2203450"/>
              <a:gd name="connsiteX327" fmla="*/ 457200 w 1943100"/>
              <a:gd name="connsiteY327" fmla="*/ 704850 h 2203450"/>
              <a:gd name="connsiteX328" fmla="*/ 444500 w 1943100"/>
              <a:gd name="connsiteY328" fmla="*/ 698500 h 2203450"/>
              <a:gd name="connsiteX329" fmla="*/ 434975 w 1943100"/>
              <a:gd name="connsiteY329" fmla="*/ 688975 h 2203450"/>
              <a:gd name="connsiteX330" fmla="*/ 428625 w 1943100"/>
              <a:gd name="connsiteY330" fmla="*/ 679450 h 2203450"/>
              <a:gd name="connsiteX331" fmla="*/ 422275 w 1943100"/>
              <a:gd name="connsiteY331" fmla="*/ 666750 h 2203450"/>
              <a:gd name="connsiteX332" fmla="*/ 422275 w 1943100"/>
              <a:gd name="connsiteY332" fmla="*/ 654050 h 2203450"/>
              <a:gd name="connsiteX333" fmla="*/ 422275 w 1943100"/>
              <a:gd name="connsiteY333" fmla="*/ 641350 h 2203450"/>
              <a:gd name="connsiteX334" fmla="*/ 428625 w 1943100"/>
              <a:gd name="connsiteY334" fmla="*/ 631825 h 2203450"/>
              <a:gd name="connsiteX335" fmla="*/ 434975 w 1943100"/>
              <a:gd name="connsiteY335" fmla="*/ 622300 h 2203450"/>
              <a:gd name="connsiteX336" fmla="*/ 444500 w 1943100"/>
              <a:gd name="connsiteY336" fmla="*/ 612775 h 2203450"/>
              <a:gd name="connsiteX337" fmla="*/ 457200 w 1943100"/>
              <a:gd name="connsiteY337" fmla="*/ 606425 h 2203450"/>
              <a:gd name="connsiteX338" fmla="*/ 473075 w 1943100"/>
              <a:gd name="connsiteY338" fmla="*/ 600075 h 2203450"/>
              <a:gd name="connsiteX339" fmla="*/ 488950 w 1943100"/>
              <a:gd name="connsiteY339" fmla="*/ 596900 h 2203450"/>
              <a:gd name="connsiteX340" fmla="*/ 1581150 w 1943100"/>
              <a:gd name="connsiteY340" fmla="*/ 158750 h 2203450"/>
              <a:gd name="connsiteX341" fmla="*/ 1600200 w 1943100"/>
              <a:gd name="connsiteY341" fmla="*/ 158750 h 2203450"/>
              <a:gd name="connsiteX342" fmla="*/ 1616075 w 1943100"/>
              <a:gd name="connsiteY342" fmla="*/ 165100 h 2203450"/>
              <a:gd name="connsiteX343" fmla="*/ 1635125 w 1943100"/>
              <a:gd name="connsiteY343" fmla="*/ 177800 h 2203450"/>
              <a:gd name="connsiteX344" fmla="*/ 1654175 w 1943100"/>
              <a:gd name="connsiteY344" fmla="*/ 193675 h 2203450"/>
              <a:gd name="connsiteX345" fmla="*/ 1670050 w 1943100"/>
              <a:gd name="connsiteY345" fmla="*/ 215900 h 2203450"/>
              <a:gd name="connsiteX346" fmla="*/ 1685925 w 1943100"/>
              <a:gd name="connsiteY346" fmla="*/ 241300 h 2203450"/>
              <a:gd name="connsiteX347" fmla="*/ 1698625 w 1943100"/>
              <a:gd name="connsiteY347" fmla="*/ 269875 h 2203450"/>
              <a:gd name="connsiteX348" fmla="*/ 1708150 w 1943100"/>
              <a:gd name="connsiteY348" fmla="*/ 298450 h 2203450"/>
              <a:gd name="connsiteX349" fmla="*/ 1714500 w 1943100"/>
              <a:gd name="connsiteY349" fmla="*/ 330200 h 2203450"/>
              <a:gd name="connsiteX350" fmla="*/ 1717675 w 1943100"/>
              <a:gd name="connsiteY350" fmla="*/ 358775 h 2203450"/>
              <a:gd name="connsiteX351" fmla="*/ 1717675 w 1943100"/>
              <a:gd name="connsiteY351" fmla="*/ 387350 h 2203450"/>
              <a:gd name="connsiteX352" fmla="*/ 1714500 w 1943100"/>
              <a:gd name="connsiteY352" fmla="*/ 409575 h 2203450"/>
              <a:gd name="connsiteX353" fmla="*/ 1708150 w 1943100"/>
              <a:gd name="connsiteY353" fmla="*/ 428625 h 2203450"/>
              <a:gd name="connsiteX354" fmla="*/ 1698625 w 1943100"/>
              <a:gd name="connsiteY354" fmla="*/ 444500 h 2203450"/>
              <a:gd name="connsiteX355" fmla="*/ 1685925 w 1943100"/>
              <a:gd name="connsiteY355" fmla="*/ 457200 h 2203450"/>
              <a:gd name="connsiteX356" fmla="*/ 1670050 w 1943100"/>
              <a:gd name="connsiteY356" fmla="*/ 460375 h 2203450"/>
              <a:gd name="connsiteX357" fmla="*/ 1651000 w 1943100"/>
              <a:gd name="connsiteY357" fmla="*/ 460375 h 2203450"/>
              <a:gd name="connsiteX358" fmla="*/ 1631950 w 1943100"/>
              <a:gd name="connsiteY358" fmla="*/ 454025 h 2203450"/>
              <a:gd name="connsiteX359" fmla="*/ 1616075 w 1943100"/>
              <a:gd name="connsiteY359" fmla="*/ 441325 h 2203450"/>
              <a:gd name="connsiteX360" fmla="*/ 1597025 w 1943100"/>
              <a:gd name="connsiteY360" fmla="*/ 422275 h 2203450"/>
              <a:gd name="connsiteX361" fmla="*/ 1581150 w 1943100"/>
              <a:gd name="connsiteY361" fmla="*/ 403225 h 2203450"/>
              <a:gd name="connsiteX362" fmla="*/ 1565275 w 1943100"/>
              <a:gd name="connsiteY362" fmla="*/ 377825 h 2203450"/>
              <a:gd name="connsiteX363" fmla="*/ 1552575 w 1943100"/>
              <a:gd name="connsiteY363" fmla="*/ 349250 h 2203450"/>
              <a:gd name="connsiteX364" fmla="*/ 1543050 w 1943100"/>
              <a:gd name="connsiteY364" fmla="*/ 320675 h 2203450"/>
              <a:gd name="connsiteX365" fmla="*/ 1533525 w 1943100"/>
              <a:gd name="connsiteY365" fmla="*/ 288925 h 2203450"/>
              <a:gd name="connsiteX366" fmla="*/ 1530350 w 1943100"/>
              <a:gd name="connsiteY366" fmla="*/ 260350 h 2203450"/>
              <a:gd name="connsiteX367" fmla="*/ 1530350 w 1943100"/>
              <a:gd name="connsiteY367" fmla="*/ 231775 h 2203450"/>
              <a:gd name="connsiteX368" fmla="*/ 1536700 w 1943100"/>
              <a:gd name="connsiteY368" fmla="*/ 209550 h 2203450"/>
              <a:gd name="connsiteX369" fmla="*/ 1543050 w 1943100"/>
              <a:gd name="connsiteY369" fmla="*/ 190500 h 2203450"/>
              <a:gd name="connsiteX370" fmla="*/ 1552575 w 1943100"/>
              <a:gd name="connsiteY370" fmla="*/ 174625 h 2203450"/>
              <a:gd name="connsiteX371" fmla="*/ 1565275 w 1943100"/>
              <a:gd name="connsiteY371" fmla="*/ 161925 h 2203450"/>
              <a:gd name="connsiteX372" fmla="*/ 1212850 w 1943100"/>
              <a:gd name="connsiteY372" fmla="*/ 98425 h 2203450"/>
              <a:gd name="connsiteX373" fmla="*/ 1241425 w 1943100"/>
              <a:gd name="connsiteY373" fmla="*/ 98425 h 2203450"/>
              <a:gd name="connsiteX374" fmla="*/ 1270000 w 1943100"/>
              <a:gd name="connsiteY374" fmla="*/ 101600 h 2203450"/>
              <a:gd name="connsiteX375" fmla="*/ 1292225 w 1943100"/>
              <a:gd name="connsiteY375" fmla="*/ 111125 h 2203450"/>
              <a:gd name="connsiteX376" fmla="*/ 1314450 w 1943100"/>
              <a:gd name="connsiteY376" fmla="*/ 120650 h 2203450"/>
              <a:gd name="connsiteX377" fmla="*/ 1333500 w 1943100"/>
              <a:gd name="connsiteY377" fmla="*/ 130175 h 2203450"/>
              <a:gd name="connsiteX378" fmla="*/ 1358900 w 1943100"/>
              <a:gd name="connsiteY378" fmla="*/ 149225 h 2203450"/>
              <a:gd name="connsiteX379" fmla="*/ 1368425 w 1943100"/>
              <a:gd name="connsiteY379" fmla="*/ 158750 h 2203450"/>
              <a:gd name="connsiteX380" fmla="*/ 1393825 w 1943100"/>
              <a:gd name="connsiteY380" fmla="*/ 180975 h 2203450"/>
              <a:gd name="connsiteX381" fmla="*/ 1419225 w 1943100"/>
              <a:gd name="connsiteY381" fmla="*/ 206375 h 2203450"/>
              <a:gd name="connsiteX382" fmla="*/ 1435100 w 1943100"/>
              <a:gd name="connsiteY382" fmla="*/ 234950 h 2203450"/>
              <a:gd name="connsiteX383" fmla="*/ 1450975 w 1943100"/>
              <a:gd name="connsiteY383" fmla="*/ 260350 h 2203450"/>
              <a:gd name="connsiteX384" fmla="*/ 1460500 w 1943100"/>
              <a:gd name="connsiteY384" fmla="*/ 285750 h 2203450"/>
              <a:gd name="connsiteX385" fmla="*/ 1470025 w 1943100"/>
              <a:gd name="connsiteY385" fmla="*/ 311150 h 2203450"/>
              <a:gd name="connsiteX386" fmla="*/ 1476375 w 1943100"/>
              <a:gd name="connsiteY386" fmla="*/ 333375 h 2203450"/>
              <a:gd name="connsiteX387" fmla="*/ 1476375 w 1943100"/>
              <a:gd name="connsiteY387" fmla="*/ 358775 h 2203450"/>
              <a:gd name="connsiteX388" fmla="*/ 1479550 w 1943100"/>
              <a:gd name="connsiteY388" fmla="*/ 400050 h 2203450"/>
              <a:gd name="connsiteX389" fmla="*/ 1473200 w 1943100"/>
              <a:gd name="connsiteY389" fmla="*/ 431800 h 2203450"/>
              <a:gd name="connsiteX390" fmla="*/ 1466850 w 1943100"/>
              <a:gd name="connsiteY390" fmla="*/ 460375 h 2203450"/>
              <a:gd name="connsiteX391" fmla="*/ 1457325 w 1943100"/>
              <a:gd name="connsiteY391" fmla="*/ 501650 h 2203450"/>
              <a:gd name="connsiteX392" fmla="*/ 1454150 w 1943100"/>
              <a:gd name="connsiteY392" fmla="*/ 533400 h 2203450"/>
              <a:gd name="connsiteX393" fmla="*/ 1454150 w 1943100"/>
              <a:gd name="connsiteY393" fmla="*/ 561975 h 2203450"/>
              <a:gd name="connsiteX394" fmla="*/ 1457325 w 1943100"/>
              <a:gd name="connsiteY394" fmla="*/ 581025 h 2203450"/>
              <a:gd name="connsiteX395" fmla="*/ 1466850 w 1943100"/>
              <a:gd name="connsiteY395" fmla="*/ 596900 h 2203450"/>
              <a:gd name="connsiteX396" fmla="*/ 1473200 w 1943100"/>
              <a:gd name="connsiteY396" fmla="*/ 609600 h 2203450"/>
              <a:gd name="connsiteX397" fmla="*/ 1482725 w 1943100"/>
              <a:gd name="connsiteY397" fmla="*/ 622300 h 2203450"/>
              <a:gd name="connsiteX398" fmla="*/ 1495425 w 1943100"/>
              <a:gd name="connsiteY398" fmla="*/ 631825 h 2203450"/>
              <a:gd name="connsiteX399" fmla="*/ 1508125 w 1943100"/>
              <a:gd name="connsiteY399" fmla="*/ 638175 h 2203450"/>
              <a:gd name="connsiteX400" fmla="*/ 1530350 w 1943100"/>
              <a:gd name="connsiteY400" fmla="*/ 647700 h 2203450"/>
              <a:gd name="connsiteX401" fmla="*/ 1552575 w 1943100"/>
              <a:gd name="connsiteY401" fmla="*/ 650875 h 2203450"/>
              <a:gd name="connsiteX402" fmla="*/ 1571625 w 1943100"/>
              <a:gd name="connsiteY402" fmla="*/ 650875 h 2203450"/>
              <a:gd name="connsiteX403" fmla="*/ 1590675 w 1943100"/>
              <a:gd name="connsiteY403" fmla="*/ 650875 h 2203450"/>
              <a:gd name="connsiteX404" fmla="*/ 1622425 w 1943100"/>
              <a:gd name="connsiteY404" fmla="*/ 650875 h 2203450"/>
              <a:gd name="connsiteX405" fmla="*/ 1647825 w 1943100"/>
              <a:gd name="connsiteY405" fmla="*/ 654050 h 2203450"/>
              <a:gd name="connsiteX406" fmla="*/ 1670050 w 1943100"/>
              <a:gd name="connsiteY406" fmla="*/ 660400 h 2203450"/>
              <a:gd name="connsiteX407" fmla="*/ 1685925 w 1943100"/>
              <a:gd name="connsiteY407" fmla="*/ 666750 h 2203450"/>
              <a:gd name="connsiteX408" fmla="*/ 1695450 w 1943100"/>
              <a:gd name="connsiteY408" fmla="*/ 676275 h 2203450"/>
              <a:gd name="connsiteX409" fmla="*/ 1701800 w 1943100"/>
              <a:gd name="connsiteY409" fmla="*/ 682625 h 2203450"/>
              <a:gd name="connsiteX410" fmla="*/ 1708150 w 1943100"/>
              <a:gd name="connsiteY410" fmla="*/ 688975 h 2203450"/>
              <a:gd name="connsiteX411" fmla="*/ 1714500 w 1943100"/>
              <a:gd name="connsiteY411" fmla="*/ 698500 h 2203450"/>
              <a:gd name="connsiteX412" fmla="*/ 1717675 w 1943100"/>
              <a:gd name="connsiteY412" fmla="*/ 708025 h 2203450"/>
              <a:gd name="connsiteX413" fmla="*/ 1724025 w 1943100"/>
              <a:gd name="connsiteY413" fmla="*/ 727075 h 2203450"/>
              <a:gd name="connsiteX414" fmla="*/ 1724025 w 1943100"/>
              <a:gd name="connsiteY414" fmla="*/ 749300 h 2203450"/>
              <a:gd name="connsiteX415" fmla="*/ 1717675 w 1943100"/>
              <a:gd name="connsiteY415" fmla="*/ 768350 h 2203450"/>
              <a:gd name="connsiteX416" fmla="*/ 1704975 w 1943100"/>
              <a:gd name="connsiteY416" fmla="*/ 800100 h 2203450"/>
              <a:gd name="connsiteX417" fmla="*/ 1698625 w 1943100"/>
              <a:gd name="connsiteY417" fmla="*/ 809625 h 2203450"/>
              <a:gd name="connsiteX418" fmla="*/ 1676400 w 1943100"/>
              <a:gd name="connsiteY418" fmla="*/ 844550 h 2203450"/>
              <a:gd name="connsiteX419" fmla="*/ 1660525 w 1943100"/>
              <a:gd name="connsiteY419" fmla="*/ 873125 h 2203450"/>
              <a:gd name="connsiteX420" fmla="*/ 1651000 w 1943100"/>
              <a:gd name="connsiteY420" fmla="*/ 898525 h 2203450"/>
              <a:gd name="connsiteX421" fmla="*/ 1644650 w 1943100"/>
              <a:gd name="connsiteY421" fmla="*/ 917575 h 2203450"/>
              <a:gd name="connsiteX422" fmla="*/ 1641475 w 1943100"/>
              <a:gd name="connsiteY422" fmla="*/ 936625 h 2203450"/>
              <a:gd name="connsiteX423" fmla="*/ 1641475 w 1943100"/>
              <a:gd name="connsiteY423" fmla="*/ 949325 h 2203450"/>
              <a:gd name="connsiteX424" fmla="*/ 1641475 w 1943100"/>
              <a:gd name="connsiteY424" fmla="*/ 958850 h 2203450"/>
              <a:gd name="connsiteX425" fmla="*/ 1644650 w 1943100"/>
              <a:gd name="connsiteY425" fmla="*/ 974725 h 2203450"/>
              <a:gd name="connsiteX426" fmla="*/ 1647825 w 1943100"/>
              <a:gd name="connsiteY426" fmla="*/ 990600 h 2203450"/>
              <a:gd name="connsiteX427" fmla="*/ 1654175 w 1943100"/>
              <a:gd name="connsiteY427" fmla="*/ 1003300 h 2203450"/>
              <a:gd name="connsiteX428" fmla="*/ 1663700 w 1943100"/>
              <a:gd name="connsiteY428" fmla="*/ 1012825 h 2203450"/>
              <a:gd name="connsiteX429" fmla="*/ 1673225 w 1943100"/>
              <a:gd name="connsiteY429" fmla="*/ 1022350 h 2203450"/>
              <a:gd name="connsiteX430" fmla="*/ 1682750 w 1943100"/>
              <a:gd name="connsiteY430" fmla="*/ 1031875 h 2203450"/>
              <a:gd name="connsiteX431" fmla="*/ 1704975 w 1943100"/>
              <a:gd name="connsiteY431" fmla="*/ 1041400 h 2203450"/>
              <a:gd name="connsiteX432" fmla="*/ 1724025 w 1943100"/>
              <a:gd name="connsiteY432" fmla="*/ 1047750 h 2203450"/>
              <a:gd name="connsiteX433" fmla="*/ 1743075 w 1943100"/>
              <a:gd name="connsiteY433" fmla="*/ 1047750 h 2203450"/>
              <a:gd name="connsiteX434" fmla="*/ 1762125 w 1943100"/>
              <a:gd name="connsiteY434" fmla="*/ 1047750 h 2203450"/>
              <a:gd name="connsiteX435" fmla="*/ 1800225 w 1943100"/>
              <a:gd name="connsiteY435" fmla="*/ 1050925 h 2203450"/>
              <a:gd name="connsiteX436" fmla="*/ 1835150 w 1943100"/>
              <a:gd name="connsiteY436" fmla="*/ 1057275 h 2203450"/>
              <a:gd name="connsiteX437" fmla="*/ 1860550 w 1943100"/>
              <a:gd name="connsiteY437" fmla="*/ 1066800 h 2203450"/>
              <a:gd name="connsiteX438" fmla="*/ 1882775 w 1943100"/>
              <a:gd name="connsiteY438" fmla="*/ 1076325 h 2203450"/>
              <a:gd name="connsiteX439" fmla="*/ 1898650 w 1943100"/>
              <a:gd name="connsiteY439" fmla="*/ 1089025 h 2203450"/>
              <a:gd name="connsiteX440" fmla="*/ 1911350 w 1943100"/>
              <a:gd name="connsiteY440" fmla="*/ 1098550 h 2203450"/>
              <a:gd name="connsiteX441" fmla="*/ 1920875 w 1943100"/>
              <a:gd name="connsiteY441" fmla="*/ 1111250 h 2203450"/>
              <a:gd name="connsiteX442" fmla="*/ 1927225 w 1943100"/>
              <a:gd name="connsiteY442" fmla="*/ 1120775 h 2203450"/>
              <a:gd name="connsiteX443" fmla="*/ 1933575 w 1943100"/>
              <a:gd name="connsiteY443" fmla="*/ 1133475 h 2203450"/>
              <a:gd name="connsiteX444" fmla="*/ 1936750 w 1943100"/>
              <a:gd name="connsiteY444" fmla="*/ 1143000 h 2203450"/>
              <a:gd name="connsiteX445" fmla="*/ 1936750 w 1943100"/>
              <a:gd name="connsiteY445" fmla="*/ 1152525 h 2203450"/>
              <a:gd name="connsiteX446" fmla="*/ 1933575 w 1943100"/>
              <a:gd name="connsiteY446" fmla="*/ 1162050 h 2203450"/>
              <a:gd name="connsiteX447" fmla="*/ 1927225 w 1943100"/>
              <a:gd name="connsiteY447" fmla="*/ 1171575 h 2203450"/>
              <a:gd name="connsiteX448" fmla="*/ 1914525 w 1943100"/>
              <a:gd name="connsiteY448" fmla="*/ 1187450 h 2203450"/>
              <a:gd name="connsiteX449" fmla="*/ 1898650 w 1943100"/>
              <a:gd name="connsiteY449" fmla="*/ 1200150 h 2203450"/>
              <a:gd name="connsiteX450" fmla="*/ 1882775 w 1943100"/>
              <a:gd name="connsiteY450" fmla="*/ 1209675 h 2203450"/>
              <a:gd name="connsiteX451" fmla="*/ 1866900 w 1943100"/>
              <a:gd name="connsiteY451" fmla="*/ 1216025 h 2203450"/>
              <a:gd name="connsiteX452" fmla="*/ 1847850 w 1943100"/>
              <a:gd name="connsiteY452" fmla="*/ 1222375 h 2203450"/>
              <a:gd name="connsiteX453" fmla="*/ 1835150 w 1943100"/>
              <a:gd name="connsiteY453" fmla="*/ 1228725 h 2203450"/>
              <a:gd name="connsiteX454" fmla="*/ 1809750 w 1943100"/>
              <a:gd name="connsiteY454" fmla="*/ 1247775 h 2203450"/>
              <a:gd name="connsiteX455" fmla="*/ 1793875 w 1943100"/>
              <a:gd name="connsiteY455" fmla="*/ 1266825 h 2203450"/>
              <a:gd name="connsiteX456" fmla="*/ 1781175 w 1943100"/>
              <a:gd name="connsiteY456" fmla="*/ 1289050 h 2203450"/>
              <a:gd name="connsiteX457" fmla="*/ 1771650 w 1943100"/>
              <a:gd name="connsiteY457" fmla="*/ 1308100 h 2203450"/>
              <a:gd name="connsiteX458" fmla="*/ 1768475 w 1943100"/>
              <a:gd name="connsiteY458" fmla="*/ 1323975 h 2203450"/>
              <a:gd name="connsiteX459" fmla="*/ 1768475 w 1943100"/>
              <a:gd name="connsiteY459" fmla="*/ 1336675 h 2203450"/>
              <a:gd name="connsiteX460" fmla="*/ 1765300 w 1943100"/>
              <a:gd name="connsiteY460" fmla="*/ 1362075 h 2203450"/>
              <a:gd name="connsiteX461" fmla="*/ 1758950 w 1943100"/>
              <a:gd name="connsiteY461" fmla="*/ 1381125 h 2203450"/>
              <a:gd name="connsiteX462" fmla="*/ 1752600 w 1943100"/>
              <a:gd name="connsiteY462" fmla="*/ 1400175 h 2203450"/>
              <a:gd name="connsiteX463" fmla="*/ 1743075 w 1943100"/>
              <a:gd name="connsiteY463" fmla="*/ 1416050 h 2203450"/>
              <a:gd name="connsiteX464" fmla="*/ 1724025 w 1943100"/>
              <a:gd name="connsiteY464" fmla="*/ 1441450 h 2203450"/>
              <a:gd name="connsiteX465" fmla="*/ 1704975 w 1943100"/>
              <a:gd name="connsiteY465" fmla="*/ 1463675 h 2203450"/>
              <a:gd name="connsiteX466" fmla="*/ 1682750 w 1943100"/>
              <a:gd name="connsiteY466" fmla="*/ 1476375 h 2203450"/>
              <a:gd name="connsiteX467" fmla="*/ 1663700 w 1943100"/>
              <a:gd name="connsiteY467" fmla="*/ 1485900 h 2203450"/>
              <a:gd name="connsiteX468" fmla="*/ 1647825 w 1943100"/>
              <a:gd name="connsiteY468" fmla="*/ 1489075 h 2203450"/>
              <a:gd name="connsiteX469" fmla="*/ 1625600 w 1943100"/>
              <a:gd name="connsiteY469" fmla="*/ 1498600 h 2203450"/>
              <a:gd name="connsiteX470" fmla="*/ 1606550 w 1943100"/>
              <a:gd name="connsiteY470" fmla="*/ 1504950 h 2203450"/>
              <a:gd name="connsiteX471" fmla="*/ 1593850 w 1943100"/>
              <a:gd name="connsiteY471" fmla="*/ 1514475 h 2203450"/>
              <a:gd name="connsiteX472" fmla="*/ 1581150 w 1943100"/>
              <a:gd name="connsiteY472" fmla="*/ 1524000 h 2203450"/>
              <a:gd name="connsiteX473" fmla="*/ 1571625 w 1943100"/>
              <a:gd name="connsiteY473" fmla="*/ 1533525 h 2203450"/>
              <a:gd name="connsiteX474" fmla="*/ 1565275 w 1943100"/>
              <a:gd name="connsiteY474" fmla="*/ 1543050 h 2203450"/>
              <a:gd name="connsiteX475" fmla="*/ 1555750 w 1943100"/>
              <a:gd name="connsiteY475" fmla="*/ 1565275 h 2203450"/>
              <a:gd name="connsiteX476" fmla="*/ 1555750 w 1943100"/>
              <a:gd name="connsiteY476" fmla="*/ 1581150 h 2203450"/>
              <a:gd name="connsiteX477" fmla="*/ 1555750 w 1943100"/>
              <a:gd name="connsiteY477" fmla="*/ 1597025 h 2203450"/>
              <a:gd name="connsiteX478" fmla="*/ 1562100 w 1943100"/>
              <a:gd name="connsiteY478" fmla="*/ 1612900 h 2203450"/>
              <a:gd name="connsiteX479" fmla="*/ 1568450 w 1943100"/>
              <a:gd name="connsiteY479" fmla="*/ 1628775 h 2203450"/>
              <a:gd name="connsiteX480" fmla="*/ 1571625 w 1943100"/>
              <a:gd name="connsiteY480" fmla="*/ 1644650 h 2203450"/>
              <a:gd name="connsiteX481" fmla="*/ 1571625 w 1943100"/>
              <a:gd name="connsiteY481" fmla="*/ 1660525 h 2203450"/>
              <a:gd name="connsiteX482" fmla="*/ 1565275 w 1943100"/>
              <a:gd name="connsiteY482" fmla="*/ 1673225 h 2203450"/>
              <a:gd name="connsiteX483" fmla="*/ 1555750 w 1943100"/>
              <a:gd name="connsiteY483" fmla="*/ 1692275 h 2203450"/>
              <a:gd name="connsiteX484" fmla="*/ 1549400 w 1943100"/>
              <a:gd name="connsiteY484" fmla="*/ 1701800 h 2203450"/>
              <a:gd name="connsiteX485" fmla="*/ 1524000 w 1943100"/>
              <a:gd name="connsiteY485" fmla="*/ 1717675 h 2203450"/>
              <a:gd name="connsiteX486" fmla="*/ 1495425 w 1943100"/>
              <a:gd name="connsiteY486" fmla="*/ 1724025 h 2203450"/>
              <a:gd name="connsiteX487" fmla="*/ 1473200 w 1943100"/>
              <a:gd name="connsiteY487" fmla="*/ 1727200 h 2203450"/>
              <a:gd name="connsiteX488" fmla="*/ 1450975 w 1943100"/>
              <a:gd name="connsiteY488" fmla="*/ 1727200 h 2203450"/>
              <a:gd name="connsiteX489" fmla="*/ 1435100 w 1943100"/>
              <a:gd name="connsiteY489" fmla="*/ 1724025 h 2203450"/>
              <a:gd name="connsiteX490" fmla="*/ 1422400 w 1943100"/>
              <a:gd name="connsiteY490" fmla="*/ 1720850 h 2203450"/>
              <a:gd name="connsiteX491" fmla="*/ 1409700 w 1943100"/>
              <a:gd name="connsiteY491" fmla="*/ 1714500 h 2203450"/>
              <a:gd name="connsiteX492" fmla="*/ 1374775 w 1943100"/>
              <a:gd name="connsiteY492" fmla="*/ 1698625 h 2203450"/>
              <a:gd name="connsiteX493" fmla="*/ 1339850 w 1943100"/>
              <a:gd name="connsiteY493" fmla="*/ 1689100 h 2203450"/>
              <a:gd name="connsiteX494" fmla="*/ 1311275 w 1943100"/>
              <a:gd name="connsiteY494" fmla="*/ 1679575 h 2203450"/>
              <a:gd name="connsiteX495" fmla="*/ 1282700 w 1943100"/>
              <a:gd name="connsiteY495" fmla="*/ 1676400 h 2203450"/>
              <a:gd name="connsiteX496" fmla="*/ 1254125 w 1943100"/>
              <a:gd name="connsiteY496" fmla="*/ 1676400 h 2203450"/>
              <a:gd name="connsiteX497" fmla="*/ 1228725 w 1943100"/>
              <a:gd name="connsiteY497" fmla="*/ 1679575 h 2203450"/>
              <a:gd name="connsiteX498" fmla="*/ 1206500 w 1943100"/>
              <a:gd name="connsiteY498" fmla="*/ 1682750 h 2203450"/>
              <a:gd name="connsiteX499" fmla="*/ 1187450 w 1943100"/>
              <a:gd name="connsiteY499" fmla="*/ 1689100 h 2203450"/>
              <a:gd name="connsiteX500" fmla="*/ 1155700 w 1943100"/>
              <a:gd name="connsiteY500" fmla="*/ 1704975 h 2203450"/>
              <a:gd name="connsiteX501" fmla="*/ 1130300 w 1943100"/>
              <a:gd name="connsiteY501" fmla="*/ 1720850 h 2203450"/>
              <a:gd name="connsiteX502" fmla="*/ 1111250 w 1943100"/>
              <a:gd name="connsiteY502" fmla="*/ 1736725 h 2203450"/>
              <a:gd name="connsiteX503" fmla="*/ 1079500 w 1943100"/>
              <a:gd name="connsiteY503" fmla="*/ 1768475 h 2203450"/>
              <a:gd name="connsiteX504" fmla="*/ 1047750 w 1943100"/>
              <a:gd name="connsiteY504" fmla="*/ 1790700 h 2203450"/>
              <a:gd name="connsiteX505" fmla="*/ 1019175 w 1943100"/>
              <a:gd name="connsiteY505" fmla="*/ 1806575 h 2203450"/>
              <a:gd name="connsiteX506" fmla="*/ 993775 w 1943100"/>
              <a:gd name="connsiteY506" fmla="*/ 1816100 h 2203450"/>
              <a:gd name="connsiteX507" fmla="*/ 971550 w 1943100"/>
              <a:gd name="connsiteY507" fmla="*/ 1819275 h 2203450"/>
              <a:gd name="connsiteX508" fmla="*/ 952500 w 1943100"/>
              <a:gd name="connsiteY508" fmla="*/ 1819275 h 2203450"/>
              <a:gd name="connsiteX509" fmla="*/ 939800 w 1943100"/>
              <a:gd name="connsiteY509" fmla="*/ 1819275 h 2203450"/>
              <a:gd name="connsiteX510" fmla="*/ 908050 w 1943100"/>
              <a:gd name="connsiteY510" fmla="*/ 1812925 h 2203450"/>
              <a:gd name="connsiteX511" fmla="*/ 882650 w 1943100"/>
              <a:gd name="connsiteY511" fmla="*/ 1803400 h 2203450"/>
              <a:gd name="connsiteX512" fmla="*/ 863600 w 1943100"/>
              <a:gd name="connsiteY512" fmla="*/ 1787525 h 2203450"/>
              <a:gd name="connsiteX513" fmla="*/ 850900 w 1943100"/>
              <a:gd name="connsiteY513" fmla="*/ 1774825 h 2203450"/>
              <a:gd name="connsiteX514" fmla="*/ 841375 w 1943100"/>
              <a:gd name="connsiteY514" fmla="*/ 1758950 h 2203450"/>
              <a:gd name="connsiteX515" fmla="*/ 835025 w 1943100"/>
              <a:gd name="connsiteY515" fmla="*/ 1746250 h 2203450"/>
              <a:gd name="connsiteX516" fmla="*/ 831850 w 1943100"/>
              <a:gd name="connsiteY516" fmla="*/ 1736725 h 2203450"/>
              <a:gd name="connsiteX517" fmla="*/ 825500 w 1943100"/>
              <a:gd name="connsiteY517" fmla="*/ 1708150 h 2203450"/>
              <a:gd name="connsiteX518" fmla="*/ 812800 w 1943100"/>
              <a:gd name="connsiteY518" fmla="*/ 1685925 h 2203450"/>
              <a:gd name="connsiteX519" fmla="*/ 800100 w 1943100"/>
              <a:gd name="connsiteY519" fmla="*/ 1670050 h 2203450"/>
              <a:gd name="connsiteX520" fmla="*/ 784225 w 1943100"/>
              <a:gd name="connsiteY520" fmla="*/ 1660525 h 2203450"/>
              <a:gd name="connsiteX521" fmla="*/ 768350 w 1943100"/>
              <a:gd name="connsiteY521" fmla="*/ 1654175 h 2203450"/>
              <a:gd name="connsiteX522" fmla="*/ 755650 w 1943100"/>
              <a:gd name="connsiteY522" fmla="*/ 1651000 h 2203450"/>
              <a:gd name="connsiteX523" fmla="*/ 742950 w 1943100"/>
              <a:gd name="connsiteY523" fmla="*/ 1651000 h 2203450"/>
              <a:gd name="connsiteX524" fmla="*/ 717550 w 1943100"/>
              <a:gd name="connsiteY524" fmla="*/ 1651000 h 2203450"/>
              <a:gd name="connsiteX525" fmla="*/ 698500 w 1943100"/>
              <a:gd name="connsiteY525" fmla="*/ 1644650 h 2203450"/>
              <a:gd name="connsiteX526" fmla="*/ 679450 w 1943100"/>
              <a:gd name="connsiteY526" fmla="*/ 1635125 h 2203450"/>
              <a:gd name="connsiteX527" fmla="*/ 663575 w 1943100"/>
              <a:gd name="connsiteY527" fmla="*/ 1625600 h 2203450"/>
              <a:gd name="connsiteX528" fmla="*/ 654050 w 1943100"/>
              <a:gd name="connsiteY528" fmla="*/ 1612900 h 2203450"/>
              <a:gd name="connsiteX529" fmla="*/ 644525 w 1943100"/>
              <a:gd name="connsiteY529" fmla="*/ 1603375 h 2203450"/>
              <a:gd name="connsiteX530" fmla="*/ 638175 w 1943100"/>
              <a:gd name="connsiteY530" fmla="*/ 1593850 h 2203450"/>
              <a:gd name="connsiteX531" fmla="*/ 628650 w 1943100"/>
              <a:gd name="connsiteY531" fmla="*/ 1577975 h 2203450"/>
              <a:gd name="connsiteX532" fmla="*/ 615950 w 1943100"/>
              <a:gd name="connsiteY532" fmla="*/ 1568450 h 2203450"/>
              <a:gd name="connsiteX533" fmla="*/ 600075 w 1943100"/>
              <a:gd name="connsiteY533" fmla="*/ 1558925 h 2203450"/>
              <a:gd name="connsiteX534" fmla="*/ 587375 w 1943100"/>
              <a:gd name="connsiteY534" fmla="*/ 1552575 h 2203450"/>
              <a:gd name="connsiteX535" fmla="*/ 571500 w 1943100"/>
              <a:gd name="connsiteY535" fmla="*/ 1549400 h 2203450"/>
              <a:gd name="connsiteX536" fmla="*/ 555625 w 1943100"/>
              <a:gd name="connsiteY536" fmla="*/ 1546225 h 2203450"/>
              <a:gd name="connsiteX537" fmla="*/ 523875 w 1943100"/>
              <a:gd name="connsiteY537" fmla="*/ 1546225 h 2203450"/>
              <a:gd name="connsiteX538" fmla="*/ 495300 w 1943100"/>
              <a:gd name="connsiteY538" fmla="*/ 1552575 h 2203450"/>
              <a:gd name="connsiteX539" fmla="*/ 469900 w 1943100"/>
              <a:gd name="connsiteY539" fmla="*/ 1558925 h 2203450"/>
              <a:gd name="connsiteX540" fmla="*/ 447675 w 1943100"/>
              <a:gd name="connsiteY540" fmla="*/ 1568450 h 2203450"/>
              <a:gd name="connsiteX541" fmla="*/ 406400 w 1943100"/>
              <a:gd name="connsiteY541" fmla="*/ 1581150 h 2203450"/>
              <a:gd name="connsiteX542" fmla="*/ 368300 w 1943100"/>
              <a:gd name="connsiteY542" fmla="*/ 1587500 h 2203450"/>
              <a:gd name="connsiteX543" fmla="*/ 333375 w 1943100"/>
              <a:gd name="connsiteY543" fmla="*/ 1590675 h 2203450"/>
              <a:gd name="connsiteX544" fmla="*/ 304800 w 1943100"/>
              <a:gd name="connsiteY544" fmla="*/ 1593850 h 2203450"/>
              <a:gd name="connsiteX545" fmla="*/ 279400 w 1943100"/>
              <a:gd name="connsiteY545" fmla="*/ 1593850 h 2203450"/>
              <a:gd name="connsiteX546" fmla="*/ 254000 w 1943100"/>
              <a:gd name="connsiteY546" fmla="*/ 1590675 h 2203450"/>
              <a:gd name="connsiteX547" fmla="*/ 234950 w 1943100"/>
              <a:gd name="connsiteY547" fmla="*/ 1584325 h 2203450"/>
              <a:gd name="connsiteX548" fmla="*/ 219075 w 1943100"/>
              <a:gd name="connsiteY548" fmla="*/ 1581150 h 2203450"/>
              <a:gd name="connsiteX549" fmla="*/ 193675 w 1943100"/>
              <a:gd name="connsiteY549" fmla="*/ 1565275 h 2203450"/>
              <a:gd name="connsiteX550" fmla="*/ 180975 w 1943100"/>
              <a:gd name="connsiteY550" fmla="*/ 1552575 h 2203450"/>
              <a:gd name="connsiteX551" fmla="*/ 171450 w 1943100"/>
              <a:gd name="connsiteY551" fmla="*/ 1543050 h 2203450"/>
              <a:gd name="connsiteX552" fmla="*/ 168275 w 1943100"/>
              <a:gd name="connsiteY552" fmla="*/ 1536700 h 2203450"/>
              <a:gd name="connsiteX553" fmla="*/ 161925 w 1943100"/>
              <a:gd name="connsiteY553" fmla="*/ 1517650 h 2203450"/>
              <a:gd name="connsiteX554" fmla="*/ 155575 w 1943100"/>
              <a:gd name="connsiteY554" fmla="*/ 1495425 h 2203450"/>
              <a:gd name="connsiteX555" fmla="*/ 152400 w 1943100"/>
              <a:gd name="connsiteY555" fmla="*/ 1476375 h 2203450"/>
              <a:gd name="connsiteX556" fmla="*/ 152400 w 1943100"/>
              <a:gd name="connsiteY556" fmla="*/ 1457325 h 2203450"/>
              <a:gd name="connsiteX557" fmla="*/ 155575 w 1943100"/>
              <a:gd name="connsiteY557" fmla="*/ 1422400 h 2203450"/>
              <a:gd name="connsiteX558" fmla="*/ 165100 w 1943100"/>
              <a:gd name="connsiteY558" fmla="*/ 1390650 h 2203450"/>
              <a:gd name="connsiteX559" fmla="*/ 180975 w 1943100"/>
              <a:gd name="connsiteY559" fmla="*/ 1358900 h 2203450"/>
              <a:gd name="connsiteX560" fmla="*/ 200025 w 1943100"/>
              <a:gd name="connsiteY560" fmla="*/ 1333500 h 2203450"/>
              <a:gd name="connsiteX561" fmla="*/ 225425 w 1943100"/>
              <a:gd name="connsiteY561" fmla="*/ 1308100 h 2203450"/>
              <a:gd name="connsiteX562" fmla="*/ 250825 w 1943100"/>
              <a:gd name="connsiteY562" fmla="*/ 1289050 h 2203450"/>
              <a:gd name="connsiteX563" fmla="*/ 276225 w 1943100"/>
              <a:gd name="connsiteY563" fmla="*/ 1270000 h 2203450"/>
              <a:gd name="connsiteX564" fmla="*/ 304800 w 1943100"/>
              <a:gd name="connsiteY564" fmla="*/ 1254125 h 2203450"/>
              <a:gd name="connsiteX565" fmla="*/ 352425 w 1943100"/>
              <a:gd name="connsiteY565" fmla="*/ 1228725 h 2203450"/>
              <a:gd name="connsiteX566" fmla="*/ 387350 w 1943100"/>
              <a:gd name="connsiteY566" fmla="*/ 1212850 h 2203450"/>
              <a:gd name="connsiteX567" fmla="*/ 403225 w 1943100"/>
              <a:gd name="connsiteY567" fmla="*/ 1209675 h 2203450"/>
              <a:gd name="connsiteX568" fmla="*/ 441325 w 1943100"/>
              <a:gd name="connsiteY568" fmla="*/ 1193800 h 2203450"/>
              <a:gd name="connsiteX569" fmla="*/ 473075 w 1943100"/>
              <a:gd name="connsiteY569" fmla="*/ 1177925 h 2203450"/>
              <a:gd name="connsiteX570" fmla="*/ 495300 w 1943100"/>
              <a:gd name="connsiteY570" fmla="*/ 1158875 h 2203450"/>
              <a:gd name="connsiteX571" fmla="*/ 511175 w 1943100"/>
              <a:gd name="connsiteY571" fmla="*/ 1143000 h 2203450"/>
              <a:gd name="connsiteX572" fmla="*/ 523875 w 1943100"/>
              <a:gd name="connsiteY572" fmla="*/ 1123950 h 2203450"/>
              <a:gd name="connsiteX573" fmla="*/ 530225 w 1943100"/>
              <a:gd name="connsiteY573" fmla="*/ 1111250 h 2203450"/>
              <a:gd name="connsiteX574" fmla="*/ 533400 w 1943100"/>
              <a:gd name="connsiteY574" fmla="*/ 1101725 h 2203450"/>
              <a:gd name="connsiteX575" fmla="*/ 533400 w 1943100"/>
              <a:gd name="connsiteY575" fmla="*/ 1076325 h 2203450"/>
              <a:gd name="connsiteX576" fmla="*/ 527050 w 1943100"/>
              <a:gd name="connsiteY576" fmla="*/ 1060450 h 2203450"/>
              <a:gd name="connsiteX577" fmla="*/ 517525 w 1943100"/>
              <a:gd name="connsiteY577" fmla="*/ 1044575 h 2203450"/>
              <a:gd name="connsiteX578" fmla="*/ 508000 w 1943100"/>
              <a:gd name="connsiteY578" fmla="*/ 1035050 h 2203450"/>
              <a:gd name="connsiteX579" fmla="*/ 498475 w 1943100"/>
              <a:gd name="connsiteY579" fmla="*/ 1028700 h 2203450"/>
              <a:gd name="connsiteX580" fmla="*/ 492125 w 1943100"/>
              <a:gd name="connsiteY580" fmla="*/ 1022350 h 2203450"/>
              <a:gd name="connsiteX581" fmla="*/ 482600 w 1943100"/>
              <a:gd name="connsiteY581" fmla="*/ 1019175 h 2203450"/>
              <a:gd name="connsiteX582" fmla="*/ 454025 w 1943100"/>
              <a:gd name="connsiteY582" fmla="*/ 1012825 h 2203450"/>
              <a:gd name="connsiteX583" fmla="*/ 428625 w 1943100"/>
              <a:gd name="connsiteY583" fmla="*/ 1003300 h 2203450"/>
              <a:gd name="connsiteX584" fmla="*/ 406400 w 1943100"/>
              <a:gd name="connsiteY584" fmla="*/ 993775 h 2203450"/>
              <a:gd name="connsiteX585" fmla="*/ 387350 w 1943100"/>
              <a:gd name="connsiteY585" fmla="*/ 984250 h 2203450"/>
              <a:gd name="connsiteX586" fmla="*/ 358775 w 1943100"/>
              <a:gd name="connsiteY586" fmla="*/ 962025 h 2203450"/>
              <a:gd name="connsiteX587" fmla="*/ 339725 w 1943100"/>
              <a:gd name="connsiteY587" fmla="*/ 939800 h 2203450"/>
              <a:gd name="connsiteX588" fmla="*/ 327025 w 1943100"/>
              <a:gd name="connsiteY588" fmla="*/ 920750 h 2203450"/>
              <a:gd name="connsiteX589" fmla="*/ 320675 w 1943100"/>
              <a:gd name="connsiteY589" fmla="*/ 908050 h 2203450"/>
              <a:gd name="connsiteX590" fmla="*/ 320675 w 1943100"/>
              <a:gd name="connsiteY590" fmla="*/ 892175 h 2203450"/>
              <a:gd name="connsiteX591" fmla="*/ 323850 w 1943100"/>
              <a:gd name="connsiteY591" fmla="*/ 876300 h 2203450"/>
              <a:gd name="connsiteX592" fmla="*/ 333375 w 1943100"/>
              <a:gd name="connsiteY592" fmla="*/ 860425 h 2203450"/>
              <a:gd name="connsiteX593" fmla="*/ 342900 w 1943100"/>
              <a:gd name="connsiteY593" fmla="*/ 847725 h 2203450"/>
              <a:gd name="connsiteX594" fmla="*/ 358775 w 1943100"/>
              <a:gd name="connsiteY594" fmla="*/ 835025 h 2203450"/>
              <a:gd name="connsiteX595" fmla="*/ 377825 w 1943100"/>
              <a:gd name="connsiteY595" fmla="*/ 825500 h 2203450"/>
              <a:gd name="connsiteX596" fmla="*/ 396875 w 1943100"/>
              <a:gd name="connsiteY596" fmla="*/ 819150 h 2203450"/>
              <a:gd name="connsiteX597" fmla="*/ 438150 w 1943100"/>
              <a:gd name="connsiteY597" fmla="*/ 809625 h 2203450"/>
              <a:gd name="connsiteX598" fmla="*/ 482600 w 1943100"/>
              <a:gd name="connsiteY598" fmla="*/ 803275 h 2203450"/>
              <a:gd name="connsiteX599" fmla="*/ 517525 w 1943100"/>
              <a:gd name="connsiteY599" fmla="*/ 800100 h 2203450"/>
              <a:gd name="connsiteX600" fmla="*/ 555625 w 1943100"/>
              <a:gd name="connsiteY600" fmla="*/ 800100 h 2203450"/>
              <a:gd name="connsiteX601" fmla="*/ 581025 w 1943100"/>
              <a:gd name="connsiteY601" fmla="*/ 800100 h 2203450"/>
              <a:gd name="connsiteX602" fmla="*/ 606425 w 1943100"/>
              <a:gd name="connsiteY602" fmla="*/ 796925 h 2203450"/>
              <a:gd name="connsiteX603" fmla="*/ 650875 w 1943100"/>
              <a:gd name="connsiteY603" fmla="*/ 787400 h 2203450"/>
              <a:gd name="connsiteX604" fmla="*/ 682625 w 1943100"/>
              <a:gd name="connsiteY604" fmla="*/ 774700 h 2203450"/>
              <a:gd name="connsiteX605" fmla="*/ 704850 w 1943100"/>
              <a:gd name="connsiteY605" fmla="*/ 758825 h 2203450"/>
              <a:gd name="connsiteX606" fmla="*/ 720725 w 1943100"/>
              <a:gd name="connsiteY606" fmla="*/ 742950 h 2203450"/>
              <a:gd name="connsiteX607" fmla="*/ 730250 w 1943100"/>
              <a:gd name="connsiteY607" fmla="*/ 730250 h 2203450"/>
              <a:gd name="connsiteX608" fmla="*/ 736600 w 1943100"/>
              <a:gd name="connsiteY608" fmla="*/ 717550 h 2203450"/>
              <a:gd name="connsiteX609" fmla="*/ 742950 w 1943100"/>
              <a:gd name="connsiteY609" fmla="*/ 688975 h 2203450"/>
              <a:gd name="connsiteX610" fmla="*/ 742950 w 1943100"/>
              <a:gd name="connsiteY610" fmla="*/ 666750 h 2203450"/>
              <a:gd name="connsiteX611" fmla="*/ 739775 w 1943100"/>
              <a:gd name="connsiteY611" fmla="*/ 647700 h 2203450"/>
              <a:gd name="connsiteX612" fmla="*/ 733425 w 1943100"/>
              <a:gd name="connsiteY612" fmla="*/ 631825 h 2203450"/>
              <a:gd name="connsiteX613" fmla="*/ 727075 w 1943100"/>
              <a:gd name="connsiteY613" fmla="*/ 619125 h 2203450"/>
              <a:gd name="connsiteX614" fmla="*/ 717550 w 1943100"/>
              <a:gd name="connsiteY614" fmla="*/ 609600 h 2203450"/>
              <a:gd name="connsiteX615" fmla="*/ 711200 w 1943100"/>
              <a:gd name="connsiteY615" fmla="*/ 603250 h 2203450"/>
              <a:gd name="connsiteX616" fmla="*/ 685800 w 1943100"/>
              <a:gd name="connsiteY616" fmla="*/ 574675 h 2203450"/>
              <a:gd name="connsiteX617" fmla="*/ 666750 w 1943100"/>
              <a:gd name="connsiteY617" fmla="*/ 549275 h 2203450"/>
              <a:gd name="connsiteX618" fmla="*/ 657225 w 1943100"/>
              <a:gd name="connsiteY618" fmla="*/ 527050 h 2203450"/>
              <a:gd name="connsiteX619" fmla="*/ 654050 w 1943100"/>
              <a:gd name="connsiteY619" fmla="*/ 504825 h 2203450"/>
              <a:gd name="connsiteX620" fmla="*/ 650875 w 1943100"/>
              <a:gd name="connsiteY620" fmla="*/ 485775 h 2203450"/>
              <a:gd name="connsiteX621" fmla="*/ 654050 w 1943100"/>
              <a:gd name="connsiteY621" fmla="*/ 469900 h 2203450"/>
              <a:gd name="connsiteX622" fmla="*/ 657225 w 1943100"/>
              <a:gd name="connsiteY622" fmla="*/ 457200 h 2203450"/>
              <a:gd name="connsiteX623" fmla="*/ 663575 w 1943100"/>
              <a:gd name="connsiteY623" fmla="*/ 441325 h 2203450"/>
              <a:gd name="connsiteX624" fmla="*/ 673100 w 1943100"/>
              <a:gd name="connsiteY624" fmla="*/ 428625 h 2203450"/>
              <a:gd name="connsiteX625" fmla="*/ 682625 w 1943100"/>
              <a:gd name="connsiteY625" fmla="*/ 419100 h 2203450"/>
              <a:gd name="connsiteX626" fmla="*/ 692150 w 1943100"/>
              <a:gd name="connsiteY626" fmla="*/ 409575 h 2203450"/>
              <a:gd name="connsiteX627" fmla="*/ 704850 w 1943100"/>
              <a:gd name="connsiteY627" fmla="*/ 406400 h 2203450"/>
              <a:gd name="connsiteX628" fmla="*/ 717550 w 1943100"/>
              <a:gd name="connsiteY628" fmla="*/ 403225 h 2203450"/>
              <a:gd name="connsiteX629" fmla="*/ 746125 w 1943100"/>
              <a:gd name="connsiteY629" fmla="*/ 400050 h 2203450"/>
              <a:gd name="connsiteX630" fmla="*/ 768350 w 1943100"/>
              <a:gd name="connsiteY630" fmla="*/ 403225 h 2203450"/>
              <a:gd name="connsiteX631" fmla="*/ 790575 w 1943100"/>
              <a:gd name="connsiteY631" fmla="*/ 409575 h 2203450"/>
              <a:gd name="connsiteX632" fmla="*/ 809625 w 1943100"/>
              <a:gd name="connsiteY632" fmla="*/ 415925 h 2203450"/>
              <a:gd name="connsiteX633" fmla="*/ 828675 w 1943100"/>
              <a:gd name="connsiteY633" fmla="*/ 419100 h 2203450"/>
              <a:gd name="connsiteX634" fmla="*/ 847725 w 1943100"/>
              <a:gd name="connsiteY634" fmla="*/ 422275 h 2203450"/>
              <a:gd name="connsiteX635" fmla="*/ 866775 w 1943100"/>
              <a:gd name="connsiteY635" fmla="*/ 419100 h 2203450"/>
              <a:gd name="connsiteX636" fmla="*/ 882650 w 1943100"/>
              <a:gd name="connsiteY636" fmla="*/ 412750 h 2203450"/>
              <a:gd name="connsiteX637" fmla="*/ 898525 w 1943100"/>
              <a:gd name="connsiteY637" fmla="*/ 406400 h 2203450"/>
              <a:gd name="connsiteX638" fmla="*/ 914400 w 1943100"/>
              <a:gd name="connsiteY638" fmla="*/ 400050 h 2203450"/>
              <a:gd name="connsiteX639" fmla="*/ 939800 w 1943100"/>
              <a:gd name="connsiteY639" fmla="*/ 377825 h 2203450"/>
              <a:gd name="connsiteX640" fmla="*/ 958850 w 1943100"/>
              <a:gd name="connsiteY640" fmla="*/ 355600 h 2203450"/>
              <a:gd name="connsiteX641" fmla="*/ 974725 w 1943100"/>
              <a:gd name="connsiteY641" fmla="*/ 336550 h 2203450"/>
              <a:gd name="connsiteX642" fmla="*/ 987425 w 1943100"/>
              <a:gd name="connsiteY642" fmla="*/ 317500 h 2203450"/>
              <a:gd name="connsiteX643" fmla="*/ 1019175 w 1943100"/>
              <a:gd name="connsiteY643" fmla="*/ 254000 h 2203450"/>
              <a:gd name="connsiteX644" fmla="*/ 1054100 w 1943100"/>
              <a:gd name="connsiteY644" fmla="*/ 203200 h 2203450"/>
              <a:gd name="connsiteX645" fmla="*/ 1085850 w 1943100"/>
              <a:gd name="connsiteY645" fmla="*/ 165100 h 2203450"/>
              <a:gd name="connsiteX646" fmla="*/ 1120775 w 1943100"/>
              <a:gd name="connsiteY646" fmla="*/ 136525 h 2203450"/>
              <a:gd name="connsiteX647" fmla="*/ 1152525 w 1943100"/>
              <a:gd name="connsiteY647" fmla="*/ 117475 h 2203450"/>
              <a:gd name="connsiteX648" fmla="*/ 1184275 w 1943100"/>
              <a:gd name="connsiteY648" fmla="*/ 104775 h 2203450"/>
              <a:gd name="connsiteX649" fmla="*/ 958850 w 1943100"/>
              <a:gd name="connsiteY649" fmla="*/ 0 h 2203450"/>
              <a:gd name="connsiteX650" fmla="*/ 981075 w 1943100"/>
              <a:gd name="connsiteY650" fmla="*/ 3175 h 2203450"/>
              <a:gd name="connsiteX651" fmla="*/ 1000125 w 1943100"/>
              <a:gd name="connsiteY651" fmla="*/ 12700 h 2203450"/>
              <a:gd name="connsiteX652" fmla="*/ 1012825 w 1943100"/>
              <a:gd name="connsiteY652" fmla="*/ 25400 h 2203450"/>
              <a:gd name="connsiteX653" fmla="*/ 1022350 w 1943100"/>
              <a:gd name="connsiteY653" fmla="*/ 44450 h 2203450"/>
              <a:gd name="connsiteX654" fmla="*/ 1028700 w 1943100"/>
              <a:gd name="connsiteY654" fmla="*/ 63500 h 2203450"/>
              <a:gd name="connsiteX655" fmla="*/ 1028700 w 1943100"/>
              <a:gd name="connsiteY655" fmla="*/ 88900 h 2203450"/>
              <a:gd name="connsiteX656" fmla="*/ 1025525 w 1943100"/>
              <a:gd name="connsiteY656" fmla="*/ 114300 h 2203450"/>
              <a:gd name="connsiteX657" fmla="*/ 1016000 w 1943100"/>
              <a:gd name="connsiteY657" fmla="*/ 142875 h 2203450"/>
              <a:gd name="connsiteX658" fmla="*/ 1003300 w 1943100"/>
              <a:gd name="connsiteY658" fmla="*/ 171450 h 2203450"/>
              <a:gd name="connsiteX659" fmla="*/ 984250 w 1943100"/>
              <a:gd name="connsiteY659" fmla="*/ 196850 h 2203450"/>
              <a:gd name="connsiteX660" fmla="*/ 965200 w 1943100"/>
              <a:gd name="connsiteY660" fmla="*/ 222250 h 2203450"/>
              <a:gd name="connsiteX661" fmla="*/ 939800 w 1943100"/>
              <a:gd name="connsiteY661" fmla="*/ 244475 h 2203450"/>
              <a:gd name="connsiteX662" fmla="*/ 917575 w 1943100"/>
              <a:gd name="connsiteY662" fmla="*/ 263525 h 2203450"/>
              <a:gd name="connsiteX663" fmla="*/ 892175 w 1943100"/>
              <a:gd name="connsiteY663" fmla="*/ 276225 h 2203450"/>
              <a:gd name="connsiteX664" fmla="*/ 866775 w 1943100"/>
              <a:gd name="connsiteY664" fmla="*/ 282575 h 2203450"/>
              <a:gd name="connsiteX665" fmla="*/ 844550 w 1943100"/>
              <a:gd name="connsiteY665" fmla="*/ 285750 h 2203450"/>
              <a:gd name="connsiteX666" fmla="*/ 822325 w 1943100"/>
              <a:gd name="connsiteY666" fmla="*/ 282575 h 2203450"/>
              <a:gd name="connsiteX667" fmla="*/ 806450 w 1943100"/>
              <a:gd name="connsiteY667" fmla="*/ 273050 h 2203450"/>
              <a:gd name="connsiteX668" fmla="*/ 790575 w 1943100"/>
              <a:gd name="connsiteY668" fmla="*/ 260350 h 2203450"/>
              <a:gd name="connsiteX669" fmla="*/ 781050 w 1943100"/>
              <a:gd name="connsiteY669" fmla="*/ 241300 h 2203450"/>
              <a:gd name="connsiteX670" fmla="*/ 774700 w 1943100"/>
              <a:gd name="connsiteY670" fmla="*/ 222250 h 2203450"/>
              <a:gd name="connsiteX671" fmla="*/ 774700 w 1943100"/>
              <a:gd name="connsiteY671" fmla="*/ 196850 h 2203450"/>
              <a:gd name="connsiteX672" fmla="*/ 777875 w 1943100"/>
              <a:gd name="connsiteY672" fmla="*/ 171450 h 2203450"/>
              <a:gd name="connsiteX673" fmla="*/ 787400 w 1943100"/>
              <a:gd name="connsiteY673" fmla="*/ 142875 h 2203450"/>
              <a:gd name="connsiteX674" fmla="*/ 800100 w 1943100"/>
              <a:gd name="connsiteY674" fmla="*/ 114300 h 2203450"/>
              <a:gd name="connsiteX675" fmla="*/ 819150 w 1943100"/>
              <a:gd name="connsiteY675" fmla="*/ 88900 h 2203450"/>
              <a:gd name="connsiteX676" fmla="*/ 841375 w 1943100"/>
              <a:gd name="connsiteY676" fmla="*/ 63500 h 2203450"/>
              <a:gd name="connsiteX677" fmla="*/ 863600 w 1943100"/>
              <a:gd name="connsiteY677" fmla="*/ 41275 h 2203450"/>
              <a:gd name="connsiteX678" fmla="*/ 889000 w 1943100"/>
              <a:gd name="connsiteY678" fmla="*/ 22225 h 2203450"/>
              <a:gd name="connsiteX679" fmla="*/ 911225 w 1943100"/>
              <a:gd name="connsiteY679" fmla="*/ 9525 h 2203450"/>
              <a:gd name="connsiteX680" fmla="*/ 936625 w 1943100"/>
              <a:gd name="connsiteY680" fmla="*/ 3175 h 220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Lst>
            <a:rect l="l" t="t" r="r" b="b"/>
            <a:pathLst>
              <a:path w="1943100" h="2203450">
                <a:moveTo>
                  <a:pt x="1273175" y="1971675"/>
                </a:moveTo>
                <a:lnTo>
                  <a:pt x="1298575" y="1974850"/>
                </a:lnTo>
                <a:lnTo>
                  <a:pt x="1323975" y="1981200"/>
                </a:lnTo>
                <a:lnTo>
                  <a:pt x="1346200" y="1990725"/>
                </a:lnTo>
                <a:lnTo>
                  <a:pt x="1365250" y="2006600"/>
                </a:lnTo>
                <a:lnTo>
                  <a:pt x="1381125" y="2022475"/>
                </a:lnTo>
                <a:lnTo>
                  <a:pt x="1393825" y="2041525"/>
                </a:lnTo>
                <a:lnTo>
                  <a:pt x="1400175" y="2063750"/>
                </a:lnTo>
                <a:lnTo>
                  <a:pt x="1403350" y="2089150"/>
                </a:lnTo>
                <a:lnTo>
                  <a:pt x="1400175" y="2111375"/>
                </a:lnTo>
                <a:lnTo>
                  <a:pt x="1393825" y="2133600"/>
                </a:lnTo>
                <a:lnTo>
                  <a:pt x="1381125" y="2152650"/>
                </a:lnTo>
                <a:lnTo>
                  <a:pt x="1365250" y="2168525"/>
                </a:lnTo>
                <a:lnTo>
                  <a:pt x="1346200" y="2184400"/>
                </a:lnTo>
                <a:lnTo>
                  <a:pt x="1323975" y="2193925"/>
                </a:lnTo>
                <a:lnTo>
                  <a:pt x="1298575" y="2200275"/>
                </a:lnTo>
                <a:lnTo>
                  <a:pt x="1273175" y="2203450"/>
                </a:lnTo>
                <a:lnTo>
                  <a:pt x="1244600" y="2200275"/>
                </a:lnTo>
                <a:lnTo>
                  <a:pt x="1222375" y="2193925"/>
                </a:lnTo>
                <a:lnTo>
                  <a:pt x="1200150" y="2184400"/>
                </a:lnTo>
                <a:lnTo>
                  <a:pt x="1177925" y="2168525"/>
                </a:lnTo>
                <a:lnTo>
                  <a:pt x="1162050" y="2152650"/>
                </a:lnTo>
                <a:lnTo>
                  <a:pt x="1152525" y="2133600"/>
                </a:lnTo>
                <a:lnTo>
                  <a:pt x="1143000" y="2111375"/>
                </a:lnTo>
                <a:lnTo>
                  <a:pt x="1139825" y="2089150"/>
                </a:lnTo>
                <a:lnTo>
                  <a:pt x="1143000" y="2063750"/>
                </a:lnTo>
                <a:lnTo>
                  <a:pt x="1152525" y="2041525"/>
                </a:lnTo>
                <a:lnTo>
                  <a:pt x="1162050" y="2022475"/>
                </a:lnTo>
                <a:lnTo>
                  <a:pt x="1177925" y="2006600"/>
                </a:lnTo>
                <a:lnTo>
                  <a:pt x="1200150" y="1990725"/>
                </a:lnTo>
                <a:lnTo>
                  <a:pt x="1222375" y="1981200"/>
                </a:lnTo>
                <a:lnTo>
                  <a:pt x="1244600" y="1974850"/>
                </a:lnTo>
                <a:close/>
                <a:moveTo>
                  <a:pt x="1498600" y="1819275"/>
                </a:moveTo>
                <a:lnTo>
                  <a:pt x="1530350" y="1822450"/>
                </a:lnTo>
                <a:lnTo>
                  <a:pt x="1562100" y="1825625"/>
                </a:lnTo>
                <a:lnTo>
                  <a:pt x="1587500" y="1831975"/>
                </a:lnTo>
                <a:lnTo>
                  <a:pt x="1612900" y="1841500"/>
                </a:lnTo>
                <a:lnTo>
                  <a:pt x="1631950" y="1854200"/>
                </a:lnTo>
                <a:lnTo>
                  <a:pt x="1647825" y="1866900"/>
                </a:lnTo>
                <a:lnTo>
                  <a:pt x="1657350" y="1879600"/>
                </a:lnTo>
                <a:lnTo>
                  <a:pt x="1660525" y="1895475"/>
                </a:lnTo>
                <a:lnTo>
                  <a:pt x="1657350" y="1911350"/>
                </a:lnTo>
                <a:lnTo>
                  <a:pt x="1647825" y="1924050"/>
                </a:lnTo>
                <a:lnTo>
                  <a:pt x="1631950" y="1939925"/>
                </a:lnTo>
                <a:lnTo>
                  <a:pt x="1612900" y="1949450"/>
                </a:lnTo>
                <a:lnTo>
                  <a:pt x="1587500" y="1958975"/>
                </a:lnTo>
                <a:lnTo>
                  <a:pt x="1562100" y="1965325"/>
                </a:lnTo>
                <a:lnTo>
                  <a:pt x="1530350" y="1971675"/>
                </a:lnTo>
                <a:lnTo>
                  <a:pt x="1498600" y="1971675"/>
                </a:lnTo>
                <a:lnTo>
                  <a:pt x="1466850" y="1971675"/>
                </a:lnTo>
                <a:lnTo>
                  <a:pt x="1435100" y="1965325"/>
                </a:lnTo>
                <a:lnTo>
                  <a:pt x="1409700" y="1958975"/>
                </a:lnTo>
                <a:lnTo>
                  <a:pt x="1384300" y="1949450"/>
                </a:lnTo>
                <a:lnTo>
                  <a:pt x="1365250" y="1939925"/>
                </a:lnTo>
                <a:lnTo>
                  <a:pt x="1349375" y="1924050"/>
                </a:lnTo>
                <a:lnTo>
                  <a:pt x="1339850" y="1911350"/>
                </a:lnTo>
                <a:lnTo>
                  <a:pt x="1336675" y="1895475"/>
                </a:lnTo>
                <a:lnTo>
                  <a:pt x="1339850" y="1879600"/>
                </a:lnTo>
                <a:lnTo>
                  <a:pt x="1349375" y="1866900"/>
                </a:lnTo>
                <a:lnTo>
                  <a:pt x="1365250" y="1854200"/>
                </a:lnTo>
                <a:lnTo>
                  <a:pt x="1384300" y="1841500"/>
                </a:lnTo>
                <a:lnTo>
                  <a:pt x="1409700" y="1831975"/>
                </a:lnTo>
                <a:lnTo>
                  <a:pt x="1435100" y="1825625"/>
                </a:lnTo>
                <a:lnTo>
                  <a:pt x="1466850" y="1822450"/>
                </a:lnTo>
                <a:close/>
                <a:moveTo>
                  <a:pt x="752475" y="1781175"/>
                </a:moveTo>
                <a:lnTo>
                  <a:pt x="762000" y="1784350"/>
                </a:lnTo>
                <a:lnTo>
                  <a:pt x="768350" y="1787525"/>
                </a:lnTo>
                <a:lnTo>
                  <a:pt x="777875" y="1790700"/>
                </a:lnTo>
                <a:lnTo>
                  <a:pt x="784225" y="1800225"/>
                </a:lnTo>
                <a:lnTo>
                  <a:pt x="793750" y="1816100"/>
                </a:lnTo>
                <a:lnTo>
                  <a:pt x="796925" y="1838325"/>
                </a:lnTo>
                <a:lnTo>
                  <a:pt x="793750" y="1860550"/>
                </a:lnTo>
                <a:lnTo>
                  <a:pt x="784225" y="1879600"/>
                </a:lnTo>
                <a:lnTo>
                  <a:pt x="777875" y="1885950"/>
                </a:lnTo>
                <a:lnTo>
                  <a:pt x="768350" y="1889125"/>
                </a:lnTo>
                <a:lnTo>
                  <a:pt x="762000" y="1892300"/>
                </a:lnTo>
                <a:lnTo>
                  <a:pt x="752475" y="1895475"/>
                </a:lnTo>
                <a:lnTo>
                  <a:pt x="742950" y="1892300"/>
                </a:lnTo>
                <a:lnTo>
                  <a:pt x="736600" y="1889125"/>
                </a:lnTo>
                <a:lnTo>
                  <a:pt x="727075" y="1885950"/>
                </a:lnTo>
                <a:lnTo>
                  <a:pt x="720725" y="1879600"/>
                </a:lnTo>
                <a:lnTo>
                  <a:pt x="711200" y="1860550"/>
                </a:lnTo>
                <a:lnTo>
                  <a:pt x="708025" y="1838325"/>
                </a:lnTo>
                <a:lnTo>
                  <a:pt x="711200" y="1816100"/>
                </a:lnTo>
                <a:lnTo>
                  <a:pt x="720725" y="1800225"/>
                </a:lnTo>
                <a:lnTo>
                  <a:pt x="727075" y="1790700"/>
                </a:lnTo>
                <a:lnTo>
                  <a:pt x="736600" y="1787525"/>
                </a:lnTo>
                <a:lnTo>
                  <a:pt x="742950" y="1784350"/>
                </a:lnTo>
                <a:close/>
                <a:moveTo>
                  <a:pt x="492125" y="1670050"/>
                </a:moveTo>
                <a:lnTo>
                  <a:pt x="520700" y="1673225"/>
                </a:lnTo>
                <a:lnTo>
                  <a:pt x="546100" y="1679575"/>
                </a:lnTo>
                <a:lnTo>
                  <a:pt x="568325" y="1689100"/>
                </a:lnTo>
                <a:lnTo>
                  <a:pt x="590550" y="1704975"/>
                </a:lnTo>
                <a:lnTo>
                  <a:pt x="606425" y="1720850"/>
                </a:lnTo>
                <a:lnTo>
                  <a:pt x="619125" y="1739900"/>
                </a:lnTo>
                <a:lnTo>
                  <a:pt x="628650" y="1758950"/>
                </a:lnTo>
                <a:lnTo>
                  <a:pt x="631825" y="1781175"/>
                </a:lnTo>
                <a:lnTo>
                  <a:pt x="628650" y="1806575"/>
                </a:lnTo>
                <a:lnTo>
                  <a:pt x="619125" y="1825625"/>
                </a:lnTo>
                <a:lnTo>
                  <a:pt x="606425" y="1844675"/>
                </a:lnTo>
                <a:lnTo>
                  <a:pt x="590550" y="1860550"/>
                </a:lnTo>
                <a:lnTo>
                  <a:pt x="568325" y="1876425"/>
                </a:lnTo>
                <a:lnTo>
                  <a:pt x="546100" y="1885950"/>
                </a:lnTo>
                <a:lnTo>
                  <a:pt x="520700" y="1892300"/>
                </a:lnTo>
                <a:lnTo>
                  <a:pt x="492125" y="1895475"/>
                </a:lnTo>
                <a:lnTo>
                  <a:pt x="463550" y="1892300"/>
                </a:lnTo>
                <a:lnTo>
                  <a:pt x="438150" y="1885950"/>
                </a:lnTo>
                <a:lnTo>
                  <a:pt x="412750" y="1876425"/>
                </a:lnTo>
                <a:lnTo>
                  <a:pt x="393700" y="1860550"/>
                </a:lnTo>
                <a:lnTo>
                  <a:pt x="374650" y="1844675"/>
                </a:lnTo>
                <a:lnTo>
                  <a:pt x="361950" y="1825625"/>
                </a:lnTo>
                <a:lnTo>
                  <a:pt x="355600" y="1806575"/>
                </a:lnTo>
                <a:lnTo>
                  <a:pt x="352425" y="1781175"/>
                </a:lnTo>
                <a:lnTo>
                  <a:pt x="355600" y="1758950"/>
                </a:lnTo>
                <a:lnTo>
                  <a:pt x="361950" y="1739900"/>
                </a:lnTo>
                <a:lnTo>
                  <a:pt x="374650" y="1720850"/>
                </a:lnTo>
                <a:lnTo>
                  <a:pt x="393700" y="1704975"/>
                </a:lnTo>
                <a:lnTo>
                  <a:pt x="412750" y="1689100"/>
                </a:lnTo>
                <a:lnTo>
                  <a:pt x="438150" y="1679575"/>
                </a:lnTo>
                <a:lnTo>
                  <a:pt x="463550" y="1673225"/>
                </a:lnTo>
                <a:close/>
                <a:moveTo>
                  <a:pt x="212725" y="1670050"/>
                </a:moveTo>
                <a:lnTo>
                  <a:pt x="228600" y="1673225"/>
                </a:lnTo>
                <a:lnTo>
                  <a:pt x="244475" y="1676400"/>
                </a:lnTo>
                <a:lnTo>
                  <a:pt x="257175" y="1679575"/>
                </a:lnTo>
                <a:lnTo>
                  <a:pt x="266700" y="1685925"/>
                </a:lnTo>
                <a:lnTo>
                  <a:pt x="276225" y="1692275"/>
                </a:lnTo>
                <a:lnTo>
                  <a:pt x="285750" y="1701800"/>
                </a:lnTo>
                <a:lnTo>
                  <a:pt x="288925" y="1711325"/>
                </a:lnTo>
                <a:lnTo>
                  <a:pt x="288925" y="1724025"/>
                </a:lnTo>
                <a:lnTo>
                  <a:pt x="288925" y="1733550"/>
                </a:lnTo>
                <a:lnTo>
                  <a:pt x="285750" y="1743075"/>
                </a:lnTo>
                <a:lnTo>
                  <a:pt x="276225" y="1752600"/>
                </a:lnTo>
                <a:lnTo>
                  <a:pt x="266700" y="1758950"/>
                </a:lnTo>
                <a:lnTo>
                  <a:pt x="257175" y="1765300"/>
                </a:lnTo>
                <a:lnTo>
                  <a:pt x="244475" y="1771650"/>
                </a:lnTo>
                <a:lnTo>
                  <a:pt x="228600" y="1774825"/>
                </a:lnTo>
                <a:lnTo>
                  <a:pt x="212725" y="1774825"/>
                </a:lnTo>
                <a:lnTo>
                  <a:pt x="196850" y="1774825"/>
                </a:lnTo>
                <a:lnTo>
                  <a:pt x="184150" y="1771650"/>
                </a:lnTo>
                <a:lnTo>
                  <a:pt x="168275" y="1765300"/>
                </a:lnTo>
                <a:lnTo>
                  <a:pt x="158750" y="1758950"/>
                </a:lnTo>
                <a:lnTo>
                  <a:pt x="149225" y="1752600"/>
                </a:lnTo>
                <a:lnTo>
                  <a:pt x="142875" y="1743075"/>
                </a:lnTo>
                <a:lnTo>
                  <a:pt x="136525" y="1733550"/>
                </a:lnTo>
                <a:lnTo>
                  <a:pt x="136525" y="1724025"/>
                </a:lnTo>
                <a:lnTo>
                  <a:pt x="136525" y="1711325"/>
                </a:lnTo>
                <a:lnTo>
                  <a:pt x="142875" y="1701800"/>
                </a:lnTo>
                <a:lnTo>
                  <a:pt x="149225" y="1692275"/>
                </a:lnTo>
                <a:lnTo>
                  <a:pt x="158750" y="1685925"/>
                </a:lnTo>
                <a:lnTo>
                  <a:pt x="168275" y="1679575"/>
                </a:lnTo>
                <a:lnTo>
                  <a:pt x="184150" y="1676400"/>
                </a:lnTo>
                <a:lnTo>
                  <a:pt x="196850" y="1673225"/>
                </a:lnTo>
                <a:close/>
                <a:moveTo>
                  <a:pt x="44450" y="1260475"/>
                </a:moveTo>
                <a:lnTo>
                  <a:pt x="53975" y="1260475"/>
                </a:lnTo>
                <a:lnTo>
                  <a:pt x="63500" y="1260475"/>
                </a:lnTo>
                <a:lnTo>
                  <a:pt x="76200" y="1266825"/>
                </a:lnTo>
                <a:lnTo>
                  <a:pt x="82550" y="1273175"/>
                </a:lnTo>
                <a:lnTo>
                  <a:pt x="92075" y="1279525"/>
                </a:lnTo>
                <a:lnTo>
                  <a:pt x="98425" y="1289050"/>
                </a:lnTo>
                <a:lnTo>
                  <a:pt x="101600" y="1298575"/>
                </a:lnTo>
                <a:lnTo>
                  <a:pt x="104775" y="1311275"/>
                </a:lnTo>
                <a:lnTo>
                  <a:pt x="107950" y="1323975"/>
                </a:lnTo>
                <a:lnTo>
                  <a:pt x="104775" y="1336675"/>
                </a:lnTo>
                <a:lnTo>
                  <a:pt x="101600" y="1349375"/>
                </a:lnTo>
                <a:lnTo>
                  <a:pt x="98425" y="1362075"/>
                </a:lnTo>
                <a:lnTo>
                  <a:pt x="92075" y="1371600"/>
                </a:lnTo>
                <a:lnTo>
                  <a:pt x="82550" y="1377950"/>
                </a:lnTo>
                <a:lnTo>
                  <a:pt x="76200" y="1384300"/>
                </a:lnTo>
                <a:lnTo>
                  <a:pt x="63500" y="1387475"/>
                </a:lnTo>
                <a:lnTo>
                  <a:pt x="53975" y="1390650"/>
                </a:lnTo>
                <a:lnTo>
                  <a:pt x="44450" y="1387475"/>
                </a:lnTo>
                <a:lnTo>
                  <a:pt x="34925" y="1384300"/>
                </a:lnTo>
                <a:lnTo>
                  <a:pt x="25400" y="1377950"/>
                </a:lnTo>
                <a:lnTo>
                  <a:pt x="15875" y="1371600"/>
                </a:lnTo>
                <a:lnTo>
                  <a:pt x="9525" y="1362075"/>
                </a:lnTo>
                <a:lnTo>
                  <a:pt x="6350" y="1349375"/>
                </a:lnTo>
                <a:lnTo>
                  <a:pt x="3175" y="1336675"/>
                </a:lnTo>
                <a:lnTo>
                  <a:pt x="0" y="1323975"/>
                </a:lnTo>
                <a:lnTo>
                  <a:pt x="3175" y="1311275"/>
                </a:lnTo>
                <a:lnTo>
                  <a:pt x="6350" y="1298575"/>
                </a:lnTo>
                <a:lnTo>
                  <a:pt x="9525" y="1289050"/>
                </a:lnTo>
                <a:lnTo>
                  <a:pt x="15875" y="1279525"/>
                </a:lnTo>
                <a:lnTo>
                  <a:pt x="25400" y="1273175"/>
                </a:lnTo>
                <a:lnTo>
                  <a:pt x="34925" y="1266825"/>
                </a:lnTo>
                <a:close/>
                <a:moveTo>
                  <a:pt x="171450" y="1098550"/>
                </a:moveTo>
                <a:lnTo>
                  <a:pt x="184150" y="1101725"/>
                </a:lnTo>
                <a:lnTo>
                  <a:pt x="193675" y="1104900"/>
                </a:lnTo>
                <a:lnTo>
                  <a:pt x="206375" y="1108075"/>
                </a:lnTo>
                <a:lnTo>
                  <a:pt x="215900" y="1117600"/>
                </a:lnTo>
                <a:lnTo>
                  <a:pt x="222250" y="1123950"/>
                </a:lnTo>
                <a:lnTo>
                  <a:pt x="228600" y="1136650"/>
                </a:lnTo>
                <a:lnTo>
                  <a:pt x="231775" y="1146175"/>
                </a:lnTo>
                <a:lnTo>
                  <a:pt x="234950" y="1158875"/>
                </a:lnTo>
                <a:lnTo>
                  <a:pt x="231775" y="1168400"/>
                </a:lnTo>
                <a:lnTo>
                  <a:pt x="228600" y="1181100"/>
                </a:lnTo>
                <a:lnTo>
                  <a:pt x="222250" y="1190625"/>
                </a:lnTo>
                <a:lnTo>
                  <a:pt x="215900" y="1200150"/>
                </a:lnTo>
                <a:lnTo>
                  <a:pt x="206375" y="1206500"/>
                </a:lnTo>
                <a:lnTo>
                  <a:pt x="193675" y="1212850"/>
                </a:lnTo>
                <a:lnTo>
                  <a:pt x="184150" y="1216025"/>
                </a:lnTo>
                <a:lnTo>
                  <a:pt x="171450" y="1216025"/>
                </a:lnTo>
                <a:lnTo>
                  <a:pt x="158750" y="1216025"/>
                </a:lnTo>
                <a:lnTo>
                  <a:pt x="146050" y="1212850"/>
                </a:lnTo>
                <a:lnTo>
                  <a:pt x="136525" y="1206500"/>
                </a:lnTo>
                <a:lnTo>
                  <a:pt x="127000" y="1200150"/>
                </a:lnTo>
                <a:lnTo>
                  <a:pt x="117475" y="1190625"/>
                </a:lnTo>
                <a:lnTo>
                  <a:pt x="111125" y="1181100"/>
                </a:lnTo>
                <a:lnTo>
                  <a:pt x="107950" y="1168400"/>
                </a:lnTo>
                <a:lnTo>
                  <a:pt x="107950" y="1158875"/>
                </a:lnTo>
                <a:lnTo>
                  <a:pt x="107950" y="1146175"/>
                </a:lnTo>
                <a:lnTo>
                  <a:pt x="111125" y="1136650"/>
                </a:lnTo>
                <a:lnTo>
                  <a:pt x="117475" y="1123950"/>
                </a:lnTo>
                <a:lnTo>
                  <a:pt x="127000" y="1117600"/>
                </a:lnTo>
                <a:lnTo>
                  <a:pt x="136525" y="1108075"/>
                </a:lnTo>
                <a:lnTo>
                  <a:pt x="146050" y="1104900"/>
                </a:lnTo>
                <a:lnTo>
                  <a:pt x="158750" y="1101725"/>
                </a:lnTo>
                <a:close/>
                <a:moveTo>
                  <a:pt x="136525" y="812800"/>
                </a:moveTo>
                <a:lnTo>
                  <a:pt x="155575" y="815975"/>
                </a:lnTo>
                <a:lnTo>
                  <a:pt x="174625" y="822325"/>
                </a:lnTo>
                <a:lnTo>
                  <a:pt x="190500" y="831850"/>
                </a:lnTo>
                <a:lnTo>
                  <a:pt x="206375" y="844550"/>
                </a:lnTo>
                <a:lnTo>
                  <a:pt x="215900" y="860425"/>
                </a:lnTo>
                <a:lnTo>
                  <a:pt x="225425" y="879475"/>
                </a:lnTo>
                <a:lnTo>
                  <a:pt x="231775" y="898525"/>
                </a:lnTo>
                <a:lnTo>
                  <a:pt x="234950" y="920750"/>
                </a:lnTo>
                <a:lnTo>
                  <a:pt x="231775" y="939800"/>
                </a:lnTo>
                <a:lnTo>
                  <a:pt x="225425" y="958850"/>
                </a:lnTo>
                <a:lnTo>
                  <a:pt x="215900" y="977900"/>
                </a:lnTo>
                <a:lnTo>
                  <a:pt x="206375" y="993775"/>
                </a:lnTo>
                <a:lnTo>
                  <a:pt x="190500" y="1006475"/>
                </a:lnTo>
                <a:lnTo>
                  <a:pt x="174625" y="1016000"/>
                </a:lnTo>
                <a:lnTo>
                  <a:pt x="155575" y="1022350"/>
                </a:lnTo>
                <a:lnTo>
                  <a:pt x="136525" y="1025525"/>
                </a:lnTo>
                <a:lnTo>
                  <a:pt x="114300" y="1022350"/>
                </a:lnTo>
                <a:lnTo>
                  <a:pt x="98425" y="1016000"/>
                </a:lnTo>
                <a:lnTo>
                  <a:pt x="79375" y="1006475"/>
                </a:lnTo>
                <a:lnTo>
                  <a:pt x="66675" y="993775"/>
                </a:lnTo>
                <a:lnTo>
                  <a:pt x="53975" y="977900"/>
                </a:lnTo>
                <a:lnTo>
                  <a:pt x="44450" y="958850"/>
                </a:lnTo>
                <a:lnTo>
                  <a:pt x="38100" y="939800"/>
                </a:lnTo>
                <a:lnTo>
                  <a:pt x="38100" y="920750"/>
                </a:lnTo>
                <a:lnTo>
                  <a:pt x="38100" y="898525"/>
                </a:lnTo>
                <a:lnTo>
                  <a:pt x="44450" y="879475"/>
                </a:lnTo>
                <a:lnTo>
                  <a:pt x="53975" y="860425"/>
                </a:lnTo>
                <a:lnTo>
                  <a:pt x="66675" y="844550"/>
                </a:lnTo>
                <a:lnTo>
                  <a:pt x="79375" y="831850"/>
                </a:lnTo>
                <a:lnTo>
                  <a:pt x="98425" y="822325"/>
                </a:lnTo>
                <a:lnTo>
                  <a:pt x="114300" y="815975"/>
                </a:lnTo>
                <a:close/>
                <a:moveTo>
                  <a:pt x="352425" y="698500"/>
                </a:moveTo>
                <a:lnTo>
                  <a:pt x="368300" y="701675"/>
                </a:lnTo>
                <a:lnTo>
                  <a:pt x="381000" y="708025"/>
                </a:lnTo>
                <a:lnTo>
                  <a:pt x="390525" y="720725"/>
                </a:lnTo>
                <a:lnTo>
                  <a:pt x="393700" y="733425"/>
                </a:lnTo>
                <a:lnTo>
                  <a:pt x="390525" y="749300"/>
                </a:lnTo>
                <a:lnTo>
                  <a:pt x="381000" y="762000"/>
                </a:lnTo>
                <a:lnTo>
                  <a:pt x="368300" y="768350"/>
                </a:lnTo>
                <a:lnTo>
                  <a:pt x="352425" y="771525"/>
                </a:lnTo>
                <a:lnTo>
                  <a:pt x="333375" y="768350"/>
                </a:lnTo>
                <a:lnTo>
                  <a:pt x="320675" y="762000"/>
                </a:lnTo>
                <a:lnTo>
                  <a:pt x="311150" y="749300"/>
                </a:lnTo>
                <a:lnTo>
                  <a:pt x="307975" y="733425"/>
                </a:lnTo>
                <a:lnTo>
                  <a:pt x="311150" y="720725"/>
                </a:lnTo>
                <a:lnTo>
                  <a:pt x="320675" y="708025"/>
                </a:lnTo>
                <a:lnTo>
                  <a:pt x="333375" y="701675"/>
                </a:lnTo>
                <a:close/>
                <a:moveTo>
                  <a:pt x="1809750" y="631825"/>
                </a:moveTo>
                <a:lnTo>
                  <a:pt x="1825625" y="631825"/>
                </a:lnTo>
                <a:lnTo>
                  <a:pt x="1841500" y="631825"/>
                </a:lnTo>
                <a:lnTo>
                  <a:pt x="1863725" y="635000"/>
                </a:lnTo>
                <a:lnTo>
                  <a:pt x="1885950" y="644525"/>
                </a:lnTo>
                <a:lnTo>
                  <a:pt x="1895475" y="654050"/>
                </a:lnTo>
                <a:lnTo>
                  <a:pt x="1908175" y="663575"/>
                </a:lnTo>
                <a:lnTo>
                  <a:pt x="1917700" y="679450"/>
                </a:lnTo>
                <a:lnTo>
                  <a:pt x="1927225" y="695325"/>
                </a:lnTo>
                <a:lnTo>
                  <a:pt x="1933575" y="704850"/>
                </a:lnTo>
                <a:lnTo>
                  <a:pt x="1939925" y="720725"/>
                </a:lnTo>
                <a:lnTo>
                  <a:pt x="1943100" y="739775"/>
                </a:lnTo>
                <a:lnTo>
                  <a:pt x="1943100" y="768350"/>
                </a:lnTo>
                <a:lnTo>
                  <a:pt x="1939925" y="800100"/>
                </a:lnTo>
                <a:lnTo>
                  <a:pt x="1930400" y="841375"/>
                </a:lnTo>
                <a:lnTo>
                  <a:pt x="1911350" y="885825"/>
                </a:lnTo>
                <a:lnTo>
                  <a:pt x="1898650" y="914400"/>
                </a:lnTo>
                <a:lnTo>
                  <a:pt x="1882775" y="939800"/>
                </a:lnTo>
                <a:lnTo>
                  <a:pt x="1863725" y="958850"/>
                </a:lnTo>
                <a:lnTo>
                  <a:pt x="1847850" y="974725"/>
                </a:lnTo>
                <a:lnTo>
                  <a:pt x="1828800" y="987425"/>
                </a:lnTo>
                <a:lnTo>
                  <a:pt x="1809750" y="993775"/>
                </a:lnTo>
                <a:lnTo>
                  <a:pt x="1793875" y="996950"/>
                </a:lnTo>
                <a:lnTo>
                  <a:pt x="1778000" y="990600"/>
                </a:lnTo>
                <a:lnTo>
                  <a:pt x="1765300" y="977900"/>
                </a:lnTo>
                <a:lnTo>
                  <a:pt x="1755775" y="962025"/>
                </a:lnTo>
                <a:lnTo>
                  <a:pt x="1749425" y="942975"/>
                </a:lnTo>
                <a:lnTo>
                  <a:pt x="1746250" y="917575"/>
                </a:lnTo>
                <a:lnTo>
                  <a:pt x="1746250" y="892175"/>
                </a:lnTo>
                <a:lnTo>
                  <a:pt x="1749425" y="863600"/>
                </a:lnTo>
                <a:lnTo>
                  <a:pt x="1755775" y="835025"/>
                </a:lnTo>
                <a:lnTo>
                  <a:pt x="1768475" y="803275"/>
                </a:lnTo>
                <a:lnTo>
                  <a:pt x="1771650" y="796925"/>
                </a:lnTo>
                <a:lnTo>
                  <a:pt x="1774825" y="777875"/>
                </a:lnTo>
                <a:lnTo>
                  <a:pt x="1774825" y="752475"/>
                </a:lnTo>
                <a:lnTo>
                  <a:pt x="1774825" y="739775"/>
                </a:lnTo>
                <a:lnTo>
                  <a:pt x="1768475" y="727075"/>
                </a:lnTo>
                <a:lnTo>
                  <a:pt x="1762125" y="717550"/>
                </a:lnTo>
                <a:lnTo>
                  <a:pt x="1758950" y="708025"/>
                </a:lnTo>
                <a:lnTo>
                  <a:pt x="1755775" y="695325"/>
                </a:lnTo>
                <a:lnTo>
                  <a:pt x="1755775" y="682625"/>
                </a:lnTo>
                <a:lnTo>
                  <a:pt x="1762125" y="666750"/>
                </a:lnTo>
                <a:lnTo>
                  <a:pt x="1774825" y="650875"/>
                </a:lnTo>
                <a:lnTo>
                  <a:pt x="1797050" y="638175"/>
                </a:lnTo>
                <a:close/>
                <a:moveTo>
                  <a:pt x="504825" y="593725"/>
                </a:moveTo>
                <a:lnTo>
                  <a:pt x="520700" y="596900"/>
                </a:lnTo>
                <a:lnTo>
                  <a:pt x="536575" y="600075"/>
                </a:lnTo>
                <a:lnTo>
                  <a:pt x="549275" y="606425"/>
                </a:lnTo>
                <a:lnTo>
                  <a:pt x="561975" y="612775"/>
                </a:lnTo>
                <a:lnTo>
                  <a:pt x="571500" y="622300"/>
                </a:lnTo>
                <a:lnTo>
                  <a:pt x="581025" y="631825"/>
                </a:lnTo>
                <a:lnTo>
                  <a:pt x="584200" y="641350"/>
                </a:lnTo>
                <a:lnTo>
                  <a:pt x="587375" y="654050"/>
                </a:lnTo>
                <a:lnTo>
                  <a:pt x="584200" y="666750"/>
                </a:lnTo>
                <a:lnTo>
                  <a:pt x="581025" y="679450"/>
                </a:lnTo>
                <a:lnTo>
                  <a:pt x="571500" y="688975"/>
                </a:lnTo>
                <a:lnTo>
                  <a:pt x="561975" y="698500"/>
                </a:lnTo>
                <a:lnTo>
                  <a:pt x="549275" y="704850"/>
                </a:lnTo>
                <a:lnTo>
                  <a:pt x="536575" y="711200"/>
                </a:lnTo>
                <a:lnTo>
                  <a:pt x="520700" y="714375"/>
                </a:lnTo>
                <a:lnTo>
                  <a:pt x="504825" y="714375"/>
                </a:lnTo>
                <a:lnTo>
                  <a:pt x="488950" y="714375"/>
                </a:lnTo>
                <a:lnTo>
                  <a:pt x="473075" y="711200"/>
                </a:lnTo>
                <a:lnTo>
                  <a:pt x="457200" y="704850"/>
                </a:lnTo>
                <a:lnTo>
                  <a:pt x="444500" y="698500"/>
                </a:lnTo>
                <a:lnTo>
                  <a:pt x="434975" y="688975"/>
                </a:lnTo>
                <a:lnTo>
                  <a:pt x="428625" y="679450"/>
                </a:lnTo>
                <a:lnTo>
                  <a:pt x="422275" y="666750"/>
                </a:lnTo>
                <a:lnTo>
                  <a:pt x="422275" y="654050"/>
                </a:lnTo>
                <a:lnTo>
                  <a:pt x="422275" y="641350"/>
                </a:lnTo>
                <a:lnTo>
                  <a:pt x="428625" y="631825"/>
                </a:lnTo>
                <a:lnTo>
                  <a:pt x="434975" y="622300"/>
                </a:lnTo>
                <a:lnTo>
                  <a:pt x="444500" y="612775"/>
                </a:lnTo>
                <a:lnTo>
                  <a:pt x="457200" y="606425"/>
                </a:lnTo>
                <a:lnTo>
                  <a:pt x="473075" y="600075"/>
                </a:lnTo>
                <a:lnTo>
                  <a:pt x="488950" y="596900"/>
                </a:lnTo>
                <a:close/>
                <a:moveTo>
                  <a:pt x="1581150" y="158750"/>
                </a:moveTo>
                <a:lnTo>
                  <a:pt x="1600200" y="158750"/>
                </a:lnTo>
                <a:lnTo>
                  <a:pt x="1616075" y="165100"/>
                </a:lnTo>
                <a:lnTo>
                  <a:pt x="1635125" y="177800"/>
                </a:lnTo>
                <a:lnTo>
                  <a:pt x="1654175" y="193675"/>
                </a:lnTo>
                <a:lnTo>
                  <a:pt x="1670050" y="215900"/>
                </a:lnTo>
                <a:lnTo>
                  <a:pt x="1685925" y="241300"/>
                </a:lnTo>
                <a:lnTo>
                  <a:pt x="1698625" y="269875"/>
                </a:lnTo>
                <a:lnTo>
                  <a:pt x="1708150" y="298450"/>
                </a:lnTo>
                <a:lnTo>
                  <a:pt x="1714500" y="330200"/>
                </a:lnTo>
                <a:lnTo>
                  <a:pt x="1717675" y="358775"/>
                </a:lnTo>
                <a:lnTo>
                  <a:pt x="1717675" y="387350"/>
                </a:lnTo>
                <a:lnTo>
                  <a:pt x="1714500" y="409575"/>
                </a:lnTo>
                <a:lnTo>
                  <a:pt x="1708150" y="428625"/>
                </a:lnTo>
                <a:lnTo>
                  <a:pt x="1698625" y="444500"/>
                </a:lnTo>
                <a:lnTo>
                  <a:pt x="1685925" y="457200"/>
                </a:lnTo>
                <a:lnTo>
                  <a:pt x="1670050" y="460375"/>
                </a:lnTo>
                <a:lnTo>
                  <a:pt x="1651000" y="460375"/>
                </a:lnTo>
                <a:lnTo>
                  <a:pt x="1631950" y="454025"/>
                </a:lnTo>
                <a:lnTo>
                  <a:pt x="1616075" y="441325"/>
                </a:lnTo>
                <a:lnTo>
                  <a:pt x="1597025" y="422275"/>
                </a:lnTo>
                <a:lnTo>
                  <a:pt x="1581150" y="403225"/>
                </a:lnTo>
                <a:lnTo>
                  <a:pt x="1565275" y="377825"/>
                </a:lnTo>
                <a:lnTo>
                  <a:pt x="1552575" y="349250"/>
                </a:lnTo>
                <a:lnTo>
                  <a:pt x="1543050" y="320675"/>
                </a:lnTo>
                <a:lnTo>
                  <a:pt x="1533525" y="288925"/>
                </a:lnTo>
                <a:lnTo>
                  <a:pt x="1530350" y="260350"/>
                </a:lnTo>
                <a:lnTo>
                  <a:pt x="1530350" y="231775"/>
                </a:lnTo>
                <a:lnTo>
                  <a:pt x="1536700" y="209550"/>
                </a:lnTo>
                <a:lnTo>
                  <a:pt x="1543050" y="190500"/>
                </a:lnTo>
                <a:lnTo>
                  <a:pt x="1552575" y="174625"/>
                </a:lnTo>
                <a:lnTo>
                  <a:pt x="1565275" y="161925"/>
                </a:lnTo>
                <a:close/>
                <a:moveTo>
                  <a:pt x="1212850" y="98425"/>
                </a:moveTo>
                <a:lnTo>
                  <a:pt x="1241425" y="98425"/>
                </a:lnTo>
                <a:lnTo>
                  <a:pt x="1270000" y="101600"/>
                </a:lnTo>
                <a:lnTo>
                  <a:pt x="1292225" y="111125"/>
                </a:lnTo>
                <a:lnTo>
                  <a:pt x="1314450" y="120650"/>
                </a:lnTo>
                <a:lnTo>
                  <a:pt x="1333500" y="130175"/>
                </a:lnTo>
                <a:lnTo>
                  <a:pt x="1358900" y="149225"/>
                </a:lnTo>
                <a:lnTo>
                  <a:pt x="1368425" y="158750"/>
                </a:lnTo>
                <a:lnTo>
                  <a:pt x="1393825" y="180975"/>
                </a:lnTo>
                <a:lnTo>
                  <a:pt x="1419225" y="206375"/>
                </a:lnTo>
                <a:lnTo>
                  <a:pt x="1435100" y="234950"/>
                </a:lnTo>
                <a:lnTo>
                  <a:pt x="1450975" y="260350"/>
                </a:lnTo>
                <a:lnTo>
                  <a:pt x="1460500" y="285750"/>
                </a:lnTo>
                <a:lnTo>
                  <a:pt x="1470025" y="311150"/>
                </a:lnTo>
                <a:lnTo>
                  <a:pt x="1476375" y="333375"/>
                </a:lnTo>
                <a:lnTo>
                  <a:pt x="1476375" y="358775"/>
                </a:lnTo>
                <a:lnTo>
                  <a:pt x="1479550" y="400050"/>
                </a:lnTo>
                <a:lnTo>
                  <a:pt x="1473200" y="431800"/>
                </a:lnTo>
                <a:lnTo>
                  <a:pt x="1466850" y="460375"/>
                </a:lnTo>
                <a:lnTo>
                  <a:pt x="1457325" y="501650"/>
                </a:lnTo>
                <a:lnTo>
                  <a:pt x="1454150" y="533400"/>
                </a:lnTo>
                <a:lnTo>
                  <a:pt x="1454150" y="561975"/>
                </a:lnTo>
                <a:lnTo>
                  <a:pt x="1457325" y="581025"/>
                </a:lnTo>
                <a:lnTo>
                  <a:pt x="1466850" y="596900"/>
                </a:lnTo>
                <a:lnTo>
                  <a:pt x="1473200" y="609600"/>
                </a:lnTo>
                <a:lnTo>
                  <a:pt x="1482725" y="622300"/>
                </a:lnTo>
                <a:lnTo>
                  <a:pt x="1495425" y="631825"/>
                </a:lnTo>
                <a:lnTo>
                  <a:pt x="1508125" y="638175"/>
                </a:lnTo>
                <a:lnTo>
                  <a:pt x="1530350" y="647700"/>
                </a:lnTo>
                <a:lnTo>
                  <a:pt x="1552575" y="650875"/>
                </a:lnTo>
                <a:lnTo>
                  <a:pt x="1571625" y="650875"/>
                </a:lnTo>
                <a:lnTo>
                  <a:pt x="1590675" y="650875"/>
                </a:lnTo>
                <a:lnTo>
                  <a:pt x="1622425" y="650875"/>
                </a:lnTo>
                <a:lnTo>
                  <a:pt x="1647825" y="654050"/>
                </a:lnTo>
                <a:lnTo>
                  <a:pt x="1670050" y="660400"/>
                </a:lnTo>
                <a:lnTo>
                  <a:pt x="1685925" y="666750"/>
                </a:lnTo>
                <a:lnTo>
                  <a:pt x="1695450" y="676275"/>
                </a:lnTo>
                <a:lnTo>
                  <a:pt x="1701800" y="682625"/>
                </a:lnTo>
                <a:lnTo>
                  <a:pt x="1708150" y="688975"/>
                </a:lnTo>
                <a:lnTo>
                  <a:pt x="1714500" y="698500"/>
                </a:lnTo>
                <a:lnTo>
                  <a:pt x="1717675" y="708025"/>
                </a:lnTo>
                <a:lnTo>
                  <a:pt x="1724025" y="727075"/>
                </a:lnTo>
                <a:lnTo>
                  <a:pt x="1724025" y="749300"/>
                </a:lnTo>
                <a:lnTo>
                  <a:pt x="1717675" y="768350"/>
                </a:lnTo>
                <a:lnTo>
                  <a:pt x="1704975" y="800100"/>
                </a:lnTo>
                <a:lnTo>
                  <a:pt x="1698625" y="809625"/>
                </a:lnTo>
                <a:lnTo>
                  <a:pt x="1676400" y="844550"/>
                </a:lnTo>
                <a:lnTo>
                  <a:pt x="1660525" y="873125"/>
                </a:lnTo>
                <a:lnTo>
                  <a:pt x="1651000" y="898525"/>
                </a:lnTo>
                <a:lnTo>
                  <a:pt x="1644650" y="917575"/>
                </a:lnTo>
                <a:lnTo>
                  <a:pt x="1641475" y="936625"/>
                </a:lnTo>
                <a:lnTo>
                  <a:pt x="1641475" y="949325"/>
                </a:lnTo>
                <a:lnTo>
                  <a:pt x="1641475" y="958850"/>
                </a:lnTo>
                <a:lnTo>
                  <a:pt x="1644650" y="974725"/>
                </a:lnTo>
                <a:lnTo>
                  <a:pt x="1647825" y="990600"/>
                </a:lnTo>
                <a:lnTo>
                  <a:pt x="1654175" y="1003300"/>
                </a:lnTo>
                <a:lnTo>
                  <a:pt x="1663700" y="1012825"/>
                </a:lnTo>
                <a:lnTo>
                  <a:pt x="1673225" y="1022350"/>
                </a:lnTo>
                <a:lnTo>
                  <a:pt x="1682750" y="1031875"/>
                </a:lnTo>
                <a:lnTo>
                  <a:pt x="1704975" y="1041400"/>
                </a:lnTo>
                <a:lnTo>
                  <a:pt x="1724025" y="1047750"/>
                </a:lnTo>
                <a:lnTo>
                  <a:pt x="1743075" y="1047750"/>
                </a:lnTo>
                <a:lnTo>
                  <a:pt x="1762125" y="1047750"/>
                </a:lnTo>
                <a:lnTo>
                  <a:pt x="1800225" y="1050925"/>
                </a:lnTo>
                <a:lnTo>
                  <a:pt x="1835150" y="1057275"/>
                </a:lnTo>
                <a:lnTo>
                  <a:pt x="1860550" y="1066800"/>
                </a:lnTo>
                <a:lnTo>
                  <a:pt x="1882775" y="1076325"/>
                </a:lnTo>
                <a:lnTo>
                  <a:pt x="1898650" y="1089025"/>
                </a:lnTo>
                <a:lnTo>
                  <a:pt x="1911350" y="1098550"/>
                </a:lnTo>
                <a:lnTo>
                  <a:pt x="1920875" y="1111250"/>
                </a:lnTo>
                <a:lnTo>
                  <a:pt x="1927225" y="1120775"/>
                </a:lnTo>
                <a:lnTo>
                  <a:pt x="1933575" y="1133475"/>
                </a:lnTo>
                <a:lnTo>
                  <a:pt x="1936750" y="1143000"/>
                </a:lnTo>
                <a:lnTo>
                  <a:pt x="1936750" y="1152525"/>
                </a:lnTo>
                <a:lnTo>
                  <a:pt x="1933575" y="1162050"/>
                </a:lnTo>
                <a:lnTo>
                  <a:pt x="1927225" y="1171575"/>
                </a:lnTo>
                <a:lnTo>
                  <a:pt x="1914525" y="1187450"/>
                </a:lnTo>
                <a:lnTo>
                  <a:pt x="1898650" y="1200150"/>
                </a:lnTo>
                <a:lnTo>
                  <a:pt x="1882775" y="1209675"/>
                </a:lnTo>
                <a:lnTo>
                  <a:pt x="1866900" y="1216025"/>
                </a:lnTo>
                <a:lnTo>
                  <a:pt x="1847850" y="1222375"/>
                </a:lnTo>
                <a:lnTo>
                  <a:pt x="1835150" y="1228725"/>
                </a:lnTo>
                <a:lnTo>
                  <a:pt x="1809750" y="1247775"/>
                </a:lnTo>
                <a:lnTo>
                  <a:pt x="1793875" y="1266825"/>
                </a:lnTo>
                <a:lnTo>
                  <a:pt x="1781175" y="1289050"/>
                </a:lnTo>
                <a:lnTo>
                  <a:pt x="1771650" y="1308100"/>
                </a:lnTo>
                <a:lnTo>
                  <a:pt x="1768475" y="1323975"/>
                </a:lnTo>
                <a:lnTo>
                  <a:pt x="1768475" y="1336675"/>
                </a:lnTo>
                <a:lnTo>
                  <a:pt x="1765300" y="1362075"/>
                </a:lnTo>
                <a:lnTo>
                  <a:pt x="1758950" y="1381125"/>
                </a:lnTo>
                <a:lnTo>
                  <a:pt x="1752600" y="1400175"/>
                </a:lnTo>
                <a:lnTo>
                  <a:pt x="1743075" y="1416050"/>
                </a:lnTo>
                <a:lnTo>
                  <a:pt x="1724025" y="1441450"/>
                </a:lnTo>
                <a:lnTo>
                  <a:pt x="1704975" y="1463675"/>
                </a:lnTo>
                <a:lnTo>
                  <a:pt x="1682750" y="1476375"/>
                </a:lnTo>
                <a:lnTo>
                  <a:pt x="1663700" y="1485900"/>
                </a:lnTo>
                <a:lnTo>
                  <a:pt x="1647825" y="1489075"/>
                </a:lnTo>
                <a:lnTo>
                  <a:pt x="1625600" y="1498600"/>
                </a:lnTo>
                <a:lnTo>
                  <a:pt x="1606550" y="1504950"/>
                </a:lnTo>
                <a:lnTo>
                  <a:pt x="1593850" y="1514475"/>
                </a:lnTo>
                <a:lnTo>
                  <a:pt x="1581150" y="1524000"/>
                </a:lnTo>
                <a:lnTo>
                  <a:pt x="1571625" y="1533525"/>
                </a:lnTo>
                <a:lnTo>
                  <a:pt x="1565275" y="1543050"/>
                </a:lnTo>
                <a:lnTo>
                  <a:pt x="1555750" y="1565275"/>
                </a:lnTo>
                <a:lnTo>
                  <a:pt x="1555750" y="1581150"/>
                </a:lnTo>
                <a:lnTo>
                  <a:pt x="1555750" y="1597025"/>
                </a:lnTo>
                <a:lnTo>
                  <a:pt x="1562100" y="1612900"/>
                </a:lnTo>
                <a:lnTo>
                  <a:pt x="1568450" y="1628775"/>
                </a:lnTo>
                <a:lnTo>
                  <a:pt x="1571625" y="1644650"/>
                </a:lnTo>
                <a:lnTo>
                  <a:pt x="1571625" y="1660525"/>
                </a:lnTo>
                <a:lnTo>
                  <a:pt x="1565275" y="1673225"/>
                </a:lnTo>
                <a:lnTo>
                  <a:pt x="1555750" y="1692275"/>
                </a:lnTo>
                <a:lnTo>
                  <a:pt x="1549400" y="1701800"/>
                </a:lnTo>
                <a:lnTo>
                  <a:pt x="1524000" y="1717675"/>
                </a:lnTo>
                <a:lnTo>
                  <a:pt x="1495425" y="1724025"/>
                </a:lnTo>
                <a:lnTo>
                  <a:pt x="1473200" y="1727200"/>
                </a:lnTo>
                <a:lnTo>
                  <a:pt x="1450975" y="1727200"/>
                </a:lnTo>
                <a:lnTo>
                  <a:pt x="1435100" y="1724025"/>
                </a:lnTo>
                <a:lnTo>
                  <a:pt x="1422400" y="1720850"/>
                </a:lnTo>
                <a:lnTo>
                  <a:pt x="1409700" y="1714500"/>
                </a:lnTo>
                <a:lnTo>
                  <a:pt x="1374775" y="1698625"/>
                </a:lnTo>
                <a:lnTo>
                  <a:pt x="1339850" y="1689100"/>
                </a:lnTo>
                <a:lnTo>
                  <a:pt x="1311275" y="1679575"/>
                </a:lnTo>
                <a:lnTo>
                  <a:pt x="1282700" y="1676400"/>
                </a:lnTo>
                <a:lnTo>
                  <a:pt x="1254125" y="1676400"/>
                </a:lnTo>
                <a:lnTo>
                  <a:pt x="1228725" y="1679575"/>
                </a:lnTo>
                <a:lnTo>
                  <a:pt x="1206500" y="1682750"/>
                </a:lnTo>
                <a:lnTo>
                  <a:pt x="1187450" y="1689100"/>
                </a:lnTo>
                <a:lnTo>
                  <a:pt x="1155700" y="1704975"/>
                </a:lnTo>
                <a:lnTo>
                  <a:pt x="1130300" y="1720850"/>
                </a:lnTo>
                <a:lnTo>
                  <a:pt x="1111250" y="1736725"/>
                </a:lnTo>
                <a:lnTo>
                  <a:pt x="1079500" y="1768475"/>
                </a:lnTo>
                <a:lnTo>
                  <a:pt x="1047750" y="1790700"/>
                </a:lnTo>
                <a:lnTo>
                  <a:pt x="1019175" y="1806575"/>
                </a:lnTo>
                <a:lnTo>
                  <a:pt x="993775" y="1816100"/>
                </a:lnTo>
                <a:lnTo>
                  <a:pt x="971550" y="1819275"/>
                </a:lnTo>
                <a:lnTo>
                  <a:pt x="952500" y="1819275"/>
                </a:lnTo>
                <a:lnTo>
                  <a:pt x="939800" y="1819275"/>
                </a:lnTo>
                <a:lnTo>
                  <a:pt x="908050" y="1812925"/>
                </a:lnTo>
                <a:lnTo>
                  <a:pt x="882650" y="1803400"/>
                </a:lnTo>
                <a:lnTo>
                  <a:pt x="863600" y="1787525"/>
                </a:lnTo>
                <a:lnTo>
                  <a:pt x="850900" y="1774825"/>
                </a:lnTo>
                <a:lnTo>
                  <a:pt x="841375" y="1758950"/>
                </a:lnTo>
                <a:lnTo>
                  <a:pt x="835025" y="1746250"/>
                </a:lnTo>
                <a:lnTo>
                  <a:pt x="831850" y="1736725"/>
                </a:lnTo>
                <a:lnTo>
                  <a:pt x="825500" y="1708150"/>
                </a:lnTo>
                <a:lnTo>
                  <a:pt x="812800" y="1685925"/>
                </a:lnTo>
                <a:lnTo>
                  <a:pt x="800100" y="1670050"/>
                </a:lnTo>
                <a:lnTo>
                  <a:pt x="784225" y="1660525"/>
                </a:lnTo>
                <a:lnTo>
                  <a:pt x="768350" y="1654175"/>
                </a:lnTo>
                <a:lnTo>
                  <a:pt x="755650" y="1651000"/>
                </a:lnTo>
                <a:lnTo>
                  <a:pt x="742950" y="1651000"/>
                </a:lnTo>
                <a:lnTo>
                  <a:pt x="717550" y="1651000"/>
                </a:lnTo>
                <a:lnTo>
                  <a:pt x="698500" y="1644650"/>
                </a:lnTo>
                <a:lnTo>
                  <a:pt x="679450" y="1635125"/>
                </a:lnTo>
                <a:lnTo>
                  <a:pt x="663575" y="1625600"/>
                </a:lnTo>
                <a:lnTo>
                  <a:pt x="654050" y="1612900"/>
                </a:lnTo>
                <a:lnTo>
                  <a:pt x="644525" y="1603375"/>
                </a:lnTo>
                <a:lnTo>
                  <a:pt x="638175" y="1593850"/>
                </a:lnTo>
                <a:lnTo>
                  <a:pt x="628650" y="1577975"/>
                </a:lnTo>
                <a:lnTo>
                  <a:pt x="615950" y="1568450"/>
                </a:lnTo>
                <a:lnTo>
                  <a:pt x="600075" y="1558925"/>
                </a:lnTo>
                <a:lnTo>
                  <a:pt x="587375" y="1552575"/>
                </a:lnTo>
                <a:lnTo>
                  <a:pt x="571500" y="1549400"/>
                </a:lnTo>
                <a:lnTo>
                  <a:pt x="555625" y="1546225"/>
                </a:lnTo>
                <a:lnTo>
                  <a:pt x="523875" y="1546225"/>
                </a:lnTo>
                <a:lnTo>
                  <a:pt x="495300" y="1552575"/>
                </a:lnTo>
                <a:lnTo>
                  <a:pt x="469900" y="1558925"/>
                </a:lnTo>
                <a:lnTo>
                  <a:pt x="447675" y="1568450"/>
                </a:lnTo>
                <a:lnTo>
                  <a:pt x="406400" y="1581150"/>
                </a:lnTo>
                <a:lnTo>
                  <a:pt x="368300" y="1587500"/>
                </a:lnTo>
                <a:lnTo>
                  <a:pt x="333375" y="1590675"/>
                </a:lnTo>
                <a:lnTo>
                  <a:pt x="304800" y="1593850"/>
                </a:lnTo>
                <a:lnTo>
                  <a:pt x="279400" y="1593850"/>
                </a:lnTo>
                <a:lnTo>
                  <a:pt x="254000" y="1590675"/>
                </a:lnTo>
                <a:lnTo>
                  <a:pt x="234950" y="1584325"/>
                </a:lnTo>
                <a:lnTo>
                  <a:pt x="219075" y="1581150"/>
                </a:lnTo>
                <a:lnTo>
                  <a:pt x="193675" y="1565275"/>
                </a:lnTo>
                <a:lnTo>
                  <a:pt x="180975" y="1552575"/>
                </a:lnTo>
                <a:lnTo>
                  <a:pt x="171450" y="1543050"/>
                </a:lnTo>
                <a:lnTo>
                  <a:pt x="168275" y="1536700"/>
                </a:lnTo>
                <a:lnTo>
                  <a:pt x="161925" y="1517650"/>
                </a:lnTo>
                <a:lnTo>
                  <a:pt x="155575" y="1495425"/>
                </a:lnTo>
                <a:lnTo>
                  <a:pt x="152400" y="1476375"/>
                </a:lnTo>
                <a:lnTo>
                  <a:pt x="152400" y="1457325"/>
                </a:lnTo>
                <a:lnTo>
                  <a:pt x="155575" y="1422400"/>
                </a:lnTo>
                <a:lnTo>
                  <a:pt x="165100" y="1390650"/>
                </a:lnTo>
                <a:lnTo>
                  <a:pt x="180975" y="1358900"/>
                </a:lnTo>
                <a:lnTo>
                  <a:pt x="200025" y="1333500"/>
                </a:lnTo>
                <a:lnTo>
                  <a:pt x="225425" y="1308100"/>
                </a:lnTo>
                <a:lnTo>
                  <a:pt x="250825" y="1289050"/>
                </a:lnTo>
                <a:lnTo>
                  <a:pt x="276225" y="1270000"/>
                </a:lnTo>
                <a:lnTo>
                  <a:pt x="304800" y="1254125"/>
                </a:lnTo>
                <a:lnTo>
                  <a:pt x="352425" y="1228725"/>
                </a:lnTo>
                <a:lnTo>
                  <a:pt x="387350" y="1212850"/>
                </a:lnTo>
                <a:lnTo>
                  <a:pt x="403225" y="1209675"/>
                </a:lnTo>
                <a:lnTo>
                  <a:pt x="441325" y="1193800"/>
                </a:lnTo>
                <a:lnTo>
                  <a:pt x="473075" y="1177925"/>
                </a:lnTo>
                <a:lnTo>
                  <a:pt x="495300" y="1158875"/>
                </a:lnTo>
                <a:lnTo>
                  <a:pt x="511175" y="1143000"/>
                </a:lnTo>
                <a:lnTo>
                  <a:pt x="523875" y="1123950"/>
                </a:lnTo>
                <a:lnTo>
                  <a:pt x="530225" y="1111250"/>
                </a:lnTo>
                <a:lnTo>
                  <a:pt x="533400" y="1101725"/>
                </a:lnTo>
                <a:lnTo>
                  <a:pt x="533400" y="1076325"/>
                </a:lnTo>
                <a:lnTo>
                  <a:pt x="527050" y="1060450"/>
                </a:lnTo>
                <a:lnTo>
                  <a:pt x="517525" y="1044575"/>
                </a:lnTo>
                <a:lnTo>
                  <a:pt x="508000" y="1035050"/>
                </a:lnTo>
                <a:lnTo>
                  <a:pt x="498475" y="1028700"/>
                </a:lnTo>
                <a:lnTo>
                  <a:pt x="492125" y="1022350"/>
                </a:lnTo>
                <a:lnTo>
                  <a:pt x="482600" y="1019175"/>
                </a:lnTo>
                <a:lnTo>
                  <a:pt x="454025" y="1012825"/>
                </a:lnTo>
                <a:lnTo>
                  <a:pt x="428625" y="1003300"/>
                </a:lnTo>
                <a:lnTo>
                  <a:pt x="406400" y="993775"/>
                </a:lnTo>
                <a:lnTo>
                  <a:pt x="387350" y="984250"/>
                </a:lnTo>
                <a:lnTo>
                  <a:pt x="358775" y="962025"/>
                </a:lnTo>
                <a:lnTo>
                  <a:pt x="339725" y="939800"/>
                </a:lnTo>
                <a:lnTo>
                  <a:pt x="327025" y="920750"/>
                </a:lnTo>
                <a:lnTo>
                  <a:pt x="320675" y="908050"/>
                </a:lnTo>
                <a:lnTo>
                  <a:pt x="320675" y="892175"/>
                </a:lnTo>
                <a:lnTo>
                  <a:pt x="323850" y="876300"/>
                </a:lnTo>
                <a:lnTo>
                  <a:pt x="333375" y="860425"/>
                </a:lnTo>
                <a:lnTo>
                  <a:pt x="342900" y="847725"/>
                </a:lnTo>
                <a:lnTo>
                  <a:pt x="358775" y="835025"/>
                </a:lnTo>
                <a:lnTo>
                  <a:pt x="377825" y="825500"/>
                </a:lnTo>
                <a:lnTo>
                  <a:pt x="396875" y="819150"/>
                </a:lnTo>
                <a:lnTo>
                  <a:pt x="438150" y="809625"/>
                </a:lnTo>
                <a:lnTo>
                  <a:pt x="482600" y="803275"/>
                </a:lnTo>
                <a:lnTo>
                  <a:pt x="517525" y="800100"/>
                </a:lnTo>
                <a:lnTo>
                  <a:pt x="555625" y="800100"/>
                </a:lnTo>
                <a:lnTo>
                  <a:pt x="581025" y="800100"/>
                </a:lnTo>
                <a:lnTo>
                  <a:pt x="606425" y="796925"/>
                </a:lnTo>
                <a:lnTo>
                  <a:pt x="650875" y="787400"/>
                </a:lnTo>
                <a:lnTo>
                  <a:pt x="682625" y="774700"/>
                </a:lnTo>
                <a:lnTo>
                  <a:pt x="704850" y="758825"/>
                </a:lnTo>
                <a:lnTo>
                  <a:pt x="720725" y="742950"/>
                </a:lnTo>
                <a:lnTo>
                  <a:pt x="730250" y="730250"/>
                </a:lnTo>
                <a:lnTo>
                  <a:pt x="736600" y="717550"/>
                </a:lnTo>
                <a:lnTo>
                  <a:pt x="742950" y="688975"/>
                </a:lnTo>
                <a:lnTo>
                  <a:pt x="742950" y="666750"/>
                </a:lnTo>
                <a:lnTo>
                  <a:pt x="739775" y="647700"/>
                </a:lnTo>
                <a:lnTo>
                  <a:pt x="733425" y="631825"/>
                </a:lnTo>
                <a:lnTo>
                  <a:pt x="727075" y="619125"/>
                </a:lnTo>
                <a:lnTo>
                  <a:pt x="717550" y="609600"/>
                </a:lnTo>
                <a:lnTo>
                  <a:pt x="711200" y="603250"/>
                </a:lnTo>
                <a:lnTo>
                  <a:pt x="685800" y="574675"/>
                </a:lnTo>
                <a:lnTo>
                  <a:pt x="666750" y="549275"/>
                </a:lnTo>
                <a:lnTo>
                  <a:pt x="657225" y="527050"/>
                </a:lnTo>
                <a:lnTo>
                  <a:pt x="654050" y="504825"/>
                </a:lnTo>
                <a:lnTo>
                  <a:pt x="650875" y="485775"/>
                </a:lnTo>
                <a:lnTo>
                  <a:pt x="654050" y="469900"/>
                </a:lnTo>
                <a:lnTo>
                  <a:pt x="657225" y="457200"/>
                </a:lnTo>
                <a:lnTo>
                  <a:pt x="663575" y="441325"/>
                </a:lnTo>
                <a:lnTo>
                  <a:pt x="673100" y="428625"/>
                </a:lnTo>
                <a:lnTo>
                  <a:pt x="682625" y="419100"/>
                </a:lnTo>
                <a:lnTo>
                  <a:pt x="692150" y="409575"/>
                </a:lnTo>
                <a:lnTo>
                  <a:pt x="704850" y="406400"/>
                </a:lnTo>
                <a:lnTo>
                  <a:pt x="717550" y="403225"/>
                </a:lnTo>
                <a:lnTo>
                  <a:pt x="746125" y="400050"/>
                </a:lnTo>
                <a:lnTo>
                  <a:pt x="768350" y="403225"/>
                </a:lnTo>
                <a:lnTo>
                  <a:pt x="790575" y="409575"/>
                </a:lnTo>
                <a:lnTo>
                  <a:pt x="809625" y="415925"/>
                </a:lnTo>
                <a:lnTo>
                  <a:pt x="828675" y="419100"/>
                </a:lnTo>
                <a:lnTo>
                  <a:pt x="847725" y="422275"/>
                </a:lnTo>
                <a:lnTo>
                  <a:pt x="866775" y="419100"/>
                </a:lnTo>
                <a:lnTo>
                  <a:pt x="882650" y="412750"/>
                </a:lnTo>
                <a:lnTo>
                  <a:pt x="898525" y="406400"/>
                </a:lnTo>
                <a:lnTo>
                  <a:pt x="914400" y="400050"/>
                </a:lnTo>
                <a:lnTo>
                  <a:pt x="939800" y="377825"/>
                </a:lnTo>
                <a:lnTo>
                  <a:pt x="958850" y="355600"/>
                </a:lnTo>
                <a:lnTo>
                  <a:pt x="974725" y="336550"/>
                </a:lnTo>
                <a:lnTo>
                  <a:pt x="987425" y="317500"/>
                </a:lnTo>
                <a:lnTo>
                  <a:pt x="1019175" y="254000"/>
                </a:lnTo>
                <a:lnTo>
                  <a:pt x="1054100" y="203200"/>
                </a:lnTo>
                <a:lnTo>
                  <a:pt x="1085850" y="165100"/>
                </a:lnTo>
                <a:lnTo>
                  <a:pt x="1120775" y="136525"/>
                </a:lnTo>
                <a:lnTo>
                  <a:pt x="1152525" y="117475"/>
                </a:lnTo>
                <a:lnTo>
                  <a:pt x="1184275" y="104775"/>
                </a:lnTo>
                <a:close/>
                <a:moveTo>
                  <a:pt x="958850" y="0"/>
                </a:moveTo>
                <a:lnTo>
                  <a:pt x="981075" y="3175"/>
                </a:lnTo>
                <a:lnTo>
                  <a:pt x="1000125" y="12700"/>
                </a:lnTo>
                <a:lnTo>
                  <a:pt x="1012825" y="25400"/>
                </a:lnTo>
                <a:lnTo>
                  <a:pt x="1022350" y="44450"/>
                </a:lnTo>
                <a:lnTo>
                  <a:pt x="1028700" y="63500"/>
                </a:lnTo>
                <a:lnTo>
                  <a:pt x="1028700" y="88900"/>
                </a:lnTo>
                <a:lnTo>
                  <a:pt x="1025525" y="114300"/>
                </a:lnTo>
                <a:lnTo>
                  <a:pt x="1016000" y="142875"/>
                </a:lnTo>
                <a:lnTo>
                  <a:pt x="1003300" y="171450"/>
                </a:lnTo>
                <a:lnTo>
                  <a:pt x="984250" y="196850"/>
                </a:lnTo>
                <a:lnTo>
                  <a:pt x="965200" y="222250"/>
                </a:lnTo>
                <a:lnTo>
                  <a:pt x="939800" y="244475"/>
                </a:lnTo>
                <a:lnTo>
                  <a:pt x="917575" y="263525"/>
                </a:lnTo>
                <a:lnTo>
                  <a:pt x="892175" y="276225"/>
                </a:lnTo>
                <a:lnTo>
                  <a:pt x="866775" y="282575"/>
                </a:lnTo>
                <a:lnTo>
                  <a:pt x="844550" y="285750"/>
                </a:lnTo>
                <a:lnTo>
                  <a:pt x="822325" y="282575"/>
                </a:lnTo>
                <a:lnTo>
                  <a:pt x="806450" y="273050"/>
                </a:lnTo>
                <a:lnTo>
                  <a:pt x="790575" y="260350"/>
                </a:lnTo>
                <a:lnTo>
                  <a:pt x="781050" y="241300"/>
                </a:lnTo>
                <a:lnTo>
                  <a:pt x="774700" y="222250"/>
                </a:lnTo>
                <a:lnTo>
                  <a:pt x="774700" y="196850"/>
                </a:lnTo>
                <a:lnTo>
                  <a:pt x="777875" y="171450"/>
                </a:lnTo>
                <a:lnTo>
                  <a:pt x="787400" y="142875"/>
                </a:lnTo>
                <a:lnTo>
                  <a:pt x="800100" y="114300"/>
                </a:lnTo>
                <a:lnTo>
                  <a:pt x="819150" y="88900"/>
                </a:lnTo>
                <a:lnTo>
                  <a:pt x="841375" y="63500"/>
                </a:lnTo>
                <a:lnTo>
                  <a:pt x="863600" y="41275"/>
                </a:lnTo>
                <a:lnTo>
                  <a:pt x="889000" y="22225"/>
                </a:lnTo>
                <a:lnTo>
                  <a:pt x="911225" y="9525"/>
                </a:lnTo>
                <a:lnTo>
                  <a:pt x="936625" y="3175"/>
                </a:lnTo>
                <a:close/>
              </a:path>
            </a:pathLst>
          </a:custGeom>
          <a:gradFill>
            <a:gsLst>
              <a:gs pos="0">
                <a:schemeClr val="accent1"/>
              </a:gs>
              <a:gs pos="100000">
                <a:schemeClr val="accent2"/>
              </a:gs>
            </a:gsLst>
            <a:lin ang="162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1" name="Rectangle 10"/>
          <p:cNvSpPr/>
          <p:nvPr>
            <p:custDataLst>
              <p:tags r:id="rId1"/>
            </p:custDataLst>
          </p:nvPr>
        </p:nvSpPr>
        <p:spPr>
          <a:xfrm>
            <a:off x="824341" y="1579913"/>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bg1"/>
                </a:solidFill>
                <a:ea typeface="Open Sans" panose="020B0606030504020204" pitchFamily="34" charset="0"/>
                <a:cs typeface="Open Sans" panose="020B0606030504020204" pitchFamily="34" charset="0"/>
              </a:rPr>
              <a:t>Put Your Great Subtitle Here</a:t>
            </a:r>
          </a:p>
        </p:txBody>
      </p:sp>
      <p:sp>
        <p:nvSpPr>
          <p:cNvPr id="12" name="Rectangle 11"/>
          <p:cNvSpPr/>
          <p:nvPr/>
        </p:nvSpPr>
        <p:spPr>
          <a:xfrm>
            <a:off x="824341" y="1707052"/>
            <a:ext cx="4233261" cy="3017348"/>
          </a:xfrm>
          <a:prstGeom prst="rect">
            <a:avLst/>
          </a:prstGeom>
        </p:spPr>
        <p:txBody>
          <a:bodyPr vert="horz" wrap="square" lIns="91416" tIns="45708" rIns="91416" bIns="45708" rtlCol="0" anchor="ctr">
            <a:noAutofit/>
          </a:bodyPr>
          <a:lstStyle/>
          <a:p>
            <a:pPr>
              <a:lnSpc>
                <a:spcPct val="90000"/>
              </a:lnSpc>
              <a:spcBef>
                <a:spcPct val="0"/>
              </a:spcBef>
            </a:pPr>
            <a:r>
              <a:rPr lang="en-US" sz="3600" b="1" spc="-150" noProof="1">
                <a:solidFill>
                  <a:schemeClr val="bg1"/>
                </a:solidFill>
                <a:ea typeface="Roboto" panose="02000000000000000000" pitchFamily="2" charset="0"/>
                <a:cs typeface="Times New Roman" panose="02020603050405020304" pitchFamily="18" charset="0"/>
              </a:rPr>
              <a:t>Definiteness Of </a:t>
            </a:r>
          </a:p>
          <a:p>
            <a:pPr>
              <a:lnSpc>
                <a:spcPct val="90000"/>
              </a:lnSpc>
              <a:spcBef>
                <a:spcPct val="0"/>
              </a:spcBef>
            </a:pPr>
            <a:r>
              <a:rPr lang="en-US" sz="3600" b="1" spc="-150" noProof="1">
                <a:solidFill>
                  <a:schemeClr val="bg1"/>
                </a:solidFill>
                <a:ea typeface="Roboto" panose="02000000000000000000" pitchFamily="2" charset="0"/>
                <a:cs typeface="Times New Roman" panose="02020603050405020304" pitchFamily="18" charset="0"/>
              </a:rPr>
              <a:t>Purpose </a:t>
            </a:r>
          </a:p>
          <a:p>
            <a:pPr>
              <a:lnSpc>
                <a:spcPct val="90000"/>
              </a:lnSpc>
              <a:spcBef>
                <a:spcPct val="0"/>
              </a:spcBef>
            </a:pPr>
            <a:r>
              <a:rPr lang="en-US" sz="3600" spc="-150" noProof="1">
                <a:solidFill>
                  <a:schemeClr val="bg1"/>
                </a:solidFill>
                <a:ea typeface="Roboto" panose="02000000000000000000" pitchFamily="2" charset="0"/>
                <a:cs typeface="Times New Roman" panose="02020603050405020304" pitchFamily="18" charset="0"/>
              </a:rPr>
              <a:t>Is The Starting  </a:t>
            </a:r>
          </a:p>
          <a:p>
            <a:pPr>
              <a:lnSpc>
                <a:spcPct val="90000"/>
              </a:lnSpc>
              <a:spcBef>
                <a:spcPct val="0"/>
              </a:spcBef>
            </a:pPr>
            <a:r>
              <a:rPr lang="en-US" sz="3600" spc="-150" noProof="1">
                <a:solidFill>
                  <a:schemeClr val="bg1"/>
                </a:solidFill>
                <a:ea typeface="Roboto" panose="02000000000000000000" pitchFamily="2" charset="0"/>
                <a:cs typeface="Times New Roman" panose="02020603050405020304" pitchFamily="18" charset="0"/>
              </a:rPr>
              <a:t>Point Of All </a:t>
            </a:r>
          </a:p>
          <a:p>
            <a:pPr>
              <a:lnSpc>
                <a:spcPct val="90000"/>
              </a:lnSpc>
              <a:spcBef>
                <a:spcPct val="0"/>
              </a:spcBef>
            </a:pPr>
            <a:r>
              <a:rPr lang="en-US" sz="3600" spc="-150" noProof="1">
                <a:solidFill>
                  <a:schemeClr val="bg1"/>
                </a:solidFill>
                <a:ea typeface="Roboto" panose="02000000000000000000" pitchFamily="2" charset="0"/>
                <a:cs typeface="Times New Roman" panose="02020603050405020304" pitchFamily="18" charset="0"/>
              </a:rPr>
              <a:t>Achievement</a:t>
            </a:r>
          </a:p>
        </p:txBody>
      </p:sp>
      <p:sp>
        <p:nvSpPr>
          <p:cNvPr id="16" name="Rectangle 15"/>
          <p:cNvSpPr/>
          <p:nvPr/>
        </p:nvSpPr>
        <p:spPr>
          <a:xfrm>
            <a:off x="824341" y="4451365"/>
            <a:ext cx="3114613" cy="1161536"/>
          </a:xfrm>
          <a:prstGeom prst="rect">
            <a:avLst/>
          </a:prstGeom>
        </p:spPr>
        <p:txBody>
          <a:bodyPr wrap="square">
            <a:spAutoFit/>
          </a:bodyPr>
          <a:lstStyle/>
          <a:p>
            <a:pPr algn="just">
              <a:lnSpc>
                <a:spcPct val="200000"/>
              </a:lnSpc>
              <a:buClr>
                <a:srgbClr val="E24848"/>
              </a:buClr>
            </a:pPr>
            <a:r>
              <a:rPr lang="en-US" sz="900" noProof="1">
                <a:solidFill>
                  <a:schemeClr val="bg1"/>
                </a:solidFill>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a:t>
            </a:r>
          </a:p>
        </p:txBody>
      </p:sp>
    </p:spTree>
    <p:extLst>
      <p:ext uri="{BB962C8B-B14F-4D97-AF65-F5344CB8AC3E}">
        <p14:creationId xmlns:p14="http://schemas.microsoft.com/office/powerpoint/2010/main" val="3984521156"/>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45EE57DA-7499-454F-8995-604E04E9F80C}"/>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7813" b="7813"/>
          <a:stretch>
            <a:fillRect/>
          </a:stretch>
        </p:blipFill>
        <p:spPr/>
      </p:pic>
      <p:sp>
        <p:nvSpPr>
          <p:cNvPr id="19" name="Freeform 18"/>
          <p:cNvSpPr/>
          <p:nvPr/>
        </p:nvSpPr>
        <p:spPr>
          <a:xfrm>
            <a:off x="0" y="0"/>
            <a:ext cx="12192000" cy="5588000"/>
          </a:xfrm>
          <a:custGeom>
            <a:avLst/>
            <a:gdLst>
              <a:gd name="connsiteX0" fmla="*/ 0 w 12192000"/>
              <a:gd name="connsiteY0" fmla="*/ 6853766 h 6858000"/>
              <a:gd name="connsiteX1" fmla="*/ 679 w 12192000"/>
              <a:gd name="connsiteY1" fmla="*/ 6858000 h 6858000"/>
              <a:gd name="connsiteX2" fmla="*/ 0 w 12192000"/>
              <a:gd name="connsiteY2" fmla="*/ 6858000 h 6858000"/>
              <a:gd name="connsiteX3" fmla="*/ 0 w 12192000"/>
              <a:gd name="connsiteY3" fmla="*/ 0 h 6858000"/>
              <a:gd name="connsiteX4" fmla="*/ 12192000 w 12192000"/>
              <a:gd name="connsiteY4" fmla="*/ 0 h 6858000"/>
              <a:gd name="connsiteX5" fmla="*/ 12192000 w 12192000"/>
              <a:gd name="connsiteY5" fmla="*/ 6858000 h 6858000"/>
              <a:gd name="connsiteX6" fmla="*/ 12191317 w 12192000"/>
              <a:gd name="connsiteY6" fmla="*/ 6858000 h 6858000"/>
              <a:gd name="connsiteX7" fmla="*/ 12191998 w 12192000"/>
              <a:gd name="connsiteY7" fmla="*/ 6853753 h 6858000"/>
              <a:gd name="connsiteX8" fmla="*/ 12191998 w 12192000"/>
              <a:gd name="connsiteY8" fmla="*/ 5618290 h 6858000"/>
              <a:gd name="connsiteX9" fmla="*/ 12127518 w 12192000"/>
              <a:gd name="connsiteY9" fmla="*/ 5617677 h 6858000"/>
              <a:gd name="connsiteX10" fmla="*/ 11737130 w 12192000"/>
              <a:gd name="connsiteY10" fmla="*/ 5659445 h 6858000"/>
              <a:gd name="connsiteX11" fmla="*/ 9140880 w 12192000"/>
              <a:gd name="connsiteY11" fmla="*/ 6563827 h 6858000"/>
              <a:gd name="connsiteX12" fmla="*/ 6392721 w 12192000"/>
              <a:gd name="connsiteY12" fmla="*/ 5470158 h 6858000"/>
              <a:gd name="connsiteX13" fmla="*/ 3822438 w 12192000"/>
              <a:gd name="connsiteY13" fmla="*/ 5899281 h 6858000"/>
              <a:gd name="connsiteX14" fmla="*/ 3722758 w 12192000"/>
              <a:gd name="connsiteY14" fmla="*/ 5895486 h 6858000"/>
              <a:gd name="connsiteX15" fmla="*/ 3623077 w 12192000"/>
              <a:gd name="connsiteY15" fmla="*/ 5899281 h 6858000"/>
              <a:gd name="connsiteX16" fmla="*/ 1052794 w 12192000"/>
              <a:gd name="connsiteY16" fmla="*/ 5470158 h 6858000"/>
              <a:gd name="connsiteX17" fmla="*/ 331328 w 12192000"/>
              <a:gd name="connsiteY17" fmla="*/ 5723739 h 6858000"/>
              <a:gd name="connsiteX18" fmla="*/ 0 w 12192000"/>
              <a:gd name="connsiteY18" fmla="*/ 589030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92000" h="6858000">
                <a:moveTo>
                  <a:pt x="0" y="6853766"/>
                </a:moveTo>
                <a:lnTo>
                  <a:pt x="679" y="6858000"/>
                </a:lnTo>
                <a:lnTo>
                  <a:pt x="0" y="6858000"/>
                </a:lnTo>
                <a:close/>
                <a:moveTo>
                  <a:pt x="0" y="0"/>
                </a:moveTo>
                <a:lnTo>
                  <a:pt x="12192000" y="0"/>
                </a:lnTo>
                <a:lnTo>
                  <a:pt x="12192000" y="6858000"/>
                </a:lnTo>
                <a:lnTo>
                  <a:pt x="12191317" y="6858000"/>
                </a:lnTo>
                <a:lnTo>
                  <a:pt x="12191998" y="6853753"/>
                </a:lnTo>
                <a:lnTo>
                  <a:pt x="12191998" y="5618290"/>
                </a:lnTo>
                <a:lnTo>
                  <a:pt x="12127518" y="5617677"/>
                </a:lnTo>
                <a:cubicBezTo>
                  <a:pt x="11986679" y="5620833"/>
                  <a:pt x="11855150" y="5633628"/>
                  <a:pt x="11737130" y="5659445"/>
                </a:cubicBezTo>
                <a:cubicBezTo>
                  <a:pt x="10792969" y="5865979"/>
                  <a:pt x="10031615" y="6595375"/>
                  <a:pt x="9140880" y="6563827"/>
                </a:cubicBezTo>
                <a:cubicBezTo>
                  <a:pt x="8250146" y="6532279"/>
                  <a:pt x="7381938" y="5676692"/>
                  <a:pt x="6392721" y="5470158"/>
                </a:cubicBezTo>
                <a:cubicBezTo>
                  <a:pt x="5588983" y="5302349"/>
                  <a:pt x="4514231" y="5879078"/>
                  <a:pt x="3822438" y="5899281"/>
                </a:cubicBezTo>
                <a:lnTo>
                  <a:pt x="3722758" y="5895486"/>
                </a:lnTo>
                <a:lnTo>
                  <a:pt x="3623077" y="5899281"/>
                </a:lnTo>
                <a:cubicBezTo>
                  <a:pt x="2931285" y="5879078"/>
                  <a:pt x="1856534" y="5302349"/>
                  <a:pt x="1052794" y="5470158"/>
                </a:cubicBezTo>
                <a:cubicBezTo>
                  <a:pt x="805490" y="5521791"/>
                  <a:pt x="565749" y="5613990"/>
                  <a:pt x="331328" y="5723739"/>
                </a:cubicBezTo>
                <a:lnTo>
                  <a:pt x="0" y="5890304"/>
                </a:lnTo>
                <a:close/>
              </a:path>
            </a:pathLst>
          </a:custGeom>
          <a:gradFill>
            <a:gsLst>
              <a:gs pos="100000">
                <a:schemeClr val="accent1">
                  <a:alpha val="90000"/>
                </a:schemeClr>
              </a:gs>
              <a:gs pos="0">
                <a:schemeClr val="accent2">
                  <a:alpha val="9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txBox="1">
            <a:spLocks/>
          </p:cNvSpPr>
          <p:nvPr/>
        </p:nvSpPr>
        <p:spPr>
          <a:xfrm>
            <a:off x="1333500" y="1638300"/>
            <a:ext cx="9525000" cy="8544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3200" b="1" spc="-151">
                <a:solidFill>
                  <a:schemeClr val="bg1"/>
                </a:solidFill>
                <a:latin typeface="Source Sans Pro" panose="020B0503030403020204" pitchFamily="34" charset="0"/>
                <a:ea typeface="Source Sans Pro" panose="020B0503030403020204" pitchFamily="34" charset="0"/>
                <a:cs typeface="Open Sans Light" panose="020B0306030504020204" pitchFamily="34" charset="0"/>
              </a:defRPr>
            </a:lvl1pPr>
          </a:lstStyle>
          <a:p>
            <a:pPr algn="ctr"/>
            <a:r>
              <a:rPr lang="da-DK" sz="5400" dirty="0">
                <a:latin typeface="+mn-lt"/>
              </a:rPr>
              <a:t>Welcom </a:t>
            </a:r>
            <a:r>
              <a:rPr lang="da-DK" sz="5400" b="0" dirty="0">
                <a:latin typeface="+mn-lt"/>
              </a:rPr>
              <a:t>Presentation </a:t>
            </a:r>
            <a:r>
              <a:rPr lang="da-DK" sz="5400" dirty="0">
                <a:latin typeface="+mn-lt"/>
              </a:rPr>
              <a:t> </a:t>
            </a:r>
            <a:endParaRPr lang="en-US" sz="5400" dirty="0">
              <a:latin typeface="+mn-lt"/>
            </a:endParaRPr>
          </a:p>
        </p:txBody>
      </p:sp>
      <p:sp>
        <p:nvSpPr>
          <p:cNvPr id="7" name="Title 11"/>
          <p:cNvSpPr txBox="1">
            <a:spLocks/>
          </p:cNvSpPr>
          <p:nvPr/>
        </p:nvSpPr>
        <p:spPr>
          <a:xfrm>
            <a:off x="2584450" y="2492724"/>
            <a:ext cx="7023100" cy="424751"/>
          </a:xfrm>
          <a:prstGeom prst="rect">
            <a:avLst/>
          </a:prstGeom>
        </p:spPr>
        <p:txBody>
          <a:bodyPr vert="horz" wrap="square" lIns="91416" tIns="45708" rIns="91416" bIns="45708" rtlCol="0" anchor="ctr">
            <a:noAutofit/>
          </a:bodyPr>
          <a:lstStyle>
            <a:defPPr>
              <a:defRPr lang="en-US"/>
            </a:defPPr>
            <a:lvl1pPr algn="ctr">
              <a:lnSpc>
                <a:spcPct val="100000"/>
              </a:lnSpc>
              <a:spcBef>
                <a:spcPct val="0"/>
              </a:spcBef>
              <a:buNone/>
              <a:defRPr sz="2800" b="1">
                <a:solidFill>
                  <a:schemeClr val="tx1">
                    <a:lumMod val="95000"/>
                    <a:lumOff val="5000"/>
                  </a:schemeClr>
                </a:solidFill>
                <a:latin typeface="Freestyle Script" panose="030804020302050B0404" pitchFamily="66" charset="0"/>
                <a:ea typeface="Roboto" panose="02000000000000000000" pitchFamily="2" charset="0"/>
                <a:cs typeface="Lato" panose="020F0502020204030203" pitchFamily="34" charset="0"/>
              </a:defRPr>
            </a:lvl1pPr>
          </a:lstStyle>
          <a:p>
            <a:r>
              <a:rPr lang="en-US" sz="1400" b="0" spc="300" dirty="0">
                <a:solidFill>
                  <a:schemeClr val="bg1"/>
                </a:solidFill>
                <a:latin typeface="+mn-lt"/>
              </a:rPr>
              <a:t>Beautiful Presentation Template</a:t>
            </a:r>
          </a:p>
        </p:txBody>
      </p:sp>
      <p:sp>
        <p:nvSpPr>
          <p:cNvPr id="26" name="Rectangle 25"/>
          <p:cNvSpPr/>
          <p:nvPr/>
        </p:nvSpPr>
        <p:spPr>
          <a:xfrm>
            <a:off x="2746375" y="3006986"/>
            <a:ext cx="6699250" cy="646331"/>
          </a:xfrm>
          <a:prstGeom prst="rect">
            <a:avLst/>
          </a:prstGeom>
        </p:spPr>
        <p:txBody>
          <a:bodyPr wrap="square" anchor="ctr">
            <a:noAutofit/>
          </a:bodyPr>
          <a:lstStyle/>
          <a:p>
            <a:pPr algn="ctr">
              <a:buClr>
                <a:srgbClr val="E24848"/>
              </a:buClr>
              <a:defRPr/>
            </a:pPr>
            <a:r>
              <a:rPr lang="en-US" sz="1050" noProof="1">
                <a:solidFill>
                  <a:schemeClr val="bg1"/>
                </a:solidFill>
                <a:ea typeface="Open Sans Light" panose="020B0306030504020204" pitchFamily="34" charset="0"/>
                <a:cs typeface="Open Sans Light" panose="020B0306030504020204" pitchFamily="34" charset="0"/>
              </a:rPr>
              <a:t>Lorem ipsum dolor sit amet, consectetur adipiscing elit. Nulla imperdiet volutpat dui at fermentum. Lorem ipsum dolor sit amet, consectetur adipiscing elit. Nuldui at fermentumla imperdiet volutpat. Lorem ipsum dolor sit amet, </a:t>
            </a:r>
          </a:p>
        </p:txBody>
      </p:sp>
    </p:spTree>
    <p:extLst>
      <p:ext uri="{BB962C8B-B14F-4D97-AF65-F5344CB8AC3E}">
        <p14:creationId xmlns:p14="http://schemas.microsoft.com/office/powerpoint/2010/main" val="1554406097"/>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363A082C-6746-49E4-84E8-425211C119E7}"/>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20608" r="20608"/>
          <a:stretch>
            <a:fillRect/>
          </a:stretch>
        </p:blipFill>
        <p:spPr/>
      </p:pic>
      <p:sp>
        <p:nvSpPr>
          <p:cNvPr id="6" name="Rectangle 5"/>
          <p:cNvSpPr/>
          <p:nvPr>
            <p:custDataLst>
              <p:tags r:id="rId1"/>
            </p:custDataLst>
          </p:nvPr>
        </p:nvSpPr>
        <p:spPr>
          <a:xfrm>
            <a:off x="465988" y="1452775"/>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bg1"/>
                </a:solidFill>
                <a:ea typeface="Open Sans" panose="020B0606030504020204" pitchFamily="34" charset="0"/>
                <a:cs typeface="Open Sans" panose="020B0606030504020204" pitchFamily="34" charset="0"/>
              </a:rPr>
              <a:t>Put Your Great Subtitle Here</a:t>
            </a:r>
          </a:p>
        </p:txBody>
      </p:sp>
      <p:sp>
        <p:nvSpPr>
          <p:cNvPr id="10" name="Rectangle 9"/>
          <p:cNvSpPr/>
          <p:nvPr/>
        </p:nvSpPr>
        <p:spPr>
          <a:xfrm>
            <a:off x="465988" y="1707052"/>
            <a:ext cx="4233261" cy="3017348"/>
          </a:xfrm>
          <a:prstGeom prst="rect">
            <a:avLst/>
          </a:prstGeom>
        </p:spPr>
        <p:txBody>
          <a:bodyPr vert="horz" wrap="square" lIns="91416" tIns="45708" rIns="91416" bIns="45708" rtlCol="0" anchor="ctr">
            <a:noAutofit/>
          </a:bodyPr>
          <a:lstStyle/>
          <a:p>
            <a:pPr>
              <a:lnSpc>
                <a:spcPct val="90000"/>
              </a:lnSpc>
              <a:spcBef>
                <a:spcPct val="0"/>
              </a:spcBef>
            </a:pPr>
            <a:r>
              <a:rPr lang="en-US" sz="3600" b="1" spc="-150" noProof="1">
                <a:solidFill>
                  <a:schemeClr val="bg1"/>
                </a:solidFill>
                <a:ea typeface="Roboto" panose="02000000000000000000" pitchFamily="2" charset="0"/>
                <a:cs typeface="Times New Roman" panose="02020603050405020304" pitchFamily="18" charset="0"/>
              </a:rPr>
              <a:t>Definiteness Of </a:t>
            </a:r>
          </a:p>
          <a:p>
            <a:pPr>
              <a:lnSpc>
                <a:spcPct val="90000"/>
              </a:lnSpc>
              <a:spcBef>
                <a:spcPct val="0"/>
              </a:spcBef>
            </a:pPr>
            <a:r>
              <a:rPr lang="en-US" sz="3600" b="1" spc="-150" noProof="1">
                <a:solidFill>
                  <a:schemeClr val="bg1"/>
                </a:solidFill>
                <a:ea typeface="Roboto" panose="02000000000000000000" pitchFamily="2" charset="0"/>
                <a:cs typeface="Times New Roman" panose="02020603050405020304" pitchFamily="18" charset="0"/>
              </a:rPr>
              <a:t>Purpose </a:t>
            </a:r>
          </a:p>
          <a:p>
            <a:pPr>
              <a:lnSpc>
                <a:spcPct val="90000"/>
              </a:lnSpc>
              <a:spcBef>
                <a:spcPct val="0"/>
              </a:spcBef>
            </a:pPr>
            <a:r>
              <a:rPr lang="en-US" sz="3600" spc="-150" noProof="1">
                <a:solidFill>
                  <a:schemeClr val="bg1"/>
                </a:solidFill>
                <a:ea typeface="Roboto" panose="02000000000000000000" pitchFamily="2" charset="0"/>
                <a:cs typeface="Times New Roman" panose="02020603050405020304" pitchFamily="18" charset="0"/>
              </a:rPr>
              <a:t>Is The Starting  </a:t>
            </a:r>
          </a:p>
          <a:p>
            <a:pPr>
              <a:lnSpc>
                <a:spcPct val="90000"/>
              </a:lnSpc>
              <a:spcBef>
                <a:spcPct val="0"/>
              </a:spcBef>
            </a:pPr>
            <a:r>
              <a:rPr lang="en-US" sz="3600" spc="-150" noProof="1">
                <a:solidFill>
                  <a:schemeClr val="bg1"/>
                </a:solidFill>
                <a:ea typeface="Roboto" panose="02000000000000000000" pitchFamily="2" charset="0"/>
                <a:cs typeface="Times New Roman" panose="02020603050405020304" pitchFamily="18" charset="0"/>
              </a:rPr>
              <a:t>Point Of All </a:t>
            </a:r>
          </a:p>
          <a:p>
            <a:pPr>
              <a:lnSpc>
                <a:spcPct val="90000"/>
              </a:lnSpc>
              <a:spcBef>
                <a:spcPct val="0"/>
              </a:spcBef>
            </a:pPr>
            <a:r>
              <a:rPr lang="en-US" sz="3600" spc="-150" noProof="1">
                <a:solidFill>
                  <a:schemeClr val="bg1"/>
                </a:solidFill>
                <a:ea typeface="Roboto" panose="02000000000000000000" pitchFamily="2" charset="0"/>
                <a:cs typeface="Times New Roman" panose="02020603050405020304" pitchFamily="18" charset="0"/>
              </a:rPr>
              <a:t>Achievement</a:t>
            </a:r>
          </a:p>
        </p:txBody>
      </p:sp>
      <p:sp>
        <p:nvSpPr>
          <p:cNvPr id="11" name="Rectangle 10"/>
          <p:cNvSpPr/>
          <p:nvPr/>
        </p:nvSpPr>
        <p:spPr>
          <a:xfrm>
            <a:off x="465988" y="4659086"/>
            <a:ext cx="3975100" cy="1399166"/>
          </a:xfrm>
          <a:prstGeom prst="rect">
            <a:avLst/>
          </a:prstGeom>
        </p:spPr>
        <p:txBody>
          <a:bodyPr wrap="square">
            <a:spAutoFit/>
          </a:bodyPr>
          <a:lstStyle/>
          <a:p>
            <a:pPr algn="just">
              <a:lnSpc>
                <a:spcPct val="200000"/>
              </a:lnSpc>
              <a:buClr>
                <a:srgbClr val="E24848"/>
              </a:buClr>
            </a:pPr>
            <a:r>
              <a:rPr lang="en-US" sz="1100" noProof="1">
                <a:solidFill>
                  <a:schemeClr val="bg1"/>
                </a:solidFill>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a:t>
            </a:r>
          </a:p>
        </p:txBody>
      </p:sp>
      <p:grpSp>
        <p:nvGrpSpPr>
          <p:cNvPr id="14" name="Group 13"/>
          <p:cNvGrpSpPr/>
          <p:nvPr/>
        </p:nvGrpSpPr>
        <p:grpSpPr>
          <a:xfrm>
            <a:off x="0" y="-9526"/>
            <a:ext cx="4162790" cy="854354"/>
            <a:chOff x="0" y="-9526"/>
            <a:chExt cx="4162790" cy="854354"/>
          </a:xfrm>
        </p:grpSpPr>
        <p:sp>
          <p:nvSpPr>
            <p:cNvPr id="15" name="Freeform 14"/>
            <p:cNvSpPr/>
            <p:nvPr/>
          </p:nvSpPr>
          <p:spPr>
            <a:xfrm>
              <a:off x="1" y="-9526"/>
              <a:ext cx="4086315" cy="854354"/>
            </a:xfrm>
            <a:custGeom>
              <a:avLst/>
              <a:gdLst>
                <a:gd name="connsiteX0" fmla="*/ 0 w 4086315"/>
                <a:gd name="connsiteY0" fmla="*/ 0 h 854354"/>
                <a:gd name="connsiteX1" fmla="*/ 4086315 w 4086315"/>
                <a:gd name="connsiteY1" fmla="*/ 0 h 854354"/>
                <a:gd name="connsiteX2" fmla="*/ 3700053 w 4086315"/>
                <a:gd name="connsiteY2" fmla="*/ 236387 h 854354"/>
                <a:gd name="connsiteX3" fmla="*/ 3071976 w 4086315"/>
                <a:gd name="connsiteY3" fmla="*/ 837056 h 854354"/>
                <a:gd name="connsiteX4" fmla="*/ 2354350 w 4086315"/>
                <a:gd name="connsiteY4" fmla="*/ 594269 h 854354"/>
                <a:gd name="connsiteX5" fmla="*/ 2326519 w 4086315"/>
                <a:gd name="connsiteY5" fmla="*/ 596417 h 854354"/>
                <a:gd name="connsiteX6" fmla="*/ 2298688 w 4086315"/>
                <a:gd name="connsiteY6" fmla="*/ 594269 h 854354"/>
                <a:gd name="connsiteX7" fmla="*/ 1581063 w 4086315"/>
                <a:gd name="connsiteY7" fmla="*/ 837056 h 854354"/>
                <a:gd name="connsiteX8" fmla="*/ 813774 w 4086315"/>
                <a:gd name="connsiteY8" fmla="*/ 218287 h 854354"/>
                <a:gd name="connsiteX9" fmla="*/ 88899 w 4086315"/>
                <a:gd name="connsiteY9" fmla="*/ 729962 h 854354"/>
                <a:gd name="connsiteX10" fmla="*/ 36789 w 4086315"/>
                <a:gd name="connsiteY10" fmla="*/ 746586 h 854354"/>
                <a:gd name="connsiteX11" fmla="*/ 0 w 4086315"/>
                <a:gd name="connsiteY11" fmla="*/ 751118 h 8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86315" h="854354">
                  <a:moveTo>
                    <a:pt x="0" y="0"/>
                  </a:moveTo>
                  <a:lnTo>
                    <a:pt x="4086315" y="0"/>
                  </a:lnTo>
                  <a:lnTo>
                    <a:pt x="3700053" y="236387"/>
                  </a:lnTo>
                  <a:cubicBezTo>
                    <a:pt x="3634603" y="298480"/>
                    <a:pt x="3296259" y="777409"/>
                    <a:pt x="3071976" y="837056"/>
                  </a:cubicBezTo>
                  <a:cubicBezTo>
                    <a:pt x="2847692" y="896703"/>
                    <a:pt x="2547499" y="605700"/>
                    <a:pt x="2354350" y="594269"/>
                  </a:cubicBezTo>
                  <a:lnTo>
                    <a:pt x="2326519" y="596417"/>
                  </a:lnTo>
                  <a:lnTo>
                    <a:pt x="2298688" y="594269"/>
                  </a:lnTo>
                  <a:cubicBezTo>
                    <a:pt x="2105539" y="605700"/>
                    <a:pt x="1805467" y="931998"/>
                    <a:pt x="1581063" y="837056"/>
                  </a:cubicBezTo>
                  <a:cubicBezTo>
                    <a:pt x="1304873" y="720205"/>
                    <a:pt x="1062468" y="236136"/>
                    <a:pt x="813774" y="218287"/>
                  </a:cubicBezTo>
                  <a:cubicBezTo>
                    <a:pt x="565080" y="200438"/>
                    <a:pt x="352509" y="613111"/>
                    <a:pt x="88899" y="729962"/>
                  </a:cubicBezTo>
                  <a:cubicBezTo>
                    <a:pt x="72423" y="737266"/>
                    <a:pt x="55004" y="742727"/>
                    <a:pt x="36789" y="746586"/>
                  </a:cubicBezTo>
                  <a:lnTo>
                    <a:pt x="0" y="751118"/>
                  </a:lnTo>
                  <a:close/>
                </a:path>
              </a:pathLst>
            </a:custGeom>
            <a:solidFill>
              <a:schemeClr val="tx1">
                <a:lumMod val="95000"/>
                <a:lumOff val="5000"/>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15"/>
            <p:cNvSpPr/>
            <p:nvPr/>
          </p:nvSpPr>
          <p:spPr>
            <a:xfrm flipH="1">
              <a:off x="0" y="-9525"/>
              <a:ext cx="4162790" cy="688727"/>
            </a:xfrm>
            <a:custGeom>
              <a:avLst/>
              <a:gdLst>
                <a:gd name="connsiteX0" fmla="*/ 4162790 w 4162790"/>
                <a:gd name="connsiteY0" fmla="*/ 0 h 688727"/>
                <a:gd name="connsiteX1" fmla="*/ 0 w 4162790"/>
                <a:gd name="connsiteY1" fmla="*/ 0 h 688727"/>
                <a:gd name="connsiteX2" fmla="*/ 93505 w 4162790"/>
                <a:gd name="connsiteY2" fmla="*/ 40291 h 688727"/>
                <a:gd name="connsiteX3" fmla="*/ 764963 w 4162790"/>
                <a:gd name="connsiteY3" fmla="*/ 578498 h 688727"/>
                <a:gd name="connsiteX4" fmla="*/ 1524989 w 4162790"/>
                <a:gd name="connsiteY4" fmla="*/ 125080 h 688727"/>
                <a:gd name="connsiteX5" fmla="*/ 2329486 w 4162790"/>
                <a:gd name="connsiteY5" fmla="*/ 673399 h 688727"/>
                <a:gd name="connsiteX6" fmla="*/ 3081911 w 4162790"/>
                <a:gd name="connsiteY6" fmla="*/ 458255 h 688727"/>
                <a:gd name="connsiteX7" fmla="*/ 3111091 w 4162790"/>
                <a:gd name="connsiteY7" fmla="*/ 460157 h 688727"/>
                <a:gd name="connsiteX8" fmla="*/ 3140272 w 4162790"/>
                <a:gd name="connsiteY8" fmla="*/ 458255 h 688727"/>
                <a:gd name="connsiteX9" fmla="*/ 3892696 w 4162790"/>
                <a:gd name="connsiteY9" fmla="*/ 673399 h 688727"/>
                <a:gd name="connsiteX10" fmla="*/ 4103899 w 4162790"/>
                <a:gd name="connsiteY10" fmla="*/ 546264 h 688727"/>
                <a:gd name="connsiteX11" fmla="*/ 4162790 w 4162790"/>
                <a:gd name="connsiteY11" fmla="*/ 495560 h 68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62790" h="688727">
                  <a:moveTo>
                    <a:pt x="4162790" y="0"/>
                  </a:moveTo>
                  <a:lnTo>
                    <a:pt x="0" y="0"/>
                  </a:lnTo>
                  <a:lnTo>
                    <a:pt x="93505" y="40291"/>
                  </a:lnTo>
                  <a:cubicBezTo>
                    <a:pt x="414722" y="224142"/>
                    <a:pt x="407200" y="549345"/>
                    <a:pt x="764963" y="578498"/>
                  </a:cubicBezTo>
                  <a:cubicBezTo>
                    <a:pt x="1173835" y="611816"/>
                    <a:pt x="1264236" y="109263"/>
                    <a:pt x="1524989" y="125080"/>
                  </a:cubicBezTo>
                  <a:cubicBezTo>
                    <a:pt x="1785743" y="140897"/>
                    <a:pt x="2039902" y="569851"/>
                    <a:pt x="2329486" y="673399"/>
                  </a:cubicBezTo>
                  <a:cubicBezTo>
                    <a:pt x="2564772" y="757531"/>
                    <a:pt x="2879395" y="468384"/>
                    <a:pt x="3081911" y="458255"/>
                  </a:cubicBezTo>
                  <a:lnTo>
                    <a:pt x="3111091" y="460157"/>
                  </a:lnTo>
                  <a:lnTo>
                    <a:pt x="3140272" y="458255"/>
                  </a:lnTo>
                  <a:cubicBezTo>
                    <a:pt x="3342787" y="468384"/>
                    <a:pt x="3657409" y="757531"/>
                    <a:pt x="3892696" y="673399"/>
                  </a:cubicBezTo>
                  <a:cubicBezTo>
                    <a:pt x="3965092" y="647512"/>
                    <a:pt x="4035274" y="601287"/>
                    <a:pt x="4103899" y="546264"/>
                  </a:cubicBezTo>
                  <a:lnTo>
                    <a:pt x="4162790" y="495560"/>
                  </a:lnTo>
                  <a:close/>
                </a:path>
              </a:pathLst>
            </a:custGeom>
            <a:gradFill>
              <a:gsLst>
                <a:gs pos="100000">
                  <a:schemeClr val="accent1">
                    <a:alpha val="25000"/>
                  </a:schemeClr>
                </a:gs>
                <a:gs pos="0">
                  <a:schemeClr val="accent2">
                    <a:alpha val="25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Freeform 16"/>
            <p:cNvSpPr/>
            <p:nvPr userDrawn="1"/>
          </p:nvSpPr>
          <p:spPr>
            <a:xfrm flipH="1">
              <a:off x="0" y="-9525"/>
              <a:ext cx="4148598" cy="562293"/>
            </a:xfrm>
            <a:custGeom>
              <a:avLst/>
              <a:gdLst>
                <a:gd name="connsiteX0" fmla="*/ 4148598 w 4148598"/>
                <a:gd name="connsiteY0" fmla="*/ 0 h 562293"/>
                <a:gd name="connsiteX1" fmla="*/ 0 w 4148598"/>
                <a:gd name="connsiteY1" fmla="*/ 0 h 562293"/>
                <a:gd name="connsiteX2" fmla="*/ 79313 w 4148598"/>
                <a:gd name="connsiteY2" fmla="*/ 28152 h 562293"/>
                <a:gd name="connsiteX3" fmla="*/ 750771 w 4148598"/>
                <a:gd name="connsiteY3" fmla="*/ 471494 h 562293"/>
                <a:gd name="connsiteX4" fmla="*/ 1510797 w 4148598"/>
                <a:gd name="connsiteY4" fmla="*/ 97996 h 562293"/>
                <a:gd name="connsiteX5" fmla="*/ 2315294 w 4148598"/>
                <a:gd name="connsiteY5" fmla="*/ 549667 h 562293"/>
                <a:gd name="connsiteX6" fmla="*/ 3067719 w 4148598"/>
                <a:gd name="connsiteY6" fmla="*/ 372445 h 562293"/>
                <a:gd name="connsiteX7" fmla="*/ 3096899 w 4148598"/>
                <a:gd name="connsiteY7" fmla="*/ 374012 h 562293"/>
                <a:gd name="connsiteX8" fmla="*/ 3126080 w 4148598"/>
                <a:gd name="connsiteY8" fmla="*/ 372445 h 562293"/>
                <a:gd name="connsiteX9" fmla="*/ 3878504 w 4148598"/>
                <a:gd name="connsiteY9" fmla="*/ 549667 h 562293"/>
                <a:gd name="connsiteX10" fmla="*/ 4089707 w 4148598"/>
                <a:gd name="connsiteY10" fmla="*/ 444942 h 562293"/>
                <a:gd name="connsiteX11" fmla="*/ 4148598 w 4148598"/>
                <a:gd name="connsiteY11" fmla="*/ 403175 h 56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48598" h="562293">
                  <a:moveTo>
                    <a:pt x="4148598" y="0"/>
                  </a:moveTo>
                  <a:lnTo>
                    <a:pt x="0" y="0"/>
                  </a:lnTo>
                  <a:lnTo>
                    <a:pt x="79313" y="28152"/>
                  </a:lnTo>
                  <a:cubicBezTo>
                    <a:pt x="400530" y="179597"/>
                    <a:pt x="393008" y="447480"/>
                    <a:pt x="750771" y="471494"/>
                  </a:cubicBezTo>
                  <a:cubicBezTo>
                    <a:pt x="1159643" y="498939"/>
                    <a:pt x="1250044" y="84967"/>
                    <a:pt x="1510797" y="97996"/>
                  </a:cubicBezTo>
                  <a:cubicBezTo>
                    <a:pt x="1771551" y="111025"/>
                    <a:pt x="2025710" y="464371"/>
                    <a:pt x="2315294" y="549667"/>
                  </a:cubicBezTo>
                  <a:cubicBezTo>
                    <a:pt x="2550580" y="618970"/>
                    <a:pt x="2865203" y="380789"/>
                    <a:pt x="3067719" y="372445"/>
                  </a:cubicBezTo>
                  <a:lnTo>
                    <a:pt x="3096899" y="374012"/>
                  </a:lnTo>
                  <a:lnTo>
                    <a:pt x="3126080" y="372445"/>
                  </a:lnTo>
                  <a:cubicBezTo>
                    <a:pt x="3328595" y="380789"/>
                    <a:pt x="3643217" y="618970"/>
                    <a:pt x="3878504" y="549667"/>
                  </a:cubicBezTo>
                  <a:cubicBezTo>
                    <a:pt x="3950900" y="528344"/>
                    <a:pt x="4021082" y="490267"/>
                    <a:pt x="4089707" y="444942"/>
                  </a:cubicBezTo>
                  <a:lnTo>
                    <a:pt x="4148598" y="403175"/>
                  </a:lnTo>
                  <a:close/>
                </a:path>
              </a:pathLst>
            </a:custGeom>
            <a:gradFill flip="none" rotWithShape="1">
              <a:gsLst>
                <a:gs pos="100000">
                  <a:schemeClr val="accent1"/>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17"/>
            <p:cNvSpPr/>
            <p:nvPr/>
          </p:nvSpPr>
          <p:spPr>
            <a:xfrm flipV="1">
              <a:off x="0" y="-9526"/>
              <a:ext cx="4045638" cy="463307"/>
            </a:xfrm>
            <a:custGeom>
              <a:avLst/>
              <a:gdLst>
                <a:gd name="connsiteX0" fmla="*/ 0 w 4045638"/>
                <a:gd name="connsiteY0" fmla="*/ 463307 h 463307"/>
                <a:gd name="connsiteX1" fmla="*/ 4045638 w 4045638"/>
                <a:gd name="connsiteY1" fmla="*/ 463307 h 463307"/>
                <a:gd name="connsiteX2" fmla="*/ 3929456 w 4045638"/>
                <a:gd name="connsiteY2" fmla="*/ 432895 h 463307"/>
                <a:gd name="connsiteX3" fmla="*/ 3530987 w 4045638"/>
                <a:gd name="connsiteY3" fmla="*/ 234506 h 463307"/>
                <a:gd name="connsiteX4" fmla="*/ 2523093 w 4045638"/>
                <a:gd name="connsiteY4" fmla="*/ 280673 h 463307"/>
                <a:gd name="connsiteX5" fmla="*/ 1724297 w 4045638"/>
                <a:gd name="connsiteY5" fmla="*/ 308 h 463307"/>
                <a:gd name="connsiteX6" fmla="*/ 878763 w 4045638"/>
                <a:gd name="connsiteY6" fmla="*/ 339353 h 463307"/>
                <a:gd name="connsiteX7" fmla="*/ 41022 w 4045638"/>
                <a:gd name="connsiteY7" fmla="*/ 208123 h 463307"/>
                <a:gd name="connsiteX8" fmla="*/ 0 w 4045638"/>
                <a:gd name="connsiteY8" fmla="*/ 216898 h 463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45638" h="463307">
                  <a:moveTo>
                    <a:pt x="0" y="463307"/>
                  </a:moveTo>
                  <a:lnTo>
                    <a:pt x="4045638" y="463307"/>
                  </a:lnTo>
                  <a:lnTo>
                    <a:pt x="3929456" y="432895"/>
                  </a:lnTo>
                  <a:cubicBezTo>
                    <a:pt x="3728123" y="370337"/>
                    <a:pt x="3698064" y="298850"/>
                    <a:pt x="3530987" y="234506"/>
                  </a:cubicBezTo>
                  <a:cubicBezTo>
                    <a:pt x="3370086" y="150375"/>
                    <a:pt x="2813585" y="344700"/>
                    <a:pt x="2523093" y="280673"/>
                  </a:cubicBezTo>
                  <a:cubicBezTo>
                    <a:pt x="2232600" y="216646"/>
                    <a:pt x="1998352" y="-9472"/>
                    <a:pt x="1724297" y="308"/>
                  </a:cubicBezTo>
                  <a:cubicBezTo>
                    <a:pt x="1450242" y="10088"/>
                    <a:pt x="1183118" y="275326"/>
                    <a:pt x="878763" y="339353"/>
                  </a:cubicBezTo>
                  <a:cubicBezTo>
                    <a:pt x="612453" y="395377"/>
                    <a:pt x="249437" y="183713"/>
                    <a:pt x="41022" y="208123"/>
                  </a:cubicBezTo>
                  <a:lnTo>
                    <a:pt x="0" y="216898"/>
                  </a:lnTo>
                  <a:close/>
                </a:path>
              </a:pathLst>
            </a:custGeom>
            <a:solidFill>
              <a:schemeClr val="accent3">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19" name="Group 18"/>
          <p:cNvGrpSpPr/>
          <p:nvPr/>
        </p:nvGrpSpPr>
        <p:grpSpPr>
          <a:xfrm flipH="1">
            <a:off x="-46624" y="6052457"/>
            <a:ext cx="12238623" cy="805543"/>
            <a:chOff x="-46623" y="5681809"/>
            <a:chExt cx="12238623" cy="1176191"/>
          </a:xfrm>
        </p:grpSpPr>
        <p:sp>
          <p:nvSpPr>
            <p:cNvPr id="20" name="Freeform 19"/>
            <p:cNvSpPr/>
            <p:nvPr/>
          </p:nvSpPr>
          <p:spPr>
            <a:xfrm>
              <a:off x="-46623" y="5843626"/>
              <a:ext cx="12192000" cy="1014374"/>
            </a:xfrm>
            <a:custGeom>
              <a:avLst/>
              <a:gdLst>
                <a:gd name="connsiteX0" fmla="*/ 12192000 w 12192000"/>
                <a:gd name="connsiteY0" fmla="*/ 0 h 1074584"/>
                <a:gd name="connsiteX1" fmla="*/ 1582058 w 12192000"/>
                <a:gd name="connsiteY1" fmla="*/ 0 h 1074584"/>
                <a:gd name="connsiteX2" fmla="*/ 810918 w 12192000"/>
                <a:gd name="connsiteY2" fmla="*/ 0 h 1074584"/>
                <a:gd name="connsiteX3" fmla="*/ 470766 w 12192000"/>
                <a:gd name="connsiteY3" fmla="*/ 0 h 1074584"/>
                <a:gd name="connsiteX4" fmla="*/ 448024 w 12192000"/>
                <a:gd name="connsiteY4" fmla="*/ 0 h 1074584"/>
                <a:gd name="connsiteX5" fmla="*/ 0 w 12192000"/>
                <a:gd name="connsiteY5" fmla="*/ 0 h 1074584"/>
                <a:gd name="connsiteX6" fmla="*/ 0 w 12192000"/>
                <a:gd name="connsiteY6" fmla="*/ 1074584 h 1074584"/>
                <a:gd name="connsiteX7" fmla="*/ 345070 w 12192000"/>
                <a:gd name="connsiteY7" fmla="*/ 1074584 h 1074584"/>
                <a:gd name="connsiteX8" fmla="*/ 1582058 w 12192000"/>
                <a:gd name="connsiteY8" fmla="*/ 1074584 h 1074584"/>
                <a:gd name="connsiteX9" fmla="*/ 12192000 w 12192000"/>
                <a:gd name="connsiteY9" fmla="*/ 1074584 h 1074584"/>
                <a:gd name="connsiteX0" fmla="*/ 12192000 w 12192000"/>
                <a:gd name="connsiteY0" fmla="*/ 0 h 1074584"/>
                <a:gd name="connsiteX1" fmla="*/ 1582058 w 12192000"/>
                <a:gd name="connsiteY1" fmla="*/ 0 h 1074584"/>
                <a:gd name="connsiteX2" fmla="*/ 470766 w 12192000"/>
                <a:gd name="connsiteY2" fmla="*/ 0 h 1074584"/>
                <a:gd name="connsiteX3" fmla="*/ 448024 w 12192000"/>
                <a:gd name="connsiteY3" fmla="*/ 0 h 1074584"/>
                <a:gd name="connsiteX4" fmla="*/ 0 w 12192000"/>
                <a:gd name="connsiteY4" fmla="*/ 0 h 1074584"/>
                <a:gd name="connsiteX5" fmla="*/ 0 w 12192000"/>
                <a:gd name="connsiteY5" fmla="*/ 1074584 h 1074584"/>
                <a:gd name="connsiteX6" fmla="*/ 345070 w 12192000"/>
                <a:gd name="connsiteY6" fmla="*/ 1074584 h 1074584"/>
                <a:gd name="connsiteX7" fmla="*/ 1582058 w 12192000"/>
                <a:gd name="connsiteY7" fmla="*/ 1074584 h 1074584"/>
                <a:gd name="connsiteX8" fmla="*/ 12192000 w 12192000"/>
                <a:gd name="connsiteY8" fmla="*/ 1074584 h 1074584"/>
                <a:gd name="connsiteX9" fmla="*/ 12192000 w 12192000"/>
                <a:gd name="connsiteY9" fmla="*/ 0 h 1074584"/>
                <a:gd name="connsiteX0" fmla="*/ 12192000 w 12192000"/>
                <a:gd name="connsiteY0" fmla="*/ 0 h 1074584"/>
                <a:gd name="connsiteX1" fmla="*/ 1582058 w 12192000"/>
                <a:gd name="connsiteY1" fmla="*/ 0 h 1074584"/>
                <a:gd name="connsiteX2" fmla="*/ 470766 w 12192000"/>
                <a:gd name="connsiteY2" fmla="*/ 0 h 1074584"/>
                <a:gd name="connsiteX3" fmla="*/ 0 w 12192000"/>
                <a:gd name="connsiteY3" fmla="*/ 0 h 1074584"/>
                <a:gd name="connsiteX4" fmla="*/ 0 w 12192000"/>
                <a:gd name="connsiteY4" fmla="*/ 1074584 h 1074584"/>
                <a:gd name="connsiteX5" fmla="*/ 345070 w 12192000"/>
                <a:gd name="connsiteY5" fmla="*/ 1074584 h 1074584"/>
                <a:gd name="connsiteX6" fmla="*/ 1582058 w 12192000"/>
                <a:gd name="connsiteY6" fmla="*/ 1074584 h 1074584"/>
                <a:gd name="connsiteX7" fmla="*/ 12192000 w 12192000"/>
                <a:gd name="connsiteY7" fmla="*/ 1074584 h 1074584"/>
                <a:gd name="connsiteX8" fmla="*/ 12192000 w 12192000"/>
                <a:gd name="connsiteY8"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345070 w 12192000"/>
                <a:gd name="connsiteY4" fmla="*/ 1074584 h 1074584"/>
                <a:gd name="connsiteX5" fmla="*/ 1582058 w 12192000"/>
                <a:gd name="connsiteY5" fmla="*/ 1074584 h 1074584"/>
                <a:gd name="connsiteX6" fmla="*/ 12192000 w 12192000"/>
                <a:gd name="connsiteY6" fmla="*/ 1074584 h 1074584"/>
                <a:gd name="connsiteX7" fmla="*/ 12192000 w 12192000"/>
                <a:gd name="connsiteY7"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1582058 w 12192000"/>
                <a:gd name="connsiteY4" fmla="*/ 1074584 h 1074584"/>
                <a:gd name="connsiteX5" fmla="*/ 12192000 w 12192000"/>
                <a:gd name="connsiteY5" fmla="*/ 1074584 h 1074584"/>
                <a:gd name="connsiteX6" fmla="*/ 12192000 w 12192000"/>
                <a:gd name="connsiteY6"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12192000 w 12192000"/>
                <a:gd name="connsiteY4" fmla="*/ 1074584 h 1074584"/>
                <a:gd name="connsiteX5" fmla="*/ 12192000 w 12192000"/>
                <a:gd name="connsiteY5" fmla="*/ 0 h 1074584"/>
                <a:gd name="connsiteX0" fmla="*/ 12192000 w 12192000"/>
                <a:gd name="connsiteY0" fmla="*/ 0 h 1074584"/>
                <a:gd name="connsiteX1" fmla="*/ 0 w 12192000"/>
                <a:gd name="connsiteY1" fmla="*/ 0 h 1074584"/>
                <a:gd name="connsiteX2" fmla="*/ 0 w 12192000"/>
                <a:gd name="connsiteY2" fmla="*/ 1074584 h 1074584"/>
                <a:gd name="connsiteX3" fmla="*/ 12192000 w 12192000"/>
                <a:gd name="connsiteY3" fmla="*/ 1074584 h 1074584"/>
                <a:gd name="connsiteX4" fmla="*/ 12192000 w 12192000"/>
                <a:gd name="connsiteY4" fmla="*/ 0 h 1074584"/>
                <a:gd name="connsiteX0" fmla="*/ 12192000 w 12192000"/>
                <a:gd name="connsiteY0" fmla="*/ 0 h 1074584"/>
                <a:gd name="connsiteX1" fmla="*/ 1683657 w 12192000"/>
                <a:gd name="connsiteY1" fmla="*/ 0 h 1074584"/>
                <a:gd name="connsiteX2" fmla="*/ 0 w 12192000"/>
                <a:gd name="connsiteY2" fmla="*/ 0 h 1074584"/>
                <a:gd name="connsiteX3" fmla="*/ 0 w 12192000"/>
                <a:gd name="connsiteY3" fmla="*/ 1074584 h 1074584"/>
                <a:gd name="connsiteX4" fmla="*/ 12192000 w 12192000"/>
                <a:gd name="connsiteY4" fmla="*/ 1074584 h 1074584"/>
                <a:gd name="connsiteX5" fmla="*/ 12192000 w 12192000"/>
                <a:gd name="connsiteY5" fmla="*/ 0 h 1074584"/>
                <a:gd name="connsiteX0" fmla="*/ 12192000 w 12192000"/>
                <a:gd name="connsiteY0" fmla="*/ 2595749 h 3670333"/>
                <a:gd name="connsiteX1" fmla="*/ 2989943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2595749 h 3670333"/>
                <a:gd name="connsiteX1" fmla="*/ 2989943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2595749 h 3670333"/>
                <a:gd name="connsiteX1" fmla="*/ 3875315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3134985 h 4209569"/>
                <a:gd name="connsiteX1" fmla="*/ 3875315 w 12192000"/>
                <a:gd name="connsiteY1" fmla="*/ 539236 h 4209569"/>
                <a:gd name="connsiteX2" fmla="*/ 0 w 12192000"/>
                <a:gd name="connsiteY2" fmla="*/ 3134985 h 4209569"/>
                <a:gd name="connsiteX3" fmla="*/ 0 w 12192000"/>
                <a:gd name="connsiteY3" fmla="*/ 4209569 h 4209569"/>
                <a:gd name="connsiteX4" fmla="*/ 12192000 w 12192000"/>
                <a:gd name="connsiteY4" fmla="*/ 4209569 h 4209569"/>
                <a:gd name="connsiteX5" fmla="*/ 12192000 w 12192000"/>
                <a:gd name="connsiteY5" fmla="*/ 3134985 h 4209569"/>
                <a:gd name="connsiteX0" fmla="*/ 12192000 w 12192000"/>
                <a:gd name="connsiteY0" fmla="*/ 2158437 h 3233021"/>
                <a:gd name="connsiteX1" fmla="*/ 5138058 w 12192000"/>
                <a:gd name="connsiteY1" fmla="*/ 679140 h 3233021"/>
                <a:gd name="connsiteX2" fmla="*/ 0 w 12192000"/>
                <a:gd name="connsiteY2" fmla="*/ 2158437 h 3233021"/>
                <a:gd name="connsiteX3" fmla="*/ 0 w 12192000"/>
                <a:gd name="connsiteY3" fmla="*/ 3233021 h 3233021"/>
                <a:gd name="connsiteX4" fmla="*/ 12192000 w 12192000"/>
                <a:gd name="connsiteY4" fmla="*/ 3233021 h 3233021"/>
                <a:gd name="connsiteX5" fmla="*/ 12192000 w 12192000"/>
                <a:gd name="connsiteY5" fmla="*/ 2158437 h 3233021"/>
                <a:gd name="connsiteX0" fmla="*/ 12192000 w 12192000"/>
                <a:gd name="connsiteY0" fmla="*/ 1802920 h 2877504"/>
                <a:gd name="connsiteX1" fmla="*/ 5138058 w 12192000"/>
                <a:gd name="connsiteY1" fmla="*/ 323623 h 2877504"/>
                <a:gd name="connsiteX2" fmla="*/ 0 w 12192000"/>
                <a:gd name="connsiteY2" fmla="*/ 1802920 h 2877504"/>
                <a:gd name="connsiteX3" fmla="*/ 0 w 12192000"/>
                <a:gd name="connsiteY3" fmla="*/ 2877504 h 2877504"/>
                <a:gd name="connsiteX4" fmla="*/ 12192000 w 12192000"/>
                <a:gd name="connsiteY4" fmla="*/ 2877504 h 2877504"/>
                <a:gd name="connsiteX5" fmla="*/ 12192000 w 12192000"/>
                <a:gd name="connsiteY5" fmla="*/ 1802920 h 2877504"/>
                <a:gd name="connsiteX0" fmla="*/ 12192000 w 12192000"/>
                <a:gd name="connsiteY0" fmla="*/ 1802920 h 2877504"/>
                <a:gd name="connsiteX1" fmla="*/ 5138058 w 12192000"/>
                <a:gd name="connsiteY1" fmla="*/ 323623 h 2877504"/>
                <a:gd name="connsiteX2" fmla="*/ 0 w 12192000"/>
                <a:gd name="connsiteY2" fmla="*/ 1802920 h 2877504"/>
                <a:gd name="connsiteX3" fmla="*/ 0 w 12192000"/>
                <a:gd name="connsiteY3" fmla="*/ 2877504 h 2877504"/>
                <a:gd name="connsiteX4" fmla="*/ 12192000 w 12192000"/>
                <a:gd name="connsiteY4" fmla="*/ 2877504 h 2877504"/>
                <a:gd name="connsiteX5" fmla="*/ 12192000 w 12192000"/>
                <a:gd name="connsiteY5" fmla="*/ 1802920 h 2877504"/>
                <a:gd name="connsiteX0" fmla="*/ 12192000 w 12192000"/>
                <a:gd name="connsiteY0" fmla="*/ 1187253 h 2261837"/>
                <a:gd name="connsiteX1" fmla="*/ 4601030 w 12192000"/>
                <a:gd name="connsiteY1" fmla="*/ 433648 h 2261837"/>
                <a:gd name="connsiteX2" fmla="*/ 0 w 12192000"/>
                <a:gd name="connsiteY2" fmla="*/ 1187253 h 2261837"/>
                <a:gd name="connsiteX3" fmla="*/ 0 w 12192000"/>
                <a:gd name="connsiteY3" fmla="*/ 2261837 h 2261837"/>
                <a:gd name="connsiteX4" fmla="*/ 12192000 w 12192000"/>
                <a:gd name="connsiteY4" fmla="*/ 2261837 h 2261837"/>
                <a:gd name="connsiteX5" fmla="*/ 12192000 w 12192000"/>
                <a:gd name="connsiteY5" fmla="*/ 1187253 h 2261837"/>
                <a:gd name="connsiteX0" fmla="*/ 12192000 w 12192000"/>
                <a:gd name="connsiteY0" fmla="*/ 1416635 h 2491219"/>
                <a:gd name="connsiteX1" fmla="*/ 2772230 w 12192000"/>
                <a:gd name="connsiteY1" fmla="*/ 383918 h 2491219"/>
                <a:gd name="connsiteX2" fmla="*/ 0 w 12192000"/>
                <a:gd name="connsiteY2" fmla="*/ 1416635 h 2491219"/>
                <a:gd name="connsiteX3" fmla="*/ 0 w 12192000"/>
                <a:gd name="connsiteY3" fmla="*/ 2491219 h 2491219"/>
                <a:gd name="connsiteX4" fmla="*/ 12192000 w 12192000"/>
                <a:gd name="connsiteY4" fmla="*/ 2491219 h 2491219"/>
                <a:gd name="connsiteX5" fmla="*/ 12192000 w 12192000"/>
                <a:gd name="connsiteY5" fmla="*/ 1416635 h 2491219"/>
                <a:gd name="connsiteX0" fmla="*/ 12192000 w 12192000"/>
                <a:gd name="connsiteY0" fmla="*/ 1047619 h 2122203"/>
                <a:gd name="connsiteX1" fmla="*/ 2772230 w 12192000"/>
                <a:gd name="connsiteY1" fmla="*/ 14902 h 2122203"/>
                <a:gd name="connsiteX2" fmla="*/ 0 w 12192000"/>
                <a:gd name="connsiteY2" fmla="*/ 1047619 h 2122203"/>
                <a:gd name="connsiteX3" fmla="*/ 0 w 12192000"/>
                <a:gd name="connsiteY3" fmla="*/ 2122203 h 2122203"/>
                <a:gd name="connsiteX4" fmla="*/ 12192000 w 12192000"/>
                <a:gd name="connsiteY4" fmla="*/ 2122203 h 2122203"/>
                <a:gd name="connsiteX5" fmla="*/ 12192000 w 12192000"/>
                <a:gd name="connsiteY5" fmla="*/ 1047619 h 2122203"/>
                <a:gd name="connsiteX0" fmla="*/ 12192000 w 12192000"/>
                <a:gd name="connsiteY0" fmla="*/ 1157066 h 2231650"/>
                <a:gd name="connsiteX1" fmla="*/ 2264230 w 12192000"/>
                <a:gd name="connsiteY1" fmla="*/ 12704 h 2231650"/>
                <a:gd name="connsiteX2" fmla="*/ 0 w 12192000"/>
                <a:gd name="connsiteY2" fmla="*/ 1157066 h 2231650"/>
                <a:gd name="connsiteX3" fmla="*/ 0 w 12192000"/>
                <a:gd name="connsiteY3" fmla="*/ 2231650 h 2231650"/>
                <a:gd name="connsiteX4" fmla="*/ 12192000 w 12192000"/>
                <a:gd name="connsiteY4" fmla="*/ 2231650 h 2231650"/>
                <a:gd name="connsiteX5" fmla="*/ 12192000 w 12192000"/>
                <a:gd name="connsiteY5" fmla="*/ 1157066 h 2231650"/>
                <a:gd name="connsiteX0" fmla="*/ 12192000 w 12192000"/>
                <a:gd name="connsiteY0" fmla="*/ 1453594 h 2528178"/>
                <a:gd name="connsiteX1" fmla="*/ 2264230 w 12192000"/>
                <a:gd name="connsiteY1" fmla="*/ 309232 h 2528178"/>
                <a:gd name="connsiteX2" fmla="*/ 0 w 12192000"/>
                <a:gd name="connsiteY2" fmla="*/ 1453594 h 2528178"/>
                <a:gd name="connsiteX3" fmla="*/ 0 w 12192000"/>
                <a:gd name="connsiteY3" fmla="*/ 2528178 h 2528178"/>
                <a:gd name="connsiteX4" fmla="*/ 12192000 w 12192000"/>
                <a:gd name="connsiteY4" fmla="*/ 2528178 h 2528178"/>
                <a:gd name="connsiteX5" fmla="*/ 12192000 w 12192000"/>
                <a:gd name="connsiteY5" fmla="*/ 1453594 h 2528178"/>
                <a:gd name="connsiteX0" fmla="*/ 12192000 w 12192000"/>
                <a:gd name="connsiteY0" fmla="*/ 1152032 h 2226616"/>
                <a:gd name="connsiteX1" fmla="*/ 2264230 w 12192000"/>
                <a:gd name="connsiteY1" fmla="*/ 7670 h 2226616"/>
                <a:gd name="connsiteX2" fmla="*/ 0 w 12192000"/>
                <a:gd name="connsiteY2" fmla="*/ 1152032 h 2226616"/>
                <a:gd name="connsiteX3" fmla="*/ 0 w 12192000"/>
                <a:gd name="connsiteY3" fmla="*/ 2226616 h 2226616"/>
                <a:gd name="connsiteX4" fmla="*/ 12192000 w 12192000"/>
                <a:gd name="connsiteY4" fmla="*/ 2226616 h 2226616"/>
                <a:gd name="connsiteX5" fmla="*/ 12192000 w 12192000"/>
                <a:gd name="connsiteY5" fmla="*/ 1152032 h 2226616"/>
                <a:gd name="connsiteX0" fmla="*/ 12192000 w 12192000"/>
                <a:gd name="connsiteY0" fmla="*/ 1288113 h 2362697"/>
                <a:gd name="connsiteX1" fmla="*/ 2264230 w 12192000"/>
                <a:gd name="connsiteY1" fmla="*/ 143751 h 2362697"/>
                <a:gd name="connsiteX2" fmla="*/ 0 w 12192000"/>
                <a:gd name="connsiteY2" fmla="*/ 1288113 h 2362697"/>
                <a:gd name="connsiteX3" fmla="*/ 0 w 12192000"/>
                <a:gd name="connsiteY3" fmla="*/ 2362697 h 2362697"/>
                <a:gd name="connsiteX4" fmla="*/ 12192000 w 12192000"/>
                <a:gd name="connsiteY4" fmla="*/ 2362697 h 2362697"/>
                <a:gd name="connsiteX5" fmla="*/ 12192000 w 12192000"/>
                <a:gd name="connsiteY5" fmla="*/ 1288113 h 2362697"/>
                <a:gd name="connsiteX0" fmla="*/ 12192000 w 12192000"/>
                <a:gd name="connsiteY0" fmla="*/ 1270706 h 2345290"/>
                <a:gd name="connsiteX1" fmla="*/ 2264230 w 12192000"/>
                <a:gd name="connsiteY1" fmla="*/ 126344 h 2345290"/>
                <a:gd name="connsiteX2" fmla="*/ 0 w 12192000"/>
                <a:gd name="connsiteY2" fmla="*/ 1270706 h 2345290"/>
                <a:gd name="connsiteX3" fmla="*/ 0 w 12192000"/>
                <a:gd name="connsiteY3" fmla="*/ 2345290 h 2345290"/>
                <a:gd name="connsiteX4" fmla="*/ 12192000 w 12192000"/>
                <a:gd name="connsiteY4" fmla="*/ 2345290 h 2345290"/>
                <a:gd name="connsiteX5" fmla="*/ 12192000 w 12192000"/>
                <a:gd name="connsiteY5" fmla="*/ 1270706 h 2345290"/>
                <a:gd name="connsiteX0" fmla="*/ 12192000 w 12192000"/>
                <a:gd name="connsiteY0" fmla="*/ 1144362 h 2218946"/>
                <a:gd name="connsiteX1" fmla="*/ 2264230 w 12192000"/>
                <a:gd name="connsiteY1" fmla="*/ 0 h 2218946"/>
                <a:gd name="connsiteX2" fmla="*/ 0 w 12192000"/>
                <a:gd name="connsiteY2" fmla="*/ 1144362 h 2218946"/>
                <a:gd name="connsiteX3" fmla="*/ 0 w 12192000"/>
                <a:gd name="connsiteY3" fmla="*/ 2218946 h 2218946"/>
                <a:gd name="connsiteX4" fmla="*/ 12192000 w 12192000"/>
                <a:gd name="connsiteY4" fmla="*/ 2218946 h 2218946"/>
                <a:gd name="connsiteX5" fmla="*/ 12192000 w 12192000"/>
                <a:gd name="connsiteY5" fmla="*/ 1144362 h 2218946"/>
                <a:gd name="connsiteX0" fmla="*/ 12192000 w 12192000"/>
                <a:gd name="connsiteY0" fmla="*/ 1144362 h 2218946"/>
                <a:gd name="connsiteX1" fmla="*/ 2264230 w 12192000"/>
                <a:gd name="connsiteY1" fmla="*/ 0 h 2218946"/>
                <a:gd name="connsiteX2" fmla="*/ 0 w 12192000"/>
                <a:gd name="connsiteY2" fmla="*/ 1144362 h 2218946"/>
                <a:gd name="connsiteX3" fmla="*/ 0 w 12192000"/>
                <a:gd name="connsiteY3" fmla="*/ 2218946 h 2218946"/>
                <a:gd name="connsiteX4" fmla="*/ 12192000 w 12192000"/>
                <a:gd name="connsiteY4" fmla="*/ 2218946 h 2218946"/>
                <a:gd name="connsiteX5" fmla="*/ 12192000 w 12192000"/>
                <a:gd name="connsiteY5" fmla="*/ 1144362 h 2218946"/>
                <a:gd name="connsiteX0" fmla="*/ 12192000 w 12192000"/>
                <a:gd name="connsiteY0" fmla="*/ 1157573 h 2232157"/>
                <a:gd name="connsiteX1" fmla="*/ 2264230 w 12192000"/>
                <a:gd name="connsiteY1" fmla="*/ 13211 h 2232157"/>
                <a:gd name="connsiteX2" fmla="*/ 0 w 12192000"/>
                <a:gd name="connsiteY2" fmla="*/ 1157573 h 2232157"/>
                <a:gd name="connsiteX3" fmla="*/ 0 w 12192000"/>
                <a:gd name="connsiteY3" fmla="*/ 2232157 h 2232157"/>
                <a:gd name="connsiteX4" fmla="*/ 12192000 w 12192000"/>
                <a:gd name="connsiteY4" fmla="*/ 2232157 h 2232157"/>
                <a:gd name="connsiteX5" fmla="*/ 12192000 w 12192000"/>
                <a:gd name="connsiteY5" fmla="*/ 1157573 h 2232157"/>
                <a:gd name="connsiteX0" fmla="*/ 12192000 w 12192000"/>
                <a:gd name="connsiteY0" fmla="*/ 134324 h 1208908"/>
                <a:gd name="connsiteX1" fmla="*/ 0 w 12192000"/>
                <a:gd name="connsiteY1" fmla="*/ 134324 h 1208908"/>
                <a:gd name="connsiteX2" fmla="*/ 0 w 12192000"/>
                <a:gd name="connsiteY2" fmla="*/ 1208908 h 1208908"/>
                <a:gd name="connsiteX3" fmla="*/ 12192000 w 12192000"/>
                <a:gd name="connsiteY3" fmla="*/ 1208908 h 1208908"/>
                <a:gd name="connsiteX4" fmla="*/ 12192000 w 12192000"/>
                <a:gd name="connsiteY4" fmla="*/ 134324 h 1208908"/>
                <a:gd name="connsiteX0" fmla="*/ 12284079 w 12284079"/>
                <a:gd name="connsiteY0" fmla="*/ 114569 h 1189153"/>
                <a:gd name="connsiteX1" fmla="*/ 1285331 w 12284079"/>
                <a:gd name="connsiteY1" fmla="*/ 30832 h 1189153"/>
                <a:gd name="connsiteX2" fmla="*/ 92079 w 12284079"/>
                <a:gd name="connsiteY2" fmla="*/ 114569 h 1189153"/>
                <a:gd name="connsiteX3" fmla="*/ 92079 w 12284079"/>
                <a:gd name="connsiteY3" fmla="*/ 1189153 h 1189153"/>
                <a:gd name="connsiteX4" fmla="*/ 12284079 w 12284079"/>
                <a:gd name="connsiteY4" fmla="*/ 1189153 h 1189153"/>
                <a:gd name="connsiteX5" fmla="*/ 12284079 w 12284079"/>
                <a:gd name="connsiteY5" fmla="*/ 114569 h 1189153"/>
                <a:gd name="connsiteX0" fmla="*/ 12192000 w 12192000"/>
                <a:gd name="connsiteY0" fmla="*/ 614051 h 1688635"/>
                <a:gd name="connsiteX1" fmla="*/ 1672224 w 12192000"/>
                <a:gd name="connsiteY1" fmla="*/ 0 h 1688635"/>
                <a:gd name="connsiteX2" fmla="*/ 0 w 12192000"/>
                <a:gd name="connsiteY2" fmla="*/ 614051 h 1688635"/>
                <a:gd name="connsiteX3" fmla="*/ 0 w 12192000"/>
                <a:gd name="connsiteY3" fmla="*/ 1688635 h 1688635"/>
                <a:gd name="connsiteX4" fmla="*/ 12192000 w 12192000"/>
                <a:gd name="connsiteY4" fmla="*/ 1688635 h 1688635"/>
                <a:gd name="connsiteX5" fmla="*/ 12192000 w 12192000"/>
                <a:gd name="connsiteY5" fmla="*/ 614051 h 1688635"/>
                <a:gd name="connsiteX0" fmla="*/ 12192000 w 12192000"/>
                <a:gd name="connsiteY0" fmla="*/ 865252 h 1939836"/>
                <a:gd name="connsiteX1" fmla="*/ 1991538 w 12192000"/>
                <a:gd name="connsiteY1" fmla="*/ 0 h 1939836"/>
                <a:gd name="connsiteX2" fmla="*/ 0 w 12192000"/>
                <a:gd name="connsiteY2" fmla="*/ 865252 h 1939836"/>
                <a:gd name="connsiteX3" fmla="*/ 0 w 12192000"/>
                <a:gd name="connsiteY3" fmla="*/ 1939836 h 1939836"/>
                <a:gd name="connsiteX4" fmla="*/ 12192000 w 12192000"/>
                <a:gd name="connsiteY4" fmla="*/ 1939836 h 1939836"/>
                <a:gd name="connsiteX5" fmla="*/ 12192000 w 12192000"/>
                <a:gd name="connsiteY5" fmla="*/ 865252 h 1939836"/>
                <a:gd name="connsiteX0" fmla="*/ 12192000 w 12192000"/>
                <a:gd name="connsiteY0" fmla="*/ 876082 h 1950666"/>
                <a:gd name="connsiteX1" fmla="*/ 1991538 w 12192000"/>
                <a:gd name="connsiteY1" fmla="*/ 10830 h 1950666"/>
                <a:gd name="connsiteX2" fmla="*/ 0 w 12192000"/>
                <a:gd name="connsiteY2" fmla="*/ 876082 h 1950666"/>
                <a:gd name="connsiteX3" fmla="*/ 0 w 12192000"/>
                <a:gd name="connsiteY3" fmla="*/ 1950666 h 1950666"/>
                <a:gd name="connsiteX4" fmla="*/ 12192000 w 12192000"/>
                <a:gd name="connsiteY4" fmla="*/ 1950666 h 1950666"/>
                <a:gd name="connsiteX5" fmla="*/ 12192000 w 12192000"/>
                <a:gd name="connsiteY5" fmla="*/ 876082 h 1950666"/>
                <a:gd name="connsiteX0" fmla="*/ 12192000 w 12192000"/>
                <a:gd name="connsiteY0" fmla="*/ 876082 h 1950666"/>
                <a:gd name="connsiteX1" fmla="*/ 1991538 w 12192000"/>
                <a:gd name="connsiteY1" fmla="*/ 10830 h 1950666"/>
                <a:gd name="connsiteX2" fmla="*/ 0 w 12192000"/>
                <a:gd name="connsiteY2" fmla="*/ 876082 h 1950666"/>
                <a:gd name="connsiteX3" fmla="*/ 0 w 12192000"/>
                <a:gd name="connsiteY3" fmla="*/ 1950666 h 1950666"/>
                <a:gd name="connsiteX4" fmla="*/ 12192000 w 12192000"/>
                <a:gd name="connsiteY4" fmla="*/ 1950666 h 1950666"/>
                <a:gd name="connsiteX5" fmla="*/ 12192000 w 12192000"/>
                <a:gd name="connsiteY5" fmla="*/ 876082 h 1950666"/>
                <a:gd name="connsiteX0" fmla="*/ 12192000 w 12192000"/>
                <a:gd name="connsiteY0" fmla="*/ 876082 h 1950666"/>
                <a:gd name="connsiteX1" fmla="*/ 1991538 w 12192000"/>
                <a:gd name="connsiteY1" fmla="*/ 10830 h 1950666"/>
                <a:gd name="connsiteX2" fmla="*/ 0 w 12192000"/>
                <a:gd name="connsiteY2" fmla="*/ 876082 h 1950666"/>
                <a:gd name="connsiteX3" fmla="*/ 0 w 12192000"/>
                <a:gd name="connsiteY3" fmla="*/ 1950666 h 1950666"/>
                <a:gd name="connsiteX4" fmla="*/ 12192000 w 12192000"/>
                <a:gd name="connsiteY4" fmla="*/ 1950666 h 1950666"/>
                <a:gd name="connsiteX5" fmla="*/ 12192000 w 12192000"/>
                <a:gd name="connsiteY5" fmla="*/ 876082 h 195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950666">
                  <a:moveTo>
                    <a:pt x="12192000" y="876082"/>
                  </a:moveTo>
                  <a:cubicBezTo>
                    <a:pt x="8588132" y="1995707"/>
                    <a:pt x="3921938" y="1099371"/>
                    <a:pt x="1991538" y="10830"/>
                  </a:cubicBezTo>
                  <a:cubicBezTo>
                    <a:pt x="1338395" y="-100815"/>
                    <a:pt x="198875" y="683029"/>
                    <a:pt x="0" y="876082"/>
                  </a:cubicBezTo>
                  <a:lnTo>
                    <a:pt x="0" y="1950666"/>
                  </a:lnTo>
                  <a:lnTo>
                    <a:pt x="12192000" y="1950666"/>
                  </a:lnTo>
                  <a:lnTo>
                    <a:pt x="12192000" y="876082"/>
                  </a:lnTo>
                  <a:close/>
                </a:path>
              </a:pathLst>
            </a:custGeom>
            <a:solidFill>
              <a:schemeClr val="accent2">
                <a:lumMod val="75000"/>
                <a:alpha val="2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20"/>
            <p:cNvSpPr/>
            <p:nvPr/>
          </p:nvSpPr>
          <p:spPr>
            <a:xfrm flipH="1">
              <a:off x="0" y="5681809"/>
              <a:ext cx="12192000" cy="1176190"/>
            </a:xfrm>
            <a:custGeom>
              <a:avLst/>
              <a:gdLst>
                <a:gd name="connsiteX0" fmla="*/ 12192000 w 12192000"/>
                <a:gd name="connsiteY0" fmla="*/ 0 h 1074584"/>
                <a:gd name="connsiteX1" fmla="*/ 1582058 w 12192000"/>
                <a:gd name="connsiteY1" fmla="*/ 0 h 1074584"/>
                <a:gd name="connsiteX2" fmla="*/ 810918 w 12192000"/>
                <a:gd name="connsiteY2" fmla="*/ 0 h 1074584"/>
                <a:gd name="connsiteX3" fmla="*/ 470766 w 12192000"/>
                <a:gd name="connsiteY3" fmla="*/ 0 h 1074584"/>
                <a:gd name="connsiteX4" fmla="*/ 448024 w 12192000"/>
                <a:gd name="connsiteY4" fmla="*/ 0 h 1074584"/>
                <a:gd name="connsiteX5" fmla="*/ 0 w 12192000"/>
                <a:gd name="connsiteY5" fmla="*/ 0 h 1074584"/>
                <a:gd name="connsiteX6" fmla="*/ 0 w 12192000"/>
                <a:gd name="connsiteY6" fmla="*/ 1074584 h 1074584"/>
                <a:gd name="connsiteX7" fmla="*/ 345070 w 12192000"/>
                <a:gd name="connsiteY7" fmla="*/ 1074584 h 1074584"/>
                <a:gd name="connsiteX8" fmla="*/ 1582058 w 12192000"/>
                <a:gd name="connsiteY8" fmla="*/ 1074584 h 1074584"/>
                <a:gd name="connsiteX9" fmla="*/ 12192000 w 12192000"/>
                <a:gd name="connsiteY9" fmla="*/ 1074584 h 1074584"/>
                <a:gd name="connsiteX0" fmla="*/ 12192000 w 12192000"/>
                <a:gd name="connsiteY0" fmla="*/ 0 h 1074584"/>
                <a:gd name="connsiteX1" fmla="*/ 1582058 w 12192000"/>
                <a:gd name="connsiteY1" fmla="*/ 0 h 1074584"/>
                <a:gd name="connsiteX2" fmla="*/ 470766 w 12192000"/>
                <a:gd name="connsiteY2" fmla="*/ 0 h 1074584"/>
                <a:gd name="connsiteX3" fmla="*/ 448024 w 12192000"/>
                <a:gd name="connsiteY3" fmla="*/ 0 h 1074584"/>
                <a:gd name="connsiteX4" fmla="*/ 0 w 12192000"/>
                <a:gd name="connsiteY4" fmla="*/ 0 h 1074584"/>
                <a:gd name="connsiteX5" fmla="*/ 0 w 12192000"/>
                <a:gd name="connsiteY5" fmla="*/ 1074584 h 1074584"/>
                <a:gd name="connsiteX6" fmla="*/ 345070 w 12192000"/>
                <a:gd name="connsiteY6" fmla="*/ 1074584 h 1074584"/>
                <a:gd name="connsiteX7" fmla="*/ 1582058 w 12192000"/>
                <a:gd name="connsiteY7" fmla="*/ 1074584 h 1074584"/>
                <a:gd name="connsiteX8" fmla="*/ 12192000 w 12192000"/>
                <a:gd name="connsiteY8" fmla="*/ 1074584 h 1074584"/>
                <a:gd name="connsiteX9" fmla="*/ 12192000 w 12192000"/>
                <a:gd name="connsiteY9" fmla="*/ 0 h 1074584"/>
                <a:gd name="connsiteX0" fmla="*/ 12192000 w 12192000"/>
                <a:gd name="connsiteY0" fmla="*/ 0 h 1074584"/>
                <a:gd name="connsiteX1" fmla="*/ 1582058 w 12192000"/>
                <a:gd name="connsiteY1" fmla="*/ 0 h 1074584"/>
                <a:gd name="connsiteX2" fmla="*/ 470766 w 12192000"/>
                <a:gd name="connsiteY2" fmla="*/ 0 h 1074584"/>
                <a:gd name="connsiteX3" fmla="*/ 0 w 12192000"/>
                <a:gd name="connsiteY3" fmla="*/ 0 h 1074584"/>
                <a:gd name="connsiteX4" fmla="*/ 0 w 12192000"/>
                <a:gd name="connsiteY4" fmla="*/ 1074584 h 1074584"/>
                <a:gd name="connsiteX5" fmla="*/ 345070 w 12192000"/>
                <a:gd name="connsiteY5" fmla="*/ 1074584 h 1074584"/>
                <a:gd name="connsiteX6" fmla="*/ 1582058 w 12192000"/>
                <a:gd name="connsiteY6" fmla="*/ 1074584 h 1074584"/>
                <a:gd name="connsiteX7" fmla="*/ 12192000 w 12192000"/>
                <a:gd name="connsiteY7" fmla="*/ 1074584 h 1074584"/>
                <a:gd name="connsiteX8" fmla="*/ 12192000 w 12192000"/>
                <a:gd name="connsiteY8"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345070 w 12192000"/>
                <a:gd name="connsiteY4" fmla="*/ 1074584 h 1074584"/>
                <a:gd name="connsiteX5" fmla="*/ 1582058 w 12192000"/>
                <a:gd name="connsiteY5" fmla="*/ 1074584 h 1074584"/>
                <a:gd name="connsiteX6" fmla="*/ 12192000 w 12192000"/>
                <a:gd name="connsiteY6" fmla="*/ 1074584 h 1074584"/>
                <a:gd name="connsiteX7" fmla="*/ 12192000 w 12192000"/>
                <a:gd name="connsiteY7"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1582058 w 12192000"/>
                <a:gd name="connsiteY4" fmla="*/ 1074584 h 1074584"/>
                <a:gd name="connsiteX5" fmla="*/ 12192000 w 12192000"/>
                <a:gd name="connsiteY5" fmla="*/ 1074584 h 1074584"/>
                <a:gd name="connsiteX6" fmla="*/ 12192000 w 12192000"/>
                <a:gd name="connsiteY6"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12192000 w 12192000"/>
                <a:gd name="connsiteY4" fmla="*/ 1074584 h 1074584"/>
                <a:gd name="connsiteX5" fmla="*/ 12192000 w 12192000"/>
                <a:gd name="connsiteY5" fmla="*/ 0 h 1074584"/>
                <a:gd name="connsiteX0" fmla="*/ 12192000 w 12192000"/>
                <a:gd name="connsiteY0" fmla="*/ 0 h 1074584"/>
                <a:gd name="connsiteX1" fmla="*/ 0 w 12192000"/>
                <a:gd name="connsiteY1" fmla="*/ 0 h 1074584"/>
                <a:gd name="connsiteX2" fmla="*/ 0 w 12192000"/>
                <a:gd name="connsiteY2" fmla="*/ 1074584 h 1074584"/>
                <a:gd name="connsiteX3" fmla="*/ 12192000 w 12192000"/>
                <a:gd name="connsiteY3" fmla="*/ 1074584 h 1074584"/>
                <a:gd name="connsiteX4" fmla="*/ 12192000 w 12192000"/>
                <a:gd name="connsiteY4" fmla="*/ 0 h 1074584"/>
                <a:gd name="connsiteX0" fmla="*/ 12192000 w 12192000"/>
                <a:gd name="connsiteY0" fmla="*/ 0 h 1074584"/>
                <a:gd name="connsiteX1" fmla="*/ 1683657 w 12192000"/>
                <a:gd name="connsiteY1" fmla="*/ 0 h 1074584"/>
                <a:gd name="connsiteX2" fmla="*/ 0 w 12192000"/>
                <a:gd name="connsiteY2" fmla="*/ 0 h 1074584"/>
                <a:gd name="connsiteX3" fmla="*/ 0 w 12192000"/>
                <a:gd name="connsiteY3" fmla="*/ 1074584 h 1074584"/>
                <a:gd name="connsiteX4" fmla="*/ 12192000 w 12192000"/>
                <a:gd name="connsiteY4" fmla="*/ 1074584 h 1074584"/>
                <a:gd name="connsiteX5" fmla="*/ 12192000 w 12192000"/>
                <a:gd name="connsiteY5" fmla="*/ 0 h 1074584"/>
                <a:gd name="connsiteX0" fmla="*/ 12192000 w 12192000"/>
                <a:gd name="connsiteY0" fmla="*/ 2595749 h 3670333"/>
                <a:gd name="connsiteX1" fmla="*/ 2989943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2595749 h 3670333"/>
                <a:gd name="connsiteX1" fmla="*/ 2989943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2595749 h 3670333"/>
                <a:gd name="connsiteX1" fmla="*/ 3875315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3134985 h 4209569"/>
                <a:gd name="connsiteX1" fmla="*/ 3875315 w 12192000"/>
                <a:gd name="connsiteY1" fmla="*/ 539236 h 4209569"/>
                <a:gd name="connsiteX2" fmla="*/ 0 w 12192000"/>
                <a:gd name="connsiteY2" fmla="*/ 3134985 h 4209569"/>
                <a:gd name="connsiteX3" fmla="*/ 0 w 12192000"/>
                <a:gd name="connsiteY3" fmla="*/ 4209569 h 4209569"/>
                <a:gd name="connsiteX4" fmla="*/ 12192000 w 12192000"/>
                <a:gd name="connsiteY4" fmla="*/ 4209569 h 4209569"/>
                <a:gd name="connsiteX5" fmla="*/ 12192000 w 12192000"/>
                <a:gd name="connsiteY5" fmla="*/ 3134985 h 4209569"/>
                <a:gd name="connsiteX0" fmla="*/ 12192000 w 12192000"/>
                <a:gd name="connsiteY0" fmla="*/ 2158437 h 3233021"/>
                <a:gd name="connsiteX1" fmla="*/ 5138058 w 12192000"/>
                <a:gd name="connsiteY1" fmla="*/ 679140 h 3233021"/>
                <a:gd name="connsiteX2" fmla="*/ 0 w 12192000"/>
                <a:gd name="connsiteY2" fmla="*/ 2158437 h 3233021"/>
                <a:gd name="connsiteX3" fmla="*/ 0 w 12192000"/>
                <a:gd name="connsiteY3" fmla="*/ 3233021 h 3233021"/>
                <a:gd name="connsiteX4" fmla="*/ 12192000 w 12192000"/>
                <a:gd name="connsiteY4" fmla="*/ 3233021 h 3233021"/>
                <a:gd name="connsiteX5" fmla="*/ 12192000 w 12192000"/>
                <a:gd name="connsiteY5" fmla="*/ 2158437 h 3233021"/>
                <a:gd name="connsiteX0" fmla="*/ 12192000 w 12192000"/>
                <a:gd name="connsiteY0" fmla="*/ 1802920 h 2877504"/>
                <a:gd name="connsiteX1" fmla="*/ 5138058 w 12192000"/>
                <a:gd name="connsiteY1" fmla="*/ 323623 h 2877504"/>
                <a:gd name="connsiteX2" fmla="*/ 0 w 12192000"/>
                <a:gd name="connsiteY2" fmla="*/ 1802920 h 2877504"/>
                <a:gd name="connsiteX3" fmla="*/ 0 w 12192000"/>
                <a:gd name="connsiteY3" fmla="*/ 2877504 h 2877504"/>
                <a:gd name="connsiteX4" fmla="*/ 12192000 w 12192000"/>
                <a:gd name="connsiteY4" fmla="*/ 2877504 h 2877504"/>
                <a:gd name="connsiteX5" fmla="*/ 12192000 w 12192000"/>
                <a:gd name="connsiteY5" fmla="*/ 1802920 h 2877504"/>
                <a:gd name="connsiteX0" fmla="*/ 12192000 w 12192000"/>
                <a:gd name="connsiteY0" fmla="*/ 1802920 h 2877504"/>
                <a:gd name="connsiteX1" fmla="*/ 5138058 w 12192000"/>
                <a:gd name="connsiteY1" fmla="*/ 323623 h 2877504"/>
                <a:gd name="connsiteX2" fmla="*/ 0 w 12192000"/>
                <a:gd name="connsiteY2" fmla="*/ 1802920 h 2877504"/>
                <a:gd name="connsiteX3" fmla="*/ 0 w 12192000"/>
                <a:gd name="connsiteY3" fmla="*/ 2877504 h 2877504"/>
                <a:gd name="connsiteX4" fmla="*/ 12192000 w 12192000"/>
                <a:gd name="connsiteY4" fmla="*/ 2877504 h 2877504"/>
                <a:gd name="connsiteX5" fmla="*/ 12192000 w 12192000"/>
                <a:gd name="connsiteY5" fmla="*/ 1802920 h 2877504"/>
                <a:gd name="connsiteX0" fmla="*/ 12192000 w 12192000"/>
                <a:gd name="connsiteY0" fmla="*/ 1187253 h 2261837"/>
                <a:gd name="connsiteX1" fmla="*/ 4601030 w 12192000"/>
                <a:gd name="connsiteY1" fmla="*/ 433648 h 2261837"/>
                <a:gd name="connsiteX2" fmla="*/ 0 w 12192000"/>
                <a:gd name="connsiteY2" fmla="*/ 1187253 h 2261837"/>
                <a:gd name="connsiteX3" fmla="*/ 0 w 12192000"/>
                <a:gd name="connsiteY3" fmla="*/ 2261837 h 2261837"/>
                <a:gd name="connsiteX4" fmla="*/ 12192000 w 12192000"/>
                <a:gd name="connsiteY4" fmla="*/ 2261837 h 2261837"/>
                <a:gd name="connsiteX5" fmla="*/ 12192000 w 12192000"/>
                <a:gd name="connsiteY5" fmla="*/ 1187253 h 2261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2261837">
                  <a:moveTo>
                    <a:pt x="12192000" y="1187253"/>
                  </a:moveTo>
                  <a:cubicBezTo>
                    <a:pt x="10643810" y="1552425"/>
                    <a:pt x="6473373" y="1522188"/>
                    <a:pt x="4601030" y="433648"/>
                  </a:cubicBezTo>
                  <a:cubicBezTo>
                    <a:pt x="2728687" y="-654892"/>
                    <a:pt x="498324" y="575531"/>
                    <a:pt x="0" y="1187253"/>
                  </a:cubicBezTo>
                  <a:lnTo>
                    <a:pt x="0" y="2261837"/>
                  </a:lnTo>
                  <a:lnTo>
                    <a:pt x="12192000" y="2261837"/>
                  </a:lnTo>
                  <a:lnTo>
                    <a:pt x="12192000" y="1187253"/>
                  </a:lnTo>
                  <a:close/>
                </a:path>
              </a:pathLst>
            </a:custGeom>
            <a:solidFill>
              <a:schemeClr val="accent1">
                <a:lumMod val="75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Freeform 21"/>
            <p:cNvSpPr/>
            <p:nvPr/>
          </p:nvSpPr>
          <p:spPr>
            <a:xfrm flipH="1">
              <a:off x="-46623" y="5777171"/>
              <a:ext cx="12192000" cy="1080828"/>
            </a:xfrm>
            <a:custGeom>
              <a:avLst/>
              <a:gdLst>
                <a:gd name="connsiteX0" fmla="*/ 12192000 w 12192000"/>
                <a:gd name="connsiteY0" fmla="*/ 0 h 1074584"/>
                <a:gd name="connsiteX1" fmla="*/ 1582058 w 12192000"/>
                <a:gd name="connsiteY1" fmla="*/ 0 h 1074584"/>
                <a:gd name="connsiteX2" fmla="*/ 810918 w 12192000"/>
                <a:gd name="connsiteY2" fmla="*/ 0 h 1074584"/>
                <a:gd name="connsiteX3" fmla="*/ 470766 w 12192000"/>
                <a:gd name="connsiteY3" fmla="*/ 0 h 1074584"/>
                <a:gd name="connsiteX4" fmla="*/ 448024 w 12192000"/>
                <a:gd name="connsiteY4" fmla="*/ 0 h 1074584"/>
                <a:gd name="connsiteX5" fmla="*/ 0 w 12192000"/>
                <a:gd name="connsiteY5" fmla="*/ 0 h 1074584"/>
                <a:gd name="connsiteX6" fmla="*/ 0 w 12192000"/>
                <a:gd name="connsiteY6" fmla="*/ 1074584 h 1074584"/>
                <a:gd name="connsiteX7" fmla="*/ 345070 w 12192000"/>
                <a:gd name="connsiteY7" fmla="*/ 1074584 h 1074584"/>
                <a:gd name="connsiteX8" fmla="*/ 1582058 w 12192000"/>
                <a:gd name="connsiteY8" fmla="*/ 1074584 h 1074584"/>
                <a:gd name="connsiteX9" fmla="*/ 12192000 w 12192000"/>
                <a:gd name="connsiteY9" fmla="*/ 1074584 h 1074584"/>
                <a:gd name="connsiteX0" fmla="*/ 12192000 w 12192000"/>
                <a:gd name="connsiteY0" fmla="*/ 0 h 1074584"/>
                <a:gd name="connsiteX1" fmla="*/ 1582058 w 12192000"/>
                <a:gd name="connsiteY1" fmla="*/ 0 h 1074584"/>
                <a:gd name="connsiteX2" fmla="*/ 470766 w 12192000"/>
                <a:gd name="connsiteY2" fmla="*/ 0 h 1074584"/>
                <a:gd name="connsiteX3" fmla="*/ 448024 w 12192000"/>
                <a:gd name="connsiteY3" fmla="*/ 0 h 1074584"/>
                <a:gd name="connsiteX4" fmla="*/ 0 w 12192000"/>
                <a:gd name="connsiteY4" fmla="*/ 0 h 1074584"/>
                <a:gd name="connsiteX5" fmla="*/ 0 w 12192000"/>
                <a:gd name="connsiteY5" fmla="*/ 1074584 h 1074584"/>
                <a:gd name="connsiteX6" fmla="*/ 345070 w 12192000"/>
                <a:gd name="connsiteY6" fmla="*/ 1074584 h 1074584"/>
                <a:gd name="connsiteX7" fmla="*/ 1582058 w 12192000"/>
                <a:gd name="connsiteY7" fmla="*/ 1074584 h 1074584"/>
                <a:gd name="connsiteX8" fmla="*/ 12192000 w 12192000"/>
                <a:gd name="connsiteY8" fmla="*/ 1074584 h 1074584"/>
                <a:gd name="connsiteX9" fmla="*/ 12192000 w 12192000"/>
                <a:gd name="connsiteY9" fmla="*/ 0 h 1074584"/>
                <a:gd name="connsiteX0" fmla="*/ 12192000 w 12192000"/>
                <a:gd name="connsiteY0" fmla="*/ 0 h 1074584"/>
                <a:gd name="connsiteX1" fmla="*/ 1582058 w 12192000"/>
                <a:gd name="connsiteY1" fmla="*/ 0 h 1074584"/>
                <a:gd name="connsiteX2" fmla="*/ 470766 w 12192000"/>
                <a:gd name="connsiteY2" fmla="*/ 0 h 1074584"/>
                <a:gd name="connsiteX3" fmla="*/ 0 w 12192000"/>
                <a:gd name="connsiteY3" fmla="*/ 0 h 1074584"/>
                <a:gd name="connsiteX4" fmla="*/ 0 w 12192000"/>
                <a:gd name="connsiteY4" fmla="*/ 1074584 h 1074584"/>
                <a:gd name="connsiteX5" fmla="*/ 345070 w 12192000"/>
                <a:gd name="connsiteY5" fmla="*/ 1074584 h 1074584"/>
                <a:gd name="connsiteX6" fmla="*/ 1582058 w 12192000"/>
                <a:gd name="connsiteY6" fmla="*/ 1074584 h 1074584"/>
                <a:gd name="connsiteX7" fmla="*/ 12192000 w 12192000"/>
                <a:gd name="connsiteY7" fmla="*/ 1074584 h 1074584"/>
                <a:gd name="connsiteX8" fmla="*/ 12192000 w 12192000"/>
                <a:gd name="connsiteY8"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345070 w 12192000"/>
                <a:gd name="connsiteY4" fmla="*/ 1074584 h 1074584"/>
                <a:gd name="connsiteX5" fmla="*/ 1582058 w 12192000"/>
                <a:gd name="connsiteY5" fmla="*/ 1074584 h 1074584"/>
                <a:gd name="connsiteX6" fmla="*/ 12192000 w 12192000"/>
                <a:gd name="connsiteY6" fmla="*/ 1074584 h 1074584"/>
                <a:gd name="connsiteX7" fmla="*/ 12192000 w 12192000"/>
                <a:gd name="connsiteY7"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1582058 w 12192000"/>
                <a:gd name="connsiteY4" fmla="*/ 1074584 h 1074584"/>
                <a:gd name="connsiteX5" fmla="*/ 12192000 w 12192000"/>
                <a:gd name="connsiteY5" fmla="*/ 1074584 h 1074584"/>
                <a:gd name="connsiteX6" fmla="*/ 12192000 w 12192000"/>
                <a:gd name="connsiteY6"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12192000 w 12192000"/>
                <a:gd name="connsiteY4" fmla="*/ 1074584 h 1074584"/>
                <a:gd name="connsiteX5" fmla="*/ 12192000 w 12192000"/>
                <a:gd name="connsiteY5" fmla="*/ 0 h 1074584"/>
                <a:gd name="connsiteX0" fmla="*/ 12192000 w 12192000"/>
                <a:gd name="connsiteY0" fmla="*/ 0 h 1074584"/>
                <a:gd name="connsiteX1" fmla="*/ 0 w 12192000"/>
                <a:gd name="connsiteY1" fmla="*/ 0 h 1074584"/>
                <a:gd name="connsiteX2" fmla="*/ 0 w 12192000"/>
                <a:gd name="connsiteY2" fmla="*/ 1074584 h 1074584"/>
                <a:gd name="connsiteX3" fmla="*/ 12192000 w 12192000"/>
                <a:gd name="connsiteY3" fmla="*/ 1074584 h 1074584"/>
                <a:gd name="connsiteX4" fmla="*/ 12192000 w 12192000"/>
                <a:gd name="connsiteY4" fmla="*/ 0 h 1074584"/>
                <a:gd name="connsiteX0" fmla="*/ 12192000 w 12192000"/>
                <a:gd name="connsiteY0" fmla="*/ 0 h 1074584"/>
                <a:gd name="connsiteX1" fmla="*/ 1683657 w 12192000"/>
                <a:gd name="connsiteY1" fmla="*/ 0 h 1074584"/>
                <a:gd name="connsiteX2" fmla="*/ 0 w 12192000"/>
                <a:gd name="connsiteY2" fmla="*/ 0 h 1074584"/>
                <a:gd name="connsiteX3" fmla="*/ 0 w 12192000"/>
                <a:gd name="connsiteY3" fmla="*/ 1074584 h 1074584"/>
                <a:gd name="connsiteX4" fmla="*/ 12192000 w 12192000"/>
                <a:gd name="connsiteY4" fmla="*/ 1074584 h 1074584"/>
                <a:gd name="connsiteX5" fmla="*/ 12192000 w 12192000"/>
                <a:gd name="connsiteY5" fmla="*/ 0 h 1074584"/>
                <a:gd name="connsiteX0" fmla="*/ 12192000 w 12192000"/>
                <a:gd name="connsiteY0" fmla="*/ 2595749 h 3670333"/>
                <a:gd name="connsiteX1" fmla="*/ 2989943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2595749 h 3670333"/>
                <a:gd name="connsiteX1" fmla="*/ 2989943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2595749 h 3670333"/>
                <a:gd name="connsiteX1" fmla="*/ 3875315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3134985 h 4209569"/>
                <a:gd name="connsiteX1" fmla="*/ 3875315 w 12192000"/>
                <a:gd name="connsiteY1" fmla="*/ 539236 h 4209569"/>
                <a:gd name="connsiteX2" fmla="*/ 0 w 12192000"/>
                <a:gd name="connsiteY2" fmla="*/ 3134985 h 4209569"/>
                <a:gd name="connsiteX3" fmla="*/ 0 w 12192000"/>
                <a:gd name="connsiteY3" fmla="*/ 4209569 h 4209569"/>
                <a:gd name="connsiteX4" fmla="*/ 12192000 w 12192000"/>
                <a:gd name="connsiteY4" fmla="*/ 4209569 h 4209569"/>
                <a:gd name="connsiteX5" fmla="*/ 12192000 w 12192000"/>
                <a:gd name="connsiteY5" fmla="*/ 3134985 h 4209569"/>
                <a:gd name="connsiteX0" fmla="*/ 12192000 w 12192000"/>
                <a:gd name="connsiteY0" fmla="*/ 2158437 h 3233021"/>
                <a:gd name="connsiteX1" fmla="*/ 5138058 w 12192000"/>
                <a:gd name="connsiteY1" fmla="*/ 679140 h 3233021"/>
                <a:gd name="connsiteX2" fmla="*/ 0 w 12192000"/>
                <a:gd name="connsiteY2" fmla="*/ 2158437 h 3233021"/>
                <a:gd name="connsiteX3" fmla="*/ 0 w 12192000"/>
                <a:gd name="connsiteY3" fmla="*/ 3233021 h 3233021"/>
                <a:gd name="connsiteX4" fmla="*/ 12192000 w 12192000"/>
                <a:gd name="connsiteY4" fmla="*/ 3233021 h 3233021"/>
                <a:gd name="connsiteX5" fmla="*/ 12192000 w 12192000"/>
                <a:gd name="connsiteY5" fmla="*/ 2158437 h 3233021"/>
                <a:gd name="connsiteX0" fmla="*/ 12192000 w 12192000"/>
                <a:gd name="connsiteY0" fmla="*/ 1802920 h 2877504"/>
                <a:gd name="connsiteX1" fmla="*/ 5138058 w 12192000"/>
                <a:gd name="connsiteY1" fmla="*/ 323623 h 2877504"/>
                <a:gd name="connsiteX2" fmla="*/ 0 w 12192000"/>
                <a:gd name="connsiteY2" fmla="*/ 1802920 h 2877504"/>
                <a:gd name="connsiteX3" fmla="*/ 0 w 12192000"/>
                <a:gd name="connsiteY3" fmla="*/ 2877504 h 2877504"/>
                <a:gd name="connsiteX4" fmla="*/ 12192000 w 12192000"/>
                <a:gd name="connsiteY4" fmla="*/ 2877504 h 2877504"/>
                <a:gd name="connsiteX5" fmla="*/ 12192000 w 12192000"/>
                <a:gd name="connsiteY5" fmla="*/ 1802920 h 2877504"/>
                <a:gd name="connsiteX0" fmla="*/ 12192000 w 12192000"/>
                <a:gd name="connsiteY0" fmla="*/ 1802920 h 2877504"/>
                <a:gd name="connsiteX1" fmla="*/ 5138058 w 12192000"/>
                <a:gd name="connsiteY1" fmla="*/ 323623 h 2877504"/>
                <a:gd name="connsiteX2" fmla="*/ 0 w 12192000"/>
                <a:gd name="connsiteY2" fmla="*/ 1802920 h 2877504"/>
                <a:gd name="connsiteX3" fmla="*/ 0 w 12192000"/>
                <a:gd name="connsiteY3" fmla="*/ 2877504 h 2877504"/>
                <a:gd name="connsiteX4" fmla="*/ 12192000 w 12192000"/>
                <a:gd name="connsiteY4" fmla="*/ 2877504 h 2877504"/>
                <a:gd name="connsiteX5" fmla="*/ 12192000 w 12192000"/>
                <a:gd name="connsiteY5" fmla="*/ 1802920 h 2877504"/>
                <a:gd name="connsiteX0" fmla="*/ 12192000 w 12192000"/>
                <a:gd name="connsiteY0" fmla="*/ 1187253 h 2261837"/>
                <a:gd name="connsiteX1" fmla="*/ 4601030 w 12192000"/>
                <a:gd name="connsiteY1" fmla="*/ 433648 h 2261837"/>
                <a:gd name="connsiteX2" fmla="*/ 0 w 12192000"/>
                <a:gd name="connsiteY2" fmla="*/ 1187253 h 2261837"/>
                <a:gd name="connsiteX3" fmla="*/ 0 w 12192000"/>
                <a:gd name="connsiteY3" fmla="*/ 2261837 h 2261837"/>
                <a:gd name="connsiteX4" fmla="*/ 12192000 w 12192000"/>
                <a:gd name="connsiteY4" fmla="*/ 2261837 h 2261837"/>
                <a:gd name="connsiteX5" fmla="*/ 12192000 w 12192000"/>
                <a:gd name="connsiteY5" fmla="*/ 1187253 h 2261837"/>
                <a:gd name="connsiteX0" fmla="*/ 12192000 w 12192000"/>
                <a:gd name="connsiteY0" fmla="*/ 755772 h 1830356"/>
                <a:gd name="connsiteX1" fmla="*/ 6194520 w 12192000"/>
                <a:gd name="connsiteY1" fmla="*/ 534733 h 1830356"/>
                <a:gd name="connsiteX2" fmla="*/ 4601030 w 12192000"/>
                <a:gd name="connsiteY2" fmla="*/ 2167 h 1830356"/>
                <a:gd name="connsiteX3" fmla="*/ 0 w 12192000"/>
                <a:gd name="connsiteY3" fmla="*/ 755772 h 1830356"/>
                <a:gd name="connsiteX4" fmla="*/ 0 w 12192000"/>
                <a:gd name="connsiteY4" fmla="*/ 1830356 h 1830356"/>
                <a:gd name="connsiteX5" fmla="*/ 12192000 w 12192000"/>
                <a:gd name="connsiteY5" fmla="*/ 1830356 h 1830356"/>
                <a:gd name="connsiteX6" fmla="*/ 12192000 w 12192000"/>
                <a:gd name="connsiteY6" fmla="*/ 755772 h 1830356"/>
                <a:gd name="connsiteX0" fmla="*/ 12192000 w 12192000"/>
                <a:gd name="connsiteY0" fmla="*/ 221040 h 1295624"/>
                <a:gd name="connsiteX1" fmla="*/ 6194520 w 12192000"/>
                <a:gd name="connsiteY1" fmla="*/ 1 h 1295624"/>
                <a:gd name="connsiteX2" fmla="*/ 0 w 12192000"/>
                <a:gd name="connsiteY2" fmla="*/ 221040 h 1295624"/>
                <a:gd name="connsiteX3" fmla="*/ 0 w 12192000"/>
                <a:gd name="connsiteY3" fmla="*/ 1295624 h 1295624"/>
                <a:gd name="connsiteX4" fmla="*/ 12192000 w 12192000"/>
                <a:gd name="connsiteY4" fmla="*/ 1295624 h 1295624"/>
                <a:gd name="connsiteX5" fmla="*/ 12192000 w 12192000"/>
                <a:gd name="connsiteY5" fmla="*/ 221040 h 1295624"/>
                <a:gd name="connsiteX0" fmla="*/ 12192000 w 12192000"/>
                <a:gd name="connsiteY0" fmla="*/ 1644514 h 2719098"/>
                <a:gd name="connsiteX1" fmla="*/ 6238063 w 12192000"/>
                <a:gd name="connsiteY1" fmla="*/ 0 h 2719098"/>
                <a:gd name="connsiteX2" fmla="*/ 0 w 12192000"/>
                <a:gd name="connsiteY2" fmla="*/ 1644514 h 2719098"/>
                <a:gd name="connsiteX3" fmla="*/ 0 w 12192000"/>
                <a:gd name="connsiteY3" fmla="*/ 2719098 h 2719098"/>
                <a:gd name="connsiteX4" fmla="*/ 12192000 w 12192000"/>
                <a:gd name="connsiteY4" fmla="*/ 2719098 h 2719098"/>
                <a:gd name="connsiteX5" fmla="*/ 12192000 w 12192000"/>
                <a:gd name="connsiteY5" fmla="*/ 1644514 h 2719098"/>
                <a:gd name="connsiteX0" fmla="*/ 12192000 w 12192000"/>
                <a:gd name="connsiteY0" fmla="*/ 1644514 h 2719098"/>
                <a:gd name="connsiteX1" fmla="*/ 6238063 w 12192000"/>
                <a:gd name="connsiteY1" fmla="*/ 0 h 2719098"/>
                <a:gd name="connsiteX2" fmla="*/ 0 w 12192000"/>
                <a:gd name="connsiteY2" fmla="*/ 1644514 h 2719098"/>
                <a:gd name="connsiteX3" fmla="*/ 0 w 12192000"/>
                <a:gd name="connsiteY3" fmla="*/ 2719098 h 2719098"/>
                <a:gd name="connsiteX4" fmla="*/ 12192000 w 12192000"/>
                <a:gd name="connsiteY4" fmla="*/ 2719098 h 2719098"/>
                <a:gd name="connsiteX5" fmla="*/ 12192000 w 12192000"/>
                <a:gd name="connsiteY5" fmla="*/ 1644514 h 2719098"/>
                <a:gd name="connsiteX0" fmla="*/ 12192000 w 12192000"/>
                <a:gd name="connsiteY0" fmla="*/ 2138436 h 3213020"/>
                <a:gd name="connsiteX1" fmla="*/ 6238063 w 12192000"/>
                <a:gd name="connsiteY1" fmla="*/ 493922 h 3213020"/>
                <a:gd name="connsiteX2" fmla="*/ 0 w 12192000"/>
                <a:gd name="connsiteY2" fmla="*/ 2138436 h 3213020"/>
                <a:gd name="connsiteX3" fmla="*/ 0 w 12192000"/>
                <a:gd name="connsiteY3" fmla="*/ 3213020 h 3213020"/>
                <a:gd name="connsiteX4" fmla="*/ 12192000 w 12192000"/>
                <a:gd name="connsiteY4" fmla="*/ 3213020 h 3213020"/>
                <a:gd name="connsiteX5" fmla="*/ 12192000 w 12192000"/>
                <a:gd name="connsiteY5" fmla="*/ 2138436 h 3213020"/>
                <a:gd name="connsiteX0" fmla="*/ 12192000 w 12192000"/>
                <a:gd name="connsiteY0" fmla="*/ 2044923 h 3119507"/>
                <a:gd name="connsiteX1" fmla="*/ 6238063 w 12192000"/>
                <a:gd name="connsiteY1" fmla="*/ 400409 h 3119507"/>
                <a:gd name="connsiteX2" fmla="*/ 3727091 w 12192000"/>
                <a:gd name="connsiteY2" fmla="*/ 121296 h 3119507"/>
                <a:gd name="connsiteX3" fmla="*/ 0 w 12192000"/>
                <a:gd name="connsiteY3" fmla="*/ 2044923 h 3119507"/>
                <a:gd name="connsiteX4" fmla="*/ 0 w 12192000"/>
                <a:gd name="connsiteY4" fmla="*/ 3119507 h 3119507"/>
                <a:gd name="connsiteX5" fmla="*/ 12192000 w 12192000"/>
                <a:gd name="connsiteY5" fmla="*/ 3119507 h 3119507"/>
                <a:gd name="connsiteX6" fmla="*/ 12192000 w 12192000"/>
                <a:gd name="connsiteY6" fmla="*/ 2044923 h 3119507"/>
                <a:gd name="connsiteX0" fmla="*/ 12192000 w 12192000"/>
                <a:gd name="connsiteY0" fmla="*/ 1652861 h 2727445"/>
                <a:gd name="connsiteX1" fmla="*/ 6238063 w 12192000"/>
                <a:gd name="connsiteY1" fmla="*/ 8347 h 2727445"/>
                <a:gd name="connsiteX2" fmla="*/ 3538406 w 12192000"/>
                <a:gd name="connsiteY2" fmla="*/ 1041063 h 2727445"/>
                <a:gd name="connsiteX3" fmla="*/ 0 w 12192000"/>
                <a:gd name="connsiteY3" fmla="*/ 1652861 h 2727445"/>
                <a:gd name="connsiteX4" fmla="*/ 0 w 12192000"/>
                <a:gd name="connsiteY4" fmla="*/ 2727445 h 2727445"/>
                <a:gd name="connsiteX5" fmla="*/ 12192000 w 12192000"/>
                <a:gd name="connsiteY5" fmla="*/ 2727445 h 2727445"/>
                <a:gd name="connsiteX6" fmla="*/ 12192000 w 12192000"/>
                <a:gd name="connsiteY6" fmla="*/ 1652861 h 2727445"/>
                <a:gd name="connsiteX0" fmla="*/ 12192000 w 12192000"/>
                <a:gd name="connsiteY0" fmla="*/ 1655532 h 2730116"/>
                <a:gd name="connsiteX1" fmla="*/ 8894177 w 12192000"/>
                <a:gd name="connsiteY1" fmla="*/ 569243 h 2730116"/>
                <a:gd name="connsiteX2" fmla="*/ 6238063 w 12192000"/>
                <a:gd name="connsiteY2" fmla="*/ 11018 h 2730116"/>
                <a:gd name="connsiteX3" fmla="*/ 3538406 w 12192000"/>
                <a:gd name="connsiteY3" fmla="*/ 1043734 h 2730116"/>
                <a:gd name="connsiteX4" fmla="*/ 0 w 12192000"/>
                <a:gd name="connsiteY4" fmla="*/ 1655532 h 2730116"/>
                <a:gd name="connsiteX5" fmla="*/ 0 w 12192000"/>
                <a:gd name="connsiteY5" fmla="*/ 2730116 h 2730116"/>
                <a:gd name="connsiteX6" fmla="*/ 12192000 w 12192000"/>
                <a:gd name="connsiteY6" fmla="*/ 2730116 h 2730116"/>
                <a:gd name="connsiteX7" fmla="*/ 12192000 w 12192000"/>
                <a:gd name="connsiteY7" fmla="*/ 1655532 h 2730116"/>
                <a:gd name="connsiteX0" fmla="*/ 12192000 w 12192000"/>
                <a:gd name="connsiteY0" fmla="*/ 1658292 h 2732876"/>
                <a:gd name="connsiteX1" fmla="*/ 8749034 w 12192000"/>
                <a:gd name="connsiteY1" fmla="*/ 1855923 h 2732876"/>
                <a:gd name="connsiteX2" fmla="*/ 6238063 w 12192000"/>
                <a:gd name="connsiteY2" fmla="*/ 13778 h 2732876"/>
                <a:gd name="connsiteX3" fmla="*/ 3538406 w 12192000"/>
                <a:gd name="connsiteY3" fmla="*/ 1046494 h 2732876"/>
                <a:gd name="connsiteX4" fmla="*/ 0 w 12192000"/>
                <a:gd name="connsiteY4" fmla="*/ 1658292 h 2732876"/>
                <a:gd name="connsiteX5" fmla="*/ 0 w 12192000"/>
                <a:gd name="connsiteY5" fmla="*/ 2732876 h 2732876"/>
                <a:gd name="connsiteX6" fmla="*/ 12192000 w 12192000"/>
                <a:gd name="connsiteY6" fmla="*/ 2732876 h 2732876"/>
                <a:gd name="connsiteX7" fmla="*/ 12192000 w 12192000"/>
                <a:gd name="connsiteY7" fmla="*/ 1658292 h 2732876"/>
                <a:gd name="connsiteX0" fmla="*/ 12192000 w 12192000"/>
                <a:gd name="connsiteY0" fmla="*/ 780671 h 1855255"/>
                <a:gd name="connsiteX1" fmla="*/ 8749034 w 12192000"/>
                <a:gd name="connsiteY1" fmla="*/ 978302 h 1855255"/>
                <a:gd name="connsiteX2" fmla="*/ 6034863 w 12192000"/>
                <a:gd name="connsiteY2" fmla="*/ 140965 h 1855255"/>
                <a:gd name="connsiteX3" fmla="*/ 3538406 w 12192000"/>
                <a:gd name="connsiteY3" fmla="*/ 168873 h 1855255"/>
                <a:gd name="connsiteX4" fmla="*/ 0 w 12192000"/>
                <a:gd name="connsiteY4" fmla="*/ 780671 h 1855255"/>
                <a:gd name="connsiteX5" fmla="*/ 0 w 12192000"/>
                <a:gd name="connsiteY5" fmla="*/ 1855255 h 1855255"/>
                <a:gd name="connsiteX6" fmla="*/ 12192000 w 12192000"/>
                <a:gd name="connsiteY6" fmla="*/ 1855255 h 1855255"/>
                <a:gd name="connsiteX7" fmla="*/ 12192000 w 12192000"/>
                <a:gd name="connsiteY7" fmla="*/ 780671 h 1855255"/>
                <a:gd name="connsiteX0" fmla="*/ 12192000 w 12192000"/>
                <a:gd name="connsiteY0" fmla="*/ 641773 h 1716357"/>
                <a:gd name="connsiteX1" fmla="*/ 8749034 w 12192000"/>
                <a:gd name="connsiteY1" fmla="*/ 839404 h 1716357"/>
                <a:gd name="connsiteX2" fmla="*/ 6034863 w 12192000"/>
                <a:gd name="connsiteY2" fmla="*/ 2067 h 1716357"/>
                <a:gd name="connsiteX3" fmla="*/ 3132006 w 12192000"/>
                <a:gd name="connsiteY3" fmla="*/ 1090602 h 1716357"/>
                <a:gd name="connsiteX4" fmla="*/ 0 w 12192000"/>
                <a:gd name="connsiteY4" fmla="*/ 641773 h 1716357"/>
                <a:gd name="connsiteX5" fmla="*/ 0 w 12192000"/>
                <a:gd name="connsiteY5" fmla="*/ 1716357 h 1716357"/>
                <a:gd name="connsiteX6" fmla="*/ 12192000 w 12192000"/>
                <a:gd name="connsiteY6" fmla="*/ 1716357 h 1716357"/>
                <a:gd name="connsiteX7" fmla="*/ 12192000 w 12192000"/>
                <a:gd name="connsiteY7" fmla="*/ 641773 h 1716357"/>
                <a:gd name="connsiteX0" fmla="*/ 12192000 w 12192000"/>
                <a:gd name="connsiteY0" fmla="*/ 1003870 h 2078454"/>
                <a:gd name="connsiteX1" fmla="*/ 8749034 w 12192000"/>
                <a:gd name="connsiteY1" fmla="*/ 1201501 h 2078454"/>
                <a:gd name="connsiteX2" fmla="*/ 6020349 w 12192000"/>
                <a:gd name="connsiteY2" fmla="*/ 1317 h 2078454"/>
                <a:gd name="connsiteX3" fmla="*/ 3132006 w 12192000"/>
                <a:gd name="connsiteY3" fmla="*/ 1452699 h 2078454"/>
                <a:gd name="connsiteX4" fmla="*/ 0 w 12192000"/>
                <a:gd name="connsiteY4" fmla="*/ 1003870 h 2078454"/>
                <a:gd name="connsiteX5" fmla="*/ 0 w 12192000"/>
                <a:gd name="connsiteY5" fmla="*/ 2078454 h 2078454"/>
                <a:gd name="connsiteX6" fmla="*/ 12192000 w 12192000"/>
                <a:gd name="connsiteY6" fmla="*/ 2078454 h 2078454"/>
                <a:gd name="connsiteX7" fmla="*/ 12192000 w 12192000"/>
                <a:gd name="connsiteY7" fmla="*/ 1003870 h 2078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078454">
                  <a:moveTo>
                    <a:pt x="12192000" y="1003870"/>
                  </a:moveTo>
                  <a:cubicBezTo>
                    <a:pt x="11642363" y="643725"/>
                    <a:pt x="9741357" y="1475587"/>
                    <a:pt x="8749034" y="1201501"/>
                  </a:cubicBezTo>
                  <a:cubicBezTo>
                    <a:pt x="7756711" y="927415"/>
                    <a:pt x="6956520" y="-40549"/>
                    <a:pt x="6020349" y="1317"/>
                  </a:cubicBezTo>
                  <a:cubicBezTo>
                    <a:pt x="5084178" y="43183"/>
                    <a:pt x="4171683" y="1178613"/>
                    <a:pt x="3132006" y="1452699"/>
                  </a:cubicBezTo>
                  <a:cubicBezTo>
                    <a:pt x="2092329" y="1726785"/>
                    <a:pt x="621182" y="504168"/>
                    <a:pt x="0" y="1003870"/>
                  </a:cubicBezTo>
                  <a:lnTo>
                    <a:pt x="0" y="2078454"/>
                  </a:lnTo>
                  <a:lnTo>
                    <a:pt x="12192000" y="2078454"/>
                  </a:lnTo>
                  <a:lnTo>
                    <a:pt x="12192000" y="1003870"/>
                  </a:lnTo>
                  <a:close/>
                </a:path>
              </a:pathLst>
            </a:custGeom>
            <a:solidFill>
              <a:schemeClr val="accent3">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extLst>
      <p:ext uri="{BB962C8B-B14F-4D97-AF65-F5344CB8AC3E}">
        <p14:creationId xmlns:p14="http://schemas.microsoft.com/office/powerpoint/2010/main" val="1895683974"/>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Placeholder 32">
            <a:extLst>
              <a:ext uri="{FF2B5EF4-FFF2-40B4-BE49-F238E27FC236}">
                <a16:creationId xmlns:a16="http://schemas.microsoft.com/office/drawing/2014/main" id="{7AFECEDD-8B74-4A3A-8122-04895F636ECA}"/>
              </a:ext>
            </a:extLst>
          </p:cNvPr>
          <p:cNvPicPr>
            <a:picLocks noGrp="1" noChangeAspect="1"/>
          </p:cNvPicPr>
          <p:nvPr>
            <p:ph type="pic" sz="quarter" idx="16"/>
          </p:nvPr>
        </p:nvPicPr>
        <p:blipFill>
          <a:blip r:embed="rId4">
            <a:extLst>
              <a:ext uri="{28A0092B-C50C-407E-A947-70E740481C1C}">
                <a14:useLocalDpi xmlns:a14="http://schemas.microsoft.com/office/drawing/2010/main" val="0"/>
              </a:ext>
            </a:extLst>
          </a:blip>
          <a:srcRect l="2025" r="2025"/>
          <a:stretch>
            <a:fillRect/>
          </a:stretch>
        </p:blipFill>
        <p:spPr>
          <a:solidFill>
            <a:schemeClr val="bg1">
              <a:lumMod val="85000"/>
            </a:schemeClr>
          </a:solidFill>
        </p:spPr>
      </p:pic>
      <p:pic>
        <p:nvPicPr>
          <p:cNvPr id="4" name="Picture Placeholder 3">
            <a:extLst>
              <a:ext uri="{FF2B5EF4-FFF2-40B4-BE49-F238E27FC236}">
                <a16:creationId xmlns:a16="http://schemas.microsoft.com/office/drawing/2014/main" id="{F39DDC7F-D1DE-48C5-85A8-3496043BB332}"/>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l="1996" r="1996"/>
          <a:stretch>
            <a:fillRect/>
          </a:stretch>
        </p:blipFill>
        <p:spPr>
          <a:solidFill>
            <a:schemeClr val="bg1">
              <a:lumMod val="85000"/>
            </a:schemeClr>
          </a:solidFill>
        </p:spPr>
      </p:pic>
      <p:pic>
        <p:nvPicPr>
          <p:cNvPr id="17" name="Picture Placeholder 16">
            <a:extLst>
              <a:ext uri="{FF2B5EF4-FFF2-40B4-BE49-F238E27FC236}">
                <a16:creationId xmlns:a16="http://schemas.microsoft.com/office/drawing/2014/main" id="{6F02446B-EA40-4025-8BCB-E8F247EFB644}"/>
              </a:ext>
            </a:extLst>
          </p:cNvPr>
          <p:cNvPicPr>
            <a:picLocks noGrp="1" noChangeAspect="1"/>
          </p:cNvPicPr>
          <p:nvPr>
            <p:ph type="pic" sz="quarter" idx="14"/>
          </p:nvPr>
        </p:nvPicPr>
        <p:blipFill>
          <a:blip r:embed="rId6">
            <a:extLst>
              <a:ext uri="{28A0092B-C50C-407E-A947-70E740481C1C}">
                <a14:useLocalDpi xmlns:a14="http://schemas.microsoft.com/office/drawing/2010/main" val="0"/>
              </a:ext>
            </a:extLst>
          </a:blip>
          <a:srcRect l="2025" r="2025"/>
          <a:stretch>
            <a:fillRect/>
          </a:stretch>
        </p:blipFill>
        <p:spPr>
          <a:solidFill>
            <a:schemeClr val="bg1">
              <a:lumMod val="85000"/>
            </a:schemeClr>
          </a:solidFill>
        </p:spPr>
      </p:pic>
      <p:pic>
        <p:nvPicPr>
          <p:cNvPr id="27" name="Picture Placeholder 26">
            <a:extLst>
              <a:ext uri="{FF2B5EF4-FFF2-40B4-BE49-F238E27FC236}">
                <a16:creationId xmlns:a16="http://schemas.microsoft.com/office/drawing/2014/main" id="{7F0FB5F9-BC84-42A8-888F-798EC19B2BFD}"/>
              </a:ext>
            </a:extLst>
          </p:cNvPr>
          <p:cNvPicPr>
            <a:picLocks noGrp="1" noChangeAspect="1"/>
          </p:cNvPicPr>
          <p:nvPr>
            <p:ph type="pic" sz="quarter" idx="15"/>
          </p:nvPr>
        </p:nvPicPr>
        <p:blipFill>
          <a:blip r:embed="rId7">
            <a:extLst>
              <a:ext uri="{28A0092B-C50C-407E-A947-70E740481C1C}">
                <a14:useLocalDpi xmlns:a14="http://schemas.microsoft.com/office/drawing/2010/main" val="0"/>
              </a:ext>
            </a:extLst>
          </a:blip>
          <a:srcRect l="1996" r="1996"/>
          <a:stretch>
            <a:fillRect/>
          </a:stretch>
        </p:blipFill>
        <p:spPr>
          <a:solidFill>
            <a:schemeClr val="bg1">
              <a:lumMod val="85000"/>
            </a:schemeClr>
          </a:solidFill>
        </p:spPr>
      </p:pic>
      <p:sp>
        <p:nvSpPr>
          <p:cNvPr id="5" name="Rectangle 4"/>
          <p:cNvSpPr/>
          <p:nvPr>
            <p:custDataLst>
              <p:tags r:id="rId1"/>
            </p:custDataLst>
          </p:nvPr>
        </p:nvSpPr>
        <p:spPr>
          <a:xfrm>
            <a:off x="406318" y="890857"/>
            <a:ext cx="9271000"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spc="-150" dirty="0">
                <a:solidFill>
                  <a:schemeClr val="tx1">
                    <a:lumMod val="85000"/>
                    <a:lumOff val="15000"/>
                  </a:schemeClr>
                </a:solidFill>
                <a:ea typeface="Source Sans Pro" panose="020B0503030403020204" pitchFamily="34" charset="0"/>
                <a:cs typeface="Open Sans Light" panose="020B0306030504020204" pitchFamily="34" charset="0"/>
              </a:rPr>
              <a:t>What </a:t>
            </a:r>
            <a:r>
              <a:rPr lang="en-US" sz="3200" b="1" spc="-150" dirty="0">
                <a:solidFill>
                  <a:schemeClr val="tx1">
                    <a:lumMod val="85000"/>
                    <a:lumOff val="15000"/>
                  </a:schemeClr>
                </a:solidFill>
                <a:ea typeface="Source Sans Pro" panose="020B0503030403020204" pitchFamily="34" charset="0"/>
                <a:cs typeface="Open Sans Light" panose="020B0306030504020204" pitchFamily="34" charset="0"/>
              </a:rPr>
              <a:t>We Do</a:t>
            </a:r>
          </a:p>
        </p:txBody>
      </p:sp>
      <p:sp>
        <p:nvSpPr>
          <p:cNvPr id="6" name="Rectangle 5"/>
          <p:cNvSpPr/>
          <p:nvPr>
            <p:custDataLst>
              <p:tags r:id="rId2"/>
            </p:custDataLst>
          </p:nvPr>
        </p:nvSpPr>
        <p:spPr>
          <a:xfrm>
            <a:off x="465988" y="1404480"/>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lumMod val="85000"/>
                    <a:lumOff val="15000"/>
                  </a:schemeClr>
                </a:solidFill>
                <a:ea typeface="Open Sans" panose="020B0606030504020204" pitchFamily="34" charset="0"/>
                <a:cs typeface="Open Sans" panose="020B0606030504020204" pitchFamily="34" charset="0"/>
              </a:rPr>
              <a:t>Put Your Great Subtitle Here</a:t>
            </a:r>
          </a:p>
        </p:txBody>
      </p:sp>
      <p:sp>
        <p:nvSpPr>
          <p:cNvPr id="7" name="Content Placeholder 2"/>
          <p:cNvSpPr txBox="1">
            <a:spLocks/>
          </p:cNvSpPr>
          <p:nvPr/>
        </p:nvSpPr>
        <p:spPr>
          <a:xfrm>
            <a:off x="400985" y="2003436"/>
            <a:ext cx="687510" cy="760431"/>
          </a:xfrm>
          <a:prstGeom prst="rect">
            <a:avLst/>
          </a:prstGeom>
        </p:spPr>
        <p:txBody>
          <a:bodyPr vert="horz" wrap="square" lIns="91440" tIns="45720" rIns="91440" bIns="45720" rtlCol="0" anchor="ctr">
            <a:noAutofit/>
          </a:bodyPr>
          <a:lstStyle>
            <a:defPPr>
              <a:defRPr lang="en-US"/>
            </a:defPPr>
            <a:lvl1pPr>
              <a:lnSpc>
                <a:spcPct val="90000"/>
              </a:lnSpc>
              <a:spcBef>
                <a:spcPct val="0"/>
              </a:spcBef>
              <a:buNone/>
              <a:defRPr sz="3600" b="1">
                <a:solidFill>
                  <a:schemeClr val="tx1">
                    <a:lumMod val="85000"/>
                    <a:lumOff val="15000"/>
                  </a:schemeClr>
                </a:solidFill>
                <a:latin typeface="Playfair Display" panose="00000500000000000000" pitchFamily="50" charset="0"/>
                <a:ea typeface="Roboto" panose="02000000000000000000" pitchFamily="2" charset="0"/>
                <a:cs typeface="Times New Roman" panose="02020603050405020304" pitchFamily="18" charset="0"/>
              </a:defRPr>
            </a:lvl1pPr>
          </a:lstStyle>
          <a:p>
            <a:r>
              <a:rPr lang="en-US" sz="2800" dirty="0">
                <a:latin typeface="+mn-lt"/>
              </a:rPr>
              <a:t>01</a:t>
            </a:r>
          </a:p>
        </p:txBody>
      </p:sp>
      <p:sp>
        <p:nvSpPr>
          <p:cNvPr id="8" name="Content Placeholder 2"/>
          <p:cNvSpPr txBox="1">
            <a:spLocks/>
          </p:cNvSpPr>
          <p:nvPr/>
        </p:nvSpPr>
        <p:spPr>
          <a:xfrm>
            <a:off x="1288412" y="1993231"/>
            <a:ext cx="1278929" cy="760431"/>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id-ID" sz="1200" dirty="0">
                <a:solidFill>
                  <a:schemeClr val="tx1">
                    <a:lumMod val="85000"/>
                    <a:lumOff val="15000"/>
                  </a:schemeClr>
                </a:solidFill>
                <a:ea typeface="Open Sans Light" panose="020B0306030504020204" pitchFamily="34" charset="0"/>
                <a:cs typeface="Open Sans Light" panose="020B0306030504020204" pitchFamily="34" charset="0"/>
              </a:rPr>
              <a:t>BEST SERVICE OF US</a:t>
            </a:r>
          </a:p>
        </p:txBody>
      </p:sp>
      <p:sp>
        <p:nvSpPr>
          <p:cNvPr id="9" name="Rounded Rectangle 8"/>
          <p:cNvSpPr/>
          <p:nvPr/>
        </p:nvSpPr>
        <p:spPr>
          <a:xfrm rot="16200000" flipV="1">
            <a:off x="900442" y="2375108"/>
            <a:ext cx="563790" cy="17085"/>
          </a:xfrm>
          <a:prstGeom prst="roundRect">
            <a:avLst>
              <a:gd name="adj" fmla="val 50000"/>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a:solidFill>
                <a:schemeClr val="accent4"/>
              </a:solidFill>
            </a:endParaRPr>
          </a:p>
        </p:txBody>
      </p:sp>
      <p:sp>
        <p:nvSpPr>
          <p:cNvPr id="10" name="Content Placeholder 2"/>
          <p:cNvSpPr txBox="1">
            <a:spLocks/>
          </p:cNvSpPr>
          <p:nvPr/>
        </p:nvSpPr>
        <p:spPr>
          <a:xfrm>
            <a:off x="3075395" y="2003436"/>
            <a:ext cx="687510" cy="760431"/>
          </a:xfrm>
          <a:prstGeom prst="rect">
            <a:avLst/>
          </a:prstGeom>
        </p:spPr>
        <p:txBody>
          <a:bodyPr vert="horz" wrap="square" lIns="91440" tIns="45720" rIns="91440" bIns="45720" rtlCol="0" anchor="ctr">
            <a:noAutofit/>
          </a:bodyPr>
          <a:lstStyle>
            <a:defPPr>
              <a:defRPr lang="en-US"/>
            </a:defPPr>
            <a:lvl1pPr>
              <a:lnSpc>
                <a:spcPct val="90000"/>
              </a:lnSpc>
              <a:spcBef>
                <a:spcPct val="0"/>
              </a:spcBef>
              <a:buNone/>
              <a:defRPr sz="3600" b="1">
                <a:solidFill>
                  <a:schemeClr val="tx1">
                    <a:lumMod val="85000"/>
                    <a:lumOff val="15000"/>
                  </a:schemeClr>
                </a:solidFill>
                <a:latin typeface="Playfair Display" panose="00000500000000000000" pitchFamily="50" charset="0"/>
                <a:ea typeface="Roboto" panose="02000000000000000000" pitchFamily="2" charset="0"/>
                <a:cs typeface="Times New Roman" panose="02020603050405020304" pitchFamily="18" charset="0"/>
              </a:defRPr>
            </a:lvl1pPr>
          </a:lstStyle>
          <a:p>
            <a:r>
              <a:rPr lang="en-US" sz="2800" dirty="0">
                <a:latin typeface="+mn-lt"/>
              </a:rPr>
              <a:t>0</a:t>
            </a:r>
            <a:r>
              <a:rPr lang="id-ID" sz="2800" dirty="0">
                <a:latin typeface="+mn-lt"/>
              </a:rPr>
              <a:t>2</a:t>
            </a:r>
            <a:endParaRPr lang="en-US" sz="2800" dirty="0">
              <a:latin typeface="+mn-lt"/>
            </a:endParaRPr>
          </a:p>
        </p:txBody>
      </p:sp>
      <p:sp>
        <p:nvSpPr>
          <p:cNvPr id="11" name="Content Placeholder 2"/>
          <p:cNvSpPr txBox="1">
            <a:spLocks/>
          </p:cNvSpPr>
          <p:nvPr/>
        </p:nvSpPr>
        <p:spPr>
          <a:xfrm>
            <a:off x="3962820" y="1993231"/>
            <a:ext cx="1840378" cy="760431"/>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id-ID" sz="1200" dirty="0">
                <a:solidFill>
                  <a:schemeClr val="tx1">
                    <a:lumMod val="85000"/>
                    <a:lumOff val="15000"/>
                  </a:schemeClr>
                </a:solidFill>
                <a:ea typeface="Open Sans Light" panose="020B0306030504020204" pitchFamily="34" charset="0"/>
                <a:cs typeface="Open Sans Light" panose="020B0306030504020204" pitchFamily="34" charset="0"/>
              </a:rPr>
              <a:t>GOOD VISION, NICE MISSION</a:t>
            </a:r>
          </a:p>
        </p:txBody>
      </p:sp>
      <p:sp>
        <p:nvSpPr>
          <p:cNvPr id="12" name="Rounded Rectangle 11"/>
          <p:cNvSpPr/>
          <p:nvPr/>
        </p:nvSpPr>
        <p:spPr>
          <a:xfrm rot="16200000" flipV="1">
            <a:off x="3574852" y="2375108"/>
            <a:ext cx="563790" cy="17085"/>
          </a:xfrm>
          <a:prstGeom prst="roundRect">
            <a:avLst>
              <a:gd name="adj" fmla="val 50000"/>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a:solidFill>
                <a:schemeClr val="accent4"/>
              </a:solidFill>
            </a:endParaRPr>
          </a:p>
        </p:txBody>
      </p:sp>
      <p:sp>
        <p:nvSpPr>
          <p:cNvPr id="13" name="Content Placeholder 2"/>
          <p:cNvSpPr txBox="1">
            <a:spLocks/>
          </p:cNvSpPr>
          <p:nvPr/>
        </p:nvSpPr>
        <p:spPr>
          <a:xfrm>
            <a:off x="6003114" y="2001750"/>
            <a:ext cx="687510" cy="760431"/>
          </a:xfrm>
          <a:prstGeom prst="rect">
            <a:avLst/>
          </a:prstGeom>
        </p:spPr>
        <p:txBody>
          <a:bodyPr vert="horz" wrap="square" lIns="91440" tIns="45720" rIns="91440" bIns="45720" rtlCol="0" anchor="ctr">
            <a:noAutofit/>
          </a:bodyPr>
          <a:lstStyle>
            <a:defPPr>
              <a:defRPr lang="en-US"/>
            </a:defPPr>
            <a:lvl1pPr>
              <a:lnSpc>
                <a:spcPct val="90000"/>
              </a:lnSpc>
              <a:spcBef>
                <a:spcPct val="0"/>
              </a:spcBef>
              <a:buNone/>
              <a:defRPr sz="3600" b="1">
                <a:solidFill>
                  <a:schemeClr val="tx1">
                    <a:lumMod val="85000"/>
                    <a:lumOff val="15000"/>
                  </a:schemeClr>
                </a:solidFill>
                <a:latin typeface="Playfair Display" panose="00000500000000000000" pitchFamily="50" charset="0"/>
                <a:ea typeface="Roboto" panose="02000000000000000000" pitchFamily="2" charset="0"/>
                <a:cs typeface="Times New Roman" panose="02020603050405020304" pitchFamily="18" charset="0"/>
              </a:defRPr>
            </a:lvl1pPr>
          </a:lstStyle>
          <a:p>
            <a:r>
              <a:rPr lang="en-US" sz="2800" dirty="0">
                <a:latin typeface="+mn-lt"/>
              </a:rPr>
              <a:t>0</a:t>
            </a:r>
            <a:r>
              <a:rPr lang="id-ID" sz="2800" dirty="0">
                <a:latin typeface="+mn-lt"/>
              </a:rPr>
              <a:t>3</a:t>
            </a:r>
            <a:endParaRPr lang="en-US" sz="2800" dirty="0">
              <a:latin typeface="+mn-lt"/>
            </a:endParaRPr>
          </a:p>
        </p:txBody>
      </p:sp>
      <p:sp>
        <p:nvSpPr>
          <p:cNvPr id="14" name="Content Placeholder 2"/>
          <p:cNvSpPr txBox="1">
            <a:spLocks/>
          </p:cNvSpPr>
          <p:nvPr/>
        </p:nvSpPr>
        <p:spPr>
          <a:xfrm>
            <a:off x="6890540" y="2004726"/>
            <a:ext cx="1840378" cy="760431"/>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id-ID" sz="1200" dirty="0">
                <a:solidFill>
                  <a:schemeClr val="tx1">
                    <a:lumMod val="85000"/>
                    <a:lumOff val="15000"/>
                  </a:schemeClr>
                </a:solidFill>
                <a:ea typeface="Open Sans Light" panose="020B0306030504020204" pitchFamily="34" charset="0"/>
                <a:cs typeface="Open Sans Light" panose="020B0306030504020204" pitchFamily="34" charset="0"/>
              </a:rPr>
              <a:t>VERY USEFUL TIMELINE</a:t>
            </a:r>
          </a:p>
        </p:txBody>
      </p:sp>
      <p:sp>
        <p:nvSpPr>
          <p:cNvPr id="15" name="Rounded Rectangle 14"/>
          <p:cNvSpPr/>
          <p:nvPr/>
        </p:nvSpPr>
        <p:spPr>
          <a:xfrm rot="16200000" flipV="1">
            <a:off x="6502571" y="2373422"/>
            <a:ext cx="563790" cy="17085"/>
          </a:xfrm>
          <a:prstGeom prst="roundRect">
            <a:avLst>
              <a:gd name="adj" fmla="val 50000"/>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a:solidFill>
                <a:schemeClr val="accent4"/>
              </a:solidFill>
            </a:endParaRPr>
          </a:p>
        </p:txBody>
      </p:sp>
      <p:sp>
        <p:nvSpPr>
          <p:cNvPr id="19" name="Rectangle 18"/>
          <p:cNvSpPr/>
          <p:nvPr/>
        </p:nvSpPr>
        <p:spPr>
          <a:xfrm>
            <a:off x="1288412" y="2618005"/>
            <a:ext cx="1771596" cy="1280351"/>
          </a:xfrm>
          <a:prstGeom prst="rect">
            <a:avLst/>
          </a:prstGeom>
        </p:spPr>
        <p:txBody>
          <a:bodyPr wrap="square">
            <a:spAutoFit/>
          </a:bodyPr>
          <a:lstStyle/>
          <a:p>
            <a:pPr algn="just">
              <a:lnSpc>
                <a:spcPct val="200000"/>
              </a:lnSpc>
              <a:spcBef>
                <a:spcPts val="600"/>
              </a:spcBef>
              <a:buClr>
                <a:srgbClr val="E24848"/>
              </a:buClr>
              <a:defRPr/>
            </a:pPr>
            <a:r>
              <a:rPr lang="en-US" sz="1000" noProof="1">
                <a:solidFill>
                  <a:schemeClr val="tx1">
                    <a:lumMod val="85000"/>
                    <a:lumOff val="15000"/>
                  </a:schemeClr>
                </a:solidFill>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
        <p:nvSpPr>
          <p:cNvPr id="20" name="Rectangle 19"/>
          <p:cNvSpPr/>
          <p:nvPr/>
        </p:nvSpPr>
        <p:spPr>
          <a:xfrm>
            <a:off x="3962820" y="2618005"/>
            <a:ext cx="1771596" cy="1280351"/>
          </a:xfrm>
          <a:prstGeom prst="rect">
            <a:avLst/>
          </a:prstGeom>
        </p:spPr>
        <p:txBody>
          <a:bodyPr wrap="square">
            <a:spAutoFit/>
          </a:bodyPr>
          <a:lstStyle/>
          <a:p>
            <a:pPr algn="just">
              <a:lnSpc>
                <a:spcPct val="200000"/>
              </a:lnSpc>
              <a:spcBef>
                <a:spcPts val="600"/>
              </a:spcBef>
              <a:buClr>
                <a:srgbClr val="E24848"/>
              </a:buClr>
              <a:defRPr/>
            </a:pPr>
            <a:r>
              <a:rPr lang="en-US" sz="1000" noProof="1">
                <a:solidFill>
                  <a:schemeClr val="tx1">
                    <a:lumMod val="85000"/>
                    <a:lumOff val="15000"/>
                  </a:schemeClr>
                </a:solidFill>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
        <p:nvSpPr>
          <p:cNvPr id="21" name="Rectangle 20"/>
          <p:cNvSpPr/>
          <p:nvPr/>
        </p:nvSpPr>
        <p:spPr>
          <a:xfrm>
            <a:off x="6959323" y="2618005"/>
            <a:ext cx="1771596" cy="1280351"/>
          </a:xfrm>
          <a:prstGeom prst="rect">
            <a:avLst/>
          </a:prstGeom>
        </p:spPr>
        <p:txBody>
          <a:bodyPr wrap="square">
            <a:spAutoFit/>
          </a:bodyPr>
          <a:lstStyle/>
          <a:p>
            <a:pPr algn="just">
              <a:lnSpc>
                <a:spcPct val="200000"/>
              </a:lnSpc>
              <a:spcBef>
                <a:spcPts val="600"/>
              </a:spcBef>
              <a:buClr>
                <a:srgbClr val="E24848"/>
              </a:buClr>
              <a:defRPr/>
            </a:pPr>
            <a:r>
              <a:rPr lang="en-US" sz="1000" noProof="1">
                <a:solidFill>
                  <a:schemeClr val="tx1">
                    <a:lumMod val="85000"/>
                    <a:lumOff val="15000"/>
                  </a:schemeClr>
                </a:solidFill>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
        <p:nvSpPr>
          <p:cNvPr id="28" name="Content Placeholder 2"/>
          <p:cNvSpPr txBox="1">
            <a:spLocks/>
          </p:cNvSpPr>
          <p:nvPr/>
        </p:nvSpPr>
        <p:spPr>
          <a:xfrm>
            <a:off x="8778194" y="2001750"/>
            <a:ext cx="687510" cy="760431"/>
          </a:xfrm>
          <a:prstGeom prst="rect">
            <a:avLst/>
          </a:prstGeom>
        </p:spPr>
        <p:txBody>
          <a:bodyPr vert="horz" wrap="square" lIns="91440" tIns="45720" rIns="91440" bIns="45720" rtlCol="0" anchor="ctr">
            <a:noAutofit/>
          </a:bodyPr>
          <a:lstStyle>
            <a:defPPr>
              <a:defRPr lang="en-US"/>
            </a:defPPr>
            <a:lvl1pPr>
              <a:lnSpc>
                <a:spcPct val="90000"/>
              </a:lnSpc>
              <a:spcBef>
                <a:spcPct val="0"/>
              </a:spcBef>
              <a:buNone/>
              <a:defRPr sz="3600" b="1">
                <a:solidFill>
                  <a:schemeClr val="tx1">
                    <a:lumMod val="85000"/>
                    <a:lumOff val="15000"/>
                  </a:schemeClr>
                </a:solidFill>
                <a:latin typeface="Playfair Display" panose="00000500000000000000" pitchFamily="50" charset="0"/>
                <a:ea typeface="Roboto" panose="02000000000000000000" pitchFamily="2" charset="0"/>
                <a:cs typeface="Times New Roman" panose="02020603050405020304" pitchFamily="18" charset="0"/>
              </a:defRPr>
            </a:lvl1pPr>
          </a:lstStyle>
          <a:p>
            <a:r>
              <a:rPr lang="en-US" sz="2800" dirty="0">
                <a:latin typeface="+mn-lt"/>
              </a:rPr>
              <a:t>04</a:t>
            </a:r>
          </a:p>
        </p:txBody>
      </p:sp>
      <p:sp>
        <p:nvSpPr>
          <p:cNvPr id="29" name="Content Placeholder 2"/>
          <p:cNvSpPr txBox="1">
            <a:spLocks/>
          </p:cNvSpPr>
          <p:nvPr/>
        </p:nvSpPr>
        <p:spPr>
          <a:xfrm>
            <a:off x="9665621" y="2004726"/>
            <a:ext cx="1840378" cy="760431"/>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id-ID" sz="1200" dirty="0">
                <a:solidFill>
                  <a:schemeClr val="tx1">
                    <a:lumMod val="85000"/>
                    <a:lumOff val="15000"/>
                  </a:schemeClr>
                </a:solidFill>
                <a:ea typeface="Open Sans Light" panose="020B0306030504020204" pitchFamily="34" charset="0"/>
                <a:cs typeface="Open Sans Light" panose="020B0306030504020204" pitchFamily="34" charset="0"/>
              </a:rPr>
              <a:t>VERY USEFUL TIMELINE</a:t>
            </a:r>
          </a:p>
        </p:txBody>
      </p:sp>
      <p:sp>
        <p:nvSpPr>
          <p:cNvPr id="30" name="Rounded Rectangle 29"/>
          <p:cNvSpPr/>
          <p:nvPr/>
        </p:nvSpPr>
        <p:spPr>
          <a:xfrm rot="16200000" flipV="1">
            <a:off x="9277651" y="2373422"/>
            <a:ext cx="563790" cy="17085"/>
          </a:xfrm>
          <a:prstGeom prst="roundRect">
            <a:avLst>
              <a:gd name="adj" fmla="val 50000"/>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a:solidFill>
                <a:schemeClr val="accent4"/>
              </a:solidFill>
            </a:endParaRPr>
          </a:p>
        </p:txBody>
      </p:sp>
      <p:sp>
        <p:nvSpPr>
          <p:cNvPr id="32" name="Rectangle 31"/>
          <p:cNvSpPr/>
          <p:nvPr/>
        </p:nvSpPr>
        <p:spPr>
          <a:xfrm>
            <a:off x="9734403" y="2618005"/>
            <a:ext cx="1771596" cy="1280351"/>
          </a:xfrm>
          <a:prstGeom prst="rect">
            <a:avLst/>
          </a:prstGeom>
        </p:spPr>
        <p:txBody>
          <a:bodyPr wrap="square">
            <a:spAutoFit/>
          </a:bodyPr>
          <a:lstStyle/>
          <a:p>
            <a:pPr algn="just">
              <a:lnSpc>
                <a:spcPct val="200000"/>
              </a:lnSpc>
              <a:spcBef>
                <a:spcPts val="600"/>
              </a:spcBef>
              <a:buClr>
                <a:srgbClr val="E24848"/>
              </a:buClr>
              <a:defRPr/>
            </a:pPr>
            <a:r>
              <a:rPr lang="en-US" sz="1000" noProof="1">
                <a:solidFill>
                  <a:schemeClr val="tx1">
                    <a:lumMod val="85000"/>
                    <a:lumOff val="15000"/>
                  </a:schemeClr>
                </a:solidFill>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
        <p:nvSpPr>
          <p:cNvPr id="35" name="Freeform 34"/>
          <p:cNvSpPr>
            <a:spLocks/>
          </p:cNvSpPr>
          <p:nvPr/>
        </p:nvSpPr>
        <p:spPr bwMode="auto">
          <a:xfrm>
            <a:off x="2430994" y="5333429"/>
            <a:ext cx="874594" cy="991778"/>
          </a:xfrm>
          <a:custGeom>
            <a:avLst/>
            <a:gdLst>
              <a:gd name="connsiteX0" fmla="*/ 1273175 w 1943100"/>
              <a:gd name="connsiteY0" fmla="*/ 1971675 h 2203450"/>
              <a:gd name="connsiteX1" fmla="*/ 1298575 w 1943100"/>
              <a:gd name="connsiteY1" fmla="*/ 1974850 h 2203450"/>
              <a:gd name="connsiteX2" fmla="*/ 1323975 w 1943100"/>
              <a:gd name="connsiteY2" fmla="*/ 1981200 h 2203450"/>
              <a:gd name="connsiteX3" fmla="*/ 1346200 w 1943100"/>
              <a:gd name="connsiteY3" fmla="*/ 1990725 h 2203450"/>
              <a:gd name="connsiteX4" fmla="*/ 1365250 w 1943100"/>
              <a:gd name="connsiteY4" fmla="*/ 2006600 h 2203450"/>
              <a:gd name="connsiteX5" fmla="*/ 1381125 w 1943100"/>
              <a:gd name="connsiteY5" fmla="*/ 2022475 h 2203450"/>
              <a:gd name="connsiteX6" fmla="*/ 1393825 w 1943100"/>
              <a:gd name="connsiteY6" fmla="*/ 2041525 h 2203450"/>
              <a:gd name="connsiteX7" fmla="*/ 1400175 w 1943100"/>
              <a:gd name="connsiteY7" fmla="*/ 2063750 h 2203450"/>
              <a:gd name="connsiteX8" fmla="*/ 1403350 w 1943100"/>
              <a:gd name="connsiteY8" fmla="*/ 2089150 h 2203450"/>
              <a:gd name="connsiteX9" fmla="*/ 1400175 w 1943100"/>
              <a:gd name="connsiteY9" fmla="*/ 2111375 h 2203450"/>
              <a:gd name="connsiteX10" fmla="*/ 1393825 w 1943100"/>
              <a:gd name="connsiteY10" fmla="*/ 2133600 h 2203450"/>
              <a:gd name="connsiteX11" fmla="*/ 1381125 w 1943100"/>
              <a:gd name="connsiteY11" fmla="*/ 2152650 h 2203450"/>
              <a:gd name="connsiteX12" fmla="*/ 1365250 w 1943100"/>
              <a:gd name="connsiteY12" fmla="*/ 2168525 h 2203450"/>
              <a:gd name="connsiteX13" fmla="*/ 1346200 w 1943100"/>
              <a:gd name="connsiteY13" fmla="*/ 2184400 h 2203450"/>
              <a:gd name="connsiteX14" fmla="*/ 1323975 w 1943100"/>
              <a:gd name="connsiteY14" fmla="*/ 2193925 h 2203450"/>
              <a:gd name="connsiteX15" fmla="*/ 1298575 w 1943100"/>
              <a:gd name="connsiteY15" fmla="*/ 2200275 h 2203450"/>
              <a:gd name="connsiteX16" fmla="*/ 1273175 w 1943100"/>
              <a:gd name="connsiteY16" fmla="*/ 2203450 h 2203450"/>
              <a:gd name="connsiteX17" fmla="*/ 1244600 w 1943100"/>
              <a:gd name="connsiteY17" fmla="*/ 2200275 h 2203450"/>
              <a:gd name="connsiteX18" fmla="*/ 1222375 w 1943100"/>
              <a:gd name="connsiteY18" fmla="*/ 2193925 h 2203450"/>
              <a:gd name="connsiteX19" fmla="*/ 1200150 w 1943100"/>
              <a:gd name="connsiteY19" fmla="*/ 2184400 h 2203450"/>
              <a:gd name="connsiteX20" fmla="*/ 1177925 w 1943100"/>
              <a:gd name="connsiteY20" fmla="*/ 2168525 h 2203450"/>
              <a:gd name="connsiteX21" fmla="*/ 1162050 w 1943100"/>
              <a:gd name="connsiteY21" fmla="*/ 2152650 h 2203450"/>
              <a:gd name="connsiteX22" fmla="*/ 1152525 w 1943100"/>
              <a:gd name="connsiteY22" fmla="*/ 2133600 h 2203450"/>
              <a:gd name="connsiteX23" fmla="*/ 1143000 w 1943100"/>
              <a:gd name="connsiteY23" fmla="*/ 2111375 h 2203450"/>
              <a:gd name="connsiteX24" fmla="*/ 1139825 w 1943100"/>
              <a:gd name="connsiteY24" fmla="*/ 2089150 h 2203450"/>
              <a:gd name="connsiteX25" fmla="*/ 1143000 w 1943100"/>
              <a:gd name="connsiteY25" fmla="*/ 2063750 h 2203450"/>
              <a:gd name="connsiteX26" fmla="*/ 1152525 w 1943100"/>
              <a:gd name="connsiteY26" fmla="*/ 2041525 h 2203450"/>
              <a:gd name="connsiteX27" fmla="*/ 1162050 w 1943100"/>
              <a:gd name="connsiteY27" fmla="*/ 2022475 h 2203450"/>
              <a:gd name="connsiteX28" fmla="*/ 1177925 w 1943100"/>
              <a:gd name="connsiteY28" fmla="*/ 2006600 h 2203450"/>
              <a:gd name="connsiteX29" fmla="*/ 1200150 w 1943100"/>
              <a:gd name="connsiteY29" fmla="*/ 1990725 h 2203450"/>
              <a:gd name="connsiteX30" fmla="*/ 1222375 w 1943100"/>
              <a:gd name="connsiteY30" fmla="*/ 1981200 h 2203450"/>
              <a:gd name="connsiteX31" fmla="*/ 1244600 w 1943100"/>
              <a:gd name="connsiteY31" fmla="*/ 1974850 h 2203450"/>
              <a:gd name="connsiteX32" fmla="*/ 1498600 w 1943100"/>
              <a:gd name="connsiteY32" fmla="*/ 1819275 h 2203450"/>
              <a:gd name="connsiteX33" fmla="*/ 1530350 w 1943100"/>
              <a:gd name="connsiteY33" fmla="*/ 1822450 h 2203450"/>
              <a:gd name="connsiteX34" fmla="*/ 1562100 w 1943100"/>
              <a:gd name="connsiteY34" fmla="*/ 1825625 h 2203450"/>
              <a:gd name="connsiteX35" fmla="*/ 1587500 w 1943100"/>
              <a:gd name="connsiteY35" fmla="*/ 1831975 h 2203450"/>
              <a:gd name="connsiteX36" fmla="*/ 1612900 w 1943100"/>
              <a:gd name="connsiteY36" fmla="*/ 1841500 h 2203450"/>
              <a:gd name="connsiteX37" fmla="*/ 1631950 w 1943100"/>
              <a:gd name="connsiteY37" fmla="*/ 1854200 h 2203450"/>
              <a:gd name="connsiteX38" fmla="*/ 1647825 w 1943100"/>
              <a:gd name="connsiteY38" fmla="*/ 1866900 h 2203450"/>
              <a:gd name="connsiteX39" fmla="*/ 1657350 w 1943100"/>
              <a:gd name="connsiteY39" fmla="*/ 1879600 h 2203450"/>
              <a:gd name="connsiteX40" fmla="*/ 1660525 w 1943100"/>
              <a:gd name="connsiteY40" fmla="*/ 1895475 h 2203450"/>
              <a:gd name="connsiteX41" fmla="*/ 1657350 w 1943100"/>
              <a:gd name="connsiteY41" fmla="*/ 1911350 h 2203450"/>
              <a:gd name="connsiteX42" fmla="*/ 1647825 w 1943100"/>
              <a:gd name="connsiteY42" fmla="*/ 1924050 h 2203450"/>
              <a:gd name="connsiteX43" fmla="*/ 1631950 w 1943100"/>
              <a:gd name="connsiteY43" fmla="*/ 1939925 h 2203450"/>
              <a:gd name="connsiteX44" fmla="*/ 1612900 w 1943100"/>
              <a:gd name="connsiteY44" fmla="*/ 1949450 h 2203450"/>
              <a:gd name="connsiteX45" fmla="*/ 1587500 w 1943100"/>
              <a:gd name="connsiteY45" fmla="*/ 1958975 h 2203450"/>
              <a:gd name="connsiteX46" fmla="*/ 1562100 w 1943100"/>
              <a:gd name="connsiteY46" fmla="*/ 1965325 h 2203450"/>
              <a:gd name="connsiteX47" fmla="*/ 1530350 w 1943100"/>
              <a:gd name="connsiteY47" fmla="*/ 1971675 h 2203450"/>
              <a:gd name="connsiteX48" fmla="*/ 1498600 w 1943100"/>
              <a:gd name="connsiteY48" fmla="*/ 1971675 h 2203450"/>
              <a:gd name="connsiteX49" fmla="*/ 1466850 w 1943100"/>
              <a:gd name="connsiteY49" fmla="*/ 1971675 h 2203450"/>
              <a:gd name="connsiteX50" fmla="*/ 1435100 w 1943100"/>
              <a:gd name="connsiteY50" fmla="*/ 1965325 h 2203450"/>
              <a:gd name="connsiteX51" fmla="*/ 1409700 w 1943100"/>
              <a:gd name="connsiteY51" fmla="*/ 1958975 h 2203450"/>
              <a:gd name="connsiteX52" fmla="*/ 1384300 w 1943100"/>
              <a:gd name="connsiteY52" fmla="*/ 1949450 h 2203450"/>
              <a:gd name="connsiteX53" fmla="*/ 1365250 w 1943100"/>
              <a:gd name="connsiteY53" fmla="*/ 1939925 h 2203450"/>
              <a:gd name="connsiteX54" fmla="*/ 1349375 w 1943100"/>
              <a:gd name="connsiteY54" fmla="*/ 1924050 h 2203450"/>
              <a:gd name="connsiteX55" fmla="*/ 1339850 w 1943100"/>
              <a:gd name="connsiteY55" fmla="*/ 1911350 h 2203450"/>
              <a:gd name="connsiteX56" fmla="*/ 1336675 w 1943100"/>
              <a:gd name="connsiteY56" fmla="*/ 1895475 h 2203450"/>
              <a:gd name="connsiteX57" fmla="*/ 1339850 w 1943100"/>
              <a:gd name="connsiteY57" fmla="*/ 1879600 h 2203450"/>
              <a:gd name="connsiteX58" fmla="*/ 1349375 w 1943100"/>
              <a:gd name="connsiteY58" fmla="*/ 1866900 h 2203450"/>
              <a:gd name="connsiteX59" fmla="*/ 1365250 w 1943100"/>
              <a:gd name="connsiteY59" fmla="*/ 1854200 h 2203450"/>
              <a:gd name="connsiteX60" fmla="*/ 1384300 w 1943100"/>
              <a:gd name="connsiteY60" fmla="*/ 1841500 h 2203450"/>
              <a:gd name="connsiteX61" fmla="*/ 1409700 w 1943100"/>
              <a:gd name="connsiteY61" fmla="*/ 1831975 h 2203450"/>
              <a:gd name="connsiteX62" fmla="*/ 1435100 w 1943100"/>
              <a:gd name="connsiteY62" fmla="*/ 1825625 h 2203450"/>
              <a:gd name="connsiteX63" fmla="*/ 1466850 w 1943100"/>
              <a:gd name="connsiteY63" fmla="*/ 1822450 h 2203450"/>
              <a:gd name="connsiteX64" fmla="*/ 752475 w 1943100"/>
              <a:gd name="connsiteY64" fmla="*/ 1781175 h 2203450"/>
              <a:gd name="connsiteX65" fmla="*/ 762000 w 1943100"/>
              <a:gd name="connsiteY65" fmla="*/ 1784350 h 2203450"/>
              <a:gd name="connsiteX66" fmla="*/ 768350 w 1943100"/>
              <a:gd name="connsiteY66" fmla="*/ 1787525 h 2203450"/>
              <a:gd name="connsiteX67" fmla="*/ 777875 w 1943100"/>
              <a:gd name="connsiteY67" fmla="*/ 1790700 h 2203450"/>
              <a:gd name="connsiteX68" fmla="*/ 784225 w 1943100"/>
              <a:gd name="connsiteY68" fmla="*/ 1800225 h 2203450"/>
              <a:gd name="connsiteX69" fmla="*/ 793750 w 1943100"/>
              <a:gd name="connsiteY69" fmla="*/ 1816100 h 2203450"/>
              <a:gd name="connsiteX70" fmla="*/ 796925 w 1943100"/>
              <a:gd name="connsiteY70" fmla="*/ 1838325 h 2203450"/>
              <a:gd name="connsiteX71" fmla="*/ 793750 w 1943100"/>
              <a:gd name="connsiteY71" fmla="*/ 1860550 h 2203450"/>
              <a:gd name="connsiteX72" fmla="*/ 784225 w 1943100"/>
              <a:gd name="connsiteY72" fmla="*/ 1879600 h 2203450"/>
              <a:gd name="connsiteX73" fmla="*/ 777875 w 1943100"/>
              <a:gd name="connsiteY73" fmla="*/ 1885950 h 2203450"/>
              <a:gd name="connsiteX74" fmla="*/ 768350 w 1943100"/>
              <a:gd name="connsiteY74" fmla="*/ 1889125 h 2203450"/>
              <a:gd name="connsiteX75" fmla="*/ 762000 w 1943100"/>
              <a:gd name="connsiteY75" fmla="*/ 1892300 h 2203450"/>
              <a:gd name="connsiteX76" fmla="*/ 752475 w 1943100"/>
              <a:gd name="connsiteY76" fmla="*/ 1895475 h 2203450"/>
              <a:gd name="connsiteX77" fmla="*/ 742950 w 1943100"/>
              <a:gd name="connsiteY77" fmla="*/ 1892300 h 2203450"/>
              <a:gd name="connsiteX78" fmla="*/ 736600 w 1943100"/>
              <a:gd name="connsiteY78" fmla="*/ 1889125 h 2203450"/>
              <a:gd name="connsiteX79" fmla="*/ 727075 w 1943100"/>
              <a:gd name="connsiteY79" fmla="*/ 1885950 h 2203450"/>
              <a:gd name="connsiteX80" fmla="*/ 720725 w 1943100"/>
              <a:gd name="connsiteY80" fmla="*/ 1879600 h 2203450"/>
              <a:gd name="connsiteX81" fmla="*/ 711200 w 1943100"/>
              <a:gd name="connsiteY81" fmla="*/ 1860550 h 2203450"/>
              <a:gd name="connsiteX82" fmla="*/ 708025 w 1943100"/>
              <a:gd name="connsiteY82" fmla="*/ 1838325 h 2203450"/>
              <a:gd name="connsiteX83" fmla="*/ 711200 w 1943100"/>
              <a:gd name="connsiteY83" fmla="*/ 1816100 h 2203450"/>
              <a:gd name="connsiteX84" fmla="*/ 720725 w 1943100"/>
              <a:gd name="connsiteY84" fmla="*/ 1800225 h 2203450"/>
              <a:gd name="connsiteX85" fmla="*/ 727075 w 1943100"/>
              <a:gd name="connsiteY85" fmla="*/ 1790700 h 2203450"/>
              <a:gd name="connsiteX86" fmla="*/ 736600 w 1943100"/>
              <a:gd name="connsiteY86" fmla="*/ 1787525 h 2203450"/>
              <a:gd name="connsiteX87" fmla="*/ 742950 w 1943100"/>
              <a:gd name="connsiteY87" fmla="*/ 1784350 h 2203450"/>
              <a:gd name="connsiteX88" fmla="*/ 492125 w 1943100"/>
              <a:gd name="connsiteY88" fmla="*/ 1670050 h 2203450"/>
              <a:gd name="connsiteX89" fmla="*/ 520700 w 1943100"/>
              <a:gd name="connsiteY89" fmla="*/ 1673225 h 2203450"/>
              <a:gd name="connsiteX90" fmla="*/ 546100 w 1943100"/>
              <a:gd name="connsiteY90" fmla="*/ 1679575 h 2203450"/>
              <a:gd name="connsiteX91" fmla="*/ 568325 w 1943100"/>
              <a:gd name="connsiteY91" fmla="*/ 1689100 h 2203450"/>
              <a:gd name="connsiteX92" fmla="*/ 590550 w 1943100"/>
              <a:gd name="connsiteY92" fmla="*/ 1704975 h 2203450"/>
              <a:gd name="connsiteX93" fmla="*/ 606425 w 1943100"/>
              <a:gd name="connsiteY93" fmla="*/ 1720850 h 2203450"/>
              <a:gd name="connsiteX94" fmla="*/ 619125 w 1943100"/>
              <a:gd name="connsiteY94" fmla="*/ 1739900 h 2203450"/>
              <a:gd name="connsiteX95" fmla="*/ 628650 w 1943100"/>
              <a:gd name="connsiteY95" fmla="*/ 1758950 h 2203450"/>
              <a:gd name="connsiteX96" fmla="*/ 631825 w 1943100"/>
              <a:gd name="connsiteY96" fmla="*/ 1781175 h 2203450"/>
              <a:gd name="connsiteX97" fmla="*/ 628650 w 1943100"/>
              <a:gd name="connsiteY97" fmla="*/ 1806575 h 2203450"/>
              <a:gd name="connsiteX98" fmla="*/ 619125 w 1943100"/>
              <a:gd name="connsiteY98" fmla="*/ 1825625 h 2203450"/>
              <a:gd name="connsiteX99" fmla="*/ 606425 w 1943100"/>
              <a:gd name="connsiteY99" fmla="*/ 1844675 h 2203450"/>
              <a:gd name="connsiteX100" fmla="*/ 590550 w 1943100"/>
              <a:gd name="connsiteY100" fmla="*/ 1860550 h 2203450"/>
              <a:gd name="connsiteX101" fmla="*/ 568325 w 1943100"/>
              <a:gd name="connsiteY101" fmla="*/ 1876425 h 2203450"/>
              <a:gd name="connsiteX102" fmla="*/ 546100 w 1943100"/>
              <a:gd name="connsiteY102" fmla="*/ 1885950 h 2203450"/>
              <a:gd name="connsiteX103" fmla="*/ 520700 w 1943100"/>
              <a:gd name="connsiteY103" fmla="*/ 1892300 h 2203450"/>
              <a:gd name="connsiteX104" fmla="*/ 492125 w 1943100"/>
              <a:gd name="connsiteY104" fmla="*/ 1895475 h 2203450"/>
              <a:gd name="connsiteX105" fmla="*/ 463550 w 1943100"/>
              <a:gd name="connsiteY105" fmla="*/ 1892300 h 2203450"/>
              <a:gd name="connsiteX106" fmla="*/ 438150 w 1943100"/>
              <a:gd name="connsiteY106" fmla="*/ 1885950 h 2203450"/>
              <a:gd name="connsiteX107" fmla="*/ 412750 w 1943100"/>
              <a:gd name="connsiteY107" fmla="*/ 1876425 h 2203450"/>
              <a:gd name="connsiteX108" fmla="*/ 393700 w 1943100"/>
              <a:gd name="connsiteY108" fmla="*/ 1860550 h 2203450"/>
              <a:gd name="connsiteX109" fmla="*/ 374650 w 1943100"/>
              <a:gd name="connsiteY109" fmla="*/ 1844675 h 2203450"/>
              <a:gd name="connsiteX110" fmla="*/ 361950 w 1943100"/>
              <a:gd name="connsiteY110" fmla="*/ 1825625 h 2203450"/>
              <a:gd name="connsiteX111" fmla="*/ 355600 w 1943100"/>
              <a:gd name="connsiteY111" fmla="*/ 1806575 h 2203450"/>
              <a:gd name="connsiteX112" fmla="*/ 352425 w 1943100"/>
              <a:gd name="connsiteY112" fmla="*/ 1781175 h 2203450"/>
              <a:gd name="connsiteX113" fmla="*/ 355600 w 1943100"/>
              <a:gd name="connsiteY113" fmla="*/ 1758950 h 2203450"/>
              <a:gd name="connsiteX114" fmla="*/ 361950 w 1943100"/>
              <a:gd name="connsiteY114" fmla="*/ 1739900 h 2203450"/>
              <a:gd name="connsiteX115" fmla="*/ 374650 w 1943100"/>
              <a:gd name="connsiteY115" fmla="*/ 1720850 h 2203450"/>
              <a:gd name="connsiteX116" fmla="*/ 393700 w 1943100"/>
              <a:gd name="connsiteY116" fmla="*/ 1704975 h 2203450"/>
              <a:gd name="connsiteX117" fmla="*/ 412750 w 1943100"/>
              <a:gd name="connsiteY117" fmla="*/ 1689100 h 2203450"/>
              <a:gd name="connsiteX118" fmla="*/ 438150 w 1943100"/>
              <a:gd name="connsiteY118" fmla="*/ 1679575 h 2203450"/>
              <a:gd name="connsiteX119" fmla="*/ 463550 w 1943100"/>
              <a:gd name="connsiteY119" fmla="*/ 1673225 h 2203450"/>
              <a:gd name="connsiteX120" fmla="*/ 212725 w 1943100"/>
              <a:gd name="connsiteY120" fmla="*/ 1670050 h 2203450"/>
              <a:gd name="connsiteX121" fmla="*/ 228600 w 1943100"/>
              <a:gd name="connsiteY121" fmla="*/ 1673225 h 2203450"/>
              <a:gd name="connsiteX122" fmla="*/ 244475 w 1943100"/>
              <a:gd name="connsiteY122" fmla="*/ 1676400 h 2203450"/>
              <a:gd name="connsiteX123" fmla="*/ 257175 w 1943100"/>
              <a:gd name="connsiteY123" fmla="*/ 1679575 h 2203450"/>
              <a:gd name="connsiteX124" fmla="*/ 266700 w 1943100"/>
              <a:gd name="connsiteY124" fmla="*/ 1685925 h 2203450"/>
              <a:gd name="connsiteX125" fmla="*/ 276225 w 1943100"/>
              <a:gd name="connsiteY125" fmla="*/ 1692275 h 2203450"/>
              <a:gd name="connsiteX126" fmla="*/ 285750 w 1943100"/>
              <a:gd name="connsiteY126" fmla="*/ 1701800 h 2203450"/>
              <a:gd name="connsiteX127" fmla="*/ 288925 w 1943100"/>
              <a:gd name="connsiteY127" fmla="*/ 1711325 h 2203450"/>
              <a:gd name="connsiteX128" fmla="*/ 288925 w 1943100"/>
              <a:gd name="connsiteY128" fmla="*/ 1724025 h 2203450"/>
              <a:gd name="connsiteX129" fmla="*/ 288925 w 1943100"/>
              <a:gd name="connsiteY129" fmla="*/ 1733550 h 2203450"/>
              <a:gd name="connsiteX130" fmla="*/ 285750 w 1943100"/>
              <a:gd name="connsiteY130" fmla="*/ 1743075 h 2203450"/>
              <a:gd name="connsiteX131" fmla="*/ 276225 w 1943100"/>
              <a:gd name="connsiteY131" fmla="*/ 1752600 h 2203450"/>
              <a:gd name="connsiteX132" fmla="*/ 266700 w 1943100"/>
              <a:gd name="connsiteY132" fmla="*/ 1758950 h 2203450"/>
              <a:gd name="connsiteX133" fmla="*/ 257175 w 1943100"/>
              <a:gd name="connsiteY133" fmla="*/ 1765300 h 2203450"/>
              <a:gd name="connsiteX134" fmla="*/ 244475 w 1943100"/>
              <a:gd name="connsiteY134" fmla="*/ 1771650 h 2203450"/>
              <a:gd name="connsiteX135" fmla="*/ 228600 w 1943100"/>
              <a:gd name="connsiteY135" fmla="*/ 1774825 h 2203450"/>
              <a:gd name="connsiteX136" fmla="*/ 212725 w 1943100"/>
              <a:gd name="connsiteY136" fmla="*/ 1774825 h 2203450"/>
              <a:gd name="connsiteX137" fmla="*/ 196850 w 1943100"/>
              <a:gd name="connsiteY137" fmla="*/ 1774825 h 2203450"/>
              <a:gd name="connsiteX138" fmla="*/ 184150 w 1943100"/>
              <a:gd name="connsiteY138" fmla="*/ 1771650 h 2203450"/>
              <a:gd name="connsiteX139" fmla="*/ 168275 w 1943100"/>
              <a:gd name="connsiteY139" fmla="*/ 1765300 h 2203450"/>
              <a:gd name="connsiteX140" fmla="*/ 158750 w 1943100"/>
              <a:gd name="connsiteY140" fmla="*/ 1758950 h 2203450"/>
              <a:gd name="connsiteX141" fmla="*/ 149225 w 1943100"/>
              <a:gd name="connsiteY141" fmla="*/ 1752600 h 2203450"/>
              <a:gd name="connsiteX142" fmla="*/ 142875 w 1943100"/>
              <a:gd name="connsiteY142" fmla="*/ 1743075 h 2203450"/>
              <a:gd name="connsiteX143" fmla="*/ 136525 w 1943100"/>
              <a:gd name="connsiteY143" fmla="*/ 1733550 h 2203450"/>
              <a:gd name="connsiteX144" fmla="*/ 136525 w 1943100"/>
              <a:gd name="connsiteY144" fmla="*/ 1724025 h 2203450"/>
              <a:gd name="connsiteX145" fmla="*/ 136525 w 1943100"/>
              <a:gd name="connsiteY145" fmla="*/ 1711325 h 2203450"/>
              <a:gd name="connsiteX146" fmla="*/ 142875 w 1943100"/>
              <a:gd name="connsiteY146" fmla="*/ 1701800 h 2203450"/>
              <a:gd name="connsiteX147" fmla="*/ 149225 w 1943100"/>
              <a:gd name="connsiteY147" fmla="*/ 1692275 h 2203450"/>
              <a:gd name="connsiteX148" fmla="*/ 158750 w 1943100"/>
              <a:gd name="connsiteY148" fmla="*/ 1685925 h 2203450"/>
              <a:gd name="connsiteX149" fmla="*/ 168275 w 1943100"/>
              <a:gd name="connsiteY149" fmla="*/ 1679575 h 2203450"/>
              <a:gd name="connsiteX150" fmla="*/ 184150 w 1943100"/>
              <a:gd name="connsiteY150" fmla="*/ 1676400 h 2203450"/>
              <a:gd name="connsiteX151" fmla="*/ 196850 w 1943100"/>
              <a:gd name="connsiteY151" fmla="*/ 1673225 h 2203450"/>
              <a:gd name="connsiteX152" fmla="*/ 44450 w 1943100"/>
              <a:gd name="connsiteY152" fmla="*/ 1260475 h 2203450"/>
              <a:gd name="connsiteX153" fmla="*/ 53975 w 1943100"/>
              <a:gd name="connsiteY153" fmla="*/ 1260475 h 2203450"/>
              <a:gd name="connsiteX154" fmla="*/ 63500 w 1943100"/>
              <a:gd name="connsiteY154" fmla="*/ 1260475 h 2203450"/>
              <a:gd name="connsiteX155" fmla="*/ 76200 w 1943100"/>
              <a:gd name="connsiteY155" fmla="*/ 1266825 h 2203450"/>
              <a:gd name="connsiteX156" fmla="*/ 82550 w 1943100"/>
              <a:gd name="connsiteY156" fmla="*/ 1273175 h 2203450"/>
              <a:gd name="connsiteX157" fmla="*/ 92075 w 1943100"/>
              <a:gd name="connsiteY157" fmla="*/ 1279525 h 2203450"/>
              <a:gd name="connsiteX158" fmla="*/ 98425 w 1943100"/>
              <a:gd name="connsiteY158" fmla="*/ 1289050 h 2203450"/>
              <a:gd name="connsiteX159" fmla="*/ 101600 w 1943100"/>
              <a:gd name="connsiteY159" fmla="*/ 1298575 h 2203450"/>
              <a:gd name="connsiteX160" fmla="*/ 104775 w 1943100"/>
              <a:gd name="connsiteY160" fmla="*/ 1311275 h 2203450"/>
              <a:gd name="connsiteX161" fmla="*/ 107950 w 1943100"/>
              <a:gd name="connsiteY161" fmla="*/ 1323975 h 2203450"/>
              <a:gd name="connsiteX162" fmla="*/ 104775 w 1943100"/>
              <a:gd name="connsiteY162" fmla="*/ 1336675 h 2203450"/>
              <a:gd name="connsiteX163" fmla="*/ 101600 w 1943100"/>
              <a:gd name="connsiteY163" fmla="*/ 1349375 h 2203450"/>
              <a:gd name="connsiteX164" fmla="*/ 98425 w 1943100"/>
              <a:gd name="connsiteY164" fmla="*/ 1362075 h 2203450"/>
              <a:gd name="connsiteX165" fmla="*/ 92075 w 1943100"/>
              <a:gd name="connsiteY165" fmla="*/ 1371600 h 2203450"/>
              <a:gd name="connsiteX166" fmla="*/ 82550 w 1943100"/>
              <a:gd name="connsiteY166" fmla="*/ 1377950 h 2203450"/>
              <a:gd name="connsiteX167" fmla="*/ 76200 w 1943100"/>
              <a:gd name="connsiteY167" fmla="*/ 1384300 h 2203450"/>
              <a:gd name="connsiteX168" fmla="*/ 63500 w 1943100"/>
              <a:gd name="connsiteY168" fmla="*/ 1387475 h 2203450"/>
              <a:gd name="connsiteX169" fmla="*/ 53975 w 1943100"/>
              <a:gd name="connsiteY169" fmla="*/ 1390650 h 2203450"/>
              <a:gd name="connsiteX170" fmla="*/ 44450 w 1943100"/>
              <a:gd name="connsiteY170" fmla="*/ 1387475 h 2203450"/>
              <a:gd name="connsiteX171" fmla="*/ 34925 w 1943100"/>
              <a:gd name="connsiteY171" fmla="*/ 1384300 h 2203450"/>
              <a:gd name="connsiteX172" fmla="*/ 25400 w 1943100"/>
              <a:gd name="connsiteY172" fmla="*/ 1377950 h 2203450"/>
              <a:gd name="connsiteX173" fmla="*/ 15875 w 1943100"/>
              <a:gd name="connsiteY173" fmla="*/ 1371600 h 2203450"/>
              <a:gd name="connsiteX174" fmla="*/ 9525 w 1943100"/>
              <a:gd name="connsiteY174" fmla="*/ 1362075 h 2203450"/>
              <a:gd name="connsiteX175" fmla="*/ 6350 w 1943100"/>
              <a:gd name="connsiteY175" fmla="*/ 1349375 h 2203450"/>
              <a:gd name="connsiteX176" fmla="*/ 3175 w 1943100"/>
              <a:gd name="connsiteY176" fmla="*/ 1336675 h 2203450"/>
              <a:gd name="connsiteX177" fmla="*/ 0 w 1943100"/>
              <a:gd name="connsiteY177" fmla="*/ 1323975 h 2203450"/>
              <a:gd name="connsiteX178" fmla="*/ 3175 w 1943100"/>
              <a:gd name="connsiteY178" fmla="*/ 1311275 h 2203450"/>
              <a:gd name="connsiteX179" fmla="*/ 6350 w 1943100"/>
              <a:gd name="connsiteY179" fmla="*/ 1298575 h 2203450"/>
              <a:gd name="connsiteX180" fmla="*/ 9525 w 1943100"/>
              <a:gd name="connsiteY180" fmla="*/ 1289050 h 2203450"/>
              <a:gd name="connsiteX181" fmla="*/ 15875 w 1943100"/>
              <a:gd name="connsiteY181" fmla="*/ 1279525 h 2203450"/>
              <a:gd name="connsiteX182" fmla="*/ 25400 w 1943100"/>
              <a:gd name="connsiteY182" fmla="*/ 1273175 h 2203450"/>
              <a:gd name="connsiteX183" fmla="*/ 34925 w 1943100"/>
              <a:gd name="connsiteY183" fmla="*/ 1266825 h 2203450"/>
              <a:gd name="connsiteX184" fmla="*/ 171450 w 1943100"/>
              <a:gd name="connsiteY184" fmla="*/ 1098550 h 2203450"/>
              <a:gd name="connsiteX185" fmla="*/ 184150 w 1943100"/>
              <a:gd name="connsiteY185" fmla="*/ 1101725 h 2203450"/>
              <a:gd name="connsiteX186" fmla="*/ 193675 w 1943100"/>
              <a:gd name="connsiteY186" fmla="*/ 1104900 h 2203450"/>
              <a:gd name="connsiteX187" fmla="*/ 206375 w 1943100"/>
              <a:gd name="connsiteY187" fmla="*/ 1108075 h 2203450"/>
              <a:gd name="connsiteX188" fmla="*/ 215900 w 1943100"/>
              <a:gd name="connsiteY188" fmla="*/ 1117600 h 2203450"/>
              <a:gd name="connsiteX189" fmla="*/ 222250 w 1943100"/>
              <a:gd name="connsiteY189" fmla="*/ 1123950 h 2203450"/>
              <a:gd name="connsiteX190" fmla="*/ 228600 w 1943100"/>
              <a:gd name="connsiteY190" fmla="*/ 1136650 h 2203450"/>
              <a:gd name="connsiteX191" fmla="*/ 231775 w 1943100"/>
              <a:gd name="connsiteY191" fmla="*/ 1146175 h 2203450"/>
              <a:gd name="connsiteX192" fmla="*/ 234950 w 1943100"/>
              <a:gd name="connsiteY192" fmla="*/ 1158875 h 2203450"/>
              <a:gd name="connsiteX193" fmla="*/ 231775 w 1943100"/>
              <a:gd name="connsiteY193" fmla="*/ 1168400 h 2203450"/>
              <a:gd name="connsiteX194" fmla="*/ 228600 w 1943100"/>
              <a:gd name="connsiteY194" fmla="*/ 1181100 h 2203450"/>
              <a:gd name="connsiteX195" fmla="*/ 222250 w 1943100"/>
              <a:gd name="connsiteY195" fmla="*/ 1190625 h 2203450"/>
              <a:gd name="connsiteX196" fmla="*/ 215900 w 1943100"/>
              <a:gd name="connsiteY196" fmla="*/ 1200150 h 2203450"/>
              <a:gd name="connsiteX197" fmla="*/ 206375 w 1943100"/>
              <a:gd name="connsiteY197" fmla="*/ 1206500 h 2203450"/>
              <a:gd name="connsiteX198" fmla="*/ 193675 w 1943100"/>
              <a:gd name="connsiteY198" fmla="*/ 1212850 h 2203450"/>
              <a:gd name="connsiteX199" fmla="*/ 184150 w 1943100"/>
              <a:gd name="connsiteY199" fmla="*/ 1216025 h 2203450"/>
              <a:gd name="connsiteX200" fmla="*/ 171450 w 1943100"/>
              <a:gd name="connsiteY200" fmla="*/ 1216025 h 2203450"/>
              <a:gd name="connsiteX201" fmla="*/ 158750 w 1943100"/>
              <a:gd name="connsiteY201" fmla="*/ 1216025 h 2203450"/>
              <a:gd name="connsiteX202" fmla="*/ 146050 w 1943100"/>
              <a:gd name="connsiteY202" fmla="*/ 1212850 h 2203450"/>
              <a:gd name="connsiteX203" fmla="*/ 136525 w 1943100"/>
              <a:gd name="connsiteY203" fmla="*/ 1206500 h 2203450"/>
              <a:gd name="connsiteX204" fmla="*/ 127000 w 1943100"/>
              <a:gd name="connsiteY204" fmla="*/ 1200150 h 2203450"/>
              <a:gd name="connsiteX205" fmla="*/ 117475 w 1943100"/>
              <a:gd name="connsiteY205" fmla="*/ 1190625 h 2203450"/>
              <a:gd name="connsiteX206" fmla="*/ 111125 w 1943100"/>
              <a:gd name="connsiteY206" fmla="*/ 1181100 h 2203450"/>
              <a:gd name="connsiteX207" fmla="*/ 107950 w 1943100"/>
              <a:gd name="connsiteY207" fmla="*/ 1168400 h 2203450"/>
              <a:gd name="connsiteX208" fmla="*/ 107950 w 1943100"/>
              <a:gd name="connsiteY208" fmla="*/ 1158875 h 2203450"/>
              <a:gd name="connsiteX209" fmla="*/ 107950 w 1943100"/>
              <a:gd name="connsiteY209" fmla="*/ 1146175 h 2203450"/>
              <a:gd name="connsiteX210" fmla="*/ 111125 w 1943100"/>
              <a:gd name="connsiteY210" fmla="*/ 1136650 h 2203450"/>
              <a:gd name="connsiteX211" fmla="*/ 117475 w 1943100"/>
              <a:gd name="connsiteY211" fmla="*/ 1123950 h 2203450"/>
              <a:gd name="connsiteX212" fmla="*/ 127000 w 1943100"/>
              <a:gd name="connsiteY212" fmla="*/ 1117600 h 2203450"/>
              <a:gd name="connsiteX213" fmla="*/ 136525 w 1943100"/>
              <a:gd name="connsiteY213" fmla="*/ 1108075 h 2203450"/>
              <a:gd name="connsiteX214" fmla="*/ 146050 w 1943100"/>
              <a:gd name="connsiteY214" fmla="*/ 1104900 h 2203450"/>
              <a:gd name="connsiteX215" fmla="*/ 158750 w 1943100"/>
              <a:gd name="connsiteY215" fmla="*/ 1101725 h 2203450"/>
              <a:gd name="connsiteX216" fmla="*/ 136525 w 1943100"/>
              <a:gd name="connsiteY216" fmla="*/ 812800 h 2203450"/>
              <a:gd name="connsiteX217" fmla="*/ 155575 w 1943100"/>
              <a:gd name="connsiteY217" fmla="*/ 815975 h 2203450"/>
              <a:gd name="connsiteX218" fmla="*/ 174625 w 1943100"/>
              <a:gd name="connsiteY218" fmla="*/ 822325 h 2203450"/>
              <a:gd name="connsiteX219" fmla="*/ 190500 w 1943100"/>
              <a:gd name="connsiteY219" fmla="*/ 831850 h 2203450"/>
              <a:gd name="connsiteX220" fmla="*/ 206375 w 1943100"/>
              <a:gd name="connsiteY220" fmla="*/ 844550 h 2203450"/>
              <a:gd name="connsiteX221" fmla="*/ 215900 w 1943100"/>
              <a:gd name="connsiteY221" fmla="*/ 860425 h 2203450"/>
              <a:gd name="connsiteX222" fmla="*/ 225425 w 1943100"/>
              <a:gd name="connsiteY222" fmla="*/ 879475 h 2203450"/>
              <a:gd name="connsiteX223" fmla="*/ 231775 w 1943100"/>
              <a:gd name="connsiteY223" fmla="*/ 898525 h 2203450"/>
              <a:gd name="connsiteX224" fmla="*/ 234950 w 1943100"/>
              <a:gd name="connsiteY224" fmla="*/ 920750 h 2203450"/>
              <a:gd name="connsiteX225" fmla="*/ 231775 w 1943100"/>
              <a:gd name="connsiteY225" fmla="*/ 939800 h 2203450"/>
              <a:gd name="connsiteX226" fmla="*/ 225425 w 1943100"/>
              <a:gd name="connsiteY226" fmla="*/ 958850 h 2203450"/>
              <a:gd name="connsiteX227" fmla="*/ 215900 w 1943100"/>
              <a:gd name="connsiteY227" fmla="*/ 977900 h 2203450"/>
              <a:gd name="connsiteX228" fmla="*/ 206375 w 1943100"/>
              <a:gd name="connsiteY228" fmla="*/ 993775 h 2203450"/>
              <a:gd name="connsiteX229" fmla="*/ 190500 w 1943100"/>
              <a:gd name="connsiteY229" fmla="*/ 1006475 h 2203450"/>
              <a:gd name="connsiteX230" fmla="*/ 174625 w 1943100"/>
              <a:gd name="connsiteY230" fmla="*/ 1016000 h 2203450"/>
              <a:gd name="connsiteX231" fmla="*/ 155575 w 1943100"/>
              <a:gd name="connsiteY231" fmla="*/ 1022350 h 2203450"/>
              <a:gd name="connsiteX232" fmla="*/ 136525 w 1943100"/>
              <a:gd name="connsiteY232" fmla="*/ 1025525 h 2203450"/>
              <a:gd name="connsiteX233" fmla="*/ 114300 w 1943100"/>
              <a:gd name="connsiteY233" fmla="*/ 1022350 h 2203450"/>
              <a:gd name="connsiteX234" fmla="*/ 98425 w 1943100"/>
              <a:gd name="connsiteY234" fmla="*/ 1016000 h 2203450"/>
              <a:gd name="connsiteX235" fmla="*/ 79375 w 1943100"/>
              <a:gd name="connsiteY235" fmla="*/ 1006475 h 2203450"/>
              <a:gd name="connsiteX236" fmla="*/ 66675 w 1943100"/>
              <a:gd name="connsiteY236" fmla="*/ 993775 h 2203450"/>
              <a:gd name="connsiteX237" fmla="*/ 53975 w 1943100"/>
              <a:gd name="connsiteY237" fmla="*/ 977900 h 2203450"/>
              <a:gd name="connsiteX238" fmla="*/ 44450 w 1943100"/>
              <a:gd name="connsiteY238" fmla="*/ 958850 h 2203450"/>
              <a:gd name="connsiteX239" fmla="*/ 38100 w 1943100"/>
              <a:gd name="connsiteY239" fmla="*/ 939800 h 2203450"/>
              <a:gd name="connsiteX240" fmla="*/ 38100 w 1943100"/>
              <a:gd name="connsiteY240" fmla="*/ 920750 h 2203450"/>
              <a:gd name="connsiteX241" fmla="*/ 38100 w 1943100"/>
              <a:gd name="connsiteY241" fmla="*/ 898525 h 2203450"/>
              <a:gd name="connsiteX242" fmla="*/ 44450 w 1943100"/>
              <a:gd name="connsiteY242" fmla="*/ 879475 h 2203450"/>
              <a:gd name="connsiteX243" fmla="*/ 53975 w 1943100"/>
              <a:gd name="connsiteY243" fmla="*/ 860425 h 2203450"/>
              <a:gd name="connsiteX244" fmla="*/ 66675 w 1943100"/>
              <a:gd name="connsiteY244" fmla="*/ 844550 h 2203450"/>
              <a:gd name="connsiteX245" fmla="*/ 79375 w 1943100"/>
              <a:gd name="connsiteY245" fmla="*/ 831850 h 2203450"/>
              <a:gd name="connsiteX246" fmla="*/ 98425 w 1943100"/>
              <a:gd name="connsiteY246" fmla="*/ 822325 h 2203450"/>
              <a:gd name="connsiteX247" fmla="*/ 114300 w 1943100"/>
              <a:gd name="connsiteY247" fmla="*/ 815975 h 2203450"/>
              <a:gd name="connsiteX248" fmla="*/ 352425 w 1943100"/>
              <a:gd name="connsiteY248" fmla="*/ 698500 h 2203450"/>
              <a:gd name="connsiteX249" fmla="*/ 368300 w 1943100"/>
              <a:gd name="connsiteY249" fmla="*/ 701675 h 2203450"/>
              <a:gd name="connsiteX250" fmla="*/ 381000 w 1943100"/>
              <a:gd name="connsiteY250" fmla="*/ 708025 h 2203450"/>
              <a:gd name="connsiteX251" fmla="*/ 390525 w 1943100"/>
              <a:gd name="connsiteY251" fmla="*/ 720725 h 2203450"/>
              <a:gd name="connsiteX252" fmla="*/ 393700 w 1943100"/>
              <a:gd name="connsiteY252" fmla="*/ 733425 h 2203450"/>
              <a:gd name="connsiteX253" fmla="*/ 390525 w 1943100"/>
              <a:gd name="connsiteY253" fmla="*/ 749300 h 2203450"/>
              <a:gd name="connsiteX254" fmla="*/ 381000 w 1943100"/>
              <a:gd name="connsiteY254" fmla="*/ 762000 h 2203450"/>
              <a:gd name="connsiteX255" fmla="*/ 368300 w 1943100"/>
              <a:gd name="connsiteY255" fmla="*/ 768350 h 2203450"/>
              <a:gd name="connsiteX256" fmla="*/ 352425 w 1943100"/>
              <a:gd name="connsiteY256" fmla="*/ 771525 h 2203450"/>
              <a:gd name="connsiteX257" fmla="*/ 333375 w 1943100"/>
              <a:gd name="connsiteY257" fmla="*/ 768350 h 2203450"/>
              <a:gd name="connsiteX258" fmla="*/ 320675 w 1943100"/>
              <a:gd name="connsiteY258" fmla="*/ 762000 h 2203450"/>
              <a:gd name="connsiteX259" fmla="*/ 311150 w 1943100"/>
              <a:gd name="connsiteY259" fmla="*/ 749300 h 2203450"/>
              <a:gd name="connsiteX260" fmla="*/ 307975 w 1943100"/>
              <a:gd name="connsiteY260" fmla="*/ 733425 h 2203450"/>
              <a:gd name="connsiteX261" fmla="*/ 311150 w 1943100"/>
              <a:gd name="connsiteY261" fmla="*/ 720725 h 2203450"/>
              <a:gd name="connsiteX262" fmla="*/ 320675 w 1943100"/>
              <a:gd name="connsiteY262" fmla="*/ 708025 h 2203450"/>
              <a:gd name="connsiteX263" fmla="*/ 333375 w 1943100"/>
              <a:gd name="connsiteY263" fmla="*/ 701675 h 2203450"/>
              <a:gd name="connsiteX264" fmla="*/ 1809750 w 1943100"/>
              <a:gd name="connsiteY264" fmla="*/ 631825 h 2203450"/>
              <a:gd name="connsiteX265" fmla="*/ 1825625 w 1943100"/>
              <a:gd name="connsiteY265" fmla="*/ 631825 h 2203450"/>
              <a:gd name="connsiteX266" fmla="*/ 1841500 w 1943100"/>
              <a:gd name="connsiteY266" fmla="*/ 631825 h 2203450"/>
              <a:gd name="connsiteX267" fmla="*/ 1863725 w 1943100"/>
              <a:gd name="connsiteY267" fmla="*/ 635000 h 2203450"/>
              <a:gd name="connsiteX268" fmla="*/ 1885950 w 1943100"/>
              <a:gd name="connsiteY268" fmla="*/ 644525 h 2203450"/>
              <a:gd name="connsiteX269" fmla="*/ 1895475 w 1943100"/>
              <a:gd name="connsiteY269" fmla="*/ 654050 h 2203450"/>
              <a:gd name="connsiteX270" fmla="*/ 1908175 w 1943100"/>
              <a:gd name="connsiteY270" fmla="*/ 663575 h 2203450"/>
              <a:gd name="connsiteX271" fmla="*/ 1917700 w 1943100"/>
              <a:gd name="connsiteY271" fmla="*/ 679450 h 2203450"/>
              <a:gd name="connsiteX272" fmla="*/ 1927225 w 1943100"/>
              <a:gd name="connsiteY272" fmla="*/ 695325 h 2203450"/>
              <a:gd name="connsiteX273" fmla="*/ 1933575 w 1943100"/>
              <a:gd name="connsiteY273" fmla="*/ 704850 h 2203450"/>
              <a:gd name="connsiteX274" fmla="*/ 1939925 w 1943100"/>
              <a:gd name="connsiteY274" fmla="*/ 720725 h 2203450"/>
              <a:gd name="connsiteX275" fmla="*/ 1943100 w 1943100"/>
              <a:gd name="connsiteY275" fmla="*/ 739775 h 2203450"/>
              <a:gd name="connsiteX276" fmla="*/ 1943100 w 1943100"/>
              <a:gd name="connsiteY276" fmla="*/ 768350 h 2203450"/>
              <a:gd name="connsiteX277" fmla="*/ 1939925 w 1943100"/>
              <a:gd name="connsiteY277" fmla="*/ 800100 h 2203450"/>
              <a:gd name="connsiteX278" fmla="*/ 1930400 w 1943100"/>
              <a:gd name="connsiteY278" fmla="*/ 841375 h 2203450"/>
              <a:gd name="connsiteX279" fmla="*/ 1911350 w 1943100"/>
              <a:gd name="connsiteY279" fmla="*/ 885825 h 2203450"/>
              <a:gd name="connsiteX280" fmla="*/ 1898650 w 1943100"/>
              <a:gd name="connsiteY280" fmla="*/ 914400 h 2203450"/>
              <a:gd name="connsiteX281" fmla="*/ 1882775 w 1943100"/>
              <a:gd name="connsiteY281" fmla="*/ 939800 h 2203450"/>
              <a:gd name="connsiteX282" fmla="*/ 1863725 w 1943100"/>
              <a:gd name="connsiteY282" fmla="*/ 958850 h 2203450"/>
              <a:gd name="connsiteX283" fmla="*/ 1847850 w 1943100"/>
              <a:gd name="connsiteY283" fmla="*/ 974725 h 2203450"/>
              <a:gd name="connsiteX284" fmla="*/ 1828800 w 1943100"/>
              <a:gd name="connsiteY284" fmla="*/ 987425 h 2203450"/>
              <a:gd name="connsiteX285" fmla="*/ 1809750 w 1943100"/>
              <a:gd name="connsiteY285" fmla="*/ 993775 h 2203450"/>
              <a:gd name="connsiteX286" fmla="*/ 1793875 w 1943100"/>
              <a:gd name="connsiteY286" fmla="*/ 996950 h 2203450"/>
              <a:gd name="connsiteX287" fmla="*/ 1778000 w 1943100"/>
              <a:gd name="connsiteY287" fmla="*/ 990600 h 2203450"/>
              <a:gd name="connsiteX288" fmla="*/ 1765300 w 1943100"/>
              <a:gd name="connsiteY288" fmla="*/ 977900 h 2203450"/>
              <a:gd name="connsiteX289" fmla="*/ 1755775 w 1943100"/>
              <a:gd name="connsiteY289" fmla="*/ 962025 h 2203450"/>
              <a:gd name="connsiteX290" fmla="*/ 1749425 w 1943100"/>
              <a:gd name="connsiteY290" fmla="*/ 942975 h 2203450"/>
              <a:gd name="connsiteX291" fmla="*/ 1746250 w 1943100"/>
              <a:gd name="connsiteY291" fmla="*/ 917575 h 2203450"/>
              <a:gd name="connsiteX292" fmla="*/ 1746250 w 1943100"/>
              <a:gd name="connsiteY292" fmla="*/ 892175 h 2203450"/>
              <a:gd name="connsiteX293" fmla="*/ 1749425 w 1943100"/>
              <a:gd name="connsiteY293" fmla="*/ 863600 h 2203450"/>
              <a:gd name="connsiteX294" fmla="*/ 1755775 w 1943100"/>
              <a:gd name="connsiteY294" fmla="*/ 835025 h 2203450"/>
              <a:gd name="connsiteX295" fmla="*/ 1768475 w 1943100"/>
              <a:gd name="connsiteY295" fmla="*/ 803275 h 2203450"/>
              <a:gd name="connsiteX296" fmla="*/ 1771650 w 1943100"/>
              <a:gd name="connsiteY296" fmla="*/ 796925 h 2203450"/>
              <a:gd name="connsiteX297" fmla="*/ 1774825 w 1943100"/>
              <a:gd name="connsiteY297" fmla="*/ 777875 h 2203450"/>
              <a:gd name="connsiteX298" fmla="*/ 1774825 w 1943100"/>
              <a:gd name="connsiteY298" fmla="*/ 752475 h 2203450"/>
              <a:gd name="connsiteX299" fmla="*/ 1774825 w 1943100"/>
              <a:gd name="connsiteY299" fmla="*/ 739775 h 2203450"/>
              <a:gd name="connsiteX300" fmla="*/ 1768475 w 1943100"/>
              <a:gd name="connsiteY300" fmla="*/ 727075 h 2203450"/>
              <a:gd name="connsiteX301" fmla="*/ 1762125 w 1943100"/>
              <a:gd name="connsiteY301" fmla="*/ 717550 h 2203450"/>
              <a:gd name="connsiteX302" fmla="*/ 1758950 w 1943100"/>
              <a:gd name="connsiteY302" fmla="*/ 708025 h 2203450"/>
              <a:gd name="connsiteX303" fmla="*/ 1755775 w 1943100"/>
              <a:gd name="connsiteY303" fmla="*/ 695325 h 2203450"/>
              <a:gd name="connsiteX304" fmla="*/ 1755775 w 1943100"/>
              <a:gd name="connsiteY304" fmla="*/ 682625 h 2203450"/>
              <a:gd name="connsiteX305" fmla="*/ 1762125 w 1943100"/>
              <a:gd name="connsiteY305" fmla="*/ 666750 h 2203450"/>
              <a:gd name="connsiteX306" fmla="*/ 1774825 w 1943100"/>
              <a:gd name="connsiteY306" fmla="*/ 650875 h 2203450"/>
              <a:gd name="connsiteX307" fmla="*/ 1797050 w 1943100"/>
              <a:gd name="connsiteY307" fmla="*/ 638175 h 2203450"/>
              <a:gd name="connsiteX308" fmla="*/ 504825 w 1943100"/>
              <a:gd name="connsiteY308" fmla="*/ 593725 h 2203450"/>
              <a:gd name="connsiteX309" fmla="*/ 520700 w 1943100"/>
              <a:gd name="connsiteY309" fmla="*/ 596900 h 2203450"/>
              <a:gd name="connsiteX310" fmla="*/ 536575 w 1943100"/>
              <a:gd name="connsiteY310" fmla="*/ 600075 h 2203450"/>
              <a:gd name="connsiteX311" fmla="*/ 549275 w 1943100"/>
              <a:gd name="connsiteY311" fmla="*/ 606425 h 2203450"/>
              <a:gd name="connsiteX312" fmla="*/ 561975 w 1943100"/>
              <a:gd name="connsiteY312" fmla="*/ 612775 h 2203450"/>
              <a:gd name="connsiteX313" fmla="*/ 571500 w 1943100"/>
              <a:gd name="connsiteY313" fmla="*/ 622300 h 2203450"/>
              <a:gd name="connsiteX314" fmla="*/ 581025 w 1943100"/>
              <a:gd name="connsiteY314" fmla="*/ 631825 h 2203450"/>
              <a:gd name="connsiteX315" fmla="*/ 584200 w 1943100"/>
              <a:gd name="connsiteY315" fmla="*/ 641350 h 2203450"/>
              <a:gd name="connsiteX316" fmla="*/ 587375 w 1943100"/>
              <a:gd name="connsiteY316" fmla="*/ 654050 h 2203450"/>
              <a:gd name="connsiteX317" fmla="*/ 584200 w 1943100"/>
              <a:gd name="connsiteY317" fmla="*/ 666750 h 2203450"/>
              <a:gd name="connsiteX318" fmla="*/ 581025 w 1943100"/>
              <a:gd name="connsiteY318" fmla="*/ 679450 h 2203450"/>
              <a:gd name="connsiteX319" fmla="*/ 571500 w 1943100"/>
              <a:gd name="connsiteY319" fmla="*/ 688975 h 2203450"/>
              <a:gd name="connsiteX320" fmla="*/ 561975 w 1943100"/>
              <a:gd name="connsiteY320" fmla="*/ 698500 h 2203450"/>
              <a:gd name="connsiteX321" fmla="*/ 549275 w 1943100"/>
              <a:gd name="connsiteY321" fmla="*/ 704850 h 2203450"/>
              <a:gd name="connsiteX322" fmla="*/ 536575 w 1943100"/>
              <a:gd name="connsiteY322" fmla="*/ 711200 h 2203450"/>
              <a:gd name="connsiteX323" fmla="*/ 520700 w 1943100"/>
              <a:gd name="connsiteY323" fmla="*/ 714375 h 2203450"/>
              <a:gd name="connsiteX324" fmla="*/ 504825 w 1943100"/>
              <a:gd name="connsiteY324" fmla="*/ 714375 h 2203450"/>
              <a:gd name="connsiteX325" fmla="*/ 488950 w 1943100"/>
              <a:gd name="connsiteY325" fmla="*/ 714375 h 2203450"/>
              <a:gd name="connsiteX326" fmla="*/ 473075 w 1943100"/>
              <a:gd name="connsiteY326" fmla="*/ 711200 h 2203450"/>
              <a:gd name="connsiteX327" fmla="*/ 457200 w 1943100"/>
              <a:gd name="connsiteY327" fmla="*/ 704850 h 2203450"/>
              <a:gd name="connsiteX328" fmla="*/ 444500 w 1943100"/>
              <a:gd name="connsiteY328" fmla="*/ 698500 h 2203450"/>
              <a:gd name="connsiteX329" fmla="*/ 434975 w 1943100"/>
              <a:gd name="connsiteY329" fmla="*/ 688975 h 2203450"/>
              <a:gd name="connsiteX330" fmla="*/ 428625 w 1943100"/>
              <a:gd name="connsiteY330" fmla="*/ 679450 h 2203450"/>
              <a:gd name="connsiteX331" fmla="*/ 422275 w 1943100"/>
              <a:gd name="connsiteY331" fmla="*/ 666750 h 2203450"/>
              <a:gd name="connsiteX332" fmla="*/ 422275 w 1943100"/>
              <a:gd name="connsiteY332" fmla="*/ 654050 h 2203450"/>
              <a:gd name="connsiteX333" fmla="*/ 422275 w 1943100"/>
              <a:gd name="connsiteY333" fmla="*/ 641350 h 2203450"/>
              <a:gd name="connsiteX334" fmla="*/ 428625 w 1943100"/>
              <a:gd name="connsiteY334" fmla="*/ 631825 h 2203450"/>
              <a:gd name="connsiteX335" fmla="*/ 434975 w 1943100"/>
              <a:gd name="connsiteY335" fmla="*/ 622300 h 2203450"/>
              <a:gd name="connsiteX336" fmla="*/ 444500 w 1943100"/>
              <a:gd name="connsiteY336" fmla="*/ 612775 h 2203450"/>
              <a:gd name="connsiteX337" fmla="*/ 457200 w 1943100"/>
              <a:gd name="connsiteY337" fmla="*/ 606425 h 2203450"/>
              <a:gd name="connsiteX338" fmla="*/ 473075 w 1943100"/>
              <a:gd name="connsiteY338" fmla="*/ 600075 h 2203450"/>
              <a:gd name="connsiteX339" fmla="*/ 488950 w 1943100"/>
              <a:gd name="connsiteY339" fmla="*/ 596900 h 2203450"/>
              <a:gd name="connsiteX340" fmla="*/ 1581150 w 1943100"/>
              <a:gd name="connsiteY340" fmla="*/ 158750 h 2203450"/>
              <a:gd name="connsiteX341" fmla="*/ 1600200 w 1943100"/>
              <a:gd name="connsiteY341" fmla="*/ 158750 h 2203450"/>
              <a:gd name="connsiteX342" fmla="*/ 1616075 w 1943100"/>
              <a:gd name="connsiteY342" fmla="*/ 165100 h 2203450"/>
              <a:gd name="connsiteX343" fmla="*/ 1635125 w 1943100"/>
              <a:gd name="connsiteY343" fmla="*/ 177800 h 2203450"/>
              <a:gd name="connsiteX344" fmla="*/ 1654175 w 1943100"/>
              <a:gd name="connsiteY344" fmla="*/ 193675 h 2203450"/>
              <a:gd name="connsiteX345" fmla="*/ 1670050 w 1943100"/>
              <a:gd name="connsiteY345" fmla="*/ 215900 h 2203450"/>
              <a:gd name="connsiteX346" fmla="*/ 1685925 w 1943100"/>
              <a:gd name="connsiteY346" fmla="*/ 241300 h 2203450"/>
              <a:gd name="connsiteX347" fmla="*/ 1698625 w 1943100"/>
              <a:gd name="connsiteY347" fmla="*/ 269875 h 2203450"/>
              <a:gd name="connsiteX348" fmla="*/ 1708150 w 1943100"/>
              <a:gd name="connsiteY348" fmla="*/ 298450 h 2203450"/>
              <a:gd name="connsiteX349" fmla="*/ 1714500 w 1943100"/>
              <a:gd name="connsiteY349" fmla="*/ 330200 h 2203450"/>
              <a:gd name="connsiteX350" fmla="*/ 1717675 w 1943100"/>
              <a:gd name="connsiteY350" fmla="*/ 358775 h 2203450"/>
              <a:gd name="connsiteX351" fmla="*/ 1717675 w 1943100"/>
              <a:gd name="connsiteY351" fmla="*/ 387350 h 2203450"/>
              <a:gd name="connsiteX352" fmla="*/ 1714500 w 1943100"/>
              <a:gd name="connsiteY352" fmla="*/ 409575 h 2203450"/>
              <a:gd name="connsiteX353" fmla="*/ 1708150 w 1943100"/>
              <a:gd name="connsiteY353" fmla="*/ 428625 h 2203450"/>
              <a:gd name="connsiteX354" fmla="*/ 1698625 w 1943100"/>
              <a:gd name="connsiteY354" fmla="*/ 444500 h 2203450"/>
              <a:gd name="connsiteX355" fmla="*/ 1685925 w 1943100"/>
              <a:gd name="connsiteY355" fmla="*/ 457200 h 2203450"/>
              <a:gd name="connsiteX356" fmla="*/ 1670050 w 1943100"/>
              <a:gd name="connsiteY356" fmla="*/ 460375 h 2203450"/>
              <a:gd name="connsiteX357" fmla="*/ 1651000 w 1943100"/>
              <a:gd name="connsiteY357" fmla="*/ 460375 h 2203450"/>
              <a:gd name="connsiteX358" fmla="*/ 1631950 w 1943100"/>
              <a:gd name="connsiteY358" fmla="*/ 454025 h 2203450"/>
              <a:gd name="connsiteX359" fmla="*/ 1616075 w 1943100"/>
              <a:gd name="connsiteY359" fmla="*/ 441325 h 2203450"/>
              <a:gd name="connsiteX360" fmla="*/ 1597025 w 1943100"/>
              <a:gd name="connsiteY360" fmla="*/ 422275 h 2203450"/>
              <a:gd name="connsiteX361" fmla="*/ 1581150 w 1943100"/>
              <a:gd name="connsiteY361" fmla="*/ 403225 h 2203450"/>
              <a:gd name="connsiteX362" fmla="*/ 1565275 w 1943100"/>
              <a:gd name="connsiteY362" fmla="*/ 377825 h 2203450"/>
              <a:gd name="connsiteX363" fmla="*/ 1552575 w 1943100"/>
              <a:gd name="connsiteY363" fmla="*/ 349250 h 2203450"/>
              <a:gd name="connsiteX364" fmla="*/ 1543050 w 1943100"/>
              <a:gd name="connsiteY364" fmla="*/ 320675 h 2203450"/>
              <a:gd name="connsiteX365" fmla="*/ 1533525 w 1943100"/>
              <a:gd name="connsiteY365" fmla="*/ 288925 h 2203450"/>
              <a:gd name="connsiteX366" fmla="*/ 1530350 w 1943100"/>
              <a:gd name="connsiteY366" fmla="*/ 260350 h 2203450"/>
              <a:gd name="connsiteX367" fmla="*/ 1530350 w 1943100"/>
              <a:gd name="connsiteY367" fmla="*/ 231775 h 2203450"/>
              <a:gd name="connsiteX368" fmla="*/ 1536700 w 1943100"/>
              <a:gd name="connsiteY368" fmla="*/ 209550 h 2203450"/>
              <a:gd name="connsiteX369" fmla="*/ 1543050 w 1943100"/>
              <a:gd name="connsiteY369" fmla="*/ 190500 h 2203450"/>
              <a:gd name="connsiteX370" fmla="*/ 1552575 w 1943100"/>
              <a:gd name="connsiteY370" fmla="*/ 174625 h 2203450"/>
              <a:gd name="connsiteX371" fmla="*/ 1565275 w 1943100"/>
              <a:gd name="connsiteY371" fmla="*/ 161925 h 2203450"/>
              <a:gd name="connsiteX372" fmla="*/ 1212850 w 1943100"/>
              <a:gd name="connsiteY372" fmla="*/ 98425 h 2203450"/>
              <a:gd name="connsiteX373" fmla="*/ 1241425 w 1943100"/>
              <a:gd name="connsiteY373" fmla="*/ 98425 h 2203450"/>
              <a:gd name="connsiteX374" fmla="*/ 1270000 w 1943100"/>
              <a:gd name="connsiteY374" fmla="*/ 101600 h 2203450"/>
              <a:gd name="connsiteX375" fmla="*/ 1292225 w 1943100"/>
              <a:gd name="connsiteY375" fmla="*/ 111125 h 2203450"/>
              <a:gd name="connsiteX376" fmla="*/ 1314450 w 1943100"/>
              <a:gd name="connsiteY376" fmla="*/ 120650 h 2203450"/>
              <a:gd name="connsiteX377" fmla="*/ 1333500 w 1943100"/>
              <a:gd name="connsiteY377" fmla="*/ 130175 h 2203450"/>
              <a:gd name="connsiteX378" fmla="*/ 1358900 w 1943100"/>
              <a:gd name="connsiteY378" fmla="*/ 149225 h 2203450"/>
              <a:gd name="connsiteX379" fmla="*/ 1368425 w 1943100"/>
              <a:gd name="connsiteY379" fmla="*/ 158750 h 2203450"/>
              <a:gd name="connsiteX380" fmla="*/ 1393825 w 1943100"/>
              <a:gd name="connsiteY380" fmla="*/ 180975 h 2203450"/>
              <a:gd name="connsiteX381" fmla="*/ 1419225 w 1943100"/>
              <a:gd name="connsiteY381" fmla="*/ 206375 h 2203450"/>
              <a:gd name="connsiteX382" fmla="*/ 1435100 w 1943100"/>
              <a:gd name="connsiteY382" fmla="*/ 234950 h 2203450"/>
              <a:gd name="connsiteX383" fmla="*/ 1450975 w 1943100"/>
              <a:gd name="connsiteY383" fmla="*/ 260350 h 2203450"/>
              <a:gd name="connsiteX384" fmla="*/ 1460500 w 1943100"/>
              <a:gd name="connsiteY384" fmla="*/ 285750 h 2203450"/>
              <a:gd name="connsiteX385" fmla="*/ 1470025 w 1943100"/>
              <a:gd name="connsiteY385" fmla="*/ 311150 h 2203450"/>
              <a:gd name="connsiteX386" fmla="*/ 1476375 w 1943100"/>
              <a:gd name="connsiteY386" fmla="*/ 333375 h 2203450"/>
              <a:gd name="connsiteX387" fmla="*/ 1476375 w 1943100"/>
              <a:gd name="connsiteY387" fmla="*/ 358775 h 2203450"/>
              <a:gd name="connsiteX388" fmla="*/ 1479550 w 1943100"/>
              <a:gd name="connsiteY388" fmla="*/ 400050 h 2203450"/>
              <a:gd name="connsiteX389" fmla="*/ 1473200 w 1943100"/>
              <a:gd name="connsiteY389" fmla="*/ 431800 h 2203450"/>
              <a:gd name="connsiteX390" fmla="*/ 1466850 w 1943100"/>
              <a:gd name="connsiteY390" fmla="*/ 460375 h 2203450"/>
              <a:gd name="connsiteX391" fmla="*/ 1457325 w 1943100"/>
              <a:gd name="connsiteY391" fmla="*/ 501650 h 2203450"/>
              <a:gd name="connsiteX392" fmla="*/ 1454150 w 1943100"/>
              <a:gd name="connsiteY392" fmla="*/ 533400 h 2203450"/>
              <a:gd name="connsiteX393" fmla="*/ 1454150 w 1943100"/>
              <a:gd name="connsiteY393" fmla="*/ 561975 h 2203450"/>
              <a:gd name="connsiteX394" fmla="*/ 1457325 w 1943100"/>
              <a:gd name="connsiteY394" fmla="*/ 581025 h 2203450"/>
              <a:gd name="connsiteX395" fmla="*/ 1466850 w 1943100"/>
              <a:gd name="connsiteY395" fmla="*/ 596900 h 2203450"/>
              <a:gd name="connsiteX396" fmla="*/ 1473200 w 1943100"/>
              <a:gd name="connsiteY396" fmla="*/ 609600 h 2203450"/>
              <a:gd name="connsiteX397" fmla="*/ 1482725 w 1943100"/>
              <a:gd name="connsiteY397" fmla="*/ 622300 h 2203450"/>
              <a:gd name="connsiteX398" fmla="*/ 1495425 w 1943100"/>
              <a:gd name="connsiteY398" fmla="*/ 631825 h 2203450"/>
              <a:gd name="connsiteX399" fmla="*/ 1508125 w 1943100"/>
              <a:gd name="connsiteY399" fmla="*/ 638175 h 2203450"/>
              <a:gd name="connsiteX400" fmla="*/ 1530350 w 1943100"/>
              <a:gd name="connsiteY400" fmla="*/ 647700 h 2203450"/>
              <a:gd name="connsiteX401" fmla="*/ 1552575 w 1943100"/>
              <a:gd name="connsiteY401" fmla="*/ 650875 h 2203450"/>
              <a:gd name="connsiteX402" fmla="*/ 1571625 w 1943100"/>
              <a:gd name="connsiteY402" fmla="*/ 650875 h 2203450"/>
              <a:gd name="connsiteX403" fmla="*/ 1590675 w 1943100"/>
              <a:gd name="connsiteY403" fmla="*/ 650875 h 2203450"/>
              <a:gd name="connsiteX404" fmla="*/ 1622425 w 1943100"/>
              <a:gd name="connsiteY404" fmla="*/ 650875 h 2203450"/>
              <a:gd name="connsiteX405" fmla="*/ 1647825 w 1943100"/>
              <a:gd name="connsiteY405" fmla="*/ 654050 h 2203450"/>
              <a:gd name="connsiteX406" fmla="*/ 1670050 w 1943100"/>
              <a:gd name="connsiteY406" fmla="*/ 660400 h 2203450"/>
              <a:gd name="connsiteX407" fmla="*/ 1685925 w 1943100"/>
              <a:gd name="connsiteY407" fmla="*/ 666750 h 2203450"/>
              <a:gd name="connsiteX408" fmla="*/ 1695450 w 1943100"/>
              <a:gd name="connsiteY408" fmla="*/ 676275 h 2203450"/>
              <a:gd name="connsiteX409" fmla="*/ 1701800 w 1943100"/>
              <a:gd name="connsiteY409" fmla="*/ 682625 h 2203450"/>
              <a:gd name="connsiteX410" fmla="*/ 1708150 w 1943100"/>
              <a:gd name="connsiteY410" fmla="*/ 688975 h 2203450"/>
              <a:gd name="connsiteX411" fmla="*/ 1714500 w 1943100"/>
              <a:gd name="connsiteY411" fmla="*/ 698500 h 2203450"/>
              <a:gd name="connsiteX412" fmla="*/ 1717675 w 1943100"/>
              <a:gd name="connsiteY412" fmla="*/ 708025 h 2203450"/>
              <a:gd name="connsiteX413" fmla="*/ 1724025 w 1943100"/>
              <a:gd name="connsiteY413" fmla="*/ 727075 h 2203450"/>
              <a:gd name="connsiteX414" fmla="*/ 1724025 w 1943100"/>
              <a:gd name="connsiteY414" fmla="*/ 749300 h 2203450"/>
              <a:gd name="connsiteX415" fmla="*/ 1717675 w 1943100"/>
              <a:gd name="connsiteY415" fmla="*/ 768350 h 2203450"/>
              <a:gd name="connsiteX416" fmla="*/ 1704975 w 1943100"/>
              <a:gd name="connsiteY416" fmla="*/ 800100 h 2203450"/>
              <a:gd name="connsiteX417" fmla="*/ 1698625 w 1943100"/>
              <a:gd name="connsiteY417" fmla="*/ 809625 h 2203450"/>
              <a:gd name="connsiteX418" fmla="*/ 1676400 w 1943100"/>
              <a:gd name="connsiteY418" fmla="*/ 844550 h 2203450"/>
              <a:gd name="connsiteX419" fmla="*/ 1660525 w 1943100"/>
              <a:gd name="connsiteY419" fmla="*/ 873125 h 2203450"/>
              <a:gd name="connsiteX420" fmla="*/ 1651000 w 1943100"/>
              <a:gd name="connsiteY420" fmla="*/ 898525 h 2203450"/>
              <a:gd name="connsiteX421" fmla="*/ 1644650 w 1943100"/>
              <a:gd name="connsiteY421" fmla="*/ 917575 h 2203450"/>
              <a:gd name="connsiteX422" fmla="*/ 1641475 w 1943100"/>
              <a:gd name="connsiteY422" fmla="*/ 936625 h 2203450"/>
              <a:gd name="connsiteX423" fmla="*/ 1641475 w 1943100"/>
              <a:gd name="connsiteY423" fmla="*/ 949325 h 2203450"/>
              <a:gd name="connsiteX424" fmla="*/ 1641475 w 1943100"/>
              <a:gd name="connsiteY424" fmla="*/ 958850 h 2203450"/>
              <a:gd name="connsiteX425" fmla="*/ 1644650 w 1943100"/>
              <a:gd name="connsiteY425" fmla="*/ 974725 h 2203450"/>
              <a:gd name="connsiteX426" fmla="*/ 1647825 w 1943100"/>
              <a:gd name="connsiteY426" fmla="*/ 990600 h 2203450"/>
              <a:gd name="connsiteX427" fmla="*/ 1654175 w 1943100"/>
              <a:gd name="connsiteY427" fmla="*/ 1003300 h 2203450"/>
              <a:gd name="connsiteX428" fmla="*/ 1663700 w 1943100"/>
              <a:gd name="connsiteY428" fmla="*/ 1012825 h 2203450"/>
              <a:gd name="connsiteX429" fmla="*/ 1673225 w 1943100"/>
              <a:gd name="connsiteY429" fmla="*/ 1022350 h 2203450"/>
              <a:gd name="connsiteX430" fmla="*/ 1682750 w 1943100"/>
              <a:gd name="connsiteY430" fmla="*/ 1031875 h 2203450"/>
              <a:gd name="connsiteX431" fmla="*/ 1704975 w 1943100"/>
              <a:gd name="connsiteY431" fmla="*/ 1041400 h 2203450"/>
              <a:gd name="connsiteX432" fmla="*/ 1724025 w 1943100"/>
              <a:gd name="connsiteY432" fmla="*/ 1047750 h 2203450"/>
              <a:gd name="connsiteX433" fmla="*/ 1743075 w 1943100"/>
              <a:gd name="connsiteY433" fmla="*/ 1047750 h 2203450"/>
              <a:gd name="connsiteX434" fmla="*/ 1762125 w 1943100"/>
              <a:gd name="connsiteY434" fmla="*/ 1047750 h 2203450"/>
              <a:gd name="connsiteX435" fmla="*/ 1800225 w 1943100"/>
              <a:gd name="connsiteY435" fmla="*/ 1050925 h 2203450"/>
              <a:gd name="connsiteX436" fmla="*/ 1835150 w 1943100"/>
              <a:gd name="connsiteY436" fmla="*/ 1057275 h 2203450"/>
              <a:gd name="connsiteX437" fmla="*/ 1860550 w 1943100"/>
              <a:gd name="connsiteY437" fmla="*/ 1066800 h 2203450"/>
              <a:gd name="connsiteX438" fmla="*/ 1882775 w 1943100"/>
              <a:gd name="connsiteY438" fmla="*/ 1076325 h 2203450"/>
              <a:gd name="connsiteX439" fmla="*/ 1898650 w 1943100"/>
              <a:gd name="connsiteY439" fmla="*/ 1089025 h 2203450"/>
              <a:gd name="connsiteX440" fmla="*/ 1911350 w 1943100"/>
              <a:gd name="connsiteY440" fmla="*/ 1098550 h 2203450"/>
              <a:gd name="connsiteX441" fmla="*/ 1920875 w 1943100"/>
              <a:gd name="connsiteY441" fmla="*/ 1111250 h 2203450"/>
              <a:gd name="connsiteX442" fmla="*/ 1927225 w 1943100"/>
              <a:gd name="connsiteY442" fmla="*/ 1120775 h 2203450"/>
              <a:gd name="connsiteX443" fmla="*/ 1933575 w 1943100"/>
              <a:gd name="connsiteY443" fmla="*/ 1133475 h 2203450"/>
              <a:gd name="connsiteX444" fmla="*/ 1936750 w 1943100"/>
              <a:gd name="connsiteY444" fmla="*/ 1143000 h 2203450"/>
              <a:gd name="connsiteX445" fmla="*/ 1936750 w 1943100"/>
              <a:gd name="connsiteY445" fmla="*/ 1152525 h 2203450"/>
              <a:gd name="connsiteX446" fmla="*/ 1933575 w 1943100"/>
              <a:gd name="connsiteY446" fmla="*/ 1162050 h 2203450"/>
              <a:gd name="connsiteX447" fmla="*/ 1927225 w 1943100"/>
              <a:gd name="connsiteY447" fmla="*/ 1171575 h 2203450"/>
              <a:gd name="connsiteX448" fmla="*/ 1914525 w 1943100"/>
              <a:gd name="connsiteY448" fmla="*/ 1187450 h 2203450"/>
              <a:gd name="connsiteX449" fmla="*/ 1898650 w 1943100"/>
              <a:gd name="connsiteY449" fmla="*/ 1200150 h 2203450"/>
              <a:gd name="connsiteX450" fmla="*/ 1882775 w 1943100"/>
              <a:gd name="connsiteY450" fmla="*/ 1209675 h 2203450"/>
              <a:gd name="connsiteX451" fmla="*/ 1866900 w 1943100"/>
              <a:gd name="connsiteY451" fmla="*/ 1216025 h 2203450"/>
              <a:gd name="connsiteX452" fmla="*/ 1847850 w 1943100"/>
              <a:gd name="connsiteY452" fmla="*/ 1222375 h 2203450"/>
              <a:gd name="connsiteX453" fmla="*/ 1835150 w 1943100"/>
              <a:gd name="connsiteY453" fmla="*/ 1228725 h 2203450"/>
              <a:gd name="connsiteX454" fmla="*/ 1809750 w 1943100"/>
              <a:gd name="connsiteY454" fmla="*/ 1247775 h 2203450"/>
              <a:gd name="connsiteX455" fmla="*/ 1793875 w 1943100"/>
              <a:gd name="connsiteY455" fmla="*/ 1266825 h 2203450"/>
              <a:gd name="connsiteX456" fmla="*/ 1781175 w 1943100"/>
              <a:gd name="connsiteY456" fmla="*/ 1289050 h 2203450"/>
              <a:gd name="connsiteX457" fmla="*/ 1771650 w 1943100"/>
              <a:gd name="connsiteY457" fmla="*/ 1308100 h 2203450"/>
              <a:gd name="connsiteX458" fmla="*/ 1768475 w 1943100"/>
              <a:gd name="connsiteY458" fmla="*/ 1323975 h 2203450"/>
              <a:gd name="connsiteX459" fmla="*/ 1768475 w 1943100"/>
              <a:gd name="connsiteY459" fmla="*/ 1336675 h 2203450"/>
              <a:gd name="connsiteX460" fmla="*/ 1765300 w 1943100"/>
              <a:gd name="connsiteY460" fmla="*/ 1362075 h 2203450"/>
              <a:gd name="connsiteX461" fmla="*/ 1758950 w 1943100"/>
              <a:gd name="connsiteY461" fmla="*/ 1381125 h 2203450"/>
              <a:gd name="connsiteX462" fmla="*/ 1752600 w 1943100"/>
              <a:gd name="connsiteY462" fmla="*/ 1400175 h 2203450"/>
              <a:gd name="connsiteX463" fmla="*/ 1743075 w 1943100"/>
              <a:gd name="connsiteY463" fmla="*/ 1416050 h 2203450"/>
              <a:gd name="connsiteX464" fmla="*/ 1724025 w 1943100"/>
              <a:gd name="connsiteY464" fmla="*/ 1441450 h 2203450"/>
              <a:gd name="connsiteX465" fmla="*/ 1704975 w 1943100"/>
              <a:gd name="connsiteY465" fmla="*/ 1463675 h 2203450"/>
              <a:gd name="connsiteX466" fmla="*/ 1682750 w 1943100"/>
              <a:gd name="connsiteY466" fmla="*/ 1476375 h 2203450"/>
              <a:gd name="connsiteX467" fmla="*/ 1663700 w 1943100"/>
              <a:gd name="connsiteY467" fmla="*/ 1485900 h 2203450"/>
              <a:gd name="connsiteX468" fmla="*/ 1647825 w 1943100"/>
              <a:gd name="connsiteY468" fmla="*/ 1489075 h 2203450"/>
              <a:gd name="connsiteX469" fmla="*/ 1625600 w 1943100"/>
              <a:gd name="connsiteY469" fmla="*/ 1498600 h 2203450"/>
              <a:gd name="connsiteX470" fmla="*/ 1606550 w 1943100"/>
              <a:gd name="connsiteY470" fmla="*/ 1504950 h 2203450"/>
              <a:gd name="connsiteX471" fmla="*/ 1593850 w 1943100"/>
              <a:gd name="connsiteY471" fmla="*/ 1514475 h 2203450"/>
              <a:gd name="connsiteX472" fmla="*/ 1581150 w 1943100"/>
              <a:gd name="connsiteY472" fmla="*/ 1524000 h 2203450"/>
              <a:gd name="connsiteX473" fmla="*/ 1571625 w 1943100"/>
              <a:gd name="connsiteY473" fmla="*/ 1533525 h 2203450"/>
              <a:gd name="connsiteX474" fmla="*/ 1565275 w 1943100"/>
              <a:gd name="connsiteY474" fmla="*/ 1543050 h 2203450"/>
              <a:gd name="connsiteX475" fmla="*/ 1555750 w 1943100"/>
              <a:gd name="connsiteY475" fmla="*/ 1565275 h 2203450"/>
              <a:gd name="connsiteX476" fmla="*/ 1555750 w 1943100"/>
              <a:gd name="connsiteY476" fmla="*/ 1581150 h 2203450"/>
              <a:gd name="connsiteX477" fmla="*/ 1555750 w 1943100"/>
              <a:gd name="connsiteY477" fmla="*/ 1597025 h 2203450"/>
              <a:gd name="connsiteX478" fmla="*/ 1562100 w 1943100"/>
              <a:gd name="connsiteY478" fmla="*/ 1612900 h 2203450"/>
              <a:gd name="connsiteX479" fmla="*/ 1568450 w 1943100"/>
              <a:gd name="connsiteY479" fmla="*/ 1628775 h 2203450"/>
              <a:gd name="connsiteX480" fmla="*/ 1571625 w 1943100"/>
              <a:gd name="connsiteY480" fmla="*/ 1644650 h 2203450"/>
              <a:gd name="connsiteX481" fmla="*/ 1571625 w 1943100"/>
              <a:gd name="connsiteY481" fmla="*/ 1660525 h 2203450"/>
              <a:gd name="connsiteX482" fmla="*/ 1565275 w 1943100"/>
              <a:gd name="connsiteY482" fmla="*/ 1673225 h 2203450"/>
              <a:gd name="connsiteX483" fmla="*/ 1555750 w 1943100"/>
              <a:gd name="connsiteY483" fmla="*/ 1692275 h 2203450"/>
              <a:gd name="connsiteX484" fmla="*/ 1549400 w 1943100"/>
              <a:gd name="connsiteY484" fmla="*/ 1701800 h 2203450"/>
              <a:gd name="connsiteX485" fmla="*/ 1524000 w 1943100"/>
              <a:gd name="connsiteY485" fmla="*/ 1717675 h 2203450"/>
              <a:gd name="connsiteX486" fmla="*/ 1495425 w 1943100"/>
              <a:gd name="connsiteY486" fmla="*/ 1724025 h 2203450"/>
              <a:gd name="connsiteX487" fmla="*/ 1473200 w 1943100"/>
              <a:gd name="connsiteY487" fmla="*/ 1727200 h 2203450"/>
              <a:gd name="connsiteX488" fmla="*/ 1450975 w 1943100"/>
              <a:gd name="connsiteY488" fmla="*/ 1727200 h 2203450"/>
              <a:gd name="connsiteX489" fmla="*/ 1435100 w 1943100"/>
              <a:gd name="connsiteY489" fmla="*/ 1724025 h 2203450"/>
              <a:gd name="connsiteX490" fmla="*/ 1422400 w 1943100"/>
              <a:gd name="connsiteY490" fmla="*/ 1720850 h 2203450"/>
              <a:gd name="connsiteX491" fmla="*/ 1409700 w 1943100"/>
              <a:gd name="connsiteY491" fmla="*/ 1714500 h 2203450"/>
              <a:gd name="connsiteX492" fmla="*/ 1374775 w 1943100"/>
              <a:gd name="connsiteY492" fmla="*/ 1698625 h 2203450"/>
              <a:gd name="connsiteX493" fmla="*/ 1339850 w 1943100"/>
              <a:gd name="connsiteY493" fmla="*/ 1689100 h 2203450"/>
              <a:gd name="connsiteX494" fmla="*/ 1311275 w 1943100"/>
              <a:gd name="connsiteY494" fmla="*/ 1679575 h 2203450"/>
              <a:gd name="connsiteX495" fmla="*/ 1282700 w 1943100"/>
              <a:gd name="connsiteY495" fmla="*/ 1676400 h 2203450"/>
              <a:gd name="connsiteX496" fmla="*/ 1254125 w 1943100"/>
              <a:gd name="connsiteY496" fmla="*/ 1676400 h 2203450"/>
              <a:gd name="connsiteX497" fmla="*/ 1228725 w 1943100"/>
              <a:gd name="connsiteY497" fmla="*/ 1679575 h 2203450"/>
              <a:gd name="connsiteX498" fmla="*/ 1206500 w 1943100"/>
              <a:gd name="connsiteY498" fmla="*/ 1682750 h 2203450"/>
              <a:gd name="connsiteX499" fmla="*/ 1187450 w 1943100"/>
              <a:gd name="connsiteY499" fmla="*/ 1689100 h 2203450"/>
              <a:gd name="connsiteX500" fmla="*/ 1155700 w 1943100"/>
              <a:gd name="connsiteY500" fmla="*/ 1704975 h 2203450"/>
              <a:gd name="connsiteX501" fmla="*/ 1130300 w 1943100"/>
              <a:gd name="connsiteY501" fmla="*/ 1720850 h 2203450"/>
              <a:gd name="connsiteX502" fmla="*/ 1111250 w 1943100"/>
              <a:gd name="connsiteY502" fmla="*/ 1736725 h 2203450"/>
              <a:gd name="connsiteX503" fmla="*/ 1079500 w 1943100"/>
              <a:gd name="connsiteY503" fmla="*/ 1768475 h 2203450"/>
              <a:gd name="connsiteX504" fmla="*/ 1047750 w 1943100"/>
              <a:gd name="connsiteY504" fmla="*/ 1790700 h 2203450"/>
              <a:gd name="connsiteX505" fmla="*/ 1019175 w 1943100"/>
              <a:gd name="connsiteY505" fmla="*/ 1806575 h 2203450"/>
              <a:gd name="connsiteX506" fmla="*/ 993775 w 1943100"/>
              <a:gd name="connsiteY506" fmla="*/ 1816100 h 2203450"/>
              <a:gd name="connsiteX507" fmla="*/ 971550 w 1943100"/>
              <a:gd name="connsiteY507" fmla="*/ 1819275 h 2203450"/>
              <a:gd name="connsiteX508" fmla="*/ 952500 w 1943100"/>
              <a:gd name="connsiteY508" fmla="*/ 1819275 h 2203450"/>
              <a:gd name="connsiteX509" fmla="*/ 939800 w 1943100"/>
              <a:gd name="connsiteY509" fmla="*/ 1819275 h 2203450"/>
              <a:gd name="connsiteX510" fmla="*/ 908050 w 1943100"/>
              <a:gd name="connsiteY510" fmla="*/ 1812925 h 2203450"/>
              <a:gd name="connsiteX511" fmla="*/ 882650 w 1943100"/>
              <a:gd name="connsiteY511" fmla="*/ 1803400 h 2203450"/>
              <a:gd name="connsiteX512" fmla="*/ 863600 w 1943100"/>
              <a:gd name="connsiteY512" fmla="*/ 1787525 h 2203450"/>
              <a:gd name="connsiteX513" fmla="*/ 850900 w 1943100"/>
              <a:gd name="connsiteY513" fmla="*/ 1774825 h 2203450"/>
              <a:gd name="connsiteX514" fmla="*/ 841375 w 1943100"/>
              <a:gd name="connsiteY514" fmla="*/ 1758950 h 2203450"/>
              <a:gd name="connsiteX515" fmla="*/ 835025 w 1943100"/>
              <a:gd name="connsiteY515" fmla="*/ 1746250 h 2203450"/>
              <a:gd name="connsiteX516" fmla="*/ 831850 w 1943100"/>
              <a:gd name="connsiteY516" fmla="*/ 1736725 h 2203450"/>
              <a:gd name="connsiteX517" fmla="*/ 825500 w 1943100"/>
              <a:gd name="connsiteY517" fmla="*/ 1708150 h 2203450"/>
              <a:gd name="connsiteX518" fmla="*/ 812800 w 1943100"/>
              <a:gd name="connsiteY518" fmla="*/ 1685925 h 2203450"/>
              <a:gd name="connsiteX519" fmla="*/ 800100 w 1943100"/>
              <a:gd name="connsiteY519" fmla="*/ 1670050 h 2203450"/>
              <a:gd name="connsiteX520" fmla="*/ 784225 w 1943100"/>
              <a:gd name="connsiteY520" fmla="*/ 1660525 h 2203450"/>
              <a:gd name="connsiteX521" fmla="*/ 768350 w 1943100"/>
              <a:gd name="connsiteY521" fmla="*/ 1654175 h 2203450"/>
              <a:gd name="connsiteX522" fmla="*/ 755650 w 1943100"/>
              <a:gd name="connsiteY522" fmla="*/ 1651000 h 2203450"/>
              <a:gd name="connsiteX523" fmla="*/ 742950 w 1943100"/>
              <a:gd name="connsiteY523" fmla="*/ 1651000 h 2203450"/>
              <a:gd name="connsiteX524" fmla="*/ 717550 w 1943100"/>
              <a:gd name="connsiteY524" fmla="*/ 1651000 h 2203450"/>
              <a:gd name="connsiteX525" fmla="*/ 698500 w 1943100"/>
              <a:gd name="connsiteY525" fmla="*/ 1644650 h 2203450"/>
              <a:gd name="connsiteX526" fmla="*/ 679450 w 1943100"/>
              <a:gd name="connsiteY526" fmla="*/ 1635125 h 2203450"/>
              <a:gd name="connsiteX527" fmla="*/ 663575 w 1943100"/>
              <a:gd name="connsiteY527" fmla="*/ 1625600 h 2203450"/>
              <a:gd name="connsiteX528" fmla="*/ 654050 w 1943100"/>
              <a:gd name="connsiteY528" fmla="*/ 1612900 h 2203450"/>
              <a:gd name="connsiteX529" fmla="*/ 644525 w 1943100"/>
              <a:gd name="connsiteY529" fmla="*/ 1603375 h 2203450"/>
              <a:gd name="connsiteX530" fmla="*/ 638175 w 1943100"/>
              <a:gd name="connsiteY530" fmla="*/ 1593850 h 2203450"/>
              <a:gd name="connsiteX531" fmla="*/ 628650 w 1943100"/>
              <a:gd name="connsiteY531" fmla="*/ 1577975 h 2203450"/>
              <a:gd name="connsiteX532" fmla="*/ 615950 w 1943100"/>
              <a:gd name="connsiteY532" fmla="*/ 1568450 h 2203450"/>
              <a:gd name="connsiteX533" fmla="*/ 600075 w 1943100"/>
              <a:gd name="connsiteY533" fmla="*/ 1558925 h 2203450"/>
              <a:gd name="connsiteX534" fmla="*/ 587375 w 1943100"/>
              <a:gd name="connsiteY534" fmla="*/ 1552575 h 2203450"/>
              <a:gd name="connsiteX535" fmla="*/ 571500 w 1943100"/>
              <a:gd name="connsiteY535" fmla="*/ 1549400 h 2203450"/>
              <a:gd name="connsiteX536" fmla="*/ 555625 w 1943100"/>
              <a:gd name="connsiteY536" fmla="*/ 1546225 h 2203450"/>
              <a:gd name="connsiteX537" fmla="*/ 523875 w 1943100"/>
              <a:gd name="connsiteY537" fmla="*/ 1546225 h 2203450"/>
              <a:gd name="connsiteX538" fmla="*/ 495300 w 1943100"/>
              <a:gd name="connsiteY538" fmla="*/ 1552575 h 2203450"/>
              <a:gd name="connsiteX539" fmla="*/ 469900 w 1943100"/>
              <a:gd name="connsiteY539" fmla="*/ 1558925 h 2203450"/>
              <a:gd name="connsiteX540" fmla="*/ 447675 w 1943100"/>
              <a:gd name="connsiteY540" fmla="*/ 1568450 h 2203450"/>
              <a:gd name="connsiteX541" fmla="*/ 406400 w 1943100"/>
              <a:gd name="connsiteY541" fmla="*/ 1581150 h 2203450"/>
              <a:gd name="connsiteX542" fmla="*/ 368300 w 1943100"/>
              <a:gd name="connsiteY542" fmla="*/ 1587500 h 2203450"/>
              <a:gd name="connsiteX543" fmla="*/ 333375 w 1943100"/>
              <a:gd name="connsiteY543" fmla="*/ 1590675 h 2203450"/>
              <a:gd name="connsiteX544" fmla="*/ 304800 w 1943100"/>
              <a:gd name="connsiteY544" fmla="*/ 1593850 h 2203450"/>
              <a:gd name="connsiteX545" fmla="*/ 279400 w 1943100"/>
              <a:gd name="connsiteY545" fmla="*/ 1593850 h 2203450"/>
              <a:gd name="connsiteX546" fmla="*/ 254000 w 1943100"/>
              <a:gd name="connsiteY546" fmla="*/ 1590675 h 2203450"/>
              <a:gd name="connsiteX547" fmla="*/ 234950 w 1943100"/>
              <a:gd name="connsiteY547" fmla="*/ 1584325 h 2203450"/>
              <a:gd name="connsiteX548" fmla="*/ 219075 w 1943100"/>
              <a:gd name="connsiteY548" fmla="*/ 1581150 h 2203450"/>
              <a:gd name="connsiteX549" fmla="*/ 193675 w 1943100"/>
              <a:gd name="connsiteY549" fmla="*/ 1565275 h 2203450"/>
              <a:gd name="connsiteX550" fmla="*/ 180975 w 1943100"/>
              <a:gd name="connsiteY550" fmla="*/ 1552575 h 2203450"/>
              <a:gd name="connsiteX551" fmla="*/ 171450 w 1943100"/>
              <a:gd name="connsiteY551" fmla="*/ 1543050 h 2203450"/>
              <a:gd name="connsiteX552" fmla="*/ 168275 w 1943100"/>
              <a:gd name="connsiteY552" fmla="*/ 1536700 h 2203450"/>
              <a:gd name="connsiteX553" fmla="*/ 161925 w 1943100"/>
              <a:gd name="connsiteY553" fmla="*/ 1517650 h 2203450"/>
              <a:gd name="connsiteX554" fmla="*/ 155575 w 1943100"/>
              <a:gd name="connsiteY554" fmla="*/ 1495425 h 2203450"/>
              <a:gd name="connsiteX555" fmla="*/ 152400 w 1943100"/>
              <a:gd name="connsiteY555" fmla="*/ 1476375 h 2203450"/>
              <a:gd name="connsiteX556" fmla="*/ 152400 w 1943100"/>
              <a:gd name="connsiteY556" fmla="*/ 1457325 h 2203450"/>
              <a:gd name="connsiteX557" fmla="*/ 155575 w 1943100"/>
              <a:gd name="connsiteY557" fmla="*/ 1422400 h 2203450"/>
              <a:gd name="connsiteX558" fmla="*/ 165100 w 1943100"/>
              <a:gd name="connsiteY558" fmla="*/ 1390650 h 2203450"/>
              <a:gd name="connsiteX559" fmla="*/ 180975 w 1943100"/>
              <a:gd name="connsiteY559" fmla="*/ 1358900 h 2203450"/>
              <a:gd name="connsiteX560" fmla="*/ 200025 w 1943100"/>
              <a:gd name="connsiteY560" fmla="*/ 1333500 h 2203450"/>
              <a:gd name="connsiteX561" fmla="*/ 225425 w 1943100"/>
              <a:gd name="connsiteY561" fmla="*/ 1308100 h 2203450"/>
              <a:gd name="connsiteX562" fmla="*/ 250825 w 1943100"/>
              <a:gd name="connsiteY562" fmla="*/ 1289050 h 2203450"/>
              <a:gd name="connsiteX563" fmla="*/ 276225 w 1943100"/>
              <a:gd name="connsiteY563" fmla="*/ 1270000 h 2203450"/>
              <a:gd name="connsiteX564" fmla="*/ 304800 w 1943100"/>
              <a:gd name="connsiteY564" fmla="*/ 1254125 h 2203450"/>
              <a:gd name="connsiteX565" fmla="*/ 352425 w 1943100"/>
              <a:gd name="connsiteY565" fmla="*/ 1228725 h 2203450"/>
              <a:gd name="connsiteX566" fmla="*/ 387350 w 1943100"/>
              <a:gd name="connsiteY566" fmla="*/ 1212850 h 2203450"/>
              <a:gd name="connsiteX567" fmla="*/ 403225 w 1943100"/>
              <a:gd name="connsiteY567" fmla="*/ 1209675 h 2203450"/>
              <a:gd name="connsiteX568" fmla="*/ 441325 w 1943100"/>
              <a:gd name="connsiteY568" fmla="*/ 1193800 h 2203450"/>
              <a:gd name="connsiteX569" fmla="*/ 473075 w 1943100"/>
              <a:gd name="connsiteY569" fmla="*/ 1177925 h 2203450"/>
              <a:gd name="connsiteX570" fmla="*/ 495300 w 1943100"/>
              <a:gd name="connsiteY570" fmla="*/ 1158875 h 2203450"/>
              <a:gd name="connsiteX571" fmla="*/ 511175 w 1943100"/>
              <a:gd name="connsiteY571" fmla="*/ 1143000 h 2203450"/>
              <a:gd name="connsiteX572" fmla="*/ 523875 w 1943100"/>
              <a:gd name="connsiteY572" fmla="*/ 1123950 h 2203450"/>
              <a:gd name="connsiteX573" fmla="*/ 530225 w 1943100"/>
              <a:gd name="connsiteY573" fmla="*/ 1111250 h 2203450"/>
              <a:gd name="connsiteX574" fmla="*/ 533400 w 1943100"/>
              <a:gd name="connsiteY574" fmla="*/ 1101725 h 2203450"/>
              <a:gd name="connsiteX575" fmla="*/ 533400 w 1943100"/>
              <a:gd name="connsiteY575" fmla="*/ 1076325 h 2203450"/>
              <a:gd name="connsiteX576" fmla="*/ 527050 w 1943100"/>
              <a:gd name="connsiteY576" fmla="*/ 1060450 h 2203450"/>
              <a:gd name="connsiteX577" fmla="*/ 517525 w 1943100"/>
              <a:gd name="connsiteY577" fmla="*/ 1044575 h 2203450"/>
              <a:gd name="connsiteX578" fmla="*/ 508000 w 1943100"/>
              <a:gd name="connsiteY578" fmla="*/ 1035050 h 2203450"/>
              <a:gd name="connsiteX579" fmla="*/ 498475 w 1943100"/>
              <a:gd name="connsiteY579" fmla="*/ 1028700 h 2203450"/>
              <a:gd name="connsiteX580" fmla="*/ 492125 w 1943100"/>
              <a:gd name="connsiteY580" fmla="*/ 1022350 h 2203450"/>
              <a:gd name="connsiteX581" fmla="*/ 482600 w 1943100"/>
              <a:gd name="connsiteY581" fmla="*/ 1019175 h 2203450"/>
              <a:gd name="connsiteX582" fmla="*/ 454025 w 1943100"/>
              <a:gd name="connsiteY582" fmla="*/ 1012825 h 2203450"/>
              <a:gd name="connsiteX583" fmla="*/ 428625 w 1943100"/>
              <a:gd name="connsiteY583" fmla="*/ 1003300 h 2203450"/>
              <a:gd name="connsiteX584" fmla="*/ 406400 w 1943100"/>
              <a:gd name="connsiteY584" fmla="*/ 993775 h 2203450"/>
              <a:gd name="connsiteX585" fmla="*/ 387350 w 1943100"/>
              <a:gd name="connsiteY585" fmla="*/ 984250 h 2203450"/>
              <a:gd name="connsiteX586" fmla="*/ 358775 w 1943100"/>
              <a:gd name="connsiteY586" fmla="*/ 962025 h 2203450"/>
              <a:gd name="connsiteX587" fmla="*/ 339725 w 1943100"/>
              <a:gd name="connsiteY587" fmla="*/ 939800 h 2203450"/>
              <a:gd name="connsiteX588" fmla="*/ 327025 w 1943100"/>
              <a:gd name="connsiteY588" fmla="*/ 920750 h 2203450"/>
              <a:gd name="connsiteX589" fmla="*/ 320675 w 1943100"/>
              <a:gd name="connsiteY589" fmla="*/ 908050 h 2203450"/>
              <a:gd name="connsiteX590" fmla="*/ 320675 w 1943100"/>
              <a:gd name="connsiteY590" fmla="*/ 892175 h 2203450"/>
              <a:gd name="connsiteX591" fmla="*/ 323850 w 1943100"/>
              <a:gd name="connsiteY591" fmla="*/ 876300 h 2203450"/>
              <a:gd name="connsiteX592" fmla="*/ 333375 w 1943100"/>
              <a:gd name="connsiteY592" fmla="*/ 860425 h 2203450"/>
              <a:gd name="connsiteX593" fmla="*/ 342900 w 1943100"/>
              <a:gd name="connsiteY593" fmla="*/ 847725 h 2203450"/>
              <a:gd name="connsiteX594" fmla="*/ 358775 w 1943100"/>
              <a:gd name="connsiteY594" fmla="*/ 835025 h 2203450"/>
              <a:gd name="connsiteX595" fmla="*/ 377825 w 1943100"/>
              <a:gd name="connsiteY595" fmla="*/ 825500 h 2203450"/>
              <a:gd name="connsiteX596" fmla="*/ 396875 w 1943100"/>
              <a:gd name="connsiteY596" fmla="*/ 819150 h 2203450"/>
              <a:gd name="connsiteX597" fmla="*/ 438150 w 1943100"/>
              <a:gd name="connsiteY597" fmla="*/ 809625 h 2203450"/>
              <a:gd name="connsiteX598" fmla="*/ 482600 w 1943100"/>
              <a:gd name="connsiteY598" fmla="*/ 803275 h 2203450"/>
              <a:gd name="connsiteX599" fmla="*/ 517525 w 1943100"/>
              <a:gd name="connsiteY599" fmla="*/ 800100 h 2203450"/>
              <a:gd name="connsiteX600" fmla="*/ 555625 w 1943100"/>
              <a:gd name="connsiteY600" fmla="*/ 800100 h 2203450"/>
              <a:gd name="connsiteX601" fmla="*/ 581025 w 1943100"/>
              <a:gd name="connsiteY601" fmla="*/ 800100 h 2203450"/>
              <a:gd name="connsiteX602" fmla="*/ 606425 w 1943100"/>
              <a:gd name="connsiteY602" fmla="*/ 796925 h 2203450"/>
              <a:gd name="connsiteX603" fmla="*/ 650875 w 1943100"/>
              <a:gd name="connsiteY603" fmla="*/ 787400 h 2203450"/>
              <a:gd name="connsiteX604" fmla="*/ 682625 w 1943100"/>
              <a:gd name="connsiteY604" fmla="*/ 774700 h 2203450"/>
              <a:gd name="connsiteX605" fmla="*/ 704850 w 1943100"/>
              <a:gd name="connsiteY605" fmla="*/ 758825 h 2203450"/>
              <a:gd name="connsiteX606" fmla="*/ 720725 w 1943100"/>
              <a:gd name="connsiteY606" fmla="*/ 742950 h 2203450"/>
              <a:gd name="connsiteX607" fmla="*/ 730250 w 1943100"/>
              <a:gd name="connsiteY607" fmla="*/ 730250 h 2203450"/>
              <a:gd name="connsiteX608" fmla="*/ 736600 w 1943100"/>
              <a:gd name="connsiteY608" fmla="*/ 717550 h 2203450"/>
              <a:gd name="connsiteX609" fmla="*/ 742950 w 1943100"/>
              <a:gd name="connsiteY609" fmla="*/ 688975 h 2203450"/>
              <a:gd name="connsiteX610" fmla="*/ 742950 w 1943100"/>
              <a:gd name="connsiteY610" fmla="*/ 666750 h 2203450"/>
              <a:gd name="connsiteX611" fmla="*/ 739775 w 1943100"/>
              <a:gd name="connsiteY611" fmla="*/ 647700 h 2203450"/>
              <a:gd name="connsiteX612" fmla="*/ 733425 w 1943100"/>
              <a:gd name="connsiteY612" fmla="*/ 631825 h 2203450"/>
              <a:gd name="connsiteX613" fmla="*/ 727075 w 1943100"/>
              <a:gd name="connsiteY613" fmla="*/ 619125 h 2203450"/>
              <a:gd name="connsiteX614" fmla="*/ 717550 w 1943100"/>
              <a:gd name="connsiteY614" fmla="*/ 609600 h 2203450"/>
              <a:gd name="connsiteX615" fmla="*/ 711200 w 1943100"/>
              <a:gd name="connsiteY615" fmla="*/ 603250 h 2203450"/>
              <a:gd name="connsiteX616" fmla="*/ 685800 w 1943100"/>
              <a:gd name="connsiteY616" fmla="*/ 574675 h 2203450"/>
              <a:gd name="connsiteX617" fmla="*/ 666750 w 1943100"/>
              <a:gd name="connsiteY617" fmla="*/ 549275 h 2203450"/>
              <a:gd name="connsiteX618" fmla="*/ 657225 w 1943100"/>
              <a:gd name="connsiteY618" fmla="*/ 527050 h 2203450"/>
              <a:gd name="connsiteX619" fmla="*/ 654050 w 1943100"/>
              <a:gd name="connsiteY619" fmla="*/ 504825 h 2203450"/>
              <a:gd name="connsiteX620" fmla="*/ 650875 w 1943100"/>
              <a:gd name="connsiteY620" fmla="*/ 485775 h 2203450"/>
              <a:gd name="connsiteX621" fmla="*/ 654050 w 1943100"/>
              <a:gd name="connsiteY621" fmla="*/ 469900 h 2203450"/>
              <a:gd name="connsiteX622" fmla="*/ 657225 w 1943100"/>
              <a:gd name="connsiteY622" fmla="*/ 457200 h 2203450"/>
              <a:gd name="connsiteX623" fmla="*/ 663575 w 1943100"/>
              <a:gd name="connsiteY623" fmla="*/ 441325 h 2203450"/>
              <a:gd name="connsiteX624" fmla="*/ 673100 w 1943100"/>
              <a:gd name="connsiteY624" fmla="*/ 428625 h 2203450"/>
              <a:gd name="connsiteX625" fmla="*/ 682625 w 1943100"/>
              <a:gd name="connsiteY625" fmla="*/ 419100 h 2203450"/>
              <a:gd name="connsiteX626" fmla="*/ 692150 w 1943100"/>
              <a:gd name="connsiteY626" fmla="*/ 409575 h 2203450"/>
              <a:gd name="connsiteX627" fmla="*/ 704850 w 1943100"/>
              <a:gd name="connsiteY627" fmla="*/ 406400 h 2203450"/>
              <a:gd name="connsiteX628" fmla="*/ 717550 w 1943100"/>
              <a:gd name="connsiteY628" fmla="*/ 403225 h 2203450"/>
              <a:gd name="connsiteX629" fmla="*/ 746125 w 1943100"/>
              <a:gd name="connsiteY629" fmla="*/ 400050 h 2203450"/>
              <a:gd name="connsiteX630" fmla="*/ 768350 w 1943100"/>
              <a:gd name="connsiteY630" fmla="*/ 403225 h 2203450"/>
              <a:gd name="connsiteX631" fmla="*/ 790575 w 1943100"/>
              <a:gd name="connsiteY631" fmla="*/ 409575 h 2203450"/>
              <a:gd name="connsiteX632" fmla="*/ 809625 w 1943100"/>
              <a:gd name="connsiteY632" fmla="*/ 415925 h 2203450"/>
              <a:gd name="connsiteX633" fmla="*/ 828675 w 1943100"/>
              <a:gd name="connsiteY633" fmla="*/ 419100 h 2203450"/>
              <a:gd name="connsiteX634" fmla="*/ 847725 w 1943100"/>
              <a:gd name="connsiteY634" fmla="*/ 422275 h 2203450"/>
              <a:gd name="connsiteX635" fmla="*/ 866775 w 1943100"/>
              <a:gd name="connsiteY635" fmla="*/ 419100 h 2203450"/>
              <a:gd name="connsiteX636" fmla="*/ 882650 w 1943100"/>
              <a:gd name="connsiteY636" fmla="*/ 412750 h 2203450"/>
              <a:gd name="connsiteX637" fmla="*/ 898525 w 1943100"/>
              <a:gd name="connsiteY637" fmla="*/ 406400 h 2203450"/>
              <a:gd name="connsiteX638" fmla="*/ 914400 w 1943100"/>
              <a:gd name="connsiteY638" fmla="*/ 400050 h 2203450"/>
              <a:gd name="connsiteX639" fmla="*/ 939800 w 1943100"/>
              <a:gd name="connsiteY639" fmla="*/ 377825 h 2203450"/>
              <a:gd name="connsiteX640" fmla="*/ 958850 w 1943100"/>
              <a:gd name="connsiteY640" fmla="*/ 355600 h 2203450"/>
              <a:gd name="connsiteX641" fmla="*/ 974725 w 1943100"/>
              <a:gd name="connsiteY641" fmla="*/ 336550 h 2203450"/>
              <a:gd name="connsiteX642" fmla="*/ 987425 w 1943100"/>
              <a:gd name="connsiteY642" fmla="*/ 317500 h 2203450"/>
              <a:gd name="connsiteX643" fmla="*/ 1019175 w 1943100"/>
              <a:gd name="connsiteY643" fmla="*/ 254000 h 2203450"/>
              <a:gd name="connsiteX644" fmla="*/ 1054100 w 1943100"/>
              <a:gd name="connsiteY644" fmla="*/ 203200 h 2203450"/>
              <a:gd name="connsiteX645" fmla="*/ 1085850 w 1943100"/>
              <a:gd name="connsiteY645" fmla="*/ 165100 h 2203450"/>
              <a:gd name="connsiteX646" fmla="*/ 1120775 w 1943100"/>
              <a:gd name="connsiteY646" fmla="*/ 136525 h 2203450"/>
              <a:gd name="connsiteX647" fmla="*/ 1152525 w 1943100"/>
              <a:gd name="connsiteY647" fmla="*/ 117475 h 2203450"/>
              <a:gd name="connsiteX648" fmla="*/ 1184275 w 1943100"/>
              <a:gd name="connsiteY648" fmla="*/ 104775 h 2203450"/>
              <a:gd name="connsiteX649" fmla="*/ 958850 w 1943100"/>
              <a:gd name="connsiteY649" fmla="*/ 0 h 2203450"/>
              <a:gd name="connsiteX650" fmla="*/ 981075 w 1943100"/>
              <a:gd name="connsiteY650" fmla="*/ 3175 h 2203450"/>
              <a:gd name="connsiteX651" fmla="*/ 1000125 w 1943100"/>
              <a:gd name="connsiteY651" fmla="*/ 12700 h 2203450"/>
              <a:gd name="connsiteX652" fmla="*/ 1012825 w 1943100"/>
              <a:gd name="connsiteY652" fmla="*/ 25400 h 2203450"/>
              <a:gd name="connsiteX653" fmla="*/ 1022350 w 1943100"/>
              <a:gd name="connsiteY653" fmla="*/ 44450 h 2203450"/>
              <a:gd name="connsiteX654" fmla="*/ 1028700 w 1943100"/>
              <a:gd name="connsiteY654" fmla="*/ 63500 h 2203450"/>
              <a:gd name="connsiteX655" fmla="*/ 1028700 w 1943100"/>
              <a:gd name="connsiteY655" fmla="*/ 88900 h 2203450"/>
              <a:gd name="connsiteX656" fmla="*/ 1025525 w 1943100"/>
              <a:gd name="connsiteY656" fmla="*/ 114300 h 2203450"/>
              <a:gd name="connsiteX657" fmla="*/ 1016000 w 1943100"/>
              <a:gd name="connsiteY657" fmla="*/ 142875 h 2203450"/>
              <a:gd name="connsiteX658" fmla="*/ 1003300 w 1943100"/>
              <a:gd name="connsiteY658" fmla="*/ 171450 h 2203450"/>
              <a:gd name="connsiteX659" fmla="*/ 984250 w 1943100"/>
              <a:gd name="connsiteY659" fmla="*/ 196850 h 2203450"/>
              <a:gd name="connsiteX660" fmla="*/ 965200 w 1943100"/>
              <a:gd name="connsiteY660" fmla="*/ 222250 h 2203450"/>
              <a:gd name="connsiteX661" fmla="*/ 939800 w 1943100"/>
              <a:gd name="connsiteY661" fmla="*/ 244475 h 2203450"/>
              <a:gd name="connsiteX662" fmla="*/ 917575 w 1943100"/>
              <a:gd name="connsiteY662" fmla="*/ 263525 h 2203450"/>
              <a:gd name="connsiteX663" fmla="*/ 892175 w 1943100"/>
              <a:gd name="connsiteY663" fmla="*/ 276225 h 2203450"/>
              <a:gd name="connsiteX664" fmla="*/ 866775 w 1943100"/>
              <a:gd name="connsiteY664" fmla="*/ 282575 h 2203450"/>
              <a:gd name="connsiteX665" fmla="*/ 844550 w 1943100"/>
              <a:gd name="connsiteY665" fmla="*/ 285750 h 2203450"/>
              <a:gd name="connsiteX666" fmla="*/ 822325 w 1943100"/>
              <a:gd name="connsiteY666" fmla="*/ 282575 h 2203450"/>
              <a:gd name="connsiteX667" fmla="*/ 806450 w 1943100"/>
              <a:gd name="connsiteY667" fmla="*/ 273050 h 2203450"/>
              <a:gd name="connsiteX668" fmla="*/ 790575 w 1943100"/>
              <a:gd name="connsiteY668" fmla="*/ 260350 h 2203450"/>
              <a:gd name="connsiteX669" fmla="*/ 781050 w 1943100"/>
              <a:gd name="connsiteY669" fmla="*/ 241300 h 2203450"/>
              <a:gd name="connsiteX670" fmla="*/ 774700 w 1943100"/>
              <a:gd name="connsiteY670" fmla="*/ 222250 h 2203450"/>
              <a:gd name="connsiteX671" fmla="*/ 774700 w 1943100"/>
              <a:gd name="connsiteY671" fmla="*/ 196850 h 2203450"/>
              <a:gd name="connsiteX672" fmla="*/ 777875 w 1943100"/>
              <a:gd name="connsiteY672" fmla="*/ 171450 h 2203450"/>
              <a:gd name="connsiteX673" fmla="*/ 787400 w 1943100"/>
              <a:gd name="connsiteY673" fmla="*/ 142875 h 2203450"/>
              <a:gd name="connsiteX674" fmla="*/ 800100 w 1943100"/>
              <a:gd name="connsiteY674" fmla="*/ 114300 h 2203450"/>
              <a:gd name="connsiteX675" fmla="*/ 819150 w 1943100"/>
              <a:gd name="connsiteY675" fmla="*/ 88900 h 2203450"/>
              <a:gd name="connsiteX676" fmla="*/ 841375 w 1943100"/>
              <a:gd name="connsiteY676" fmla="*/ 63500 h 2203450"/>
              <a:gd name="connsiteX677" fmla="*/ 863600 w 1943100"/>
              <a:gd name="connsiteY677" fmla="*/ 41275 h 2203450"/>
              <a:gd name="connsiteX678" fmla="*/ 889000 w 1943100"/>
              <a:gd name="connsiteY678" fmla="*/ 22225 h 2203450"/>
              <a:gd name="connsiteX679" fmla="*/ 911225 w 1943100"/>
              <a:gd name="connsiteY679" fmla="*/ 9525 h 2203450"/>
              <a:gd name="connsiteX680" fmla="*/ 936625 w 1943100"/>
              <a:gd name="connsiteY680" fmla="*/ 3175 h 220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Lst>
            <a:rect l="l" t="t" r="r" b="b"/>
            <a:pathLst>
              <a:path w="1943100" h="2203450">
                <a:moveTo>
                  <a:pt x="1273175" y="1971675"/>
                </a:moveTo>
                <a:lnTo>
                  <a:pt x="1298575" y="1974850"/>
                </a:lnTo>
                <a:lnTo>
                  <a:pt x="1323975" y="1981200"/>
                </a:lnTo>
                <a:lnTo>
                  <a:pt x="1346200" y="1990725"/>
                </a:lnTo>
                <a:lnTo>
                  <a:pt x="1365250" y="2006600"/>
                </a:lnTo>
                <a:lnTo>
                  <a:pt x="1381125" y="2022475"/>
                </a:lnTo>
                <a:lnTo>
                  <a:pt x="1393825" y="2041525"/>
                </a:lnTo>
                <a:lnTo>
                  <a:pt x="1400175" y="2063750"/>
                </a:lnTo>
                <a:lnTo>
                  <a:pt x="1403350" y="2089150"/>
                </a:lnTo>
                <a:lnTo>
                  <a:pt x="1400175" y="2111375"/>
                </a:lnTo>
                <a:lnTo>
                  <a:pt x="1393825" y="2133600"/>
                </a:lnTo>
                <a:lnTo>
                  <a:pt x="1381125" y="2152650"/>
                </a:lnTo>
                <a:lnTo>
                  <a:pt x="1365250" y="2168525"/>
                </a:lnTo>
                <a:lnTo>
                  <a:pt x="1346200" y="2184400"/>
                </a:lnTo>
                <a:lnTo>
                  <a:pt x="1323975" y="2193925"/>
                </a:lnTo>
                <a:lnTo>
                  <a:pt x="1298575" y="2200275"/>
                </a:lnTo>
                <a:lnTo>
                  <a:pt x="1273175" y="2203450"/>
                </a:lnTo>
                <a:lnTo>
                  <a:pt x="1244600" y="2200275"/>
                </a:lnTo>
                <a:lnTo>
                  <a:pt x="1222375" y="2193925"/>
                </a:lnTo>
                <a:lnTo>
                  <a:pt x="1200150" y="2184400"/>
                </a:lnTo>
                <a:lnTo>
                  <a:pt x="1177925" y="2168525"/>
                </a:lnTo>
                <a:lnTo>
                  <a:pt x="1162050" y="2152650"/>
                </a:lnTo>
                <a:lnTo>
                  <a:pt x="1152525" y="2133600"/>
                </a:lnTo>
                <a:lnTo>
                  <a:pt x="1143000" y="2111375"/>
                </a:lnTo>
                <a:lnTo>
                  <a:pt x="1139825" y="2089150"/>
                </a:lnTo>
                <a:lnTo>
                  <a:pt x="1143000" y="2063750"/>
                </a:lnTo>
                <a:lnTo>
                  <a:pt x="1152525" y="2041525"/>
                </a:lnTo>
                <a:lnTo>
                  <a:pt x="1162050" y="2022475"/>
                </a:lnTo>
                <a:lnTo>
                  <a:pt x="1177925" y="2006600"/>
                </a:lnTo>
                <a:lnTo>
                  <a:pt x="1200150" y="1990725"/>
                </a:lnTo>
                <a:lnTo>
                  <a:pt x="1222375" y="1981200"/>
                </a:lnTo>
                <a:lnTo>
                  <a:pt x="1244600" y="1974850"/>
                </a:lnTo>
                <a:close/>
                <a:moveTo>
                  <a:pt x="1498600" y="1819275"/>
                </a:moveTo>
                <a:lnTo>
                  <a:pt x="1530350" y="1822450"/>
                </a:lnTo>
                <a:lnTo>
                  <a:pt x="1562100" y="1825625"/>
                </a:lnTo>
                <a:lnTo>
                  <a:pt x="1587500" y="1831975"/>
                </a:lnTo>
                <a:lnTo>
                  <a:pt x="1612900" y="1841500"/>
                </a:lnTo>
                <a:lnTo>
                  <a:pt x="1631950" y="1854200"/>
                </a:lnTo>
                <a:lnTo>
                  <a:pt x="1647825" y="1866900"/>
                </a:lnTo>
                <a:lnTo>
                  <a:pt x="1657350" y="1879600"/>
                </a:lnTo>
                <a:lnTo>
                  <a:pt x="1660525" y="1895475"/>
                </a:lnTo>
                <a:lnTo>
                  <a:pt x="1657350" y="1911350"/>
                </a:lnTo>
                <a:lnTo>
                  <a:pt x="1647825" y="1924050"/>
                </a:lnTo>
                <a:lnTo>
                  <a:pt x="1631950" y="1939925"/>
                </a:lnTo>
                <a:lnTo>
                  <a:pt x="1612900" y="1949450"/>
                </a:lnTo>
                <a:lnTo>
                  <a:pt x="1587500" y="1958975"/>
                </a:lnTo>
                <a:lnTo>
                  <a:pt x="1562100" y="1965325"/>
                </a:lnTo>
                <a:lnTo>
                  <a:pt x="1530350" y="1971675"/>
                </a:lnTo>
                <a:lnTo>
                  <a:pt x="1498600" y="1971675"/>
                </a:lnTo>
                <a:lnTo>
                  <a:pt x="1466850" y="1971675"/>
                </a:lnTo>
                <a:lnTo>
                  <a:pt x="1435100" y="1965325"/>
                </a:lnTo>
                <a:lnTo>
                  <a:pt x="1409700" y="1958975"/>
                </a:lnTo>
                <a:lnTo>
                  <a:pt x="1384300" y="1949450"/>
                </a:lnTo>
                <a:lnTo>
                  <a:pt x="1365250" y="1939925"/>
                </a:lnTo>
                <a:lnTo>
                  <a:pt x="1349375" y="1924050"/>
                </a:lnTo>
                <a:lnTo>
                  <a:pt x="1339850" y="1911350"/>
                </a:lnTo>
                <a:lnTo>
                  <a:pt x="1336675" y="1895475"/>
                </a:lnTo>
                <a:lnTo>
                  <a:pt x="1339850" y="1879600"/>
                </a:lnTo>
                <a:lnTo>
                  <a:pt x="1349375" y="1866900"/>
                </a:lnTo>
                <a:lnTo>
                  <a:pt x="1365250" y="1854200"/>
                </a:lnTo>
                <a:lnTo>
                  <a:pt x="1384300" y="1841500"/>
                </a:lnTo>
                <a:lnTo>
                  <a:pt x="1409700" y="1831975"/>
                </a:lnTo>
                <a:lnTo>
                  <a:pt x="1435100" y="1825625"/>
                </a:lnTo>
                <a:lnTo>
                  <a:pt x="1466850" y="1822450"/>
                </a:lnTo>
                <a:close/>
                <a:moveTo>
                  <a:pt x="752475" y="1781175"/>
                </a:moveTo>
                <a:lnTo>
                  <a:pt x="762000" y="1784350"/>
                </a:lnTo>
                <a:lnTo>
                  <a:pt x="768350" y="1787525"/>
                </a:lnTo>
                <a:lnTo>
                  <a:pt x="777875" y="1790700"/>
                </a:lnTo>
                <a:lnTo>
                  <a:pt x="784225" y="1800225"/>
                </a:lnTo>
                <a:lnTo>
                  <a:pt x="793750" y="1816100"/>
                </a:lnTo>
                <a:lnTo>
                  <a:pt x="796925" y="1838325"/>
                </a:lnTo>
                <a:lnTo>
                  <a:pt x="793750" y="1860550"/>
                </a:lnTo>
                <a:lnTo>
                  <a:pt x="784225" y="1879600"/>
                </a:lnTo>
                <a:lnTo>
                  <a:pt x="777875" y="1885950"/>
                </a:lnTo>
                <a:lnTo>
                  <a:pt x="768350" y="1889125"/>
                </a:lnTo>
                <a:lnTo>
                  <a:pt x="762000" y="1892300"/>
                </a:lnTo>
                <a:lnTo>
                  <a:pt x="752475" y="1895475"/>
                </a:lnTo>
                <a:lnTo>
                  <a:pt x="742950" y="1892300"/>
                </a:lnTo>
                <a:lnTo>
                  <a:pt x="736600" y="1889125"/>
                </a:lnTo>
                <a:lnTo>
                  <a:pt x="727075" y="1885950"/>
                </a:lnTo>
                <a:lnTo>
                  <a:pt x="720725" y="1879600"/>
                </a:lnTo>
                <a:lnTo>
                  <a:pt x="711200" y="1860550"/>
                </a:lnTo>
                <a:lnTo>
                  <a:pt x="708025" y="1838325"/>
                </a:lnTo>
                <a:lnTo>
                  <a:pt x="711200" y="1816100"/>
                </a:lnTo>
                <a:lnTo>
                  <a:pt x="720725" y="1800225"/>
                </a:lnTo>
                <a:lnTo>
                  <a:pt x="727075" y="1790700"/>
                </a:lnTo>
                <a:lnTo>
                  <a:pt x="736600" y="1787525"/>
                </a:lnTo>
                <a:lnTo>
                  <a:pt x="742950" y="1784350"/>
                </a:lnTo>
                <a:close/>
                <a:moveTo>
                  <a:pt x="492125" y="1670050"/>
                </a:moveTo>
                <a:lnTo>
                  <a:pt x="520700" y="1673225"/>
                </a:lnTo>
                <a:lnTo>
                  <a:pt x="546100" y="1679575"/>
                </a:lnTo>
                <a:lnTo>
                  <a:pt x="568325" y="1689100"/>
                </a:lnTo>
                <a:lnTo>
                  <a:pt x="590550" y="1704975"/>
                </a:lnTo>
                <a:lnTo>
                  <a:pt x="606425" y="1720850"/>
                </a:lnTo>
                <a:lnTo>
                  <a:pt x="619125" y="1739900"/>
                </a:lnTo>
                <a:lnTo>
                  <a:pt x="628650" y="1758950"/>
                </a:lnTo>
                <a:lnTo>
                  <a:pt x="631825" y="1781175"/>
                </a:lnTo>
                <a:lnTo>
                  <a:pt x="628650" y="1806575"/>
                </a:lnTo>
                <a:lnTo>
                  <a:pt x="619125" y="1825625"/>
                </a:lnTo>
                <a:lnTo>
                  <a:pt x="606425" y="1844675"/>
                </a:lnTo>
                <a:lnTo>
                  <a:pt x="590550" y="1860550"/>
                </a:lnTo>
                <a:lnTo>
                  <a:pt x="568325" y="1876425"/>
                </a:lnTo>
                <a:lnTo>
                  <a:pt x="546100" y="1885950"/>
                </a:lnTo>
                <a:lnTo>
                  <a:pt x="520700" y="1892300"/>
                </a:lnTo>
                <a:lnTo>
                  <a:pt x="492125" y="1895475"/>
                </a:lnTo>
                <a:lnTo>
                  <a:pt x="463550" y="1892300"/>
                </a:lnTo>
                <a:lnTo>
                  <a:pt x="438150" y="1885950"/>
                </a:lnTo>
                <a:lnTo>
                  <a:pt x="412750" y="1876425"/>
                </a:lnTo>
                <a:lnTo>
                  <a:pt x="393700" y="1860550"/>
                </a:lnTo>
                <a:lnTo>
                  <a:pt x="374650" y="1844675"/>
                </a:lnTo>
                <a:lnTo>
                  <a:pt x="361950" y="1825625"/>
                </a:lnTo>
                <a:lnTo>
                  <a:pt x="355600" y="1806575"/>
                </a:lnTo>
                <a:lnTo>
                  <a:pt x="352425" y="1781175"/>
                </a:lnTo>
                <a:lnTo>
                  <a:pt x="355600" y="1758950"/>
                </a:lnTo>
                <a:lnTo>
                  <a:pt x="361950" y="1739900"/>
                </a:lnTo>
                <a:lnTo>
                  <a:pt x="374650" y="1720850"/>
                </a:lnTo>
                <a:lnTo>
                  <a:pt x="393700" y="1704975"/>
                </a:lnTo>
                <a:lnTo>
                  <a:pt x="412750" y="1689100"/>
                </a:lnTo>
                <a:lnTo>
                  <a:pt x="438150" y="1679575"/>
                </a:lnTo>
                <a:lnTo>
                  <a:pt x="463550" y="1673225"/>
                </a:lnTo>
                <a:close/>
                <a:moveTo>
                  <a:pt x="212725" y="1670050"/>
                </a:moveTo>
                <a:lnTo>
                  <a:pt x="228600" y="1673225"/>
                </a:lnTo>
                <a:lnTo>
                  <a:pt x="244475" y="1676400"/>
                </a:lnTo>
                <a:lnTo>
                  <a:pt x="257175" y="1679575"/>
                </a:lnTo>
                <a:lnTo>
                  <a:pt x="266700" y="1685925"/>
                </a:lnTo>
                <a:lnTo>
                  <a:pt x="276225" y="1692275"/>
                </a:lnTo>
                <a:lnTo>
                  <a:pt x="285750" y="1701800"/>
                </a:lnTo>
                <a:lnTo>
                  <a:pt x="288925" y="1711325"/>
                </a:lnTo>
                <a:lnTo>
                  <a:pt x="288925" y="1724025"/>
                </a:lnTo>
                <a:lnTo>
                  <a:pt x="288925" y="1733550"/>
                </a:lnTo>
                <a:lnTo>
                  <a:pt x="285750" y="1743075"/>
                </a:lnTo>
                <a:lnTo>
                  <a:pt x="276225" y="1752600"/>
                </a:lnTo>
                <a:lnTo>
                  <a:pt x="266700" y="1758950"/>
                </a:lnTo>
                <a:lnTo>
                  <a:pt x="257175" y="1765300"/>
                </a:lnTo>
                <a:lnTo>
                  <a:pt x="244475" y="1771650"/>
                </a:lnTo>
                <a:lnTo>
                  <a:pt x="228600" y="1774825"/>
                </a:lnTo>
                <a:lnTo>
                  <a:pt x="212725" y="1774825"/>
                </a:lnTo>
                <a:lnTo>
                  <a:pt x="196850" y="1774825"/>
                </a:lnTo>
                <a:lnTo>
                  <a:pt x="184150" y="1771650"/>
                </a:lnTo>
                <a:lnTo>
                  <a:pt x="168275" y="1765300"/>
                </a:lnTo>
                <a:lnTo>
                  <a:pt x="158750" y="1758950"/>
                </a:lnTo>
                <a:lnTo>
                  <a:pt x="149225" y="1752600"/>
                </a:lnTo>
                <a:lnTo>
                  <a:pt x="142875" y="1743075"/>
                </a:lnTo>
                <a:lnTo>
                  <a:pt x="136525" y="1733550"/>
                </a:lnTo>
                <a:lnTo>
                  <a:pt x="136525" y="1724025"/>
                </a:lnTo>
                <a:lnTo>
                  <a:pt x="136525" y="1711325"/>
                </a:lnTo>
                <a:lnTo>
                  <a:pt x="142875" y="1701800"/>
                </a:lnTo>
                <a:lnTo>
                  <a:pt x="149225" y="1692275"/>
                </a:lnTo>
                <a:lnTo>
                  <a:pt x="158750" y="1685925"/>
                </a:lnTo>
                <a:lnTo>
                  <a:pt x="168275" y="1679575"/>
                </a:lnTo>
                <a:lnTo>
                  <a:pt x="184150" y="1676400"/>
                </a:lnTo>
                <a:lnTo>
                  <a:pt x="196850" y="1673225"/>
                </a:lnTo>
                <a:close/>
                <a:moveTo>
                  <a:pt x="44450" y="1260475"/>
                </a:moveTo>
                <a:lnTo>
                  <a:pt x="53975" y="1260475"/>
                </a:lnTo>
                <a:lnTo>
                  <a:pt x="63500" y="1260475"/>
                </a:lnTo>
                <a:lnTo>
                  <a:pt x="76200" y="1266825"/>
                </a:lnTo>
                <a:lnTo>
                  <a:pt x="82550" y="1273175"/>
                </a:lnTo>
                <a:lnTo>
                  <a:pt x="92075" y="1279525"/>
                </a:lnTo>
                <a:lnTo>
                  <a:pt x="98425" y="1289050"/>
                </a:lnTo>
                <a:lnTo>
                  <a:pt x="101600" y="1298575"/>
                </a:lnTo>
                <a:lnTo>
                  <a:pt x="104775" y="1311275"/>
                </a:lnTo>
                <a:lnTo>
                  <a:pt x="107950" y="1323975"/>
                </a:lnTo>
                <a:lnTo>
                  <a:pt x="104775" y="1336675"/>
                </a:lnTo>
                <a:lnTo>
                  <a:pt x="101600" y="1349375"/>
                </a:lnTo>
                <a:lnTo>
                  <a:pt x="98425" y="1362075"/>
                </a:lnTo>
                <a:lnTo>
                  <a:pt x="92075" y="1371600"/>
                </a:lnTo>
                <a:lnTo>
                  <a:pt x="82550" y="1377950"/>
                </a:lnTo>
                <a:lnTo>
                  <a:pt x="76200" y="1384300"/>
                </a:lnTo>
                <a:lnTo>
                  <a:pt x="63500" y="1387475"/>
                </a:lnTo>
                <a:lnTo>
                  <a:pt x="53975" y="1390650"/>
                </a:lnTo>
                <a:lnTo>
                  <a:pt x="44450" y="1387475"/>
                </a:lnTo>
                <a:lnTo>
                  <a:pt x="34925" y="1384300"/>
                </a:lnTo>
                <a:lnTo>
                  <a:pt x="25400" y="1377950"/>
                </a:lnTo>
                <a:lnTo>
                  <a:pt x="15875" y="1371600"/>
                </a:lnTo>
                <a:lnTo>
                  <a:pt x="9525" y="1362075"/>
                </a:lnTo>
                <a:lnTo>
                  <a:pt x="6350" y="1349375"/>
                </a:lnTo>
                <a:lnTo>
                  <a:pt x="3175" y="1336675"/>
                </a:lnTo>
                <a:lnTo>
                  <a:pt x="0" y="1323975"/>
                </a:lnTo>
                <a:lnTo>
                  <a:pt x="3175" y="1311275"/>
                </a:lnTo>
                <a:lnTo>
                  <a:pt x="6350" y="1298575"/>
                </a:lnTo>
                <a:lnTo>
                  <a:pt x="9525" y="1289050"/>
                </a:lnTo>
                <a:lnTo>
                  <a:pt x="15875" y="1279525"/>
                </a:lnTo>
                <a:lnTo>
                  <a:pt x="25400" y="1273175"/>
                </a:lnTo>
                <a:lnTo>
                  <a:pt x="34925" y="1266825"/>
                </a:lnTo>
                <a:close/>
                <a:moveTo>
                  <a:pt x="171450" y="1098550"/>
                </a:moveTo>
                <a:lnTo>
                  <a:pt x="184150" y="1101725"/>
                </a:lnTo>
                <a:lnTo>
                  <a:pt x="193675" y="1104900"/>
                </a:lnTo>
                <a:lnTo>
                  <a:pt x="206375" y="1108075"/>
                </a:lnTo>
                <a:lnTo>
                  <a:pt x="215900" y="1117600"/>
                </a:lnTo>
                <a:lnTo>
                  <a:pt x="222250" y="1123950"/>
                </a:lnTo>
                <a:lnTo>
                  <a:pt x="228600" y="1136650"/>
                </a:lnTo>
                <a:lnTo>
                  <a:pt x="231775" y="1146175"/>
                </a:lnTo>
                <a:lnTo>
                  <a:pt x="234950" y="1158875"/>
                </a:lnTo>
                <a:lnTo>
                  <a:pt x="231775" y="1168400"/>
                </a:lnTo>
                <a:lnTo>
                  <a:pt x="228600" y="1181100"/>
                </a:lnTo>
                <a:lnTo>
                  <a:pt x="222250" y="1190625"/>
                </a:lnTo>
                <a:lnTo>
                  <a:pt x="215900" y="1200150"/>
                </a:lnTo>
                <a:lnTo>
                  <a:pt x="206375" y="1206500"/>
                </a:lnTo>
                <a:lnTo>
                  <a:pt x="193675" y="1212850"/>
                </a:lnTo>
                <a:lnTo>
                  <a:pt x="184150" y="1216025"/>
                </a:lnTo>
                <a:lnTo>
                  <a:pt x="171450" y="1216025"/>
                </a:lnTo>
                <a:lnTo>
                  <a:pt x="158750" y="1216025"/>
                </a:lnTo>
                <a:lnTo>
                  <a:pt x="146050" y="1212850"/>
                </a:lnTo>
                <a:lnTo>
                  <a:pt x="136525" y="1206500"/>
                </a:lnTo>
                <a:lnTo>
                  <a:pt x="127000" y="1200150"/>
                </a:lnTo>
                <a:lnTo>
                  <a:pt x="117475" y="1190625"/>
                </a:lnTo>
                <a:lnTo>
                  <a:pt x="111125" y="1181100"/>
                </a:lnTo>
                <a:lnTo>
                  <a:pt x="107950" y="1168400"/>
                </a:lnTo>
                <a:lnTo>
                  <a:pt x="107950" y="1158875"/>
                </a:lnTo>
                <a:lnTo>
                  <a:pt x="107950" y="1146175"/>
                </a:lnTo>
                <a:lnTo>
                  <a:pt x="111125" y="1136650"/>
                </a:lnTo>
                <a:lnTo>
                  <a:pt x="117475" y="1123950"/>
                </a:lnTo>
                <a:lnTo>
                  <a:pt x="127000" y="1117600"/>
                </a:lnTo>
                <a:lnTo>
                  <a:pt x="136525" y="1108075"/>
                </a:lnTo>
                <a:lnTo>
                  <a:pt x="146050" y="1104900"/>
                </a:lnTo>
                <a:lnTo>
                  <a:pt x="158750" y="1101725"/>
                </a:lnTo>
                <a:close/>
                <a:moveTo>
                  <a:pt x="136525" y="812800"/>
                </a:moveTo>
                <a:lnTo>
                  <a:pt x="155575" y="815975"/>
                </a:lnTo>
                <a:lnTo>
                  <a:pt x="174625" y="822325"/>
                </a:lnTo>
                <a:lnTo>
                  <a:pt x="190500" y="831850"/>
                </a:lnTo>
                <a:lnTo>
                  <a:pt x="206375" y="844550"/>
                </a:lnTo>
                <a:lnTo>
                  <a:pt x="215900" y="860425"/>
                </a:lnTo>
                <a:lnTo>
                  <a:pt x="225425" y="879475"/>
                </a:lnTo>
                <a:lnTo>
                  <a:pt x="231775" y="898525"/>
                </a:lnTo>
                <a:lnTo>
                  <a:pt x="234950" y="920750"/>
                </a:lnTo>
                <a:lnTo>
                  <a:pt x="231775" y="939800"/>
                </a:lnTo>
                <a:lnTo>
                  <a:pt x="225425" y="958850"/>
                </a:lnTo>
                <a:lnTo>
                  <a:pt x="215900" y="977900"/>
                </a:lnTo>
                <a:lnTo>
                  <a:pt x="206375" y="993775"/>
                </a:lnTo>
                <a:lnTo>
                  <a:pt x="190500" y="1006475"/>
                </a:lnTo>
                <a:lnTo>
                  <a:pt x="174625" y="1016000"/>
                </a:lnTo>
                <a:lnTo>
                  <a:pt x="155575" y="1022350"/>
                </a:lnTo>
                <a:lnTo>
                  <a:pt x="136525" y="1025525"/>
                </a:lnTo>
                <a:lnTo>
                  <a:pt x="114300" y="1022350"/>
                </a:lnTo>
                <a:lnTo>
                  <a:pt x="98425" y="1016000"/>
                </a:lnTo>
                <a:lnTo>
                  <a:pt x="79375" y="1006475"/>
                </a:lnTo>
                <a:lnTo>
                  <a:pt x="66675" y="993775"/>
                </a:lnTo>
                <a:lnTo>
                  <a:pt x="53975" y="977900"/>
                </a:lnTo>
                <a:lnTo>
                  <a:pt x="44450" y="958850"/>
                </a:lnTo>
                <a:lnTo>
                  <a:pt x="38100" y="939800"/>
                </a:lnTo>
                <a:lnTo>
                  <a:pt x="38100" y="920750"/>
                </a:lnTo>
                <a:lnTo>
                  <a:pt x="38100" y="898525"/>
                </a:lnTo>
                <a:lnTo>
                  <a:pt x="44450" y="879475"/>
                </a:lnTo>
                <a:lnTo>
                  <a:pt x="53975" y="860425"/>
                </a:lnTo>
                <a:lnTo>
                  <a:pt x="66675" y="844550"/>
                </a:lnTo>
                <a:lnTo>
                  <a:pt x="79375" y="831850"/>
                </a:lnTo>
                <a:lnTo>
                  <a:pt x="98425" y="822325"/>
                </a:lnTo>
                <a:lnTo>
                  <a:pt x="114300" y="815975"/>
                </a:lnTo>
                <a:close/>
                <a:moveTo>
                  <a:pt x="352425" y="698500"/>
                </a:moveTo>
                <a:lnTo>
                  <a:pt x="368300" y="701675"/>
                </a:lnTo>
                <a:lnTo>
                  <a:pt x="381000" y="708025"/>
                </a:lnTo>
                <a:lnTo>
                  <a:pt x="390525" y="720725"/>
                </a:lnTo>
                <a:lnTo>
                  <a:pt x="393700" y="733425"/>
                </a:lnTo>
                <a:lnTo>
                  <a:pt x="390525" y="749300"/>
                </a:lnTo>
                <a:lnTo>
                  <a:pt x="381000" y="762000"/>
                </a:lnTo>
                <a:lnTo>
                  <a:pt x="368300" y="768350"/>
                </a:lnTo>
                <a:lnTo>
                  <a:pt x="352425" y="771525"/>
                </a:lnTo>
                <a:lnTo>
                  <a:pt x="333375" y="768350"/>
                </a:lnTo>
                <a:lnTo>
                  <a:pt x="320675" y="762000"/>
                </a:lnTo>
                <a:lnTo>
                  <a:pt x="311150" y="749300"/>
                </a:lnTo>
                <a:lnTo>
                  <a:pt x="307975" y="733425"/>
                </a:lnTo>
                <a:lnTo>
                  <a:pt x="311150" y="720725"/>
                </a:lnTo>
                <a:lnTo>
                  <a:pt x="320675" y="708025"/>
                </a:lnTo>
                <a:lnTo>
                  <a:pt x="333375" y="701675"/>
                </a:lnTo>
                <a:close/>
                <a:moveTo>
                  <a:pt x="1809750" y="631825"/>
                </a:moveTo>
                <a:lnTo>
                  <a:pt x="1825625" y="631825"/>
                </a:lnTo>
                <a:lnTo>
                  <a:pt x="1841500" y="631825"/>
                </a:lnTo>
                <a:lnTo>
                  <a:pt x="1863725" y="635000"/>
                </a:lnTo>
                <a:lnTo>
                  <a:pt x="1885950" y="644525"/>
                </a:lnTo>
                <a:lnTo>
                  <a:pt x="1895475" y="654050"/>
                </a:lnTo>
                <a:lnTo>
                  <a:pt x="1908175" y="663575"/>
                </a:lnTo>
                <a:lnTo>
                  <a:pt x="1917700" y="679450"/>
                </a:lnTo>
                <a:lnTo>
                  <a:pt x="1927225" y="695325"/>
                </a:lnTo>
                <a:lnTo>
                  <a:pt x="1933575" y="704850"/>
                </a:lnTo>
                <a:lnTo>
                  <a:pt x="1939925" y="720725"/>
                </a:lnTo>
                <a:lnTo>
                  <a:pt x="1943100" y="739775"/>
                </a:lnTo>
                <a:lnTo>
                  <a:pt x="1943100" y="768350"/>
                </a:lnTo>
                <a:lnTo>
                  <a:pt x="1939925" y="800100"/>
                </a:lnTo>
                <a:lnTo>
                  <a:pt x="1930400" y="841375"/>
                </a:lnTo>
                <a:lnTo>
                  <a:pt x="1911350" y="885825"/>
                </a:lnTo>
                <a:lnTo>
                  <a:pt x="1898650" y="914400"/>
                </a:lnTo>
                <a:lnTo>
                  <a:pt x="1882775" y="939800"/>
                </a:lnTo>
                <a:lnTo>
                  <a:pt x="1863725" y="958850"/>
                </a:lnTo>
                <a:lnTo>
                  <a:pt x="1847850" y="974725"/>
                </a:lnTo>
                <a:lnTo>
                  <a:pt x="1828800" y="987425"/>
                </a:lnTo>
                <a:lnTo>
                  <a:pt x="1809750" y="993775"/>
                </a:lnTo>
                <a:lnTo>
                  <a:pt x="1793875" y="996950"/>
                </a:lnTo>
                <a:lnTo>
                  <a:pt x="1778000" y="990600"/>
                </a:lnTo>
                <a:lnTo>
                  <a:pt x="1765300" y="977900"/>
                </a:lnTo>
                <a:lnTo>
                  <a:pt x="1755775" y="962025"/>
                </a:lnTo>
                <a:lnTo>
                  <a:pt x="1749425" y="942975"/>
                </a:lnTo>
                <a:lnTo>
                  <a:pt x="1746250" y="917575"/>
                </a:lnTo>
                <a:lnTo>
                  <a:pt x="1746250" y="892175"/>
                </a:lnTo>
                <a:lnTo>
                  <a:pt x="1749425" y="863600"/>
                </a:lnTo>
                <a:lnTo>
                  <a:pt x="1755775" y="835025"/>
                </a:lnTo>
                <a:lnTo>
                  <a:pt x="1768475" y="803275"/>
                </a:lnTo>
                <a:lnTo>
                  <a:pt x="1771650" y="796925"/>
                </a:lnTo>
                <a:lnTo>
                  <a:pt x="1774825" y="777875"/>
                </a:lnTo>
                <a:lnTo>
                  <a:pt x="1774825" y="752475"/>
                </a:lnTo>
                <a:lnTo>
                  <a:pt x="1774825" y="739775"/>
                </a:lnTo>
                <a:lnTo>
                  <a:pt x="1768475" y="727075"/>
                </a:lnTo>
                <a:lnTo>
                  <a:pt x="1762125" y="717550"/>
                </a:lnTo>
                <a:lnTo>
                  <a:pt x="1758950" y="708025"/>
                </a:lnTo>
                <a:lnTo>
                  <a:pt x="1755775" y="695325"/>
                </a:lnTo>
                <a:lnTo>
                  <a:pt x="1755775" y="682625"/>
                </a:lnTo>
                <a:lnTo>
                  <a:pt x="1762125" y="666750"/>
                </a:lnTo>
                <a:lnTo>
                  <a:pt x="1774825" y="650875"/>
                </a:lnTo>
                <a:lnTo>
                  <a:pt x="1797050" y="638175"/>
                </a:lnTo>
                <a:close/>
                <a:moveTo>
                  <a:pt x="504825" y="593725"/>
                </a:moveTo>
                <a:lnTo>
                  <a:pt x="520700" y="596900"/>
                </a:lnTo>
                <a:lnTo>
                  <a:pt x="536575" y="600075"/>
                </a:lnTo>
                <a:lnTo>
                  <a:pt x="549275" y="606425"/>
                </a:lnTo>
                <a:lnTo>
                  <a:pt x="561975" y="612775"/>
                </a:lnTo>
                <a:lnTo>
                  <a:pt x="571500" y="622300"/>
                </a:lnTo>
                <a:lnTo>
                  <a:pt x="581025" y="631825"/>
                </a:lnTo>
                <a:lnTo>
                  <a:pt x="584200" y="641350"/>
                </a:lnTo>
                <a:lnTo>
                  <a:pt x="587375" y="654050"/>
                </a:lnTo>
                <a:lnTo>
                  <a:pt x="584200" y="666750"/>
                </a:lnTo>
                <a:lnTo>
                  <a:pt x="581025" y="679450"/>
                </a:lnTo>
                <a:lnTo>
                  <a:pt x="571500" y="688975"/>
                </a:lnTo>
                <a:lnTo>
                  <a:pt x="561975" y="698500"/>
                </a:lnTo>
                <a:lnTo>
                  <a:pt x="549275" y="704850"/>
                </a:lnTo>
                <a:lnTo>
                  <a:pt x="536575" y="711200"/>
                </a:lnTo>
                <a:lnTo>
                  <a:pt x="520700" y="714375"/>
                </a:lnTo>
                <a:lnTo>
                  <a:pt x="504825" y="714375"/>
                </a:lnTo>
                <a:lnTo>
                  <a:pt x="488950" y="714375"/>
                </a:lnTo>
                <a:lnTo>
                  <a:pt x="473075" y="711200"/>
                </a:lnTo>
                <a:lnTo>
                  <a:pt x="457200" y="704850"/>
                </a:lnTo>
                <a:lnTo>
                  <a:pt x="444500" y="698500"/>
                </a:lnTo>
                <a:lnTo>
                  <a:pt x="434975" y="688975"/>
                </a:lnTo>
                <a:lnTo>
                  <a:pt x="428625" y="679450"/>
                </a:lnTo>
                <a:lnTo>
                  <a:pt x="422275" y="666750"/>
                </a:lnTo>
                <a:lnTo>
                  <a:pt x="422275" y="654050"/>
                </a:lnTo>
                <a:lnTo>
                  <a:pt x="422275" y="641350"/>
                </a:lnTo>
                <a:lnTo>
                  <a:pt x="428625" y="631825"/>
                </a:lnTo>
                <a:lnTo>
                  <a:pt x="434975" y="622300"/>
                </a:lnTo>
                <a:lnTo>
                  <a:pt x="444500" y="612775"/>
                </a:lnTo>
                <a:lnTo>
                  <a:pt x="457200" y="606425"/>
                </a:lnTo>
                <a:lnTo>
                  <a:pt x="473075" y="600075"/>
                </a:lnTo>
                <a:lnTo>
                  <a:pt x="488950" y="596900"/>
                </a:lnTo>
                <a:close/>
                <a:moveTo>
                  <a:pt x="1581150" y="158750"/>
                </a:moveTo>
                <a:lnTo>
                  <a:pt x="1600200" y="158750"/>
                </a:lnTo>
                <a:lnTo>
                  <a:pt x="1616075" y="165100"/>
                </a:lnTo>
                <a:lnTo>
                  <a:pt x="1635125" y="177800"/>
                </a:lnTo>
                <a:lnTo>
                  <a:pt x="1654175" y="193675"/>
                </a:lnTo>
                <a:lnTo>
                  <a:pt x="1670050" y="215900"/>
                </a:lnTo>
                <a:lnTo>
                  <a:pt x="1685925" y="241300"/>
                </a:lnTo>
                <a:lnTo>
                  <a:pt x="1698625" y="269875"/>
                </a:lnTo>
                <a:lnTo>
                  <a:pt x="1708150" y="298450"/>
                </a:lnTo>
                <a:lnTo>
                  <a:pt x="1714500" y="330200"/>
                </a:lnTo>
                <a:lnTo>
                  <a:pt x="1717675" y="358775"/>
                </a:lnTo>
                <a:lnTo>
                  <a:pt x="1717675" y="387350"/>
                </a:lnTo>
                <a:lnTo>
                  <a:pt x="1714500" y="409575"/>
                </a:lnTo>
                <a:lnTo>
                  <a:pt x="1708150" y="428625"/>
                </a:lnTo>
                <a:lnTo>
                  <a:pt x="1698625" y="444500"/>
                </a:lnTo>
                <a:lnTo>
                  <a:pt x="1685925" y="457200"/>
                </a:lnTo>
                <a:lnTo>
                  <a:pt x="1670050" y="460375"/>
                </a:lnTo>
                <a:lnTo>
                  <a:pt x="1651000" y="460375"/>
                </a:lnTo>
                <a:lnTo>
                  <a:pt x="1631950" y="454025"/>
                </a:lnTo>
                <a:lnTo>
                  <a:pt x="1616075" y="441325"/>
                </a:lnTo>
                <a:lnTo>
                  <a:pt x="1597025" y="422275"/>
                </a:lnTo>
                <a:lnTo>
                  <a:pt x="1581150" y="403225"/>
                </a:lnTo>
                <a:lnTo>
                  <a:pt x="1565275" y="377825"/>
                </a:lnTo>
                <a:lnTo>
                  <a:pt x="1552575" y="349250"/>
                </a:lnTo>
                <a:lnTo>
                  <a:pt x="1543050" y="320675"/>
                </a:lnTo>
                <a:lnTo>
                  <a:pt x="1533525" y="288925"/>
                </a:lnTo>
                <a:lnTo>
                  <a:pt x="1530350" y="260350"/>
                </a:lnTo>
                <a:lnTo>
                  <a:pt x="1530350" y="231775"/>
                </a:lnTo>
                <a:lnTo>
                  <a:pt x="1536700" y="209550"/>
                </a:lnTo>
                <a:lnTo>
                  <a:pt x="1543050" y="190500"/>
                </a:lnTo>
                <a:lnTo>
                  <a:pt x="1552575" y="174625"/>
                </a:lnTo>
                <a:lnTo>
                  <a:pt x="1565275" y="161925"/>
                </a:lnTo>
                <a:close/>
                <a:moveTo>
                  <a:pt x="1212850" y="98425"/>
                </a:moveTo>
                <a:lnTo>
                  <a:pt x="1241425" y="98425"/>
                </a:lnTo>
                <a:lnTo>
                  <a:pt x="1270000" y="101600"/>
                </a:lnTo>
                <a:lnTo>
                  <a:pt x="1292225" y="111125"/>
                </a:lnTo>
                <a:lnTo>
                  <a:pt x="1314450" y="120650"/>
                </a:lnTo>
                <a:lnTo>
                  <a:pt x="1333500" y="130175"/>
                </a:lnTo>
                <a:lnTo>
                  <a:pt x="1358900" y="149225"/>
                </a:lnTo>
                <a:lnTo>
                  <a:pt x="1368425" y="158750"/>
                </a:lnTo>
                <a:lnTo>
                  <a:pt x="1393825" y="180975"/>
                </a:lnTo>
                <a:lnTo>
                  <a:pt x="1419225" y="206375"/>
                </a:lnTo>
                <a:lnTo>
                  <a:pt x="1435100" y="234950"/>
                </a:lnTo>
                <a:lnTo>
                  <a:pt x="1450975" y="260350"/>
                </a:lnTo>
                <a:lnTo>
                  <a:pt x="1460500" y="285750"/>
                </a:lnTo>
                <a:lnTo>
                  <a:pt x="1470025" y="311150"/>
                </a:lnTo>
                <a:lnTo>
                  <a:pt x="1476375" y="333375"/>
                </a:lnTo>
                <a:lnTo>
                  <a:pt x="1476375" y="358775"/>
                </a:lnTo>
                <a:lnTo>
                  <a:pt x="1479550" y="400050"/>
                </a:lnTo>
                <a:lnTo>
                  <a:pt x="1473200" y="431800"/>
                </a:lnTo>
                <a:lnTo>
                  <a:pt x="1466850" y="460375"/>
                </a:lnTo>
                <a:lnTo>
                  <a:pt x="1457325" y="501650"/>
                </a:lnTo>
                <a:lnTo>
                  <a:pt x="1454150" y="533400"/>
                </a:lnTo>
                <a:lnTo>
                  <a:pt x="1454150" y="561975"/>
                </a:lnTo>
                <a:lnTo>
                  <a:pt x="1457325" y="581025"/>
                </a:lnTo>
                <a:lnTo>
                  <a:pt x="1466850" y="596900"/>
                </a:lnTo>
                <a:lnTo>
                  <a:pt x="1473200" y="609600"/>
                </a:lnTo>
                <a:lnTo>
                  <a:pt x="1482725" y="622300"/>
                </a:lnTo>
                <a:lnTo>
                  <a:pt x="1495425" y="631825"/>
                </a:lnTo>
                <a:lnTo>
                  <a:pt x="1508125" y="638175"/>
                </a:lnTo>
                <a:lnTo>
                  <a:pt x="1530350" y="647700"/>
                </a:lnTo>
                <a:lnTo>
                  <a:pt x="1552575" y="650875"/>
                </a:lnTo>
                <a:lnTo>
                  <a:pt x="1571625" y="650875"/>
                </a:lnTo>
                <a:lnTo>
                  <a:pt x="1590675" y="650875"/>
                </a:lnTo>
                <a:lnTo>
                  <a:pt x="1622425" y="650875"/>
                </a:lnTo>
                <a:lnTo>
                  <a:pt x="1647825" y="654050"/>
                </a:lnTo>
                <a:lnTo>
                  <a:pt x="1670050" y="660400"/>
                </a:lnTo>
                <a:lnTo>
                  <a:pt x="1685925" y="666750"/>
                </a:lnTo>
                <a:lnTo>
                  <a:pt x="1695450" y="676275"/>
                </a:lnTo>
                <a:lnTo>
                  <a:pt x="1701800" y="682625"/>
                </a:lnTo>
                <a:lnTo>
                  <a:pt x="1708150" y="688975"/>
                </a:lnTo>
                <a:lnTo>
                  <a:pt x="1714500" y="698500"/>
                </a:lnTo>
                <a:lnTo>
                  <a:pt x="1717675" y="708025"/>
                </a:lnTo>
                <a:lnTo>
                  <a:pt x="1724025" y="727075"/>
                </a:lnTo>
                <a:lnTo>
                  <a:pt x="1724025" y="749300"/>
                </a:lnTo>
                <a:lnTo>
                  <a:pt x="1717675" y="768350"/>
                </a:lnTo>
                <a:lnTo>
                  <a:pt x="1704975" y="800100"/>
                </a:lnTo>
                <a:lnTo>
                  <a:pt x="1698625" y="809625"/>
                </a:lnTo>
                <a:lnTo>
                  <a:pt x="1676400" y="844550"/>
                </a:lnTo>
                <a:lnTo>
                  <a:pt x="1660525" y="873125"/>
                </a:lnTo>
                <a:lnTo>
                  <a:pt x="1651000" y="898525"/>
                </a:lnTo>
                <a:lnTo>
                  <a:pt x="1644650" y="917575"/>
                </a:lnTo>
                <a:lnTo>
                  <a:pt x="1641475" y="936625"/>
                </a:lnTo>
                <a:lnTo>
                  <a:pt x="1641475" y="949325"/>
                </a:lnTo>
                <a:lnTo>
                  <a:pt x="1641475" y="958850"/>
                </a:lnTo>
                <a:lnTo>
                  <a:pt x="1644650" y="974725"/>
                </a:lnTo>
                <a:lnTo>
                  <a:pt x="1647825" y="990600"/>
                </a:lnTo>
                <a:lnTo>
                  <a:pt x="1654175" y="1003300"/>
                </a:lnTo>
                <a:lnTo>
                  <a:pt x="1663700" y="1012825"/>
                </a:lnTo>
                <a:lnTo>
                  <a:pt x="1673225" y="1022350"/>
                </a:lnTo>
                <a:lnTo>
                  <a:pt x="1682750" y="1031875"/>
                </a:lnTo>
                <a:lnTo>
                  <a:pt x="1704975" y="1041400"/>
                </a:lnTo>
                <a:lnTo>
                  <a:pt x="1724025" y="1047750"/>
                </a:lnTo>
                <a:lnTo>
                  <a:pt x="1743075" y="1047750"/>
                </a:lnTo>
                <a:lnTo>
                  <a:pt x="1762125" y="1047750"/>
                </a:lnTo>
                <a:lnTo>
                  <a:pt x="1800225" y="1050925"/>
                </a:lnTo>
                <a:lnTo>
                  <a:pt x="1835150" y="1057275"/>
                </a:lnTo>
                <a:lnTo>
                  <a:pt x="1860550" y="1066800"/>
                </a:lnTo>
                <a:lnTo>
                  <a:pt x="1882775" y="1076325"/>
                </a:lnTo>
                <a:lnTo>
                  <a:pt x="1898650" y="1089025"/>
                </a:lnTo>
                <a:lnTo>
                  <a:pt x="1911350" y="1098550"/>
                </a:lnTo>
                <a:lnTo>
                  <a:pt x="1920875" y="1111250"/>
                </a:lnTo>
                <a:lnTo>
                  <a:pt x="1927225" y="1120775"/>
                </a:lnTo>
                <a:lnTo>
                  <a:pt x="1933575" y="1133475"/>
                </a:lnTo>
                <a:lnTo>
                  <a:pt x="1936750" y="1143000"/>
                </a:lnTo>
                <a:lnTo>
                  <a:pt x="1936750" y="1152525"/>
                </a:lnTo>
                <a:lnTo>
                  <a:pt x="1933575" y="1162050"/>
                </a:lnTo>
                <a:lnTo>
                  <a:pt x="1927225" y="1171575"/>
                </a:lnTo>
                <a:lnTo>
                  <a:pt x="1914525" y="1187450"/>
                </a:lnTo>
                <a:lnTo>
                  <a:pt x="1898650" y="1200150"/>
                </a:lnTo>
                <a:lnTo>
                  <a:pt x="1882775" y="1209675"/>
                </a:lnTo>
                <a:lnTo>
                  <a:pt x="1866900" y="1216025"/>
                </a:lnTo>
                <a:lnTo>
                  <a:pt x="1847850" y="1222375"/>
                </a:lnTo>
                <a:lnTo>
                  <a:pt x="1835150" y="1228725"/>
                </a:lnTo>
                <a:lnTo>
                  <a:pt x="1809750" y="1247775"/>
                </a:lnTo>
                <a:lnTo>
                  <a:pt x="1793875" y="1266825"/>
                </a:lnTo>
                <a:lnTo>
                  <a:pt x="1781175" y="1289050"/>
                </a:lnTo>
                <a:lnTo>
                  <a:pt x="1771650" y="1308100"/>
                </a:lnTo>
                <a:lnTo>
                  <a:pt x="1768475" y="1323975"/>
                </a:lnTo>
                <a:lnTo>
                  <a:pt x="1768475" y="1336675"/>
                </a:lnTo>
                <a:lnTo>
                  <a:pt x="1765300" y="1362075"/>
                </a:lnTo>
                <a:lnTo>
                  <a:pt x="1758950" y="1381125"/>
                </a:lnTo>
                <a:lnTo>
                  <a:pt x="1752600" y="1400175"/>
                </a:lnTo>
                <a:lnTo>
                  <a:pt x="1743075" y="1416050"/>
                </a:lnTo>
                <a:lnTo>
                  <a:pt x="1724025" y="1441450"/>
                </a:lnTo>
                <a:lnTo>
                  <a:pt x="1704975" y="1463675"/>
                </a:lnTo>
                <a:lnTo>
                  <a:pt x="1682750" y="1476375"/>
                </a:lnTo>
                <a:lnTo>
                  <a:pt x="1663700" y="1485900"/>
                </a:lnTo>
                <a:lnTo>
                  <a:pt x="1647825" y="1489075"/>
                </a:lnTo>
                <a:lnTo>
                  <a:pt x="1625600" y="1498600"/>
                </a:lnTo>
                <a:lnTo>
                  <a:pt x="1606550" y="1504950"/>
                </a:lnTo>
                <a:lnTo>
                  <a:pt x="1593850" y="1514475"/>
                </a:lnTo>
                <a:lnTo>
                  <a:pt x="1581150" y="1524000"/>
                </a:lnTo>
                <a:lnTo>
                  <a:pt x="1571625" y="1533525"/>
                </a:lnTo>
                <a:lnTo>
                  <a:pt x="1565275" y="1543050"/>
                </a:lnTo>
                <a:lnTo>
                  <a:pt x="1555750" y="1565275"/>
                </a:lnTo>
                <a:lnTo>
                  <a:pt x="1555750" y="1581150"/>
                </a:lnTo>
                <a:lnTo>
                  <a:pt x="1555750" y="1597025"/>
                </a:lnTo>
                <a:lnTo>
                  <a:pt x="1562100" y="1612900"/>
                </a:lnTo>
                <a:lnTo>
                  <a:pt x="1568450" y="1628775"/>
                </a:lnTo>
                <a:lnTo>
                  <a:pt x="1571625" y="1644650"/>
                </a:lnTo>
                <a:lnTo>
                  <a:pt x="1571625" y="1660525"/>
                </a:lnTo>
                <a:lnTo>
                  <a:pt x="1565275" y="1673225"/>
                </a:lnTo>
                <a:lnTo>
                  <a:pt x="1555750" y="1692275"/>
                </a:lnTo>
                <a:lnTo>
                  <a:pt x="1549400" y="1701800"/>
                </a:lnTo>
                <a:lnTo>
                  <a:pt x="1524000" y="1717675"/>
                </a:lnTo>
                <a:lnTo>
                  <a:pt x="1495425" y="1724025"/>
                </a:lnTo>
                <a:lnTo>
                  <a:pt x="1473200" y="1727200"/>
                </a:lnTo>
                <a:lnTo>
                  <a:pt x="1450975" y="1727200"/>
                </a:lnTo>
                <a:lnTo>
                  <a:pt x="1435100" y="1724025"/>
                </a:lnTo>
                <a:lnTo>
                  <a:pt x="1422400" y="1720850"/>
                </a:lnTo>
                <a:lnTo>
                  <a:pt x="1409700" y="1714500"/>
                </a:lnTo>
                <a:lnTo>
                  <a:pt x="1374775" y="1698625"/>
                </a:lnTo>
                <a:lnTo>
                  <a:pt x="1339850" y="1689100"/>
                </a:lnTo>
                <a:lnTo>
                  <a:pt x="1311275" y="1679575"/>
                </a:lnTo>
                <a:lnTo>
                  <a:pt x="1282700" y="1676400"/>
                </a:lnTo>
                <a:lnTo>
                  <a:pt x="1254125" y="1676400"/>
                </a:lnTo>
                <a:lnTo>
                  <a:pt x="1228725" y="1679575"/>
                </a:lnTo>
                <a:lnTo>
                  <a:pt x="1206500" y="1682750"/>
                </a:lnTo>
                <a:lnTo>
                  <a:pt x="1187450" y="1689100"/>
                </a:lnTo>
                <a:lnTo>
                  <a:pt x="1155700" y="1704975"/>
                </a:lnTo>
                <a:lnTo>
                  <a:pt x="1130300" y="1720850"/>
                </a:lnTo>
                <a:lnTo>
                  <a:pt x="1111250" y="1736725"/>
                </a:lnTo>
                <a:lnTo>
                  <a:pt x="1079500" y="1768475"/>
                </a:lnTo>
                <a:lnTo>
                  <a:pt x="1047750" y="1790700"/>
                </a:lnTo>
                <a:lnTo>
                  <a:pt x="1019175" y="1806575"/>
                </a:lnTo>
                <a:lnTo>
                  <a:pt x="993775" y="1816100"/>
                </a:lnTo>
                <a:lnTo>
                  <a:pt x="971550" y="1819275"/>
                </a:lnTo>
                <a:lnTo>
                  <a:pt x="952500" y="1819275"/>
                </a:lnTo>
                <a:lnTo>
                  <a:pt x="939800" y="1819275"/>
                </a:lnTo>
                <a:lnTo>
                  <a:pt x="908050" y="1812925"/>
                </a:lnTo>
                <a:lnTo>
                  <a:pt x="882650" y="1803400"/>
                </a:lnTo>
                <a:lnTo>
                  <a:pt x="863600" y="1787525"/>
                </a:lnTo>
                <a:lnTo>
                  <a:pt x="850900" y="1774825"/>
                </a:lnTo>
                <a:lnTo>
                  <a:pt x="841375" y="1758950"/>
                </a:lnTo>
                <a:lnTo>
                  <a:pt x="835025" y="1746250"/>
                </a:lnTo>
                <a:lnTo>
                  <a:pt x="831850" y="1736725"/>
                </a:lnTo>
                <a:lnTo>
                  <a:pt x="825500" y="1708150"/>
                </a:lnTo>
                <a:lnTo>
                  <a:pt x="812800" y="1685925"/>
                </a:lnTo>
                <a:lnTo>
                  <a:pt x="800100" y="1670050"/>
                </a:lnTo>
                <a:lnTo>
                  <a:pt x="784225" y="1660525"/>
                </a:lnTo>
                <a:lnTo>
                  <a:pt x="768350" y="1654175"/>
                </a:lnTo>
                <a:lnTo>
                  <a:pt x="755650" y="1651000"/>
                </a:lnTo>
                <a:lnTo>
                  <a:pt x="742950" y="1651000"/>
                </a:lnTo>
                <a:lnTo>
                  <a:pt x="717550" y="1651000"/>
                </a:lnTo>
                <a:lnTo>
                  <a:pt x="698500" y="1644650"/>
                </a:lnTo>
                <a:lnTo>
                  <a:pt x="679450" y="1635125"/>
                </a:lnTo>
                <a:lnTo>
                  <a:pt x="663575" y="1625600"/>
                </a:lnTo>
                <a:lnTo>
                  <a:pt x="654050" y="1612900"/>
                </a:lnTo>
                <a:lnTo>
                  <a:pt x="644525" y="1603375"/>
                </a:lnTo>
                <a:lnTo>
                  <a:pt x="638175" y="1593850"/>
                </a:lnTo>
                <a:lnTo>
                  <a:pt x="628650" y="1577975"/>
                </a:lnTo>
                <a:lnTo>
                  <a:pt x="615950" y="1568450"/>
                </a:lnTo>
                <a:lnTo>
                  <a:pt x="600075" y="1558925"/>
                </a:lnTo>
                <a:lnTo>
                  <a:pt x="587375" y="1552575"/>
                </a:lnTo>
                <a:lnTo>
                  <a:pt x="571500" y="1549400"/>
                </a:lnTo>
                <a:lnTo>
                  <a:pt x="555625" y="1546225"/>
                </a:lnTo>
                <a:lnTo>
                  <a:pt x="523875" y="1546225"/>
                </a:lnTo>
                <a:lnTo>
                  <a:pt x="495300" y="1552575"/>
                </a:lnTo>
                <a:lnTo>
                  <a:pt x="469900" y="1558925"/>
                </a:lnTo>
                <a:lnTo>
                  <a:pt x="447675" y="1568450"/>
                </a:lnTo>
                <a:lnTo>
                  <a:pt x="406400" y="1581150"/>
                </a:lnTo>
                <a:lnTo>
                  <a:pt x="368300" y="1587500"/>
                </a:lnTo>
                <a:lnTo>
                  <a:pt x="333375" y="1590675"/>
                </a:lnTo>
                <a:lnTo>
                  <a:pt x="304800" y="1593850"/>
                </a:lnTo>
                <a:lnTo>
                  <a:pt x="279400" y="1593850"/>
                </a:lnTo>
                <a:lnTo>
                  <a:pt x="254000" y="1590675"/>
                </a:lnTo>
                <a:lnTo>
                  <a:pt x="234950" y="1584325"/>
                </a:lnTo>
                <a:lnTo>
                  <a:pt x="219075" y="1581150"/>
                </a:lnTo>
                <a:lnTo>
                  <a:pt x="193675" y="1565275"/>
                </a:lnTo>
                <a:lnTo>
                  <a:pt x="180975" y="1552575"/>
                </a:lnTo>
                <a:lnTo>
                  <a:pt x="171450" y="1543050"/>
                </a:lnTo>
                <a:lnTo>
                  <a:pt x="168275" y="1536700"/>
                </a:lnTo>
                <a:lnTo>
                  <a:pt x="161925" y="1517650"/>
                </a:lnTo>
                <a:lnTo>
                  <a:pt x="155575" y="1495425"/>
                </a:lnTo>
                <a:lnTo>
                  <a:pt x="152400" y="1476375"/>
                </a:lnTo>
                <a:lnTo>
                  <a:pt x="152400" y="1457325"/>
                </a:lnTo>
                <a:lnTo>
                  <a:pt x="155575" y="1422400"/>
                </a:lnTo>
                <a:lnTo>
                  <a:pt x="165100" y="1390650"/>
                </a:lnTo>
                <a:lnTo>
                  <a:pt x="180975" y="1358900"/>
                </a:lnTo>
                <a:lnTo>
                  <a:pt x="200025" y="1333500"/>
                </a:lnTo>
                <a:lnTo>
                  <a:pt x="225425" y="1308100"/>
                </a:lnTo>
                <a:lnTo>
                  <a:pt x="250825" y="1289050"/>
                </a:lnTo>
                <a:lnTo>
                  <a:pt x="276225" y="1270000"/>
                </a:lnTo>
                <a:lnTo>
                  <a:pt x="304800" y="1254125"/>
                </a:lnTo>
                <a:lnTo>
                  <a:pt x="352425" y="1228725"/>
                </a:lnTo>
                <a:lnTo>
                  <a:pt x="387350" y="1212850"/>
                </a:lnTo>
                <a:lnTo>
                  <a:pt x="403225" y="1209675"/>
                </a:lnTo>
                <a:lnTo>
                  <a:pt x="441325" y="1193800"/>
                </a:lnTo>
                <a:lnTo>
                  <a:pt x="473075" y="1177925"/>
                </a:lnTo>
                <a:lnTo>
                  <a:pt x="495300" y="1158875"/>
                </a:lnTo>
                <a:lnTo>
                  <a:pt x="511175" y="1143000"/>
                </a:lnTo>
                <a:lnTo>
                  <a:pt x="523875" y="1123950"/>
                </a:lnTo>
                <a:lnTo>
                  <a:pt x="530225" y="1111250"/>
                </a:lnTo>
                <a:lnTo>
                  <a:pt x="533400" y="1101725"/>
                </a:lnTo>
                <a:lnTo>
                  <a:pt x="533400" y="1076325"/>
                </a:lnTo>
                <a:lnTo>
                  <a:pt x="527050" y="1060450"/>
                </a:lnTo>
                <a:lnTo>
                  <a:pt x="517525" y="1044575"/>
                </a:lnTo>
                <a:lnTo>
                  <a:pt x="508000" y="1035050"/>
                </a:lnTo>
                <a:lnTo>
                  <a:pt x="498475" y="1028700"/>
                </a:lnTo>
                <a:lnTo>
                  <a:pt x="492125" y="1022350"/>
                </a:lnTo>
                <a:lnTo>
                  <a:pt x="482600" y="1019175"/>
                </a:lnTo>
                <a:lnTo>
                  <a:pt x="454025" y="1012825"/>
                </a:lnTo>
                <a:lnTo>
                  <a:pt x="428625" y="1003300"/>
                </a:lnTo>
                <a:lnTo>
                  <a:pt x="406400" y="993775"/>
                </a:lnTo>
                <a:lnTo>
                  <a:pt x="387350" y="984250"/>
                </a:lnTo>
                <a:lnTo>
                  <a:pt x="358775" y="962025"/>
                </a:lnTo>
                <a:lnTo>
                  <a:pt x="339725" y="939800"/>
                </a:lnTo>
                <a:lnTo>
                  <a:pt x="327025" y="920750"/>
                </a:lnTo>
                <a:lnTo>
                  <a:pt x="320675" y="908050"/>
                </a:lnTo>
                <a:lnTo>
                  <a:pt x="320675" y="892175"/>
                </a:lnTo>
                <a:lnTo>
                  <a:pt x="323850" y="876300"/>
                </a:lnTo>
                <a:lnTo>
                  <a:pt x="333375" y="860425"/>
                </a:lnTo>
                <a:lnTo>
                  <a:pt x="342900" y="847725"/>
                </a:lnTo>
                <a:lnTo>
                  <a:pt x="358775" y="835025"/>
                </a:lnTo>
                <a:lnTo>
                  <a:pt x="377825" y="825500"/>
                </a:lnTo>
                <a:lnTo>
                  <a:pt x="396875" y="819150"/>
                </a:lnTo>
                <a:lnTo>
                  <a:pt x="438150" y="809625"/>
                </a:lnTo>
                <a:lnTo>
                  <a:pt x="482600" y="803275"/>
                </a:lnTo>
                <a:lnTo>
                  <a:pt x="517525" y="800100"/>
                </a:lnTo>
                <a:lnTo>
                  <a:pt x="555625" y="800100"/>
                </a:lnTo>
                <a:lnTo>
                  <a:pt x="581025" y="800100"/>
                </a:lnTo>
                <a:lnTo>
                  <a:pt x="606425" y="796925"/>
                </a:lnTo>
                <a:lnTo>
                  <a:pt x="650875" y="787400"/>
                </a:lnTo>
                <a:lnTo>
                  <a:pt x="682625" y="774700"/>
                </a:lnTo>
                <a:lnTo>
                  <a:pt x="704850" y="758825"/>
                </a:lnTo>
                <a:lnTo>
                  <a:pt x="720725" y="742950"/>
                </a:lnTo>
                <a:lnTo>
                  <a:pt x="730250" y="730250"/>
                </a:lnTo>
                <a:lnTo>
                  <a:pt x="736600" y="717550"/>
                </a:lnTo>
                <a:lnTo>
                  <a:pt x="742950" y="688975"/>
                </a:lnTo>
                <a:lnTo>
                  <a:pt x="742950" y="666750"/>
                </a:lnTo>
                <a:lnTo>
                  <a:pt x="739775" y="647700"/>
                </a:lnTo>
                <a:lnTo>
                  <a:pt x="733425" y="631825"/>
                </a:lnTo>
                <a:lnTo>
                  <a:pt x="727075" y="619125"/>
                </a:lnTo>
                <a:lnTo>
                  <a:pt x="717550" y="609600"/>
                </a:lnTo>
                <a:lnTo>
                  <a:pt x="711200" y="603250"/>
                </a:lnTo>
                <a:lnTo>
                  <a:pt x="685800" y="574675"/>
                </a:lnTo>
                <a:lnTo>
                  <a:pt x="666750" y="549275"/>
                </a:lnTo>
                <a:lnTo>
                  <a:pt x="657225" y="527050"/>
                </a:lnTo>
                <a:lnTo>
                  <a:pt x="654050" y="504825"/>
                </a:lnTo>
                <a:lnTo>
                  <a:pt x="650875" y="485775"/>
                </a:lnTo>
                <a:lnTo>
                  <a:pt x="654050" y="469900"/>
                </a:lnTo>
                <a:lnTo>
                  <a:pt x="657225" y="457200"/>
                </a:lnTo>
                <a:lnTo>
                  <a:pt x="663575" y="441325"/>
                </a:lnTo>
                <a:lnTo>
                  <a:pt x="673100" y="428625"/>
                </a:lnTo>
                <a:lnTo>
                  <a:pt x="682625" y="419100"/>
                </a:lnTo>
                <a:lnTo>
                  <a:pt x="692150" y="409575"/>
                </a:lnTo>
                <a:lnTo>
                  <a:pt x="704850" y="406400"/>
                </a:lnTo>
                <a:lnTo>
                  <a:pt x="717550" y="403225"/>
                </a:lnTo>
                <a:lnTo>
                  <a:pt x="746125" y="400050"/>
                </a:lnTo>
                <a:lnTo>
                  <a:pt x="768350" y="403225"/>
                </a:lnTo>
                <a:lnTo>
                  <a:pt x="790575" y="409575"/>
                </a:lnTo>
                <a:lnTo>
                  <a:pt x="809625" y="415925"/>
                </a:lnTo>
                <a:lnTo>
                  <a:pt x="828675" y="419100"/>
                </a:lnTo>
                <a:lnTo>
                  <a:pt x="847725" y="422275"/>
                </a:lnTo>
                <a:lnTo>
                  <a:pt x="866775" y="419100"/>
                </a:lnTo>
                <a:lnTo>
                  <a:pt x="882650" y="412750"/>
                </a:lnTo>
                <a:lnTo>
                  <a:pt x="898525" y="406400"/>
                </a:lnTo>
                <a:lnTo>
                  <a:pt x="914400" y="400050"/>
                </a:lnTo>
                <a:lnTo>
                  <a:pt x="939800" y="377825"/>
                </a:lnTo>
                <a:lnTo>
                  <a:pt x="958850" y="355600"/>
                </a:lnTo>
                <a:lnTo>
                  <a:pt x="974725" y="336550"/>
                </a:lnTo>
                <a:lnTo>
                  <a:pt x="987425" y="317500"/>
                </a:lnTo>
                <a:lnTo>
                  <a:pt x="1019175" y="254000"/>
                </a:lnTo>
                <a:lnTo>
                  <a:pt x="1054100" y="203200"/>
                </a:lnTo>
                <a:lnTo>
                  <a:pt x="1085850" y="165100"/>
                </a:lnTo>
                <a:lnTo>
                  <a:pt x="1120775" y="136525"/>
                </a:lnTo>
                <a:lnTo>
                  <a:pt x="1152525" y="117475"/>
                </a:lnTo>
                <a:lnTo>
                  <a:pt x="1184275" y="104775"/>
                </a:lnTo>
                <a:close/>
                <a:moveTo>
                  <a:pt x="958850" y="0"/>
                </a:moveTo>
                <a:lnTo>
                  <a:pt x="981075" y="3175"/>
                </a:lnTo>
                <a:lnTo>
                  <a:pt x="1000125" y="12700"/>
                </a:lnTo>
                <a:lnTo>
                  <a:pt x="1012825" y="25400"/>
                </a:lnTo>
                <a:lnTo>
                  <a:pt x="1022350" y="44450"/>
                </a:lnTo>
                <a:lnTo>
                  <a:pt x="1028700" y="63500"/>
                </a:lnTo>
                <a:lnTo>
                  <a:pt x="1028700" y="88900"/>
                </a:lnTo>
                <a:lnTo>
                  <a:pt x="1025525" y="114300"/>
                </a:lnTo>
                <a:lnTo>
                  <a:pt x="1016000" y="142875"/>
                </a:lnTo>
                <a:lnTo>
                  <a:pt x="1003300" y="171450"/>
                </a:lnTo>
                <a:lnTo>
                  <a:pt x="984250" y="196850"/>
                </a:lnTo>
                <a:lnTo>
                  <a:pt x="965200" y="222250"/>
                </a:lnTo>
                <a:lnTo>
                  <a:pt x="939800" y="244475"/>
                </a:lnTo>
                <a:lnTo>
                  <a:pt x="917575" y="263525"/>
                </a:lnTo>
                <a:lnTo>
                  <a:pt x="892175" y="276225"/>
                </a:lnTo>
                <a:lnTo>
                  <a:pt x="866775" y="282575"/>
                </a:lnTo>
                <a:lnTo>
                  <a:pt x="844550" y="285750"/>
                </a:lnTo>
                <a:lnTo>
                  <a:pt x="822325" y="282575"/>
                </a:lnTo>
                <a:lnTo>
                  <a:pt x="806450" y="273050"/>
                </a:lnTo>
                <a:lnTo>
                  <a:pt x="790575" y="260350"/>
                </a:lnTo>
                <a:lnTo>
                  <a:pt x="781050" y="241300"/>
                </a:lnTo>
                <a:lnTo>
                  <a:pt x="774700" y="222250"/>
                </a:lnTo>
                <a:lnTo>
                  <a:pt x="774700" y="196850"/>
                </a:lnTo>
                <a:lnTo>
                  <a:pt x="777875" y="171450"/>
                </a:lnTo>
                <a:lnTo>
                  <a:pt x="787400" y="142875"/>
                </a:lnTo>
                <a:lnTo>
                  <a:pt x="800100" y="114300"/>
                </a:lnTo>
                <a:lnTo>
                  <a:pt x="819150" y="88900"/>
                </a:lnTo>
                <a:lnTo>
                  <a:pt x="841375" y="63500"/>
                </a:lnTo>
                <a:lnTo>
                  <a:pt x="863600" y="41275"/>
                </a:lnTo>
                <a:lnTo>
                  <a:pt x="889000" y="22225"/>
                </a:lnTo>
                <a:lnTo>
                  <a:pt x="911225" y="9525"/>
                </a:lnTo>
                <a:lnTo>
                  <a:pt x="936625" y="317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5" name="Content Placeholder 2"/>
          <p:cNvSpPr txBox="1">
            <a:spLocks/>
          </p:cNvSpPr>
          <p:nvPr/>
        </p:nvSpPr>
        <p:spPr>
          <a:xfrm>
            <a:off x="2610814" y="5667903"/>
            <a:ext cx="626741" cy="341075"/>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lang="en-US" sz="1050" b="1" dirty="0">
                <a:solidFill>
                  <a:schemeClr val="tx1">
                    <a:lumMod val="85000"/>
                    <a:lumOff val="15000"/>
                  </a:schemeClr>
                </a:solidFill>
                <a:ea typeface="Open Sans Light" panose="020B0306030504020204" pitchFamily="34" charset="0"/>
                <a:cs typeface="Open Sans Light" panose="020B0306030504020204" pitchFamily="34" charset="0"/>
              </a:rPr>
              <a:t>1524K</a:t>
            </a:r>
            <a:endParaRPr lang="id-ID" sz="1050" b="1" dirty="0">
              <a:solidFill>
                <a:schemeClr val="tx1">
                  <a:lumMod val="85000"/>
                  <a:lumOff val="15000"/>
                </a:schemeClr>
              </a:solidFill>
              <a:ea typeface="Open Sans Light" panose="020B0306030504020204" pitchFamily="34" charset="0"/>
              <a:cs typeface="Open Sans Light" panose="020B0306030504020204" pitchFamily="34" charset="0"/>
            </a:endParaRPr>
          </a:p>
        </p:txBody>
      </p:sp>
      <p:sp>
        <p:nvSpPr>
          <p:cNvPr id="36" name="Freeform 35"/>
          <p:cNvSpPr>
            <a:spLocks/>
          </p:cNvSpPr>
          <p:nvPr/>
        </p:nvSpPr>
        <p:spPr bwMode="auto">
          <a:xfrm>
            <a:off x="5354119" y="5333429"/>
            <a:ext cx="874594" cy="991778"/>
          </a:xfrm>
          <a:custGeom>
            <a:avLst/>
            <a:gdLst>
              <a:gd name="connsiteX0" fmla="*/ 1273175 w 1943100"/>
              <a:gd name="connsiteY0" fmla="*/ 1971675 h 2203450"/>
              <a:gd name="connsiteX1" fmla="*/ 1298575 w 1943100"/>
              <a:gd name="connsiteY1" fmla="*/ 1974850 h 2203450"/>
              <a:gd name="connsiteX2" fmla="*/ 1323975 w 1943100"/>
              <a:gd name="connsiteY2" fmla="*/ 1981200 h 2203450"/>
              <a:gd name="connsiteX3" fmla="*/ 1346200 w 1943100"/>
              <a:gd name="connsiteY3" fmla="*/ 1990725 h 2203450"/>
              <a:gd name="connsiteX4" fmla="*/ 1365250 w 1943100"/>
              <a:gd name="connsiteY4" fmla="*/ 2006600 h 2203450"/>
              <a:gd name="connsiteX5" fmla="*/ 1381125 w 1943100"/>
              <a:gd name="connsiteY5" fmla="*/ 2022475 h 2203450"/>
              <a:gd name="connsiteX6" fmla="*/ 1393825 w 1943100"/>
              <a:gd name="connsiteY6" fmla="*/ 2041525 h 2203450"/>
              <a:gd name="connsiteX7" fmla="*/ 1400175 w 1943100"/>
              <a:gd name="connsiteY7" fmla="*/ 2063750 h 2203450"/>
              <a:gd name="connsiteX8" fmla="*/ 1403350 w 1943100"/>
              <a:gd name="connsiteY8" fmla="*/ 2089150 h 2203450"/>
              <a:gd name="connsiteX9" fmla="*/ 1400175 w 1943100"/>
              <a:gd name="connsiteY9" fmla="*/ 2111375 h 2203450"/>
              <a:gd name="connsiteX10" fmla="*/ 1393825 w 1943100"/>
              <a:gd name="connsiteY10" fmla="*/ 2133600 h 2203450"/>
              <a:gd name="connsiteX11" fmla="*/ 1381125 w 1943100"/>
              <a:gd name="connsiteY11" fmla="*/ 2152650 h 2203450"/>
              <a:gd name="connsiteX12" fmla="*/ 1365250 w 1943100"/>
              <a:gd name="connsiteY12" fmla="*/ 2168525 h 2203450"/>
              <a:gd name="connsiteX13" fmla="*/ 1346200 w 1943100"/>
              <a:gd name="connsiteY13" fmla="*/ 2184400 h 2203450"/>
              <a:gd name="connsiteX14" fmla="*/ 1323975 w 1943100"/>
              <a:gd name="connsiteY14" fmla="*/ 2193925 h 2203450"/>
              <a:gd name="connsiteX15" fmla="*/ 1298575 w 1943100"/>
              <a:gd name="connsiteY15" fmla="*/ 2200275 h 2203450"/>
              <a:gd name="connsiteX16" fmla="*/ 1273175 w 1943100"/>
              <a:gd name="connsiteY16" fmla="*/ 2203450 h 2203450"/>
              <a:gd name="connsiteX17" fmla="*/ 1244600 w 1943100"/>
              <a:gd name="connsiteY17" fmla="*/ 2200275 h 2203450"/>
              <a:gd name="connsiteX18" fmla="*/ 1222375 w 1943100"/>
              <a:gd name="connsiteY18" fmla="*/ 2193925 h 2203450"/>
              <a:gd name="connsiteX19" fmla="*/ 1200150 w 1943100"/>
              <a:gd name="connsiteY19" fmla="*/ 2184400 h 2203450"/>
              <a:gd name="connsiteX20" fmla="*/ 1177925 w 1943100"/>
              <a:gd name="connsiteY20" fmla="*/ 2168525 h 2203450"/>
              <a:gd name="connsiteX21" fmla="*/ 1162050 w 1943100"/>
              <a:gd name="connsiteY21" fmla="*/ 2152650 h 2203450"/>
              <a:gd name="connsiteX22" fmla="*/ 1152525 w 1943100"/>
              <a:gd name="connsiteY22" fmla="*/ 2133600 h 2203450"/>
              <a:gd name="connsiteX23" fmla="*/ 1143000 w 1943100"/>
              <a:gd name="connsiteY23" fmla="*/ 2111375 h 2203450"/>
              <a:gd name="connsiteX24" fmla="*/ 1139825 w 1943100"/>
              <a:gd name="connsiteY24" fmla="*/ 2089150 h 2203450"/>
              <a:gd name="connsiteX25" fmla="*/ 1143000 w 1943100"/>
              <a:gd name="connsiteY25" fmla="*/ 2063750 h 2203450"/>
              <a:gd name="connsiteX26" fmla="*/ 1152525 w 1943100"/>
              <a:gd name="connsiteY26" fmla="*/ 2041525 h 2203450"/>
              <a:gd name="connsiteX27" fmla="*/ 1162050 w 1943100"/>
              <a:gd name="connsiteY27" fmla="*/ 2022475 h 2203450"/>
              <a:gd name="connsiteX28" fmla="*/ 1177925 w 1943100"/>
              <a:gd name="connsiteY28" fmla="*/ 2006600 h 2203450"/>
              <a:gd name="connsiteX29" fmla="*/ 1200150 w 1943100"/>
              <a:gd name="connsiteY29" fmla="*/ 1990725 h 2203450"/>
              <a:gd name="connsiteX30" fmla="*/ 1222375 w 1943100"/>
              <a:gd name="connsiteY30" fmla="*/ 1981200 h 2203450"/>
              <a:gd name="connsiteX31" fmla="*/ 1244600 w 1943100"/>
              <a:gd name="connsiteY31" fmla="*/ 1974850 h 2203450"/>
              <a:gd name="connsiteX32" fmla="*/ 1498600 w 1943100"/>
              <a:gd name="connsiteY32" fmla="*/ 1819275 h 2203450"/>
              <a:gd name="connsiteX33" fmla="*/ 1530350 w 1943100"/>
              <a:gd name="connsiteY33" fmla="*/ 1822450 h 2203450"/>
              <a:gd name="connsiteX34" fmla="*/ 1562100 w 1943100"/>
              <a:gd name="connsiteY34" fmla="*/ 1825625 h 2203450"/>
              <a:gd name="connsiteX35" fmla="*/ 1587500 w 1943100"/>
              <a:gd name="connsiteY35" fmla="*/ 1831975 h 2203450"/>
              <a:gd name="connsiteX36" fmla="*/ 1612900 w 1943100"/>
              <a:gd name="connsiteY36" fmla="*/ 1841500 h 2203450"/>
              <a:gd name="connsiteX37" fmla="*/ 1631950 w 1943100"/>
              <a:gd name="connsiteY37" fmla="*/ 1854200 h 2203450"/>
              <a:gd name="connsiteX38" fmla="*/ 1647825 w 1943100"/>
              <a:gd name="connsiteY38" fmla="*/ 1866900 h 2203450"/>
              <a:gd name="connsiteX39" fmla="*/ 1657350 w 1943100"/>
              <a:gd name="connsiteY39" fmla="*/ 1879600 h 2203450"/>
              <a:gd name="connsiteX40" fmla="*/ 1660525 w 1943100"/>
              <a:gd name="connsiteY40" fmla="*/ 1895475 h 2203450"/>
              <a:gd name="connsiteX41" fmla="*/ 1657350 w 1943100"/>
              <a:gd name="connsiteY41" fmla="*/ 1911350 h 2203450"/>
              <a:gd name="connsiteX42" fmla="*/ 1647825 w 1943100"/>
              <a:gd name="connsiteY42" fmla="*/ 1924050 h 2203450"/>
              <a:gd name="connsiteX43" fmla="*/ 1631950 w 1943100"/>
              <a:gd name="connsiteY43" fmla="*/ 1939925 h 2203450"/>
              <a:gd name="connsiteX44" fmla="*/ 1612900 w 1943100"/>
              <a:gd name="connsiteY44" fmla="*/ 1949450 h 2203450"/>
              <a:gd name="connsiteX45" fmla="*/ 1587500 w 1943100"/>
              <a:gd name="connsiteY45" fmla="*/ 1958975 h 2203450"/>
              <a:gd name="connsiteX46" fmla="*/ 1562100 w 1943100"/>
              <a:gd name="connsiteY46" fmla="*/ 1965325 h 2203450"/>
              <a:gd name="connsiteX47" fmla="*/ 1530350 w 1943100"/>
              <a:gd name="connsiteY47" fmla="*/ 1971675 h 2203450"/>
              <a:gd name="connsiteX48" fmla="*/ 1498600 w 1943100"/>
              <a:gd name="connsiteY48" fmla="*/ 1971675 h 2203450"/>
              <a:gd name="connsiteX49" fmla="*/ 1466850 w 1943100"/>
              <a:gd name="connsiteY49" fmla="*/ 1971675 h 2203450"/>
              <a:gd name="connsiteX50" fmla="*/ 1435100 w 1943100"/>
              <a:gd name="connsiteY50" fmla="*/ 1965325 h 2203450"/>
              <a:gd name="connsiteX51" fmla="*/ 1409700 w 1943100"/>
              <a:gd name="connsiteY51" fmla="*/ 1958975 h 2203450"/>
              <a:gd name="connsiteX52" fmla="*/ 1384300 w 1943100"/>
              <a:gd name="connsiteY52" fmla="*/ 1949450 h 2203450"/>
              <a:gd name="connsiteX53" fmla="*/ 1365250 w 1943100"/>
              <a:gd name="connsiteY53" fmla="*/ 1939925 h 2203450"/>
              <a:gd name="connsiteX54" fmla="*/ 1349375 w 1943100"/>
              <a:gd name="connsiteY54" fmla="*/ 1924050 h 2203450"/>
              <a:gd name="connsiteX55" fmla="*/ 1339850 w 1943100"/>
              <a:gd name="connsiteY55" fmla="*/ 1911350 h 2203450"/>
              <a:gd name="connsiteX56" fmla="*/ 1336675 w 1943100"/>
              <a:gd name="connsiteY56" fmla="*/ 1895475 h 2203450"/>
              <a:gd name="connsiteX57" fmla="*/ 1339850 w 1943100"/>
              <a:gd name="connsiteY57" fmla="*/ 1879600 h 2203450"/>
              <a:gd name="connsiteX58" fmla="*/ 1349375 w 1943100"/>
              <a:gd name="connsiteY58" fmla="*/ 1866900 h 2203450"/>
              <a:gd name="connsiteX59" fmla="*/ 1365250 w 1943100"/>
              <a:gd name="connsiteY59" fmla="*/ 1854200 h 2203450"/>
              <a:gd name="connsiteX60" fmla="*/ 1384300 w 1943100"/>
              <a:gd name="connsiteY60" fmla="*/ 1841500 h 2203450"/>
              <a:gd name="connsiteX61" fmla="*/ 1409700 w 1943100"/>
              <a:gd name="connsiteY61" fmla="*/ 1831975 h 2203450"/>
              <a:gd name="connsiteX62" fmla="*/ 1435100 w 1943100"/>
              <a:gd name="connsiteY62" fmla="*/ 1825625 h 2203450"/>
              <a:gd name="connsiteX63" fmla="*/ 1466850 w 1943100"/>
              <a:gd name="connsiteY63" fmla="*/ 1822450 h 2203450"/>
              <a:gd name="connsiteX64" fmla="*/ 752475 w 1943100"/>
              <a:gd name="connsiteY64" fmla="*/ 1781175 h 2203450"/>
              <a:gd name="connsiteX65" fmla="*/ 762000 w 1943100"/>
              <a:gd name="connsiteY65" fmla="*/ 1784350 h 2203450"/>
              <a:gd name="connsiteX66" fmla="*/ 768350 w 1943100"/>
              <a:gd name="connsiteY66" fmla="*/ 1787525 h 2203450"/>
              <a:gd name="connsiteX67" fmla="*/ 777875 w 1943100"/>
              <a:gd name="connsiteY67" fmla="*/ 1790700 h 2203450"/>
              <a:gd name="connsiteX68" fmla="*/ 784225 w 1943100"/>
              <a:gd name="connsiteY68" fmla="*/ 1800225 h 2203450"/>
              <a:gd name="connsiteX69" fmla="*/ 793750 w 1943100"/>
              <a:gd name="connsiteY69" fmla="*/ 1816100 h 2203450"/>
              <a:gd name="connsiteX70" fmla="*/ 796925 w 1943100"/>
              <a:gd name="connsiteY70" fmla="*/ 1838325 h 2203450"/>
              <a:gd name="connsiteX71" fmla="*/ 793750 w 1943100"/>
              <a:gd name="connsiteY71" fmla="*/ 1860550 h 2203450"/>
              <a:gd name="connsiteX72" fmla="*/ 784225 w 1943100"/>
              <a:gd name="connsiteY72" fmla="*/ 1879600 h 2203450"/>
              <a:gd name="connsiteX73" fmla="*/ 777875 w 1943100"/>
              <a:gd name="connsiteY73" fmla="*/ 1885950 h 2203450"/>
              <a:gd name="connsiteX74" fmla="*/ 768350 w 1943100"/>
              <a:gd name="connsiteY74" fmla="*/ 1889125 h 2203450"/>
              <a:gd name="connsiteX75" fmla="*/ 762000 w 1943100"/>
              <a:gd name="connsiteY75" fmla="*/ 1892300 h 2203450"/>
              <a:gd name="connsiteX76" fmla="*/ 752475 w 1943100"/>
              <a:gd name="connsiteY76" fmla="*/ 1895475 h 2203450"/>
              <a:gd name="connsiteX77" fmla="*/ 742950 w 1943100"/>
              <a:gd name="connsiteY77" fmla="*/ 1892300 h 2203450"/>
              <a:gd name="connsiteX78" fmla="*/ 736600 w 1943100"/>
              <a:gd name="connsiteY78" fmla="*/ 1889125 h 2203450"/>
              <a:gd name="connsiteX79" fmla="*/ 727075 w 1943100"/>
              <a:gd name="connsiteY79" fmla="*/ 1885950 h 2203450"/>
              <a:gd name="connsiteX80" fmla="*/ 720725 w 1943100"/>
              <a:gd name="connsiteY80" fmla="*/ 1879600 h 2203450"/>
              <a:gd name="connsiteX81" fmla="*/ 711200 w 1943100"/>
              <a:gd name="connsiteY81" fmla="*/ 1860550 h 2203450"/>
              <a:gd name="connsiteX82" fmla="*/ 708025 w 1943100"/>
              <a:gd name="connsiteY82" fmla="*/ 1838325 h 2203450"/>
              <a:gd name="connsiteX83" fmla="*/ 711200 w 1943100"/>
              <a:gd name="connsiteY83" fmla="*/ 1816100 h 2203450"/>
              <a:gd name="connsiteX84" fmla="*/ 720725 w 1943100"/>
              <a:gd name="connsiteY84" fmla="*/ 1800225 h 2203450"/>
              <a:gd name="connsiteX85" fmla="*/ 727075 w 1943100"/>
              <a:gd name="connsiteY85" fmla="*/ 1790700 h 2203450"/>
              <a:gd name="connsiteX86" fmla="*/ 736600 w 1943100"/>
              <a:gd name="connsiteY86" fmla="*/ 1787525 h 2203450"/>
              <a:gd name="connsiteX87" fmla="*/ 742950 w 1943100"/>
              <a:gd name="connsiteY87" fmla="*/ 1784350 h 2203450"/>
              <a:gd name="connsiteX88" fmla="*/ 492125 w 1943100"/>
              <a:gd name="connsiteY88" fmla="*/ 1670050 h 2203450"/>
              <a:gd name="connsiteX89" fmla="*/ 520700 w 1943100"/>
              <a:gd name="connsiteY89" fmla="*/ 1673225 h 2203450"/>
              <a:gd name="connsiteX90" fmla="*/ 546100 w 1943100"/>
              <a:gd name="connsiteY90" fmla="*/ 1679575 h 2203450"/>
              <a:gd name="connsiteX91" fmla="*/ 568325 w 1943100"/>
              <a:gd name="connsiteY91" fmla="*/ 1689100 h 2203450"/>
              <a:gd name="connsiteX92" fmla="*/ 590550 w 1943100"/>
              <a:gd name="connsiteY92" fmla="*/ 1704975 h 2203450"/>
              <a:gd name="connsiteX93" fmla="*/ 606425 w 1943100"/>
              <a:gd name="connsiteY93" fmla="*/ 1720850 h 2203450"/>
              <a:gd name="connsiteX94" fmla="*/ 619125 w 1943100"/>
              <a:gd name="connsiteY94" fmla="*/ 1739900 h 2203450"/>
              <a:gd name="connsiteX95" fmla="*/ 628650 w 1943100"/>
              <a:gd name="connsiteY95" fmla="*/ 1758950 h 2203450"/>
              <a:gd name="connsiteX96" fmla="*/ 631825 w 1943100"/>
              <a:gd name="connsiteY96" fmla="*/ 1781175 h 2203450"/>
              <a:gd name="connsiteX97" fmla="*/ 628650 w 1943100"/>
              <a:gd name="connsiteY97" fmla="*/ 1806575 h 2203450"/>
              <a:gd name="connsiteX98" fmla="*/ 619125 w 1943100"/>
              <a:gd name="connsiteY98" fmla="*/ 1825625 h 2203450"/>
              <a:gd name="connsiteX99" fmla="*/ 606425 w 1943100"/>
              <a:gd name="connsiteY99" fmla="*/ 1844675 h 2203450"/>
              <a:gd name="connsiteX100" fmla="*/ 590550 w 1943100"/>
              <a:gd name="connsiteY100" fmla="*/ 1860550 h 2203450"/>
              <a:gd name="connsiteX101" fmla="*/ 568325 w 1943100"/>
              <a:gd name="connsiteY101" fmla="*/ 1876425 h 2203450"/>
              <a:gd name="connsiteX102" fmla="*/ 546100 w 1943100"/>
              <a:gd name="connsiteY102" fmla="*/ 1885950 h 2203450"/>
              <a:gd name="connsiteX103" fmla="*/ 520700 w 1943100"/>
              <a:gd name="connsiteY103" fmla="*/ 1892300 h 2203450"/>
              <a:gd name="connsiteX104" fmla="*/ 492125 w 1943100"/>
              <a:gd name="connsiteY104" fmla="*/ 1895475 h 2203450"/>
              <a:gd name="connsiteX105" fmla="*/ 463550 w 1943100"/>
              <a:gd name="connsiteY105" fmla="*/ 1892300 h 2203450"/>
              <a:gd name="connsiteX106" fmla="*/ 438150 w 1943100"/>
              <a:gd name="connsiteY106" fmla="*/ 1885950 h 2203450"/>
              <a:gd name="connsiteX107" fmla="*/ 412750 w 1943100"/>
              <a:gd name="connsiteY107" fmla="*/ 1876425 h 2203450"/>
              <a:gd name="connsiteX108" fmla="*/ 393700 w 1943100"/>
              <a:gd name="connsiteY108" fmla="*/ 1860550 h 2203450"/>
              <a:gd name="connsiteX109" fmla="*/ 374650 w 1943100"/>
              <a:gd name="connsiteY109" fmla="*/ 1844675 h 2203450"/>
              <a:gd name="connsiteX110" fmla="*/ 361950 w 1943100"/>
              <a:gd name="connsiteY110" fmla="*/ 1825625 h 2203450"/>
              <a:gd name="connsiteX111" fmla="*/ 355600 w 1943100"/>
              <a:gd name="connsiteY111" fmla="*/ 1806575 h 2203450"/>
              <a:gd name="connsiteX112" fmla="*/ 352425 w 1943100"/>
              <a:gd name="connsiteY112" fmla="*/ 1781175 h 2203450"/>
              <a:gd name="connsiteX113" fmla="*/ 355600 w 1943100"/>
              <a:gd name="connsiteY113" fmla="*/ 1758950 h 2203450"/>
              <a:gd name="connsiteX114" fmla="*/ 361950 w 1943100"/>
              <a:gd name="connsiteY114" fmla="*/ 1739900 h 2203450"/>
              <a:gd name="connsiteX115" fmla="*/ 374650 w 1943100"/>
              <a:gd name="connsiteY115" fmla="*/ 1720850 h 2203450"/>
              <a:gd name="connsiteX116" fmla="*/ 393700 w 1943100"/>
              <a:gd name="connsiteY116" fmla="*/ 1704975 h 2203450"/>
              <a:gd name="connsiteX117" fmla="*/ 412750 w 1943100"/>
              <a:gd name="connsiteY117" fmla="*/ 1689100 h 2203450"/>
              <a:gd name="connsiteX118" fmla="*/ 438150 w 1943100"/>
              <a:gd name="connsiteY118" fmla="*/ 1679575 h 2203450"/>
              <a:gd name="connsiteX119" fmla="*/ 463550 w 1943100"/>
              <a:gd name="connsiteY119" fmla="*/ 1673225 h 2203450"/>
              <a:gd name="connsiteX120" fmla="*/ 212725 w 1943100"/>
              <a:gd name="connsiteY120" fmla="*/ 1670050 h 2203450"/>
              <a:gd name="connsiteX121" fmla="*/ 228600 w 1943100"/>
              <a:gd name="connsiteY121" fmla="*/ 1673225 h 2203450"/>
              <a:gd name="connsiteX122" fmla="*/ 244475 w 1943100"/>
              <a:gd name="connsiteY122" fmla="*/ 1676400 h 2203450"/>
              <a:gd name="connsiteX123" fmla="*/ 257175 w 1943100"/>
              <a:gd name="connsiteY123" fmla="*/ 1679575 h 2203450"/>
              <a:gd name="connsiteX124" fmla="*/ 266700 w 1943100"/>
              <a:gd name="connsiteY124" fmla="*/ 1685925 h 2203450"/>
              <a:gd name="connsiteX125" fmla="*/ 276225 w 1943100"/>
              <a:gd name="connsiteY125" fmla="*/ 1692275 h 2203450"/>
              <a:gd name="connsiteX126" fmla="*/ 285750 w 1943100"/>
              <a:gd name="connsiteY126" fmla="*/ 1701800 h 2203450"/>
              <a:gd name="connsiteX127" fmla="*/ 288925 w 1943100"/>
              <a:gd name="connsiteY127" fmla="*/ 1711325 h 2203450"/>
              <a:gd name="connsiteX128" fmla="*/ 288925 w 1943100"/>
              <a:gd name="connsiteY128" fmla="*/ 1724025 h 2203450"/>
              <a:gd name="connsiteX129" fmla="*/ 288925 w 1943100"/>
              <a:gd name="connsiteY129" fmla="*/ 1733550 h 2203450"/>
              <a:gd name="connsiteX130" fmla="*/ 285750 w 1943100"/>
              <a:gd name="connsiteY130" fmla="*/ 1743075 h 2203450"/>
              <a:gd name="connsiteX131" fmla="*/ 276225 w 1943100"/>
              <a:gd name="connsiteY131" fmla="*/ 1752600 h 2203450"/>
              <a:gd name="connsiteX132" fmla="*/ 266700 w 1943100"/>
              <a:gd name="connsiteY132" fmla="*/ 1758950 h 2203450"/>
              <a:gd name="connsiteX133" fmla="*/ 257175 w 1943100"/>
              <a:gd name="connsiteY133" fmla="*/ 1765300 h 2203450"/>
              <a:gd name="connsiteX134" fmla="*/ 244475 w 1943100"/>
              <a:gd name="connsiteY134" fmla="*/ 1771650 h 2203450"/>
              <a:gd name="connsiteX135" fmla="*/ 228600 w 1943100"/>
              <a:gd name="connsiteY135" fmla="*/ 1774825 h 2203450"/>
              <a:gd name="connsiteX136" fmla="*/ 212725 w 1943100"/>
              <a:gd name="connsiteY136" fmla="*/ 1774825 h 2203450"/>
              <a:gd name="connsiteX137" fmla="*/ 196850 w 1943100"/>
              <a:gd name="connsiteY137" fmla="*/ 1774825 h 2203450"/>
              <a:gd name="connsiteX138" fmla="*/ 184150 w 1943100"/>
              <a:gd name="connsiteY138" fmla="*/ 1771650 h 2203450"/>
              <a:gd name="connsiteX139" fmla="*/ 168275 w 1943100"/>
              <a:gd name="connsiteY139" fmla="*/ 1765300 h 2203450"/>
              <a:gd name="connsiteX140" fmla="*/ 158750 w 1943100"/>
              <a:gd name="connsiteY140" fmla="*/ 1758950 h 2203450"/>
              <a:gd name="connsiteX141" fmla="*/ 149225 w 1943100"/>
              <a:gd name="connsiteY141" fmla="*/ 1752600 h 2203450"/>
              <a:gd name="connsiteX142" fmla="*/ 142875 w 1943100"/>
              <a:gd name="connsiteY142" fmla="*/ 1743075 h 2203450"/>
              <a:gd name="connsiteX143" fmla="*/ 136525 w 1943100"/>
              <a:gd name="connsiteY143" fmla="*/ 1733550 h 2203450"/>
              <a:gd name="connsiteX144" fmla="*/ 136525 w 1943100"/>
              <a:gd name="connsiteY144" fmla="*/ 1724025 h 2203450"/>
              <a:gd name="connsiteX145" fmla="*/ 136525 w 1943100"/>
              <a:gd name="connsiteY145" fmla="*/ 1711325 h 2203450"/>
              <a:gd name="connsiteX146" fmla="*/ 142875 w 1943100"/>
              <a:gd name="connsiteY146" fmla="*/ 1701800 h 2203450"/>
              <a:gd name="connsiteX147" fmla="*/ 149225 w 1943100"/>
              <a:gd name="connsiteY147" fmla="*/ 1692275 h 2203450"/>
              <a:gd name="connsiteX148" fmla="*/ 158750 w 1943100"/>
              <a:gd name="connsiteY148" fmla="*/ 1685925 h 2203450"/>
              <a:gd name="connsiteX149" fmla="*/ 168275 w 1943100"/>
              <a:gd name="connsiteY149" fmla="*/ 1679575 h 2203450"/>
              <a:gd name="connsiteX150" fmla="*/ 184150 w 1943100"/>
              <a:gd name="connsiteY150" fmla="*/ 1676400 h 2203450"/>
              <a:gd name="connsiteX151" fmla="*/ 196850 w 1943100"/>
              <a:gd name="connsiteY151" fmla="*/ 1673225 h 2203450"/>
              <a:gd name="connsiteX152" fmla="*/ 44450 w 1943100"/>
              <a:gd name="connsiteY152" fmla="*/ 1260475 h 2203450"/>
              <a:gd name="connsiteX153" fmla="*/ 53975 w 1943100"/>
              <a:gd name="connsiteY153" fmla="*/ 1260475 h 2203450"/>
              <a:gd name="connsiteX154" fmla="*/ 63500 w 1943100"/>
              <a:gd name="connsiteY154" fmla="*/ 1260475 h 2203450"/>
              <a:gd name="connsiteX155" fmla="*/ 76200 w 1943100"/>
              <a:gd name="connsiteY155" fmla="*/ 1266825 h 2203450"/>
              <a:gd name="connsiteX156" fmla="*/ 82550 w 1943100"/>
              <a:gd name="connsiteY156" fmla="*/ 1273175 h 2203450"/>
              <a:gd name="connsiteX157" fmla="*/ 92075 w 1943100"/>
              <a:gd name="connsiteY157" fmla="*/ 1279525 h 2203450"/>
              <a:gd name="connsiteX158" fmla="*/ 98425 w 1943100"/>
              <a:gd name="connsiteY158" fmla="*/ 1289050 h 2203450"/>
              <a:gd name="connsiteX159" fmla="*/ 101600 w 1943100"/>
              <a:gd name="connsiteY159" fmla="*/ 1298575 h 2203450"/>
              <a:gd name="connsiteX160" fmla="*/ 104775 w 1943100"/>
              <a:gd name="connsiteY160" fmla="*/ 1311275 h 2203450"/>
              <a:gd name="connsiteX161" fmla="*/ 107950 w 1943100"/>
              <a:gd name="connsiteY161" fmla="*/ 1323975 h 2203450"/>
              <a:gd name="connsiteX162" fmla="*/ 104775 w 1943100"/>
              <a:gd name="connsiteY162" fmla="*/ 1336675 h 2203450"/>
              <a:gd name="connsiteX163" fmla="*/ 101600 w 1943100"/>
              <a:gd name="connsiteY163" fmla="*/ 1349375 h 2203450"/>
              <a:gd name="connsiteX164" fmla="*/ 98425 w 1943100"/>
              <a:gd name="connsiteY164" fmla="*/ 1362075 h 2203450"/>
              <a:gd name="connsiteX165" fmla="*/ 92075 w 1943100"/>
              <a:gd name="connsiteY165" fmla="*/ 1371600 h 2203450"/>
              <a:gd name="connsiteX166" fmla="*/ 82550 w 1943100"/>
              <a:gd name="connsiteY166" fmla="*/ 1377950 h 2203450"/>
              <a:gd name="connsiteX167" fmla="*/ 76200 w 1943100"/>
              <a:gd name="connsiteY167" fmla="*/ 1384300 h 2203450"/>
              <a:gd name="connsiteX168" fmla="*/ 63500 w 1943100"/>
              <a:gd name="connsiteY168" fmla="*/ 1387475 h 2203450"/>
              <a:gd name="connsiteX169" fmla="*/ 53975 w 1943100"/>
              <a:gd name="connsiteY169" fmla="*/ 1390650 h 2203450"/>
              <a:gd name="connsiteX170" fmla="*/ 44450 w 1943100"/>
              <a:gd name="connsiteY170" fmla="*/ 1387475 h 2203450"/>
              <a:gd name="connsiteX171" fmla="*/ 34925 w 1943100"/>
              <a:gd name="connsiteY171" fmla="*/ 1384300 h 2203450"/>
              <a:gd name="connsiteX172" fmla="*/ 25400 w 1943100"/>
              <a:gd name="connsiteY172" fmla="*/ 1377950 h 2203450"/>
              <a:gd name="connsiteX173" fmla="*/ 15875 w 1943100"/>
              <a:gd name="connsiteY173" fmla="*/ 1371600 h 2203450"/>
              <a:gd name="connsiteX174" fmla="*/ 9525 w 1943100"/>
              <a:gd name="connsiteY174" fmla="*/ 1362075 h 2203450"/>
              <a:gd name="connsiteX175" fmla="*/ 6350 w 1943100"/>
              <a:gd name="connsiteY175" fmla="*/ 1349375 h 2203450"/>
              <a:gd name="connsiteX176" fmla="*/ 3175 w 1943100"/>
              <a:gd name="connsiteY176" fmla="*/ 1336675 h 2203450"/>
              <a:gd name="connsiteX177" fmla="*/ 0 w 1943100"/>
              <a:gd name="connsiteY177" fmla="*/ 1323975 h 2203450"/>
              <a:gd name="connsiteX178" fmla="*/ 3175 w 1943100"/>
              <a:gd name="connsiteY178" fmla="*/ 1311275 h 2203450"/>
              <a:gd name="connsiteX179" fmla="*/ 6350 w 1943100"/>
              <a:gd name="connsiteY179" fmla="*/ 1298575 h 2203450"/>
              <a:gd name="connsiteX180" fmla="*/ 9525 w 1943100"/>
              <a:gd name="connsiteY180" fmla="*/ 1289050 h 2203450"/>
              <a:gd name="connsiteX181" fmla="*/ 15875 w 1943100"/>
              <a:gd name="connsiteY181" fmla="*/ 1279525 h 2203450"/>
              <a:gd name="connsiteX182" fmla="*/ 25400 w 1943100"/>
              <a:gd name="connsiteY182" fmla="*/ 1273175 h 2203450"/>
              <a:gd name="connsiteX183" fmla="*/ 34925 w 1943100"/>
              <a:gd name="connsiteY183" fmla="*/ 1266825 h 2203450"/>
              <a:gd name="connsiteX184" fmla="*/ 171450 w 1943100"/>
              <a:gd name="connsiteY184" fmla="*/ 1098550 h 2203450"/>
              <a:gd name="connsiteX185" fmla="*/ 184150 w 1943100"/>
              <a:gd name="connsiteY185" fmla="*/ 1101725 h 2203450"/>
              <a:gd name="connsiteX186" fmla="*/ 193675 w 1943100"/>
              <a:gd name="connsiteY186" fmla="*/ 1104900 h 2203450"/>
              <a:gd name="connsiteX187" fmla="*/ 206375 w 1943100"/>
              <a:gd name="connsiteY187" fmla="*/ 1108075 h 2203450"/>
              <a:gd name="connsiteX188" fmla="*/ 215900 w 1943100"/>
              <a:gd name="connsiteY188" fmla="*/ 1117600 h 2203450"/>
              <a:gd name="connsiteX189" fmla="*/ 222250 w 1943100"/>
              <a:gd name="connsiteY189" fmla="*/ 1123950 h 2203450"/>
              <a:gd name="connsiteX190" fmla="*/ 228600 w 1943100"/>
              <a:gd name="connsiteY190" fmla="*/ 1136650 h 2203450"/>
              <a:gd name="connsiteX191" fmla="*/ 231775 w 1943100"/>
              <a:gd name="connsiteY191" fmla="*/ 1146175 h 2203450"/>
              <a:gd name="connsiteX192" fmla="*/ 234950 w 1943100"/>
              <a:gd name="connsiteY192" fmla="*/ 1158875 h 2203450"/>
              <a:gd name="connsiteX193" fmla="*/ 231775 w 1943100"/>
              <a:gd name="connsiteY193" fmla="*/ 1168400 h 2203450"/>
              <a:gd name="connsiteX194" fmla="*/ 228600 w 1943100"/>
              <a:gd name="connsiteY194" fmla="*/ 1181100 h 2203450"/>
              <a:gd name="connsiteX195" fmla="*/ 222250 w 1943100"/>
              <a:gd name="connsiteY195" fmla="*/ 1190625 h 2203450"/>
              <a:gd name="connsiteX196" fmla="*/ 215900 w 1943100"/>
              <a:gd name="connsiteY196" fmla="*/ 1200150 h 2203450"/>
              <a:gd name="connsiteX197" fmla="*/ 206375 w 1943100"/>
              <a:gd name="connsiteY197" fmla="*/ 1206500 h 2203450"/>
              <a:gd name="connsiteX198" fmla="*/ 193675 w 1943100"/>
              <a:gd name="connsiteY198" fmla="*/ 1212850 h 2203450"/>
              <a:gd name="connsiteX199" fmla="*/ 184150 w 1943100"/>
              <a:gd name="connsiteY199" fmla="*/ 1216025 h 2203450"/>
              <a:gd name="connsiteX200" fmla="*/ 171450 w 1943100"/>
              <a:gd name="connsiteY200" fmla="*/ 1216025 h 2203450"/>
              <a:gd name="connsiteX201" fmla="*/ 158750 w 1943100"/>
              <a:gd name="connsiteY201" fmla="*/ 1216025 h 2203450"/>
              <a:gd name="connsiteX202" fmla="*/ 146050 w 1943100"/>
              <a:gd name="connsiteY202" fmla="*/ 1212850 h 2203450"/>
              <a:gd name="connsiteX203" fmla="*/ 136525 w 1943100"/>
              <a:gd name="connsiteY203" fmla="*/ 1206500 h 2203450"/>
              <a:gd name="connsiteX204" fmla="*/ 127000 w 1943100"/>
              <a:gd name="connsiteY204" fmla="*/ 1200150 h 2203450"/>
              <a:gd name="connsiteX205" fmla="*/ 117475 w 1943100"/>
              <a:gd name="connsiteY205" fmla="*/ 1190625 h 2203450"/>
              <a:gd name="connsiteX206" fmla="*/ 111125 w 1943100"/>
              <a:gd name="connsiteY206" fmla="*/ 1181100 h 2203450"/>
              <a:gd name="connsiteX207" fmla="*/ 107950 w 1943100"/>
              <a:gd name="connsiteY207" fmla="*/ 1168400 h 2203450"/>
              <a:gd name="connsiteX208" fmla="*/ 107950 w 1943100"/>
              <a:gd name="connsiteY208" fmla="*/ 1158875 h 2203450"/>
              <a:gd name="connsiteX209" fmla="*/ 107950 w 1943100"/>
              <a:gd name="connsiteY209" fmla="*/ 1146175 h 2203450"/>
              <a:gd name="connsiteX210" fmla="*/ 111125 w 1943100"/>
              <a:gd name="connsiteY210" fmla="*/ 1136650 h 2203450"/>
              <a:gd name="connsiteX211" fmla="*/ 117475 w 1943100"/>
              <a:gd name="connsiteY211" fmla="*/ 1123950 h 2203450"/>
              <a:gd name="connsiteX212" fmla="*/ 127000 w 1943100"/>
              <a:gd name="connsiteY212" fmla="*/ 1117600 h 2203450"/>
              <a:gd name="connsiteX213" fmla="*/ 136525 w 1943100"/>
              <a:gd name="connsiteY213" fmla="*/ 1108075 h 2203450"/>
              <a:gd name="connsiteX214" fmla="*/ 146050 w 1943100"/>
              <a:gd name="connsiteY214" fmla="*/ 1104900 h 2203450"/>
              <a:gd name="connsiteX215" fmla="*/ 158750 w 1943100"/>
              <a:gd name="connsiteY215" fmla="*/ 1101725 h 2203450"/>
              <a:gd name="connsiteX216" fmla="*/ 136525 w 1943100"/>
              <a:gd name="connsiteY216" fmla="*/ 812800 h 2203450"/>
              <a:gd name="connsiteX217" fmla="*/ 155575 w 1943100"/>
              <a:gd name="connsiteY217" fmla="*/ 815975 h 2203450"/>
              <a:gd name="connsiteX218" fmla="*/ 174625 w 1943100"/>
              <a:gd name="connsiteY218" fmla="*/ 822325 h 2203450"/>
              <a:gd name="connsiteX219" fmla="*/ 190500 w 1943100"/>
              <a:gd name="connsiteY219" fmla="*/ 831850 h 2203450"/>
              <a:gd name="connsiteX220" fmla="*/ 206375 w 1943100"/>
              <a:gd name="connsiteY220" fmla="*/ 844550 h 2203450"/>
              <a:gd name="connsiteX221" fmla="*/ 215900 w 1943100"/>
              <a:gd name="connsiteY221" fmla="*/ 860425 h 2203450"/>
              <a:gd name="connsiteX222" fmla="*/ 225425 w 1943100"/>
              <a:gd name="connsiteY222" fmla="*/ 879475 h 2203450"/>
              <a:gd name="connsiteX223" fmla="*/ 231775 w 1943100"/>
              <a:gd name="connsiteY223" fmla="*/ 898525 h 2203450"/>
              <a:gd name="connsiteX224" fmla="*/ 234950 w 1943100"/>
              <a:gd name="connsiteY224" fmla="*/ 920750 h 2203450"/>
              <a:gd name="connsiteX225" fmla="*/ 231775 w 1943100"/>
              <a:gd name="connsiteY225" fmla="*/ 939800 h 2203450"/>
              <a:gd name="connsiteX226" fmla="*/ 225425 w 1943100"/>
              <a:gd name="connsiteY226" fmla="*/ 958850 h 2203450"/>
              <a:gd name="connsiteX227" fmla="*/ 215900 w 1943100"/>
              <a:gd name="connsiteY227" fmla="*/ 977900 h 2203450"/>
              <a:gd name="connsiteX228" fmla="*/ 206375 w 1943100"/>
              <a:gd name="connsiteY228" fmla="*/ 993775 h 2203450"/>
              <a:gd name="connsiteX229" fmla="*/ 190500 w 1943100"/>
              <a:gd name="connsiteY229" fmla="*/ 1006475 h 2203450"/>
              <a:gd name="connsiteX230" fmla="*/ 174625 w 1943100"/>
              <a:gd name="connsiteY230" fmla="*/ 1016000 h 2203450"/>
              <a:gd name="connsiteX231" fmla="*/ 155575 w 1943100"/>
              <a:gd name="connsiteY231" fmla="*/ 1022350 h 2203450"/>
              <a:gd name="connsiteX232" fmla="*/ 136525 w 1943100"/>
              <a:gd name="connsiteY232" fmla="*/ 1025525 h 2203450"/>
              <a:gd name="connsiteX233" fmla="*/ 114300 w 1943100"/>
              <a:gd name="connsiteY233" fmla="*/ 1022350 h 2203450"/>
              <a:gd name="connsiteX234" fmla="*/ 98425 w 1943100"/>
              <a:gd name="connsiteY234" fmla="*/ 1016000 h 2203450"/>
              <a:gd name="connsiteX235" fmla="*/ 79375 w 1943100"/>
              <a:gd name="connsiteY235" fmla="*/ 1006475 h 2203450"/>
              <a:gd name="connsiteX236" fmla="*/ 66675 w 1943100"/>
              <a:gd name="connsiteY236" fmla="*/ 993775 h 2203450"/>
              <a:gd name="connsiteX237" fmla="*/ 53975 w 1943100"/>
              <a:gd name="connsiteY237" fmla="*/ 977900 h 2203450"/>
              <a:gd name="connsiteX238" fmla="*/ 44450 w 1943100"/>
              <a:gd name="connsiteY238" fmla="*/ 958850 h 2203450"/>
              <a:gd name="connsiteX239" fmla="*/ 38100 w 1943100"/>
              <a:gd name="connsiteY239" fmla="*/ 939800 h 2203450"/>
              <a:gd name="connsiteX240" fmla="*/ 38100 w 1943100"/>
              <a:gd name="connsiteY240" fmla="*/ 920750 h 2203450"/>
              <a:gd name="connsiteX241" fmla="*/ 38100 w 1943100"/>
              <a:gd name="connsiteY241" fmla="*/ 898525 h 2203450"/>
              <a:gd name="connsiteX242" fmla="*/ 44450 w 1943100"/>
              <a:gd name="connsiteY242" fmla="*/ 879475 h 2203450"/>
              <a:gd name="connsiteX243" fmla="*/ 53975 w 1943100"/>
              <a:gd name="connsiteY243" fmla="*/ 860425 h 2203450"/>
              <a:gd name="connsiteX244" fmla="*/ 66675 w 1943100"/>
              <a:gd name="connsiteY244" fmla="*/ 844550 h 2203450"/>
              <a:gd name="connsiteX245" fmla="*/ 79375 w 1943100"/>
              <a:gd name="connsiteY245" fmla="*/ 831850 h 2203450"/>
              <a:gd name="connsiteX246" fmla="*/ 98425 w 1943100"/>
              <a:gd name="connsiteY246" fmla="*/ 822325 h 2203450"/>
              <a:gd name="connsiteX247" fmla="*/ 114300 w 1943100"/>
              <a:gd name="connsiteY247" fmla="*/ 815975 h 2203450"/>
              <a:gd name="connsiteX248" fmla="*/ 352425 w 1943100"/>
              <a:gd name="connsiteY248" fmla="*/ 698500 h 2203450"/>
              <a:gd name="connsiteX249" fmla="*/ 368300 w 1943100"/>
              <a:gd name="connsiteY249" fmla="*/ 701675 h 2203450"/>
              <a:gd name="connsiteX250" fmla="*/ 381000 w 1943100"/>
              <a:gd name="connsiteY250" fmla="*/ 708025 h 2203450"/>
              <a:gd name="connsiteX251" fmla="*/ 390525 w 1943100"/>
              <a:gd name="connsiteY251" fmla="*/ 720725 h 2203450"/>
              <a:gd name="connsiteX252" fmla="*/ 393700 w 1943100"/>
              <a:gd name="connsiteY252" fmla="*/ 733425 h 2203450"/>
              <a:gd name="connsiteX253" fmla="*/ 390525 w 1943100"/>
              <a:gd name="connsiteY253" fmla="*/ 749300 h 2203450"/>
              <a:gd name="connsiteX254" fmla="*/ 381000 w 1943100"/>
              <a:gd name="connsiteY254" fmla="*/ 762000 h 2203450"/>
              <a:gd name="connsiteX255" fmla="*/ 368300 w 1943100"/>
              <a:gd name="connsiteY255" fmla="*/ 768350 h 2203450"/>
              <a:gd name="connsiteX256" fmla="*/ 352425 w 1943100"/>
              <a:gd name="connsiteY256" fmla="*/ 771525 h 2203450"/>
              <a:gd name="connsiteX257" fmla="*/ 333375 w 1943100"/>
              <a:gd name="connsiteY257" fmla="*/ 768350 h 2203450"/>
              <a:gd name="connsiteX258" fmla="*/ 320675 w 1943100"/>
              <a:gd name="connsiteY258" fmla="*/ 762000 h 2203450"/>
              <a:gd name="connsiteX259" fmla="*/ 311150 w 1943100"/>
              <a:gd name="connsiteY259" fmla="*/ 749300 h 2203450"/>
              <a:gd name="connsiteX260" fmla="*/ 307975 w 1943100"/>
              <a:gd name="connsiteY260" fmla="*/ 733425 h 2203450"/>
              <a:gd name="connsiteX261" fmla="*/ 311150 w 1943100"/>
              <a:gd name="connsiteY261" fmla="*/ 720725 h 2203450"/>
              <a:gd name="connsiteX262" fmla="*/ 320675 w 1943100"/>
              <a:gd name="connsiteY262" fmla="*/ 708025 h 2203450"/>
              <a:gd name="connsiteX263" fmla="*/ 333375 w 1943100"/>
              <a:gd name="connsiteY263" fmla="*/ 701675 h 2203450"/>
              <a:gd name="connsiteX264" fmla="*/ 1809750 w 1943100"/>
              <a:gd name="connsiteY264" fmla="*/ 631825 h 2203450"/>
              <a:gd name="connsiteX265" fmla="*/ 1825625 w 1943100"/>
              <a:gd name="connsiteY265" fmla="*/ 631825 h 2203450"/>
              <a:gd name="connsiteX266" fmla="*/ 1841500 w 1943100"/>
              <a:gd name="connsiteY266" fmla="*/ 631825 h 2203450"/>
              <a:gd name="connsiteX267" fmla="*/ 1863725 w 1943100"/>
              <a:gd name="connsiteY267" fmla="*/ 635000 h 2203450"/>
              <a:gd name="connsiteX268" fmla="*/ 1885950 w 1943100"/>
              <a:gd name="connsiteY268" fmla="*/ 644525 h 2203450"/>
              <a:gd name="connsiteX269" fmla="*/ 1895475 w 1943100"/>
              <a:gd name="connsiteY269" fmla="*/ 654050 h 2203450"/>
              <a:gd name="connsiteX270" fmla="*/ 1908175 w 1943100"/>
              <a:gd name="connsiteY270" fmla="*/ 663575 h 2203450"/>
              <a:gd name="connsiteX271" fmla="*/ 1917700 w 1943100"/>
              <a:gd name="connsiteY271" fmla="*/ 679450 h 2203450"/>
              <a:gd name="connsiteX272" fmla="*/ 1927225 w 1943100"/>
              <a:gd name="connsiteY272" fmla="*/ 695325 h 2203450"/>
              <a:gd name="connsiteX273" fmla="*/ 1933575 w 1943100"/>
              <a:gd name="connsiteY273" fmla="*/ 704850 h 2203450"/>
              <a:gd name="connsiteX274" fmla="*/ 1939925 w 1943100"/>
              <a:gd name="connsiteY274" fmla="*/ 720725 h 2203450"/>
              <a:gd name="connsiteX275" fmla="*/ 1943100 w 1943100"/>
              <a:gd name="connsiteY275" fmla="*/ 739775 h 2203450"/>
              <a:gd name="connsiteX276" fmla="*/ 1943100 w 1943100"/>
              <a:gd name="connsiteY276" fmla="*/ 768350 h 2203450"/>
              <a:gd name="connsiteX277" fmla="*/ 1939925 w 1943100"/>
              <a:gd name="connsiteY277" fmla="*/ 800100 h 2203450"/>
              <a:gd name="connsiteX278" fmla="*/ 1930400 w 1943100"/>
              <a:gd name="connsiteY278" fmla="*/ 841375 h 2203450"/>
              <a:gd name="connsiteX279" fmla="*/ 1911350 w 1943100"/>
              <a:gd name="connsiteY279" fmla="*/ 885825 h 2203450"/>
              <a:gd name="connsiteX280" fmla="*/ 1898650 w 1943100"/>
              <a:gd name="connsiteY280" fmla="*/ 914400 h 2203450"/>
              <a:gd name="connsiteX281" fmla="*/ 1882775 w 1943100"/>
              <a:gd name="connsiteY281" fmla="*/ 939800 h 2203450"/>
              <a:gd name="connsiteX282" fmla="*/ 1863725 w 1943100"/>
              <a:gd name="connsiteY282" fmla="*/ 958850 h 2203450"/>
              <a:gd name="connsiteX283" fmla="*/ 1847850 w 1943100"/>
              <a:gd name="connsiteY283" fmla="*/ 974725 h 2203450"/>
              <a:gd name="connsiteX284" fmla="*/ 1828800 w 1943100"/>
              <a:gd name="connsiteY284" fmla="*/ 987425 h 2203450"/>
              <a:gd name="connsiteX285" fmla="*/ 1809750 w 1943100"/>
              <a:gd name="connsiteY285" fmla="*/ 993775 h 2203450"/>
              <a:gd name="connsiteX286" fmla="*/ 1793875 w 1943100"/>
              <a:gd name="connsiteY286" fmla="*/ 996950 h 2203450"/>
              <a:gd name="connsiteX287" fmla="*/ 1778000 w 1943100"/>
              <a:gd name="connsiteY287" fmla="*/ 990600 h 2203450"/>
              <a:gd name="connsiteX288" fmla="*/ 1765300 w 1943100"/>
              <a:gd name="connsiteY288" fmla="*/ 977900 h 2203450"/>
              <a:gd name="connsiteX289" fmla="*/ 1755775 w 1943100"/>
              <a:gd name="connsiteY289" fmla="*/ 962025 h 2203450"/>
              <a:gd name="connsiteX290" fmla="*/ 1749425 w 1943100"/>
              <a:gd name="connsiteY290" fmla="*/ 942975 h 2203450"/>
              <a:gd name="connsiteX291" fmla="*/ 1746250 w 1943100"/>
              <a:gd name="connsiteY291" fmla="*/ 917575 h 2203450"/>
              <a:gd name="connsiteX292" fmla="*/ 1746250 w 1943100"/>
              <a:gd name="connsiteY292" fmla="*/ 892175 h 2203450"/>
              <a:gd name="connsiteX293" fmla="*/ 1749425 w 1943100"/>
              <a:gd name="connsiteY293" fmla="*/ 863600 h 2203450"/>
              <a:gd name="connsiteX294" fmla="*/ 1755775 w 1943100"/>
              <a:gd name="connsiteY294" fmla="*/ 835025 h 2203450"/>
              <a:gd name="connsiteX295" fmla="*/ 1768475 w 1943100"/>
              <a:gd name="connsiteY295" fmla="*/ 803275 h 2203450"/>
              <a:gd name="connsiteX296" fmla="*/ 1771650 w 1943100"/>
              <a:gd name="connsiteY296" fmla="*/ 796925 h 2203450"/>
              <a:gd name="connsiteX297" fmla="*/ 1774825 w 1943100"/>
              <a:gd name="connsiteY297" fmla="*/ 777875 h 2203450"/>
              <a:gd name="connsiteX298" fmla="*/ 1774825 w 1943100"/>
              <a:gd name="connsiteY298" fmla="*/ 752475 h 2203450"/>
              <a:gd name="connsiteX299" fmla="*/ 1774825 w 1943100"/>
              <a:gd name="connsiteY299" fmla="*/ 739775 h 2203450"/>
              <a:gd name="connsiteX300" fmla="*/ 1768475 w 1943100"/>
              <a:gd name="connsiteY300" fmla="*/ 727075 h 2203450"/>
              <a:gd name="connsiteX301" fmla="*/ 1762125 w 1943100"/>
              <a:gd name="connsiteY301" fmla="*/ 717550 h 2203450"/>
              <a:gd name="connsiteX302" fmla="*/ 1758950 w 1943100"/>
              <a:gd name="connsiteY302" fmla="*/ 708025 h 2203450"/>
              <a:gd name="connsiteX303" fmla="*/ 1755775 w 1943100"/>
              <a:gd name="connsiteY303" fmla="*/ 695325 h 2203450"/>
              <a:gd name="connsiteX304" fmla="*/ 1755775 w 1943100"/>
              <a:gd name="connsiteY304" fmla="*/ 682625 h 2203450"/>
              <a:gd name="connsiteX305" fmla="*/ 1762125 w 1943100"/>
              <a:gd name="connsiteY305" fmla="*/ 666750 h 2203450"/>
              <a:gd name="connsiteX306" fmla="*/ 1774825 w 1943100"/>
              <a:gd name="connsiteY306" fmla="*/ 650875 h 2203450"/>
              <a:gd name="connsiteX307" fmla="*/ 1797050 w 1943100"/>
              <a:gd name="connsiteY307" fmla="*/ 638175 h 2203450"/>
              <a:gd name="connsiteX308" fmla="*/ 504825 w 1943100"/>
              <a:gd name="connsiteY308" fmla="*/ 593725 h 2203450"/>
              <a:gd name="connsiteX309" fmla="*/ 520700 w 1943100"/>
              <a:gd name="connsiteY309" fmla="*/ 596900 h 2203450"/>
              <a:gd name="connsiteX310" fmla="*/ 536575 w 1943100"/>
              <a:gd name="connsiteY310" fmla="*/ 600075 h 2203450"/>
              <a:gd name="connsiteX311" fmla="*/ 549275 w 1943100"/>
              <a:gd name="connsiteY311" fmla="*/ 606425 h 2203450"/>
              <a:gd name="connsiteX312" fmla="*/ 561975 w 1943100"/>
              <a:gd name="connsiteY312" fmla="*/ 612775 h 2203450"/>
              <a:gd name="connsiteX313" fmla="*/ 571500 w 1943100"/>
              <a:gd name="connsiteY313" fmla="*/ 622300 h 2203450"/>
              <a:gd name="connsiteX314" fmla="*/ 581025 w 1943100"/>
              <a:gd name="connsiteY314" fmla="*/ 631825 h 2203450"/>
              <a:gd name="connsiteX315" fmla="*/ 584200 w 1943100"/>
              <a:gd name="connsiteY315" fmla="*/ 641350 h 2203450"/>
              <a:gd name="connsiteX316" fmla="*/ 587375 w 1943100"/>
              <a:gd name="connsiteY316" fmla="*/ 654050 h 2203450"/>
              <a:gd name="connsiteX317" fmla="*/ 584200 w 1943100"/>
              <a:gd name="connsiteY317" fmla="*/ 666750 h 2203450"/>
              <a:gd name="connsiteX318" fmla="*/ 581025 w 1943100"/>
              <a:gd name="connsiteY318" fmla="*/ 679450 h 2203450"/>
              <a:gd name="connsiteX319" fmla="*/ 571500 w 1943100"/>
              <a:gd name="connsiteY319" fmla="*/ 688975 h 2203450"/>
              <a:gd name="connsiteX320" fmla="*/ 561975 w 1943100"/>
              <a:gd name="connsiteY320" fmla="*/ 698500 h 2203450"/>
              <a:gd name="connsiteX321" fmla="*/ 549275 w 1943100"/>
              <a:gd name="connsiteY321" fmla="*/ 704850 h 2203450"/>
              <a:gd name="connsiteX322" fmla="*/ 536575 w 1943100"/>
              <a:gd name="connsiteY322" fmla="*/ 711200 h 2203450"/>
              <a:gd name="connsiteX323" fmla="*/ 520700 w 1943100"/>
              <a:gd name="connsiteY323" fmla="*/ 714375 h 2203450"/>
              <a:gd name="connsiteX324" fmla="*/ 504825 w 1943100"/>
              <a:gd name="connsiteY324" fmla="*/ 714375 h 2203450"/>
              <a:gd name="connsiteX325" fmla="*/ 488950 w 1943100"/>
              <a:gd name="connsiteY325" fmla="*/ 714375 h 2203450"/>
              <a:gd name="connsiteX326" fmla="*/ 473075 w 1943100"/>
              <a:gd name="connsiteY326" fmla="*/ 711200 h 2203450"/>
              <a:gd name="connsiteX327" fmla="*/ 457200 w 1943100"/>
              <a:gd name="connsiteY327" fmla="*/ 704850 h 2203450"/>
              <a:gd name="connsiteX328" fmla="*/ 444500 w 1943100"/>
              <a:gd name="connsiteY328" fmla="*/ 698500 h 2203450"/>
              <a:gd name="connsiteX329" fmla="*/ 434975 w 1943100"/>
              <a:gd name="connsiteY329" fmla="*/ 688975 h 2203450"/>
              <a:gd name="connsiteX330" fmla="*/ 428625 w 1943100"/>
              <a:gd name="connsiteY330" fmla="*/ 679450 h 2203450"/>
              <a:gd name="connsiteX331" fmla="*/ 422275 w 1943100"/>
              <a:gd name="connsiteY331" fmla="*/ 666750 h 2203450"/>
              <a:gd name="connsiteX332" fmla="*/ 422275 w 1943100"/>
              <a:gd name="connsiteY332" fmla="*/ 654050 h 2203450"/>
              <a:gd name="connsiteX333" fmla="*/ 422275 w 1943100"/>
              <a:gd name="connsiteY333" fmla="*/ 641350 h 2203450"/>
              <a:gd name="connsiteX334" fmla="*/ 428625 w 1943100"/>
              <a:gd name="connsiteY334" fmla="*/ 631825 h 2203450"/>
              <a:gd name="connsiteX335" fmla="*/ 434975 w 1943100"/>
              <a:gd name="connsiteY335" fmla="*/ 622300 h 2203450"/>
              <a:gd name="connsiteX336" fmla="*/ 444500 w 1943100"/>
              <a:gd name="connsiteY336" fmla="*/ 612775 h 2203450"/>
              <a:gd name="connsiteX337" fmla="*/ 457200 w 1943100"/>
              <a:gd name="connsiteY337" fmla="*/ 606425 h 2203450"/>
              <a:gd name="connsiteX338" fmla="*/ 473075 w 1943100"/>
              <a:gd name="connsiteY338" fmla="*/ 600075 h 2203450"/>
              <a:gd name="connsiteX339" fmla="*/ 488950 w 1943100"/>
              <a:gd name="connsiteY339" fmla="*/ 596900 h 2203450"/>
              <a:gd name="connsiteX340" fmla="*/ 1581150 w 1943100"/>
              <a:gd name="connsiteY340" fmla="*/ 158750 h 2203450"/>
              <a:gd name="connsiteX341" fmla="*/ 1600200 w 1943100"/>
              <a:gd name="connsiteY341" fmla="*/ 158750 h 2203450"/>
              <a:gd name="connsiteX342" fmla="*/ 1616075 w 1943100"/>
              <a:gd name="connsiteY342" fmla="*/ 165100 h 2203450"/>
              <a:gd name="connsiteX343" fmla="*/ 1635125 w 1943100"/>
              <a:gd name="connsiteY343" fmla="*/ 177800 h 2203450"/>
              <a:gd name="connsiteX344" fmla="*/ 1654175 w 1943100"/>
              <a:gd name="connsiteY344" fmla="*/ 193675 h 2203450"/>
              <a:gd name="connsiteX345" fmla="*/ 1670050 w 1943100"/>
              <a:gd name="connsiteY345" fmla="*/ 215900 h 2203450"/>
              <a:gd name="connsiteX346" fmla="*/ 1685925 w 1943100"/>
              <a:gd name="connsiteY346" fmla="*/ 241300 h 2203450"/>
              <a:gd name="connsiteX347" fmla="*/ 1698625 w 1943100"/>
              <a:gd name="connsiteY347" fmla="*/ 269875 h 2203450"/>
              <a:gd name="connsiteX348" fmla="*/ 1708150 w 1943100"/>
              <a:gd name="connsiteY348" fmla="*/ 298450 h 2203450"/>
              <a:gd name="connsiteX349" fmla="*/ 1714500 w 1943100"/>
              <a:gd name="connsiteY349" fmla="*/ 330200 h 2203450"/>
              <a:gd name="connsiteX350" fmla="*/ 1717675 w 1943100"/>
              <a:gd name="connsiteY350" fmla="*/ 358775 h 2203450"/>
              <a:gd name="connsiteX351" fmla="*/ 1717675 w 1943100"/>
              <a:gd name="connsiteY351" fmla="*/ 387350 h 2203450"/>
              <a:gd name="connsiteX352" fmla="*/ 1714500 w 1943100"/>
              <a:gd name="connsiteY352" fmla="*/ 409575 h 2203450"/>
              <a:gd name="connsiteX353" fmla="*/ 1708150 w 1943100"/>
              <a:gd name="connsiteY353" fmla="*/ 428625 h 2203450"/>
              <a:gd name="connsiteX354" fmla="*/ 1698625 w 1943100"/>
              <a:gd name="connsiteY354" fmla="*/ 444500 h 2203450"/>
              <a:gd name="connsiteX355" fmla="*/ 1685925 w 1943100"/>
              <a:gd name="connsiteY355" fmla="*/ 457200 h 2203450"/>
              <a:gd name="connsiteX356" fmla="*/ 1670050 w 1943100"/>
              <a:gd name="connsiteY356" fmla="*/ 460375 h 2203450"/>
              <a:gd name="connsiteX357" fmla="*/ 1651000 w 1943100"/>
              <a:gd name="connsiteY357" fmla="*/ 460375 h 2203450"/>
              <a:gd name="connsiteX358" fmla="*/ 1631950 w 1943100"/>
              <a:gd name="connsiteY358" fmla="*/ 454025 h 2203450"/>
              <a:gd name="connsiteX359" fmla="*/ 1616075 w 1943100"/>
              <a:gd name="connsiteY359" fmla="*/ 441325 h 2203450"/>
              <a:gd name="connsiteX360" fmla="*/ 1597025 w 1943100"/>
              <a:gd name="connsiteY360" fmla="*/ 422275 h 2203450"/>
              <a:gd name="connsiteX361" fmla="*/ 1581150 w 1943100"/>
              <a:gd name="connsiteY361" fmla="*/ 403225 h 2203450"/>
              <a:gd name="connsiteX362" fmla="*/ 1565275 w 1943100"/>
              <a:gd name="connsiteY362" fmla="*/ 377825 h 2203450"/>
              <a:gd name="connsiteX363" fmla="*/ 1552575 w 1943100"/>
              <a:gd name="connsiteY363" fmla="*/ 349250 h 2203450"/>
              <a:gd name="connsiteX364" fmla="*/ 1543050 w 1943100"/>
              <a:gd name="connsiteY364" fmla="*/ 320675 h 2203450"/>
              <a:gd name="connsiteX365" fmla="*/ 1533525 w 1943100"/>
              <a:gd name="connsiteY365" fmla="*/ 288925 h 2203450"/>
              <a:gd name="connsiteX366" fmla="*/ 1530350 w 1943100"/>
              <a:gd name="connsiteY366" fmla="*/ 260350 h 2203450"/>
              <a:gd name="connsiteX367" fmla="*/ 1530350 w 1943100"/>
              <a:gd name="connsiteY367" fmla="*/ 231775 h 2203450"/>
              <a:gd name="connsiteX368" fmla="*/ 1536700 w 1943100"/>
              <a:gd name="connsiteY368" fmla="*/ 209550 h 2203450"/>
              <a:gd name="connsiteX369" fmla="*/ 1543050 w 1943100"/>
              <a:gd name="connsiteY369" fmla="*/ 190500 h 2203450"/>
              <a:gd name="connsiteX370" fmla="*/ 1552575 w 1943100"/>
              <a:gd name="connsiteY370" fmla="*/ 174625 h 2203450"/>
              <a:gd name="connsiteX371" fmla="*/ 1565275 w 1943100"/>
              <a:gd name="connsiteY371" fmla="*/ 161925 h 2203450"/>
              <a:gd name="connsiteX372" fmla="*/ 1212850 w 1943100"/>
              <a:gd name="connsiteY372" fmla="*/ 98425 h 2203450"/>
              <a:gd name="connsiteX373" fmla="*/ 1241425 w 1943100"/>
              <a:gd name="connsiteY373" fmla="*/ 98425 h 2203450"/>
              <a:gd name="connsiteX374" fmla="*/ 1270000 w 1943100"/>
              <a:gd name="connsiteY374" fmla="*/ 101600 h 2203450"/>
              <a:gd name="connsiteX375" fmla="*/ 1292225 w 1943100"/>
              <a:gd name="connsiteY375" fmla="*/ 111125 h 2203450"/>
              <a:gd name="connsiteX376" fmla="*/ 1314450 w 1943100"/>
              <a:gd name="connsiteY376" fmla="*/ 120650 h 2203450"/>
              <a:gd name="connsiteX377" fmla="*/ 1333500 w 1943100"/>
              <a:gd name="connsiteY377" fmla="*/ 130175 h 2203450"/>
              <a:gd name="connsiteX378" fmla="*/ 1358900 w 1943100"/>
              <a:gd name="connsiteY378" fmla="*/ 149225 h 2203450"/>
              <a:gd name="connsiteX379" fmla="*/ 1368425 w 1943100"/>
              <a:gd name="connsiteY379" fmla="*/ 158750 h 2203450"/>
              <a:gd name="connsiteX380" fmla="*/ 1393825 w 1943100"/>
              <a:gd name="connsiteY380" fmla="*/ 180975 h 2203450"/>
              <a:gd name="connsiteX381" fmla="*/ 1419225 w 1943100"/>
              <a:gd name="connsiteY381" fmla="*/ 206375 h 2203450"/>
              <a:gd name="connsiteX382" fmla="*/ 1435100 w 1943100"/>
              <a:gd name="connsiteY382" fmla="*/ 234950 h 2203450"/>
              <a:gd name="connsiteX383" fmla="*/ 1450975 w 1943100"/>
              <a:gd name="connsiteY383" fmla="*/ 260350 h 2203450"/>
              <a:gd name="connsiteX384" fmla="*/ 1460500 w 1943100"/>
              <a:gd name="connsiteY384" fmla="*/ 285750 h 2203450"/>
              <a:gd name="connsiteX385" fmla="*/ 1470025 w 1943100"/>
              <a:gd name="connsiteY385" fmla="*/ 311150 h 2203450"/>
              <a:gd name="connsiteX386" fmla="*/ 1476375 w 1943100"/>
              <a:gd name="connsiteY386" fmla="*/ 333375 h 2203450"/>
              <a:gd name="connsiteX387" fmla="*/ 1476375 w 1943100"/>
              <a:gd name="connsiteY387" fmla="*/ 358775 h 2203450"/>
              <a:gd name="connsiteX388" fmla="*/ 1479550 w 1943100"/>
              <a:gd name="connsiteY388" fmla="*/ 400050 h 2203450"/>
              <a:gd name="connsiteX389" fmla="*/ 1473200 w 1943100"/>
              <a:gd name="connsiteY389" fmla="*/ 431800 h 2203450"/>
              <a:gd name="connsiteX390" fmla="*/ 1466850 w 1943100"/>
              <a:gd name="connsiteY390" fmla="*/ 460375 h 2203450"/>
              <a:gd name="connsiteX391" fmla="*/ 1457325 w 1943100"/>
              <a:gd name="connsiteY391" fmla="*/ 501650 h 2203450"/>
              <a:gd name="connsiteX392" fmla="*/ 1454150 w 1943100"/>
              <a:gd name="connsiteY392" fmla="*/ 533400 h 2203450"/>
              <a:gd name="connsiteX393" fmla="*/ 1454150 w 1943100"/>
              <a:gd name="connsiteY393" fmla="*/ 561975 h 2203450"/>
              <a:gd name="connsiteX394" fmla="*/ 1457325 w 1943100"/>
              <a:gd name="connsiteY394" fmla="*/ 581025 h 2203450"/>
              <a:gd name="connsiteX395" fmla="*/ 1466850 w 1943100"/>
              <a:gd name="connsiteY395" fmla="*/ 596900 h 2203450"/>
              <a:gd name="connsiteX396" fmla="*/ 1473200 w 1943100"/>
              <a:gd name="connsiteY396" fmla="*/ 609600 h 2203450"/>
              <a:gd name="connsiteX397" fmla="*/ 1482725 w 1943100"/>
              <a:gd name="connsiteY397" fmla="*/ 622300 h 2203450"/>
              <a:gd name="connsiteX398" fmla="*/ 1495425 w 1943100"/>
              <a:gd name="connsiteY398" fmla="*/ 631825 h 2203450"/>
              <a:gd name="connsiteX399" fmla="*/ 1508125 w 1943100"/>
              <a:gd name="connsiteY399" fmla="*/ 638175 h 2203450"/>
              <a:gd name="connsiteX400" fmla="*/ 1530350 w 1943100"/>
              <a:gd name="connsiteY400" fmla="*/ 647700 h 2203450"/>
              <a:gd name="connsiteX401" fmla="*/ 1552575 w 1943100"/>
              <a:gd name="connsiteY401" fmla="*/ 650875 h 2203450"/>
              <a:gd name="connsiteX402" fmla="*/ 1571625 w 1943100"/>
              <a:gd name="connsiteY402" fmla="*/ 650875 h 2203450"/>
              <a:gd name="connsiteX403" fmla="*/ 1590675 w 1943100"/>
              <a:gd name="connsiteY403" fmla="*/ 650875 h 2203450"/>
              <a:gd name="connsiteX404" fmla="*/ 1622425 w 1943100"/>
              <a:gd name="connsiteY404" fmla="*/ 650875 h 2203450"/>
              <a:gd name="connsiteX405" fmla="*/ 1647825 w 1943100"/>
              <a:gd name="connsiteY405" fmla="*/ 654050 h 2203450"/>
              <a:gd name="connsiteX406" fmla="*/ 1670050 w 1943100"/>
              <a:gd name="connsiteY406" fmla="*/ 660400 h 2203450"/>
              <a:gd name="connsiteX407" fmla="*/ 1685925 w 1943100"/>
              <a:gd name="connsiteY407" fmla="*/ 666750 h 2203450"/>
              <a:gd name="connsiteX408" fmla="*/ 1695450 w 1943100"/>
              <a:gd name="connsiteY408" fmla="*/ 676275 h 2203450"/>
              <a:gd name="connsiteX409" fmla="*/ 1701800 w 1943100"/>
              <a:gd name="connsiteY409" fmla="*/ 682625 h 2203450"/>
              <a:gd name="connsiteX410" fmla="*/ 1708150 w 1943100"/>
              <a:gd name="connsiteY410" fmla="*/ 688975 h 2203450"/>
              <a:gd name="connsiteX411" fmla="*/ 1714500 w 1943100"/>
              <a:gd name="connsiteY411" fmla="*/ 698500 h 2203450"/>
              <a:gd name="connsiteX412" fmla="*/ 1717675 w 1943100"/>
              <a:gd name="connsiteY412" fmla="*/ 708025 h 2203450"/>
              <a:gd name="connsiteX413" fmla="*/ 1724025 w 1943100"/>
              <a:gd name="connsiteY413" fmla="*/ 727075 h 2203450"/>
              <a:gd name="connsiteX414" fmla="*/ 1724025 w 1943100"/>
              <a:gd name="connsiteY414" fmla="*/ 749300 h 2203450"/>
              <a:gd name="connsiteX415" fmla="*/ 1717675 w 1943100"/>
              <a:gd name="connsiteY415" fmla="*/ 768350 h 2203450"/>
              <a:gd name="connsiteX416" fmla="*/ 1704975 w 1943100"/>
              <a:gd name="connsiteY416" fmla="*/ 800100 h 2203450"/>
              <a:gd name="connsiteX417" fmla="*/ 1698625 w 1943100"/>
              <a:gd name="connsiteY417" fmla="*/ 809625 h 2203450"/>
              <a:gd name="connsiteX418" fmla="*/ 1676400 w 1943100"/>
              <a:gd name="connsiteY418" fmla="*/ 844550 h 2203450"/>
              <a:gd name="connsiteX419" fmla="*/ 1660525 w 1943100"/>
              <a:gd name="connsiteY419" fmla="*/ 873125 h 2203450"/>
              <a:gd name="connsiteX420" fmla="*/ 1651000 w 1943100"/>
              <a:gd name="connsiteY420" fmla="*/ 898525 h 2203450"/>
              <a:gd name="connsiteX421" fmla="*/ 1644650 w 1943100"/>
              <a:gd name="connsiteY421" fmla="*/ 917575 h 2203450"/>
              <a:gd name="connsiteX422" fmla="*/ 1641475 w 1943100"/>
              <a:gd name="connsiteY422" fmla="*/ 936625 h 2203450"/>
              <a:gd name="connsiteX423" fmla="*/ 1641475 w 1943100"/>
              <a:gd name="connsiteY423" fmla="*/ 949325 h 2203450"/>
              <a:gd name="connsiteX424" fmla="*/ 1641475 w 1943100"/>
              <a:gd name="connsiteY424" fmla="*/ 958850 h 2203450"/>
              <a:gd name="connsiteX425" fmla="*/ 1644650 w 1943100"/>
              <a:gd name="connsiteY425" fmla="*/ 974725 h 2203450"/>
              <a:gd name="connsiteX426" fmla="*/ 1647825 w 1943100"/>
              <a:gd name="connsiteY426" fmla="*/ 990600 h 2203450"/>
              <a:gd name="connsiteX427" fmla="*/ 1654175 w 1943100"/>
              <a:gd name="connsiteY427" fmla="*/ 1003300 h 2203450"/>
              <a:gd name="connsiteX428" fmla="*/ 1663700 w 1943100"/>
              <a:gd name="connsiteY428" fmla="*/ 1012825 h 2203450"/>
              <a:gd name="connsiteX429" fmla="*/ 1673225 w 1943100"/>
              <a:gd name="connsiteY429" fmla="*/ 1022350 h 2203450"/>
              <a:gd name="connsiteX430" fmla="*/ 1682750 w 1943100"/>
              <a:gd name="connsiteY430" fmla="*/ 1031875 h 2203450"/>
              <a:gd name="connsiteX431" fmla="*/ 1704975 w 1943100"/>
              <a:gd name="connsiteY431" fmla="*/ 1041400 h 2203450"/>
              <a:gd name="connsiteX432" fmla="*/ 1724025 w 1943100"/>
              <a:gd name="connsiteY432" fmla="*/ 1047750 h 2203450"/>
              <a:gd name="connsiteX433" fmla="*/ 1743075 w 1943100"/>
              <a:gd name="connsiteY433" fmla="*/ 1047750 h 2203450"/>
              <a:gd name="connsiteX434" fmla="*/ 1762125 w 1943100"/>
              <a:gd name="connsiteY434" fmla="*/ 1047750 h 2203450"/>
              <a:gd name="connsiteX435" fmla="*/ 1800225 w 1943100"/>
              <a:gd name="connsiteY435" fmla="*/ 1050925 h 2203450"/>
              <a:gd name="connsiteX436" fmla="*/ 1835150 w 1943100"/>
              <a:gd name="connsiteY436" fmla="*/ 1057275 h 2203450"/>
              <a:gd name="connsiteX437" fmla="*/ 1860550 w 1943100"/>
              <a:gd name="connsiteY437" fmla="*/ 1066800 h 2203450"/>
              <a:gd name="connsiteX438" fmla="*/ 1882775 w 1943100"/>
              <a:gd name="connsiteY438" fmla="*/ 1076325 h 2203450"/>
              <a:gd name="connsiteX439" fmla="*/ 1898650 w 1943100"/>
              <a:gd name="connsiteY439" fmla="*/ 1089025 h 2203450"/>
              <a:gd name="connsiteX440" fmla="*/ 1911350 w 1943100"/>
              <a:gd name="connsiteY440" fmla="*/ 1098550 h 2203450"/>
              <a:gd name="connsiteX441" fmla="*/ 1920875 w 1943100"/>
              <a:gd name="connsiteY441" fmla="*/ 1111250 h 2203450"/>
              <a:gd name="connsiteX442" fmla="*/ 1927225 w 1943100"/>
              <a:gd name="connsiteY442" fmla="*/ 1120775 h 2203450"/>
              <a:gd name="connsiteX443" fmla="*/ 1933575 w 1943100"/>
              <a:gd name="connsiteY443" fmla="*/ 1133475 h 2203450"/>
              <a:gd name="connsiteX444" fmla="*/ 1936750 w 1943100"/>
              <a:gd name="connsiteY444" fmla="*/ 1143000 h 2203450"/>
              <a:gd name="connsiteX445" fmla="*/ 1936750 w 1943100"/>
              <a:gd name="connsiteY445" fmla="*/ 1152525 h 2203450"/>
              <a:gd name="connsiteX446" fmla="*/ 1933575 w 1943100"/>
              <a:gd name="connsiteY446" fmla="*/ 1162050 h 2203450"/>
              <a:gd name="connsiteX447" fmla="*/ 1927225 w 1943100"/>
              <a:gd name="connsiteY447" fmla="*/ 1171575 h 2203450"/>
              <a:gd name="connsiteX448" fmla="*/ 1914525 w 1943100"/>
              <a:gd name="connsiteY448" fmla="*/ 1187450 h 2203450"/>
              <a:gd name="connsiteX449" fmla="*/ 1898650 w 1943100"/>
              <a:gd name="connsiteY449" fmla="*/ 1200150 h 2203450"/>
              <a:gd name="connsiteX450" fmla="*/ 1882775 w 1943100"/>
              <a:gd name="connsiteY450" fmla="*/ 1209675 h 2203450"/>
              <a:gd name="connsiteX451" fmla="*/ 1866900 w 1943100"/>
              <a:gd name="connsiteY451" fmla="*/ 1216025 h 2203450"/>
              <a:gd name="connsiteX452" fmla="*/ 1847850 w 1943100"/>
              <a:gd name="connsiteY452" fmla="*/ 1222375 h 2203450"/>
              <a:gd name="connsiteX453" fmla="*/ 1835150 w 1943100"/>
              <a:gd name="connsiteY453" fmla="*/ 1228725 h 2203450"/>
              <a:gd name="connsiteX454" fmla="*/ 1809750 w 1943100"/>
              <a:gd name="connsiteY454" fmla="*/ 1247775 h 2203450"/>
              <a:gd name="connsiteX455" fmla="*/ 1793875 w 1943100"/>
              <a:gd name="connsiteY455" fmla="*/ 1266825 h 2203450"/>
              <a:gd name="connsiteX456" fmla="*/ 1781175 w 1943100"/>
              <a:gd name="connsiteY456" fmla="*/ 1289050 h 2203450"/>
              <a:gd name="connsiteX457" fmla="*/ 1771650 w 1943100"/>
              <a:gd name="connsiteY457" fmla="*/ 1308100 h 2203450"/>
              <a:gd name="connsiteX458" fmla="*/ 1768475 w 1943100"/>
              <a:gd name="connsiteY458" fmla="*/ 1323975 h 2203450"/>
              <a:gd name="connsiteX459" fmla="*/ 1768475 w 1943100"/>
              <a:gd name="connsiteY459" fmla="*/ 1336675 h 2203450"/>
              <a:gd name="connsiteX460" fmla="*/ 1765300 w 1943100"/>
              <a:gd name="connsiteY460" fmla="*/ 1362075 h 2203450"/>
              <a:gd name="connsiteX461" fmla="*/ 1758950 w 1943100"/>
              <a:gd name="connsiteY461" fmla="*/ 1381125 h 2203450"/>
              <a:gd name="connsiteX462" fmla="*/ 1752600 w 1943100"/>
              <a:gd name="connsiteY462" fmla="*/ 1400175 h 2203450"/>
              <a:gd name="connsiteX463" fmla="*/ 1743075 w 1943100"/>
              <a:gd name="connsiteY463" fmla="*/ 1416050 h 2203450"/>
              <a:gd name="connsiteX464" fmla="*/ 1724025 w 1943100"/>
              <a:gd name="connsiteY464" fmla="*/ 1441450 h 2203450"/>
              <a:gd name="connsiteX465" fmla="*/ 1704975 w 1943100"/>
              <a:gd name="connsiteY465" fmla="*/ 1463675 h 2203450"/>
              <a:gd name="connsiteX466" fmla="*/ 1682750 w 1943100"/>
              <a:gd name="connsiteY466" fmla="*/ 1476375 h 2203450"/>
              <a:gd name="connsiteX467" fmla="*/ 1663700 w 1943100"/>
              <a:gd name="connsiteY467" fmla="*/ 1485900 h 2203450"/>
              <a:gd name="connsiteX468" fmla="*/ 1647825 w 1943100"/>
              <a:gd name="connsiteY468" fmla="*/ 1489075 h 2203450"/>
              <a:gd name="connsiteX469" fmla="*/ 1625600 w 1943100"/>
              <a:gd name="connsiteY469" fmla="*/ 1498600 h 2203450"/>
              <a:gd name="connsiteX470" fmla="*/ 1606550 w 1943100"/>
              <a:gd name="connsiteY470" fmla="*/ 1504950 h 2203450"/>
              <a:gd name="connsiteX471" fmla="*/ 1593850 w 1943100"/>
              <a:gd name="connsiteY471" fmla="*/ 1514475 h 2203450"/>
              <a:gd name="connsiteX472" fmla="*/ 1581150 w 1943100"/>
              <a:gd name="connsiteY472" fmla="*/ 1524000 h 2203450"/>
              <a:gd name="connsiteX473" fmla="*/ 1571625 w 1943100"/>
              <a:gd name="connsiteY473" fmla="*/ 1533525 h 2203450"/>
              <a:gd name="connsiteX474" fmla="*/ 1565275 w 1943100"/>
              <a:gd name="connsiteY474" fmla="*/ 1543050 h 2203450"/>
              <a:gd name="connsiteX475" fmla="*/ 1555750 w 1943100"/>
              <a:gd name="connsiteY475" fmla="*/ 1565275 h 2203450"/>
              <a:gd name="connsiteX476" fmla="*/ 1555750 w 1943100"/>
              <a:gd name="connsiteY476" fmla="*/ 1581150 h 2203450"/>
              <a:gd name="connsiteX477" fmla="*/ 1555750 w 1943100"/>
              <a:gd name="connsiteY477" fmla="*/ 1597025 h 2203450"/>
              <a:gd name="connsiteX478" fmla="*/ 1562100 w 1943100"/>
              <a:gd name="connsiteY478" fmla="*/ 1612900 h 2203450"/>
              <a:gd name="connsiteX479" fmla="*/ 1568450 w 1943100"/>
              <a:gd name="connsiteY479" fmla="*/ 1628775 h 2203450"/>
              <a:gd name="connsiteX480" fmla="*/ 1571625 w 1943100"/>
              <a:gd name="connsiteY480" fmla="*/ 1644650 h 2203450"/>
              <a:gd name="connsiteX481" fmla="*/ 1571625 w 1943100"/>
              <a:gd name="connsiteY481" fmla="*/ 1660525 h 2203450"/>
              <a:gd name="connsiteX482" fmla="*/ 1565275 w 1943100"/>
              <a:gd name="connsiteY482" fmla="*/ 1673225 h 2203450"/>
              <a:gd name="connsiteX483" fmla="*/ 1555750 w 1943100"/>
              <a:gd name="connsiteY483" fmla="*/ 1692275 h 2203450"/>
              <a:gd name="connsiteX484" fmla="*/ 1549400 w 1943100"/>
              <a:gd name="connsiteY484" fmla="*/ 1701800 h 2203450"/>
              <a:gd name="connsiteX485" fmla="*/ 1524000 w 1943100"/>
              <a:gd name="connsiteY485" fmla="*/ 1717675 h 2203450"/>
              <a:gd name="connsiteX486" fmla="*/ 1495425 w 1943100"/>
              <a:gd name="connsiteY486" fmla="*/ 1724025 h 2203450"/>
              <a:gd name="connsiteX487" fmla="*/ 1473200 w 1943100"/>
              <a:gd name="connsiteY487" fmla="*/ 1727200 h 2203450"/>
              <a:gd name="connsiteX488" fmla="*/ 1450975 w 1943100"/>
              <a:gd name="connsiteY488" fmla="*/ 1727200 h 2203450"/>
              <a:gd name="connsiteX489" fmla="*/ 1435100 w 1943100"/>
              <a:gd name="connsiteY489" fmla="*/ 1724025 h 2203450"/>
              <a:gd name="connsiteX490" fmla="*/ 1422400 w 1943100"/>
              <a:gd name="connsiteY490" fmla="*/ 1720850 h 2203450"/>
              <a:gd name="connsiteX491" fmla="*/ 1409700 w 1943100"/>
              <a:gd name="connsiteY491" fmla="*/ 1714500 h 2203450"/>
              <a:gd name="connsiteX492" fmla="*/ 1374775 w 1943100"/>
              <a:gd name="connsiteY492" fmla="*/ 1698625 h 2203450"/>
              <a:gd name="connsiteX493" fmla="*/ 1339850 w 1943100"/>
              <a:gd name="connsiteY493" fmla="*/ 1689100 h 2203450"/>
              <a:gd name="connsiteX494" fmla="*/ 1311275 w 1943100"/>
              <a:gd name="connsiteY494" fmla="*/ 1679575 h 2203450"/>
              <a:gd name="connsiteX495" fmla="*/ 1282700 w 1943100"/>
              <a:gd name="connsiteY495" fmla="*/ 1676400 h 2203450"/>
              <a:gd name="connsiteX496" fmla="*/ 1254125 w 1943100"/>
              <a:gd name="connsiteY496" fmla="*/ 1676400 h 2203450"/>
              <a:gd name="connsiteX497" fmla="*/ 1228725 w 1943100"/>
              <a:gd name="connsiteY497" fmla="*/ 1679575 h 2203450"/>
              <a:gd name="connsiteX498" fmla="*/ 1206500 w 1943100"/>
              <a:gd name="connsiteY498" fmla="*/ 1682750 h 2203450"/>
              <a:gd name="connsiteX499" fmla="*/ 1187450 w 1943100"/>
              <a:gd name="connsiteY499" fmla="*/ 1689100 h 2203450"/>
              <a:gd name="connsiteX500" fmla="*/ 1155700 w 1943100"/>
              <a:gd name="connsiteY500" fmla="*/ 1704975 h 2203450"/>
              <a:gd name="connsiteX501" fmla="*/ 1130300 w 1943100"/>
              <a:gd name="connsiteY501" fmla="*/ 1720850 h 2203450"/>
              <a:gd name="connsiteX502" fmla="*/ 1111250 w 1943100"/>
              <a:gd name="connsiteY502" fmla="*/ 1736725 h 2203450"/>
              <a:gd name="connsiteX503" fmla="*/ 1079500 w 1943100"/>
              <a:gd name="connsiteY503" fmla="*/ 1768475 h 2203450"/>
              <a:gd name="connsiteX504" fmla="*/ 1047750 w 1943100"/>
              <a:gd name="connsiteY504" fmla="*/ 1790700 h 2203450"/>
              <a:gd name="connsiteX505" fmla="*/ 1019175 w 1943100"/>
              <a:gd name="connsiteY505" fmla="*/ 1806575 h 2203450"/>
              <a:gd name="connsiteX506" fmla="*/ 993775 w 1943100"/>
              <a:gd name="connsiteY506" fmla="*/ 1816100 h 2203450"/>
              <a:gd name="connsiteX507" fmla="*/ 971550 w 1943100"/>
              <a:gd name="connsiteY507" fmla="*/ 1819275 h 2203450"/>
              <a:gd name="connsiteX508" fmla="*/ 952500 w 1943100"/>
              <a:gd name="connsiteY508" fmla="*/ 1819275 h 2203450"/>
              <a:gd name="connsiteX509" fmla="*/ 939800 w 1943100"/>
              <a:gd name="connsiteY509" fmla="*/ 1819275 h 2203450"/>
              <a:gd name="connsiteX510" fmla="*/ 908050 w 1943100"/>
              <a:gd name="connsiteY510" fmla="*/ 1812925 h 2203450"/>
              <a:gd name="connsiteX511" fmla="*/ 882650 w 1943100"/>
              <a:gd name="connsiteY511" fmla="*/ 1803400 h 2203450"/>
              <a:gd name="connsiteX512" fmla="*/ 863600 w 1943100"/>
              <a:gd name="connsiteY512" fmla="*/ 1787525 h 2203450"/>
              <a:gd name="connsiteX513" fmla="*/ 850900 w 1943100"/>
              <a:gd name="connsiteY513" fmla="*/ 1774825 h 2203450"/>
              <a:gd name="connsiteX514" fmla="*/ 841375 w 1943100"/>
              <a:gd name="connsiteY514" fmla="*/ 1758950 h 2203450"/>
              <a:gd name="connsiteX515" fmla="*/ 835025 w 1943100"/>
              <a:gd name="connsiteY515" fmla="*/ 1746250 h 2203450"/>
              <a:gd name="connsiteX516" fmla="*/ 831850 w 1943100"/>
              <a:gd name="connsiteY516" fmla="*/ 1736725 h 2203450"/>
              <a:gd name="connsiteX517" fmla="*/ 825500 w 1943100"/>
              <a:gd name="connsiteY517" fmla="*/ 1708150 h 2203450"/>
              <a:gd name="connsiteX518" fmla="*/ 812800 w 1943100"/>
              <a:gd name="connsiteY518" fmla="*/ 1685925 h 2203450"/>
              <a:gd name="connsiteX519" fmla="*/ 800100 w 1943100"/>
              <a:gd name="connsiteY519" fmla="*/ 1670050 h 2203450"/>
              <a:gd name="connsiteX520" fmla="*/ 784225 w 1943100"/>
              <a:gd name="connsiteY520" fmla="*/ 1660525 h 2203450"/>
              <a:gd name="connsiteX521" fmla="*/ 768350 w 1943100"/>
              <a:gd name="connsiteY521" fmla="*/ 1654175 h 2203450"/>
              <a:gd name="connsiteX522" fmla="*/ 755650 w 1943100"/>
              <a:gd name="connsiteY522" fmla="*/ 1651000 h 2203450"/>
              <a:gd name="connsiteX523" fmla="*/ 742950 w 1943100"/>
              <a:gd name="connsiteY523" fmla="*/ 1651000 h 2203450"/>
              <a:gd name="connsiteX524" fmla="*/ 717550 w 1943100"/>
              <a:gd name="connsiteY524" fmla="*/ 1651000 h 2203450"/>
              <a:gd name="connsiteX525" fmla="*/ 698500 w 1943100"/>
              <a:gd name="connsiteY525" fmla="*/ 1644650 h 2203450"/>
              <a:gd name="connsiteX526" fmla="*/ 679450 w 1943100"/>
              <a:gd name="connsiteY526" fmla="*/ 1635125 h 2203450"/>
              <a:gd name="connsiteX527" fmla="*/ 663575 w 1943100"/>
              <a:gd name="connsiteY527" fmla="*/ 1625600 h 2203450"/>
              <a:gd name="connsiteX528" fmla="*/ 654050 w 1943100"/>
              <a:gd name="connsiteY528" fmla="*/ 1612900 h 2203450"/>
              <a:gd name="connsiteX529" fmla="*/ 644525 w 1943100"/>
              <a:gd name="connsiteY529" fmla="*/ 1603375 h 2203450"/>
              <a:gd name="connsiteX530" fmla="*/ 638175 w 1943100"/>
              <a:gd name="connsiteY530" fmla="*/ 1593850 h 2203450"/>
              <a:gd name="connsiteX531" fmla="*/ 628650 w 1943100"/>
              <a:gd name="connsiteY531" fmla="*/ 1577975 h 2203450"/>
              <a:gd name="connsiteX532" fmla="*/ 615950 w 1943100"/>
              <a:gd name="connsiteY532" fmla="*/ 1568450 h 2203450"/>
              <a:gd name="connsiteX533" fmla="*/ 600075 w 1943100"/>
              <a:gd name="connsiteY533" fmla="*/ 1558925 h 2203450"/>
              <a:gd name="connsiteX534" fmla="*/ 587375 w 1943100"/>
              <a:gd name="connsiteY534" fmla="*/ 1552575 h 2203450"/>
              <a:gd name="connsiteX535" fmla="*/ 571500 w 1943100"/>
              <a:gd name="connsiteY535" fmla="*/ 1549400 h 2203450"/>
              <a:gd name="connsiteX536" fmla="*/ 555625 w 1943100"/>
              <a:gd name="connsiteY536" fmla="*/ 1546225 h 2203450"/>
              <a:gd name="connsiteX537" fmla="*/ 523875 w 1943100"/>
              <a:gd name="connsiteY537" fmla="*/ 1546225 h 2203450"/>
              <a:gd name="connsiteX538" fmla="*/ 495300 w 1943100"/>
              <a:gd name="connsiteY538" fmla="*/ 1552575 h 2203450"/>
              <a:gd name="connsiteX539" fmla="*/ 469900 w 1943100"/>
              <a:gd name="connsiteY539" fmla="*/ 1558925 h 2203450"/>
              <a:gd name="connsiteX540" fmla="*/ 447675 w 1943100"/>
              <a:gd name="connsiteY540" fmla="*/ 1568450 h 2203450"/>
              <a:gd name="connsiteX541" fmla="*/ 406400 w 1943100"/>
              <a:gd name="connsiteY541" fmla="*/ 1581150 h 2203450"/>
              <a:gd name="connsiteX542" fmla="*/ 368300 w 1943100"/>
              <a:gd name="connsiteY542" fmla="*/ 1587500 h 2203450"/>
              <a:gd name="connsiteX543" fmla="*/ 333375 w 1943100"/>
              <a:gd name="connsiteY543" fmla="*/ 1590675 h 2203450"/>
              <a:gd name="connsiteX544" fmla="*/ 304800 w 1943100"/>
              <a:gd name="connsiteY544" fmla="*/ 1593850 h 2203450"/>
              <a:gd name="connsiteX545" fmla="*/ 279400 w 1943100"/>
              <a:gd name="connsiteY545" fmla="*/ 1593850 h 2203450"/>
              <a:gd name="connsiteX546" fmla="*/ 254000 w 1943100"/>
              <a:gd name="connsiteY546" fmla="*/ 1590675 h 2203450"/>
              <a:gd name="connsiteX547" fmla="*/ 234950 w 1943100"/>
              <a:gd name="connsiteY547" fmla="*/ 1584325 h 2203450"/>
              <a:gd name="connsiteX548" fmla="*/ 219075 w 1943100"/>
              <a:gd name="connsiteY548" fmla="*/ 1581150 h 2203450"/>
              <a:gd name="connsiteX549" fmla="*/ 193675 w 1943100"/>
              <a:gd name="connsiteY549" fmla="*/ 1565275 h 2203450"/>
              <a:gd name="connsiteX550" fmla="*/ 180975 w 1943100"/>
              <a:gd name="connsiteY550" fmla="*/ 1552575 h 2203450"/>
              <a:gd name="connsiteX551" fmla="*/ 171450 w 1943100"/>
              <a:gd name="connsiteY551" fmla="*/ 1543050 h 2203450"/>
              <a:gd name="connsiteX552" fmla="*/ 168275 w 1943100"/>
              <a:gd name="connsiteY552" fmla="*/ 1536700 h 2203450"/>
              <a:gd name="connsiteX553" fmla="*/ 161925 w 1943100"/>
              <a:gd name="connsiteY553" fmla="*/ 1517650 h 2203450"/>
              <a:gd name="connsiteX554" fmla="*/ 155575 w 1943100"/>
              <a:gd name="connsiteY554" fmla="*/ 1495425 h 2203450"/>
              <a:gd name="connsiteX555" fmla="*/ 152400 w 1943100"/>
              <a:gd name="connsiteY555" fmla="*/ 1476375 h 2203450"/>
              <a:gd name="connsiteX556" fmla="*/ 152400 w 1943100"/>
              <a:gd name="connsiteY556" fmla="*/ 1457325 h 2203450"/>
              <a:gd name="connsiteX557" fmla="*/ 155575 w 1943100"/>
              <a:gd name="connsiteY557" fmla="*/ 1422400 h 2203450"/>
              <a:gd name="connsiteX558" fmla="*/ 165100 w 1943100"/>
              <a:gd name="connsiteY558" fmla="*/ 1390650 h 2203450"/>
              <a:gd name="connsiteX559" fmla="*/ 180975 w 1943100"/>
              <a:gd name="connsiteY559" fmla="*/ 1358900 h 2203450"/>
              <a:gd name="connsiteX560" fmla="*/ 200025 w 1943100"/>
              <a:gd name="connsiteY560" fmla="*/ 1333500 h 2203450"/>
              <a:gd name="connsiteX561" fmla="*/ 225425 w 1943100"/>
              <a:gd name="connsiteY561" fmla="*/ 1308100 h 2203450"/>
              <a:gd name="connsiteX562" fmla="*/ 250825 w 1943100"/>
              <a:gd name="connsiteY562" fmla="*/ 1289050 h 2203450"/>
              <a:gd name="connsiteX563" fmla="*/ 276225 w 1943100"/>
              <a:gd name="connsiteY563" fmla="*/ 1270000 h 2203450"/>
              <a:gd name="connsiteX564" fmla="*/ 304800 w 1943100"/>
              <a:gd name="connsiteY564" fmla="*/ 1254125 h 2203450"/>
              <a:gd name="connsiteX565" fmla="*/ 352425 w 1943100"/>
              <a:gd name="connsiteY565" fmla="*/ 1228725 h 2203450"/>
              <a:gd name="connsiteX566" fmla="*/ 387350 w 1943100"/>
              <a:gd name="connsiteY566" fmla="*/ 1212850 h 2203450"/>
              <a:gd name="connsiteX567" fmla="*/ 403225 w 1943100"/>
              <a:gd name="connsiteY567" fmla="*/ 1209675 h 2203450"/>
              <a:gd name="connsiteX568" fmla="*/ 441325 w 1943100"/>
              <a:gd name="connsiteY568" fmla="*/ 1193800 h 2203450"/>
              <a:gd name="connsiteX569" fmla="*/ 473075 w 1943100"/>
              <a:gd name="connsiteY569" fmla="*/ 1177925 h 2203450"/>
              <a:gd name="connsiteX570" fmla="*/ 495300 w 1943100"/>
              <a:gd name="connsiteY570" fmla="*/ 1158875 h 2203450"/>
              <a:gd name="connsiteX571" fmla="*/ 511175 w 1943100"/>
              <a:gd name="connsiteY571" fmla="*/ 1143000 h 2203450"/>
              <a:gd name="connsiteX572" fmla="*/ 523875 w 1943100"/>
              <a:gd name="connsiteY572" fmla="*/ 1123950 h 2203450"/>
              <a:gd name="connsiteX573" fmla="*/ 530225 w 1943100"/>
              <a:gd name="connsiteY573" fmla="*/ 1111250 h 2203450"/>
              <a:gd name="connsiteX574" fmla="*/ 533400 w 1943100"/>
              <a:gd name="connsiteY574" fmla="*/ 1101725 h 2203450"/>
              <a:gd name="connsiteX575" fmla="*/ 533400 w 1943100"/>
              <a:gd name="connsiteY575" fmla="*/ 1076325 h 2203450"/>
              <a:gd name="connsiteX576" fmla="*/ 527050 w 1943100"/>
              <a:gd name="connsiteY576" fmla="*/ 1060450 h 2203450"/>
              <a:gd name="connsiteX577" fmla="*/ 517525 w 1943100"/>
              <a:gd name="connsiteY577" fmla="*/ 1044575 h 2203450"/>
              <a:gd name="connsiteX578" fmla="*/ 508000 w 1943100"/>
              <a:gd name="connsiteY578" fmla="*/ 1035050 h 2203450"/>
              <a:gd name="connsiteX579" fmla="*/ 498475 w 1943100"/>
              <a:gd name="connsiteY579" fmla="*/ 1028700 h 2203450"/>
              <a:gd name="connsiteX580" fmla="*/ 492125 w 1943100"/>
              <a:gd name="connsiteY580" fmla="*/ 1022350 h 2203450"/>
              <a:gd name="connsiteX581" fmla="*/ 482600 w 1943100"/>
              <a:gd name="connsiteY581" fmla="*/ 1019175 h 2203450"/>
              <a:gd name="connsiteX582" fmla="*/ 454025 w 1943100"/>
              <a:gd name="connsiteY582" fmla="*/ 1012825 h 2203450"/>
              <a:gd name="connsiteX583" fmla="*/ 428625 w 1943100"/>
              <a:gd name="connsiteY583" fmla="*/ 1003300 h 2203450"/>
              <a:gd name="connsiteX584" fmla="*/ 406400 w 1943100"/>
              <a:gd name="connsiteY584" fmla="*/ 993775 h 2203450"/>
              <a:gd name="connsiteX585" fmla="*/ 387350 w 1943100"/>
              <a:gd name="connsiteY585" fmla="*/ 984250 h 2203450"/>
              <a:gd name="connsiteX586" fmla="*/ 358775 w 1943100"/>
              <a:gd name="connsiteY586" fmla="*/ 962025 h 2203450"/>
              <a:gd name="connsiteX587" fmla="*/ 339725 w 1943100"/>
              <a:gd name="connsiteY587" fmla="*/ 939800 h 2203450"/>
              <a:gd name="connsiteX588" fmla="*/ 327025 w 1943100"/>
              <a:gd name="connsiteY588" fmla="*/ 920750 h 2203450"/>
              <a:gd name="connsiteX589" fmla="*/ 320675 w 1943100"/>
              <a:gd name="connsiteY589" fmla="*/ 908050 h 2203450"/>
              <a:gd name="connsiteX590" fmla="*/ 320675 w 1943100"/>
              <a:gd name="connsiteY590" fmla="*/ 892175 h 2203450"/>
              <a:gd name="connsiteX591" fmla="*/ 323850 w 1943100"/>
              <a:gd name="connsiteY591" fmla="*/ 876300 h 2203450"/>
              <a:gd name="connsiteX592" fmla="*/ 333375 w 1943100"/>
              <a:gd name="connsiteY592" fmla="*/ 860425 h 2203450"/>
              <a:gd name="connsiteX593" fmla="*/ 342900 w 1943100"/>
              <a:gd name="connsiteY593" fmla="*/ 847725 h 2203450"/>
              <a:gd name="connsiteX594" fmla="*/ 358775 w 1943100"/>
              <a:gd name="connsiteY594" fmla="*/ 835025 h 2203450"/>
              <a:gd name="connsiteX595" fmla="*/ 377825 w 1943100"/>
              <a:gd name="connsiteY595" fmla="*/ 825500 h 2203450"/>
              <a:gd name="connsiteX596" fmla="*/ 396875 w 1943100"/>
              <a:gd name="connsiteY596" fmla="*/ 819150 h 2203450"/>
              <a:gd name="connsiteX597" fmla="*/ 438150 w 1943100"/>
              <a:gd name="connsiteY597" fmla="*/ 809625 h 2203450"/>
              <a:gd name="connsiteX598" fmla="*/ 482600 w 1943100"/>
              <a:gd name="connsiteY598" fmla="*/ 803275 h 2203450"/>
              <a:gd name="connsiteX599" fmla="*/ 517525 w 1943100"/>
              <a:gd name="connsiteY599" fmla="*/ 800100 h 2203450"/>
              <a:gd name="connsiteX600" fmla="*/ 555625 w 1943100"/>
              <a:gd name="connsiteY600" fmla="*/ 800100 h 2203450"/>
              <a:gd name="connsiteX601" fmla="*/ 581025 w 1943100"/>
              <a:gd name="connsiteY601" fmla="*/ 800100 h 2203450"/>
              <a:gd name="connsiteX602" fmla="*/ 606425 w 1943100"/>
              <a:gd name="connsiteY602" fmla="*/ 796925 h 2203450"/>
              <a:gd name="connsiteX603" fmla="*/ 650875 w 1943100"/>
              <a:gd name="connsiteY603" fmla="*/ 787400 h 2203450"/>
              <a:gd name="connsiteX604" fmla="*/ 682625 w 1943100"/>
              <a:gd name="connsiteY604" fmla="*/ 774700 h 2203450"/>
              <a:gd name="connsiteX605" fmla="*/ 704850 w 1943100"/>
              <a:gd name="connsiteY605" fmla="*/ 758825 h 2203450"/>
              <a:gd name="connsiteX606" fmla="*/ 720725 w 1943100"/>
              <a:gd name="connsiteY606" fmla="*/ 742950 h 2203450"/>
              <a:gd name="connsiteX607" fmla="*/ 730250 w 1943100"/>
              <a:gd name="connsiteY607" fmla="*/ 730250 h 2203450"/>
              <a:gd name="connsiteX608" fmla="*/ 736600 w 1943100"/>
              <a:gd name="connsiteY608" fmla="*/ 717550 h 2203450"/>
              <a:gd name="connsiteX609" fmla="*/ 742950 w 1943100"/>
              <a:gd name="connsiteY609" fmla="*/ 688975 h 2203450"/>
              <a:gd name="connsiteX610" fmla="*/ 742950 w 1943100"/>
              <a:gd name="connsiteY610" fmla="*/ 666750 h 2203450"/>
              <a:gd name="connsiteX611" fmla="*/ 739775 w 1943100"/>
              <a:gd name="connsiteY611" fmla="*/ 647700 h 2203450"/>
              <a:gd name="connsiteX612" fmla="*/ 733425 w 1943100"/>
              <a:gd name="connsiteY612" fmla="*/ 631825 h 2203450"/>
              <a:gd name="connsiteX613" fmla="*/ 727075 w 1943100"/>
              <a:gd name="connsiteY613" fmla="*/ 619125 h 2203450"/>
              <a:gd name="connsiteX614" fmla="*/ 717550 w 1943100"/>
              <a:gd name="connsiteY614" fmla="*/ 609600 h 2203450"/>
              <a:gd name="connsiteX615" fmla="*/ 711200 w 1943100"/>
              <a:gd name="connsiteY615" fmla="*/ 603250 h 2203450"/>
              <a:gd name="connsiteX616" fmla="*/ 685800 w 1943100"/>
              <a:gd name="connsiteY616" fmla="*/ 574675 h 2203450"/>
              <a:gd name="connsiteX617" fmla="*/ 666750 w 1943100"/>
              <a:gd name="connsiteY617" fmla="*/ 549275 h 2203450"/>
              <a:gd name="connsiteX618" fmla="*/ 657225 w 1943100"/>
              <a:gd name="connsiteY618" fmla="*/ 527050 h 2203450"/>
              <a:gd name="connsiteX619" fmla="*/ 654050 w 1943100"/>
              <a:gd name="connsiteY619" fmla="*/ 504825 h 2203450"/>
              <a:gd name="connsiteX620" fmla="*/ 650875 w 1943100"/>
              <a:gd name="connsiteY620" fmla="*/ 485775 h 2203450"/>
              <a:gd name="connsiteX621" fmla="*/ 654050 w 1943100"/>
              <a:gd name="connsiteY621" fmla="*/ 469900 h 2203450"/>
              <a:gd name="connsiteX622" fmla="*/ 657225 w 1943100"/>
              <a:gd name="connsiteY622" fmla="*/ 457200 h 2203450"/>
              <a:gd name="connsiteX623" fmla="*/ 663575 w 1943100"/>
              <a:gd name="connsiteY623" fmla="*/ 441325 h 2203450"/>
              <a:gd name="connsiteX624" fmla="*/ 673100 w 1943100"/>
              <a:gd name="connsiteY624" fmla="*/ 428625 h 2203450"/>
              <a:gd name="connsiteX625" fmla="*/ 682625 w 1943100"/>
              <a:gd name="connsiteY625" fmla="*/ 419100 h 2203450"/>
              <a:gd name="connsiteX626" fmla="*/ 692150 w 1943100"/>
              <a:gd name="connsiteY626" fmla="*/ 409575 h 2203450"/>
              <a:gd name="connsiteX627" fmla="*/ 704850 w 1943100"/>
              <a:gd name="connsiteY627" fmla="*/ 406400 h 2203450"/>
              <a:gd name="connsiteX628" fmla="*/ 717550 w 1943100"/>
              <a:gd name="connsiteY628" fmla="*/ 403225 h 2203450"/>
              <a:gd name="connsiteX629" fmla="*/ 746125 w 1943100"/>
              <a:gd name="connsiteY629" fmla="*/ 400050 h 2203450"/>
              <a:gd name="connsiteX630" fmla="*/ 768350 w 1943100"/>
              <a:gd name="connsiteY630" fmla="*/ 403225 h 2203450"/>
              <a:gd name="connsiteX631" fmla="*/ 790575 w 1943100"/>
              <a:gd name="connsiteY631" fmla="*/ 409575 h 2203450"/>
              <a:gd name="connsiteX632" fmla="*/ 809625 w 1943100"/>
              <a:gd name="connsiteY632" fmla="*/ 415925 h 2203450"/>
              <a:gd name="connsiteX633" fmla="*/ 828675 w 1943100"/>
              <a:gd name="connsiteY633" fmla="*/ 419100 h 2203450"/>
              <a:gd name="connsiteX634" fmla="*/ 847725 w 1943100"/>
              <a:gd name="connsiteY634" fmla="*/ 422275 h 2203450"/>
              <a:gd name="connsiteX635" fmla="*/ 866775 w 1943100"/>
              <a:gd name="connsiteY635" fmla="*/ 419100 h 2203450"/>
              <a:gd name="connsiteX636" fmla="*/ 882650 w 1943100"/>
              <a:gd name="connsiteY636" fmla="*/ 412750 h 2203450"/>
              <a:gd name="connsiteX637" fmla="*/ 898525 w 1943100"/>
              <a:gd name="connsiteY637" fmla="*/ 406400 h 2203450"/>
              <a:gd name="connsiteX638" fmla="*/ 914400 w 1943100"/>
              <a:gd name="connsiteY638" fmla="*/ 400050 h 2203450"/>
              <a:gd name="connsiteX639" fmla="*/ 939800 w 1943100"/>
              <a:gd name="connsiteY639" fmla="*/ 377825 h 2203450"/>
              <a:gd name="connsiteX640" fmla="*/ 958850 w 1943100"/>
              <a:gd name="connsiteY640" fmla="*/ 355600 h 2203450"/>
              <a:gd name="connsiteX641" fmla="*/ 974725 w 1943100"/>
              <a:gd name="connsiteY641" fmla="*/ 336550 h 2203450"/>
              <a:gd name="connsiteX642" fmla="*/ 987425 w 1943100"/>
              <a:gd name="connsiteY642" fmla="*/ 317500 h 2203450"/>
              <a:gd name="connsiteX643" fmla="*/ 1019175 w 1943100"/>
              <a:gd name="connsiteY643" fmla="*/ 254000 h 2203450"/>
              <a:gd name="connsiteX644" fmla="*/ 1054100 w 1943100"/>
              <a:gd name="connsiteY644" fmla="*/ 203200 h 2203450"/>
              <a:gd name="connsiteX645" fmla="*/ 1085850 w 1943100"/>
              <a:gd name="connsiteY645" fmla="*/ 165100 h 2203450"/>
              <a:gd name="connsiteX646" fmla="*/ 1120775 w 1943100"/>
              <a:gd name="connsiteY646" fmla="*/ 136525 h 2203450"/>
              <a:gd name="connsiteX647" fmla="*/ 1152525 w 1943100"/>
              <a:gd name="connsiteY647" fmla="*/ 117475 h 2203450"/>
              <a:gd name="connsiteX648" fmla="*/ 1184275 w 1943100"/>
              <a:gd name="connsiteY648" fmla="*/ 104775 h 2203450"/>
              <a:gd name="connsiteX649" fmla="*/ 958850 w 1943100"/>
              <a:gd name="connsiteY649" fmla="*/ 0 h 2203450"/>
              <a:gd name="connsiteX650" fmla="*/ 981075 w 1943100"/>
              <a:gd name="connsiteY650" fmla="*/ 3175 h 2203450"/>
              <a:gd name="connsiteX651" fmla="*/ 1000125 w 1943100"/>
              <a:gd name="connsiteY651" fmla="*/ 12700 h 2203450"/>
              <a:gd name="connsiteX652" fmla="*/ 1012825 w 1943100"/>
              <a:gd name="connsiteY652" fmla="*/ 25400 h 2203450"/>
              <a:gd name="connsiteX653" fmla="*/ 1022350 w 1943100"/>
              <a:gd name="connsiteY653" fmla="*/ 44450 h 2203450"/>
              <a:gd name="connsiteX654" fmla="*/ 1028700 w 1943100"/>
              <a:gd name="connsiteY654" fmla="*/ 63500 h 2203450"/>
              <a:gd name="connsiteX655" fmla="*/ 1028700 w 1943100"/>
              <a:gd name="connsiteY655" fmla="*/ 88900 h 2203450"/>
              <a:gd name="connsiteX656" fmla="*/ 1025525 w 1943100"/>
              <a:gd name="connsiteY656" fmla="*/ 114300 h 2203450"/>
              <a:gd name="connsiteX657" fmla="*/ 1016000 w 1943100"/>
              <a:gd name="connsiteY657" fmla="*/ 142875 h 2203450"/>
              <a:gd name="connsiteX658" fmla="*/ 1003300 w 1943100"/>
              <a:gd name="connsiteY658" fmla="*/ 171450 h 2203450"/>
              <a:gd name="connsiteX659" fmla="*/ 984250 w 1943100"/>
              <a:gd name="connsiteY659" fmla="*/ 196850 h 2203450"/>
              <a:gd name="connsiteX660" fmla="*/ 965200 w 1943100"/>
              <a:gd name="connsiteY660" fmla="*/ 222250 h 2203450"/>
              <a:gd name="connsiteX661" fmla="*/ 939800 w 1943100"/>
              <a:gd name="connsiteY661" fmla="*/ 244475 h 2203450"/>
              <a:gd name="connsiteX662" fmla="*/ 917575 w 1943100"/>
              <a:gd name="connsiteY662" fmla="*/ 263525 h 2203450"/>
              <a:gd name="connsiteX663" fmla="*/ 892175 w 1943100"/>
              <a:gd name="connsiteY663" fmla="*/ 276225 h 2203450"/>
              <a:gd name="connsiteX664" fmla="*/ 866775 w 1943100"/>
              <a:gd name="connsiteY664" fmla="*/ 282575 h 2203450"/>
              <a:gd name="connsiteX665" fmla="*/ 844550 w 1943100"/>
              <a:gd name="connsiteY665" fmla="*/ 285750 h 2203450"/>
              <a:gd name="connsiteX666" fmla="*/ 822325 w 1943100"/>
              <a:gd name="connsiteY666" fmla="*/ 282575 h 2203450"/>
              <a:gd name="connsiteX667" fmla="*/ 806450 w 1943100"/>
              <a:gd name="connsiteY667" fmla="*/ 273050 h 2203450"/>
              <a:gd name="connsiteX668" fmla="*/ 790575 w 1943100"/>
              <a:gd name="connsiteY668" fmla="*/ 260350 h 2203450"/>
              <a:gd name="connsiteX669" fmla="*/ 781050 w 1943100"/>
              <a:gd name="connsiteY669" fmla="*/ 241300 h 2203450"/>
              <a:gd name="connsiteX670" fmla="*/ 774700 w 1943100"/>
              <a:gd name="connsiteY670" fmla="*/ 222250 h 2203450"/>
              <a:gd name="connsiteX671" fmla="*/ 774700 w 1943100"/>
              <a:gd name="connsiteY671" fmla="*/ 196850 h 2203450"/>
              <a:gd name="connsiteX672" fmla="*/ 777875 w 1943100"/>
              <a:gd name="connsiteY672" fmla="*/ 171450 h 2203450"/>
              <a:gd name="connsiteX673" fmla="*/ 787400 w 1943100"/>
              <a:gd name="connsiteY673" fmla="*/ 142875 h 2203450"/>
              <a:gd name="connsiteX674" fmla="*/ 800100 w 1943100"/>
              <a:gd name="connsiteY674" fmla="*/ 114300 h 2203450"/>
              <a:gd name="connsiteX675" fmla="*/ 819150 w 1943100"/>
              <a:gd name="connsiteY675" fmla="*/ 88900 h 2203450"/>
              <a:gd name="connsiteX676" fmla="*/ 841375 w 1943100"/>
              <a:gd name="connsiteY676" fmla="*/ 63500 h 2203450"/>
              <a:gd name="connsiteX677" fmla="*/ 863600 w 1943100"/>
              <a:gd name="connsiteY677" fmla="*/ 41275 h 2203450"/>
              <a:gd name="connsiteX678" fmla="*/ 889000 w 1943100"/>
              <a:gd name="connsiteY678" fmla="*/ 22225 h 2203450"/>
              <a:gd name="connsiteX679" fmla="*/ 911225 w 1943100"/>
              <a:gd name="connsiteY679" fmla="*/ 9525 h 2203450"/>
              <a:gd name="connsiteX680" fmla="*/ 936625 w 1943100"/>
              <a:gd name="connsiteY680" fmla="*/ 3175 h 220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Lst>
            <a:rect l="l" t="t" r="r" b="b"/>
            <a:pathLst>
              <a:path w="1943100" h="2203450">
                <a:moveTo>
                  <a:pt x="1273175" y="1971675"/>
                </a:moveTo>
                <a:lnTo>
                  <a:pt x="1298575" y="1974850"/>
                </a:lnTo>
                <a:lnTo>
                  <a:pt x="1323975" y="1981200"/>
                </a:lnTo>
                <a:lnTo>
                  <a:pt x="1346200" y="1990725"/>
                </a:lnTo>
                <a:lnTo>
                  <a:pt x="1365250" y="2006600"/>
                </a:lnTo>
                <a:lnTo>
                  <a:pt x="1381125" y="2022475"/>
                </a:lnTo>
                <a:lnTo>
                  <a:pt x="1393825" y="2041525"/>
                </a:lnTo>
                <a:lnTo>
                  <a:pt x="1400175" y="2063750"/>
                </a:lnTo>
                <a:lnTo>
                  <a:pt x="1403350" y="2089150"/>
                </a:lnTo>
                <a:lnTo>
                  <a:pt x="1400175" y="2111375"/>
                </a:lnTo>
                <a:lnTo>
                  <a:pt x="1393825" y="2133600"/>
                </a:lnTo>
                <a:lnTo>
                  <a:pt x="1381125" y="2152650"/>
                </a:lnTo>
                <a:lnTo>
                  <a:pt x="1365250" y="2168525"/>
                </a:lnTo>
                <a:lnTo>
                  <a:pt x="1346200" y="2184400"/>
                </a:lnTo>
                <a:lnTo>
                  <a:pt x="1323975" y="2193925"/>
                </a:lnTo>
                <a:lnTo>
                  <a:pt x="1298575" y="2200275"/>
                </a:lnTo>
                <a:lnTo>
                  <a:pt x="1273175" y="2203450"/>
                </a:lnTo>
                <a:lnTo>
                  <a:pt x="1244600" y="2200275"/>
                </a:lnTo>
                <a:lnTo>
                  <a:pt x="1222375" y="2193925"/>
                </a:lnTo>
                <a:lnTo>
                  <a:pt x="1200150" y="2184400"/>
                </a:lnTo>
                <a:lnTo>
                  <a:pt x="1177925" y="2168525"/>
                </a:lnTo>
                <a:lnTo>
                  <a:pt x="1162050" y="2152650"/>
                </a:lnTo>
                <a:lnTo>
                  <a:pt x="1152525" y="2133600"/>
                </a:lnTo>
                <a:lnTo>
                  <a:pt x="1143000" y="2111375"/>
                </a:lnTo>
                <a:lnTo>
                  <a:pt x="1139825" y="2089150"/>
                </a:lnTo>
                <a:lnTo>
                  <a:pt x="1143000" y="2063750"/>
                </a:lnTo>
                <a:lnTo>
                  <a:pt x="1152525" y="2041525"/>
                </a:lnTo>
                <a:lnTo>
                  <a:pt x="1162050" y="2022475"/>
                </a:lnTo>
                <a:lnTo>
                  <a:pt x="1177925" y="2006600"/>
                </a:lnTo>
                <a:lnTo>
                  <a:pt x="1200150" y="1990725"/>
                </a:lnTo>
                <a:lnTo>
                  <a:pt x="1222375" y="1981200"/>
                </a:lnTo>
                <a:lnTo>
                  <a:pt x="1244600" y="1974850"/>
                </a:lnTo>
                <a:close/>
                <a:moveTo>
                  <a:pt x="1498600" y="1819275"/>
                </a:moveTo>
                <a:lnTo>
                  <a:pt x="1530350" y="1822450"/>
                </a:lnTo>
                <a:lnTo>
                  <a:pt x="1562100" y="1825625"/>
                </a:lnTo>
                <a:lnTo>
                  <a:pt x="1587500" y="1831975"/>
                </a:lnTo>
                <a:lnTo>
                  <a:pt x="1612900" y="1841500"/>
                </a:lnTo>
                <a:lnTo>
                  <a:pt x="1631950" y="1854200"/>
                </a:lnTo>
                <a:lnTo>
                  <a:pt x="1647825" y="1866900"/>
                </a:lnTo>
                <a:lnTo>
                  <a:pt x="1657350" y="1879600"/>
                </a:lnTo>
                <a:lnTo>
                  <a:pt x="1660525" y="1895475"/>
                </a:lnTo>
                <a:lnTo>
                  <a:pt x="1657350" y="1911350"/>
                </a:lnTo>
                <a:lnTo>
                  <a:pt x="1647825" y="1924050"/>
                </a:lnTo>
                <a:lnTo>
                  <a:pt x="1631950" y="1939925"/>
                </a:lnTo>
                <a:lnTo>
                  <a:pt x="1612900" y="1949450"/>
                </a:lnTo>
                <a:lnTo>
                  <a:pt x="1587500" y="1958975"/>
                </a:lnTo>
                <a:lnTo>
                  <a:pt x="1562100" y="1965325"/>
                </a:lnTo>
                <a:lnTo>
                  <a:pt x="1530350" y="1971675"/>
                </a:lnTo>
                <a:lnTo>
                  <a:pt x="1498600" y="1971675"/>
                </a:lnTo>
                <a:lnTo>
                  <a:pt x="1466850" y="1971675"/>
                </a:lnTo>
                <a:lnTo>
                  <a:pt x="1435100" y="1965325"/>
                </a:lnTo>
                <a:lnTo>
                  <a:pt x="1409700" y="1958975"/>
                </a:lnTo>
                <a:lnTo>
                  <a:pt x="1384300" y="1949450"/>
                </a:lnTo>
                <a:lnTo>
                  <a:pt x="1365250" y="1939925"/>
                </a:lnTo>
                <a:lnTo>
                  <a:pt x="1349375" y="1924050"/>
                </a:lnTo>
                <a:lnTo>
                  <a:pt x="1339850" y="1911350"/>
                </a:lnTo>
                <a:lnTo>
                  <a:pt x="1336675" y="1895475"/>
                </a:lnTo>
                <a:lnTo>
                  <a:pt x="1339850" y="1879600"/>
                </a:lnTo>
                <a:lnTo>
                  <a:pt x="1349375" y="1866900"/>
                </a:lnTo>
                <a:lnTo>
                  <a:pt x="1365250" y="1854200"/>
                </a:lnTo>
                <a:lnTo>
                  <a:pt x="1384300" y="1841500"/>
                </a:lnTo>
                <a:lnTo>
                  <a:pt x="1409700" y="1831975"/>
                </a:lnTo>
                <a:lnTo>
                  <a:pt x="1435100" y="1825625"/>
                </a:lnTo>
                <a:lnTo>
                  <a:pt x="1466850" y="1822450"/>
                </a:lnTo>
                <a:close/>
                <a:moveTo>
                  <a:pt x="752475" y="1781175"/>
                </a:moveTo>
                <a:lnTo>
                  <a:pt x="762000" y="1784350"/>
                </a:lnTo>
                <a:lnTo>
                  <a:pt x="768350" y="1787525"/>
                </a:lnTo>
                <a:lnTo>
                  <a:pt x="777875" y="1790700"/>
                </a:lnTo>
                <a:lnTo>
                  <a:pt x="784225" y="1800225"/>
                </a:lnTo>
                <a:lnTo>
                  <a:pt x="793750" y="1816100"/>
                </a:lnTo>
                <a:lnTo>
                  <a:pt x="796925" y="1838325"/>
                </a:lnTo>
                <a:lnTo>
                  <a:pt x="793750" y="1860550"/>
                </a:lnTo>
                <a:lnTo>
                  <a:pt x="784225" y="1879600"/>
                </a:lnTo>
                <a:lnTo>
                  <a:pt x="777875" y="1885950"/>
                </a:lnTo>
                <a:lnTo>
                  <a:pt x="768350" y="1889125"/>
                </a:lnTo>
                <a:lnTo>
                  <a:pt x="762000" y="1892300"/>
                </a:lnTo>
                <a:lnTo>
                  <a:pt x="752475" y="1895475"/>
                </a:lnTo>
                <a:lnTo>
                  <a:pt x="742950" y="1892300"/>
                </a:lnTo>
                <a:lnTo>
                  <a:pt x="736600" y="1889125"/>
                </a:lnTo>
                <a:lnTo>
                  <a:pt x="727075" y="1885950"/>
                </a:lnTo>
                <a:lnTo>
                  <a:pt x="720725" y="1879600"/>
                </a:lnTo>
                <a:lnTo>
                  <a:pt x="711200" y="1860550"/>
                </a:lnTo>
                <a:lnTo>
                  <a:pt x="708025" y="1838325"/>
                </a:lnTo>
                <a:lnTo>
                  <a:pt x="711200" y="1816100"/>
                </a:lnTo>
                <a:lnTo>
                  <a:pt x="720725" y="1800225"/>
                </a:lnTo>
                <a:lnTo>
                  <a:pt x="727075" y="1790700"/>
                </a:lnTo>
                <a:lnTo>
                  <a:pt x="736600" y="1787525"/>
                </a:lnTo>
                <a:lnTo>
                  <a:pt x="742950" y="1784350"/>
                </a:lnTo>
                <a:close/>
                <a:moveTo>
                  <a:pt x="492125" y="1670050"/>
                </a:moveTo>
                <a:lnTo>
                  <a:pt x="520700" y="1673225"/>
                </a:lnTo>
                <a:lnTo>
                  <a:pt x="546100" y="1679575"/>
                </a:lnTo>
                <a:lnTo>
                  <a:pt x="568325" y="1689100"/>
                </a:lnTo>
                <a:lnTo>
                  <a:pt x="590550" y="1704975"/>
                </a:lnTo>
                <a:lnTo>
                  <a:pt x="606425" y="1720850"/>
                </a:lnTo>
                <a:lnTo>
                  <a:pt x="619125" y="1739900"/>
                </a:lnTo>
                <a:lnTo>
                  <a:pt x="628650" y="1758950"/>
                </a:lnTo>
                <a:lnTo>
                  <a:pt x="631825" y="1781175"/>
                </a:lnTo>
                <a:lnTo>
                  <a:pt x="628650" y="1806575"/>
                </a:lnTo>
                <a:lnTo>
                  <a:pt x="619125" y="1825625"/>
                </a:lnTo>
                <a:lnTo>
                  <a:pt x="606425" y="1844675"/>
                </a:lnTo>
                <a:lnTo>
                  <a:pt x="590550" y="1860550"/>
                </a:lnTo>
                <a:lnTo>
                  <a:pt x="568325" y="1876425"/>
                </a:lnTo>
                <a:lnTo>
                  <a:pt x="546100" y="1885950"/>
                </a:lnTo>
                <a:lnTo>
                  <a:pt x="520700" y="1892300"/>
                </a:lnTo>
                <a:lnTo>
                  <a:pt x="492125" y="1895475"/>
                </a:lnTo>
                <a:lnTo>
                  <a:pt x="463550" y="1892300"/>
                </a:lnTo>
                <a:lnTo>
                  <a:pt x="438150" y="1885950"/>
                </a:lnTo>
                <a:lnTo>
                  <a:pt x="412750" y="1876425"/>
                </a:lnTo>
                <a:lnTo>
                  <a:pt x="393700" y="1860550"/>
                </a:lnTo>
                <a:lnTo>
                  <a:pt x="374650" y="1844675"/>
                </a:lnTo>
                <a:lnTo>
                  <a:pt x="361950" y="1825625"/>
                </a:lnTo>
                <a:lnTo>
                  <a:pt x="355600" y="1806575"/>
                </a:lnTo>
                <a:lnTo>
                  <a:pt x="352425" y="1781175"/>
                </a:lnTo>
                <a:lnTo>
                  <a:pt x="355600" y="1758950"/>
                </a:lnTo>
                <a:lnTo>
                  <a:pt x="361950" y="1739900"/>
                </a:lnTo>
                <a:lnTo>
                  <a:pt x="374650" y="1720850"/>
                </a:lnTo>
                <a:lnTo>
                  <a:pt x="393700" y="1704975"/>
                </a:lnTo>
                <a:lnTo>
                  <a:pt x="412750" y="1689100"/>
                </a:lnTo>
                <a:lnTo>
                  <a:pt x="438150" y="1679575"/>
                </a:lnTo>
                <a:lnTo>
                  <a:pt x="463550" y="1673225"/>
                </a:lnTo>
                <a:close/>
                <a:moveTo>
                  <a:pt x="212725" y="1670050"/>
                </a:moveTo>
                <a:lnTo>
                  <a:pt x="228600" y="1673225"/>
                </a:lnTo>
                <a:lnTo>
                  <a:pt x="244475" y="1676400"/>
                </a:lnTo>
                <a:lnTo>
                  <a:pt x="257175" y="1679575"/>
                </a:lnTo>
                <a:lnTo>
                  <a:pt x="266700" y="1685925"/>
                </a:lnTo>
                <a:lnTo>
                  <a:pt x="276225" y="1692275"/>
                </a:lnTo>
                <a:lnTo>
                  <a:pt x="285750" y="1701800"/>
                </a:lnTo>
                <a:lnTo>
                  <a:pt x="288925" y="1711325"/>
                </a:lnTo>
                <a:lnTo>
                  <a:pt x="288925" y="1724025"/>
                </a:lnTo>
                <a:lnTo>
                  <a:pt x="288925" y="1733550"/>
                </a:lnTo>
                <a:lnTo>
                  <a:pt x="285750" y="1743075"/>
                </a:lnTo>
                <a:lnTo>
                  <a:pt x="276225" y="1752600"/>
                </a:lnTo>
                <a:lnTo>
                  <a:pt x="266700" y="1758950"/>
                </a:lnTo>
                <a:lnTo>
                  <a:pt x="257175" y="1765300"/>
                </a:lnTo>
                <a:lnTo>
                  <a:pt x="244475" y="1771650"/>
                </a:lnTo>
                <a:lnTo>
                  <a:pt x="228600" y="1774825"/>
                </a:lnTo>
                <a:lnTo>
                  <a:pt x="212725" y="1774825"/>
                </a:lnTo>
                <a:lnTo>
                  <a:pt x="196850" y="1774825"/>
                </a:lnTo>
                <a:lnTo>
                  <a:pt x="184150" y="1771650"/>
                </a:lnTo>
                <a:lnTo>
                  <a:pt x="168275" y="1765300"/>
                </a:lnTo>
                <a:lnTo>
                  <a:pt x="158750" y="1758950"/>
                </a:lnTo>
                <a:lnTo>
                  <a:pt x="149225" y="1752600"/>
                </a:lnTo>
                <a:lnTo>
                  <a:pt x="142875" y="1743075"/>
                </a:lnTo>
                <a:lnTo>
                  <a:pt x="136525" y="1733550"/>
                </a:lnTo>
                <a:lnTo>
                  <a:pt x="136525" y="1724025"/>
                </a:lnTo>
                <a:lnTo>
                  <a:pt x="136525" y="1711325"/>
                </a:lnTo>
                <a:lnTo>
                  <a:pt x="142875" y="1701800"/>
                </a:lnTo>
                <a:lnTo>
                  <a:pt x="149225" y="1692275"/>
                </a:lnTo>
                <a:lnTo>
                  <a:pt x="158750" y="1685925"/>
                </a:lnTo>
                <a:lnTo>
                  <a:pt x="168275" y="1679575"/>
                </a:lnTo>
                <a:lnTo>
                  <a:pt x="184150" y="1676400"/>
                </a:lnTo>
                <a:lnTo>
                  <a:pt x="196850" y="1673225"/>
                </a:lnTo>
                <a:close/>
                <a:moveTo>
                  <a:pt x="44450" y="1260475"/>
                </a:moveTo>
                <a:lnTo>
                  <a:pt x="53975" y="1260475"/>
                </a:lnTo>
                <a:lnTo>
                  <a:pt x="63500" y="1260475"/>
                </a:lnTo>
                <a:lnTo>
                  <a:pt x="76200" y="1266825"/>
                </a:lnTo>
                <a:lnTo>
                  <a:pt x="82550" y="1273175"/>
                </a:lnTo>
                <a:lnTo>
                  <a:pt x="92075" y="1279525"/>
                </a:lnTo>
                <a:lnTo>
                  <a:pt x="98425" y="1289050"/>
                </a:lnTo>
                <a:lnTo>
                  <a:pt x="101600" y="1298575"/>
                </a:lnTo>
                <a:lnTo>
                  <a:pt x="104775" y="1311275"/>
                </a:lnTo>
                <a:lnTo>
                  <a:pt x="107950" y="1323975"/>
                </a:lnTo>
                <a:lnTo>
                  <a:pt x="104775" y="1336675"/>
                </a:lnTo>
                <a:lnTo>
                  <a:pt x="101600" y="1349375"/>
                </a:lnTo>
                <a:lnTo>
                  <a:pt x="98425" y="1362075"/>
                </a:lnTo>
                <a:lnTo>
                  <a:pt x="92075" y="1371600"/>
                </a:lnTo>
                <a:lnTo>
                  <a:pt x="82550" y="1377950"/>
                </a:lnTo>
                <a:lnTo>
                  <a:pt x="76200" y="1384300"/>
                </a:lnTo>
                <a:lnTo>
                  <a:pt x="63500" y="1387475"/>
                </a:lnTo>
                <a:lnTo>
                  <a:pt x="53975" y="1390650"/>
                </a:lnTo>
                <a:lnTo>
                  <a:pt x="44450" y="1387475"/>
                </a:lnTo>
                <a:lnTo>
                  <a:pt x="34925" y="1384300"/>
                </a:lnTo>
                <a:lnTo>
                  <a:pt x="25400" y="1377950"/>
                </a:lnTo>
                <a:lnTo>
                  <a:pt x="15875" y="1371600"/>
                </a:lnTo>
                <a:lnTo>
                  <a:pt x="9525" y="1362075"/>
                </a:lnTo>
                <a:lnTo>
                  <a:pt x="6350" y="1349375"/>
                </a:lnTo>
                <a:lnTo>
                  <a:pt x="3175" y="1336675"/>
                </a:lnTo>
                <a:lnTo>
                  <a:pt x="0" y="1323975"/>
                </a:lnTo>
                <a:lnTo>
                  <a:pt x="3175" y="1311275"/>
                </a:lnTo>
                <a:lnTo>
                  <a:pt x="6350" y="1298575"/>
                </a:lnTo>
                <a:lnTo>
                  <a:pt x="9525" y="1289050"/>
                </a:lnTo>
                <a:lnTo>
                  <a:pt x="15875" y="1279525"/>
                </a:lnTo>
                <a:lnTo>
                  <a:pt x="25400" y="1273175"/>
                </a:lnTo>
                <a:lnTo>
                  <a:pt x="34925" y="1266825"/>
                </a:lnTo>
                <a:close/>
                <a:moveTo>
                  <a:pt x="171450" y="1098550"/>
                </a:moveTo>
                <a:lnTo>
                  <a:pt x="184150" y="1101725"/>
                </a:lnTo>
                <a:lnTo>
                  <a:pt x="193675" y="1104900"/>
                </a:lnTo>
                <a:lnTo>
                  <a:pt x="206375" y="1108075"/>
                </a:lnTo>
                <a:lnTo>
                  <a:pt x="215900" y="1117600"/>
                </a:lnTo>
                <a:lnTo>
                  <a:pt x="222250" y="1123950"/>
                </a:lnTo>
                <a:lnTo>
                  <a:pt x="228600" y="1136650"/>
                </a:lnTo>
                <a:lnTo>
                  <a:pt x="231775" y="1146175"/>
                </a:lnTo>
                <a:lnTo>
                  <a:pt x="234950" y="1158875"/>
                </a:lnTo>
                <a:lnTo>
                  <a:pt x="231775" y="1168400"/>
                </a:lnTo>
                <a:lnTo>
                  <a:pt x="228600" y="1181100"/>
                </a:lnTo>
                <a:lnTo>
                  <a:pt x="222250" y="1190625"/>
                </a:lnTo>
                <a:lnTo>
                  <a:pt x="215900" y="1200150"/>
                </a:lnTo>
                <a:lnTo>
                  <a:pt x="206375" y="1206500"/>
                </a:lnTo>
                <a:lnTo>
                  <a:pt x="193675" y="1212850"/>
                </a:lnTo>
                <a:lnTo>
                  <a:pt x="184150" y="1216025"/>
                </a:lnTo>
                <a:lnTo>
                  <a:pt x="171450" y="1216025"/>
                </a:lnTo>
                <a:lnTo>
                  <a:pt x="158750" y="1216025"/>
                </a:lnTo>
                <a:lnTo>
                  <a:pt x="146050" y="1212850"/>
                </a:lnTo>
                <a:lnTo>
                  <a:pt x="136525" y="1206500"/>
                </a:lnTo>
                <a:lnTo>
                  <a:pt x="127000" y="1200150"/>
                </a:lnTo>
                <a:lnTo>
                  <a:pt x="117475" y="1190625"/>
                </a:lnTo>
                <a:lnTo>
                  <a:pt x="111125" y="1181100"/>
                </a:lnTo>
                <a:lnTo>
                  <a:pt x="107950" y="1168400"/>
                </a:lnTo>
                <a:lnTo>
                  <a:pt x="107950" y="1158875"/>
                </a:lnTo>
                <a:lnTo>
                  <a:pt x="107950" y="1146175"/>
                </a:lnTo>
                <a:lnTo>
                  <a:pt x="111125" y="1136650"/>
                </a:lnTo>
                <a:lnTo>
                  <a:pt x="117475" y="1123950"/>
                </a:lnTo>
                <a:lnTo>
                  <a:pt x="127000" y="1117600"/>
                </a:lnTo>
                <a:lnTo>
                  <a:pt x="136525" y="1108075"/>
                </a:lnTo>
                <a:lnTo>
                  <a:pt x="146050" y="1104900"/>
                </a:lnTo>
                <a:lnTo>
                  <a:pt x="158750" y="1101725"/>
                </a:lnTo>
                <a:close/>
                <a:moveTo>
                  <a:pt x="136525" y="812800"/>
                </a:moveTo>
                <a:lnTo>
                  <a:pt x="155575" y="815975"/>
                </a:lnTo>
                <a:lnTo>
                  <a:pt x="174625" y="822325"/>
                </a:lnTo>
                <a:lnTo>
                  <a:pt x="190500" y="831850"/>
                </a:lnTo>
                <a:lnTo>
                  <a:pt x="206375" y="844550"/>
                </a:lnTo>
                <a:lnTo>
                  <a:pt x="215900" y="860425"/>
                </a:lnTo>
                <a:lnTo>
                  <a:pt x="225425" y="879475"/>
                </a:lnTo>
                <a:lnTo>
                  <a:pt x="231775" y="898525"/>
                </a:lnTo>
                <a:lnTo>
                  <a:pt x="234950" y="920750"/>
                </a:lnTo>
                <a:lnTo>
                  <a:pt x="231775" y="939800"/>
                </a:lnTo>
                <a:lnTo>
                  <a:pt x="225425" y="958850"/>
                </a:lnTo>
                <a:lnTo>
                  <a:pt x="215900" y="977900"/>
                </a:lnTo>
                <a:lnTo>
                  <a:pt x="206375" y="993775"/>
                </a:lnTo>
                <a:lnTo>
                  <a:pt x="190500" y="1006475"/>
                </a:lnTo>
                <a:lnTo>
                  <a:pt x="174625" y="1016000"/>
                </a:lnTo>
                <a:lnTo>
                  <a:pt x="155575" y="1022350"/>
                </a:lnTo>
                <a:lnTo>
                  <a:pt x="136525" y="1025525"/>
                </a:lnTo>
                <a:lnTo>
                  <a:pt x="114300" y="1022350"/>
                </a:lnTo>
                <a:lnTo>
                  <a:pt x="98425" y="1016000"/>
                </a:lnTo>
                <a:lnTo>
                  <a:pt x="79375" y="1006475"/>
                </a:lnTo>
                <a:lnTo>
                  <a:pt x="66675" y="993775"/>
                </a:lnTo>
                <a:lnTo>
                  <a:pt x="53975" y="977900"/>
                </a:lnTo>
                <a:lnTo>
                  <a:pt x="44450" y="958850"/>
                </a:lnTo>
                <a:lnTo>
                  <a:pt x="38100" y="939800"/>
                </a:lnTo>
                <a:lnTo>
                  <a:pt x="38100" y="920750"/>
                </a:lnTo>
                <a:lnTo>
                  <a:pt x="38100" y="898525"/>
                </a:lnTo>
                <a:lnTo>
                  <a:pt x="44450" y="879475"/>
                </a:lnTo>
                <a:lnTo>
                  <a:pt x="53975" y="860425"/>
                </a:lnTo>
                <a:lnTo>
                  <a:pt x="66675" y="844550"/>
                </a:lnTo>
                <a:lnTo>
                  <a:pt x="79375" y="831850"/>
                </a:lnTo>
                <a:lnTo>
                  <a:pt x="98425" y="822325"/>
                </a:lnTo>
                <a:lnTo>
                  <a:pt x="114300" y="815975"/>
                </a:lnTo>
                <a:close/>
                <a:moveTo>
                  <a:pt x="352425" y="698500"/>
                </a:moveTo>
                <a:lnTo>
                  <a:pt x="368300" y="701675"/>
                </a:lnTo>
                <a:lnTo>
                  <a:pt x="381000" y="708025"/>
                </a:lnTo>
                <a:lnTo>
                  <a:pt x="390525" y="720725"/>
                </a:lnTo>
                <a:lnTo>
                  <a:pt x="393700" y="733425"/>
                </a:lnTo>
                <a:lnTo>
                  <a:pt x="390525" y="749300"/>
                </a:lnTo>
                <a:lnTo>
                  <a:pt x="381000" y="762000"/>
                </a:lnTo>
                <a:lnTo>
                  <a:pt x="368300" y="768350"/>
                </a:lnTo>
                <a:lnTo>
                  <a:pt x="352425" y="771525"/>
                </a:lnTo>
                <a:lnTo>
                  <a:pt x="333375" y="768350"/>
                </a:lnTo>
                <a:lnTo>
                  <a:pt x="320675" y="762000"/>
                </a:lnTo>
                <a:lnTo>
                  <a:pt x="311150" y="749300"/>
                </a:lnTo>
                <a:lnTo>
                  <a:pt x="307975" y="733425"/>
                </a:lnTo>
                <a:lnTo>
                  <a:pt x="311150" y="720725"/>
                </a:lnTo>
                <a:lnTo>
                  <a:pt x="320675" y="708025"/>
                </a:lnTo>
                <a:lnTo>
                  <a:pt x="333375" y="701675"/>
                </a:lnTo>
                <a:close/>
                <a:moveTo>
                  <a:pt x="1809750" y="631825"/>
                </a:moveTo>
                <a:lnTo>
                  <a:pt x="1825625" y="631825"/>
                </a:lnTo>
                <a:lnTo>
                  <a:pt x="1841500" y="631825"/>
                </a:lnTo>
                <a:lnTo>
                  <a:pt x="1863725" y="635000"/>
                </a:lnTo>
                <a:lnTo>
                  <a:pt x="1885950" y="644525"/>
                </a:lnTo>
                <a:lnTo>
                  <a:pt x="1895475" y="654050"/>
                </a:lnTo>
                <a:lnTo>
                  <a:pt x="1908175" y="663575"/>
                </a:lnTo>
                <a:lnTo>
                  <a:pt x="1917700" y="679450"/>
                </a:lnTo>
                <a:lnTo>
                  <a:pt x="1927225" y="695325"/>
                </a:lnTo>
                <a:lnTo>
                  <a:pt x="1933575" y="704850"/>
                </a:lnTo>
                <a:lnTo>
                  <a:pt x="1939925" y="720725"/>
                </a:lnTo>
                <a:lnTo>
                  <a:pt x="1943100" y="739775"/>
                </a:lnTo>
                <a:lnTo>
                  <a:pt x="1943100" y="768350"/>
                </a:lnTo>
                <a:lnTo>
                  <a:pt x="1939925" y="800100"/>
                </a:lnTo>
                <a:lnTo>
                  <a:pt x="1930400" y="841375"/>
                </a:lnTo>
                <a:lnTo>
                  <a:pt x="1911350" y="885825"/>
                </a:lnTo>
                <a:lnTo>
                  <a:pt x="1898650" y="914400"/>
                </a:lnTo>
                <a:lnTo>
                  <a:pt x="1882775" y="939800"/>
                </a:lnTo>
                <a:lnTo>
                  <a:pt x="1863725" y="958850"/>
                </a:lnTo>
                <a:lnTo>
                  <a:pt x="1847850" y="974725"/>
                </a:lnTo>
                <a:lnTo>
                  <a:pt x="1828800" y="987425"/>
                </a:lnTo>
                <a:lnTo>
                  <a:pt x="1809750" y="993775"/>
                </a:lnTo>
                <a:lnTo>
                  <a:pt x="1793875" y="996950"/>
                </a:lnTo>
                <a:lnTo>
                  <a:pt x="1778000" y="990600"/>
                </a:lnTo>
                <a:lnTo>
                  <a:pt x="1765300" y="977900"/>
                </a:lnTo>
                <a:lnTo>
                  <a:pt x="1755775" y="962025"/>
                </a:lnTo>
                <a:lnTo>
                  <a:pt x="1749425" y="942975"/>
                </a:lnTo>
                <a:lnTo>
                  <a:pt x="1746250" y="917575"/>
                </a:lnTo>
                <a:lnTo>
                  <a:pt x="1746250" y="892175"/>
                </a:lnTo>
                <a:lnTo>
                  <a:pt x="1749425" y="863600"/>
                </a:lnTo>
                <a:lnTo>
                  <a:pt x="1755775" y="835025"/>
                </a:lnTo>
                <a:lnTo>
                  <a:pt x="1768475" y="803275"/>
                </a:lnTo>
                <a:lnTo>
                  <a:pt x="1771650" y="796925"/>
                </a:lnTo>
                <a:lnTo>
                  <a:pt x="1774825" y="777875"/>
                </a:lnTo>
                <a:lnTo>
                  <a:pt x="1774825" y="752475"/>
                </a:lnTo>
                <a:lnTo>
                  <a:pt x="1774825" y="739775"/>
                </a:lnTo>
                <a:lnTo>
                  <a:pt x="1768475" y="727075"/>
                </a:lnTo>
                <a:lnTo>
                  <a:pt x="1762125" y="717550"/>
                </a:lnTo>
                <a:lnTo>
                  <a:pt x="1758950" y="708025"/>
                </a:lnTo>
                <a:lnTo>
                  <a:pt x="1755775" y="695325"/>
                </a:lnTo>
                <a:lnTo>
                  <a:pt x="1755775" y="682625"/>
                </a:lnTo>
                <a:lnTo>
                  <a:pt x="1762125" y="666750"/>
                </a:lnTo>
                <a:lnTo>
                  <a:pt x="1774825" y="650875"/>
                </a:lnTo>
                <a:lnTo>
                  <a:pt x="1797050" y="638175"/>
                </a:lnTo>
                <a:close/>
                <a:moveTo>
                  <a:pt x="504825" y="593725"/>
                </a:moveTo>
                <a:lnTo>
                  <a:pt x="520700" y="596900"/>
                </a:lnTo>
                <a:lnTo>
                  <a:pt x="536575" y="600075"/>
                </a:lnTo>
                <a:lnTo>
                  <a:pt x="549275" y="606425"/>
                </a:lnTo>
                <a:lnTo>
                  <a:pt x="561975" y="612775"/>
                </a:lnTo>
                <a:lnTo>
                  <a:pt x="571500" y="622300"/>
                </a:lnTo>
                <a:lnTo>
                  <a:pt x="581025" y="631825"/>
                </a:lnTo>
                <a:lnTo>
                  <a:pt x="584200" y="641350"/>
                </a:lnTo>
                <a:lnTo>
                  <a:pt x="587375" y="654050"/>
                </a:lnTo>
                <a:lnTo>
                  <a:pt x="584200" y="666750"/>
                </a:lnTo>
                <a:lnTo>
                  <a:pt x="581025" y="679450"/>
                </a:lnTo>
                <a:lnTo>
                  <a:pt x="571500" y="688975"/>
                </a:lnTo>
                <a:lnTo>
                  <a:pt x="561975" y="698500"/>
                </a:lnTo>
                <a:lnTo>
                  <a:pt x="549275" y="704850"/>
                </a:lnTo>
                <a:lnTo>
                  <a:pt x="536575" y="711200"/>
                </a:lnTo>
                <a:lnTo>
                  <a:pt x="520700" y="714375"/>
                </a:lnTo>
                <a:lnTo>
                  <a:pt x="504825" y="714375"/>
                </a:lnTo>
                <a:lnTo>
                  <a:pt x="488950" y="714375"/>
                </a:lnTo>
                <a:lnTo>
                  <a:pt x="473075" y="711200"/>
                </a:lnTo>
                <a:lnTo>
                  <a:pt x="457200" y="704850"/>
                </a:lnTo>
                <a:lnTo>
                  <a:pt x="444500" y="698500"/>
                </a:lnTo>
                <a:lnTo>
                  <a:pt x="434975" y="688975"/>
                </a:lnTo>
                <a:lnTo>
                  <a:pt x="428625" y="679450"/>
                </a:lnTo>
                <a:lnTo>
                  <a:pt x="422275" y="666750"/>
                </a:lnTo>
                <a:lnTo>
                  <a:pt x="422275" y="654050"/>
                </a:lnTo>
                <a:lnTo>
                  <a:pt x="422275" y="641350"/>
                </a:lnTo>
                <a:lnTo>
                  <a:pt x="428625" y="631825"/>
                </a:lnTo>
                <a:lnTo>
                  <a:pt x="434975" y="622300"/>
                </a:lnTo>
                <a:lnTo>
                  <a:pt x="444500" y="612775"/>
                </a:lnTo>
                <a:lnTo>
                  <a:pt x="457200" y="606425"/>
                </a:lnTo>
                <a:lnTo>
                  <a:pt x="473075" y="600075"/>
                </a:lnTo>
                <a:lnTo>
                  <a:pt x="488950" y="596900"/>
                </a:lnTo>
                <a:close/>
                <a:moveTo>
                  <a:pt x="1581150" y="158750"/>
                </a:moveTo>
                <a:lnTo>
                  <a:pt x="1600200" y="158750"/>
                </a:lnTo>
                <a:lnTo>
                  <a:pt x="1616075" y="165100"/>
                </a:lnTo>
                <a:lnTo>
                  <a:pt x="1635125" y="177800"/>
                </a:lnTo>
                <a:lnTo>
                  <a:pt x="1654175" y="193675"/>
                </a:lnTo>
                <a:lnTo>
                  <a:pt x="1670050" y="215900"/>
                </a:lnTo>
                <a:lnTo>
                  <a:pt x="1685925" y="241300"/>
                </a:lnTo>
                <a:lnTo>
                  <a:pt x="1698625" y="269875"/>
                </a:lnTo>
                <a:lnTo>
                  <a:pt x="1708150" y="298450"/>
                </a:lnTo>
                <a:lnTo>
                  <a:pt x="1714500" y="330200"/>
                </a:lnTo>
                <a:lnTo>
                  <a:pt x="1717675" y="358775"/>
                </a:lnTo>
                <a:lnTo>
                  <a:pt x="1717675" y="387350"/>
                </a:lnTo>
                <a:lnTo>
                  <a:pt x="1714500" y="409575"/>
                </a:lnTo>
                <a:lnTo>
                  <a:pt x="1708150" y="428625"/>
                </a:lnTo>
                <a:lnTo>
                  <a:pt x="1698625" y="444500"/>
                </a:lnTo>
                <a:lnTo>
                  <a:pt x="1685925" y="457200"/>
                </a:lnTo>
                <a:lnTo>
                  <a:pt x="1670050" y="460375"/>
                </a:lnTo>
                <a:lnTo>
                  <a:pt x="1651000" y="460375"/>
                </a:lnTo>
                <a:lnTo>
                  <a:pt x="1631950" y="454025"/>
                </a:lnTo>
                <a:lnTo>
                  <a:pt x="1616075" y="441325"/>
                </a:lnTo>
                <a:lnTo>
                  <a:pt x="1597025" y="422275"/>
                </a:lnTo>
                <a:lnTo>
                  <a:pt x="1581150" y="403225"/>
                </a:lnTo>
                <a:lnTo>
                  <a:pt x="1565275" y="377825"/>
                </a:lnTo>
                <a:lnTo>
                  <a:pt x="1552575" y="349250"/>
                </a:lnTo>
                <a:lnTo>
                  <a:pt x="1543050" y="320675"/>
                </a:lnTo>
                <a:lnTo>
                  <a:pt x="1533525" y="288925"/>
                </a:lnTo>
                <a:lnTo>
                  <a:pt x="1530350" y="260350"/>
                </a:lnTo>
                <a:lnTo>
                  <a:pt x="1530350" y="231775"/>
                </a:lnTo>
                <a:lnTo>
                  <a:pt x="1536700" y="209550"/>
                </a:lnTo>
                <a:lnTo>
                  <a:pt x="1543050" y="190500"/>
                </a:lnTo>
                <a:lnTo>
                  <a:pt x="1552575" y="174625"/>
                </a:lnTo>
                <a:lnTo>
                  <a:pt x="1565275" y="161925"/>
                </a:lnTo>
                <a:close/>
                <a:moveTo>
                  <a:pt x="1212850" y="98425"/>
                </a:moveTo>
                <a:lnTo>
                  <a:pt x="1241425" y="98425"/>
                </a:lnTo>
                <a:lnTo>
                  <a:pt x="1270000" y="101600"/>
                </a:lnTo>
                <a:lnTo>
                  <a:pt x="1292225" y="111125"/>
                </a:lnTo>
                <a:lnTo>
                  <a:pt x="1314450" y="120650"/>
                </a:lnTo>
                <a:lnTo>
                  <a:pt x="1333500" y="130175"/>
                </a:lnTo>
                <a:lnTo>
                  <a:pt x="1358900" y="149225"/>
                </a:lnTo>
                <a:lnTo>
                  <a:pt x="1368425" y="158750"/>
                </a:lnTo>
                <a:lnTo>
                  <a:pt x="1393825" y="180975"/>
                </a:lnTo>
                <a:lnTo>
                  <a:pt x="1419225" y="206375"/>
                </a:lnTo>
                <a:lnTo>
                  <a:pt x="1435100" y="234950"/>
                </a:lnTo>
                <a:lnTo>
                  <a:pt x="1450975" y="260350"/>
                </a:lnTo>
                <a:lnTo>
                  <a:pt x="1460500" y="285750"/>
                </a:lnTo>
                <a:lnTo>
                  <a:pt x="1470025" y="311150"/>
                </a:lnTo>
                <a:lnTo>
                  <a:pt x="1476375" y="333375"/>
                </a:lnTo>
                <a:lnTo>
                  <a:pt x="1476375" y="358775"/>
                </a:lnTo>
                <a:lnTo>
                  <a:pt x="1479550" y="400050"/>
                </a:lnTo>
                <a:lnTo>
                  <a:pt x="1473200" y="431800"/>
                </a:lnTo>
                <a:lnTo>
                  <a:pt x="1466850" y="460375"/>
                </a:lnTo>
                <a:lnTo>
                  <a:pt x="1457325" y="501650"/>
                </a:lnTo>
                <a:lnTo>
                  <a:pt x="1454150" y="533400"/>
                </a:lnTo>
                <a:lnTo>
                  <a:pt x="1454150" y="561975"/>
                </a:lnTo>
                <a:lnTo>
                  <a:pt x="1457325" y="581025"/>
                </a:lnTo>
                <a:lnTo>
                  <a:pt x="1466850" y="596900"/>
                </a:lnTo>
                <a:lnTo>
                  <a:pt x="1473200" y="609600"/>
                </a:lnTo>
                <a:lnTo>
                  <a:pt x="1482725" y="622300"/>
                </a:lnTo>
                <a:lnTo>
                  <a:pt x="1495425" y="631825"/>
                </a:lnTo>
                <a:lnTo>
                  <a:pt x="1508125" y="638175"/>
                </a:lnTo>
                <a:lnTo>
                  <a:pt x="1530350" y="647700"/>
                </a:lnTo>
                <a:lnTo>
                  <a:pt x="1552575" y="650875"/>
                </a:lnTo>
                <a:lnTo>
                  <a:pt x="1571625" y="650875"/>
                </a:lnTo>
                <a:lnTo>
                  <a:pt x="1590675" y="650875"/>
                </a:lnTo>
                <a:lnTo>
                  <a:pt x="1622425" y="650875"/>
                </a:lnTo>
                <a:lnTo>
                  <a:pt x="1647825" y="654050"/>
                </a:lnTo>
                <a:lnTo>
                  <a:pt x="1670050" y="660400"/>
                </a:lnTo>
                <a:lnTo>
                  <a:pt x="1685925" y="666750"/>
                </a:lnTo>
                <a:lnTo>
                  <a:pt x="1695450" y="676275"/>
                </a:lnTo>
                <a:lnTo>
                  <a:pt x="1701800" y="682625"/>
                </a:lnTo>
                <a:lnTo>
                  <a:pt x="1708150" y="688975"/>
                </a:lnTo>
                <a:lnTo>
                  <a:pt x="1714500" y="698500"/>
                </a:lnTo>
                <a:lnTo>
                  <a:pt x="1717675" y="708025"/>
                </a:lnTo>
                <a:lnTo>
                  <a:pt x="1724025" y="727075"/>
                </a:lnTo>
                <a:lnTo>
                  <a:pt x="1724025" y="749300"/>
                </a:lnTo>
                <a:lnTo>
                  <a:pt x="1717675" y="768350"/>
                </a:lnTo>
                <a:lnTo>
                  <a:pt x="1704975" y="800100"/>
                </a:lnTo>
                <a:lnTo>
                  <a:pt x="1698625" y="809625"/>
                </a:lnTo>
                <a:lnTo>
                  <a:pt x="1676400" y="844550"/>
                </a:lnTo>
                <a:lnTo>
                  <a:pt x="1660525" y="873125"/>
                </a:lnTo>
                <a:lnTo>
                  <a:pt x="1651000" y="898525"/>
                </a:lnTo>
                <a:lnTo>
                  <a:pt x="1644650" y="917575"/>
                </a:lnTo>
                <a:lnTo>
                  <a:pt x="1641475" y="936625"/>
                </a:lnTo>
                <a:lnTo>
                  <a:pt x="1641475" y="949325"/>
                </a:lnTo>
                <a:lnTo>
                  <a:pt x="1641475" y="958850"/>
                </a:lnTo>
                <a:lnTo>
                  <a:pt x="1644650" y="974725"/>
                </a:lnTo>
                <a:lnTo>
                  <a:pt x="1647825" y="990600"/>
                </a:lnTo>
                <a:lnTo>
                  <a:pt x="1654175" y="1003300"/>
                </a:lnTo>
                <a:lnTo>
                  <a:pt x="1663700" y="1012825"/>
                </a:lnTo>
                <a:lnTo>
                  <a:pt x="1673225" y="1022350"/>
                </a:lnTo>
                <a:lnTo>
                  <a:pt x="1682750" y="1031875"/>
                </a:lnTo>
                <a:lnTo>
                  <a:pt x="1704975" y="1041400"/>
                </a:lnTo>
                <a:lnTo>
                  <a:pt x="1724025" y="1047750"/>
                </a:lnTo>
                <a:lnTo>
                  <a:pt x="1743075" y="1047750"/>
                </a:lnTo>
                <a:lnTo>
                  <a:pt x="1762125" y="1047750"/>
                </a:lnTo>
                <a:lnTo>
                  <a:pt x="1800225" y="1050925"/>
                </a:lnTo>
                <a:lnTo>
                  <a:pt x="1835150" y="1057275"/>
                </a:lnTo>
                <a:lnTo>
                  <a:pt x="1860550" y="1066800"/>
                </a:lnTo>
                <a:lnTo>
                  <a:pt x="1882775" y="1076325"/>
                </a:lnTo>
                <a:lnTo>
                  <a:pt x="1898650" y="1089025"/>
                </a:lnTo>
                <a:lnTo>
                  <a:pt x="1911350" y="1098550"/>
                </a:lnTo>
                <a:lnTo>
                  <a:pt x="1920875" y="1111250"/>
                </a:lnTo>
                <a:lnTo>
                  <a:pt x="1927225" y="1120775"/>
                </a:lnTo>
                <a:lnTo>
                  <a:pt x="1933575" y="1133475"/>
                </a:lnTo>
                <a:lnTo>
                  <a:pt x="1936750" y="1143000"/>
                </a:lnTo>
                <a:lnTo>
                  <a:pt x="1936750" y="1152525"/>
                </a:lnTo>
                <a:lnTo>
                  <a:pt x="1933575" y="1162050"/>
                </a:lnTo>
                <a:lnTo>
                  <a:pt x="1927225" y="1171575"/>
                </a:lnTo>
                <a:lnTo>
                  <a:pt x="1914525" y="1187450"/>
                </a:lnTo>
                <a:lnTo>
                  <a:pt x="1898650" y="1200150"/>
                </a:lnTo>
                <a:lnTo>
                  <a:pt x="1882775" y="1209675"/>
                </a:lnTo>
                <a:lnTo>
                  <a:pt x="1866900" y="1216025"/>
                </a:lnTo>
                <a:lnTo>
                  <a:pt x="1847850" y="1222375"/>
                </a:lnTo>
                <a:lnTo>
                  <a:pt x="1835150" y="1228725"/>
                </a:lnTo>
                <a:lnTo>
                  <a:pt x="1809750" y="1247775"/>
                </a:lnTo>
                <a:lnTo>
                  <a:pt x="1793875" y="1266825"/>
                </a:lnTo>
                <a:lnTo>
                  <a:pt x="1781175" y="1289050"/>
                </a:lnTo>
                <a:lnTo>
                  <a:pt x="1771650" y="1308100"/>
                </a:lnTo>
                <a:lnTo>
                  <a:pt x="1768475" y="1323975"/>
                </a:lnTo>
                <a:lnTo>
                  <a:pt x="1768475" y="1336675"/>
                </a:lnTo>
                <a:lnTo>
                  <a:pt x="1765300" y="1362075"/>
                </a:lnTo>
                <a:lnTo>
                  <a:pt x="1758950" y="1381125"/>
                </a:lnTo>
                <a:lnTo>
                  <a:pt x="1752600" y="1400175"/>
                </a:lnTo>
                <a:lnTo>
                  <a:pt x="1743075" y="1416050"/>
                </a:lnTo>
                <a:lnTo>
                  <a:pt x="1724025" y="1441450"/>
                </a:lnTo>
                <a:lnTo>
                  <a:pt x="1704975" y="1463675"/>
                </a:lnTo>
                <a:lnTo>
                  <a:pt x="1682750" y="1476375"/>
                </a:lnTo>
                <a:lnTo>
                  <a:pt x="1663700" y="1485900"/>
                </a:lnTo>
                <a:lnTo>
                  <a:pt x="1647825" y="1489075"/>
                </a:lnTo>
                <a:lnTo>
                  <a:pt x="1625600" y="1498600"/>
                </a:lnTo>
                <a:lnTo>
                  <a:pt x="1606550" y="1504950"/>
                </a:lnTo>
                <a:lnTo>
                  <a:pt x="1593850" y="1514475"/>
                </a:lnTo>
                <a:lnTo>
                  <a:pt x="1581150" y="1524000"/>
                </a:lnTo>
                <a:lnTo>
                  <a:pt x="1571625" y="1533525"/>
                </a:lnTo>
                <a:lnTo>
                  <a:pt x="1565275" y="1543050"/>
                </a:lnTo>
                <a:lnTo>
                  <a:pt x="1555750" y="1565275"/>
                </a:lnTo>
                <a:lnTo>
                  <a:pt x="1555750" y="1581150"/>
                </a:lnTo>
                <a:lnTo>
                  <a:pt x="1555750" y="1597025"/>
                </a:lnTo>
                <a:lnTo>
                  <a:pt x="1562100" y="1612900"/>
                </a:lnTo>
                <a:lnTo>
                  <a:pt x="1568450" y="1628775"/>
                </a:lnTo>
                <a:lnTo>
                  <a:pt x="1571625" y="1644650"/>
                </a:lnTo>
                <a:lnTo>
                  <a:pt x="1571625" y="1660525"/>
                </a:lnTo>
                <a:lnTo>
                  <a:pt x="1565275" y="1673225"/>
                </a:lnTo>
                <a:lnTo>
                  <a:pt x="1555750" y="1692275"/>
                </a:lnTo>
                <a:lnTo>
                  <a:pt x="1549400" y="1701800"/>
                </a:lnTo>
                <a:lnTo>
                  <a:pt x="1524000" y="1717675"/>
                </a:lnTo>
                <a:lnTo>
                  <a:pt x="1495425" y="1724025"/>
                </a:lnTo>
                <a:lnTo>
                  <a:pt x="1473200" y="1727200"/>
                </a:lnTo>
                <a:lnTo>
                  <a:pt x="1450975" y="1727200"/>
                </a:lnTo>
                <a:lnTo>
                  <a:pt x="1435100" y="1724025"/>
                </a:lnTo>
                <a:lnTo>
                  <a:pt x="1422400" y="1720850"/>
                </a:lnTo>
                <a:lnTo>
                  <a:pt x="1409700" y="1714500"/>
                </a:lnTo>
                <a:lnTo>
                  <a:pt x="1374775" y="1698625"/>
                </a:lnTo>
                <a:lnTo>
                  <a:pt x="1339850" y="1689100"/>
                </a:lnTo>
                <a:lnTo>
                  <a:pt x="1311275" y="1679575"/>
                </a:lnTo>
                <a:lnTo>
                  <a:pt x="1282700" y="1676400"/>
                </a:lnTo>
                <a:lnTo>
                  <a:pt x="1254125" y="1676400"/>
                </a:lnTo>
                <a:lnTo>
                  <a:pt x="1228725" y="1679575"/>
                </a:lnTo>
                <a:lnTo>
                  <a:pt x="1206500" y="1682750"/>
                </a:lnTo>
                <a:lnTo>
                  <a:pt x="1187450" y="1689100"/>
                </a:lnTo>
                <a:lnTo>
                  <a:pt x="1155700" y="1704975"/>
                </a:lnTo>
                <a:lnTo>
                  <a:pt x="1130300" y="1720850"/>
                </a:lnTo>
                <a:lnTo>
                  <a:pt x="1111250" y="1736725"/>
                </a:lnTo>
                <a:lnTo>
                  <a:pt x="1079500" y="1768475"/>
                </a:lnTo>
                <a:lnTo>
                  <a:pt x="1047750" y="1790700"/>
                </a:lnTo>
                <a:lnTo>
                  <a:pt x="1019175" y="1806575"/>
                </a:lnTo>
                <a:lnTo>
                  <a:pt x="993775" y="1816100"/>
                </a:lnTo>
                <a:lnTo>
                  <a:pt x="971550" y="1819275"/>
                </a:lnTo>
                <a:lnTo>
                  <a:pt x="952500" y="1819275"/>
                </a:lnTo>
                <a:lnTo>
                  <a:pt x="939800" y="1819275"/>
                </a:lnTo>
                <a:lnTo>
                  <a:pt x="908050" y="1812925"/>
                </a:lnTo>
                <a:lnTo>
                  <a:pt x="882650" y="1803400"/>
                </a:lnTo>
                <a:lnTo>
                  <a:pt x="863600" y="1787525"/>
                </a:lnTo>
                <a:lnTo>
                  <a:pt x="850900" y="1774825"/>
                </a:lnTo>
                <a:lnTo>
                  <a:pt x="841375" y="1758950"/>
                </a:lnTo>
                <a:lnTo>
                  <a:pt x="835025" y="1746250"/>
                </a:lnTo>
                <a:lnTo>
                  <a:pt x="831850" y="1736725"/>
                </a:lnTo>
                <a:lnTo>
                  <a:pt x="825500" y="1708150"/>
                </a:lnTo>
                <a:lnTo>
                  <a:pt x="812800" y="1685925"/>
                </a:lnTo>
                <a:lnTo>
                  <a:pt x="800100" y="1670050"/>
                </a:lnTo>
                <a:lnTo>
                  <a:pt x="784225" y="1660525"/>
                </a:lnTo>
                <a:lnTo>
                  <a:pt x="768350" y="1654175"/>
                </a:lnTo>
                <a:lnTo>
                  <a:pt x="755650" y="1651000"/>
                </a:lnTo>
                <a:lnTo>
                  <a:pt x="742950" y="1651000"/>
                </a:lnTo>
                <a:lnTo>
                  <a:pt x="717550" y="1651000"/>
                </a:lnTo>
                <a:lnTo>
                  <a:pt x="698500" y="1644650"/>
                </a:lnTo>
                <a:lnTo>
                  <a:pt x="679450" y="1635125"/>
                </a:lnTo>
                <a:lnTo>
                  <a:pt x="663575" y="1625600"/>
                </a:lnTo>
                <a:lnTo>
                  <a:pt x="654050" y="1612900"/>
                </a:lnTo>
                <a:lnTo>
                  <a:pt x="644525" y="1603375"/>
                </a:lnTo>
                <a:lnTo>
                  <a:pt x="638175" y="1593850"/>
                </a:lnTo>
                <a:lnTo>
                  <a:pt x="628650" y="1577975"/>
                </a:lnTo>
                <a:lnTo>
                  <a:pt x="615950" y="1568450"/>
                </a:lnTo>
                <a:lnTo>
                  <a:pt x="600075" y="1558925"/>
                </a:lnTo>
                <a:lnTo>
                  <a:pt x="587375" y="1552575"/>
                </a:lnTo>
                <a:lnTo>
                  <a:pt x="571500" y="1549400"/>
                </a:lnTo>
                <a:lnTo>
                  <a:pt x="555625" y="1546225"/>
                </a:lnTo>
                <a:lnTo>
                  <a:pt x="523875" y="1546225"/>
                </a:lnTo>
                <a:lnTo>
                  <a:pt x="495300" y="1552575"/>
                </a:lnTo>
                <a:lnTo>
                  <a:pt x="469900" y="1558925"/>
                </a:lnTo>
                <a:lnTo>
                  <a:pt x="447675" y="1568450"/>
                </a:lnTo>
                <a:lnTo>
                  <a:pt x="406400" y="1581150"/>
                </a:lnTo>
                <a:lnTo>
                  <a:pt x="368300" y="1587500"/>
                </a:lnTo>
                <a:lnTo>
                  <a:pt x="333375" y="1590675"/>
                </a:lnTo>
                <a:lnTo>
                  <a:pt x="304800" y="1593850"/>
                </a:lnTo>
                <a:lnTo>
                  <a:pt x="279400" y="1593850"/>
                </a:lnTo>
                <a:lnTo>
                  <a:pt x="254000" y="1590675"/>
                </a:lnTo>
                <a:lnTo>
                  <a:pt x="234950" y="1584325"/>
                </a:lnTo>
                <a:lnTo>
                  <a:pt x="219075" y="1581150"/>
                </a:lnTo>
                <a:lnTo>
                  <a:pt x="193675" y="1565275"/>
                </a:lnTo>
                <a:lnTo>
                  <a:pt x="180975" y="1552575"/>
                </a:lnTo>
                <a:lnTo>
                  <a:pt x="171450" y="1543050"/>
                </a:lnTo>
                <a:lnTo>
                  <a:pt x="168275" y="1536700"/>
                </a:lnTo>
                <a:lnTo>
                  <a:pt x="161925" y="1517650"/>
                </a:lnTo>
                <a:lnTo>
                  <a:pt x="155575" y="1495425"/>
                </a:lnTo>
                <a:lnTo>
                  <a:pt x="152400" y="1476375"/>
                </a:lnTo>
                <a:lnTo>
                  <a:pt x="152400" y="1457325"/>
                </a:lnTo>
                <a:lnTo>
                  <a:pt x="155575" y="1422400"/>
                </a:lnTo>
                <a:lnTo>
                  <a:pt x="165100" y="1390650"/>
                </a:lnTo>
                <a:lnTo>
                  <a:pt x="180975" y="1358900"/>
                </a:lnTo>
                <a:lnTo>
                  <a:pt x="200025" y="1333500"/>
                </a:lnTo>
                <a:lnTo>
                  <a:pt x="225425" y="1308100"/>
                </a:lnTo>
                <a:lnTo>
                  <a:pt x="250825" y="1289050"/>
                </a:lnTo>
                <a:lnTo>
                  <a:pt x="276225" y="1270000"/>
                </a:lnTo>
                <a:lnTo>
                  <a:pt x="304800" y="1254125"/>
                </a:lnTo>
                <a:lnTo>
                  <a:pt x="352425" y="1228725"/>
                </a:lnTo>
                <a:lnTo>
                  <a:pt x="387350" y="1212850"/>
                </a:lnTo>
                <a:lnTo>
                  <a:pt x="403225" y="1209675"/>
                </a:lnTo>
                <a:lnTo>
                  <a:pt x="441325" y="1193800"/>
                </a:lnTo>
                <a:lnTo>
                  <a:pt x="473075" y="1177925"/>
                </a:lnTo>
                <a:lnTo>
                  <a:pt x="495300" y="1158875"/>
                </a:lnTo>
                <a:lnTo>
                  <a:pt x="511175" y="1143000"/>
                </a:lnTo>
                <a:lnTo>
                  <a:pt x="523875" y="1123950"/>
                </a:lnTo>
                <a:lnTo>
                  <a:pt x="530225" y="1111250"/>
                </a:lnTo>
                <a:lnTo>
                  <a:pt x="533400" y="1101725"/>
                </a:lnTo>
                <a:lnTo>
                  <a:pt x="533400" y="1076325"/>
                </a:lnTo>
                <a:lnTo>
                  <a:pt x="527050" y="1060450"/>
                </a:lnTo>
                <a:lnTo>
                  <a:pt x="517525" y="1044575"/>
                </a:lnTo>
                <a:lnTo>
                  <a:pt x="508000" y="1035050"/>
                </a:lnTo>
                <a:lnTo>
                  <a:pt x="498475" y="1028700"/>
                </a:lnTo>
                <a:lnTo>
                  <a:pt x="492125" y="1022350"/>
                </a:lnTo>
                <a:lnTo>
                  <a:pt x="482600" y="1019175"/>
                </a:lnTo>
                <a:lnTo>
                  <a:pt x="454025" y="1012825"/>
                </a:lnTo>
                <a:lnTo>
                  <a:pt x="428625" y="1003300"/>
                </a:lnTo>
                <a:lnTo>
                  <a:pt x="406400" y="993775"/>
                </a:lnTo>
                <a:lnTo>
                  <a:pt x="387350" y="984250"/>
                </a:lnTo>
                <a:lnTo>
                  <a:pt x="358775" y="962025"/>
                </a:lnTo>
                <a:lnTo>
                  <a:pt x="339725" y="939800"/>
                </a:lnTo>
                <a:lnTo>
                  <a:pt x="327025" y="920750"/>
                </a:lnTo>
                <a:lnTo>
                  <a:pt x="320675" y="908050"/>
                </a:lnTo>
                <a:lnTo>
                  <a:pt x="320675" y="892175"/>
                </a:lnTo>
                <a:lnTo>
                  <a:pt x="323850" y="876300"/>
                </a:lnTo>
                <a:lnTo>
                  <a:pt x="333375" y="860425"/>
                </a:lnTo>
                <a:lnTo>
                  <a:pt x="342900" y="847725"/>
                </a:lnTo>
                <a:lnTo>
                  <a:pt x="358775" y="835025"/>
                </a:lnTo>
                <a:lnTo>
                  <a:pt x="377825" y="825500"/>
                </a:lnTo>
                <a:lnTo>
                  <a:pt x="396875" y="819150"/>
                </a:lnTo>
                <a:lnTo>
                  <a:pt x="438150" y="809625"/>
                </a:lnTo>
                <a:lnTo>
                  <a:pt x="482600" y="803275"/>
                </a:lnTo>
                <a:lnTo>
                  <a:pt x="517525" y="800100"/>
                </a:lnTo>
                <a:lnTo>
                  <a:pt x="555625" y="800100"/>
                </a:lnTo>
                <a:lnTo>
                  <a:pt x="581025" y="800100"/>
                </a:lnTo>
                <a:lnTo>
                  <a:pt x="606425" y="796925"/>
                </a:lnTo>
                <a:lnTo>
                  <a:pt x="650875" y="787400"/>
                </a:lnTo>
                <a:lnTo>
                  <a:pt x="682625" y="774700"/>
                </a:lnTo>
                <a:lnTo>
                  <a:pt x="704850" y="758825"/>
                </a:lnTo>
                <a:lnTo>
                  <a:pt x="720725" y="742950"/>
                </a:lnTo>
                <a:lnTo>
                  <a:pt x="730250" y="730250"/>
                </a:lnTo>
                <a:lnTo>
                  <a:pt x="736600" y="717550"/>
                </a:lnTo>
                <a:lnTo>
                  <a:pt x="742950" y="688975"/>
                </a:lnTo>
                <a:lnTo>
                  <a:pt x="742950" y="666750"/>
                </a:lnTo>
                <a:lnTo>
                  <a:pt x="739775" y="647700"/>
                </a:lnTo>
                <a:lnTo>
                  <a:pt x="733425" y="631825"/>
                </a:lnTo>
                <a:lnTo>
                  <a:pt x="727075" y="619125"/>
                </a:lnTo>
                <a:lnTo>
                  <a:pt x="717550" y="609600"/>
                </a:lnTo>
                <a:lnTo>
                  <a:pt x="711200" y="603250"/>
                </a:lnTo>
                <a:lnTo>
                  <a:pt x="685800" y="574675"/>
                </a:lnTo>
                <a:lnTo>
                  <a:pt x="666750" y="549275"/>
                </a:lnTo>
                <a:lnTo>
                  <a:pt x="657225" y="527050"/>
                </a:lnTo>
                <a:lnTo>
                  <a:pt x="654050" y="504825"/>
                </a:lnTo>
                <a:lnTo>
                  <a:pt x="650875" y="485775"/>
                </a:lnTo>
                <a:lnTo>
                  <a:pt x="654050" y="469900"/>
                </a:lnTo>
                <a:lnTo>
                  <a:pt x="657225" y="457200"/>
                </a:lnTo>
                <a:lnTo>
                  <a:pt x="663575" y="441325"/>
                </a:lnTo>
                <a:lnTo>
                  <a:pt x="673100" y="428625"/>
                </a:lnTo>
                <a:lnTo>
                  <a:pt x="682625" y="419100"/>
                </a:lnTo>
                <a:lnTo>
                  <a:pt x="692150" y="409575"/>
                </a:lnTo>
                <a:lnTo>
                  <a:pt x="704850" y="406400"/>
                </a:lnTo>
                <a:lnTo>
                  <a:pt x="717550" y="403225"/>
                </a:lnTo>
                <a:lnTo>
                  <a:pt x="746125" y="400050"/>
                </a:lnTo>
                <a:lnTo>
                  <a:pt x="768350" y="403225"/>
                </a:lnTo>
                <a:lnTo>
                  <a:pt x="790575" y="409575"/>
                </a:lnTo>
                <a:lnTo>
                  <a:pt x="809625" y="415925"/>
                </a:lnTo>
                <a:lnTo>
                  <a:pt x="828675" y="419100"/>
                </a:lnTo>
                <a:lnTo>
                  <a:pt x="847725" y="422275"/>
                </a:lnTo>
                <a:lnTo>
                  <a:pt x="866775" y="419100"/>
                </a:lnTo>
                <a:lnTo>
                  <a:pt x="882650" y="412750"/>
                </a:lnTo>
                <a:lnTo>
                  <a:pt x="898525" y="406400"/>
                </a:lnTo>
                <a:lnTo>
                  <a:pt x="914400" y="400050"/>
                </a:lnTo>
                <a:lnTo>
                  <a:pt x="939800" y="377825"/>
                </a:lnTo>
                <a:lnTo>
                  <a:pt x="958850" y="355600"/>
                </a:lnTo>
                <a:lnTo>
                  <a:pt x="974725" y="336550"/>
                </a:lnTo>
                <a:lnTo>
                  <a:pt x="987425" y="317500"/>
                </a:lnTo>
                <a:lnTo>
                  <a:pt x="1019175" y="254000"/>
                </a:lnTo>
                <a:lnTo>
                  <a:pt x="1054100" y="203200"/>
                </a:lnTo>
                <a:lnTo>
                  <a:pt x="1085850" y="165100"/>
                </a:lnTo>
                <a:lnTo>
                  <a:pt x="1120775" y="136525"/>
                </a:lnTo>
                <a:lnTo>
                  <a:pt x="1152525" y="117475"/>
                </a:lnTo>
                <a:lnTo>
                  <a:pt x="1184275" y="104775"/>
                </a:lnTo>
                <a:close/>
                <a:moveTo>
                  <a:pt x="958850" y="0"/>
                </a:moveTo>
                <a:lnTo>
                  <a:pt x="981075" y="3175"/>
                </a:lnTo>
                <a:lnTo>
                  <a:pt x="1000125" y="12700"/>
                </a:lnTo>
                <a:lnTo>
                  <a:pt x="1012825" y="25400"/>
                </a:lnTo>
                <a:lnTo>
                  <a:pt x="1022350" y="44450"/>
                </a:lnTo>
                <a:lnTo>
                  <a:pt x="1028700" y="63500"/>
                </a:lnTo>
                <a:lnTo>
                  <a:pt x="1028700" y="88900"/>
                </a:lnTo>
                <a:lnTo>
                  <a:pt x="1025525" y="114300"/>
                </a:lnTo>
                <a:lnTo>
                  <a:pt x="1016000" y="142875"/>
                </a:lnTo>
                <a:lnTo>
                  <a:pt x="1003300" y="171450"/>
                </a:lnTo>
                <a:lnTo>
                  <a:pt x="984250" y="196850"/>
                </a:lnTo>
                <a:lnTo>
                  <a:pt x="965200" y="222250"/>
                </a:lnTo>
                <a:lnTo>
                  <a:pt x="939800" y="244475"/>
                </a:lnTo>
                <a:lnTo>
                  <a:pt x="917575" y="263525"/>
                </a:lnTo>
                <a:lnTo>
                  <a:pt x="892175" y="276225"/>
                </a:lnTo>
                <a:lnTo>
                  <a:pt x="866775" y="282575"/>
                </a:lnTo>
                <a:lnTo>
                  <a:pt x="844550" y="285750"/>
                </a:lnTo>
                <a:lnTo>
                  <a:pt x="822325" y="282575"/>
                </a:lnTo>
                <a:lnTo>
                  <a:pt x="806450" y="273050"/>
                </a:lnTo>
                <a:lnTo>
                  <a:pt x="790575" y="260350"/>
                </a:lnTo>
                <a:lnTo>
                  <a:pt x="781050" y="241300"/>
                </a:lnTo>
                <a:lnTo>
                  <a:pt x="774700" y="222250"/>
                </a:lnTo>
                <a:lnTo>
                  <a:pt x="774700" y="196850"/>
                </a:lnTo>
                <a:lnTo>
                  <a:pt x="777875" y="171450"/>
                </a:lnTo>
                <a:lnTo>
                  <a:pt x="787400" y="142875"/>
                </a:lnTo>
                <a:lnTo>
                  <a:pt x="800100" y="114300"/>
                </a:lnTo>
                <a:lnTo>
                  <a:pt x="819150" y="88900"/>
                </a:lnTo>
                <a:lnTo>
                  <a:pt x="841375" y="63500"/>
                </a:lnTo>
                <a:lnTo>
                  <a:pt x="863600" y="41275"/>
                </a:lnTo>
                <a:lnTo>
                  <a:pt x="889000" y="22225"/>
                </a:lnTo>
                <a:lnTo>
                  <a:pt x="911225" y="9525"/>
                </a:lnTo>
                <a:lnTo>
                  <a:pt x="936625" y="3175"/>
                </a:lnTo>
                <a:close/>
              </a:path>
            </a:pathLst>
          </a:custGeom>
          <a:gradFill flip="none" rotWithShape="1">
            <a:gsLst>
              <a:gs pos="0">
                <a:schemeClr val="accent1"/>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7" name="Content Placeholder 2"/>
          <p:cNvSpPr txBox="1">
            <a:spLocks/>
          </p:cNvSpPr>
          <p:nvPr/>
        </p:nvSpPr>
        <p:spPr>
          <a:xfrm>
            <a:off x="5533939" y="5667903"/>
            <a:ext cx="626741" cy="341075"/>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lang="en-US" sz="1050" b="1" dirty="0">
                <a:solidFill>
                  <a:schemeClr val="bg1"/>
                </a:solidFill>
                <a:ea typeface="Open Sans Light" panose="020B0306030504020204" pitchFamily="34" charset="0"/>
                <a:cs typeface="Open Sans Light" panose="020B0306030504020204" pitchFamily="34" charset="0"/>
              </a:rPr>
              <a:t>1524K</a:t>
            </a:r>
            <a:endParaRPr lang="id-ID" sz="1050" b="1" dirty="0">
              <a:solidFill>
                <a:schemeClr val="bg1"/>
              </a:solidFill>
              <a:ea typeface="Open Sans Light" panose="020B0306030504020204" pitchFamily="34" charset="0"/>
              <a:cs typeface="Open Sans Light" panose="020B0306030504020204" pitchFamily="34" charset="0"/>
            </a:endParaRPr>
          </a:p>
        </p:txBody>
      </p:sp>
      <p:sp>
        <p:nvSpPr>
          <p:cNvPr id="38" name="Freeform 37"/>
          <p:cNvSpPr>
            <a:spLocks/>
          </p:cNvSpPr>
          <p:nvPr/>
        </p:nvSpPr>
        <p:spPr bwMode="auto">
          <a:xfrm>
            <a:off x="8141179" y="5333429"/>
            <a:ext cx="874594" cy="991778"/>
          </a:xfrm>
          <a:custGeom>
            <a:avLst/>
            <a:gdLst>
              <a:gd name="connsiteX0" fmla="*/ 1273175 w 1943100"/>
              <a:gd name="connsiteY0" fmla="*/ 1971675 h 2203450"/>
              <a:gd name="connsiteX1" fmla="*/ 1298575 w 1943100"/>
              <a:gd name="connsiteY1" fmla="*/ 1974850 h 2203450"/>
              <a:gd name="connsiteX2" fmla="*/ 1323975 w 1943100"/>
              <a:gd name="connsiteY2" fmla="*/ 1981200 h 2203450"/>
              <a:gd name="connsiteX3" fmla="*/ 1346200 w 1943100"/>
              <a:gd name="connsiteY3" fmla="*/ 1990725 h 2203450"/>
              <a:gd name="connsiteX4" fmla="*/ 1365250 w 1943100"/>
              <a:gd name="connsiteY4" fmla="*/ 2006600 h 2203450"/>
              <a:gd name="connsiteX5" fmla="*/ 1381125 w 1943100"/>
              <a:gd name="connsiteY5" fmla="*/ 2022475 h 2203450"/>
              <a:gd name="connsiteX6" fmla="*/ 1393825 w 1943100"/>
              <a:gd name="connsiteY6" fmla="*/ 2041525 h 2203450"/>
              <a:gd name="connsiteX7" fmla="*/ 1400175 w 1943100"/>
              <a:gd name="connsiteY7" fmla="*/ 2063750 h 2203450"/>
              <a:gd name="connsiteX8" fmla="*/ 1403350 w 1943100"/>
              <a:gd name="connsiteY8" fmla="*/ 2089150 h 2203450"/>
              <a:gd name="connsiteX9" fmla="*/ 1400175 w 1943100"/>
              <a:gd name="connsiteY9" fmla="*/ 2111375 h 2203450"/>
              <a:gd name="connsiteX10" fmla="*/ 1393825 w 1943100"/>
              <a:gd name="connsiteY10" fmla="*/ 2133600 h 2203450"/>
              <a:gd name="connsiteX11" fmla="*/ 1381125 w 1943100"/>
              <a:gd name="connsiteY11" fmla="*/ 2152650 h 2203450"/>
              <a:gd name="connsiteX12" fmla="*/ 1365250 w 1943100"/>
              <a:gd name="connsiteY12" fmla="*/ 2168525 h 2203450"/>
              <a:gd name="connsiteX13" fmla="*/ 1346200 w 1943100"/>
              <a:gd name="connsiteY13" fmla="*/ 2184400 h 2203450"/>
              <a:gd name="connsiteX14" fmla="*/ 1323975 w 1943100"/>
              <a:gd name="connsiteY14" fmla="*/ 2193925 h 2203450"/>
              <a:gd name="connsiteX15" fmla="*/ 1298575 w 1943100"/>
              <a:gd name="connsiteY15" fmla="*/ 2200275 h 2203450"/>
              <a:gd name="connsiteX16" fmla="*/ 1273175 w 1943100"/>
              <a:gd name="connsiteY16" fmla="*/ 2203450 h 2203450"/>
              <a:gd name="connsiteX17" fmla="*/ 1244600 w 1943100"/>
              <a:gd name="connsiteY17" fmla="*/ 2200275 h 2203450"/>
              <a:gd name="connsiteX18" fmla="*/ 1222375 w 1943100"/>
              <a:gd name="connsiteY18" fmla="*/ 2193925 h 2203450"/>
              <a:gd name="connsiteX19" fmla="*/ 1200150 w 1943100"/>
              <a:gd name="connsiteY19" fmla="*/ 2184400 h 2203450"/>
              <a:gd name="connsiteX20" fmla="*/ 1177925 w 1943100"/>
              <a:gd name="connsiteY20" fmla="*/ 2168525 h 2203450"/>
              <a:gd name="connsiteX21" fmla="*/ 1162050 w 1943100"/>
              <a:gd name="connsiteY21" fmla="*/ 2152650 h 2203450"/>
              <a:gd name="connsiteX22" fmla="*/ 1152525 w 1943100"/>
              <a:gd name="connsiteY22" fmla="*/ 2133600 h 2203450"/>
              <a:gd name="connsiteX23" fmla="*/ 1143000 w 1943100"/>
              <a:gd name="connsiteY23" fmla="*/ 2111375 h 2203450"/>
              <a:gd name="connsiteX24" fmla="*/ 1139825 w 1943100"/>
              <a:gd name="connsiteY24" fmla="*/ 2089150 h 2203450"/>
              <a:gd name="connsiteX25" fmla="*/ 1143000 w 1943100"/>
              <a:gd name="connsiteY25" fmla="*/ 2063750 h 2203450"/>
              <a:gd name="connsiteX26" fmla="*/ 1152525 w 1943100"/>
              <a:gd name="connsiteY26" fmla="*/ 2041525 h 2203450"/>
              <a:gd name="connsiteX27" fmla="*/ 1162050 w 1943100"/>
              <a:gd name="connsiteY27" fmla="*/ 2022475 h 2203450"/>
              <a:gd name="connsiteX28" fmla="*/ 1177925 w 1943100"/>
              <a:gd name="connsiteY28" fmla="*/ 2006600 h 2203450"/>
              <a:gd name="connsiteX29" fmla="*/ 1200150 w 1943100"/>
              <a:gd name="connsiteY29" fmla="*/ 1990725 h 2203450"/>
              <a:gd name="connsiteX30" fmla="*/ 1222375 w 1943100"/>
              <a:gd name="connsiteY30" fmla="*/ 1981200 h 2203450"/>
              <a:gd name="connsiteX31" fmla="*/ 1244600 w 1943100"/>
              <a:gd name="connsiteY31" fmla="*/ 1974850 h 2203450"/>
              <a:gd name="connsiteX32" fmla="*/ 1498600 w 1943100"/>
              <a:gd name="connsiteY32" fmla="*/ 1819275 h 2203450"/>
              <a:gd name="connsiteX33" fmla="*/ 1530350 w 1943100"/>
              <a:gd name="connsiteY33" fmla="*/ 1822450 h 2203450"/>
              <a:gd name="connsiteX34" fmla="*/ 1562100 w 1943100"/>
              <a:gd name="connsiteY34" fmla="*/ 1825625 h 2203450"/>
              <a:gd name="connsiteX35" fmla="*/ 1587500 w 1943100"/>
              <a:gd name="connsiteY35" fmla="*/ 1831975 h 2203450"/>
              <a:gd name="connsiteX36" fmla="*/ 1612900 w 1943100"/>
              <a:gd name="connsiteY36" fmla="*/ 1841500 h 2203450"/>
              <a:gd name="connsiteX37" fmla="*/ 1631950 w 1943100"/>
              <a:gd name="connsiteY37" fmla="*/ 1854200 h 2203450"/>
              <a:gd name="connsiteX38" fmla="*/ 1647825 w 1943100"/>
              <a:gd name="connsiteY38" fmla="*/ 1866900 h 2203450"/>
              <a:gd name="connsiteX39" fmla="*/ 1657350 w 1943100"/>
              <a:gd name="connsiteY39" fmla="*/ 1879600 h 2203450"/>
              <a:gd name="connsiteX40" fmla="*/ 1660525 w 1943100"/>
              <a:gd name="connsiteY40" fmla="*/ 1895475 h 2203450"/>
              <a:gd name="connsiteX41" fmla="*/ 1657350 w 1943100"/>
              <a:gd name="connsiteY41" fmla="*/ 1911350 h 2203450"/>
              <a:gd name="connsiteX42" fmla="*/ 1647825 w 1943100"/>
              <a:gd name="connsiteY42" fmla="*/ 1924050 h 2203450"/>
              <a:gd name="connsiteX43" fmla="*/ 1631950 w 1943100"/>
              <a:gd name="connsiteY43" fmla="*/ 1939925 h 2203450"/>
              <a:gd name="connsiteX44" fmla="*/ 1612900 w 1943100"/>
              <a:gd name="connsiteY44" fmla="*/ 1949450 h 2203450"/>
              <a:gd name="connsiteX45" fmla="*/ 1587500 w 1943100"/>
              <a:gd name="connsiteY45" fmla="*/ 1958975 h 2203450"/>
              <a:gd name="connsiteX46" fmla="*/ 1562100 w 1943100"/>
              <a:gd name="connsiteY46" fmla="*/ 1965325 h 2203450"/>
              <a:gd name="connsiteX47" fmla="*/ 1530350 w 1943100"/>
              <a:gd name="connsiteY47" fmla="*/ 1971675 h 2203450"/>
              <a:gd name="connsiteX48" fmla="*/ 1498600 w 1943100"/>
              <a:gd name="connsiteY48" fmla="*/ 1971675 h 2203450"/>
              <a:gd name="connsiteX49" fmla="*/ 1466850 w 1943100"/>
              <a:gd name="connsiteY49" fmla="*/ 1971675 h 2203450"/>
              <a:gd name="connsiteX50" fmla="*/ 1435100 w 1943100"/>
              <a:gd name="connsiteY50" fmla="*/ 1965325 h 2203450"/>
              <a:gd name="connsiteX51" fmla="*/ 1409700 w 1943100"/>
              <a:gd name="connsiteY51" fmla="*/ 1958975 h 2203450"/>
              <a:gd name="connsiteX52" fmla="*/ 1384300 w 1943100"/>
              <a:gd name="connsiteY52" fmla="*/ 1949450 h 2203450"/>
              <a:gd name="connsiteX53" fmla="*/ 1365250 w 1943100"/>
              <a:gd name="connsiteY53" fmla="*/ 1939925 h 2203450"/>
              <a:gd name="connsiteX54" fmla="*/ 1349375 w 1943100"/>
              <a:gd name="connsiteY54" fmla="*/ 1924050 h 2203450"/>
              <a:gd name="connsiteX55" fmla="*/ 1339850 w 1943100"/>
              <a:gd name="connsiteY55" fmla="*/ 1911350 h 2203450"/>
              <a:gd name="connsiteX56" fmla="*/ 1336675 w 1943100"/>
              <a:gd name="connsiteY56" fmla="*/ 1895475 h 2203450"/>
              <a:gd name="connsiteX57" fmla="*/ 1339850 w 1943100"/>
              <a:gd name="connsiteY57" fmla="*/ 1879600 h 2203450"/>
              <a:gd name="connsiteX58" fmla="*/ 1349375 w 1943100"/>
              <a:gd name="connsiteY58" fmla="*/ 1866900 h 2203450"/>
              <a:gd name="connsiteX59" fmla="*/ 1365250 w 1943100"/>
              <a:gd name="connsiteY59" fmla="*/ 1854200 h 2203450"/>
              <a:gd name="connsiteX60" fmla="*/ 1384300 w 1943100"/>
              <a:gd name="connsiteY60" fmla="*/ 1841500 h 2203450"/>
              <a:gd name="connsiteX61" fmla="*/ 1409700 w 1943100"/>
              <a:gd name="connsiteY61" fmla="*/ 1831975 h 2203450"/>
              <a:gd name="connsiteX62" fmla="*/ 1435100 w 1943100"/>
              <a:gd name="connsiteY62" fmla="*/ 1825625 h 2203450"/>
              <a:gd name="connsiteX63" fmla="*/ 1466850 w 1943100"/>
              <a:gd name="connsiteY63" fmla="*/ 1822450 h 2203450"/>
              <a:gd name="connsiteX64" fmla="*/ 752475 w 1943100"/>
              <a:gd name="connsiteY64" fmla="*/ 1781175 h 2203450"/>
              <a:gd name="connsiteX65" fmla="*/ 762000 w 1943100"/>
              <a:gd name="connsiteY65" fmla="*/ 1784350 h 2203450"/>
              <a:gd name="connsiteX66" fmla="*/ 768350 w 1943100"/>
              <a:gd name="connsiteY66" fmla="*/ 1787525 h 2203450"/>
              <a:gd name="connsiteX67" fmla="*/ 777875 w 1943100"/>
              <a:gd name="connsiteY67" fmla="*/ 1790700 h 2203450"/>
              <a:gd name="connsiteX68" fmla="*/ 784225 w 1943100"/>
              <a:gd name="connsiteY68" fmla="*/ 1800225 h 2203450"/>
              <a:gd name="connsiteX69" fmla="*/ 793750 w 1943100"/>
              <a:gd name="connsiteY69" fmla="*/ 1816100 h 2203450"/>
              <a:gd name="connsiteX70" fmla="*/ 796925 w 1943100"/>
              <a:gd name="connsiteY70" fmla="*/ 1838325 h 2203450"/>
              <a:gd name="connsiteX71" fmla="*/ 793750 w 1943100"/>
              <a:gd name="connsiteY71" fmla="*/ 1860550 h 2203450"/>
              <a:gd name="connsiteX72" fmla="*/ 784225 w 1943100"/>
              <a:gd name="connsiteY72" fmla="*/ 1879600 h 2203450"/>
              <a:gd name="connsiteX73" fmla="*/ 777875 w 1943100"/>
              <a:gd name="connsiteY73" fmla="*/ 1885950 h 2203450"/>
              <a:gd name="connsiteX74" fmla="*/ 768350 w 1943100"/>
              <a:gd name="connsiteY74" fmla="*/ 1889125 h 2203450"/>
              <a:gd name="connsiteX75" fmla="*/ 762000 w 1943100"/>
              <a:gd name="connsiteY75" fmla="*/ 1892300 h 2203450"/>
              <a:gd name="connsiteX76" fmla="*/ 752475 w 1943100"/>
              <a:gd name="connsiteY76" fmla="*/ 1895475 h 2203450"/>
              <a:gd name="connsiteX77" fmla="*/ 742950 w 1943100"/>
              <a:gd name="connsiteY77" fmla="*/ 1892300 h 2203450"/>
              <a:gd name="connsiteX78" fmla="*/ 736600 w 1943100"/>
              <a:gd name="connsiteY78" fmla="*/ 1889125 h 2203450"/>
              <a:gd name="connsiteX79" fmla="*/ 727075 w 1943100"/>
              <a:gd name="connsiteY79" fmla="*/ 1885950 h 2203450"/>
              <a:gd name="connsiteX80" fmla="*/ 720725 w 1943100"/>
              <a:gd name="connsiteY80" fmla="*/ 1879600 h 2203450"/>
              <a:gd name="connsiteX81" fmla="*/ 711200 w 1943100"/>
              <a:gd name="connsiteY81" fmla="*/ 1860550 h 2203450"/>
              <a:gd name="connsiteX82" fmla="*/ 708025 w 1943100"/>
              <a:gd name="connsiteY82" fmla="*/ 1838325 h 2203450"/>
              <a:gd name="connsiteX83" fmla="*/ 711200 w 1943100"/>
              <a:gd name="connsiteY83" fmla="*/ 1816100 h 2203450"/>
              <a:gd name="connsiteX84" fmla="*/ 720725 w 1943100"/>
              <a:gd name="connsiteY84" fmla="*/ 1800225 h 2203450"/>
              <a:gd name="connsiteX85" fmla="*/ 727075 w 1943100"/>
              <a:gd name="connsiteY85" fmla="*/ 1790700 h 2203450"/>
              <a:gd name="connsiteX86" fmla="*/ 736600 w 1943100"/>
              <a:gd name="connsiteY86" fmla="*/ 1787525 h 2203450"/>
              <a:gd name="connsiteX87" fmla="*/ 742950 w 1943100"/>
              <a:gd name="connsiteY87" fmla="*/ 1784350 h 2203450"/>
              <a:gd name="connsiteX88" fmla="*/ 492125 w 1943100"/>
              <a:gd name="connsiteY88" fmla="*/ 1670050 h 2203450"/>
              <a:gd name="connsiteX89" fmla="*/ 520700 w 1943100"/>
              <a:gd name="connsiteY89" fmla="*/ 1673225 h 2203450"/>
              <a:gd name="connsiteX90" fmla="*/ 546100 w 1943100"/>
              <a:gd name="connsiteY90" fmla="*/ 1679575 h 2203450"/>
              <a:gd name="connsiteX91" fmla="*/ 568325 w 1943100"/>
              <a:gd name="connsiteY91" fmla="*/ 1689100 h 2203450"/>
              <a:gd name="connsiteX92" fmla="*/ 590550 w 1943100"/>
              <a:gd name="connsiteY92" fmla="*/ 1704975 h 2203450"/>
              <a:gd name="connsiteX93" fmla="*/ 606425 w 1943100"/>
              <a:gd name="connsiteY93" fmla="*/ 1720850 h 2203450"/>
              <a:gd name="connsiteX94" fmla="*/ 619125 w 1943100"/>
              <a:gd name="connsiteY94" fmla="*/ 1739900 h 2203450"/>
              <a:gd name="connsiteX95" fmla="*/ 628650 w 1943100"/>
              <a:gd name="connsiteY95" fmla="*/ 1758950 h 2203450"/>
              <a:gd name="connsiteX96" fmla="*/ 631825 w 1943100"/>
              <a:gd name="connsiteY96" fmla="*/ 1781175 h 2203450"/>
              <a:gd name="connsiteX97" fmla="*/ 628650 w 1943100"/>
              <a:gd name="connsiteY97" fmla="*/ 1806575 h 2203450"/>
              <a:gd name="connsiteX98" fmla="*/ 619125 w 1943100"/>
              <a:gd name="connsiteY98" fmla="*/ 1825625 h 2203450"/>
              <a:gd name="connsiteX99" fmla="*/ 606425 w 1943100"/>
              <a:gd name="connsiteY99" fmla="*/ 1844675 h 2203450"/>
              <a:gd name="connsiteX100" fmla="*/ 590550 w 1943100"/>
              <a:gd name="connsiteY100" fmla="*/ 1860550 h 2203450"/>
              <a:gd name="connsiteX101" fmla="*/ 568325 w 1943100"/>
              <a:gd name="connsiteY101" fmla="*/ 1876425 h 2203450"/>
              <a:gd name="connsiteX102" fmla="*/ 546100 w 1943100"/>
              <a:gd name="connsiteY102" fmla="*/ 1885950 h 2203450"/>
              <a:gd name="connsiteX103" fmla="*/ 520700 w 1943100"/>
              <a:gd name="connsiteY103" fmla="*/ 1892300 h 2203450"/>
              <a:gd name="connsiteX104" fmla="*/ 492125 w 1943100"/>
              <a:gd name="connsiteY104" fmla="*/ 1895475 h 2203450"/>
              <a:gd name="connsiteX105" fmla="*/ 463550 w 1943100"/>
              <a:gd name="connsiteY105" fmla="*/ 1892300 h 2203450"/>
              <a:gd name="connsiteX106" fmla="*/ 438150 w 1943100"/>
              <a:gd name="connsiteY106" fmla="*/ 1885950 h 2203450"/>
              <a:gd name="connsiteX107" fmla="*/ 412750 w 1943100"/>
              <a:gd name="connsiteY107" fmla="*/ 1876425 h 2203450"/>
              <a:gd name="connsiteX108" fmla="*/ 393700 w 1943100"/>
              <a:gd name="connsiteY108" fmla="*/ 1860550 h 2203450"/>
              <a:gd name="connsiteX109" fmla="*/ 374650 w 1943100"/>
              <a:gd name="connsiteY109" fmla="*/ 1844675 h 2203450"/>
              <a:gd name="connsiteX110" fmla="*/ 361950 w 1943100"/>
              <a:gd name="connsiteY110" fmla="*/ 1825625 h 2203450"/>
              <a:gd name="connsiteX111" fmla="*/ 355600 w 1943100"/>
              <a:gd name="connsiteY111" fmla="*/ 1806575 h 2203450"/>
              <a:gd name="connsiteX112" fmla="*/ 352425 w 1943100"/>
              <a:gd name="connsiteY112" fmla="*/ 1781175 h 2203450"/>
              <a:gd name="connsiteX113" fmla="*/ 355600 w 1943100"/>
              <a:gd name="connsiteY113" fmla="*/ 1758950 h 2203450"/>
              <a:gd name="connsiteX114" fmla="*/ 361950 w 1943100"/>
              <a:gd name="connsiteY114" fmla="*/ 1739900 h 2203450"/>
              <a:gd name="connsiteX115" fmla="*/ 374650 w 1943100"/>
              <a:gd name="connsiteY115" fmla="*/ 1720850 h 2203450"/>
              <a:gd name="connsiteX116" fmla="*/ 393700 w 1943100"/>
              <a:gd name="connsiteY116" fmla="*/ 1704975 h 2203450"/>
              <a:gd name="connsiteX117" fmla="*/ 412750 w 1943100"/>
              <a:gd name="connsiteY117" fmla="*/ 1689100 h 2203450"/>
              <a:gd name="connsiteX118" fmla="*/ 438150 w 1943100"/>
              <a:gd name="connsiteY118" fmla="*/ 1679575 h 2203450"/>
              <a:gd name="connsiteX119" fmla="*/ 463550 w 1943100"/>
              <a:gd name="connsiteY119" fmla="*/ 1673225 h 2203450"/>
              <a:gd name="connsiteX120" fmla="*/ 212725 w 1943100"/>
              <a:gd name="connsiteY120" fmla="*/ 1670050 h 2203450"/>
              <a:gd name="connsiteX121" fmla="*/ 228600 w 1943100"/>
              <a:gd name="connsiteY121" fmla="*/ 1673225 h 2203450"/>
              <a:gd name="connsiteX122" fmla="*/ 244475 w 1943100"/>
              <a:gd name="connsiteY122" fmla="*/ 1676400 h 2203450"/>
              <a:gd name="connsiteX123" fmla="*/ 257175 w 1943100"/>
              <a:gd name="connsiteY123" fmla="*/ 1679575 h 2203450"/>
              <a:gd name="connsiteX124" fmla="*/ 266700 w 1943100"/>
              <a:gd name="connsiteY124" fmla="*/ 1685925 h 2203450"/>
              <a:gd name="connsiteX125" fmla="*/ 276225 w 1943100"/>
              <a:gd name="connsiteY125" fmla="*/ 1692275 h 2203450"/>
              <a:gd name="connsiteX126" fmla="*/ 285750 w 1943100"/>
              <a:gd name="connsiteY126" fmla="*/ 1701800 h 2203450"/>
              <a:gd name="connsiteX127" fmla="*/ 288925 w 1943100"/>
              <a:gd name="connsiteY127" fmla="*/ 1711325 h 2203450"/>
              <a:gd name="connsiteX128" fmla="*/ 288925 w 1943100"/>
              <a:gd name="connsiteY128" fmla="*/ 1724025 h 2203450"/>
              <a:gd name="connsiteX129" fmla="*/ 288925 w 1943100"/>
              <a:gd name="connsiteY129" fmla="*/ 1733550 h 2203450"/>
              <a:gd name="connsiteX130" fmla="*/ 285750 w 1943100"/>
              <a:gd name="connsiteY130" fmla="*/ 1743075 h 2203450"/>
              <a:gd name="connsiteX131" fmla="*/ 276225 w 1943100"/>
              <a:gd name="connsiteY131" fmla="*/ 1752600 h 2203450"/>
              <a:gd name="connsiteX132" fmla="*/ 266700 w 1943100"/>
              <a:gd name="connsiteY132" fmla="*/ 1758950 h 2203450"/>
              <a:gd name="connsiteX133" fmla="*/ 257175 w 1943100"/>
              <a:gd name="connsiteY133" fmla="*/ 1765300 h 2203450"/>
              <a:gd name="connsiteX134" fmla="*/ 244475 w 1943100"/>
              <a:gd name="connsiteY134" fmla="*/ 1771650 h 2203450"/>
              <a:gd name="connsiteX135" fmla="*/ 228600 w 1943100"/>
              <a:gd name="connsiteY135" fmla="*/ 1774825 h 2203450"/>
              <a:gd name="connsiteX136" fmla="*/ 212725 w 1943100"/>
              <a:gd name="connsiteY136" fmla="*/ 1774825 h 2203450"/>
              <a:gd name="connsiteX137" fmla="*/ 196850 w 1943100"/>
              <a:gd name="connsiteY137" fmla="*/ 1774825 h 2203450"/>
              <a:gd name="connsiteX138" fmla="*/ 184150 w 1943100"/>
              <a:gd name="connsiteY138" fmla="*/ 1771650 h 2203450"/>
              <a:gd name="connsiteX139" fmla="*/ 168275 w 1943100"/>
              <a:gd name="connsiteY139" fmla="*/ 1765300 h 2203450"/>
              <a:gd name="connsiteX140" fmla="*/ 158750 w 1943100"/>
              <a:gd name="connsiteY140" fmla="*/ 1758950 h 2203450"/>
              <a:gd name="connsiteX141" fmla="*/ 149225 w 1943100"/>
              <a:gd name="connsiteY141" fmla="*/ 1752600 h 2203450"/>
              <a:gd name="connsiteX142" fmla="*/ 142875 w 1943100"/>
              <a:gd name="connsiteY142" fmla="*/ 1743075 h 2203450"/>
              <a:gd name="connsiteX143" fmla="*/ 136525 w 1943100"/>
              <a:gd name="connsiteY143" fmla="*/ 1733550 h 2203450"/>
              <a:gd name="connsiteX144" fmla="*/ 136525 w 1943100"/>
              <a:gd name="connsiteY144" fmla="*/ 1724025 h 2203450"/>
              <a:gd name="connsiteX145" fmla="*/ 136525 w 1943100"/>
              <a:gd name="connsiteY145" fmla="*/ 1711325 h 2203450"/>
              <a:gd name="connsiteX146" fmla="*/ 142875 w 1943100"/>
              <a:gd name="connsiteY146" fmla="*/ 1701800 h 2203450"/>
              <a:gd name="connsiteX147" fmla="*/ 149225 w 1943100"/>
              <a:gd name="connsiteY147" fmla="*/ 1692275 h 2203450"/>
              <a:gd name="connsiteX148" fmla="*/ 158750 w 1943100"/>
              <a:gd name="connsiteY148" fmla="*/ 1685925 h 2203450"/>
              <a:gd name="connsiteX149" fmla="*/ 168275 w 1943100"/>
              <a:gd name="connsiteY149" fmla="*/ 1679575 h 2203450"/>
              <a:gd name="connsiteX150" fmla="*/ 184150 w 1943100"/>
              <a:gd name="connsiteY150" fmla="*/ 1676400 h 2203450"/>
              <a:gd name="connsiteX151" fmla="*/ 196850 w 1943100"/>
              <a:gd name="connsiteY151" fmla="*/ 1673225 h 2203450"/>
              <a:gd name="connsiteX152" fmla="*/ 44450 w 1943100"/>
              <a:gd name="connsiteY152" fmla="*/ 1260475 h 2203450"/>
              <a:gd name="connsiteX153" fmla="*/ 53975 w 1943100"/>
              <a:gd name="connsiteY153" fmla="*/ 1260475 h 2203450"/>
              <a:gd name="connsiteX154" fmla="*/ 63500 w 1943100"/>
              <a:gd name="connsiteY154" fmla="*/ 1260475 h 2203450"/>
              <a:gd name="connsiteX155" fmla="*/ 76200 w 1943100"/>
              <a:gd name="connsiteY155" fmla="*/ 1266825 h 2203450"/>
              <a:gd name="connsiteX156" fmla="*/ 82550 w 1943100"/>
              <a:gd name="connsiteY156" fmla="*/ 1273175 h 2203450"/>
              <a:gd name="connsiteX157" fmla="*/ 92075 w 1943100"/>
              <a:gd name="connsiteY157" fmla="*/ 1279525 h 2203450"/>
              <a:gd name="connsiteX158" fmla="*/ 98425 w 1943100"/>
              <a:gd name="connsiteY158" fmla="*/ 1289050 h 2203450"/>
              <a:gd name="connsiteX159" fmla="*/ 101600 w 1943100"/>
              <a:gd name="connsiteY159" fmla="*/ 1298575 h 2203450"/>
              <a:gd name="connsiteX160" fmla="*/ 104775 w 1943100"/>
              <a:gd name="connsiteY160" fmla="*/ 1311275 h 2203450"/>
              <a:gd name="connsiteX161" fmla="*/ 107950 w 1943100"/>
              <a:gd name="connsiteY161" fmla="*/ 1323975 h 2203450"/>
              <a:gd name="connsiteX162" fmla="*/ 104775 w 1943100"/>
              <a:gd name="connsiteY162" fmla="*/ 1336675 h 2203450"/>
              <a:gd name="connsiteX163" fmla="*/ 101600 w 1943100"/>
              <a:gd name="connsiteY163" fmla="*/ 1349375 h 2203450"/>
              <a:gd name="connsiteX164" fmla="*/ 98425 w 1943100"/>
              <a:gd name="connsiteY164" fmla="*/ 1362075 h 2203450"/>
              <a:gd name="connsiteX165" fmla="*/ 92075 w 1943100"/>
              <a:gd name="connsiteY165" fmla="*/ 1371600 h 2203450"/>
              <a:gd name="connsiteX166" fmla="*/ 82550 w 1943100"/>
              <a:gd name="connsiteY166" fmla="*/ 1377950 h 2203450"/>
              <a:gd name="connsiteX167" fmla="*/ 76200 w 1943100"/>
              <a:gd name="connsiteY167" fmla="*/ 1384300 h 2203450"/>
              <a:gd name="connsiteX168" fmla="*/ 63500 w 1943100"/>
              <a:gd name="connsiteY168" fmla="*/ 1387475 h 2203450"/>
              <a:gd name="connsiteX169" fmla="*/ 53975 w 1943100"/>
              <a:gd name="connsiteY169" fmla="*/ 1390650 h 2203450"/>
              <a:gd name="connsiteX170" fmla="*/ 44450 w 1943100"/>
              <a:gd name="connsiteY170" fmla="*/ 1387475 h 2203450"/>
              <a:gd name="connsiteX171" fmla="*/ 34925 w 1943100"/>
              <a:gd name="connsiteY171" fmla="*/ 1384300 h 2203450"/>
              <a:gd name="connsiteX172" fmla="*/ 25400 w 1943100"/>
              <a:gd name="connsiteY172" fmla="*/ 1377950 h 2203450"/>
              <a:gd name="connsiteX173" fmla="*/ 15875 w 1943100"/>
              <a:gd name="connsiteY173" fmla="*/ 1371600 h 2203450"/>
              <a:gd name="connsiteX174" fmla="*/ 9525 w 1943100"/>
              <a:gd name="connsiteY174" fmla="*/ 1362075 h 2203450"/>
              <a:gd name="connsiteX175" fmla="*/ 6350 w 1943100"/>
              <a:gd name="connsiteY175" fmla="*/ 1349375 h 2203450"/>
              <a:gd name="connsiteX176" fmla="*/ 3175 w 1943100"/>
              <a:gd name="connsiteY176" fmla="*/ 1336675 h 2203450"/>
              <a:gd name="connsiteX177" fmla="*/ 0 w 1943100"/>
              <a:gd name="connsiteY177" fmla="*/ 1323975 h 2203450"/>
              <a:gd name="connsiteX178" fmla="*/ 3175 w 1943100"/>
              <a:gd name="connsiteY178" fmla="*/ 1311275 h 2203450"/>
              <a:gd name="connsiteX179" fmla="*/ 6350 w 1943100"/>
              <a:gd name="connsiteY179" fmla="*/ 1298575 h 2203450"/>
              <a:gd name="connsiteX180" fmla="*/ 9525 w 1943100"/>
              <a:gd name="connsiteY180" fmla="*/ 1289050 h 2203450"/>
              <a:gd name="connsiteX181" fmla="*/ 15875 w 1943100"/>
              <a:gd name="connsiteY181" fmla="*/ 1279525 h 2203450"/>
              <a:gd name="connsiteX182" fmla="*/ 25400 w 1943100"/>
              <a:gd name="connsiteY182" fmla="*/ 1273175 h 2203450"/>
              <a:gd name="connsiteX183" fmla="*/ 34925 w 1943100"/>
              <a:gd name="connsiteY183" fmla="*/ 1266825 h 2203450"/>
              <a:gd name="connsiteX184" fmla="*/ 171450 w 1943100"/>
              <a:gd name="connsiteY184" fmla="*/ 1098550 h 2203450"/>
              <a:gd name="connsiteX185" fmla="*/ 184150 w 1943100"/>
              <a:gd name="connsiteY185" fmla="*/ 1101725 h 2203450"/>
              <a:gd name="connsiteX186" fmla="*/ 193675 w 1943100"/>
              <a:gd name="connsiteY186" fmla="*/ 1104900 h 2203450"/>
              <a:gd name="connsiteX187" fmla="*/ 206375 w 1943100"/>
              <a:gd name="connsiteY187" fmla="*/ 1108075 h 2203450"/>
              <a:gd name="connsiteX188" fmla="*/ 215900 w 1943100"/>
              <a:gd name="connsiteY188" fmla="*/ 1117600 h 2203450"/>
              <a:gd name="connsiteX189" fmla="*/ 222250 w 1943100"/>
              <a:gd name="connsiteY189" fmla="*/ 1123950 h 2203450"/>
              <a:gd name="connsiteX190" fmla="*/ 228600 w 1943100"/>
              <a:gd name="connsiteY190" fmla="*/ 1136650 h 2203450"/>
              <a:gd name="connsiteX191" fmla="*/ 231775 w 1943100"/>
              <a:gd name="connsiteY191" fmla="*/ 1146175 h 2203450"/>
              <a:gd name="connsiteX192" fmla="*/ 234950 w 1943100"/>
              <a:gd name="connsiteY192" fmla="*/ 1158875 h 2203450"/>
              <a:gd name="connsiteX193" fmla="*/ 231775 w 1943100"/>
              <a:gd name="connsiteY193" fmla="*/ 1168400 h 2203450"/>
              <a:gd name="connsiteX194" fmla="*/ 228600 w 1943100"/>
              <a:gd name="connsiteY194" fmla="*/ 1181100 h 2203450"/>
              <a:gd name="connsiteX195" fmla="*/ 222250 w 1943100"/>
              <a:gd name="connsiteY195" fmla="*/ 1190625 h 2203450"/>
              <a:gd name="connsiteX196" fmla="*/ 215900 w 1943100"/>
              <a:gd name="connsiteY196" fmla="*/ 1200150 h 2203450"/>
              <a:gd name="connsiteX197" fmla="*/ 206375 w 1943100"/>
              <a:gd name="connsiteY197" fmla="*/ 1206500 h 2203450"/>
              <a:gd name="connsiteX198" fmla="*/ 193675 w 1943100"/>
              <a:gd name="connsiteY198" fmla="*/ 1212850 h 2203450"/>
              <a:gd name="connsiteX199" fmla="*/ 184150 w 1943100"/>
              <a:gd name="connsiteY199" fmla="*/ 1216025 h 2203450"/>
              <a:gd name="connsiteX200" fmla="*/ 171450 w 1943100"/>
              <a:gd name="connsiteY200" fmla="*/ 1216025 h 2203450"/>
              <a:gd name="connsiteX201" fmla="*/ 158750 w 1943100"/>
              <a:gd name="connsiteY201" fmla="*/ 1216025 h 2203450"/>
              <a:gd name="connsiteX202" fmla="*/ 146050 w 1943100"/>
              <a:gd name="connsiteY202" fmla="*/ 1212850 h 2203450"/>
              <a:gd name="connsiteX203" fmla="*/ 136525 w 1943100"/>
              <a:gd name="connsiteY203" fmla="*/ 1206500 h 2203450"/>
              <a:gd name="connsiteX204" fmla="*/ 127000 w 1943100"/>
              <a:gd name="connsiteY204" fmla="*/ 1200150 h 2203450"/>
              <a:gd name="connsiteX205" fmla="*/ 117475 w 1943100"/>
              <a:gd name="connsiteY205" fmla="*/ 1190625 h 2203450"/>
              <a:gd name="connsiteX206" fmla="*/ 111125 w 1943100"/>
              <a:gd name="connsiteY206" fmla="*/ 1181100 h 2203450"/>
              <a:gd name="connsiteX207" fmla="*/ 107950 w 1943100"/>
              <a:gd name="connsiteY207" fmla="*/ 1168400 h 2203450"/>
              <a:gd name="connsiteX208" fmla="*/ 107950 w 1943100"/>
              <a:gd name="connsiteY208" fmla="*/ 1158875 h 2203450"/>
              <a:gd name="connsiteX209" fmla="*/ 107950 w 1943100"/>
              <a:gd name="connsiteY209" fmla="*/ 1146175 h 2203450"/>
              <a:gd name="connsiteX210" fmla="*/ 111125 w 1943100"/>
              <a:gd name="connsiteY210" fmla="*/ 1136650 h 2203450"/>
              <a:gd name="connsiteX211" fmla="*/ 117475 w 1943100"/>
              <a:gd name="connsiteY211" fmla="*/ 1123950 h 2203450"/>
              <a:gd name="connsiteX212" fmla="*/ 127000 w 1943100"/>
              <a:gd name="connsiteY212" fmla="*/ 1117600 h 2203450"/>
              <a:gd name="connsiteX213" fmla="*/ 136525 w 1943100"/>
              <a:gd name="connsiteY213" fmla="*/ 1108075 h 2203450"/>
              <a:gd name="connsiteX214" fmla="*/ 146050 w 1943100"/>
              <a:gd name="connsiteY214" fmla="*/ 1104900 h 2203450"/>
              <a:gd name="connsiteX215" fmla="*/ 158750 w 1943100"/>
              <a:gd name="connsiteY215" fmla="*/ 1101725 h 2203450"/>
              <a:gd name="connsiteX216" fmla="*/ 136525 w 1943100"/>
              <a:gd name="connsiteY216" fmla="*/ 812800 h 2203450"/>
              <a:gd name="connsiteX217" fmla="*/ 155575 w 1943100"/>
              <a:gd name="connsiteY217" fmla="*/ 815975 h 2203450"/>
              <a:gd name="connsiteX218" fmla="*/ 174625 w 1943100"/>
              <a:gd name="connsiteY218" fmla="*/ 822325 h 2203450"/>
              <a:gd name="connsiteX219" fmla="*/ 190500 w 1943100"/>
              <a:gd name="connsiteY219" fmla="*/ 831850 h 2203450"/>
              <a:gd name="connsiteX220" fmla="*/ 206375 w 1943100"/>
              <a:gd name="connsiteY220" fmla="*/ 844550 h 2203450"/>
              <a:gd name="connsiteX221" fmla="*/ 215900 w 1943100"/>
              <a:gd name="connsiteY221" fmla="*/ 860425 h 2203450"/>
              <a:gd name="connsiteX222" fmla="*/ 225425 w 1943100"/>
              <a:gd name="connsiteY222" fmla="*/ 879475 h 2203450"/>
              <a:gd name="connsiteX223" fmla="*/ 231775 w 1943100"/>
              <a:gd name="connsiteY223" fmla="*/ 898525 h 2203450"/>
              <a:gd name="connsiteX224" fmla="*/ 234950 w 1943100"/>
              <a:gd name="connsiteY224" fmla="*/ 920750 h 2203450"/>
              <a:gd name="connsiteX225" fmla="*/ 231775 w 1943100"/>
              <a:gd name="connsiteY225" fmla="*/ 939800 h 2203450"/>
              <a:gd name="connsiteX226" fmla="*/ 225425 w 1943100"/>
              <a:gd name="connsiteY226" fmla="*/ 958850 h 2203450"/>
              <a:gd name="connsiteX227" fmla="*/ 215900 w 1943100"/>
              <a:gd name="connsiteY227" fmla="*/ 977900 h 2203450"/>
              <a:gd name="connsiteX228" fmla="*/ 206375 w 1943100"/>
              <a:gd name="connsiteY228" fmla="*/ 993775 h 2203450"/>
              <a:gd name="connsiteX229" fmla="*/ 190500 w 1943100"/>
              <a:gd name="connsiteY229" fmla="*/ 1006475 h 2203450"/>
              <a:gd name="connsiteX230" fmla="*/ 174625 w 1943100"/>
              <a:gd name="connsiteY230" fmla="*/ 1016000 h 2203450"/>
              <a:gd name="connsiteX231" fmla="*/ 155575 w 1943100"/>
              <a:gd name="connsiteY231" fmla="*/ 1022350 h 2203450"/>
              <a:gd name="connsiteX232" fmla="*/ 136525 w 1943100"/>
              <a:gd name="connsiteY232" fmla="*/ 1025525 h 2203450"/>
              <a:gd name="connsiteX233" fmla="*/ 114300 w 1943100"/>
              <a:gd name="connsiteY233" fmla="*/ 1022350 h 2203450"/>
              <a:gd name="connsiteX234" fmla="*/ 98425 w 1943100"/>
              <a:gd name="connsiteY234" fmla="*/ 1016000 h 2203450"/>
              <a:gd name="connsiteX235" fmla="*/ 79375 w 1943100"/>
              <a:gd name="connsiteY235" fmla="*/ 1006475 h 2203450"/>
              <a:gd name="connsiteX236" fmla="*/ 66675 w 1943100"/>
              <a:gd name="connsiteY236" fmla="*/ 993775 h 2203450"/>
              <a:gd name="connsiteX237" fmla="*/ 53975 w 1943100"/>
              <a:gd name="connsiteY237" fmla="*/ 977900 h 2203450"/>
              <a:gd name="connsiteX238" fmla="*/ 44450 w 1943100"/>
              <a:gd name="connsiteY238" fmla="*/ 958850 h 2203450"/>
              <a:gd name="connsiteX239" fmla="*/ 38100 w 1943100"/>
              <a:gd name="connsiteY239" fmla="*/ 939800 h 2203450"/>
              <a:gd name="connsiteX240" fmla="*/ 38100 w 1943100"/>
              <a:gd name="connsiteY240" fmla="*/ 920750 h 2203450"/>
              <a:gd name="connsiteX241" fmla="*/ 38100 w 1943100"/>
              <a:gd name="connsiteY241" fmla="*/ 898525 h 2203450"/>
              <a:gd name="connsiteX242" fmla="*/ 44450 w 1943100"/>
              <a:gd name="connsiteY242" fmla="*/ 879475 h 2203450"/>
              <a:gd name="connsiteX243" fmla="*/ 53975 w 1943100"/>
              <a:gd name="connsiteY243" fmla="*/ 860425 h 2203450"/>
              <a:gd name="connsiteX244" fmla="*/ 66675 w 1943100"/>
              <a:gd name="connsiteY244" fmla="*/ 844550 h 2203450"/>
              <a:gd name="connsiteX245" fmla="*/ 79375 w 1943100"/>
              <a:gd name="connsiteY245" fmla="*/ 831850 h 2203450"/>
              <a:gd name="connsiteX246" fmla="*/ 98425 w 1943100"/>
              <a:gd name="connsiteY246" fmla="*/ 822325 h 2203450"/>
              <a:gd name="connsiteX247" fmla="*/ 114300 w 1943100"/>
              <a:gd name="connsiteY247" fmla="*/ 815975 h 2203450"/>
              <a:gd name="connsiteX248" fmla="*/ 352425 w 1943100"/>
              <a:gd name="connsiteY248" fmla="*/ 698500 h 2203450"/>
              <a:gd name="connsiteX249" fmla="*/ 368300 w 1943100"/>
              <a:gd name="connsiteY249" fmla="*/ 701675 h 2203450"/>
              <a:gd name="connsiteX250" fmla="*/ 381000 w 1943100"/>
              <a:gd name="connsiteY250" fmla="*/ 708025 h 2203450"/>
              <a:gd name="connsiteX251" fmla="*/ 390525 w 1943100"/>
              <a:gd name="connsiteY251" fmla="*/ 720725 h 2203450"/>
              <a:gd name="connsiteX252" fmla="*/ 393700 w 1943100"/>
              <a:gd name="connsiteY252" fmla="*/ 733425 h 2203450"/>
              <a:gd name="connsiteX253" fmla="*/ 390525 w 1943100"/>
              <a:gd name="connsiteY253" fmla="*/ 749300 h 2203450"/>
              <a:gd name="connsiteX254" fmla="*/ 381000 w 1943100"/>
              <a:gd name="connsiteY254" fmla="*/ 762000 h 2203450"/>
              <a:gd name="connsiteX255" fmla="*/ 368300 w 1943100"/>
              <a:gd name="connsiteY255" fmla="*/ 768350 h 2203450"/>
              <a:gd name="connsiteX256" fmla="*/ 352425 w 1943100"/>
              <a:gd name="connsiteY256" fmla="*/ 771525 h 2203450"/>
              <a:gd name="connsiteX257" fmla="*/ 333375 w 1943100"/>
              <a:gd name="connsiteY257" fmla="*/ 768350 h 2203450"/>
              <a:gd name="connsiteX258" fmla="*/ 320675 w 1943100"/>
              <a:gd name="connsiteY258" fmla="*/ 762000 h 2203450"/>
              <a:gd name="connsiteX259" fmla="*/ 311150 w 1943100"/>
              <a:gd name="connsiteY259" fmla="*/ 749300 h 2203450"/>
              <a:gd name="connsiteX260" fmla="*/ 307975 w 1943100"/>
              <a:gd name="connsiteY260" fmla="*/ 733425 h 2203450"/>
              <a:gd name="connsiteX261" fmla="*/ 311150 w 1943100"/>
              <a:gd name="connsiteY261" fmla="*/ 720725 h 2203450"/>
              <a:gd name="connsiteX262" fmla="*/ 320675 w 1943100"/>
              <a:gd name="connsiteY262" fmla="*/ 708025 h 2203450"/>
              <a:gd name="connsiteX263" fmla="*/ 333375 w 1943100"/>
              <a:gd name="connsiteY263" fmla="*/ 701675 h 2203450"/>
              <a:gd name="connsiteX264" fmla="*/ 1809750 w 1943100"/>
              <a:gd name="connsiteY264" fmla="*/ 631825 h 2203450"/>
              <a:gd name="connsiteX265" fmla="*/ 1825625 w 1943100"/>
              <a:gd name="connsiteY265" fmla="*/ 631825 h 2203450"/>
              <a:gd name="connsiteX266" fmla="*/ 1841500 w 1943100"/>
              <a:gd name="connsiteY266" fmla="*/ 631825 h 2203450"/>
              <a:gd name="connsiteX267" fmla="*/ 1863725 w 1943100"/>
              <a:gd name="connsiteY267" fmla="*/ 635000 h 2203450"/>
              <a:gd name="connsiteX268" fmla="*/ 1885950 w 1943100"/>
              <a:gd name="connsiteY268" fmla="*/ 644525 h 2203450"/>
              <a:gd name="connsiteX269" fmla="*/ 1895475 w 1943100"/>
              <a:gd name="connsiteY269" fmla="*/ 654050 h 2203450"/>
              <a:gd name="connsiteX270" fmla="*/ 1908175 w 1943100"/>
              <a:gd name="connsiteY270" fmla="*/ 663575 h 2203450"/>
              <a:gd name="connsiteX271" fmla="*/ 1917700 w 1943100"/>
              <a:gd name="connsiteY271" fmla="*/ 679450 h 2203450"/>
              <a:gd name="connsiteX272" fmla="*/ 1927225 w 1943100"/>
              <a:gd name="connsiteY272" fmla="*/ 695325 h 2203450"/>
              <a:gd name="connsiteX273" fmla="*/ 1933575 w 1943100"/>
              <a:gd name="connsiteY273" fmla="*/ 704850 h 2203450"/>
              <a:gd name="connsiteX274" fmla="*/ 1939925 w 1943100"/>
              <a:gd name="connsiteY274" fmla="*/ 720725 h 2203450"/>
              <a:gd name="connsiteX275" fmla="*/ 1943100 w 1943100"/>
              <a:gd name="connsiteY275" fmla="*/ 739775 h 2203450"/>
              <a:gd name="connsiteX276" fmla="*/ 1943100 w 1943100"/>
              <a:gd name="connsiteY276" fmla="*/ 768350 h 2203450"/>
              <a:gd name="connsiteX277" fmla="*/ 1939925 w 1943100"/>
              <a:gd name="connsiteY277" fmla="*/ 800100 h 2203450"/>
              <a:gd name="connsiteX278" fmla="*/ 1930400 w 1943100"/>
              <a:gd name="connsiteY278" fmla="*/ 841375 h 2203450"/>
              <a:gd name="connsiteX279" fmla="*/ 1911350 w 1943100"/>
              <a:gd name="connsiteY279" fmla="*/ 885825 h 2203450"/>
              <a:gd name="connsiteX280" fmla="*/ 1898650 w 1943100"/>
              <a:gd name="connsiteY280" fmla="*/ 914400 h 2203450"/>
              <a:gd name="connsiteX281" fmla="*/ 1882775 w 1943100"/>
              <a:gd name="connsiteY281" fmla="*/ 939800 h 2203450"/>
              <a:gd name="connsiteX282" fmla="*/ 1863725 w 1943100"/>
              <a:gd name="connsiteY282" fmla="*/ 958850 h 2203450"/>
              <a:gd name="connsiteX283" fmla="*/ 1847850 w 1943100"/>
              <a:gd name="connsiteY283" fmla="*/ 974725 h 2203450"/>
              <a:gd name="connsiteX284" fmla="*/ 1828800 w 1943100"/>
              <a:gd name="connsiteY284" fmla="*/ 987425 h 2203450"/>
              <a:gd name="connsiteX285" fmla="*/ 1809750 w 1943100"/>
              <a:gd name="connsiteY285" fmla="*/ 993775 h 2203450"/>
              <a:gd name="connsiteX286" fmla="*/ 1793875 w 1943100"/>
              <a:gd name="connsiteY286" fmla="*/ 996950 h 2203450"/>
              <a:gd name="connsiteX287" fmla="*/ 1778000 w 1943100"/>
              <a:gd name="connsiteY287" fmla="*/ 990600 h 2203450"/>
              <a:gd name="connsiteX288" fmla="*/ 1765300 w 1943100"/>
              <a:gd name="connsiteY288" fmla="*/ 977900 h 2203450"/>
              <a:gd name="connsiteX289" fmla="*/ 1755775 w 1943100"/>
              <a:gd name="connsiteY289" fmla="*/ 962025 h 2203450"/>
              <a:gd name="connsiteX290" fmla="*/ 1749425 w 1943100"/>
              <a:gd name="connsiteY290" fmla="*/ 942975 h 2203450"/>
              <a:gd name="connsiteX291" fmla="*/ 1746250 w 1943100"/>
              <a:gd name="connsiteY291" fmla="*/ 917575 h 2203450"/>
              <a:gd name="connsiteX292" fmla="*/ 1746250 w 1943100"/>
              <a:gd name="connsiteY292" fmla="*/ 892175 h 2203450"/>
              <a:gd name="connsiteX293" fmla="*/ 1749425 w 1943100"/>
              <a:gd name="connsiteY293" fmla="*/ 863600 h 2203450"/>
              <a:gd name="connsiteX294" fmla="*/ 1755775 w 1943100"/>
              <a:gd name="connsiteY294" fmla="*/ 835025 h 2203450"/>
              <a:gd name="connsiteX295" fmla="*/ 1768475 w 1943100"/>
              <a:gd name="connsiteY295" fmla="*/ 803275 h 2203450"/>
              <a:gd name="connsiteX296" fmla="*/ 1771650 w 1943100"/>
              <a:gd name="connsiteY296" fmla="*/ 796925 h 2203450"/>
              <a:gd name="connsiteX297" fmla="*/ 1774825 w 1943100"/>
              <a:gd name="connsiteY297" fmla="*/ 777875 h 2203450"/>
              <a:gd name="connsiteX298" fmla="*/ 1774825 w 1943100"/>
              <a:gd name="connsiteY298" fmla="*/ 752475 h 2203450"/>
              <a:gd name="connsiteX299" fmla="*/ 1774825 w 1943100"/>
              <a:gd name="connsiteY299" fmla="*/ 739775 h 2203450"/>
              <a:gd name="connsiteX300" fmla="*/ 1768475 w 1943100"/>
              <a:gd name="connsiteY300" fmla="*/ 727075 h 2203450"/>
              <a:gd name="connsiteX301" fmla="*/ 1762125 w 1943100"/>
              <a:gd name="connsiteY301" fmla="*/ 717550 h 2203450"/>
              <a:gd name="connsiteX302" fmla="*/ 1758950 w 1943100"/>
              <a:gd name="connsiteY302" fmla="*/ 708025 h 2203450"/>
              <a:gd name="connsiteX303" fmla="*/ 1755775 w 1943100"/>
              <a:gd name="connsiteY303" fmla="*/ 695325 h 2203450"/>
              <a:gd name="connsiteX304" fmla="*/ 1755775 w 1943100"/>
              <a:gd name="connsiteY304" fmla="*/ 682625 h 2203450"/>
              <a:gd name="connsiteX305" fmla="*/ 1762125 w 1943100"/>
              <a:gd name="connsiteY305" fmla="*/ 666750 h 2203450"/>
              <a:gd name="connsiteX306" fmla="*/ 1774825 w 1943100"/>
              <a:gd name="connsiteY306" fmla="*/ 650875 h 2203450"/>
              <a:gd name="connsiteX307" fmla="*/ 1797050 w 1943100"/>
              <a:gd name="connsiteY307" fmla="*/ 638175 h 2203450"/>
              <a:gd name="connsiteX308" fmla="*/ 504825 w 1943100"/>
              <a:gd name="connsiteY308" fmla="*/ 593725 h 2203450"/>
              <a:gd name="connsiteX309" fmla="*/ 520700 w 1943100"/>
              <a:gd name="connsiteY309" fmla="*/ 596900 h 2203450"/>
              <a:gd name="connsiteX310" fmla="*/ 536575 w 1943100"/>
              <a:gd name="connsiteY310" fmla="*/ 600075 h 2203450"/>
              <a:gd name="connsiteX311" fmla="*/ 549275 w 1943100"/>
              <a:gd name="connsiteY311" fmla="*/ 606425 h 2203450"/>
              <a:gd name="connsiteX312" fmla="*/ 561975 w 1943100"/>
              <a:gd name="connsiteY312" fmla="*/ 612775 h 2203450"/>
              <a:gd name="connsiteX313" fmla="*/ 571500 w 1943100"/>
              <a:gd name="connsiteY313" fmla="*/ 622300 h 2203450"/>
              <a:gd name="connsiteX314" fmla="*/ 581025 w 1943100"/>
              <a:gd name="connsiteY314" fmla="*/ 631825 h 2203450"/>
              <a:gd name="connsiteX315" fmla="*/ 584200 w 1943100"/>
              <a:gd name="connsiteY315" fmla="*/ 641350 h 2203450"/>
              <a:gd name="connsiteX316" fmla="*/ 587375 w 1943100"/>
              <a:gd name="connsiteY316" fmla="*/ 654050 h 2203450"/>
              <a:gd name="connsiteX317" fmla="*/ 584200 w 1943100"/>
              <a:gd name="connsiteY317" fmla="*/ 666750 h 2203450"/>
              <a:gd name="connsiteX318" fmla="*/ 581025 w 1943100"/>
              <a:gd name="connsiteY318" fmla="*/ 679450 h 2203450"/>
              <a:gd name="connsiteX319" fmla="*/ 571500 w 1943100"/>
              <a:gd name="connsiteY319" fmla="*/ 688975 h 2203450"/>
              <a:gd name="connsiteX320" fmla="*/ 561975 w 1943100"/>
              <a:gd name="connsiteY320" fmla="*/ 698500 h 2203450"/>
              <a:gd name="connsiteX321" fmla="*/ 549275 w 1943100"/>
              <a:gd name="connsiteY321" fmla="*/ 704850 h 2203450"/>
              <a:gd name="connsiteX322" fmla="*/ 536575 w 1943100"/>
              <a:gd name="connsiteY322" fmla="*/ 711200 h 2203450"/>
              <a:gd name="connsiteX323" fmla="*/ 520700 w 1943100"/>
              <a:gd name="connsiteY323" fmla="*/ 714375 h 2203450"/>
              <a:gd name="connsiteX324" fmla="*/ 504825 w 1943100"/>
              <a:gd name="connsiteY324" fmla="*/ 714375 h 2203450"/>
              <a:gd name="connsiteX325" fmla="*/ 488950 w 1943100"/>
              <a:gd name="connsiteY325" fmla="*/ 714375 h 2203450"/>
              <a:gd name="connsiteX326" fmla="*/ 473075 w 1943100"/>
              <a:gd name="connsiteY326" fmla="*/ 711200 h 2203450"/>
              <a:gd name="connsiteX327" fmla="*/ 457200 w 1943100"/>
              <a:gd name="connsiteY327" fmla="*/ 704850 h 2203450"/>
              <a:gd name="connsiteX328" fmla="*/ 444500 w 1943100"/>
              <a:gd name="connsiteY328" fmla="*/ 698500 h 2203450"/>
              <a:gd name="connsiteX329" fmla="*/ 434975 w 1943100"/>
              <a:gd name="connsiteY329" fmla="*/ 688975 h 2203450"/>
              <a:gd name="connsiteX330" fmla="*/ 428625 w 1943100"/>
              <a:gd name="connsiteY330" fmla="*/ 679450 h 2203450"/>
              <a:gd name="connsiteX331" fmla="*/ 422275 w 1943100"/>
              <a:gd name="connsiteY331" fmla="*/ 666750 h 2203450"/>
              <a:gd name="connsiteX332" fmla="*/ 422275 w 1943100"/>
              <a:gd name="connsiteY332" fmla="*/ 654050 h 2203450"/>
              <a:gd name="connsiteX333" fmla="*/ 422275 w 1943100"/>
              <a:gd name="connsiteY333" fmla="*/ 641350 h 2203450"/>
              <a:gd name="connsiteX334" fmla="*/ 428625 w 1943100"/>
              <a:gd name="connsiteY334" fmla="*/ 631825 h 2203450"/>
              <a:gd name="connsiteX335" fmla="*/ 434975 w 1943100"/>
              <a:gd name="connsiteY335" fmla="*/ 622300 h 2203450"/>
              <a:gd name="connsiteX336" fmla="*/ 444500 w 1943100"/>
              <a:gd name="connsiteY336" fmla="*/ 612775 h 2203450"/>
              <a:gd name="connsiteX337" fmla="*/ 457200 w 1943100"/>
              <a:gd name="connsiteY337" fmla="*/ 606425 h 2203450"/>
              <a:gd name="connsiteX338" fmla="*/ 473075 w 1943100"/>
              <a:gd name="connsiteY338" fmla="*/ 600075 h 2203450"/>
              <a:gd name="connsiteX339" fmla="*/ 488950 w 1943100"/>
              <a:gd name="connsiteY339" fmla="*/ 596900 h 2203450"/>
              <a:gd name="connsiteX340" fmla="*/ 1581150 w 1943100"/>
              <a:gd name="connsiteY340" fmla="*/ 158750 h 2203450"/>
              <a:gd name="connsiteX341" fmla="*/ 1600200 w 1943100"/>
              <a:gd name="connsiteY341" fmla="*/ 158750 h 2203450"/>
              <a:gd name="connsiteX342" fmla="*/ 1616075 w 1943100"/>
              <a:gd name="connsiteY342" fmla="*/ 165100 h 2203450"/>
              <a:gd name="connsiteX343" fmla="*/ 1635125 w 1943100"/>
              <a:gd name="connsiteY343" fmla="*/ 177800 h 2203450"/>
              <a:gd name="connsiteX344" fmla="*/ 1654175 w 1943100"/>
              <a:gd name="connsiteY344" fmla="*/ 193675 h 2203450"/>
              <a:gd name="connsiteX345" fmla="*/ 1670050 w 1943100"/>
              <a:gd name="connsiteY345" fmla="*/ 215900 h 2203450"/>
              <a:gd name="connsiteX346" fmla="*/ 1685925 w 1943100"/>
              <a:gd name="connsiteY346" fmla="*/ 241300 h 2203450"/>
              <a:gd name="connsiteX347" fmla="*/ 1698625 w 1943100"/>
              <a:gd name="connsiteY347" fmla="*/ 269875 h 2203450"/>
              <a:gd name="connsiteX348" fmla="*/ 1708150 w 1943100"/>
              <a:gd name="connsiteY348" fmla="*/ 298450 h 2203450"/>
              <a:gd name="connsiteX349" fmla="*/ 1714500 w 1943100"/>
              <a:gd name="connsiteY349" fmla="*/ 330200 h 2203450"/>
              <a:gd name="connsiteX350" fmla="*/ 1717675 w 1943100"/>
              <a:gd name="connsiteY350" fmla="*/ 358775 h 2203450"/>
              <a:gd name="connsiteX351" fmla="*/ 1717675 w 1943100"/>
              <a:gd name="connsiteY351" fmla="*/ 387350 h 2203450"/>
              <a:gd name="connsiteX352" fmla="*/ 1714500 w 1943100"/>
              <a:gd name="connsiteY352" fmla="*/ 409575 h 2203450"/>
              <a:gd name="connsiteX353" fmla="*/ 1708150 w 1943100"/>
              <a:gd name="connsiteY353" fmla="*/ 428625 h 2203450"/>
              <a:gd name="connsiteX354" fmla="*/ 1698625 w 1943100"/>
              <a:gd name="connsiteY354" fmla="*/ 444500 h 2203450"/>
              <a:gd name="connsiteX355" fmla="*/ 1685925 w 1943100"/>
              <a:gd name="connsiteY355" fmla="*/ 457200 h 2203450"/>
              <a:gd name="connsiteX356" fmla="*/ 1670050 w 1943100"/>
              <a:gd name="connsiteY356" fmla="*/ 460375 h 2203450"/>
              <a:gd name="connsiteX357" fmla="*/ 1651000 w 1943100"/>
              <a:gd name="connsiteY357" fmla="*/ 460375 h 2203450"/>
              <a:gd name="connsiteX358" fmla="*/ 1631950 w 1943100"/>
              <a:gd name="connsiteY358" fmla="*/ 454025 h 2203450"/>
              <a:gd name="connsiteX359" fmla="*/ 1616075 w 1943100"/>
              <a:gd name="connsiteY359" fmla="*/ 441325 h 2203450"/>
              <a:gd name="connsiteX360" fmla="*/ 1597025 w 1943100"/>
              <a:gd name="connsiteY360" fmla="*/ 422275 h 2203450"/>
              <a:gd name="connsiteX361" fmla="*/ 1581150 w 1943100"/>
              <a:gd name="connsiteY361" fmla="*/ 403225 h 2203450"/>
              <a:gd name="connsiteX362" fmla="*/ 1565275 w 1943100"/>
              <a:gd name="connsiteY362" fmla="*/ 377825 h 2203450"/>
              <a:gd name="connsiteX363" fmla="*/ 1552575 w 1943100"/>
              <a:gd name="connsiteY363" fmla="*/ 349250 h 2203450"/>
              <a:gd name="connsiteX364" fmla="*/ 1543050 w 1943100"/>
              <a:gd name="connsiteY364" fmla="*/ 320675 h 2203450"/>
              <a:gd name="connsiteX365" fmla="*/ 1533525 w 1943100"/>
              <a:gd name="connsiteY365" fmla="*/ 288925 h 2203450"/>
              <a:gd name="connsiteX366" fmla="*/ 1530350 w 1943100"/>
              <a:gd name="connsiteY366" fmla="*/ 260350 h 2203450"/>
              <a:gd name="connsiteX367" fmla="*/ 1530350 w 1943100"/>
              <a:gd name="connsiteY367" fmla="*/ 231775 h 2203450"/>
              <a:gd name="connsiteX368" fmla="*/ 1536700 w 1943100"/>
              <a:gd name="connsiteY368" fmla="*/ 209550 h 2203450"/>
              <a:gd name="connsiteX369" fmla="*/ 1543050 w 1943100"/>
              <a:gd name="connsiteY369" fmla="*/ 190500 h 2203450"/>
              <a:gd name="connsiteX370" fmla="*/ 1552575 w 1943100"/>
              <a:gd name="connsiteY370" fmla="*/ 174625 h 2203450"/>
              <a:gd name="connsiteX371" fmla="*/ 1565275 w 1943100"/>
              <a:gd name="connsiteY371" fmla="*/ 161925 h 2203450"/>
              <a:gd name="connsiteX372" fmla="*/ 1212850 w 1943100"/>
              <a:gd name="connsiteY372" fmla="*/ 98425 h 2203450"/>
              <a:gd name="connsiteX373" fmla="*/ 1241425 w 1943100"/>
              <a:gd name="connsiteY373" fmla="*/ 98425 h 2203450"/>
              <a:gd name="connsiteX374" fmla="*/ 1270000 w 1943100"/>
              <a:gd name="connsiteY374" fmla="*/ 101600 h 2203450"/>
              <a:gd name="connsiteX375" fmla="*/ 1292225 w 1943100"/>
              <a:gd name="connsiteY375" fmla="*/ 111125 h 2203450"/>
              <a:gd name="connsiteX376" fmla="*/ 1314450 w 1943100"/>
              <a:gd name="connsiteY376" fmla="*/ 120650 h 2203450"/>
              <a:gd name="connsiteX377" fmla="*/ 1333500 w 1943100"/>
              <a:gd name="connsiteY377" fmla="*/ 130175 h 2203450"/>
              <a:gd name="connsiteX378" fmla="*/ 1358900 w 1943100"/>
              <a:gd name="connsiteY378" fmla="*/ 149225 h 2203450"/>
              <a:gd name="connsiteX379" fmla="*/ 1368425 w 1943100"/>
              <a:gd name="connsiteY379" fmla="*/ 158750 h 2203450"/>
              <a:gd name="connsiteX380" fmla="*/ 1393825 w 1943100"/>
              <a:gd name="connsiteY380" fmla="*/ 180975 h 2203450"/>
              <a:gd name="connsiteX381" fmla="*/ 1419225 w 1943100"/>
              <a:gd name="connsiteY381" fmla="*/ 206375 h 2203450"/>
              <a:gd name="connsiteX382" fmla="*/ 1435100 w 1943100"/>
              <a:gd name="connsiteY382" fmla="*/ 234950 h 2203450"/>
              <a:gd name="connsiteX383" fmla="*/ 1450975 w 1943100"/>
              <a:gd name="connsiteY383" fmla="*/ 260350 h 2203450"/>
              <a:gd name="connsiteX384" fmla="*/ 1460500 w 1943100"/>
              <a:gd name="connsiteY384" fmla="*/ 285750 h 2203450"/>
              <a:gd name="connsiteX385" fmla="*/ 1470025 w 1943100"/>
              <a:gd name="connsiteY385" fmla="*/ 311150 h 2203450"/>
              <a:gd name="connsiteX386" fmla="*/ 1476375 w 1943100"/>
              <a:gd name="connsiteY386" fmla="*/ 333375 h 2203450"/>
              <a:gd name="connsiteX387" fmla="*/ 1476375 w 1943100"/>
              <a:gd name="connsiteY387" fmla="*/ 358775 h 2203450"/>
              <a:gd name="connsiteX388" fmla="*/ 1479550 w 1943100"/>
              <a:gd name="connsiteY388" fmla="*/ 400050 h 2203450"/>
              <a:gd name="connsiteX389" fmla="*/ 1473200 w 1943100"/>
              <a:gd name="connsiteY389" fmla="*/ 431800 h 2203450"/>
              <a:gd name="connsiteX390" fmla="*/ 1466850 w 1943100"/>
              <a:gd name="connsiteY390" fmla="*/ 460375 h 2203450"/>
              <a:gd name="connsiteX391" fmla="*/ 1457325 w 1943100"/>
              <a:gd name="connsiteY391" fmla="*/ 501650 h 2203450"/>
              <a:gd name="connsiteX392" fmla="*/ 1454150 w 1943100"/>
              <a:gd name="connsiteY392" fmla="*/ 533400 h 2203450"/>
              <a:gd name="connsiteX393" fmla="*/ 1454150 w 1943100"/>
              <a:gd name="connsiteY393" fmla="*/ 561975 h 2203450"/>
              <a:gd name="connsiteX394" fmla="*/ 1457325 w 1943100"/>
              <a:gd name="connsiteY394" fmla="*/ 581025 h 2203450"/>
              <a:gd name="connsiteX395" fmla="*/ 1466850 w 1943100"/>
              <a:gd name="connsiteY395" fmla="*/ 596900 h 2203450"/>
              <a:gd name="connsiteX396" fmla="*/ 1473200 w 1943100"/>
              <a:gd name="connsiteY396" fmla="*/ 609600 h 2203450"/>
              <a:gd name="connsiteX397" fmla="*/ 1482725 w 1943100"/>
              <a:gd name="connsiteY397" fmla="*/ 622300 h 2203450"/>
              <a:gd name="connsiteX398" fmla="*/ 1495425 w 1943100"/>
              <a:gd name="connsiteY398" fmla="*/ 631825 h 2203450"/>
              <a:gd name="connsiteX399" fmla="*/ 1508125 w 1943100"/>
              <a:gd name="connsiteY399" fmla="*/ 638175 h 2203450"/>
              <a:gd name="connsiteX400" fmla="*/ 1530350 w 1943100"/>
              <a:gd name="connsiteY400" fmla="*/ 647700 h 2203450"/>
              <a:gd name="connsiteX401" fmla="*/ 1552575 w 1943100"/>
              <a:gd name="connsiteY401" fmla="*/ 650875 h 2203450"/>
              <a:gd name="connsiteX402" fmla="*/ 1571625 w 1943100"/>
              <a:gd name="connsiteY402" fmla="*/ 650875 h 2203450"/>
              <a:gd name="connsiteX403" fmla="*/ 1590675 w 1943100"/>
              <a:gd name="connsiteY403" fmla="*/ 650875 h 2203450"/>
              <a:gd name="connsiteX404" fmla="*/ 1622425 w 1943100"/>
              <a:gd name="connsiteY404" fmla="*/ 650875 h 2203450"/>
              <a:gd name="connsiteX405" fmla="*/ 1647825 w 1943100"/>
              <a:gd name="connsiteY405" fmla="*/ 654050 h 2203450"/>
              <a:gd name="connsiteX406" fmla="*/ 1670050 w 1943100"/>
              <a:gd name="connsiteY406" fmla="*/ 660400 h 2203450"/>
              <a:gd name="connsiteX407" fmla="*/ 1685925 w 1943100"/>
              <a:gd name="connsiteY407" fmla="*/ 666750 h 2203450"/>
              <a:gd name="connsiteX408" fmla="*/ 1695450 w 1943100"/>
              <a:gd name="connsiteY408" fmla="*/ 676275 h 2203450"/>
              <a:gd name="connsiteX409" fmla="*/ 1701800 w 1943100"/>
              <a:gd name="connsiteY409" fmla="*/ 682625 h 2203450"/>
              <a:gd name="connsiteX410" fmla="*/ 1708150 w 1943100"/>
              <a:gd name="connsiteY410" fmla="*/ 688975 h 2203450"/>
              <a:gd name="connsiteX411" fmla="*/ 1714500 w 1943100"/>
              <a:gd name="connsiteY411" fmla="*/ 698500 h 2203450"/>
              <a:gd name="connsiteX412" fmla="*/ 1717675 w 1943100"/>
              <a:gd name="connsiteY412" fmla="*/ 708025 h 2203450"/>
              <a:gd name="connsiteX413" fmla="*/ 1724025 w 1943100"/>
              <a:gd name="connsiteY413" fmla="*/ 727075 h 2203450"/>
              <a:gd name="connsiteX414" fmla="*/ 1724025 w 1943100"/>
              <a:gd name="connsiteY414" fmla="*/ 749300 h 2203450"/>
              <a:gd name="connsiteX415" fmla="*/ 1717675 w 1943100"/>
              <a:gd name="connsiteY415" fmla="*/ 768350 h 2203450"/>
              <a:gd name="connsiteX416" fmla="*/ 1704975 w 1943100"/>
              <a:gd name="connsiteY416" fmla="*/ 800100 h 2203450"/>
              <a:gd name="connsiteX417" fmla="*/ 1698625 w 1943100"/>
              <a:gd name="connsiteY417" fmla="*/ 809625 h 2203450"/>
              <a:gd name="connsiteX418" fmla="*/ 1676400 w 1943100"/>
              <a:gd name="connsiteY418" fmla="*/ 844550 h 2203450"/>
              <a:gd name="connsiteX419" fmla="*/ 1660525 w 1943100"/>
              <a:gd name="connsiteY419" fmla="*/ 873125 h 2203450"/>
              <a:gd name="connsiteX420" fmla="*/ 1651000 w 1943100"/>
              <a:gd name="connsiteY420" fmla="*/ 898525 h 2203450"/>
              <a:gd name="connsiteX421" fmla="*/ 1644650 w 1943100"/>
              <a:gd name="connsiteY421" fmla="*/ 917575 h 2203450"/>
              <a:gd name="connsiteX422" fmla="*/ 1641475 w 1943100"/>
              <a:gd name="connsiteY422" fmla="*/ 936625 h 2203450"/>
              <a:gd name="connsiteX423" fmla="*/ 1641475 w 1943100"/>
              <a:gd name="connsiteY423" fmla="*/ 949325 h 2203450"/>
              <a:gd name="connsiteX424" fmla="*/ 1641475 w 1943100"/>
              <a:gd name="connsiteY424" fmla="*/ 958850 h 2203450"/>
              <a:gd name="connsiteX425" fmla="*/ 1644650 w 1943100"/>
              <a:gd name="connsiteY425" fmla="*/ 974725 h 2203450"/>
              <a:gd name="connsiteX426" fmla="*/ 1647825 w 1943100"/>
              <a:gd name="connsiteY426" fmla="*/ 990600 h 2203450"/>
              <a:gd name="connsiteX427" fmla="*/ 1654175 w 1943100"/>
              <a:gd name="connsiteY427" fmla="*/ 1003300 h 2203450"/>
              <a:gd name="connsiteX428" fmla="*/ 1663700 w 1943100"/>
              <a:gd name="connsiteY428" fmla="*/ 1012825 h 2203450"/>
              <a:gd name="connsiteX429" fmla="*/ 1673225 w 1943100"/>
              <a:gd name="connsiteY429" fmla="*/ 1022350 h 2203450"/>
              <a:gd name="connsiteX430" fmla="*/ 1682750 w 1943100"/>
              <a:gd name="connsiteY430" fmla="*/ 1031875 h 2203450"/>
              <a:gd name="connsiteX431" fmla="*/ 1704975 w 1943100"/>
              <a:gd name="connsiteY431" fmla="*/ 1041400 h 2203450"/>
              <a:gd name="connsiteX432" fmla="*/ 1724025 w 1943100"/>
              <a:gd name="connsiteY432" fmla="*/ 1047750 h 2203450"/>
              <a:gd name="connsiteX433" fmla="*/ 1743075 w 1943100"/>
              <a:gd name="connsiteY433" fmla="*/ 1047750 h 2203450"/>
              <a:gd name="connsiteX434" fmla="*/ 1762125 w 1943100"/>
              <a:gd name="connsiteY434" fmla="*/ 1047750 h 2203450"/>
              <a:gd name="connsiteX435" fmla="*/ 1800225 w 1943100"/>
              <a:gd name="connsiteY435" fmla="*/ 1050925 h 2203450"/>
              <a:gd name="connsiteX436" fmla="*/ 1835150 w 1943100"/>
              <a:gd name="connsiteY436" fmla="*/ 1057275 h 2203450"/>
              <a:gd name="connsiteX437" fmla="*/ 1860550 w 1943100"/>
              <a:gd name="connsiteY437" fmla="*/ 1066800 h 2203450"/>
              <a:gd name="connsiteX438" fmla="*/ 1882775 w 1943100"/>
              <a:gd name="connsiteY438" fmla="*/ 1076325 h 2203450"/>
              <a:gd name="connsiteX439" fmla="*/ 1898650 w 1943100"/>
              <a:gd name="connsiteY439" fmla="*/ 1089025 h 2203450"/>
              <a:gd name="connsiteX440" fmla="*/ 1911350 w 1943100"/>
              <a:gd name="connsiteY440" fmla="*/ 1098550 h 2203450"/>
              <a:gd name="connsiteX441" fmla="*/ 1920875 w 1943100"/>
              <a:gd name="connsiteY441" fmla="*/ 1111250 h 2203450"/>
              <a:gd name="connsiteX442" fmla="*/ 1927225 w 1943100"/>
              <a:gd name="connsiteY442" fmla="*/ 1120775 h 2203450"/>
              <a:gd name="connsiteX443" fmla="*/ 1933575 w 1943100"/>
              <a:gd name="connsiteY443" fmla="*/ 1133475 h 2203450"/>
              <a:gd name="connsiteX444" fmla="*/ 1936750 w 1943100"/>
              <a:gd name="connsiteY444" fmla="*/ 1143000 h 2203450"/>
              <a:gd name="connsiteX445" fmla="*/ 1936750 w 1943100"/>
              <a:gd name="connsiteY445" fmla="*/ 1152525 h 2203450"/>
              <a:gd name="connsiteX446" fmla="*/ 1933575 w 1943100"/>
              <a:gd name="connsiteY446" fmla="*/ 1162050 h 2203450"/>
              <a:gd name="connsiteX447" fmla="*/ 1927225 w 1943100"/>
              <a:gd name="connsiteY447" fmla="*/ 1171575 h 2203450"/>
              <a:gd name="connsiteX448" fmla="*/ 1914525 w 1943100"/>
              <a:gd name="connsiteY448" fmla="*/ 1187450 h 2203450"/>
              <a:gd name="connsiteX449" fmla="*/ 1898650 w 1943100"/>
              <a:gd name="connsiteY449" fmla="*/ 1200150 h 2203450"/>
              <a:gd name="connsiteX450" fmla="*/ 1882775 w 1943100"/>
              <a:gd name="connsiteY450" fmla="*/ 1209675 h 2203450"/>
              <a:gd name="connsiteX451" fmla="*/ 1866900 w 1943100"/>
              <a:gd name="connsiteY451" fmla="*/ 1216025 h 2203450"/>
              <a:gd name="connsiteX452" fmla="*/ 1847850 w 1943100"/>
              <a:gd name="connsiteY452" fmla="*/ 1222375 h 2203450"/>
              <a:gd name="connsiteX453" fmla="*/ 1835150 w 1943100"/>
              <a:gd name="connsiteY453" fmla="*/ 1228725 h 2203450"/>
              <a:gd name="connsiteX454" fmla="*/ 1809750 w 1943100"/>
              <a:gd name="connsiteY454" fmla="*/ 1247775 h 2203450"/>
              <a:gd name="connsiteX455" fmla="*/ 1793875 w 1943100"/>
              <a:gd name="connsiteY455" fmla="*/ 1266825 h 2203450"/>
              <a:gd name="connsiteX456" fmla="*/ 1781175 w 1943100"/>
              <a:gd name="connsiteY456" fmla="*/ 1289050 h 2203450"/>
              <a:gd name="connsiteX457" fmla="*/ 1771650 w 1943100"/>
              <a:gd name="connsiteY457" fmla="*/ 1308100 h 2203450"/>
              <a:gd name="connsiteX458" fmla="*/ 1768475 w 1943100"/>
              <a:gd name="connsiteY458" fmla="*/ 1323975 h 2203450"/>
              <a:gd name="connsiteX459" fmla="*/ 1768475 w 1943100"/>
              <a:gd name="connsiteY459" fmla="*/ 1336675 h 2203450"/>
              <a:gd name="connsiteX460" fmla="*/ 1765300 w 1943100"/>
              <a:gd name="connsiteY460" fmla="*/ 1362075 h 2203450"/>
              <a:gd name="connsiteX461" fmla="*/ 1758950 w 1943100"/>
              <a:gd name="connsiteY461" fmla="*/ 1381125 h 2203450"/>
              <a:gd name="connsiteX462" fmla="*/ 1752600 w 1943100"/>
              <a:gd name="connsiteY462" fmla="*/ 1400175 h 2203450"/>
              <a:gd name="connsiteX463" fmla="*/ 1743075 w 1943100"/>
              <a:gd name="connsiteY463" fmla="*/ 1416050 h 2203450"/>
              <a:gd name="connsiteX464" fmla="*/ 1724025 w 1943100"/>
              <a:gd name="connsiteY464" fmla="*/ 1441450 h 2203450"/>
              <a:gd name="connsiteX465" fmla="*/ 1704975 w 1943100"/>
              <a:gd name="connsiteY465" fmla="*/ 1463675 h 2203450"/>
              <a:gd name="connsiteX466" fmla="*/ 1682750 w 1943100"/>
              <a:gd name="connsiteY466" fmla="*/ 1476375 h 2203450"/>
              <a:gd name="connsiteX467" fmla="*/ 1663700 w 1943100"/>
              <a:gd name="connsiteY467" fmla="*/ 1485900 h 2203450"/>
              <a:gd name="connsiteX468" fmla="*/ 1647825 w 1943100"/>
              <a:gd name="connsiteY468" fmla="*/ 1489075 h 2203450"/>
              <a:gd name="connsiteX469" fmla="*/ 1625600 w 1943100"/>
              <a:gd name="connsiteY469" fmla="*/ 1498600 h 2203450"/>
              <a:gd name="connsiteX470" fmla="*/ 1606550 w 1943100"/>
              <a:gd name="connsiteY470" fmla="*/ 1504950 h 2203450"/>
              <a:gd name="connsiteX471" fmla="*/ 1593850 w 1943100"/>
              <a:gd name="connsiteY471" fmla="*/ 1514475 h 2203450"/>
              <a:gd name="connsiteX472" fmla="*/ 1581150 w 1943100"/>
              <a:gd name="connsiteY472" fmla="*/ 1524000 h 2203450"/>
              <a:gd name="connsiteX473" fmla="*/ 1571625 w 1943100"/>
              <a:gd name="connsiteY473" fmla="*/ 1533525 h 2203450"/>
              <a:gd name="connsiteX474" fmla="*/ 1565275 w 1943100"/>
              <a:gd name="connsiteY474" fmla="*/ 1543050 h 2203450"/>
              <a:gd name="connsiteX475" fmla="*/ 1555750 w 1943100"/>
              <a:gd name="connsiteY475" fmla="*/ 1565275 h 2203450"/>
              <a:gd name="connsiteX476" fmla="*/ 1555750 w 1943100"/>
              <a:gd name="connsiteY476" fmla="*/ 1581150 h 2203450"/>
              <a:gd name="connsiteX477" fmla="*/ 1555750 w 1943100"/>
              <a:gd name="connsiteY477" fmla="*/ 1597025 h 2203450"/>
              <a:gd name="connsiteX478" fmla="*/ 1562100 w 1943100"/>
              <a:gd name="connsiteY478" fmla="*/ 1612900 h 2203450"/>
              <a:gd name="connsiteX479" fmla="*/ 1568450 w 1943100"/>
              <a:gd name="connsiteY479" fmla="*/ 1628775 h 2203450"/>
              <a:gd name="connsiteX480" fmla="*/ 1571625 w 1943100"/>
              <a:gd name="connsiteY480" fmla="*/ 1644650 h 2203450"/>
              <a:gd name="connsiteX481" fmla="*/ 1571625 w 1943100"/>
              <a:gd name="connsiteY481" fmla="*/ 1660525 h 2203450"/>
              <a:gd name="connsiteX482" fmla="*/ 1565275 w 1943100"/>
              <a:gd name="connsiteY482" fmla="*/ 1673225 h 2203450"/>
              <a:gd name="connsiteX483" fmla="*/ 1555750 w 1943100"/>
              <a:gd name="connsiteY483" fmla="*/ 1692275 h 2203450"/>
              <a:gd name="connsiteX484" fmla="*/ 1549400 w 1943100"/>
              <a:gd name="connsiteY484" fmla="*/ 1701800 h 2203450"/>
              <a:gd name="connsiteX485" fmla="*/ 1524000 w 1943100"/>
              <a:gd name="connsiteY485" fmla="*/ 1717675 h 2203450"/>
              <a:gd name="connsiteX486" fmla="*/ 1495425 w 1943100"/>
              <a:gd name="connsiteY486" fmla="*/ 1724025 h 2203450"/>
              <a:gd name="connsiteX487" fmla="*/ 1473200 w 1943100"/>
              <a:gd name="connsiteY487" fmla="*/ 1727200 h 2203450"/>
              <a:gd name="connsiteX488" fmla="*/ 1450975 w 1943100"/>
              <a:gd name="connsiteY488" fmla="*/ 1727200 h 2203450"/>
              <a:gd name="connsiteX489" fmla="*/ 1435100 w 1943100"/>
              <a:gd name="connsiteY489" fmla="*/ 1724025 h 2203450"/>
              <a:gd name="connsiteX490" fmla="*/ 1422400 w 1943100"/>
              <a:gd name="connsiteY490" fmla="*/ 1720850 h 2203450"/>
              <a:gd name="connsiteX491" fmla="*/ 1409700 w 1943100"/>
              <a:gd name="connsiteY491" fmla="*/ 1714500 h 2203450"/>
              <a:gd name="connsiteX492" fmla="*/ 1374775 w 1943100"/>
              <a:gd name="connsiteY492" fmla="*/ 1698625 h 2203450"/>
              <a:gd name="connsiteX493" fmla="*/ 1339850 w 1943100"/>
              <a:gd name="connsiteY493" fmla="*/ 1689100 h 2203450"/>
              <a:gd name="connsiteX494" fmla="*/ 1311275 w 1943100"/>
              <a:gd name="connsiteY494" fmla="*/ 1679575 h 2203450"/>
              <a:gd name="connsiteX495" fmla="*/ 1282700 w 1943100"/>
              <a:gd name="connsiteY495" fmla="*/ 1676400 h 2203450"/>
              <a:gd name="connsiteX496" fmla="*/ 1254125 w 1943100"/>
              <a:gd name="connsiteY496" fmla="*/ 1676400 h 2203450"/>
              <a:gd name="connsiteX497" fmla="*/ 1228725 w 1943100"/>
              <a:gd name="connsiteY497" fmla="*/ 1679575 h 2203450"/>
              <a:gd name="connsiteX498" fmla="*/ 1206500 w 1943100"/>
              <a:gd name="connsiteY498" fmla="*/ 1682750 h 2203450"/>
              <a:gd name="connsiteX499" fmla="*/ 1187450 w 1943100"/>
              <a:gd name="connsiteY499" fmla="*/ 1689100 h 2203450"/>
              <a:gd name="connsiteX500" fmla="*/ 1155700 w 1943100"/>
              <a:gd name="connsiteY500" fmla="*/ 1704975 h 2203450"/>
              <a:gd name="connsiteX501" fmla="*/ 1130300 w 1943100"/>
              <a:gd name="connsiteY501" fmla="*/ 1720850 h 2203450"/>
              <a:gd name="connsiteX502" fmla="*/ 1111250 w 1943100"/>
              <a:gd name="connsiteY502" fmla="*/ 1736725 h 2203450"/>
              <a:gd name="connsiteX503" fmla="*/ 1079500 w 1943100"/>
              <a:gd name="connsiteY503" fmla="*/ 1768475 h 2203450"/>
              <a:gd name="connsiteX504" fmla="*/ 1047750 w 1943100"/>
              <a:gd name="connsiteY504" fmla="*/ 1790700 h 2203450"/>
              <a:gd name="connsiteX505" fmla="*/ 1019175 w 1943100"/>
              <a:gd name="connsiteY505" fmla="*/ 1806575 h 2203450"/>
              <a:gd name="connsiteX506" fmla="*/ 993775 w 1943100"/>
              <a:gd name="connsiteY506" fmla="*/ 1816100 h 2203450"/>
              <a:gd name="connsiteX507" fmla="*/ 971550 w 1943100"/>
              <a:gd name="connsiteY507" fmla="*/ 1819275 h 2203450"/>
              <a:gd name="connsiteX508" fmla="*/ 952500 w 1943100"/>
              <a:gd name="connsiteY508" fmla="*/ 1819275 h 2203450"/>
              <a:gd name="connsiteX509" fmla="*/ 939800 w 1943100"/>
              <a:gd name="connsiteY509" fmla="*/ 1819275 h 2203450"/>
              <a:gd name="connsiteX510" fmla="*/ 908050 w 1943100"/>
              <a:gd name="connsiteY510" fmla="*/ 1812925 h 2203450"/>
              <a:gd name="connsiteX511" fmla="*/ 882650 w 1943100"/>
              <a:gd name="connsiteY511" fmla="*/ 1803400 h 2203450"/>
              <a:gd name="connsiteX512" fmla="*/ 863600 w 1943100"/>
              <a:gd name="connsiteY512" fmla="*/ 1787525 h 2203450"/>
              <a:gd name="connsiteX513" fmla="*/ 850900 w 1943100"/>
              <a:gd name="connsiteY513" fmla="*/ 1774825 h 2203450"/>
              <a:gd name="connsiteX514" fmla="*/ 841375 w 1943100"/>
              <a:gd name="connsiteY514" fmla="*/ 1758950 h 2203450"/>
              <a:gd name="connsiteX515" fmla="*/ 835025 w 1943100"/>
              <a:gd name="connsiteY515" fmla="*/ 1746250 h 2203450"/>
              <a:gd name="connsiteX516" fmla="*/ 831850 w 1943100"/>
              <a:gd name="connsiteY516" fmla="*/ 1736725 h 2203450"/>
              <a:gd name="connsiteX517" fmla="*/ 825500 w 1943100"/>
              <a:gd name="connsiteY517" fmla="*/ 1708150 h 2203450"/>
              <a:gd name="connsiteX518" fmla="*/ 812800 w 1943100"/>
              <a:gd name="connsiteY518" fmla="*/ 1685925 h 2203450"/>
              <a:gd name="connsiteX519" fmla="*/ 800100 w 1943100"/>
              <a:gd name="connsiteY519" fmla="*/ 1670050 h 2203450"/>
              <a:gd name="connsiteX520" fmla="*/ 784225 w 1943100"/>
              <a:gd name="connsiteY520" fmla="*/ 1660525 h 2203450"/>
              <a:gd name="connsiteX521" fmla="*/ 768350 w 1943100"/>
              <a:gd name="connsiteY521" fmla="*/ 1654175 h 2203450"/>
              <a:gd name="connsiteX522" fmla="*/ 755650 w 1943100"/>
              <a:gd name="connsiteY522" fmla="*/ 1651000 h 2203450"/>
              <a:gd name="connsiteX523" fmla="*/ 742950 w 1943100"/>
              <a:gd name="connsiteY523" fmla="*/ 1651000 h 2203450"/>
              <a:gd name="connsiteX524" fmla="*/ 717550 w 1943100"/>
              <a:gd name="connsiteY524" fmla="*/ 1651000 h 2203450"/>
              <a:gd name="connsiteX525" fmla="*/ 698500 w 1943100"/>
              <a:gd name="connsiteY525" fmla="*/ 1644650 h 2203450"/>
              <a:gd name="connsiteX526" fmla="*/ 679450 w 1943100"/>
              <a:gd name="connsiteY526" fmla="*/ 1635125 h 2203450"/>
              <a:gd name="connsiteX527" fmla="*/ 663575 w 1943100"/>
              <a:gd name="connsiteY527" fmla="*/ 1625600 h 2203450"/>
              <a:gd name="connsiteX528" fmla="*/ 654050 w 1943100"/>
              <a:gd name="connsiteY528" fmla="*/ 1612900 h 2203450"/>
              <a:gd name="connsiteX529" fmla="*/ 644525 w 1943100"/>
              <a:gd name="connsiteY529" fmla="*/ 1603375 h 2203450"/>
              <a:gd name="connsiteX530" fmla="*/ 638175 w 1943100"/>
              <a:gd name="connsiteY530" fmla="*/ 1593850 h 2203450"/>
              <a:gd name="connsiteX531" fmla="*/ 628650 w 1943100"/>
              <a:gd name="connsiteY531" fmla="*/ 1577975 h 2203450"/>
              <a:gd name="connsiteX532" fmla="*/ 615950 w 1943100"/>
              <a:gd name="connsiteY532" fmla="*/ 1568450 h 2203450"/>
              <a:gd name="connsiteX533" fmla="*/ 600075 w 1943100"/>
              <a:gd name="connsiteY533" fmla="*/ 1558925 h 2203450"/>
              <a:gd name="connsiteX534" fmla="*/ 587375 w 1943100"/>
              <a:gd name="connsiteY534" fmla="*/ 1552575 h 2203450"/>
              <a:gd name="connsiteX535" fmla="*/ 571500 w 1943100"/>
              <a:gd name="connsiteY535" fmla="*/ 1549400 h 2203450"/>
              <a:gd name="connsiteX536" fmla="*/ 555625 w 1943100"/>
              <a:gd name="connsiteY536" fmla="*/ 1546225 h 2203450"/>
              <a:gd name="connsiteX537" fmla="*/ 523875 w 1943100"/>
              <a:gd name="connsiteY537" fmla="*/ 1546225 h 2203450"/>
              <a:gd name="connsiteX538" fmla="*/ 495300 w 1943100"/>
              <a:gd name="connsiteY538" fmla="*/ 1552575 h 2203450"/>
              <a:gd name="connsiteX539" fmla="*/ 469900 w 1943100"/>
              <a:gd name="connsiteY539" fmla="*/ 1558925 h 2203450"/>
              <a:gd name="connsiteX540" fmla="*/ 447675 w 1943100"/>
              <a:gd name="connsiteY540" fmla="*/ 1568450 h 2203450"/>
              <a:gd name="connsiteX541" fmla="*/ 406400 w 1943100"/>
              <a:gd name="connsiteY541" fmla="*/ 1581150 h 2203450"/>
              <a:gd name="connsiteX542" fmla="*/ 368300 w 1943100"/>
              <a:gd name="connsiteY542" fmla="*/ 1587500 h 2203450"/>
              <a:gd name="connsiteX543" fmla="*/ 333375 w 1943100"/>
              <a:gd name="connsiteY543" fmla="*/ 1590675 h 2203450"/>
              <a:gd name="connsiteX544" fmla="*/ 304800 w 1943100"/>
              <a:gd name="connsiteY544" fmla="*/ 1593850 h 2203450"/>
              <a:gd name="connsiteX545" fmla="*/ 279400 w 1943100"/>
              <a:gd name="connsiteY545" fmla="*/ 1593850 h 2203450"/>
              <a:gd name="connsiteX546" fmla="*/ 254000 w 1943100"/>
              <a:gd name="connsiteY546" fmla="*/ 1590675 h 2203450"/>
              <a:gd name="connsiteX547" fmla="*/ 234950 w 1943100"/>
              <a:gd name="connsiteY547" fmla="*/ 1584325 h 2203450"/>
              <a:gd name="connsiteX548" fmla="*/ 219075 w 1943100"/>
              <a:gd name="connsiteY548" fmla="*/ 1581150 h 2203450"/>
              <a:gd name="connsiteX549" fmla="*/ 193675 w 1943100"/>
              <a:gd name="connsiteY549" fmla="*/ 1565275 h 2203450"/>
              <a:gd name="connsiteX550" fmla="*/ 180975 w 1943100"/>
              <a:gd name="connsiteY550" fmla="*/ 1552575 h 2203450"/>
              <a:gd name="connsiteX551" fmla="*/ 171450 w 1943100"/>
              <a:gd name="connsiteY551" fmla="*/ 1543050 h 2203450"/>
              <a:gd name="connsiteX552" fmla="*/ 168275 w 1943100"/>
              <a:gd name="connsiteY552" fmla="*/ 1536700 h 2203450"/>
              <a:gd name="connsiteX553" fmla="*/ 161925 w 1943100"/>
              <a:gd name="connsiteY553" fmla="*/ 1517650 h 2203450"/>
              <a:gd name="connsiteX554" fmla="*/ 155575 w 1943100"/>
              <a:gd name="connsiteY554" fmla="*/ 1495425 h 2203450"/>
              <a:gd name="connsiteX555" fmla="*/ 152400 w 1943100"/>
              <a:gd name="connsiteY555" fmla="*/ 1476375 h 2203450"/>
              <a:gd name="connsiteX556" fmla="*/ 152400 w 1943100"/>
              <a:gd name="connsiteY556" fmla="*/ 1457325 h 2203450"/>
              <a:gd name="connsiteX557" fmla="*/ 155575 w 1943100"/>
              <a:gd name="connsiteY557" fmla="*/ 1422400 h 2203450"/>
              <a:gd name="connsiteX558" fmla="*/ 165100 w 1943100"/>
              <a:gd name="connsiteY558" fmla="*/ 1390650 h 2203450"/>
              <a:gd name="connsiteX559" fmla="*/ 180975 w 1943100"/>
              <a:gd name="connsiteY559" fmla="*/ 1358900 h 2203450"/>
              <a:gd name="connsiteX560" fmla="*/ 200025 w 1943100"/>
              <a:gd name="connsiteY560" fmla="*/ 1333500 h 2203450"/>
              <a:gd name="connsiteX561" fmla="*/ 225425 w 1943100"/>
              <a:gd name="connsiteY561" fmla="*/ 1308100 h 2203450"/>
              <a:gd name="connsiteX562" fmla="*/ 250825 w 1943100"/>
              <a:gd name="connsiteY562" fmla="*/ 1289050 h 2203450"/>
              <a:gd name="connsiteX563" fmla="*/ 276225 w 1943100"/>
              <a:gd name="connsiteY563" fmla="*/ 1270000 h 2203450"/>
              <a:gd name="connsiteX564" fmla="*/ 304800 w 1943100"/>
              <a:gd name="connsiteY564" fmla="*/ 1254125 h 2203450"/>
              <a:gd name="connsiteX565" fmla="*/ 352425 w 1943100"/>
              <a:gd name="connsiteY565" fmla="*/ 1228725 h 2203450"/>
              <a:gd name="connsiteX566" fmla="*/ 387350 w 1943100"/>
              <a:gd name="connsiteY566" fmla="*/ 1212850 h 2203450"/>
              <a:gd name="connsiteX567" fmla="*/ 403225 w 1943100"/>
              <a:gd name="connsiteY567" fmla="*/ 1209675 h 2203450"/>
              <a:gd name="connsiteX568" fmla="*/ 441325 w 1943100"/>
              <a:gd name="connsiteY568" fmla="*/ 1193800 h 2203450"/>
              <a:gd name="connsiteX569" fmla="*/ 473075 w 1943100"/>
              <a:gd name="connsiteY569" fmla="*/ 1177925 h 2203450"/>
              <a:gd name="connsiteX570" fmla="*/ 495300 w 1943100"/>
              <a:gd name="connsiteY570" fmla="*/ 1158875 h 2203450"/>
              <a:gd name="connsiteX571" fmla="*/ 511175 w 1943100"/>
              <a:gd name="connsiteY571" fmla="*/ 1143000 h 2203450"/>
              <a:gd name="connsiteX572" fmla="*/ 523875 w 1943100"/>
              <a:gd name="connsiteY572" fmla="*/ 1123950 h 2203450"/>
              <a:gd name="connsiteX573" fmla="*/ 530225 w 1943100"/>
              <a:gd name="connsiteY573" fmla="*/ 1111250 h 2203450"/>
              <a:gd name="connsiteX574" fmla="*/ 533400 w 1943100"/>
              <a:gd name="connsiteY574" fmla="*/ 1101725 h 2203450"/>
              <a:gd name="connsiteX575" fmla="*/ 533400 w 1943100"/>
              <a:gd name="connsiteY575" fmla="*/ 1076325 h 2203450"/>
              <a:gd name="connsiteX576" fmla="*/ 527050 w 1943100"/>
              <a:gd name="connsiteY576" fmla="*/ 1060450 h 2203450"/>
              <a:gd name="connsiteX577" fmla="*/ 517525 w 1943100"/>
              <a:gd name="connsiteY577" fmla="*/ 1044575 h 2203450"/>
              <a:gd name="connsiteX578" fmla="*/ 508000 w 1943100"/>
              <a:gd name="connsiteY578" fmla="*/ 1035050 h 2203450"/>
              <a:gd name="connsiteX579" fmla="*/ 498475 w 1943100"/>
              <a:gd name="connsiteY579" fmla="*/ 1028700 h 2203450"/>
              <a:gd name="connsiteX580" fmla="*/ 492125 w 1943100"/>
              <a:gd name="connsiteY580" fmla="*/ 1022350 h 2203450"/>
              <a:gd name="connsiteX581" fmla="*/ 482600 w 1943100"/>
              <a:gd name="connsiteY581" fmla="*/ 1019175 h 2203450"/>
              <a:gd name="connsiteX582" fmla="*/ 454025 w 1943100"/>
              <a:gd name="connsiteY582" fmla="*/ 1012825 h 2203450"/>
              <a:gd name="connsiteX583" fmla="*/ 428625 w 1943100"/>
              <a:gd name="connsiteY583" fmla="*/ 1003300 h 2203450"/>
              <a:gd name="connsiteX584" fmla="*/ 406400 w 1943100"/>
              <a:gd name="connsiteY584" fmla="*/ 993775 h 2203450"/>
              <a:gd name="connsiteX585" fmla="*/ 387350 w 1943100"/>
              <a:gd name="connsiteY585" fmla="*/ 984250 h 2203450"/>
              <a:gd name="connsiteX586" fmla="*/ 358775 w 1943100"/>
              <a:gd name="connsiteY586" fmla="*/ 962025 h 2203450"/>
              <a:gd name="connsiteX587" fmla="*/ 339725 w 1943100"/>
              <a:gd name="connsiteY587" fmla="*/ 939800 h 2203450"/>
              <a:gd name="connsiteX588" fmla="*/ 327025 w 1943100"/>
              <a:gd name="connsiteY588" fmla="*/ 920750 h 2203450"/>
              <a:gd name="connsiteX589" fmla="*/ 320675 w 1943100"/>
              <a:gd name="connsiteY589" fmla="*/ 908050 h 2203450"/>
              <a:gd name="connsiteX590" fmla="*/ 320675 w 1943100"/>
              <a:gd name="connsiteY590" fmla="*/ 892175 h 2203450"/>
              <a:gd name="connsiteX591" fmla="*/ 323850 w 1943100"/>
              <a:gd name="connsiteY591" fmla="*/ 876300 h 2203450"/>
              <a:gd name="connsiteX592" fmla="*/ 333375 w 1943100"/>
              <a:gd name="connsiteY592" fmla="*/ 860425 h 2203450"/>
              <a:gd name="connsiteX593" fmla="*/ 342900 w 1943100"/>
              <a:gd name="connsiteY593" fmla="*/ 847725 h 2203450"/>
              <a:gd name="connsiteX594" fmla="*/ 358775 w 1943100"/>
              <a:gd name="connsiteY594" fmla="*/ 835025 h 2203450"/>
              <a:gd name="connsiteX595" fmla="*/ 377825 w 1943100"/>
              <a:gd name="connsiteY595" fmla="*/ 825500 h 2203450"/>
              <a:gd name="connsiteX596" fmla="*/ 396875 w 1943100"/>
              <a:gd name="connsiteY596" fmla="*/ 819150 h 2203450"/>
              <a:gd name="connsiteX597" fmla="*/ 438150 w 1943100"/>
              <a:gd name="connsiteY597" fmla="*/ 809625 h 2203450"/>
              <a:gd name="connsiteX598" fmla="*/ 482600 w 1943100"/>
              <a:gd name="connsiteY598" fmla="*/ 803275 h 2203450"/>
              <a:gd name="connsiteX599" fmla="*/ 517525 w 1943100"/>
              <a:gd name="connsiteY599" fmla="*/ 800100 h 2203450"/>
              <a:gd name="connsiteX600" fmla="*/ 555625 w 1943100"/>
              <a:gd name="connsiteY600" fmla="*/ 800100 h 2203450"/>
              <a:gd name="connsiteX601" fmla="*/ 581025 w 1943100"/>
              <a:gd name="connsiteY601" fmla="*/ 800100 h 2203450"/>
              <a:gd name="connsiteX602" fmla="*/ 606425 w 1943100"/>
              <a:gd name="connsiteY602" fmla="*/ 796925 h 2203450"/>
              <a:gd name="connsiteX603" fmla="*/ 650875 w 1943100"/>
              <a:gd name="connsiteY603" fmla="*/ 787400 h 2203450"/>
              <a:gd name="connsiteX604" fmla="*/ 682625 w 1943100"/>
              <a:gd name="connsiteY604" fmla="*/ 774700 h 2203450"/>
              <a:gd name="connsiteX605" fmla="*/ 704850 w 1943100"/>
              <a:gd name="connsiteY605" fmla="*/ 758825 h 2203450"/>
              <a:gd name="connsiteX606" fmla="*/ 720725 w 1943100"/>
              <a:gd name="connsiteY606" fmla="*/ 742950 h 2203450"/>
              <a:gd name="connsiteX607" fmla="*/ 730250 w 1943100"/>
              <a:gd name="connsiteY607" fmla="*/ 730250 h 2203450"/>
              <a:gd name="connsiteX608" fmla="*/ 736600 w 1943100"/>
              <a:gd name="connsiteY608" fmla="*/ 717550 h 2203450"/>
              <a:gd name="connsiteX609" fmla="*/ 742950 w 1943100"/>
              <a:gd name="connsiteY609" fmla="*/ 688975 h 2203450"/>
              <a:gd name="connsiteX610" fmla="*/ 742950 w 1943100"/>
              <a:gd name="connsiteY610" fmla="*/ 666750 h 2203450"/>
              <a:gd name="connsiteX611" fmla="*/ 739775 w 1943100"/>
              <a:gd name="connsiteY611" fmla="*/ 647700 h 2203450"/>
              <a:gd name="connsiteX612" fmla="*/ 733425 w 1943100"/>
              <a:gd name="connsiteY612" fmla="*/ 631825 h 2203450"/>
              <a:gd name="connsiteX613" fmla="*/ 727075 w 1943100"/>
              <a:gd name="connsiteY613" fmla="*/ 619125 h 2203450"/>
              <a:gd name="connsiteX614" fmla="*/ 717550 w 1943100"/>
              <a:gd name="connsiteY614" fmla="*/ 609600 h 2203450"/>
              <a:gd name="connsiteX615" fmla="*/ 711200 w 1943100"/>
              <a:gd name="connsiteY615" fmla="*/ 603250 h 2203450"/>
              <a:gd name="connsiteX616" fmla="*/ 685800 w 1943100"/>
              <a:gd name="connsiteY616" fmla="*/ 574675 h 2203450"/>
              <a:gd name="connsiteX617" fmla="*/ 666750 w 1943100"/>
              <a:gd name="connsiteY617" fmla="*/ 549275 h 2203450"/>
              <a:gd name="connsiteX618" fmla="*/ 657225 w 1943100"/>
              <a:gd name="connsiteY618" fmla="*/ 527050 h 2203450"/>
              <a:gd name="connsiteX619" fmla="*/ 654050 w 1943100"/>
              <a:gd name="connsiteY619" fmla="*/ 504825 h 2203450"/>
              <a:gd name="connsiteX620" fmla="*/ 650875 w 1943100"/>
              <a:gd name="connsiteY620" fmla="*/ 485775 h 2203450"/>
              <a:gd name="connsiteX621" fmla="*/ 654050 w 1943100"/>
              <a:gd name="connsiteY621" fmla="*/ 469900 h 2203450"/>
              <a:gd name="connsiteX622" fmla="*/ 657225 w 1943100"/>
              <a:gd name="connsiteY622" fmla="*/ 457200 h 2203450"/>
              <a:gd name="connsiteX623" fmla="*/ 663575 w 1943100"/>
              <a:gd name="connsiteY623" fmla="*/ 441325 h 2203450"/>
              <a:gd name="connsiteX624" fmla="*/ 673100 w 1943100"/>
              <a:gd name="connsiteY624" fmla="*/ 428625 h 2203450"/>
              <a:gd name="connsiteX625" fmla="*/ 682625 w 1943100"/>
              <a:gd name="connsiteY625" fmla="*/ 419100 h 2203450"/>
              <a:gd name="connsiteX626" fmla="*/ 692150 w 1943100"/>
              <a:gd name="connsiteY626" fmla="*/ 409575 h 2203450"/>
              <a:gd name="connsiteX627" fmla="*/ 704850 w 1943100"/>
              <a:gd name="connsiteY627" fmla="*/ 406400 h 2203450"/>
              <a:gd name="connsiteX628" fmla="*/ 717550 w 1943100"/>
              <a:gd name="connsiteY628" fmla="*/ 403225 h 2203450"/>
              <a:gd name="connsiteX629" fmla="*/ 746125 w 1943100"/>
              <a:gd name="connsiteY629" fmla="*/ 400050 h 2203450"/>
              <a:gd name="connsiteX630" fmla="*/ 768350 w 1943100"/>
              <a:gd name="connsiteY630" fmla="*/ 403225 h 2203450"/>
              <a:gd name="connsiteX631" fmla="*/ 790575 w 1943100"/>
              <a:gd name="connsiteY631" fmla="*/ 409575 h 2203450"/>
              <a:gd name="connsiteX632" fmla="*/ 809625 w 1943100"/>
              <a:gd name="connsiteY632" fmla="*/ 415925 h 2203450"/>
              <a:gd name="connsiteX633" fmla="*/ 828675 w 1943100"/>
              <a:gd name="connsiteY633" fmla="*/ 419100 h 2203450"/>
              <a:gd name="connsiteX634" fmla="*/ 847725 w 1943100"/>
              <a:gd name="connsiteY634" fmla="*/ 422275 h 2203450"/>
              <a:gd name="connsiteX635" fmla="*/ 866775 w 1943100"/>
              <a:gd name="connsiteY635" fmla="*/ 419100 h 2203450"/>
              <a:gd name="connsiteX636" fmla="*/ 882650 w 1943100"/>
              <a:gd name="connsiteY636" fmla="*/ 412750 h 2203450"/>
              <a:gd name="connsiteX637" fmla="*/ 898525 w 1943100"/>
              <a:gd name="connsiteY637" fmla="*/ 406400 h 2203450"/>
              <a:gd name="connsiteX638" fmla="*/ 914400 w 1943100"/>
              <a:gd name="connsiteY638" fmla="*/ 400050 h 2203450"/>
              <a:gd name="connsiteX639" fmla="*/ 939800 w 1943100"/>
              <a:gd name="connsiteY639" fmla="*/ 377825 h 2203450"/>
              <a:gd name="connsiteX640" fmla="*/ 958850 w 1943100"/>
              <a:gd name="connsiteY640" fmla="*/ 355600 h 2203450"/>
              <a:gd name="connsiteX641" fmla="*/ 974725 w 1943100"/>
              <a:gd name="connsiteY641" fmla="*/ 336550 h 2203450"/>
              <a:gd name="connsiteX642" fmla="*/ 987425 w 1943100"/>
              <a:gd name="connsiteY642" fmla="*/ 317500 h 2203450"/>
              <a:gd name="connsiteX643" fmla="*/ 1019175 w 1943100"/>
              <a:gd name="connsiteY643" fmla="*/ 254000 h 2203450"/>
              <a:gd name="connsiteX644" fmla="*/ 1054100 w 1943100"/>
              <a:gd name="connsiteY644" fmla="*/ 203200 h 2203450"/>
              <a:gd name="connsiteX645" fmla="*/ 1085850 w 1943100"/>
              <a:gd name="connsiteY645" fmla="*/ 165100 h 2203450"/>
              <a:gd name="connsiteX646" fmla="*/ 1120775 w 1943100"/>
              <a:gd name="connsiteY646" fmla="*/ 136525 h 2203450"/>
              <a:gd name="connsiteX647" fmla="*/ 1152525 w 1943100"/>
              <a:gd name="connsiteY647" fmla="*/ 117475 h 2203450"/>
              <a:gd name="connsiteX648" fmla="*/ 1184275 w 1943100"/>
              <a:gd name="connsiteY648" fmla="*/ 104775 h 2203450"/>
              <a:gd name="connsiteX649" fmla="*/ 958850 w 1943100"/>
              <a:gd name="connsiteY649" fmla="*/ 0 h 2203450"/>
              <a:gd name="connsiteX650" fmla="*/ 981075 w 1943100"/>
              <a:gd name="connsiteY650" fmla="*/ 3175 h 2203450"/>
              <a:gd name="connsiteX651" fmla="*/ 1000125 w 1943100"/>
              <a:gd name="connsiteY651" fmla="*/ 12700 h 2203450"/>
              <a:gd name="connsiteX652" fmla="*/ 1012825 w 1943100"/>
              <a:gd name="connsiteY652" fmla="*/ 25400 h 2203450"/>
              <a:gd name="connsiteX653" fmla="*/ 1022350 w 1943100"/>
              <a:gd name="connsiteY653" fmla="*/ 44450 h 2203450"/>
              <a:gd name="connsiteX654" fmla="*/ 1028700 w 1943100"/>
              <a:gd name="connsiteY654" fmla="*/ 63500 h 2203450"/>
              <a:gd name="connsiteX655" fmla="*/ 1028700 w 1943100"/>
              <a:gd name="connsiteY655" fmla="*/ 88900 h 2203450"/>
              <a:gd name="connsiteX656" fmla="*/ 1025525 w 1943100"/>
              <a:gd name="connsiteY656" fmla="*/ 114300 h 2203450"/>
              <a:gd name="connsiteX657" fmla="*/ 1016000 w 1943100"/>
              <a:gd name="connsiteY657" fmla="*/ 142875 h 2203450"/>
              <a:gd name="connsiteX658" fmla="*/ 1003300 w 1943100"/>
              <a:gd name="connsiteY658" fmla="*/ 171450 h 2203450"/>
              <a:gd name="connsiteX659" fmla="*/ 984250 w 1943100"/>
              <a:gd name="connsiteY659" fmla="*/ 196850 h 2203450"/>
              <a:gd name="connsiteX660" fmla="*/ 965200 w 1943100"/>
              <a:gd name="connsiteY660" fmla="*/ 222250 h 2203450"/>
              <a:gd name="connsiteX661" fmla="*/ 939800 w 1943100"/>
              <a:gd name="connsiteY661" fmla="*/ 244475 h 2203450"/>
              <a:gd name="connsiteX662" fmla="*/ 917575 w 1943100"/>
              <a:gd name="connsiteY662" fmla="*/ 263525 h 2203450"/>
              <a:gd name="connsiteX663" fmla="*/ 892175 w 1943100"/>
              <a:gd name="connsiteY663" fmla="*/ 276225 h 2203450"/>
              <a:gd name="connsiteX664" fmla="*/ 866775 w 1943100"/>
              <a:gd name="connsiteY664" fmla="*/ 282575 h 2203450"/>
              <a:gd name="connsiteX665" fmla="*/ 844550 w 1943100"/>
              <a:gd name="connsiteY665" fmla="*/ 285750 h 2203450"/>
              <a:gd name="connsiteX666" fmla="*/ 822325 w 1943100"/>
              <a:gd name="connsiteY666" fmla="*/ 282575 h 2203450"/>
              <a:gd name="connsiteX667" fmla="*/ 806450 w 1943100"/>
              <a:gd name="connsiteY667" fmla="*/ 273050 h 2203450"/>
              <a:gd name="connsiteX668" fmla="*/ 790575 w 1943100"/>
              <a:gd name="connsiteY668" fmla="*/ 260350 h 2203450"/>
              <a:gd name="connsiteX669" fmla="*/ 781050 w 1943100"/>
              <a:gd name="connsiteY669" fmla="*/ 241300 h 2203450"/>
              <a:gd name="connsiteX670" fmla="*/ 774700 w 1943100"/>
              <a:gd name="connsiteY670" fmla="*/ 222250 h 2203450"/>
              <a:gd name="connsiteX671" fmla="*/ 774700 w 1943100"/>
              <a:gd name="connsiteY671" fmla="*/ 196850 h 2203450"/>
              <a:gd name="connsiteX672" fmla="*/ 777875 w 1943100"/>
              <a:gd name="connsiteY672" fmla="*/ 171450 h 2203450"/>
              <a:gd name="connsiteX673" fmla="*/ 787400 w 1943100"/>
              <a:gd name="connsiteY673" fmla="*/ 142875 h 2203450"/>
              <a:gd name="connsiteX674" fmla="*/ 800100 w 1943100"/>
              <a:gd name="connsiteY674" fmla="*/ 114300 h 2203450"/>
              <a:gd name="connsiteX675" fmla="*/ 819150 w 1943100"/>
              <a:gd name="connsiteY675" fmla="*/ 88900 h 2203450"/>
              <a:gd name="connsiteX676" fmla="*/ 841375 w 1943100"/>
              <a:gd name="connsiteY676" fmla="*/ 63500 h 2203450"/>
              <a:gd name="connsiteX677" fmla="*/ 863600 w 1943100"/>
              <a:gd name="connsiteY677" fmla="*/ 41275 h 2203450"/>
              <a:gd name="connsiteX678" fmla="*/ 889000 w 1943100"/>
              <a:gd name="connsiteY678" fmla="*/ 22225 h 2203450"/>
              <a:gd name="connsiteX679" fmla="*/ 911225 w 1943100"/>
              <a:gd name="connsiteY679" fmla="*/ 9525 h 2203450"/>
              <a:gd name="connsiteX680" fmla="*/ 936625 w 1943100"/>
              <a:gd name="connsiteY680" fmla="*/ 3175 h 220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Lst>
            <a:rect l="l" t="t" r="r" b="b"/>
            <a:pathLst>
              <a:path w="1943100" h="2203450">
                <a:moveTo>
                  <a:pt x="1273175" y="1971675"/>
                </a:moveTo>
                <a:lnTo>
                  <a:pt x="1298575" y="1974850"/>
                </a:lnTo>
                <a:lnTo>
                  <a:pt x="1323975" y="1981200"/>
                </a:lnTo>
                <a:lnTo>
                  <a:pt x="1346200" y="1990725"/>
                </a:lnTo>
                <a:lnTo>
                  <a:pt x="1365250" y="2006600"/>
                </a:lnTo>
                <a:lnTo>
                  <a:pt x="1381125" y="2022475"/>
                </a:lnTo>
                <a:lnTo>
                  <a:pt x="1393825" y="2041525"/>
                </a:lnTo>
                <a:lnTo>
                  <a:pt x="1400175" y="2063750"/>
                </a:lnTo>
                <a:lnTo>
                  <a:pt x="1403350" y="2089150"/>
                </a:lnTo>
                <a:lnTo>
                  <a:pt x="1400175" y="2111375"/>
                </a:lnTo>
                <a:lnTo>
                  <a:pt x="1393825" y="2133600"/>
                </a:lnTo>
                <a:lnTo>
                  <a:pt x="1381125" y="2152650"/>
                </a:lnTo>
                <a:lnTo>
                  <a:pt x="1365250" y="2168525"/>
                </a:lnTo>
                <a:lnTo>
                  <a:pt x="1346200" y="2184400"/>
                </a:lnTo>
                <a:lnTo>
                  <a:pt x="1323975" y="2193925"/>
                </a:lnTo>
                <a:lnTo>
                  <a:pt x="1298575" y="2200275"/>
                </a:lnTo>
                <a:lnTo>
                  <a:pt x="1273175" y="2203450"/>
                </a:lnTo>
                <a:lnTo>
                  <a:pt x="1244600" y="2200275"/>
                </a:lnTo>
                <a:lnTo>
                  <a:pt x="1222375" y="2193925"/>
                </a:lnTo>
                <a:lnTo>
                  <a:pt x="1200150" y="2184400"/>
                </a:lnTo>
                <a:lnTo>
                  <a:pt x="1177925" y="2168525"/>
                </a:lnTo>
                <a:lnTo>
                  <a:pt x="1162050" y="2152650"/>
                </a:lnTo>
                <a:lnTo>
                  <a:pt x="1152525" y="2133600"/>
                </a:lnTo>
                <a:lnTo>
                  <a:pt x="1143000" y="2111375"/>
                </a:lnTo>
                <a:lnTo>
                  <a:pt x="1139825" y="2089150"/>
                </a:lnTo>
                <a:lnTo>
                  <a:pt x="1143000" y="2063750"/>
                </a:lnTo>
                <a:lnTo>
                  <a:pt x="1152525" y="2041525"/>
                </a:lnTo>
                <a:lnTo>
                  <a:pt x="1162050" y="2022475"/>
                </a:lnTo>
                <a:lnTo>
                  <a:pt x="1177925" y="2006600"/>
                </a:lnTo>
                <a:lnTo>
                  <a:pt x="1200150" y="1990725"/>
                </a:lnTo>
                <a:lnTo>
                  <a:pt x="1222375" y="1981200"/>
                </a:lnTo>
                <a:lnTo>
                  <a:pt x="1244600" y="1974850"/>
                </a:lnTo>
                <a:close/>
                <a:moveTo>
                  <a:pt x="1498600" y="1819275"/>
                </a:moveTo>
                <a:lnTo>
                  <a:pt x="1530350" y="1822450"/>
                </a:lnTo>
                <a:lnTo>
                  <a:pt x="1562100" y="1825625"/>
                </a:lnTo>
                <a:lnTo>
                  <a:pt x="1587500" y="1831975"/>
                </a:lnTo>
                <a:lnTo>
                  <a:pt x="1612900" y="1841500"/>
                </a:lnTo>
                <a:lnTo>
                  <a:pt x="1631950" y="1854200"/>
                </a:lnTo>
                <a:lnTo>
                  <a:pt x="1647825" y="1866900"/>
                </a:lnTo>
                <a:lnTo>
                  <a:pt x="1657350" y="1879600"/>
                </a:lnTo>
                <a:lnTo>
                  <a:pt x="1660525" y="1895475"/>
                </a:lnTo>
                <a:lnTo>
                  <a:pt x="1657350" y="1911350"/>
                </a:lnTo>
                <a:lnTo>
                  <a:pt x="1647825" y="1924050"/>
                </a:lnTo>
                <a:lnTo>
                  <a:pt x="1631950" y="1939925"/>
                </a:lnTo>
                <a:lnTo>
                  <a:pt x="1612900" y="1949450"/>
                </a:lnTo>
                <a:lnTo>
                  <a:pt x="1587500" y="1958975"/>
                </a:lnTo>
                <a:lnTo>
                  <a:pt x="1562100" y="1965325"/>
                </a:lnTo>
                <a:lnTo>
                  <a:pt x="1530350" y="1971675"/>
                </a:lnTo>
                <a:lnTo>
                  <a:pt x="1498600" y="1971675"/>
                </a:lnTo>
                <a:lnTo>
                  <a:pt x="1466850" y="1971675"/>
                </a:lnTo>
                <a:lnTo>
                  <a:pt x="1435100" y="1965325"/>
                </a:lnTo>
                <a:lnTo>
                  <a:pt x="1409700" y="1958975"/>
                </a:lnTo>
                <a:lnTo>
                  <a:pt x="1384300" y="1949450"/>
                </a:lnTo>
                <a:lnTo>
                  <a:pt x="1365250" y="1939925"/>
                </a:lnTo>
                <a:lnTo>
                  <a:pt x="1349375" y="1924050"/>
                </a:lnTo>
                <a:lnTo>
                  <a:pt x="1339850" y="1911350"/>
                </a:lnTo>
                <a:lnTo>
                  <a:pt x="1336675" y="1895475"/>
                </a:lnTo>
                <a:lnTo>
                  <a:pt x="1339850" y="1879600"/>
                </a:lnTo>
                <a:lnTo>
                  <a:pt x="1349375" y="1866900"/>
                </a:lnTo>
                <a:lnTo>
                  <a:pt x="1365250" y="1854200"/>
                </a:lnTo>
                <a:lnTo>
                  <a:pt x="1384300" y="1841500"/>
                </a:lnTo>
                <a:lnTo>
                  <a:pt x="1409700" y="1831975"/>
                </a:lnTo>
                <a:lnTo>
                  <a:pt x="1435100" y="1825625"/>
                </a:lnTo>
                <a:lnTo>
                  <a:pt x="1466850" y="1822450"/>
                </a:lnTo>
                <a:close/>
                <a:moveTo>
                  <a:pt x="752475" y="1781175"/>
                </a:moveTo>
                <a:lnTo>
                  <a:pt x="762000" y="1784350"/>
                </a:lnTo>
                <a:lnTo>
                  <a:pt x="768350" y="1787525"/>
                </a:lnTo>
                <a:lnTo>
                  <a:pt x="777875" y="1790700"/>
                </a:lnTo>
                <a:lnTo>
                  <a:pt x="784225" y="1800225"/>
                </a:lnTo>
                <a:lnTo>
                  <a:pt x="793750" y="1816100"/>
                </a:lnTo>
                <a:lnTo>
                  <a:pt x="796925" y="1838325"/>
                </a:lnTo>
                <a:lnTo>
                  <a:pt x="793750" y="1860550"/>
                </a:lnTo>
                <a:lnTo>
                  <a:pt x="784225" y="1879600"/>
                </a:lnTo>
                <a:lnTo>
                  <a:pt x="777875" y="1885950"/>
                </a:lnTo>
                <a:lnTo>
                  <a:pt x="768350" y="1889125"/>
                </a:lnTo>
                <a:lnTo>
                  <a:pt x="762000" y="1892300"/>
                </a:lnTo>
                <a:lnTo>
                  <a:pt x="752475" y="1895475"/>
                </a:lnTo>
                <a:lnTo>
                  <a:pt x="742950" y="1892300"/>
                </a:lnTo>
                <a:lnTo>
                  <a:pt x="736600" y="1889125"/>
                </a:lnTo>
                <a:lnTo>
                  <a:pt x="727075" y="1885950"/>
                </a:lnTo>
                <a:lnTo>
                  <a:pt x="720725" y="1879600"/>
                </a:lnTo>
                <a:lnTo>
                  <a:pt x="711200" y="1860550"/>
                </a:lnTo>
                <a:lnTo>
                  <a:pt x="708025" y="1838325"/>
                </a:lnTo>
                <a:lnTo>
                  <a:pt x="711200" y="1816100"/>
                </a:lnTo>
                <a:lnTo>
                  <a:pt x="720725" y="1800225"/>
                </a:lnTo>
                <a:lnTo>
                  <a:pt x="727075" y="1790700"/>
                </a:lnTo>
                <a:lnTo>
                  <a:pt x="736600" y="1787525"/>
                </a:lnTo>
                <a:lnTo>
                  <a:pt x="742950" y="1784350"/>
                </a:lnTo>
                <a:close/>
                <a:moveTo>
                  <a:pt x="492125" y="1670050"/>
                </a:moveTo>
                <a:lnTo>
                  <a:pt x="520700" y="1673225"/>
                </a:lnTo>
                <a:lnTo>
                  <a:pt x="546100" y="1679575"/>
                </a:lnTo>
                <a:lnTo>
                  <a:pt x="568325" y="1689100"/>
                </a:lnTo>
                <a:lnTo>
                  <a:pt x="590550" y="1704975"/>
                </a:lnTo>
                <a:lnTo>
                  <a:pt x="606425" y="1720850"/>
                </a:lnTo>
                <a:lnTo>
                  <a:pt x="619125" y="1739900"/>
                </a:lnTo>
                <a:lnTo>
                  <a:pt x="628650" y="1758950"/>
                </a:lnTo>
                <a:lnTo>
                  <a:pt x="631825" y="1781175"/>
                </a:lnTo>
                <a:lnTo>
                  <a:pt x="628650" y="1806575"/>
                </a:lnTo>
                <a:lnTo>
                  <a:pt x="619125" y="1825625"/>
                </a:lnTo>
                <a:lnTo>
                  <a:pt x="606425" y="1844675"/>
                </a:lnTo>
                <a:lnTo>
                  <a:pt x="590550" y="1860550"/>
                </a:lnTo>
                <a:lnTo>
                  <a:pt x="568325" y="1876425"/>
                </a:lnTo>
                <a:lnTo>
                  <a:pt x="546100" y="1885950"/>
                </a:lnTo>
                <a:lnTo>
                  <a:pt x="520700" y="1892300"/>
                </a:lnTo>
                <a:lnTo>
                  <a:pt x="492125" y="1895475"/>
                </a:lnTo>
                <a:lnTo>
                  <a:pt x="463550" y="1892300"/>
                </a:lnTo>
                <a:lnTo>
                  <a:pt x="438150" y="1885950"/>
                </a:lnTo>
                <a:lnTo>
                  <a:pt x="412750" y="1876425"/>
                </a:lnTo>
                <a:lnTo>
                  <a:pt x="393700" y="1860550"/>
                </a:lnTo>
                <a:lnTo>
                  <a:pt x="374650" y="1844675"/>
                </a:lnTo>
                <a:lnTo>
                  <a:pt x="361950" y="1825625"/>
                </a:lnTo>
                <a:lnTo>
                  <a:pt x="355600" y="1806575"/>
                </a:lnTo>
                <a:lnTo>
                  <a:pt x="352425" y="1781175"/>
                </a:lnTo>
                <a:lnTo>
                  <a:pt x="355600" y="1758950"/>
                </a:lnTo>
                <a:lnTo>
                  <a:pt x="361950" y="1739900"/>
                </a:lnTo>
                <a:lnTo>
                  <a:pt x="374650" y="1720850"/>
                </a:lnTo>
                <a:lnTo>
                  <a:pt x="393700" y="1704975"/>
                </a:lnTo>
                <a:lnTo>
                  <a:pt x="412750" y="1689100"/>
                </a:lnTo>
                <a:lnTo>
                  <a:pt x="438150" y="1679575"/>
                </a:lnTo>
                <a:lnTo>
                  <a:pt x="463550" y="1673225"/>
                </a:lnTo>
                <a:close/>
                <a:moveTo>
                  <a:pt x="212725" y="1670050"/>
                </a:moveTo>
                <a:lnTo>
                  <a:pt x="228600" y="1673225"/>
                </a:lnTo>
                <a:lnTo>
                  <a:pt x="244475" y="1676400"/>
                </a:lnTo>
                <a:lnTo>
                  <a:pt x="257175" y="1679575"/>
                </a:lnTo>
                <a:lnTo>
                  <a:pt x="266700" y="1685925"/>
                </a:lnTo>
                <a:lnTo>
                  <a:pt x="276225" y="1692275"/>
                </a:lnTo>
                <a:lnTo>
                  <a:pt x="285750" y="1701800"/>
                </a:lnTo>
                <a:lnTo>
                  <a:pt x="288925" y="1711325"/>
                </a:lnTo>
                <a:lnTo>
                  <a:pt x="288925" y="1724025"/>
                </a:lnTo>
                <a:lnTo>
                  <a:pt x="288925" y="1733550"/>
                </a:lnTo>
                <a:lnTo>
                  <a:pt x="285750" y="1743075"/>
                </a:lnTo>
                <a:lnTo>
                  <a:pt x="276225" y="1752600"/>
                </a:lnTo>
                <a:lnTo>
                  <a:pt x="266700" y="1758950"/>
                </a:lnTo>
                <a:lnTo>
                  <a:pt x="257175" y="1765300"/>
                </a:lnTo>
                <a:lnTo>
                  <a:pt x="244475" y="1771650"/>
                </a:lnTo>
                <a:lnTo>
                  <a:pt x="228600" y="1774825"/>
                </a:lnTo>
                <a:lnTo>
                  <a:pt x="212725" y="1774825"/>
                </a:lnTo>
                <a:lnTo>
                  <a:pt x="196850" y="1774825"/>
                </a:lnTo>
                <a:lnTo>
                  <a:pt x="184150" y="1771650"/>
                </a:lnTo>
                <a:lnTo>
                  <a:pt x="168275" y="1765300"/>
                </a:lnTo>
                <a:lnTo>
                  <a:pt x="158750" y="1758950"/>
                </a:lnTo>
                <a:lnTo>
                  <a:pt x="149225" y="1752600"/>
                </a:lnTo>
                <a:lnTo>
                  <a:pt x="142875" y="1743075"/>
                </a:lnTo>
                <a:lnTo>
                  <a:pt x="136525" y="1733550"/>
                </a:lnTo>
                <a:lnTo>
                  <a:pt x="136525" y="1724025"/>
                </a:lnTo>
                <a:lnTo>
                  <a:pt x="136525" y="1711325"/>
                </a:lnTo>
                <a:lnTo>
                  <a:pt x="142875" y="1701800"/>
                </a:lnTo>
                <a:lnTo>
                  <a:pt x="149225" y="1692275"/>
                </a:lnTo>
                <a:lnTo>
                  <a:pt x="158750" y="1685925"/>
                </a:lnTo>
                <a:lnTo>
                  <a:pt x="168275" y="1679575"/>
                </a:lnTo>
                <a:lnTo>
                  <a:pt x="184150" y="1676400"/>
                </a:lnTo>
                <a:lnTo>
                  <a:pt x="196850" y="1673225"/>
                </a:lnTo>
                <a:close/>
                <a:moveTo>
                  <a:pt x="44450" y="1260475"/>
                </a:moveTo>
                <a:lnTo>
                  <a:pt x="53975" y="1260475"/>
                </a:lnTo>
                <a:lnTo>
                  <a:pt x="63500" y="1260475"/>
                </a:lnTo>
                <a:lnTo>
                  <a:pt x="76200" y="1266825"/>
                </a:lnTo>
                <a:lnTo>
                  <a:pt x="82550" y="1273175"/>
                </a:lnTo>
                <a:lnTo>
                  <a:pt x="92075" y="1279525"/>
                </a:lnTo>
                <a:lnTo>
                  <a:pt x="98425" y="1289050"/>
                </a:lnTo>
                <a:lnTo>
                  <a:pt x="101600" y="1298575"/>
                </a:lnTo>
                <a:lnTo>
                  <a:pt x="104775" y="1311275"/>
                </a:lnTo>
                <a:lnTo>
                  <a:pt x="107950" y="1323975"/>
                </a:lnTo>
                <a:lnTo>
                  <a:pt x="104775" y="1336675"/>
                </a:lnTo>
                <a:lnTo>
                  <a:pt x="101600" y="1349375"/>
                </a:lnTo>
                <a:lnTo>
                  <a:pt x="98425" y="1362075"/>
                </a:lnTo>
                <a:lnTo>
                  <a:pt x="92075" y="1371600"/>
                </a:lnTo>
                <a:lnTo>
                  <a:pt x="82550" y="1377950"/>
                </a:lnTo>
                <a:lnTo>
                  <a:pt x="76200" y="1384300"/>
                </a:lnTo>
                <a:lnTo>
                  <a:pt x="63500" y="1387475"/>
                </a:lnTo>
                <a:lnTo>
                  <a:pt x="53975" y="1390650"/>
                </a:lnTo>
                <a:lnTo>
                  <a:pt x="44450" y="1387475"/>
                </a:lnTo>
                <a:lnTo>
                  <a:pt x="34925" y="1384300"/>
                </a:lnTo>
                <a:lnTo>
                  <a:pt x="25400" y="1377950"/>
                </a:lnTo>
                <a:lnTo>
                  <a:pt x="15875" y="1371600"/>
                </a:lnTo>
                <a:lnTo>
                  <a:pt x="9525" y="1362075"/>
                </a:lnTo>
                <a:lnTo>
                  <a:pt x="6350" y="1349375"/>
                </a:lnTo>
                <a:lnTo>
                  <a:pt x="3175" y="1336675"/>
                </a:lnTo>
                <a:lnTo>
                  <a:pt x="0" y="1323975"/>
                </a:lnTo>
                <a:lnTo>
                  <a:pt x="3175" y="1311275"/>
                </a:lnTo>
                <a:lnTo>
                  <a:pt x="6350" y="1298575"/>
                </a:lnTo>
                <a:lnTo>
                  <a:pt x="9525" y="1289050"/>
                </a:lnTo>
                <a:lnTo>
                  <a:pt x="15875" y="1279525"/>
                </a:lnTo>
                <a:lnTo>
                  <a:pt x="25400" y="1273175"/>
                </a:lnTo>
                <a:lnTo>
                  <a:pt x="34925" y="1266825"/>
                </a:lnTo>
                <a:close/>
                <a:moveTo>
                  <a:pt x="171450" y="1098550"/>
                </a:moveTo>
                <a:lnTo>
                  <a:pt x="184150" y="1101725"/>
                </a:lnTo>
                <a:lnTo>
                  <a:pt x="193675" y="1104900"/>
                </a:lnTo>
                <a:lnTo>
                  <a:pt x="206375" y="1108075"/>
                </a:lnTo>
                <a:lnTo>
                  <a:pt x="215900" y="1117600"/>
                </a:lnTo>
                <a:lnTo>
                  <a:pt x="222250" y="1123950"/>
                </a:lnTo>
                <a:lnTo>
                  <a:pt x="228600" y="1136650"/>
                </a:lnTo>
                <a:lnTo>
                  <a:pt x="231775" y="1146175"/>
                </a:lnTo>
                <a:lnTo>
                  <a:pt x="234950" y="1158875"/>
                </a:lnTo>
                <a:lnTo>
                  <a:pt x="231775" y="1168400"/>
                </a:lnTo>
                <a:lnTo>
                  <a:pt x="228600" y="1181100"/>
                </a:lnTo>
                <a:lnTo>
                  <a:pt x="222250" y="1190625"/>
                </a:lnTo>
                <a:lnTo>
                  <a:pt x="215900" y="1200150"/>
                </a:lnTo>
                <a:lnTo>
                  <a:pt x="206375" y="1206500"/>
                </a:lnTo>
                <a:lnTo>
                  <a:pt x="193675" y="1212850"/>
                </a:lnTo>
                <a:lnTo>
                  <a:pt x="184150" y="1216025"/>
                </a:lnTo>
                <a:lnTo>
                  <a:pt x="171450" y="1216025"/>
                </a:lnTo>
                <a:lnTo>
                  <a:pt x="158750" y="1216025"/>
                </a:lnTo>
                <a:lnTo>
                  <a:pt x="146050" y="1212850"/>
                </a:lnTo>
                <a:lnTo>
                  <a:pt x="136525" y="1206500"/>
                </a:lnTo>
                <a:lnTo>
                  <a:pt x="127000" y="1200150"/>
                </a:lnTo>
                <a:lnTo>
                  <a:pt x="117475" y="1190625"/>
                </a:lnTo>
                <a:lnTo>
                  <a:pt x="111125" y="1181100"/>
                </a:lnTo>
                <a:lnTo>
                  <a:pt x="107950" y="1168400"/>
                </a:lnTo>
                <a:lnTo>
                  <a:pt x="107950" y="1158875"/>
                </a:lnTo>
                <a:lnTo>
                  <a:pt x="107950" y="1146175"/>
                </a:lnTo>
                <a:lnTo>
                  <a:pt x="111125" y="1136650"/>
                </a:lnTo>
                <a:lnTo>
                  <a:pt x="117475" y="1123950"/>
                </a:lnTo>
                <a:lnTo>
                  <a:pt x="127000" y="1117600"/>
                </a:lnTo>
                <a:lnTo>
                  <a:pt x="136525" y="1108075"/>
                </a:lnTo>
                <a:lnTo>
                  <a:pt x="146050" y="1104900"/>
                </a:lnTo>
                <a:lnTo>
                  <a:pt x="158750" y="1101725"/>
                </a:lnTo>
                <a:close/>
                <a:moveTo>
                  <a:pt x="136525" y="812800"/>
                </a:moveTo>
                <a:lnTo>
                  <a:pt x="155575" y="815975"/>
                </a:lnTo>
                <a:lnTo>
                  <a:pt x="174625" y="822325"/>
                </a:lnTo>
                <a:lnTo>
                  <a:pt x="190500" y="831850"/>
                </a:lnTo>
                <a:lnTo>
                  <a:pt x="206375" y="844550"/>
                </a:lnTo>
                <a:lnTo>
                  <a:pt x="215900" y="860425"/>
                </a:lnTo>
                <a:lnTo>
                  <a:pt x="225425" y="879475"/>
                </a:lnTo>
                <a:lnTo>
                  <a:pt x="231775" y="898525"/>
                </a:lnTo>
                <a:lnTo>
                  <a:pt x="234950" y="920750"/>
                </a:lnTo>
                <a:lnTo>
                  <a:pt x="231775" y="939800"/>
                </a:lnTo>
                <a:lnTo>
                  <a:pt x="225425" y="958850"/>
                </a:lnTo>
                <a:lnTo>
                  <a:pt x="215900" y="977900"/>
                </a:lnTo>
                <a:lnTo>
                  <a:pt x="206375" y="993775"/>
                </a:lnTo>
                <a:lnTo>
                  <a:pt x="190500" y="1006475"/>
                </a:lnTo>
                <a:lnTo>
                  <a:pt x="174625" y="1016000"/>
                </a:lnTo>
                <a:lnTo>
                  <a:pt x="155575" y="1022350"/>
                </a:lnTo>
                <a:lnTo>
                  <a:pt x="136525" y="1025525"/>
                </a:lnTo>
                <a:lnTo>
                  <a:pt x="114300" y="1022350"/>
                </a:lnTo>
                <a:lnTo>
                  <a:pt x="98425" y="1016000"/>
                </a:lnTo>
                <a:lnTo>
                  <a:pt x="79375" y="1006475"/>
                </a:lnTo>
                <a:lnTo>
                  <a:pt x="66675" y="993775"/>
                </a:lnTo>
                <a:lnTo>
                  <a:pt x="53975" y="977900"/>
                </a:lnTo>
                <a:lnTo>
                  <a:pt x="44450" y="958850"/>
                </a:lnTo>
                <a:lnTo>
                  <a:pt x="38100" y="939800"/>
                </a:lnTo>
                <a:lnTo>
                  <a:pt x="38100" y="920750"/>
                </a:lnTo>
                <a:lnTo>
                  <a:pt x="38100" y="898525"/>
                </a:lnTo>
                <a:lnTo>
                  <a:pt x="44450" y="879475"/>
                </a:lnTo>
                <a:lnTo>
                  <a:pt x="53975" y="860425"/>
                </a:lnTo>
                <a:lnTo>
                  <a:pt x="66675" y="844550"/>
                </a:lnTo>
                <a:lnTo>
                  <a:pt x="79375" y="831850"/>
                </a:lnTo>
                <a:lnTo>
                  <a:pt x="98425" y="822325"/>
                </a:lnTo>
                <a:lnTo>
                  <a:pt x="114300" y="815975"/>
                </a:lnTo>
                <a:close/>
                <a:moveTo>
                  <a:pt x="352425" y="698500"/>
                </a:moveTo>
                <a:lnTo>
                  <a:pt x="368300" y="701675"/>
                </a:lnTo>
                <a:lnTo>
                  <a:pt x="381000" y="708025"/>
                </a:lnTo>
                <a:lnTo>
                  <a:pt x="390525" y="720725"/>
                </a:lnTo>
                <a:lnTo>
                  <a:pt x="393700" y="733425"/>
                </a:lnTo>
                <a:lnTo>
                  <a:pt x="390525" y="749300"/>
                </a:lnTo>
                <a:lnTo>
                  <a:pt x="381000" y="762000"/>
                </a:lnTo>
                <a:lnTo>
                  <a:pt x="368300" y="768350"/>
                </a:lnTo>
                <a:lnTo>
                  <a:pt x="352425" y="771525"/>
                </a:lnTo>
                <a:lnTo>
                  <a:pt x="333375" y="768350"/>
                </a:lnTo>
                <a:lnTo>
                  <a:pt x="320675" y="762000"/>
                </a:lnTo>
                <a:lnTo>
                  <a:pt x="311150" y="749300"/>
                </a:lnTo>
                <a:lnTo>
                  <a:pt x="307975" y="733425"/>
                </a:lnTo>
                <a:lnTo>
                  <a:pt x="311150" y="720725"/>
                </a:lnTo>
                <a:lnTo>
                  <a:pt x="320675" y="708025"/>
                </a:lnTo>
                <a:lnTo>
                  <a:pt x="333375" y="701675"/>
                </a:lnTo>
                <a:close/>
                <a:moveTo>
                  <a:pt x="1809750" y="631825"/>
                </a:moveTo>
                <a:lnTo>
                  <a:pt x="1825625" y="631825"/>
                </a:lnTo>
                <a:lnTo>
                  <a:pt x="1841500" y="631825"/>
                </a:lnTo>
                <a:lnTo>
                  <a:pt x="1863725" y="635000"/>
                </a:lnTo>
                <a:lnTo>
                  <a:pt x="1885950" y="644525"/>
                </a:lnTo>
                <a:lnTo>
                  <a:pt x="1895475" y="654050"/>
                </a:lnTo>
                <a:lnTo>
                  <a:pt x="1908175" y="663575"/>
                </a:lnTo>
                <a:lnTo>
                  <a:pt x="1917700" y="679450"/>
                </a:lnTo>
                <a:lnTo>
                  <a:pt x="1927225" y="695325"/>
                </a:lnTo>
                <a:lnTo>
                  <a:pt x="1933575" y="704850"/>
                </a:lnTo>
                <a:lnTo>
                  <a:pt x="1939925" y="720725"/>
                </a:lnTo>
                <a:lnTo>
                  <a:pt x="1943100" y="739775"/>
                </a:lnTo>
                <a:lnTo>
                  <a:pt x="1943100" y="768350"/>
                </a:lnTo>
                <a:lnTo>
                  <a:pt x="1939925" y="800100"/>
                </a:lnTo>
                <a:lnTo>
                  <a:pt x="1930400" y="841375"/>
                </a:lnTo>
                <a:lnTo>
                  <a:pt x="1911350" y="885825"/>
                </a:lnTo>
                <a:lnTo>
                  <a:pt x="1898650" y="914400"/>
                </a:lnTo>
                <a:lnTo>
                  <a:pt x="1882775" y="939800"/>
                </a:lnTo>
                <a:lnTo>
                  <a:pt x="1863725" y="958850"/>
                </a:lnTo>
                <a:lnTo>
                  <a:pt x="1847850" y="974725"/>
                </a:lnTo>
                <a:lnTo>
                  <a:pt x="1828800" y="987425"/>
                </a:lnTo>
                <a:lnTo>
                  <a:pt x="1809750" y="993775"/>
                </a:lnTo>
                <a:lnTo>
                  <a:pt x="1793875" y="996950"/>
                </a:lnTo>
                <a:lnTo>
                  <a:pt x="1778000" y="990600"/>
                </a:lnTo>
                <a:lnTo>
                  <a:pt x="1765300" y="977900"/>
                </a:lnTo>
                <a:lnTo>
                  <a:pt x="1755775" y="962025"/>
                </a:lnTo>
                <a:lnTo>
                  <a:pt x="1749425" y="942975"/>
                </a:lnTo>
                <a:lnTo>
                  <a:pt x="1746250" y="917575"/>
                </a:lnTo>
                <a:lnTo>
                  <a:pt x="1746250" y="892175"/>
                </a:lnTo>
                <a:lnTo>
                  <a:pt x="1749425" y="863600"/>
                </a:lnTo>
                <a:lnTo>
                  <a:pt x="1755775" y="835025"/>
                </a:lnTo>
                <a:lnTo>
                  <a:pt x="1768475" y="803275"/>
                </a:lnTo>
                <a:lnTo>
                  <a:pt x="1771650" y="796925"/>
                </a:lnTo>
                <a:lnTo>
                  <a:pt x="1774825" y="777875"/>
                </a:lnTo>
                <a:lnTo>
                  <a:pt x="1774825" y="752475"/>
                </a:lnTo>
                <a:lnTo>
                  <a:pt x="1774825" y="739775"/>
                </a:lnTo>
                <a:lnTo>
                  <a:pt x="1768475" y="727075"/>
                </a:lnTo>
                <a:lnTo>
                  <a:pt x="1762125" y="717550"/>
                </a:lnTo>
                <a:lnTo>
                  <a:pt x="1758950" y="708025"/>
                </a:lnTo>
                <a:lnTo>
                  <a:pt x="1755775" y="695325"/>
                </a:lnTo>
                <a:lnTo>
                  <a:pt x="1755775" y="682625"/>
                </a:lnTo>
                <a:lnTo>
                  <a:pt x="1762125" y="666750"/>
                </a:lnTo>
                <a:lnTo>
                  <a:pt x="1774825" y="650875"/>
                </a:lnTo>
                <a:lnTo>
                  <a:pt x="1797050" y="638175"/>
                </a:lnTo>
                <a:close/>
                <a:moveTo>
                  <a:pt x="504825" y="593725"/>
                </a:moveTo>
                <a:lnTo>
                  <a:pt x="520700" y="596900"/>
                </a:lnTo>
                <a:lnTo>
                  <a:pt x="536575" y="600075"/>
                </a:lnTo>
                <a:lnTo>
                  <a:pt x="549275" y="606425"/>
                </a:lnTo>
                <a:lnTo>
                  <a:pt x="561975" y="612775"/>
                </a:lnTo>
                <a:lnTo>
                  <a:pt x="571500" y="622300"/>
                </a:lnTo>
                <a:lnTo>
                  <a:pt x="581025" y="631825"/>
                </a:lnTo>
                <a:lnTo>
                  <a:pt x="584200" y="641350"/>
                </a:lnTo>
                <a:lnTo>
                  <a:pt x="587375" y="654050"/>
                </a:lnTo>
                <a:lnTo>
                  <a:pt x="584200" y="666750"/>
                </a:lnTo>
                <a:lnTo>
                  <a:pt x="581025" y="679450"/>
                </a:lnTo>
                <a:lnTo>
                  <a:pt x="571500" y="688975"/>
                </a:lnTo>
                <a:lnTo>
                  <a:pt x="561975" y="698500"/>
                </a:lnTo>
                <a:lnTo>
                  <a:pt x="549275" y="704850"/>
                </a:lnTo>
                <a:lnTo>
                  <a:pt x="536575" y="711200"/>
                </a:lnTo>
                <a:lnTo>
                  <a:pt x="520700" y="714375"/>
                </a:lnTo>
                <a:lnTo>
                  <a:pt x="504825" y="714375"/>
                </a:lnTo>
                <a:lnTo>
                  <a:pt x="488950" y="714375"/>
                </a:lnTo>
                <a:lnTo>
                  <a:pt x="473075" y="711200"/>
                </a:lnTo>
                <a:lnTo>
                  <a:pt x="457200" y="704850"/>
                </a:lnTo>
                <a:lnTo>
                  <a:pt x="444500" y="698500"/>
                </a:lnTo>
                <a:lnTo>
                  <a:pt x="434975" y="688975"/>
                </a:lnTo>
                <a:lnTo>
                  <a:pt x="428625" y="679450"/>
                </a:lnTo>
                <a:lnTo>
                  <a:pt x="422275" y="666750"/>
                </a:lnTo>
                <a:lnTo>
                  <a:pt x="422275" y="654050"/>
                </a:lnTo>
                <a:lnTo>
                  <a:pt x="422275" y="641350"/>
                </a:lnTo>
                <a:lnTo>
                  <a:pt x="428625" y="631825"/>
                </a:lnTo>
                <a:lnTo>
                  <a:pt x="434975" y="622300"/>
                </a:lnTo>
                <a:lnTo>
                  <a:pt x="444500" y="612775"/>
                </a:lnTo>
                <a:lnTo>
                  <a:pt x="457200" y="606425"/>
                </a:lnTo>
                <a:lnTo>
                  <a:pt x="473075" y="600075"/>
                </a:lnTo>
                <a:lnTo>
                  <a:pt x="488950" y="596900"/>
                </a:lnTo>
                <a:close/>
                <a:moveTo>
                  <a:pt x="1581150" y="158750"/>
                </a:moveTo>
                <a:lnTo>
                  <a:pt x="1600200" y="158750"/>
                </a:lnTo>
                <a:lnTo>
                  <a:pt x="1616075" y="165100"/>
                </a:lnTo>
                <a:lnTo>
                  <a:pt x="1635125" y="177800"/>
                </a:lnTo>
                <a:lnTo>
                  <a:pt x="1654175" y="193675"/>
                </a:lnTo>
                <a:lnTo>
                  <a:pt x="1670050" y="215900"/>
                </a:lnTo>
                <a:lnTo>
                  <a:pt x="1685925" y="241300"/>
                </a:lnTo>
                <a:lnTo>
                  <a:pt x="1698625" y="269875"/>
                </a:lnTo>
                <a:lnTo>
                  <a:pt x="1708150" y="298450"/>
                </a:lnTo>
                <a:lnTo>
                  <a:pt x="1714500" y="330200"/>
                </a:lnTo>
                <a:lnTo>
                  <a:pt x="1717675" y="358775"/>
                </a:lnTo>
                <a:lnTo>
                  <a:pt x="1717675" y="387350"/>
                </a:lnTo>
                <a:lnTo>
                  <a:pt x="1714500" y="409575"/>
                </a:lnTo>
                <a:lnTo>
                  <a:pt x="1708150" y="428625"/>
                </a:lnTo>
                <a:lnTo>
                  <a:pt x="1698625" y="444500"/>
                </a:lnTo>
                <a:lnTo>
                  <a:pt x="1685925" y="457200"/>
                </a:lnTo>
                <a:lnTo>
                  <a:pt x="1670050" y="460375"/>
                </a:lnTo>
                <a:lnTo>
                  <a:pt x="1651000" y="460375"/>
                </a:lnTo>
                <a:lnTo>
                  <a:pt x="1631950" y="454025"/>
                </a:lnTo>
                <a:lnTo>
                  <a:pt x="1616075" y="441325"/>
                </a:lnTo>
                <a:lnTo>
                  <a:pt x="1597025" y="422275"/>
                </a:lnTo>
                <a:lnTo>
                  <a:pt x="1581150" y="403225"/>
                </a:lnTo>
                <a:lnTo>
                  <a:pt x="1565275" y="377825"/>
                </a:lnTo>
                <a:lnTo>
                  <a:pt x="1552575" y="349250"/>
                </a:lnTo>
                <a:lnTo>
                  <a:pt x="1543050" y="320675"/>
                </a:lnTo>
                <a:lnTo>
                  <a:pt x="1533525" y="288925"/>
                </a:lnTo>
                <a:lnTo>
                  <a:pt x="1530350" y="260350"/>
                </a:lnTo>
                <a:lnTo>
                  <a:pt x="1530350" y="231775"/>
                </a:lnTo>
                <a:lnTo>
                  <a:pt x="1536700" y="209550"/>
                </a:lnTo>
                <a:lnTo>
                  <a:pt x="1543050" y="190500"/>
                </a:lnTo>
                <a:lnTo>
                  <a:pt x="1552575" y="174625"/>
                </a:lnTo>
                <a:lnTo>
                  <a:pt x="1565275" y="161925"/>
                </a:lnTo>
                <a:close/>
                <a:moveTo>
                  <a:pt x="1212850" y="98425"/>
                </a:moveTo>
                <a:lnTo>
                  <a:pt x="1241425" y="98425"/>
                </a:lnTo>
                <a:lnTo>
                  <a:pt x="1270000" y="101600"/>
                </a:lnTo>
                <a:lnTo>
                  <a:pt x="1292225" y="111125"/>
                </a:lnTo>
                <a:lnTo>
                  <a:pt x="1314450" y="120650"/>
                </a:lnTo>
                <a:lnTo>
                  <a:pt x="1333500" y="130175"/>
                </a:lnTo>
                <a:lnTo>
                  <a:pt x="1358900" y="149225"/>
                </a:lnTo>
                <a:lnTo>
                  <a:pt x="1368425" y="158750"/>
                </a:lnTo>
                <a:lnTo>
                  <a:pt x="1393825" y="180975"/>
                </a:lnTo>
                <a:lnTo>
                  <a:pt x="1419225" y="206375"/>
                </a:lnTo>
                <a:lnTo>
                  <a:pt x="1435100" y="234950"/>
                </a:lnTo>
                <a:lnTo>
                  <a:pt x="1450975" y="260350"/>
                </a:lnTo>
                <a:lnTo>
                  <a:pt x="1460500" y="285750"/>
                </a:lnTo>
                <a:lnTo>
                  <a:pt x="1470025" y="311150"/>
                </a:lnTo>
                <a:lnTo>
                  <a:pt x="1476375" y="333375"/>
                </a:lnTo>
                <a:lnTo>
                  <a:pt x="1476375" y="358775"/>
                </a:lnTo>
                <a:lnTo>
                  <a:pt x="1479550" y="400050"/>
                </a:lnTo>
                <a:lnTo>
                  <a:pt x="1473200" y="431800"/>
                </a:lnTo>
                <a:lnTo>
                  <a:pt x="1466850" y="460375"/>
                </a:lnTo>
                <a:lnTo>
                  <a:pt x="1457325" y="501650"/>
                </a:lnTo>
                <a:lnTo>
                  <a:pt x="1454150" y="533400"/>
                </a:lnTo>
                <a:lnTo>
                  <a:pt x="1454150" y="561975"/>
                </a:lnTo>
                <a:lnTo>
                  <a:pt x="1457325" y="581025"/>
                </a:lnTo>
                <a:lnTo>
                  <a:pt x="1466850" y="596900"/>
                </a:lnTo>
                <a:lnTo>
                  <a:pt x="1473200" y="609600"/>
                </a:lnTo>
                <a:lnTo>
                  <a:pt x="1482725" y="622300"/>
                </a:lnTo>
                <a:lnTo>
                  <a:pt x="1495425" y="631825"/>
                </a:lnTo>
                <a:lnTo>
                  <a:pt x="1508125" y="638175"/>
                </a:lnTo>
                <a:lnTo>
                  <a:pt x="1530350" y="647700"/>
                </a:lnTo>
                <a:lnTo>
                  <a:pt x="1552575" y="650875"/>
                </a:lnTo>
                <a:lnTo>
                  <a:pt x="1571625" y="650875"/>
                </a:lnTo>
                <a:lnTo>
                  <a:pt x="1590675" y="650875"/>
                </a:lnTo>
                <a:lnTo>
                  <a:pt x="1622425" y="650875"/>
                </a:lnTo>
                <a:lnTo>
                  <a:pt x="1647825" y="654050"/>
                </a:lnTo>
                <a:lnTo>
                  <a:pt x="1670050" y="660400"/>
                </a:lnTo>
                <a:lnTo>
                  <a:pt x="1685925" y="666750"/>
                </a:lnTo>
                <a:lnTo>
                  <a:pt x="1695450" y="676275"/>
                </a:lnTo>
                <a:lnTo>
                  <a:pt x="1701800" y="682625"/>
                </a:lnTo>
                <a:lnTo>
                  <a:pt x="1708150" y="688975"/>
                </a:lnTo>
                <a:lnTo>
                  <a:pt x="1714500" y="698500"/>
                </a:lnTo>
                <a:lnTo>
                  <a:pt x="1717675" y="708025"/>
                </a:lnTo>
                <a:lnTo>
                  <a:pt x="1724025" y="727075"/>
                </a:lnTo>
                <a:lnTo>
                  <a:pt x="1724025" y="749300"/>
                </a:lnTo>
                <a:lnTo>
                  <a:pt x="1717675" y="768350"/>
                </a:lnTo>
                <a:lnTo>
                  <a:pt x="1704975" y="800100"/>
                </a:lnTo>
                <a:lnTo>
                  <a:pt x="1698625" y="809625"/>
                </a:lnTo>
                <a:lnTo>
                  <a:pt x="1676400" y="844550"/>
                </a:lnTo>
                <a:lnTo>
                  <a:pt x="1660525" y="873125"/>
                </a:lnTo>
                <a:lnTo>
                  <a:pt x="1651000" y="898525"/>
                </a:lnTo>
                <a:lnTo>
                  <a:pt x="1644650" y="917575"/>
                </a:lnTo>
                <a:lnTo>
                  <a:pt x="1641475" y="936625"/>
                </a:lnTo>
                <a:lnTo>
                  <a:pt x="1641475" y="949325"/>
                </a:lnTo>
                <a:lnTo>
                  <a:pt x="1641475" y="958850"/>
                </a:lnTo>
                <a:lnTo>
                  <a:pt x="1644650" y="974725"/>
                </a:lnTo>
                <a:lnTo>
                  <a:pt x="1647825" y="990600"/>
                </a:lnTo>
                <a:lnTo>
                  <a:pt x="1654175" y="1003300"/>
                </a:lnTo>
                <a:lnTo>
                  <a:pt x="1663700" y="1012825"/>
                </a:lnTo>
                <a:lnTo>
                  <a:pt x="1673225" y="1022350"/>
                </a:lnTo>
                <a:lnTo>
                  <a:pt x="1682750" y="1031875"/>
                </a:lnTo>
                <a:lnTo>
                  <a:pt x="1704975" y="1041400"/>
                </a:lnTo>
                <a:lnTo>
                  <a:pt x="1724025" y="1047750"/>
                </a:lnTo>
                <a:lnTo>
                  <a:pt x="1743075" y="1047750"/>
                </a:lnTo>
                <a:lnTo>
                  <a:pt x="1762125" y="1047750"/>
                </a:lnTo>
                <a:lnTo>
                  <a:pt x="1800225" y="1050925"/>
                </a:lnTo>
                <a:lnTo>
                  <a:pt x="1835150" y="1057275"/>
                </a:lnTo>
                <a:lnTo>
                  <a:pt x="1860550" y="1066800"/>
                </a:lnTo>
                <a:lnTo>
                  <a:pt x="1882775" y="1076325"/>
                </a:lnTo>
                <a:lnTo>
                  <a:pt x="1898650" y="1089025"/>
                </a:lnTo>
                <a:lnTo>
                  <a:pt x="1911350" y="1098550"/>
                </a:lnTo>
                <a:lnTo>
                  <a:pt x="1920875" y="1111250"/>
                </a:lnTo>
                <a:lnTo>
                  <a:pt x="1927225" y="1120775"/>
                </a:lnTo>
                <a:lnTo>
                  <a:pt x="1933575" y="1133475"/>
                </a:lnTo>
                <a:lnTo>
                  <a:pt x="1936750" y="1143000"/>
                </a:lnTo>
                <a:lnTo>
                  <a:pt x="1936750" y="1152525"/>
                </a:lnTo>
                <a:lnTo>
                  <a:pt x="1933575" y="1162050"/>
                </a:lnTo>
                <a:lnTo>
                  <a:pt x="1927225" y="1171575"/>
                </a:lnTo>
                <a:lnTo>
                  <a:pt x="1914525" y="1187450"/>
                </a:lnTo>
                <a:lnTo>
                  <a:pt x="1898650" y="1200150"/>
                </a:lnTo>
                <a:lnTo>
                  <a:pt x="1882775" y="1209675"/>
                </a:lnTo>
                <a:lnTo>
                  <a:pt x="1866900" y="1216025"/>
                </a:lnTo>
                <a:lnTo>
                  <a:pt x="1847850" y="1222375"/>
                </a:lnTo>
                <a:lnTo>
                  <a:pt x="1835150" y="1228725"/>
                </a:lnTo>
                <a:lnTo>
                  <a:pt x="1809750" y="1247775"/>
                </a:lnTo>
                <a:lnTo>
                  <a:pt x="1793875" y="1266825"/>
                </a:lnTo>
                <a:lnTo>
                  <a:pt x="1781175" y="1289050"/>
                </a:lnTo>
                <a:lnTo>
                  <a:pt x="1771650" y="1308100"/>
                </a:lnTo>
                <a:lnTo>
                  <a:pt x="1768475" y="1323975"/>
                </a:lnTo>
                <a:lnTo>
                  <a:pt x="1768475" y="1336675"/>
                </a:lnTo>
                <a:lnTo>
                  <a:pt x="1765300" y="1362075"/>
                </a:lnTo>
                <a:lnTo>
                  <a:pt x="1758950" y="1381125"/>
                </a:lnTo>
                <a:lnTo>
                  <a:pt x="1752600" y="1400175"/>
                </a:lnTo>
                <a:lnTo>
                  <a:pt x="1743075" y="1416050"/>
                </a:lnTo>
                <a:lnTo>
                  <a:pt x="1724025" y="1441450"/>
                </a:lnTo>
                <a:lnTo>
                  <a:pt x="1704975" y="1463675"/>
                </a:lnTo>
                <a:lnTo>
                  <a:pt x="1682750" y="1476375"/>
                </a:lnTo>
                <a:lnTo>
                  <a:pt x="1663700" y="1485900"/>
                </a:lnTo>
                <a:lnTo>
                  <a:pt x="1647825" y="1489075"/>
                </a:lnTo>
                <a:lnTo>
                  <a:pt x="1625600" y="1498600"/>
                </a:lnTo>
                <a:lnTo>
                  <a:pt x="1606550" y="1504950"/>
                </a:lnTo>
                <a:lnTo>
                  <a:pt x="1593850" y="1514475"/>
                </a:lnTo>
                <a:lnTo>
                  <a:pt x="1581150" y="1524000"/>
                </a:lnTo>
                <a:lnTo>
                  <a:pt x="1571625" y="1533525"/>
                </a:lnTo>
                <a:lnTo>
                  <a:pt x="1565275" y="1543050"/>
                </a:lnTo>
                <a:lnTo>
                  <a:pt x="1555750" y="1565275"/>
                </a:lnTo>
                <a:lnTo>
                  <a:pt x="1555750" y="1581150"/>
                </a:lnTo>
                <a:lnTo>
                  <a:pt x="1555750" y="1597025"/>
                </a:lnTo>
                <a:lnTo>
                  <a:pt x="1562100" y="1612900"/>
                </a:lnTo>
                <a:lnTo>
                  <a:pt x="1568450" y="1628775"/>
                </a:lnTo>
                <a:lnTo>
                  <a:pt x="1571625" y="1644650"/>
                </a:lnTo>
                <a:lnTo>
                  <a:pt x="1571625" y="1660525"/>
                </a:lnTo>
                <a:lnTo>
                  <a:pt x="1565275" y="1673225"/>
                </a:lnTo>
                <a:lnTo>
                  <a:pt x="1555750" y="1692275"/>
                </a:lnTo>
                <a:lnTo>
                  <a:pt x="1549400" y="1701800"/>
                </a:lnTo>
                <a:lnTo>
                  <a:pt x="1524000" y="1717675"/>
                </a:lnTo>
                <a:lnTo>
                  <a:pt x="1495425" y="1724025"/>
                </a:lnTo>
                <a:lnTo>
                  <a:pt x="1473200" y="1727200"/>
                </a:lnTo>
                <a:lnTo>
                  <a:pt x="1450975" y="1727200"/>
                </a:lnTo>
                <a:lnTo>
                  <a:pt x="1435100" y="1724025"/>
                </a:lnTo>
                <a:lnTo>
                  <a:pt x="1422400" y="1720850"/>
                </a:lnTo>
                <a:lnTo>
                  <a:pt x="1409700" y="1714500"/>
                </a:lnTo>
                <a:lnTo>
                  <a:pt x="1374775" y="1698625"/>
                </a:lnTo>
                <a:lnTo>
                  <a:pt x="1339850" y="1689100"/>
                </a:lnTo>
                <a:lnTo>
                  <a:pt x="1311275" y="1679575"/>
                </a:lnTo>
                <a:lnTo>
                  <a:pt x="1282700" y="1676400"/>
                </a:lnTo>
                <a:lnTo>
                  <a:pt x="1254125" y="1676400"/>
                </a:lnTo>
                <a:lnTo>
                  <a:pt x="1228725" y="1679575"/>
                </a:lnTo>
                <a:lnTo>
                  <a:pt x="1206500" y="1682750"/>
                </a:lnTo>
                <a:lnTo>
                  <a:pt x="1187450" y="1689100"/>
                </a:lnTo>
                <a:lnTo>
                  <a:pt x="1155700" y="1704975"/>
                </a:lnTo>
                <a:lnTo>
                  <a:pt x="1130300" y="1720850"/>
                </a:lnTo>
                <a:lnTo>
                  <a:pt x="1111250" y="1736725"/>
                </a:lnTo>
                <a:lnTo>
                  <a:pt x="1079500" y="1768475"/>
                </a:lnTo>
                <a:lnTo>
                  <a:pt x="1047750" y="1790700"/>
                </a:lnTo>
                <a:lnTo>
                  <a:pt x="1019175" y="1806575"/>
                </a:lnTo>
                <a:lnTo>
                  <a:pt x="993775" y="1816100"/>
                </a:lnTo>
                <a:lnTo>
                  <a:pt x="971550" y="1819275"/>
                </a:lnTo>
                <a:lnTo>
                  <a:pt x="952500" y="1819275"/>
                </a:lnTo>
                <a:lnTo>
                  <a:pt x="939800" y="1819275"/>
                </a:lnTo>
                <a:lnTo>
                  <a:pt x="908050" y="1812925"/>
                </a:lnTo>
                <a:lnTo>
                  <a:pt x="882650" y="1803400"/>
                </a:lnTo>
                <a:lnTo>
                  <a:pt x="863600" y="1787525"/>
                </a:lnTo>
                <a:lnTo>
                  <a:pt x="850900" y="1774825"/>
                </a:lnTo>
                <a:lnTo>
                  <a:pt x="841375" y="1758950"/>
                </a:lnTo>
                <a:lnTo>
                  <a:pt x="835025" y="1746250"/>
                </a:lnTo>
                <a:lnTo>
                  <a:pt x="831850" y="1736725"/>
                </a:lnTo>
                <a:lnTo>
                  <a:pt x="825500" y="1708150"/>
                </a:lnTo>
                <a:lnTo>
                  <a:pt x="812800" y="1685925"/>
                </a:lnTo>
                <a:lnTo>
                  <a:pt x="800100" y="1670050"/>
                </a:lnTo>
                <a:lnTo>
                  <a:pt x="784225" y="1660525"/>
                </a:lnTo>
                <a:lnTo>
                  <a:pt x="768350" y="1654175"/>
                </a:lnTo>
                <a:lnTo>
                  <a:pt x="755650" y="1651000"/>
                </a:lnTo>
                <a:lnTo>
                  <a:pt x="742950" y="1651000"/>
                </a:lnTo>
                <a:lnTo>
                  <a:pt x="717550" y="1651000"/>
                </a:lnTo>
                <a:lnTo>
                  <a:pt x="698500" y="1644650"/>
                </a:lnTo>
                <a:lnTo>
                  <a:pt x="679450" y="1635125"/>
                </a:lnTo>
                <a:lnTo>
                  <a:pt x="663575" y="1625600"/>
                </a:lnTo>
                <a:lnTo>
                  <a:pt x="654050" y="1612900"/>
                </a:lnTo>
                <a:lnTo>
                  <a:pt x="644525" y="1603375"/>
                </a:lnTo>
                <a:lnTo>
                  <a:pt x="638175" y="1593850"/>
                </a:lnTo>
                <a:lnTo>
                  <a:pt x="628650" y="1577975"/>
                </a:lnTo>
                <a:lnTo>
                  <a:pt x="615950" y="1568450"/>
                </a:lnTo>
                <a:lnTo>
                  <a:pt x="600075" y="1558925"/>
                </a:lnTo>
                <a:lnTo>
                  <a:pt x="587375" y="1552575"/>
                </a:lnTo>
                <a:lnTo>
                  <a:pt x="571500" y="1549400"/>
                </a:lnTo>
                <a:lnTo>
                  <a:pt x="555625" y="1546225"/>
                </a:lnTo>
                <a:lnTo>
                  <a:pt x="523875" y="1546225"/>
                </a:lnTo>
                <a:lnTo>
                  <a:pt x="495300" y="1552575"/>
                </a:lnTo>
                <a:lnTo>
                  <a:pt x="469900" y="1558925"/>
                </a:lnTo>
                <a:lnTo>
                  <a:pt x="447675" y="1568450"/>
                </a:lnTo>
                <a:lnTo>
                  <a:pt x="406400" y="1581150"/>
                </a:lnTo>
                <a:lnTo>
                  <a:pt x="368300" y="1587500"/>
                </a:lnTo>
                <a:lnTo>
                  <a:pt x="333375" y="1590675"/>
                </a:lnTo>
                <a:lnTo>
                  <a:pt x="304800" y="1593850"/>
                </a:lnTo>
                <a:lnTo>
                  <a:pt x="279400" y="1593850"/>
                </a:lnTo>
                <a:lnTo>
                  <a:pt x="254000" y="1590675"/>
                </a:lnTo>
                <a:lnTo>
                  <a:pt x="234950" y="1584325"/>
                </a:lnTo>
                <a:lnTo>
                  <a:pt x="219075" y="1581150"/>
                </a:lnTo>
                <a:lnTo>
                  <a:pt x="193675" y="1565275"/>
                </a:lnTo>
                <a:lnTo>
                  <a:pt x="180975" y="1552575"/>
                </a:lnTo>
                <a:lnTo>
                  <a:pt x="171450" y="1543050"/>
                </a:lnTo>
                <a:lnTo>
                  <a:pt x="168275" y="1536700"/>
                </a:lnTo>
                <a:lnTo>
                  <a:pt x="161925" y="1517650"/>
                </a:lnTo>
                <a:lnTo>
                  <a:pt x="155575" y="1495425"/>
                </a:lnTo>
                <a:lnTo>
                  <a:pt x="152400" y="1476375"/>
                </a:lnTo>
                <a:lnTo>
                  <a:pt x="152400" y="1457325"/>
                </a:lnTo>
                <a:lnTo>
                  <a:pt x="155575" y="1422400"/>
                </a:lnTo>
                <a:lnTo>
                  <a:pt x="165100" y="1390650"/>
                </a:lnTo>
                <a:lnTo>
                  <a:pt x="180975" y="1358900"/>
                </a:lnTo>
                <a:lnTo>
                  <a:pt x="200025" y="1333500"/>
                </a:lnTo>
                <a:lnTo>
                  <a:pt x="225425" y="1308100"/>
                </a:lnTo>
                <a:lnTo>
                  <a:pt x="250825" y="1289050"/>
                </a:lnTo>
                <a:lnTo>
                  <a:pt x="276225" y="1270000"/>
                </a:lnTo>
                <a:lnTo>
                  <a:pt x="304800" y="1254125"/>
                </a:lnTo>
                <a:lnTo>
                  <a:pt x="352425" y="1228725"/>
                </a:lnTo>
                <a:lnTo>
                  <a:pt x="387350" y="1212850"/>
                </a:lnTo>
                <a:lnTo>
                  <a:pt x="403225" y="1209675"/>
                </a:lnTo>
                <a:lnTo>
                  <a:pt x="441325" y="1193800"/>
                </a:lnTo>
                <a:lnTo>
                  <a:pt x="473075" y="1177925"/>
                </a:lnTo>
                <a:lnTo>
                  <a:pt x="495300" y="1158875"/>
                </a:lnTo>
                <a:lnTo>
                  <a:pt x="511175" y="1143000"/>
                </a:lnTo>
                <a:lnTo>
                  <a:pt x="523875" y="1123950"/>
                </a:lnTo>
                <a:lnTo>
                  <a:pt x="530225" y="1111250"/>
                </a:lnTo>
                <a:lnTo>
                  <a:pt x="533400" y="1101725"/>
                </a:lnTo>
                <a:lnTo>
                  <a:pt x="533400" y="1076325"/>
                </a:lnTo>
                <a:lnTo>
                  <a:pt x="527050" y="1060450"/>
                </a:lnTo>
                <a:lnTo>
                  <a:pt x="517525" y="1044575"/>
                </a:lnTo>
                <a:lnTo>
                  <a:pt x="508000" y="1035050"/>
                </a:lnTo>
                <a:lnTo>
                  <a:pt x="498475" y="1028700"/>
                </a:lnTo>
                <a:lnTo>
                  <a:pt x="492125" y="1022350"/>
                </a:lnTo>
                <a:lnTo>
                  <a:pt x="482600" y="1019175"/>
                </a:lnTo>
                <a:lnTo>
                  <a:pt x="454025" y="1012825"/>
                </a:lnTo>
                <a:lnTo>
                  <a:pt x="428625" y="1003300"/>
                </a:lnTo>
                <a:lnTo>
                  <a:pt x="406400" y="993775"/>
                </a:lnTo>
                <a:lnTo>
                  <a:pt x="387350" y="984250"/>
                </a:lnTo>
                <a:lnTo>
                  <a:pt x="358775" y="962025"/>
                </a:lnTo>
                <a:lnTo>
                  <a:pt x="339725" y="939800"/>
                </a:lnTo>
                <a:lnTo>
                  <a:pt x="327025" y="920750"/>
                </a:lnTo>
                <a:lnTo>
                  <a:pt x="320675" y="908050"/>
                </a:lnTo>
                <a:lnTo>
                  <a:pt x="320675" y="892175"/>
                </a:lnTo>
                <a:lnTo>
                  <a:pt x="323850" y="876300"/>
                </a:lnTo>
                <a:lnTo>
                  <a:pt x="333375" y="860425"/>
                </a:lnTo>
                <a:lnTo>
                  <a:pt x="342900" y="847725"/>
                </a:lnTo>
                <a:lnTo>
                  <a:pt x="358775" y="835025"/>
                </a:lnTo>
                <a:lnTo>
                  <a:pt x="377825" y="825500"/>
                </a:lnTo>
                <a:lnTo>
                  <a:pt x="396875" y="819150"/>
                </a:lnTo>
                <a:lnTo>
                  <a:pt x="438150" y="809625"/>
                </a:lnTo>
                <a:lnTo>
                  <a:pt x="482600" y="803275"/>
                </a:lnTo>
                <a:lnTo>
                  <a:pt x="517525" y="800100"/>
                </a:lnTo>
                <a:lnTo>
                  <a:pt x="555625" y="800100"/>
                </a:lnTo>
                <a:lnTo>
                  <a:pt x="581025" y="800100"/>
                </a:lnTo>
                <a:lnTo>
                  <a:pt x="606425" y="796925"/>
                </a:lnTo>
                <a:lnTo>
                  <a:pt x="650875" y="787400"/>
                </a:lnTo>
                <a:lnTo>
                  <a:pt x="682625" y="774700"/>
                </a:lnTo>
                <a:lnTo>
                  <a:pt x="704850" y="758825"/>
                </a:lnTo>
                <a:lnTo>
                  <a:pt x="720725" y="742950"/>
                </a:lnTo>
                <a:lnTo>
                  <a:pt x="730250" y="730250"/>
                </a:lnTo>
                <a:lnTo>
                  <a:pt x="736600" y="717550"/>
                </a:lnTo>
                <a:lnTo>
                  <a:pt x="742950" y="688975"/>
                </a:lnTo>
                <a:lnTo>
                  <a:pt x="742950" y="666750"/>
                </a:lnTo>
                <a:lnTo>
                  <a:pt x="739775" y="647700"/>
                </a:lnTo>
                <a:lnTo>
                  <a:pt x="733425" y="631825"/>
                </a:lnTo>
                <a:lnTo>
                  <a:pt x="727075" y="619125"/>
                </a:lnTo>
                <a:lnTo>
                  <a:pt x="717550" y="609600"/>
                </a:lnTo>
                <a:lnTo>
                  <a:pt x="711200" y="603250"/>
                </a:lnTo>
                <a:lnTo>
                  <a:pt x="685800" y="574675"/>
                </a:lnTo>
                <a:lnTo>
                  <a:pt x="666750" y="549275"/>
                </a:lnTo>
                <a:lnTo>
                  <a:pt x="657225" y="527050"/>
                </a:lnTo>
                <a:lnTo>
                  <a:pt x="654050" y="504825"/>
                </a:lnTo>
                <a:lnTo>
                  <a:pt x="650875" y="485775"/>
                </a:lnTo>
                <a:lnTo>
                  <a:pt x="654050" y="469900"/>
                </a:lnTo>
                <a:lnTo>
                  <a:pt x="657225" y="457200"/>
                </a:lnTo>
                <a:lnTo>
                  <a:pt x="663575" y="441325"/>
                </a:lnTo>
                <a:lnTo>
                  <a:pt x="673100" y="428625"/>
                </a:lnTo>
                <a:lnTo>
                  <a:pt x="682625" y="419100"/>
                </a:lnTo>
                <a:lnTo>
                  <a:pt x="692150" y="409575"/>
                </a:lnTo>
                <a:lnTo>
                  <a:pt x="704850" y="406400"/>
                </a:lnTo>
                <a:lnTo>
                  <a:pt x="717550" y="403225"/>
                </a:lnTo>
                <a:lnTo>
                  <a:pt x="746125" y="400050"/>
                </a:lnTo>
                <a:lnTo>
                  <a:pt x="768350" y="403225"/>
                </a:lnTo>
                <a:lnTo>
                  <a:pt x="790575" y="409575"/>
                </a:lnTo>
                <a:lnTo>
                  <a:pt x="809625" y="415925"/>
                </a:lnTo>
                <a:lnTo>
                  <a:pt x="828675" y="419100"/>
                </a:lnTo>
                <a:lnTo>
                  <a:pt x="847725" y="422275"/>
                </a:lnTo>
                <a:lnTo>
                  <a:pt x="866775" y="419100"/>
                </a:lnTo>
                <a:lnTo>
                  <a:pt x="882650" y="412750"/>
                </a:lnTo>
                <a:lnTo>
                  <a:pt x="898525" y="406400"/>
                </a:lnTo>
                <a:lnTo>
                  <a:pt x="914400" y="400050"/>
                </a:lnTo>
                <a:lnTo>
                  <a:pt x="939800" y="377825"/>
                </a:lnTo>
                <a:lnTo>
                  <a:pt x="958850" y="355600"/>
                </a:lnTo>
                <a:lnTo>
                  <a:pt x="974725" y="336550"/>
                </a:lnTo>
                <a:lnTo>
                  <a:pt x="987425" y="317500"/>
                </a:lnTo>
                <a:lnTo>
                  <a:pt x="1019175" y="254000"/>
                </a:lnTo>
                <a:lnTo>
                  <a:pt x="1054100" y="203200"/>
                </a:lnTo>
                <a:lnTo>
                  <a:pt x="1085850" y="165100"/>
                </a:lnTo>
                <a:lnTo>
                  <a:pt x="1120775" y="136525"/>
                </a:lnTo>
                <a:lnTo>
                  <a:pt x="1152525" y="117475"/>
                </a:lnTo>
                <a:lnTo>
                  <a:pt x="1184275" y="104775"/>
                </a:lnTo>
                <a:close/>
                <a:moveTo>
                  <a:pt x="958850" y="0"/>
                </a:moveTo>
                <a:lnTo>
                  <a:pt x="981075" y="3175"/>
                </a:lnTo>
                <a:lnTo>
                  <a:pt x="1000125" y="12700"/>
                </a:lnTo>
                <a:lnTo>
                  <a:pt x="1012825" y="25400"/>
                </a:lnTo>
                <a:lnTo>
                  <a:pt x="1022350" y="44450"/>
                </a:lnTo>
                <a:lnTo>
                  <a:pt x="1028700" y="63500"/>
                </a:lnTo>
                <a:lnTo>
                  <a:pt x="1028700" y="88900"/>
                </a:lnTo>
                <a:lnTo>
                  <a:pt x="1025525" y="114300"/>
                </a:lnTo>
                <a:lnTo>
                  <a:pt x="1016000" y="142875"/>
                </a:lnTo>
                <a:lnTo>
                  <a:pt x="1003300" y="171450"/>
                </a:lnTo>
                <a:lnTo>
                  <a:pt x="984250" y="196850"/>
                </a:lnTo>
                <a:lnTo>
                  <a:pt x="965200" y="222250"/>
                </a:lnTo>
                <a:lnTo>
                  <a:pt x="939800" y="244475"/>
                </a:lnTo>
                <a:lnTo>
                  <a:pt x="917575" y="263525"/>
                </a:lnTo>
                <a:lnTo>
                  <a:pt x="892175" y="276225"/>
                </a:lnTo>
                <a:lnTo>
                  <a:pt x="866775" y="282575"/>
                </a:lnTo>
                <a:lnTo>
                  <a:pt x="844550" y="285750"/>
                </a:lnTo>
                <a:lnTo>
                  <a:pt x="822325" y="282575"/>
                </a:lnTo>
                <a:lnTo>
                  <a:pt x="806450" y="273050"/>
                </a:lnTo>
                <a:lnTo>
                  <a:pt x="790575" y="260350"/>
                </a:lnTo>
                <a:lnTo>
                  <a:pt x="781050" y="241300"/>
                </a:lnTo>
                <a:lnTo>
                  <a:pt x="774700" y="222250"/>
                </a:lnTo>
                <a:lnTo>
                  <a:pt x="774700" y="196850"/>
                </a:lnTo>
                <a:lnTo>
                  <a:pt x="777875" y="171450"/>
                </a:lnTo>
                <a:lnTo>
                  <a:pt x="787400" y="142875"/>
                </a:lnTo>
                <a:lnTo>
                  <a:pt x="800100" y="114300"/>
                </a:lnTo>
                <a:lnTo>
                  <a:pt x="819150" y="88900"/>
                </a:lnTo>
                <a:lnTo>
                  <a:pt x="841375" y="63500"/>
                </a:lnTo>
                <a:lnTo>
                  <a:pt x="863600" y="41275"/>
                </a:lnTo>
                <a:lnTo>
                  <a:pt x="889000" y="22225"/>
                </a:lnTo>
                <a:lnTo>
                  <a:pt x="911225" y="9525"/>
                </a:lnTo>
                <a:lnTo>
                  <a:pt x="936625" y="317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9" name="Content Placeholder 2"/>
          <p:cNvSpPr txBox="1">
            <a:spLocks/>
          </p:cNvSpPr>
          <p:nvPr/>
        </p:nvSpPr>
        <p:spPr>
          <a:xfrm>
            <a:off x="8320999" y="5667903"/>
            <a:ext cx="626741" cy="341075"/>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lang="en-US" sz="1050" b="1" dirty="0">
                <a:solidFill>
                  <a:schemeClr val="tx1">
                    <a:lumMod val="85000"/>
                    <a:lumOff val="15000"/>
                  </a:schemeClr>
                </a:solidFill>
                <a:ea typeface="Open Sans Light" panose="020B0306030504020204" pitchFamily="34" charset="0"/>
                <a:cs typeface="Open Sans Light" panose="020B0306030504020204" pitchFamily="34" charset="0"/>
              </a:rPr>
              <a:t>1524K</a:t>
            </a:r>
            <a:endParaRPr lang="id-ID" sz="1050" b="1" dirty="0">
              <a:solidFill>
                <a:schemeClr val="tx1">
                  <a:lumMod val="85000"/>
                  <a:lumOff val="15000"/>
                </a:schemeClr>
              </a:solidFill>
              <a:ea typeface="Open Sans Light" panose="020B0306030504020204" pitchFamily="34" charset="0"/>
              <a:cs typeface="Open Sans Light" panose="020B0306030504020204" pitchFamily="34" charset="0"/>
            </a:endParaRPr>
          </a:p>
        </p:txBody>
      </p:sp>
      <p:sp>
        <p:nvSpPr>
          <p:cNvPr id="40" name="Freeform 39"/>
          <p:cNvSpPr>
            <a:spLocks/>
          </p:cNvSpPr>
          <p:nvPr/>
        </p:nvSpPr>
        <p:spPr bwMode="auto">
          <a:xfrm>
            <a:off x="11132337" y="5333429"/>
            <a:ext cx="874594" cy="991778"/>
          </a:xfrm>
          <a:custGeom>
            <a:avLst/>
            <a:gdLst>
              <a:gd name="connsiteX0" fmla="*/ 1273175 w 1943100"/>
              <a:gd name="connsiteY0" fmla="*/ 1971675 h 2203450"/>
              <a:gd name="connsiteX1" fmla="*/ 1298575 w 1943100"/>
              <a:gd name="connsiteY1" fmla="*/ 1974850 h 2203450"/>
              <a:gd name="connsiteX2" fmla="*/ 1323975 w 1943100"/>
              <a:gd name="connsiteY2" fmla="*/ 1981200 h 2203450"/>
              <a:gd name="connsiteX3" fmla="*/ 1346200 w 1943100"/>
              <a:gd name="connsiteY3" fmla="*/ 1990725 h 2203450"/>
              <a:gd name="connsiteX4" fmla="*/ 1365250 w 1943100"/>
              <a:gd name="connsiteY4" fmla="*/ 2006600 h 2203450"/>
              <a:gd name="connsiteX5" fmla="*/ 1381125 w 1943100"/>
              <a:gd name="connsiteY5" fmla="*/ 2022475 h 2203450"/>
              <a:gd name="connsiteX6" fmla="*/ 1393825 w 1943100"/>
              <a:gd name="connsiteY6" fmla="*/ 2041525 h 2203450"/>
              <a:gd name="connsiteX7" fmla="*/ 1400175 w 1943100"/>
              <a:gd name="connsiteY7" fmla="*/ 2063750 h 2203450"/>
              <a:gd name="connsiteX8" fmla="*/ 1403350 w 1943100"/>
              <a:gd name="connsiteY8" fmla="*/ 2089150 h 2203450"/>
              <a:gd name="connsiteX9" fmla="*/ 1400175 w 1943100"/>
              <a:gd name="connsiteY9" fmla="*/ 2111375 h 2203450"/>
              <a:gd name="connsiteX10" fmla="*/ 1393825 w 1943100"/>
              <a:gd name="connsiteY10" fmla="*/ 2133600 h 2203450"/>
              <a:gd name="connsiteX11" fmla="*/ 1381125 w 1943100"/>
              <a:gd name="connsiteY11" fmla="*/ 2152650 h 2203450"/>
              <a:gd name="connsiteX12" fmla="*/ 1365250 w 1943100"/>
              <a:gd name="connsiteY12" fmla="*/ 2168525 h 2203450"/>
              <a:gd name="connsiteX13" fmla="*/ 1346200 w 1943100"/>
              <a:gd name="connsiteY13" fmla="*/ 2184400 h 2203450"/>
              <a:gd name="connsiteX14" fmla="*/ 1323975 w 1943100"/>
              <a:gd name="connsiteY14" fmla="*/ 2193925 h 2203450"/>
              <a:gd name="connsiteX15" fmla="*/ 1298575 w 1943100"/>
              <a:gd name="connsiteY15" fmla="*/ 2200275 h 2203450"/>
              <a:gd name="connsiteX16" fmla="*/ 1273175 w 1943100"/>
              <a:gd name="connsiteY16" fmla="*/ 2203450 h 2203450"/>
              <a:gd name="connsiteX17" fmla="*/ 1244600 w 1943100"/>
              <a:gd name="connsiteY17" fmla="*/ 2200275 h 2203450"/>
              <a:gd name="connsiteX18" fmla="*/ 1222375 w 1943100"/>
              <a:gd name="connsiteY18" fmla="*/ 2193925 h 2203450"/>
              <a:gd name="connsiteX19" fmla="*/ 1200150 w 1943100"/>
              <a:gd name="connsiteY19" fmla="*/ 2184400 h 2203450"/>
              <a:gd name="connsiteX20" fmla="*/ 1177925 w 1943100"/>
              <a:gd name="connsiteY20" fmla="*/ 2168525 h 2203450"/>
              <a:gd name="connsiteX21" fmla="*/ 1162050 w 1943100"/>
              <a:gd name="connsiteY21" fmla="*/ 2152650 h 2203450"/>
              <a:gd name="connsiteX22" fmla="*/ 1152525 w 1943100"/>
              <a:gd name="connsiteY22" fmla="*/ 2133600 h 2203450"/>
              <a:gd name="connsiteX23" fmla="*/ 1143000 w 1943100"/>
              <a:gd name="connsiteY23" fmla="*/ 2111375 h 2203450"/>
              <a:gd name="connsiteX24" fmla="*/ 1139825 w 1943100"/>
              <a:gd name="connsiteY24" fmla="*/ 2089150 h 2203450"/>
              <a:gd name="connsiteX25" fmla="*/ 1143000 w 1943100"/>
              <a:gd name="connsiteY25" fmla="*/ 2063750 h 2203450"/>
              <a:gd name="connsiteX26" fmla="*/ 1152525 w 1943100"/>
              <a:gd name="connsiteY26" fmla="*/ 2041525 h 2203450"/>
              <a:gd name="connsiteX27" fmla="*/ 1162050 w 1943100"/>
              <a:gd name="connsiteY27" fmla="*/ 2022475 h 2203450"/>
              <a:gd name="connsiteX28" fmla="*/ 1177925 w 1943100"/>
              <a:gd name="connsiteY28" fmla="*/ 2006600 h 2203450"/>
              <a:gd name="connsiteX29" fmla="*/ 1200150 w 1943100"/>
              <a:gd name="connsiteY29" fmla="*/ 1990725 h 2203450"/>
              <a:gd name="connsiteX30" fmla="*/ 1222375 w 1943100"/>
              <a:gd name="connsiteY30" fmla="*/ 1981200 h 2203450"/>
              <a:gd name="connsiteX31" fmla="*/ 1244600 w 1943100"/>
              <a:gd name="connsiteY31" fmla="*/ 1974850 h 2203450"/>
              <a:gd name="connsiteX32" fmla="*/ 1498600 w 1943100"/>
              <a:gd name="connsiteY32" fmla="*/ 1819275 h 2203450"/>
              <a:gd name="connsiteX33" fmla="*/ 1530350 w 1943100"/>
              <a:gd name="connsiteY33" fmla="*/ 1822450 h 2203450"/>
              <a:gd name="connsiteX34" fmla="*/ 1562100 w 1943100"/>
              <a:gd name="connsiteY34" fmla="*/ 1825625 h 2203450"/>
              <a:gd name="connsiteX35" fmla="*/ 1587500 w 1943100"/>
              <a:gd name="connsiteY35" fmla="*/ 1831975 h 2203450"/>
              <a:gd name="connsiteX36" fmla="*/ 1612900 w 1943100"/>
              <a:gd name="connsiteY36" fmla="*/ 1841500 h 2203450"/>
              <a:gd name="connsiteX37" fmla="*/ 1631950 w 1943100"/>
              <a:gd name="connsiteY37" fmla="*/ 1854200 h 2203450"/>
              <a:gd name="connsiteX38" fmla="*/ 1647825 w 1943100"/>
              <a:gd name="connsiteY38" fmla="*/ 1866900 h 2203450"/>
              <a:gd name="connsiteX39" fmla="*/ 1657350 w 1943100"/>
              <a:gd name="connsiteY39" fmla="*/ 1879600 h 2203450"/>
              <a:gd name="connsiteX40" fmla="*/ 1660525 w 1943100"/>
              <a:gd name="connsiteY40" fmla="*/ 1895475 h 2203450"/>
              <a:gd name="connsiteX41" fmla="*/ 1657350 w 1943100"/>
              <a:gd name="connsiteY41" fmla="*/ 1911350 h 2203450"/>
              <a:gd name="connsiteX42" fmla="*/ 1647825 w 1943100"/>
              <a:gd name="connsiteY42" fmla="*/ 1924050 h 2203450"/>
              <a:gd name="connsiteX43" fmla="*/ 1631950 w 1943100"/>
              <a:gd name="connsiteY43" fmla="*/ 1939925 h 2203450"/>
              <a:gd name="connsiteX44" fmla="*/ 1612900 w 1943100"/>
              <a:gd name="connsiteY44" fmla="*/ 1949450 h 2203450"/>
              <a:gd name="connsiteX45" fmla="*/ 1587500 w 1943100"/>
              <a:gd name="connsiteY45" fmla="*/ 1958975 h 2203450"/>
              <a:gd name="connsiteX46" fmla="*/ 1562100 w 1943100"/>
              <a:gd name="connsiteY46" fmla="*/ 1965325 h 2203450"/>
              <a:gd name="connsiteX47" fmla="*/ 1530350 w 1943100"/>
              <a:gd name="connsiteY47" fmla="*/ 1971675 h 2203450"/>
              <a:gd name="connsiteX48" fmla="*/ 1498600 w 1943100"/>
              <a:gd name="connsiteY48" fmla="*/ 1971675 h 2203450"/>
              <a:gd name="connsiteX49" fmla="*/ 1466850 w 1943100"/>
              <a:gd name="connsiteY49" fmla="*/ 1971675 h 2203450"/>
              <a:gd name="connsiteX50" fmla="*/ 1435100 w 1943100"/>
              <a:gd name="connsiteY50" fmla="*/ 1965325 h 2203450"/>
              <a:gd name="connsiteX51" fmla="*/ 1409700 w 1943100"/>
              <a:gd name="connsiteY51" fmla="*/ 1958975 h 2203450"/>
              <a:gd name="connsiteX52" fmla="*/ 1384300 w 1943100"/>
              <a:gd name="connsiteY52" fmla="*/ 1949450 h 2203450"/>
              <a:gd name="connsiteX53" fmla="*/ 1365250 w 1943100"/>
              <a:gd name="connsiteY53" fmla="*/ 1939925 h 2203450"/>
              <a:gd name="connsiteX54" fmla="*/ 1349375 w 1943100"/>
              <a:gd name="connsiteY54" fmla="*/ 1924050 h 2203450"/>
              <a:gd name="connsiteX55" fmla="*/ 1339850 w 1943100"/>
              <a:gd name="connsiteY55" fmla="*/ 1911350 h 2203450"/>
              <a:gd name="connsiteX56" fmla="*/ 1336675 w 1943100"/>
              <a:gd name="connsiteY56" fmla="*/ 1895475 h 2203450"/>
              <a:gd name="connsiteX57" fmla="*/ 1339850 w 1943100"/>
              <a:gd name="connsiteY57" fmla="*/ 1879600 h 2203450"/>
              <a:gd name="connsiteX58" fmla="*/ 1349375 w 1943100"/>
              <a:gd name="connsiteY58" fmla="*/ 1866900 h 2203450"/>
              <a:gd name="connsiteX59" fmla="*/ 1365250 w 1943100"/>
              <a:gd name="connsiteY59" fmla="*/ 1854200 h 2203450"/>
              <a:gd name="connsiteX60" fmla="*/ 1384300 w 1943100"/>
              <a:gd name="connsiteY60" fmla="*/ 1841500 h 2203450"/>
              <a:gd name="connsiteX61" fmla="*/ 1409700 w 1943100"/>
              <a:gd name="connsiteY61" fmla="*/ 1831975 h 2203450"/>
              <a:gd name="connsiteX62" fmla="*/ 1435100 w 1943100"/>
              <a:gd name="connsiteY62" fmla="*/ 1825625 h 2203450"/>
              <a:gd name="connsiteX63" fmla="*/ 1466850 w 1943100"/>
              <a:gd name="connsiteY63" fmla="*/ 1822450 h 2203450"/>
              <a:gd name="connsiteX64" fmla="*/ 752475 w 1943100"/>
              <a:gd name="connsiteY64" fmla="*/ 1781175 h 2203450"/>
              <a:gd name="connsiteX65" fmla="*/ 762000 w 1943100"/>
              <a:gd name="connsiteY65" fmla="*/ 1784350 h 2203450"/>
              <a:gd name="connsiteX66" fmla="*/ 768350 w 1943100"/>
              <a:gd name="connsiteY66" fmla="*/ 1787525 h 2203450"/>
              <a:gd name="connsiteX67" fmla="*/ 777875 w 1943100"/>
              <a:gd name="connsiteY67" fmla="*/ 1790700 h 2203450"/>
              <a:gd name="connsiteX68" fmla="*/ 784225 w 1943100"/>
              <a:gd name="connsiteY68" fmla="*/ 1800225 h 2203450"/>
              <a:gd name="connsiteX69" fmla="*/ 793750 w 1943100"/>
              <a:gd name="connsiteY69" fmla="*/ 1816100 h 2203450"/>
              <a:gd name="connsiteX70" fmla="*/ 796925 w 1943100"/>
              <a:gd name="connsiteY70" fmla="*/ 1838325 h 2203450"/>
              <a:gd name="connsiteX71" fmla="*/ 793750 w 1943100"/>
              <a:gd name="connsiteY71" fmla="*/ 1860550 h 2203450"/>
              <a:gd name="connsiteX72" fmla="*/ 784225 w 1943100"/>
              <a:gd name="connsiteY72" fmla="*/ 1879600 h 2203450"/>
              <a:gd name="connsiteX73" fmla="*/ 777875 w 1943100"/>
              <a:gd name="connsiteY73" fmla="*/ 1885950 h 2203450"/>
              <a:gd name="connsiteX74" fmla="*/ 768350 w 1943100"/>
              <a:gd name="connsiteY74" fmla="*/ 1889125 h 2203450"/>
              <a:gd name="connsiteX75" fmla="*/ 762000 w 1943100"/>
              <a:gd name="connsiteY75" fmla="*/ 1892300 h 2203450"/>
              <a:gd name="connsiteX76" fmla="*/ 752475 w 1943100"/>
              <a:gd name="connsiteY76" fmla="*/ 1895475 h 2203450"/>
              <a:gd name="connsiteX77" fmla="*/ 742950 w 1943100"/>
              <a:gd name="connsiteY77" fmla="*/ 1892300 h 2203450"/>
              <a:gd name="connsiteX78" fmla="*/ 736600 w 1943100"/>
              <a:gd name="connsiteY78" fmla="*/ 1889125 h 2203450"/>
              <a:gd name="connsiteX79" fmla="*/ 727075 w 1943100"/>
              <a:gd name="connsiteY79" fmla="*/ 1885950 h 2203450"/>
              <a:gd name="connsiteX80" fmla="*/ 720725 w 1943100"/>
              <a:gd name="connsiteY80" fmla="*/ 1879600 h 2203450"/>
              <a:gd name="connsiteX81" fmla="*/ 711200 w 1943100"/>
              <a:gd name="connsiteY81" fmla="*/ 1860550 h 2203450"/>
              <a:gd name="connsiteX82" fmla="*/ 708025 w 1943100"/>
              <a:gd name="connsiteY82" fmla="*/ 1838325 h 2203450"/>
              <a:gd name="connsiteX83" fmla="*/ 711200 w 1943100"/>
              <a:gd name="connsiteY83" fmla="*/ 1816100 h 2203450"/>
              <a:gd name="connsiteX84" fmla="*/ 720725 w 1943100"/>
              <a:gd name="connsiteY84" fmla="*/ 1800225 h 2203450"/>
              <a:gd name="connsiteX85" fmla="*/ 727075 w 1943100"/>
              <a:gd name="connsiteY85" fmla="*/ 1790700 h 2203450"/>
              <a:gd name="connsiteX86" fmla="*/ 736600 w 1943100"/>
              <a:gd name="connsiteY86" fmla="*/ 1787525 h 2203450"/>
              <a:gd name="connsiteX87" fmla="*/ 742950 w 1943100"/>
              <a:gd name="connsiteY87" fmla="*/ 1784350 h 2203450"/>
              <a:gd name="connsiteX88" fmla="*/ 492125 w 1943100"/>
              <a:gd name="connsiteY88" fmla="*/ 1670050 h 2203450"/>
              <a:gd name="connsiteX89" fmla="*/ 520700 w 1943100"/>
              <a:gd name="connsiteY89" fmla="*/ 1673225 h 2203450"/>
              <a:gd name="connsiteX90" fmla="*/ 546100 w 1943100"/>
              <a:gd name="connsiteY90" fmla="*/ 1679575 h 2203450"/>
              <a:gd name="connsiteX91" fmla="*/ 568325 w 1943100"/>
              <a:gd name="connsiteY91" fmla="*/ 1689100 h 2203450"/>
              <a:gd name="connsiteX92" fmla="*/ 590550 w 1943100"/>
              <a:gd name="connsiteY92" fmla="*/ 1704975 h 2203450"/>
              <a:gd name="connsiteX93" fmla="*/ 606425 w 1943100"/>
              <a:gd name="connsiteY93" fmla="*/ 1720850 h 2203450"/>
              <a:gd name="connsiteX94" fmla="*/ 619125 w 1943100"/>
              <a:gd name="connsiteY94" fmla="*/ 1739900 h 2203450"/>
              <a:gd name="connsiteX95" fmla="*/ 628650 w 1943100"/>
              <a:gd name="connsiteY95" fmla="*/ 1758950 h 2203450"/>
              <a:gd name="connsiteX96" fmla="*/ 631825 w 1943100"/>
              <a:gd name="connsiteY96" fmla="*/ 1781175 h 2203450"/>
              <a:gd name="connsiteX97" fmla="*/ 628650 w 1943100"/>
              <a:gd name="connsiteY97" fmla="*/ 1806575 h 2203450"/>
              <a:gd name="connsiteX98" fmla="*/ 619125 w 1943100"/>
              <a:gd name="connsiteY98" fmla="*/ 1825625 h 2203450"/>
              <a:gd name="connsiteX99" fmla="*/ 606425 w 1943100"/>
              <a:gd name="connsiteY99" fmla="*/ 1844675 h 2203450"/>
              <a:gd name="connsiteX100" fmla="*/ 590550 w 1943100"/>
              <a:gd name="connsiteY100" fmla="*/ 1860550 h 2203450"/>
              <a:gd name="connsiteX101" fmla="*/ 568325 w 1943100"/>
              <a:gd name="connsiteY101" fmla="*/ 1876425 h 2203450"/>
              <a:gd name="connsiteX102" fmla="*/ 546100 w 1943100"/>
              <a:gd name="connsiteY102" fmla="*/ 1885950 h 2203450"/>
              <a:gd name="connsiteX103" fmla="*/ 520700 w 1943100"/>
              <a:gd name="connsiteY103" fmla="*/ 1892300 h 2203450"/>
              <a:gd name="connsiteX104" fmla="*/ 492125 w 1943100"/>
              <a:gd name="connsiteY104" fmla="*/ 1895475 h 2203450"/>
              <a:gd name="connsiteX105" fmla="*/ 463550 w 1943100"/>
              <a:gd name="connsiteY105" fmla="*/ 1892300 h 2203450"/>
              <a:gd name="connsiteX106" fmla="*/ 438150 w 1943100"/>
              <a:gd name="connsiteY106" fmla="*/ 1885950 h 2203450"/>
              <a:gd name="connsiteX107" fmla="*/ 412750 w 1943100"/>
              <a:gd name="connsiteY107" fmla="*/ 1876425 h 2203450"/>
              <a:gd name="connsiteX108" fmla="*/ 393700 w 1943100"/>
              <a:gd name="connsiteY108" fmla="*/ 1860550 h 2203450"/>
              <a:gd name="connsiteX109" fmla="*/ 374650 w 1943100"/>
              <a:gd name="connsiteY109" fmla="*/ 1844675 h 2203450"/>
              <a:gd name="connsiteX110" fmla="*/ 361950 w 1943100"/>
              <a:gd name="connsiteY110" fmla="*/ 1825625 h 2203450"/>
              <a:gd name="connsiteX111" fmla="*/ 355600 w 1943100"/>
              <a:gd name="connsiteY111" fmla="*/ 1806575 h 2203450"/>
              <a:gd name="connsiteX112" fmla="*/ 352425 w 1943100"/>
              <a:gd name="connsiteY112" fmla="*/ 1781175 h 2203450"/>
              <a:gd name="connsiteX113" fmla="*/ 355600 w 1943100"/>
              <a:gd name="connsiteY113" fmla="*/ 1758950 h 2203450"/>
              <a:gd name="connsiteX114" fmla="*/ 361950 w 1943100"/>
              <a:gd name="connsiteY114" fmla="*/ 1739900 h 2203450"/>
              <a:gd name="connsiteX115" fmla="*/ 374650 w 1943100"/>
              <a:gd name="connsiteY115" fmla="*/ 1720850 h 2203450"/>
              <a:gd name="connsiteX116" fmla="*/ 393700 w 1943100"/>
              <a:gd name="connsiteY116" fmla="*/ 1704975 h 2203450"/>
              <a:gd name="connsiteX117" fmla="*/ 412750 w 1943100"/>
              <a:gd name="connsiteY117" fmla="*/ 1689100 h 2203450"/>
              <a:gd name="connsiteX118" fmla="*/ 438150 w 1943100"/>
              <a:gd name="connsiteY118" fmla="*/ 1679575 h 2203450"/>
              <a:gd name="connsiteX119" fmla="*/ 463550 w 1943100"/>
              <a:gd name="connsiteY119" fmla="*/ 1673225 h 2203450"/>
              <a:gd name="connsiteX120" fmla="*/ 212725 w 1943100"/>
              <a:gd name="connsiteY120" fmla="*/ 1670050 h 2203450"/>
              <a:gd name="connsiteX121" fmla="*/ 228600 w 1943100"/>
              <a:gd name="connsiteY121" fmla="*/ 1673225 h 2203450"/>
              <a:gd name="connsiteX122" fmla="*/ 244475 w 1943100"/>
              <a:gd name="connsiteY122" fmla="*/ 1676400 h 2203450"/>
              <a:gd name="connsiteX123" fmla="*/ 257175 w 1943100"/>
              <a:gd name="connsiteY123" fmla="*/ 1679575 h 2203450"/>
              <a:gd name="connsiteX124" fmla="*/ 266700 w 1943100"/>
              <a:gd name="connsiteY124" fmla="*/ 1685925 h 2203450"/>
              <a:gd name="connsiteX125" fmla="*/ 276225 w 1943100"/>
              <a:gd name="connsiteY125" fmla="*/ 1692275 h 2203450"/>
              <a:gd name="connsiteX126" fmla="*/ 285750 w 1943100"/>
              <a:gd name="connsiteY126" fmla="*/ 1701800 h 2203450"/>
              <a:gd name="connsiteX127" fmla="*/ 288925 w 1943100"/>
              <a:gd name="connsiteY127" fmla="*/ 1711325 h 2203450"/>
              <a:gd name="connsiteX128" fmla="*/ 288925 w 1943100"/>
              <a:gd name="connsiteY128" fmla="*/ 1724025 h 2203450"/>
              <a:gd name="connsiteX129" fmla="*/ 288925 w 1943100"/>
              <a:gd name="connsiteY129" fmla="*/ 1733550 h 2203450"/>
              <a:gd name="connsiteX130" fmla="*/ 285750 w 1943100"/>
              <a:gd name="connsiteY130" fmla="*/ 1743075 h 2203450"/>
              <a:gd name="connsiteX131" fmla="*/ 276225 w 1943100"/>
              <a:gd name="connsiteY131" fmla="*/ 1752600 h 2203450"/>
              <a:gd name="connsiteX132" fmla="*/ 266700 w 1943100"/>
              <a:gd name="connsiteY132" fmla="*/ 1758950 h 2203450"/>
              <a:gd name="connsiteX133" fmla="*/ 257175 w 1943100"/>
              <a:gd name="connsiteY133" fmla="*/ 1765300 h 2203450"/>
              <a:gd name="connsiteX134" fmla="*/ 244475 w 1943100"/>
              <a:gd name="connsiteY134" fmla="*/ 1771650 h 2203450"/>
              <a:gd name="connsiteX135" fmla="*/ 228600 w 1943100"/>
              <a:gd name="connsiteY135" fmla="*/ 1774825 h 2203450"/>
              <a:gd name="connsiteX136" fmla="*/ 212725 w 1943100"/>
              <a:gd name="connsiteY136" fmla="*/ 1774825 h 2203450"/>
              <a:gd name="connsiteX137" fmla="*/ 196850 w 1943100"/>
              <a:gd name="connsiteY137" fmla="*/ 1774825 h 2203450"/>
              <a:gd name="connsiteX138" fmla="*/ 184150 w 1943100"/>
              <a:gd name="connsiteY138" fmla="*/ 1771650 h 2203450"/>
              <a:gd name="connsiteX139" fmla="*/ 168275 w 1943100"/>
              <a:gd name="connsiteY139" fmla="*/ 1765300 h 2203450"/>
              <a:gd name="connsiteX140" fmla="*/ 158750 w 1943100"/>
              <a:gd name="connsiteY140" fmla="*/ 1758950 h 2203450"/>
              <a:gd name="connsiteX141" fmla="*/ 149225 w 1943100"/>
              <a:gd name="connsiteY141" fmla="*/ 1752600 h 2203450"/>
              <a:gd name="connsiteX142" fmla="*/ 142875 w 1943100"/>
              <a:gd name="connsiteY142" fmla="*/ 1743075 h 2203450"/>
              <a:gd name="connsiteX143" fmla="*/ 136525 w 1943100"/>
              <a:gd name="connsiteY143" fmla="*/ 1733550 h 2203450"/>
              <a:gd name="connsiteX144" fmla="*/ 136525 w 1943100"/>
              <a:gd name="connsiteY144" fmla="*/ 1724025 h 2203450"/>
              <a:gd name="connsiteX145" fmla="*/ 136525 w 1943100"/>
              <a:gd name="connsiteY145" fmla="*/ 1711325 h 2203450"/>
              <a:gd name="connsiteX146" fmla="*/ 142875 w 1943100"/>
              <a:gd name="connsiteY146" fmla="*/ 1701800 h 2203450"/>
              <a:gd name="connsiteX147" fmla="*/ 149225 w 1943100"/>
              <a:gd name="connsiteY147" fmla="*/ 1692275 h 2203450"/>
              <a:gd name="connsiteX148" fmla="*/ 158750 w 1943100"/>
              <a:gd name="connsiteY148" fmla="*/ 1685925 h 2203450"/>
              <a:gd name="connsiteX149" fmla="*/ 168275 w 1943100"/>
              <a:gd name="connsiteY149" fmla="*/ 1679575 h 2203450"/>
              <a:gd name="connsiteX150" fmla="*/ 184150 w 1943100"/>
              <a:gd name="connsiteY150" fmla="*/ 1676400 h 2203450"/>
              <a:gd name="connsiteX151" fmla="*/ 196850 w 1943100"/>
              <a:gd name="connsiteY151" fmla="*/ 1673225 h 2203450"/>
              <a:gd name="connsiteX152" fmla="*/ 44450 w 1943100"/>
              <a:gd name="connsiteY152" fmla="*/ 1260475 h 2203450"/>
              <a:gd name="connsiteX153" fmla="*/ 53975 w 1943100"/>
              <a:gd name="connsiteY153" fmla="*/ 1260475 h 2203450"/>
              <a:gd name="connsiteX154" fmla="*/ 63500 w 1943100"/>
              <a:gd name="connsiteY154" fmla="*/ 1260475 h 2203450"/>
              <a:gd name="connsiteX155" fmla="*/ 76200 w 1943100"/>
              <a:gd name="connsiteY155" fmla="*/ 1266825 h 2203450"/>
              <a:gd name="connsiteX156" fmla="*/ 82550 w 1943100"/>
              <a:gd name="connsiteY156" fmla="*/ 1273175 h 2203450"/>
              <a:gd name="connsiteX157" fmla="*/ 92075 w 1943100"/>
              <a:gd name="connsiteY157" fmla="*/ 1279525 h 2203450"/>
              <a:gd name="connsiteX158" fmla="*/ 98425 w 1943100"/>
              <a:gd name="connsiteY158" fmla="*/ 1289050 h 2203450"/>
              <a:gd name="connsiteX159" fmla="*/ 101600 w 1943100"/>
              <a:gd name="connsiteY159" fmla="*/ 1298575 h 2203450"/>
              <a:gd name="connsiteX160" fmla="*/ 104775 w 1943100"/>
              <a:gd name="connsiteY160" fmla="*/ 1311275 h 2203450"/>
              <a:gd name="connsiteX161" fmla="*/ 107950 w 1943100"/>
              <a:gd name="connsiteY161" fmla="*/ 1323975 h 2203450"/>
              <a:gd name="connsiteX162" fmla="*/ 104775 w 1943100"/>
              <a:gd name="connsiteY162" fmla="*/ 1336675 h 2203450"/>
              <a:gd name="connsiteX163" fmla="*/ 101600 w 1943100"/>
              <a:gd name="connsiteY163" fmla="*/ 1349375 h 2203450"/>
              <a:gd name="connsiteX164" fmla="*/ 98425 w 1943100"/>
              <a:gd name="connsiteY164" fmla="*/ 1362075 h 2203450"/>
              <a:gd name="connsiteX165" fmla="*/ 92075 w 1943100"/>
              <a:gd name="connsiteY165" fmla="*/ 1371600 h 2203450"/>
              <a:gd name="connsiteX166" fmla="*/ 82550 w 1943100"/>
              <a:gd name="connsiteY166" fmla="*/ 1377950 h 2203450"/>
              <a:gd name="connsiteX167" fmla="*/ 76200 w 1943100"/>
              <a:gd name="connsiteY167" fmla="*/ 1384300 h 2203450"/>
              <a:gd name="connsiteX168" fmla="*/ 63500 w 1943100"/>
              <a:gd name="connsiteY168" fmla="*/ 1387475 h 2203450"/>
              <a:gd name="connsiteX169" fmla="*/ 53975 w 1943100"/>
              <a:gd name="connsiteY169" fmla="*/ 1390650 h 2203450"/>
              <a:gd name="connsiteX170" fmla="*/ 44450 w 1943100"/>
              <a:gd name="connsiteY170" fmla="*/ 1387475 h 2203450"/>
              <a:gd name="connsiteX171" fmla="*/ 34925 w 1943100"/>
              <a:gd name="connsiteY171" fmla="*/ 1384300 h 2203450"/>
              <a:gd name="connsiteX172" fmla="*/ 25400 w 1943100"/>
              <a:gd name="connsiteY172" fmla="*/ 1377950 h 2203450"/>
              <a:gd name="connsiteX173" fmla="*/ 15875 w 1943100"/>
              <a:gd name="connsiteY173" fmla="*/ 1371600 h 2203450"/>
              <a:gd name="connsiteX174" fmla="*/ 9525 w 1943100"/>
              <a:gd name="connsiteY174" fmla="*/ 1362075 h 2203450"/>
              <a:gd name="connsiteX175" fmla="*/ 6350 w 1943100"/>
              <a:gd name="connsiteY175" fmla="*/ 1349375 h 2203450"/>
              <a:gd name="connsiteX176" fmla="*/ 3175 w 1943100"/>
              <a:gd name="connsiteY176" fmla="*/ 1336675 h 2203450"/>
              <a:gd name="connsiteX177" fmla="*/ 0 w 1943100"/>
              <a:gd name="connsiteY177" fmla="*/ 1323975 h 2203450"/>
              <a:gd name="connsiteX178" fmla="*/ 3175 w 1943100"/>
              <a:gd name="connsiteY178" fmla="*/ 1311275 h 2203450"/>
              <a:gd name="connsiteX179" fmla="*/ 6350 w 1943100"/>
              <a:gd name="connsiteY179" fmla="*/ 1298575 h 2203450"/>
              <a:gd name="connsiteX180" fmla="*/ 9525 w 1943100"/>
              <a:gd name="connsiteY180" fmla="*/ 1289050 h 2203450"/>
              <a:gd name="connsiteX181" fmla="*/ 15875 w 1943100"/>
              <a:gd name="connsiteY181" fmla="*/ 1279525 h 2203450"/>
              <a:gd name="connsiteX182" fmla="*/ 25400 w 1943100"/>
              <a:gd name="connsiteY182" fmla="*/ 1273175 h 2203450"/>
              <a:gd name="connsiteX183" fmla="*/ 34925 w 1943100"/>
              <a:gd name="connsiteY183" fmla="*/ 1266825 h 2203450"/>
              <a:gd name="connsiteX184" fmla="*/ 171450 w 1943100"/>
              <a:gd name="connsiteY184" fmla="*/ 1098550 h 2203450"/>
              <a:gd name="connsiteX185" fmla="*/ 184150 w 1943100"/>
              <a:gd name="connsiteY185" fmla="*/ 1101725 h 2203450"/>
              <a:gd name="connsiteX186" fmla="*/ 193675 w 1943100"/>
              <a:gd name="connsiteY186" fmla="*/ 1104900 h 2203450"/>
              <a:gd name="connsiteX187" fmla="*/ 206375 w 1943100"/>
              <a:gd name="connsiteY187" fmla="*/ 1108075 h 2203450"/>
              <a:gd name="connsiteX188" fmla="*/ 215900 w 1943100"/>
              <a:gd name="connsiteY188" fmla="*/ 1117600 h 2203450"/>
              <a:gd name="connsiteX189" fmla="*/ 222250 w 1943100"/>
              <a:gd name="connsiteY189" fmla="*/ 1123950 h 2203450"/>
              <a:gd name="connsiteX190" fmla="*/ 228600 w 1943100"/>
              <a:gd name="connsiteY190" fmla="*/ 1136650 h 2203450"/>
              <a:gd name="connsiteX191" fmla="*/ 231775 w 1943100"/>
              <a:gd name="connsiteY191" fmla="*/ 1146175 h 2203450"/>
              <a:gd name="connsiteX192" fmla="*/ 234950 w 1943100"/>
              <a:gd name="connsiteY192" fmla="*/ 1158875 h 2203450"/>
              <a:gd name="connsiteX193" fmla="*/ 231775 w 1943100"/>
              <a:gd name="connsiteY193" fmla="*/ 1168400 h 2203450"/>
              <a:gd name="connsiteX194" fmla="*/ 228600 w 1943100"/>
              <a:gd name="connsiteY194" fmla="*/ 1181100 h 2203450"/>
              <a:gd name="connsiteX195" fmla="*/ 222250 w 1943100"/>
              <a:gd name="connsiteY195" fmla="*/ 1190625 h 2203450"/>
              <a:gd name="connsiteX196" fmla="*/ 215900 w 1943100"/>
              <a:gd name="connsiteY196" fmla="*/ 1200150 h 2203450"/>
              <a:gd name="connsiteX197" fmla="*/ 206375 w 1943100"/>
              <a:gd name="connsiteY197" fmla="*/ 1206500 h 2203450"/>
              <a:gd name="connsiteX198" fmla="*/ 193675 w 1943100"/>
              <a:gd name="connsiteY198" fmla="*/ 1212850 h 2203450"/>
              <a:gd name="connsiteX199" fmla="*/ 184150 w 1943100"/>
              <a:gd name="connsiteY199" fmla="*/ 1216025 h 2203450"/>
              <a:gd name="connsiteX200" fmla="*/ 171450 w 1943100"/>
              <a:gd name="connsiteY200" fmla="*/ 1216025 h 2203450"/>
              <a:gd name="connsiteX201" fmla="*/ 158750 w 1943100"/>
              <a:gd name="connsiteY201" fmla="*/ 1216025 h 2203450"/>
              <a:gd name="connsiteX202" fmla="*/ 146050 w 1943100"/>
              <a:gd name="connsiteY202" fmla="*/ 1212850 h 2203450"/>
              <a:gd name="connsiteX203" fmla="*/ 136525 w 1943100"/>
              <a:gd name="connsiteY203" fmla="*/ 1206500 h 2203450"/>
              <a:gd name="connsiteX204" fmla="*/ 127000 w 1943100"/>
              <a:gd name="connsiteY204" fmla="*/ 1200150 h 2203450"/>
              <a:gd name="connsiteX205" fmla="*/ 117475 w 1943100"/>
              <a:gd name="connsiteY205" fmla="*/ 1190625 h 2203450"/>
              <a:gd name="connsiteX206" fmla="*/ 111125 w 1943100"/>
              <a:gd name="connsiteY206" fmla="*/ 1181100 h 2203450"/>
              <a:gd name="connsiteX207" fmla="*/ 107950 w 1943100"/>
              <a:gd name="connsiteY207" fmla="*/ 1168400 h 2203450"/>
              <a:gd name="connsiteX208" fmla="*/ 107950 w 1943100"/>
              <a:gd name="connsiteY208" fmla="*/ 1158875 h 2203450"/>
              <a:gd name="connsiteX209" fmla="*/ 107950 w 1943100"/>
              <a:gd name="connsiteY209" fmla="*/ 1146175 h 2203450"/>
              <a:gd name="connsiteX210" fmla="*/ 111125 w 1943100"/>
              <a:gd name="connsiteY210" fmla="*/ 1136650 h 2203450"/>
              <a:gd name="connsiteX211" fmla="*/ 117475 w 1943100"/>
              <a:gd name="connsiteY211" fmla="*/ 1123950 h 2203450"/>
              <a:gd name="connsiteX212" fmla="*/ 127000 w 1943100"/>
              <a:gd name="connsiteY212" fmla="*/ 1117600 h 2203450"/>
              <a:gd name="connsiteX213" fmla="*/ 136525 w 1943100"/>
              <a:gd name="connsiteY213" fmla="*/ 1108075 h 2203450"/>
              <a:gd name="connsiteX214" fmla="*/ 146050 w 1943100"/>
              <a:gd name="connsiteY214" fmla="*/ 1104900 h 2203450"/>
              <a:gd name="connsiteX215" fmla="*/ 158750 w 1943100"/>
              <a:gd name="connsiteY215" fmla="*/ 1101725 h 2203450"/>
              <a:gd name="connsiteX216" fmla="*/ 136525 w 1943100"/>
              <a:gd name="connsiteY216" fmla="*/ 812800 h 2203450"/>
              <a:gd name="connsiteX217" fmla="*/ 155575 w 1943100"/>
              <a:gd name="connsiteY217" fmla="*/ 815975 h 2203450"/>
              <a:gd name="connsiteX218" fmla="*/ 174625 w 1943100"/>
              <a:gd name="connsiteY218" fmla="*/ 822325 h 2203450"/>
              <a:gd name="connsiteX219" fmla="*/ 190500 w 1943100"/>
              <a:gd name="connsiteY219" fmla="*/ 831850 h 2203450"/>
              <a:gd name="connsiteX220" fmla="*/ 206375 w 1943100"/>
              <a:gd name="connsiteY220" fmla="*/ 844550 h 2203450"/>
              <a:gd name="connsiteX221" fmla="*/ 215900 w 1943100"/>
              <a:gd name="connsiteY221" fmla="*/ 860425 h 2203450"/>
              <a:gd name="connsiteX222" fmla="*/ 225425 w 1943100"/>
              <a:gd name="connsiteY222" fmla="*/ 879475 h 2203450"/>
              <a:gd name="connsiteX223" fmla="*/ 231775 w 1943100"/>
              <a:gd name="connsiteY223" fmla="*/ 898525 h 2203450"/>
              <a:gd name="connsiteX224" fmla="*/ 234950 w 1943100"/>
              <a:gd name="connsiteY224" fmla="*/ 920750 h 2203450"/>
              <a:gd name="connsiteX225" fmla="*/ 231775 w 1943100"/>
              <a:gd name="connsiteY225" fmla="*/ 939800 h 2203450"/>
              <a:gd name="connsiteX226" fmla="*/ 225425 w 1943100"/>
              <a:gd name="connsiteY226" fmla="*/ 958850 h 2203450"/>
              <a:gd name="connsiteX227" fmla="*/ 215900 w 1943100"/>
              <a:gd name="connsiteY227" fmla="*/ 977900 h 2203450"/>
              <a:gd name="connsiteX228" fmla="*/ 206375 w 1943100"/>
              <a:gd name="connsiteY228" fmla="*/ 993775 h 2203450"/>
              <a:gd name="connsiteX229" fmla="*/ 190500 w 1943100"/>
              <a:gd name="connsiteY229" fmla="*/ 1006475 h 2203450"/>
              <a:gd name="connsiteX230" fmla="*/ 174625 w 1943100"/>
              <a:gd name="connsiteY230" fmla="*/ 1016000 h 2203450"/>
              <a:gd name="connsiteX231" fmla="*/ 155575 w 1943100"/>
              <a:gd name="connsiteY231" fmla="*/ 1022350 h 2203450"/>
              <a:gd name="connsiteX232" fmla="*/ 136525 w 1943100"/>
              <a:gd name="connsiteY232" fmla="*/ 1025525 h 2203450"/>
              <a:gd name="connsiteX233" fmla="*/ 114300 w 1943100"/>
              <a:gd name="connsiteY233" fmla="*/ 1022350 h 2203450"/>
              <a:gd name="connsiteX234" fmla="*/ 98425 w 1943100"/>
              <a:gd name="connsiteY234" fmla="*/ 1016000 h 2203450"/>
              <a:gd name="connsiteX235" fmla="*/ 79375 w 1943100"/>
              <a:gd name="connsiteY235" fmla="*/ 1006475 h 2203450"/>
              <a:gd name="connsiteX236" fmla="*/ 66675 w 1943100"/>
              <a:gd name="connsiteY236" fmla="*/ 993775 h 2203450"/>
              <a:gd name="connsiteX237" fmla="*/ 53975 w 1943100"/>
              <a:gd name="connsiteY237" fmla="*/ 977900 h 2203450"/>
              <a:gd name="connsiteX238" fmla="*/ 44450 w 1943100"/>
              <a:gd name="connsiteY238" fmla="*/ 958850 h 2203450"/>
              <a:gd name="connsiteX239" fmla="*/ 38100 w 1943100"/>
              <a:gd name="connsiteY239" fmla="*/ 939800 h 2203450"/>
              <a:gd name="connsiteX240" fmla="*/ 38100 w 1943100"/>
              <a:gd name="connsiteY240" fmla="*/ 920750 h 2203450"/>
              <a:gd name="connsiteX241" fmla="*/ 38100 w 1943100"/>
              <a:gd name="connsiteY241" fmla="*/ 898525 h 2203450"/>
              <a:gd name="connsiteX242" fmla="*/ 44450 w 1943100"/>
              <a:gd name="connsiteY242" fmla="*/ 879475 h 2203450"/>
              <a:gd name="connsiteX243" fmla="*/ 53975 w 1943100"/>
              <a:gd name="connsiteY243" fmla="*/ 860425 h 2203450"/>
              <a:gd name="connsiteX244" fmla="*/ 66675 w 1943100"/>
              <a:gd name="connsiteY244" fmla="*/ 844550 h 2203450"/>
              <a:gd name="connsiteX245" fmla="*/ 79375 w 1943100"/>
              <a:gd name="connsiteY245" fmla="*/ 831850 h 2203450"/>
              <a:gd name="connsiteX246" fmla="*/ 98425 w 1943100"/>
              <a:gd name="connsiteY246" fmla="*/ 822325 h 2203450"/>
              <a:gd name="connsiteX247" fmla="*/ 114300 w 1943100"/>
              <a:gd name="connsiteY247" fmla="*/ 815975 h 2203450"/>
              <a:gd name="connsiteX248" fmla="*/ 352425 w 1943100"/>
              <a:gd name="connsiteY248" fmla="*/ 698500 h 2203450"/>
              <a:gd name="connsiteX249" fmla="*/ 368300 w 1943100"/>
              <a:gd name="connsiteY249" fmla="*/ 701675 h 2203450"/>
              <a:gd name="connsiteX250" fmla="*/ 381000 w 1943100"/>
              <a:gd name="connsiteY250" fmla="*/ 708025 h 2203450"/>
              <a:gd name="connsiteX251" fmla="*/ 390525 w 1943100"/>
              <a:gd name="connsiteY251" fmla="*/ 720725 h 2203450"/>
              <a:gd name="connsiteX252" fmla="*/ 393700 w 1943100"/>
              <a:gd name="connsiteY252" fmla="*/ 733425 h 2203450"/>
              <a:gd name="connsiteX253" fmla="*/ 390525 w 1943100"/>
              <a:gd name="connsiteY253" fmla="*/ 749300 h 2203450"/>
              <a:gd name="connsiteX254" fmla="*/ 381000 w 1943100"/>
              <a:gd name="connsiteY254" fmla="*/ 762000 h 2203450"/>
              <a:gd name="connsiteX255" fmla="*/ 368300 w 1943100"/>
              <a:gd name="connsiteY255" fmla="*/ 768350 h 2203450"/>
              <a:gd name="connsiteX256" fmla="*/ 352425 w 1943100"/>
              <a:gd name="connsiteY256" fmla="*/ 771525 h 2203450"/>
              <a:gd name="connsiteX257" fmla="*/ 333375 w 1943100"/>
              <a:gd name="connsiteY257" fmla="*/ 768350 h 2203450"/>
              <a:gd name="connsiteX258" fmla="*/ 320675 w 1943100"/>
              <a:gd name="connsiteY258" fmla="*/ 762000 h 2203450"/>
              <a:gd name="connsiteX259" fmla="*/ 311150 w 1943100"/>
              <a:gd name="connsiteY259" fmla="*/ 749300 h 2203450"/>
              <a:gd name="connsiteX260" fmla="*/ 307975 w 1943100"/>
              <a:gd name="connsiteY260" fmla="*/ 733425 h 2203450"/>
              <a:gd name="connsiteX261" fmla="*/ 311150 w 1943100"/>
              <a:gd name="connsiteY261" fmla="*/ 720725 h 2203450"/>
              <a:gd name="connsiteX262" fmla="*/ 320675 w 1943100"/>
              <a:gd name="connsiteY262" fmla="*/ 708025 h 2203450"/>
              <a:gd name="connsiteX263" fmla="*/ 333375 w 1943100"/>
              <a:gd name="connsiteY263" fmla="*/ 701675 h 2203450"/>
              <a:gd name="connsiteX264" fmla="*/ 1809750 w 1943100"/>
              <a:gd name="connsiteY264" fmla="*/ 631825 h 2203450"/>
              <a:gd name="connsiteX265" fmla="*/ 1825625 w 1943100"/>
              <a:gd name="connsiteY265" fmla="*/ 631825 h 2203450"/>
              <a:gd name="connsiteX266" fmla="*/ 1841500 w 1943100"/>
              <a:gd name="connsiteY266" fmla="*/ 631825 h 2203450"/>
              <a:gd name="connsiteX267" fmla="*/ 1863725 w 1943100"/>
              <a:gd name="connsiteY267" fmla="*/ 635000 h 2203450"/>
              <a:gd name="connsiteX268" fmla="*/ 1885950 w 1943100"/>
              <a:gd name="connsiteY268" fmla="*/ 644525 h 2203450"/>
              <a:gd name="connsiteX269" fmla="*/ 1895475 w 1943100"/>
              <a:gd name="connsiteY269" fmla="*/ 654050 h 2203450"/>
              <a:gd name="connsiteX270" fmla="*/ 1908175 w 1943100"/>
              <a:gd name="connsiteY270" fmla="*/ 663575 h 2203450"/>
              <a:gd name="connsiteX271" fmla="*/ 1917700 w 1943100"/>
              <a:gd name="connsiteY271" fmla="*/ 679450 h 2203450"/>
              <a:gd name="connsiteX272" fmla="*/ 1927225 w 1943100"/>
              <a:gd name="connsiteY272" fmla="*/ 695325 h 2203450"/>
              <a:gd name="connsiteX273" fmla="*/ 1933575 w 1943100"/>
              <a:gd name="connsiteY273" fmla="*/ 704850 h 2203450"/>
              <a:gd name="connsiteX274" fmla="*/ 1939925 w 1943100"/>
              <a:gd name="connsiteY274" fmla="*/ 720725 h 2203450"/>
              <a:gd name="connsiteX275" fmla="*/ 1943100 w 1943100"/>
              <a:gd name="connsiteY275" fmla="*/ 739775 h 2203450"/>
              <a:gd name="connsiteX276" fmla="*/ 1943100 w 1943100"/>
              <a:gd name="connsiteY276" fmla="*/ 768350 h 2203450"/>
              <a:gd name="connsiteX277" fmla="*/ 1939925 w 1943100"/>
              <a:gd name="connsiteY277" fmla="*/ 800100 h 2203450"/>
              <a:gd name="connsiteX278" fmla="*/ 1930400 w 1943100"/>
              <a:gd name="connsiteY278" fmla="*/ 841375 h 2203450"/>
              <a:gd name="connsiteX279" fmla="*/ 1911350 w 1943100"/>
              <a:gd name="connsiteY279" fmla="*/ 885825 h 2203450"/>
              <a:gd name="connsiteX280" fmla="*/ 1898650 w 1943100"/>
              <a:gd name="connsiteY280" fmla="*/ 914400 h 2203450"/>
              <a:gd name="connsiteX281" fmla="*/ 1882775 w 1943100"/>
              <a:gd name="connsiteY281" fmla="*/ 939800 h 2203450"/>
              <a:gd name="connsiteX282" fmla="*/ 1863725 w 1943100"/>
              <a:gd name="connsiteY282" fmla="*/ 958850 h 2203450"/>
              <a:gd name="connsiteX283" fmla="*/ 1847850 w 1943100"/>
              <a:gd name="connsiteY283" fmla="*/ 974725 h 2203450"/>
              <a:gd name="connsiteX284" fmla="*/ 1828800 w 1943100"/>
              <a:gd name="connsiteY284" fmla="*/ 987425 h 2203450"/>
              <a:gd name="connsiteX285" fmla="*/ 1809750 w 1943100"/>
              <a:gd name="connsiteY285" fmla="*/ 993775 h 2203450"/>
              <a:gd name="connsiteX286" fmla="*/ 1793875 w 1943100"/>
              <a:gd name="connsiteY286" fmla="*/ 996950 h 2203450"/>
              <a:gd name="connsiteX287" fmla="*/ 1778000 w 1943100"/>
              <a:gd name="connsiteY287" fmla="*/ 990600 h 2203450"/>
              <a:gd name="connsiteX288" fmla="*/ 1765300 w 1943100"/>
              <a:gd name="connsiteY288" fmla="*/ 977900 h 2203450"/>
              <a:gd name="connsiteX289" fmla="*/ 1755775 w 1943100"/>
              <a:gd name="connsiteY289" fmla="*/ 962025 h 2203450"/>
              <a:gd name="connsiteX290" fmla="*/ 1749425 w 1943100"/>
              <a:gd name="connsiteY290" fmla="*/ 942975 h 2203450"/>
              <a:gd name="connsiteX291" fmla="*/ 1746250 w 1943100"/>
              <a:gd name="connsiteY291" fmla="*/ 917575 h 2203450"/>
              <a:gd name="connsiteX292" fmla="*/ 1746250 w 1943100"/>
              <a:gd name="connsiteY292" fmla="*/ 892175 h 2203450"/>
              <a:gd name="connsiteX293" fmla="*/ 1749425 w 1943100"/>
              <a:gd name="connsiteY293" fmla="*/ 863600 h 2203450"/>
              <a:gd name="connsiteX294" fmla="*/ 1755775 w 1943100"/>
              <a:gd name="connsiteY294" fmla="*/ 835025 h 2203450"/>
              <a:gd name="connsiteX295" fmla="*/ 1768475 w 1943100"/>
              <a:gd name="connsiteY295" fmla="*/ 803275 h 2203450"/>
              <a:gd name="connsiteX296" fmla="*/ 1771650 w 1943100"/>
              <a:gd name="connsiteY296" fmla="*/ 796925 h 2203450"/>
              <a:gd name="connsiteX297" fmla="*/ 1774825 w 1943100"/>
              <a:gd name="connsiteY297" fmla="*/ 777875 h 2203450"/>
              <a:gd name="connsiteX298" fmla="*/ 1774825 w 1943100"/>
              <a:gd name="connsiteY298" fmla="*/ 752475 h 2203450"/>
              <a:gd name="connsiteX299" fmla="*/ 1774825 w 1943100"/>
              <a:gd name="connsiteY299" fmla="*/ 739775 h 2203450"/>
              <a:gd name="connsiteX300" fmla="*/ 1768475 w 1943100"/>
              <a:gd name="connsiteY300" fmla="*/ 727075 h 2203450"/>
              <a:gd name="connsiteX301" fmla="*/ 1762125 w 1943100"/>
              <a:gd name="connsiteY301" fmla="*/ 717550 h 2203450"/>
              <a:gd name="connsiteX302" fmla="*/ 1758950 w 1943100"/>
              <a:gd name="connsiteY302" fmla="*/ 708025 h 2203450"/>
              <a:gd name="connsiteX303" fmla="*/ 1755775 w 1943100"/>
              <a:gd name="connsiteY303" fmla="*/ 695325 h 2203450"/>
              <a:gd name="connsiteX304" fmla="*/ 1755775 w 1943100"/>
              <a:gd name="connsiteY304" fmla="*/ 682625 h 2203450"/>
              <a:gd name="connsiteX305" fmla="*/ 1762125 w 1943100"/>
              <a:gd name="connsiteY305" fmla="*/ 666750 h 2203450"/>
              <a:gd name="connsiteX306" fmla="*/ 1774825 w 1943100"/>
              <a:gd name="connsiteY306" fmla="*/ 650875 h 2203450"/>
              <a:gd name="connsiteX307" fmla="*/ 1797050 w 1943100"/>
              <a:gd name="connsiteY307" fmla="*/ 638175 h 2203450"/>
              <a:gd name="connsiteX308" fmla="*/ 504825 w 1943100"/>
              <a:gd name="connsiteY308" fmla="*/ 593725 h 2203450"/>
              <a:gd name="connsiteX309" fmla="*/ 520700 w 1943100"/>
              <a:gd name="connsiteY309" fmla="*/ 596900 h 2203450"/>
              <a:gd name="connsiteX310" fmla="*/ 536575 w 1943100"/>
              <a:gd name="connsiteY310" fmla="*/ 600075 h 2203450"/>
              <a:gd name="connsiteX311" fmla="*/ 549275 w 1943100"/>
              <a:gd name="connsiteY311" fmla="*/ 606425 h 2203450"/>
              <a:gd name="connsiteX312" fmla="*/ 561975 w 1943100"/>
              <a:gd name="connsiteY312" fmla="*/ 612775 h 2203450"/>
              <a:gd name="connsiteX313" fmla="*/ 571500 w 1943100"/>
              <a:gd name="connsiteY313" fmla="*/ 622300 h 2203450"/>
              <a:gd name="connsiteX314" fmla="*/ 581025 w 1943100"/>
              <a:gd name="connsiteY314" fmla="*/ 631825 h 2203450"/>
              <a:gd name="connsiteX315" fmla="*/ 584200 w 1943100"/>
              <a:gd name="connsiteY315" fmla="*/ 641350 h 2203450"/>
              <a:gd name="connsiteX316" fmla="*/ 587375 w 1943100"/>
              <a:gd name="connsiteY316" fmla="*/ 654050 h 2203450"/>
              <a:gd name="connsiteX317" fmla="*/ 584200 w 1943100"/>
              <a:gd name="connsiteY317" fmla="*/ 666750 h 2203450"/>
              <a:gd name="connsiteX318" fmla="*/ 581025 w 1943100"/>
              <a:gd name="connsiteY318" fmla="*/ 679450 h 2203450"/>
              <a:gd name="connsiteX319" fmla="*/ 571500 w 1943100"/>
              <a:gd name="connsiteY319" fmla="*/ 688975 h 2203450"/>
              <a:gd name="connsiteX320" fmla="*/ 561975 w 1943100"/>
              <a:gd name="connsiteY320" fmla="*/ 698500 h 2203450"/>
              <a:gd name="connsiteX321" fmla="*/ 549275 w 1943100"/>
              <a:gd name="connsiteY321" fmla="*/ 704850 h 2203450"/>
              <a:gd name="connsiteX322" fmla="*/ 536575 w 1943100"/>
              <a:gd name="connsiteY322" fmla="*/ 711200 h 2203450"/>
              <a:gd name="connsiteX323" fmla="*/ 520700 w 1943100"/>
              <a:gd name="connsiteY323" fmla="*/ 714375 h 2203450"/>
              <a:gd name="connsiteX324" fmla="*/ 504825 w 1943100"/>
              <a:gd name="connsiteY324" fmla="*/ 714375 h 2203450"/>
              <a:gd name="connsiteX325" fmla="*/ 488950 w 1943100"/>
              <a:gd name="connsiteY325" fmla="*/ 714375 h 2203450"/>
              <a:gd name="connsiteX326" fmla="*/ 473075 w 1943100"/>
              <a:gd name="connsiteY326" fmla="*/ 711200 h 2203450"/>
              <a:gd name="connsiteX327" fmla="*/ 457200 w 1943100"/>
              <a:gd name="connsiteY327" fmla="*/ 704850 h 2203450"/>
              <a:gd name="connsiteX328" fmla="*/ 444500 w 1943100"/>
              <a:gd name="connsiteY328" fmla="*/ 698500 h 2203450"/>
              <a:gd name="connsiteX329" fmla="*/ 434975 w 1943100"/>
              <a:gd name="connsiteY329" fmla="*/ 688975 h 2203450"/>
              <a:gd name="connsiteX330" fmla="*/ 428625 w 1943100"/>
              <a:gd name="connsiteY330" fmla="*/ 679450 h 2203450"/>
              <a:gd name="connsiteX331" fmla="*/ 422275 w 1943100"/>
              <a:gd name="connsiteY331" fmla="*/ 666750 h 2203450"/>
              <a:gd name="connsiteX332" fmla="*/ 422275 w 1943100"/>
              <a:gd name="connsiteY332" fmla="*/ 654050 h 2203450"/>
              <a:gd name="connsiteX333" fmla="*/ 422275 w 1943100"/>
              <a:gd name="connsiteY333" fmla="*/ 641350 h 2203450"/>
              <a:gd name="connsiteX334" fmla="*/ 428625 w 1943100"/>
              <a:gd name="connsiteY334" fmla="*/ 631825 h 2203450"/>
              <a:gd name="connsiteX335" fmla="*/ 434975 w 1943100"/>
              <a:gd name="connsiteY335" fmla="*/ 622300 h 2203450"/>
              <a:gd name="connsiteX336" fmla="*/ 444500 w 1943100"/>
              <a:gd name="connsiteY336" fmla="*/ 612775 h 2203450"/>
              <a:gd name="connsiteX337" fmla="*/ 457200 w 1943100"/>
              <a:gd name="connsiteY337" fmla="*/ 606425 h 2203450"/>
              <a:gd name="connsiteX338" fmla="*/ 473075 w 1943100"/>
              <a:gd name="connsiteY338" fmla="*/ 600075 h 2203450"/>
              <a:gd name="connsiteX339" fmla="*/ 488950 w 1943100"/>
              <a:gd name="connsiteY339" fmla="*/ 596900 h 2203450"/>
              <a:gd name="connsiteX340" fmla="*/ 1581150 w 1943100"/>
              <a:gd name="connsiteY340" fmla="*/ 158750 h 2203450"/>
              <a:gd name="connsiteX341" fmla="*/ 1600200 w 1943100"/>
              <a:gd name="connsiteY341" fmla="*/ 158750 h 2203450"/>
              <a:gd name="connsiteX342" fmla="*/ 1616075 w 1943100"/>
              <a:gd name="connsiteY342" fmla="*/ 165100 h 2203450"/>
              <a:gd name="connsiteX343" fmla="*/ 1635125 w 1943100"/>
              <a:gd name="connsiteY343" fmla="*/ 177800 h 2203450"/>
              <a:gd name="connsiteX344" fmla="*/ 1654175 w 1943100"/>
              <a:gd name="connsiteY344" fmla="*/ 193675 h 2203450"/>
              <a:gd name="connsiteX345" fmla="*/ 1670050 w 1943100"/>
              <a:gd name="connsiteY345" fmla="*/ 215900 h 2203450"/>
              <a:gd name="connsiteX346" fmla="*/ 1685925 w 1943100"/>
              <a:gd name="connsiteY346" fmla="*/ 241300 h 2203450"/>
              <a:gd name="connsiteX347" fmla="*/ 1698625 w 1943100"/>
              <a:gd name="connsiteY347" fmla="*/ 269875 h 2203450"/>
              <a:gd name="connsiteX348" fmla="*/ 1708150 w 1943100"/>
              <a:gd name="connsiteY348" fmla="*/ 298450 h 2203450"/>
              <a:gd name="connsiteX349" fmla="*/ 1714500 w 1943100"/>
              <a:gd name="connsiteY349" fmla="*/ 330200 h 2203450"/>
              <a:gd name="connsiteX350" fmla="*/ 1717675 w 1943100"/>
              <a:gd name="connsiteY350" fmla="*/ 358775 h 2203450"/>
              <a:gd name="connsiteX351" fmla="*/ 1717675 w 1943100"/>
              <a:gd name="connsiteY351" fmla="*/ 387350 h 2203450"/>
              <a:gd name="connsiteX352" fmla="*/ 1714500 w 1943100"/>
              <a:gd name="connsiteY352" fmla="*/ 409575 h 2203450"/>
              <a:gd name="connsiteX353" fmla="*/ 1708150 w 1943100"/>
              <a:gd name="connsiteY353" fmla="*/ 428625 h 2203450"/>
              <a:gd name="connsiteX354" fmla="*/ 1698625 w 1943100"/>
              <a:gd name="connsiteY354" fmla="*/ 444500 h 2203450"/>
              <a:gd name="connsiteX355" fmla="*/ 1685925 w 1943100"/>
              <a:gd name="connsiteY355" fmla="*/ 457200 h 2203450"/>
              <a:gd name="connsiteX356" fmla="*/ 1670050 w 1943100"/>
              <a:gd name="connsiteY356" fmla="*/ 460375 h 2203450"/>
              <a:gd name="connsiteX357" fmla="*/ 1651000 w 1943100"/>
              <a:gd name="connsiteY357" fmla="*/ 460375 h 2203450"/>
              <a:gd name="connsiteX358" fmla="*/ 1631950 w 1943100"/>
              <a:gd name="connsiteY358" fmla="*/ 454025 h 2203450"/>
              <a:gd name="connsiteX359" fmla="*/ 1616075 w 1943100"/>
              <a:gd name="connsiteY359" fmla="*/ 441325 h 2203450"/>
              <a:gd name="connsiteX360" fmla="*/ 1597025 w 1943100"/>
              <a:gd name="connsiteY360" fmla="*/ 422275 h 2203450"/>
              <a:gd name="connsiteX361" fmla="*/ 1581150 w 1943100"/>
              <a:gd name="connsiteY361" fmla="*/ 403225 h 2203450"/>
              <a:gd name="connsiteX362" fmla="*/ 1565275 w 1943100"/>
              <a:gd name="connsiteY362" fmla="*/ 377825 h 2203450"/>
              <a:gd name="connsiteX363" fmla="*/ 1552575 w 1943100"/>
              <a:gd name="connsiteY363" fmla="*/ 349250 h 2203450"/>
              <a:gd name="connsiteX364" fmla="*/ 1543050 w 1943100"/>
              <a:gd name="connsiteY364" fmla="*/ 320675 h 2203450"/>
              <a:gd name="connsiteX365" fmla="*/ 1533525 w 1943100"/>
              <a:gd name="connsiteY365" fmla="*/ 288925 h 2203450"/>
              <a:gd name="connsiteX366" fmla="*/ 1530350 w 1943100"/>
              <a:gd name="connsiteY366" fmla="*/ 260350 h 2203450"/>
              <a:gd name="connsiteX367" fmla="*/ 1530350 w 1943100"/>
              <a:gd name="connsiteY367" fmla="*/ 231775 h 2203450"/>
              <a:gd name="connsiteX368" fmla="*/ 1536700 w 1943100"/>
              <a:gd name="connsiteY368" fmla="*/ 209550 h 2203450"/>
              <a:gd name="connsiteX369" fmla="*/ 1543050 w 1943100"/>
              <a:gd name="connsiteY369" fmla="*/ 190500 h 2203450"/>
              <a:gd name="connsiteX370" fmla="*/ 1552575 w 1943100"/>
              <a:gd name="connsiteY370" fmla="*/ 174625 h 2203450"/>
              <a:gd name="connsiteX371" fmla="*/ 1565275 w 1943100"/>
              <a:gd name="connsiteY371" fmla="*/ 161925 h 2203450"/>
              <a:gd name="connsiteX372" fmla="*/ 1212850 w 1943100"/>
              <a:gd name="connsiteY372" fmla="*/ 98425 h 2203450"/>
              <a:gd name="connsiteX373" fmla="*/ 1241425 w 1943100"/>
              <a:gd name="connsiteY373" fmla="*/ 98425 h 2203450"/>
              <a:gd name="connsiteX374" fmla="*/ 1270000 w 1943100"/>
              <a:gd name="connsiteY374" fmla="*/ 101600 h 2203450"/>
              <a:gd name="connsiteX375" fmla="*/ 1292225 w 1943100"/>
              <a:gd name="connsiteY375" fmla="*/ 111125 h 2203450"/>
              <a:gd name="connsiteX376" fmla="*/ 1314450 w 1943100"/>
              <a:gd name="connsiteY376" fmla="*/ 120650 h 2203450"/>
              <a:gd name="connsiteX377" fmla="*/ 1333500 w 1943100"/>
              <a:gd name="connsiteY377" fmla="*/ 130175 h 2203450"/>
              <a:gd name="connsiteX378" fmla="*/ 1358900 w 1943100"/>
              <a:gd name="connsiteY378" fmla="*/ 149225 h 2203450"/>
              <a:gd name="connsiteX379" fmla="*/ 1368425 w 1943100"/>
              <a:gd name="connsiteY379" fmla="*/ 158750 h 2203450"/>
              <a:gd name="connsiteX380" fmla="*/ 1393825 w 1943100"/>
              <a:gd name="connsiteY380" fmla="*/ 180975 h 2203450"/>
              <a:gd name="connsiteX381" fmla="*/ 1419225 w 1943100"/>
              <a:gd name="connsiteY381" fmla="*/ 206375 h 2203450"/>
              <a:gd name="connsiteX382" fmla="*/ 1435100 w 1943100"/>
              <a:gd name="connsiteY382" fmla="*/ 234950 h 2203450"/>
              <a:gd name="connsiteX383" fmla="*/ 1450975 w 1943100"/>
              <a:gd name="connsiteY383" fmla="*/ 260350 h 2203450"/>
              <a:gd name="connsiteX384" fmla="*/ 1460500 w 1943100"/>
              <a:gd name="connsiteY384" fmla="*/ 285750 h 2203450"/>
              <a:gd name="connsiteX385" fmla="*/ 1470025 w 1943100"/>
              <a:gd name="connsiteY385" fmla="*/ 311150 h 2203450"/>
              <a:gd name="connsiteX386" fmla="*/ 1476375 w 1943100"/>
              <a:gd name="connsiteY386" fmla="*/ 333375 h 2203450"/>
              <a:gd name="connsiteX387" fmla="*/ 1476375 w 1943100"/>
              <a:gd name="connsiteY387" fmla="*/ 358775 h 2203450"/>
              <a:gd name="connsiteX388" fmla="*/ 1479550 w 1943100"/>
              <a:gd name="connsiteY388" fmla="*/ 400050 h 2203450"/>
              <a:gd name="connsiteX389" fmla="*/ 1473200 w 1943100"/>
              <a:gd name="connsiteY389" fmla="*/ 431800 h 2203450"/>
              <a:gd name="connsiteX390" fmla="*/ 1466850 w 1943100"/>
              <a:gd name="connsiteY390" fmla="*/ 460375 h 2203450"/>
              <a:gd name="connsiteX391" fmla="*/ 1457325 w 1943100"/>
              <a:gd name="connsiteY391" fmla="*/ 501650 h 2203450"/>
              <a:gd name="connsiteX392" fmla="*/ 1454150 w 1943100"/>
              <a:gd name="connsiteY392" fmla="*/ 533400 h 2203450"/>
              <a:gd name="connsiteX393" fmla="*/ 1454150 w 1943100"/>
              <a:gd name="connsiteY393" fmla="*/ 561975 h 2203450"/>
              <a:gd name="connsiteX394" fmla="*/ 1457325 w 1943100"/>
              <a:gd name="connsiteY394" fmla="*/ 581025 h 2203450"/>
              <a:gd name="connsiteX395" fmla="*/ 1466850 w 1943100"/>
              <a:gd name="connsiteY395" fmla="*/ 596900 h 2203450"/>
              <a:gd name="connsiteX396" fmla="*/ 1473200 w 1943100"/>
              <a:gd name="connsiteY396" fmla="*/ 609600 h 2203450"/>
              <a:gd name="connsiteX397" fmla="*/ 1482725 w 1943100"/>
              <a:gd name="connsiteY397" fmla="*/ 622300 h 2203450"/>
              <a:gd name="connsiteX398" fmla="*/ 1495425 w 1943100"/>
              <a:gd name="connsiteY398" fmla="*/ 631825 h 2203450"/>
              <a:gd name="connsiteX399" fmla="*/ 1508125 w 1943100"/>
              <a:gd name="connsiteY399" fmla="*/ 638175 h 2203450"/>
              <a:gd name="connsiteX400" fmla="*/ 1530350 w 1943100"/>
              <a:gd name="connsiteY400" fmla="*/ 647700 h 2203450"/>
              <a:gd name="connsiteX401" fmla="*/ 1552575 w 1943100"/>
              <a:gd name="connsiteY401" fmla="*/ 650875 h 2203450"/>
              <a:gd name="connsiteX402" fmla="*/ 1571625 w 1943100"/>
              <a:gd name="connsiteY402" fmla="*/ 650875 h 2203450"/>
              <a:gd name="connsiteX403" fmla="*/ 1590675 w 1943100"/>
              <a:gd name="connsiteY403" fmla="*/ 650875 h 2203450"/>
              <a:gd name="connsiteX404" fmla="*/ 1622425 w 1943100"/>
              <a:gd name="connsiteY404" fmla="*/ 650875 h 2203450"/>
              <a:gd name="connsiteX405" fmla="*/ 1647825 w 1943100"/>
              <a:gd name="connsiteY405" fmla="*/ 654050 h 2203450"/>
              <a:gd name="connsiteX406" fmla="*/ 1670050 w 1943100"/>
              <a:gd name="connsiteY406" fmla="*/ 660400 h 2203450"/>
              <a:gd name="connsiteX407" fmla="*/ 1685925 w 1943100"/>
              <a:gd name="connsiteY407" fmla="*/ 666750 h 2203450"/>
              <a:gd name="connsiteX408" fmla="*/ 1695450 w 1943100"/>
              <a:gd name="connsiteY408" fmla="*/ 676275 h 2203450"/>
              <a:gd name="connsiteX409" fmla="*/ 1701800 w 1943100"/>
              <a:gd name="connsiteY409" fmla="*/ 682625 h 2203450"/>
              <a:gd name="connsiteX410" fmla="*/ 1708150 w 1943100"/>
              <a:gd name="connsiteY410" fmla="*/ 688975 h 2203450"/>
              <a:gd name="connsiteX411" fmla="*/ 1714500 w 1943100"/>
              <a:gd name="connsiteY411" fmla="*/ 698500 h 2203450"/>
              <a:gd name="connsiteX412" fmla="*/ 1717675 w 1943100"/>
              <a:gd name="connsiteY412" fmla="*/ 708025 h 2203450"/>
              <a:gd name="connsiteX413" fmla="*/ 1724025 w 1943100"/>
              <a:gd name="connsiteY413" fmla="*/ 727075 h 2203450"/>
              <a:gd name="connsiteX414" fmla="*/ 1724025 w 1943100"/>
              <a:gd name="connsiteY414" fmla="*/ 749300 h 2203450"/>
              <a:gd name="connsiteX415" fmla="*/ 1717675 w 1943100"/>
              <a:gd name="connsiteY415" fmla="*/ 768350 h 2203450"/>
              <a:gd name="connsiteX416" fmla="*/ 1704975 w 1943100"/>
              <a:gd name="connsiteY416" fmla="*/ 800100 h 2203450"/>
              <a:gd name="connsiteX417" fmla="*/ 1698625 w 1943100"/>
              <a:gd name="connsiteY417" fmla="*/ 809625 h 2203450"/>
              <a:gd name="connsiteX418" fmla="*/ 1676400 w 1943100"/>
              <a:gd name="connsiteY418" fmla="*/ 844550 h 2203450"/>
              <a:gd name="connsiteX419" fmla="*/ 1660525 w 1943100"/>
              <a:gd name="connsiteY419" fmla="*/ 873125 h 2203450"/>
              <a:gd name="connsiteX420" fmla="*/ 1651000 w 1943100"/>
              <a:gd name="connsiteY420" fmla="*/ 898525 h 2203450"/>
              <a:gd name="connsiteX421" fmla="*/ 1644650 w 1943100"/>
              <a:gd name="connsiteY421" fmla="*/ 917575 h 2203450"/>
              <a:gd name="connsiteX422" fmla="*/ 1641475 w 1943100"/>
              <a:gd name="connsiteY422" fmla="*/ 936625 h 2203450"/>
              <a:gd name="connsiteX423" fmla="*/ 1641475 w 1943100"/>
              <a:gd name="connsiteY423" fmla="*/ 949325 h 2203450"/>
              <a:gd name="connsiteX424" fmla="*/ 1641475 w 1943100"/>
              <a:gd name="connsiteY424" fmla="*/ 958850 h 2203450"/>
              <a:gd name="connsiteX425" fmla="*/ 1644650 w 1943100"/>
              <a:gd name="connsiteY425" fmla="*/ 974725 h 2203450"/>
              <a:gd name="connsiteX426" fmla="*/ 1647825 w 1943100"/>
              <a:gd name="connsiteY426" fmla="*/ 990600 h 2203450"/>
              <a:gd name="connsiteX427" fmla="*/ 1654175 w 1943100"/>
              <a:gd name="connsiteY427" fmla="*/ 1003300 h 2203450"/>
              <a:gd name="connsiteX428" fmla="*/ 1663700 w 1943100"/>
              <a:gd name="connsiteY428" fmla="*/ 1012825 h 2203450"/>
              <a:gd name="connsiteX429" fmla="*/ 1673225 w 1943100"/>
              <a:gd name="connsiteY429" fmla="*/ 1022350 h 2203450"/>
              <a:gd name="connsiteX430" fmla="*/ 1682750 w 1943100"/>
              <a:gd name="connsiteY430" fmla="*/ 1031875 h 2203450"/>
              <a:gd name="connsiteX431" fmla="*/ 1704975 w 1943100"/>
              <a:gd name="connsiteY431" fmla="*/ 1041400 h 2203450"/>
              <a:gd name="connsiteX432" fmla="*/ 1724025 w 1943100"/>
              <a:gd name="connsiteY432" fmla="*/ 1047750 h 2203450"/>
              <a:gd name="connsiteX433" fmla="*/ 1743075 w 1943100"/>
              <a:gd name="connsiteY433" fmla="*/ 1047750 h 2203450"/>
              <a:gd name="connsiteX434" fmla="*/ 1762125 w 1943100"/>
              <a:gd name="connsiteY434" fmla="*/ 1047750 h 2203450"/>
              <a:gd name="connsiteX435" fmla="*/ 1800225 w 1943100"/>
              <a:gd name="connsiteY435" fmla="*/ 1050925 h 2203450"/>
              <a:gd name="connsiteX436" fmla="*/ 1835150 w 1943100"/>
              <a:gd name="connsiteY436" fmla="*/ 1057275 h 2203450"/>
              <a:gd name="connsiteX437" fmla="*/ 1860550 w 1943100"/>
              <a:gd name="connsiteY437" fmla="*/ 1066800 h 2203450"/>
              <a:gd name="connsiteX438" fmla="*/ 1882775 w 1943100"/>
              <a:gd name="connsiteY438" fmla="*/ 1076325 h 2203450"/>
              <a:gd name="connsiteX439" fmla="*/ 1898650 w 1943100"/>
              <a:gd name="connsiteY439" fmla="*/ 1089025 h 2203450"/>
              <a:gd name="connsiteX440" fmla="*/ 1911350 w 1943100"/>
              <a:gd name="connsiteY440" fmla="*/ 1098550 h 2203450"/>
              <a:gd name="connsiteX441" fmla="*/ 1920875 w 1943100"/>
              <a:gd name="connsiteY441" fmla="*/ 1111250 h 2203450"/>
              <a:gd name="connsiteX442" fmla="*/ 1927225 w 1943100"/>
              <a:gd name="connsiteY442" fmla="*/ 1120775 h 2203450"/>
              <a:gd name="connsiteX443" fmla="*/ 1933575 w 1943100"/>
              <a:gd name="connsiteY443" fmla="*/ 1133475 h 2203450"/>
              <a:gd name="connsiteX444" fmla="*/ 1936750 w 1943100"/>
              <a:gd name="connsiteY444" fmla="*/ 1143000 h 2203450"/>
              <a:gd name="connsiteX445" fmla="*/ 1936750 w 1943100"/>
              <a:gd name="connsiteY445" fmla="*/ 1152525 h 2203450"/>
              <a:gd name="connsiteX446" fmla="*/ 1933575 w 1943100"/>
              <a:gd name="connsiteY446" fmla="*/ 1162050 h 2203450"/>
              <a:gd name="connsiteX447" fmla="*/ 1927225 w 1943100"/>
              <a:gd name="connsiteY447" fmla="*/ 1171575 h 2203450"/>
              <a:gd name="connsiteX448" fmla="*/ 1914525 w 1943100"/>
              <a:gd name="connsiteY448" fmla="*/ 1187450 h 2203450"/>
              <a:gd name="connsiteX449" fmla="*/ 1898650 w 1943100"/>
              <a:gd name="connsiteY449" fmla="*/ 1200150 h 2203450"/>
              <a:gd name="connsiteX450" fmla="*/ 1882775 w 1943100"/>
              <a:gd name="connsiteY450" fmla="*/ 1209675 h 2203450"/>
              <a:gd name="connsiteX451" fmla="*/ 1866900 w 1943100"/>
              <a:gd name="connsiteY451" fmla="*/ 1216025 h 2203450"/>
              <a:gd name="connsiteX452" fmla="*/ 1847850 w 1943100"/>
              <a:gd name="connsiteY452" fmla="*/ 1222375 h 2203450"/>
              <a:gd name="connsiteX453" fmla="*/ 1835150 w 1943100"/>
              <a:gd name="connsiteY453" fmla="*/ 1228725 h 2203450"/>
              <a:gd name="connsiteX454" fmla="*/ 1809750 w 1943100"/>
              <a:gd name="connsiteY454" fmla="*/ 1247775 h 2203450"/>
              <a:gd name="connsiteX455" fmla="*/ 1793875 w 1943100"/>
              <a:gd name="connsiteY455" fmla="*/ 1266825 h 2203450"/>
              <a:gd name="connsiteX456" fmla="*/ 1781175 w 1943100"/>
              <a:gd name="connsiteY456" fmla="*/ 1289050 h 2203450"/>
              <a:gd name="connsiteX457" fmla="*/ 1771650 w 1943100"/>
              <a:gd name="connsiteY457" fmla="*/ 1308100 h 2203450"/>
              <a:gd name="connsiteX458" fmla="*/ 1768475 w 1943100"/>
              <a:gd name="connsiteY458" fmla="*/ 1323975 h 2203450"/>
              <a:gd name="connsiteX459" fmla="*/ 1768475 w 1943100"/>
              <a:gd name="connsiteY459" fmla="*/ 1336675 h 2203450"/>
              <a:gd name="connsiteX460" fmla="*/ 1765300 w 1943100"/>
              <a:gd name="connsiteY460" fmla="*/ 1362075 h 2203450"/>
              <a:gd name="connsiteX461" fmla="*/ 1758950 w 1943100"/>
              <a:gd name="connsiteY461" fmla="*/ 1381125 h 2203450"/>
              <a:gd name="connsiteX462" fmla="*/ 1752600 w 1943100"/>
              <a:gd name="connsiteY462" fmla="*/ 1400175 h 2203450"/>
              <a:gd name="connsiteX463" fmla="*/ 1743075 w 1943100"/>
              <a:gd name="connsiteY463" fmla="*/ 1416050 h 2203450"/>
              <a:gd name="connsiteX464" fmla="*/ 1724025 w 1943100"/>
              <a:gd name="connsiteY464" fmla="*/ 1441450 h 2203450"/>
              <a:gd name="connsiteX465" fmla="*/ 1704975 w 1943100"/>
              <a:gd name="connsiteY465" fmla="*/ 1463675 h 2203450"/>
              <a:gd name="connsiteX466" fmla="*/ 1682750 w 1943100"/>
              <a:gd name="connsiteY466" fmla="*/ 1476375 h 2203450"/>
              <a:gd name="connsiteX467" fmla="*/ 1663700 w 1943100"/>
              <a:gd name="connsiteY467" fmla="*/ 1485900 h 2203450"/>
              <a:gd name="connsiteX468" fmla="*/ 1647825 w 1943100"/>
              <a:gd name="connsiteY468" fmla="*/ 1489075 h 2203450"/>
              <a:gd name="connsiteX469" fmla="*/ 1625600 w 1943100"/>
              <a:gd name="connsiteY469" fmla="*/ 1498600 h 2203450"/>
              <a:gd name="connsiteX470" fmla="*/ 1606550 w 1943100"/>
              <a:gd name="connsiteY470" fmla="*/ 1504950 h 2203450"/>
              <a:gd name="connsiteX471" fmla="*/ 1593850 w 1943100"/>
              <a:gd name="connsiteY471" fmla="*/ 1514475 h 2203450"/>
              <a:gd name="connsiteX472" fmla="*/ 1581150 w 1943100"/>
              <a:gd name="connsiteY472" fmla="*/ 1524000 h 2203450"/>
              <a:gd name="connsiteX473" fmla="*/ 1571625 w 1943100"/>
              <a:gd name="connsiteY473" fmla="*/ 1533525 h 2203450"/>
              <a:gd name="connsiteX474" fmla="*/ 1565275 w 1943100"/>
              <a:gd name="connsiteY474" fmla="*/ 1543050 h 2203450"/>
              <a:gd name="connsiteX475" fmla="*/ 1555750 w 1943100"/>
              <a:gd name="connsiteY475" fmla="*/ 1565275 h 2203450"/>
              <a:gd name="connsiteX476" fmla="*/ 1555750 w 1943100"/>
              <a:gd name="connsiteY476" fmla="*/ 1581150 h 2203450"/>
              <a:gd name="connsiteX477" fmla="*/ 1555750 w 1943100"/>
              <a:gd name="connsiteY477" fmla="*/ 1597025 h 2203450"/>
              <a:gd name="connsiteX478" fmla="*/ 1562100 w 1943100"/>
              <a:gd name="connsiteY478" fmla="*/ 1612900 h 2203450"/>
              <a:gd name="connsiteX479" fmla="*/ 1568450 w 1943100"/>
              <a:gd name="connsiteY479" fmla="*/ 1628775 h 2203450"/>
              <a:gd name="connsiteX480" fmla="*/ 1571625 w 1943100"/>
              <a:gd name="connsiteY480" fmla="*/ 1644650 h 2203450"/>
              <a:gd name="connsiteX481" fmla="*/ 1571625 w 1943100"/>
              <a:gd name="connsiteY481" fmla="*/ 1660525 h 2203450"/>
              <a:gd name="connsiteX482" fmla="*/ 1565275 w 1943100"/>
              <a:gd name="connsiteY482" fmla="*/ 1673225 h 2203450"/>
              <a:gd name="connsiteX483" fmla="*/ 1555750 w 1943100"/>
              <a:gd name="connsiteY483" fmla="*/ 1692275 h 2203450"/>
              <a:gd name="connsiteX484" fmla="*/ 1549400 w 1943100"/>
              <a:gd name="connsiteY484" fmla="*/ 1701800 h 2203450"/>
              <a:gd name="connsiteX485" fmla="*/ 1524000 w 1943100"/>
              <a:gd name="connsiteY485" fmla="*/ 1717675 h 2203450"/>
              <a:gd name="connsiteX486" fmla="*/ 1495425 w 1943100"/>
              <a:gd name="connsiteY486" fmla="*/ 1724025 h 2203450"/>
              <a:gd name="connsiteX487" fmla="*/ 1473200 w 1943100"/>
              <a:gd name="connsiteY487" fmla="*/ 1727200 h 2203450"/>
              <a:gd name="connsiteX488" fmla="*/ 1450975 w 1943100"/>
              <a:gd name="connsiteY488" fmla="*/ 1727200 h 2203450"/>
              <a:gd name="connsiteX489" fmla="*/ 1435100 w 1943100"/>
              <a:gd name="connsiteY489" fmla="*/ 1724025 h 2203450"/>
              <a:gd name="connsiteX490" fmla="*/ 1422400 w 1943100"/>
              <a:gd name="connsiteY490" fmla="*/ 1720850 h 2203450"/>
              <a:gd name="connsiteX491" fmla="*/ 1409700 w 1943100"/>
              <a:gd name="connsiteY491" fmla="*/ 1714500 h 2203450"/>
              <a:gd name="connsiteX492" fmla="*/ 1374775 w 1943100"/>
              <a:gd name="connsiteY492" fmla="*/ 1698625 h 2203450"/>
              <a:gd name="connsiteX493" fmla="*/ 1339850 w 1943100"/>
              <a:gd name="connsiteY493" fmla="*/ 1689100 h 2203450"/>
              <a:gd name="connsiteX494" fmla="*/ 1311275 w 1943100"/>
              <a:gd name="connsiteY494" fmla="*/ 1679575 h 2203450"/>
              <a:gd name="connsiteX495" fmla="*/ 1282700 w 1943100"/>
              <a:gd name="connsiteY495" fmla="*/ 1676400 h 2203450"/>
              <a:gd name="connsiteX496" fmla="*/ 1254125 w 1943100"/>
              <a:gd name="connsiteY496" fmla="*/ 1676400 h 2203450"/>
              <a:gd name="connsiteX497" fmla="*/ 1228725 w 1943100"/>
              <a:gd name="connsiteY497" fmla="*/ 1679575 h 2203450"/>
              <a:gd name="connsiteX498" fmla="*/ 1206500 w 1943100"/>
              <a:gd name="connsiteY498" fmla="*/ 1682750 h 2203450"/>
              <a:gd name="connsiteX499" fmla="*/ 1187450 w 1943100"/>
              <a:gd name="connsiteY499" fmla="*/ 1689100 h 2203450"/>
              <a:gd name="connsiteX500" fmla="*/ 1155700 w 1943100"/>
              <a:gd name="connsiteY500" fmla="*/ 1704975 h 2203450"/>
              <a:gd name="connsiteX501" fmla="*/ 1130300 w 1943100"/>
              <a:gd name="connsiteY501" fmla="*/ 1720850 h 2203450"/>
              <a:gd name="connsiteX502" fmla="*/ 1111250 w 1943100"/>
              <a:gd name="connsiteY502" fmla="*/ 1736725 h 2203450"/>
              <a:gd name="connsiteX503" fmla="*/ 1079500 w 1943100"/>
              <a:gd name="connsiteY503" fmla="*/ 1768475 h 2203450"/>
              <a:gd name="connsiteX504" fmla="*/ 1047750 w 1943100"/>
              <a:gd name="connsiteY504" fmla="*/ 1790700 h 2203450"/>
              <a:gd name="connsiteX505" fmla="*/ 1019175 w 1943100"/>
              <a:gd name="connsiteY505" fmla="*/ 1806575 h 2203450"/>
              <a:gd name="connsiteX506" fmla="*/ 993775 w 1943100"/>
              <a:gd name="connsiteY506" fmla="*/ 1816100 h 2203450"/>
              <a:gd name="connsiteX507" fmla="*/ 971550 w 1943100"/>
              <a:gd name="connsiteY507" fmla="*/ 1819275 h 2203450"/>
              <a:gd name="connsiteX508" fmla="*/ 952500 w 1943100"/>
              <a:gd name="connsiteY508" fmla="*/ 1819275 h 2203450"/>
              <a:gd name="connsiteX509" fmla="*/ 939800 w 1943100"/>
              <a:gd name="connsiteY509" fmla="*/ 1819275 h 2203450"/>
              <a:gd name="connsiteX510" fmla="*/ 908050 w 1943100"/>
              <a:gd name="connsiteY510" fmla="*/ 1812925 h 2203450"/>
              <a:gd name="connsiteX511" fmla="*/ 882650 w 1943100"/>
              <a:gd name="connsiteY511" fmla="*/ 1803400 h 2203450"/>
              <a:gd name="connsiteX512" fmla="*/ 863600 w 1943100"/>
              <a:gd name="connsiteY512" fmla="*/ 1787525 h 2203450"/>
              <a:gd name="connsiteX513" fmla="*/ 850900 w 1943100"/>
              <a:gd name="connsiteY513" fmla="*/ 1774825 h 2203450"/>
              <a:gd name="connsiteX514" fmla="*/ 841375 w 1943100"/>
              <a:gd name="connsiteY514" fmla="*/ 1758950 h 2203450"/>
              <a:gd name="connsiteX515" fmla="*/ 835025 w 1943100"/>
              <a:gd name="connsiteY515" fmla="*/ 1746250 h 2203450"/>
              <a:gd name="connsiteX516" fmla="*/ 831850 w 1943100"/>
              <a:gd name="connsiteY516" fmla="*/ 1736725 h 2203450"/>
              <a:gd name="connsiteX517" fmla="*/ 825500 w 1943100"/>
              <a:gd name="connsiteY517" fmla="*/ 1708150 h 2203450"/>
              <a:gd name="connsiteX518" fmla="*/ 812800 w 1943100"/>
              <a:gd name="connsiteY518" fmla="*/ 1685925 h 2203450"/>
              <a:gd name="connsiteX519" fmla="*/ 800100 w 1943100"/>
              <a:gd name="connsiteY519" fmla="*/ 1670050 h 2203450"/>
              <a:gd name="connsiteX520" fmla="*/ 784225 w 1943100"/>
              <a:gd name="connsiteY520" fmla="*/ 1660525 h 2203450"/>
              <a:gd name="connsiteX521" fmla="*/ 768350 w 1943100"/>
              <a:gd name="connsiteY521" fmla="*/ 1654175 h 2203450"/>
              <a:gd name="connsiteX522" fmla="*/ 755650 w 1943100"/>
              <a:gd name="connsiteY522" fmla="*/ 1651000 h 2203450"/>
              <a:gd name="connsiteX523" fmla="*/ 742950 w 1943100"/>
              <a:gd name="connsiteY523" fmla="*/ 1651000 h 2203450"/>
              <a:gd name="connsiteX524" fmla="*/ 717550 w 1943100"/>
              <a:gd name="connsiteY524" fmla="*/ 1651000 h 2203450"/>
              <a:gd name="connsiteX525" fmla="*/ 698500 w 1943100"/>
              <a:gd name="connsiteY525" fmla="*/ 1644650 h 2203450"/>
              <a:gd name="connsiteX526" fmla="*/ 679450 w 1943100"/>
              <a:gd name="connsiteY526" fmla="*/ 1635125 h 2203450"/>
              <a:gd name="connsiteX527" fmla="*/ 663575 w 1943100"/>
              <a:gd name="connsiteY527" fmla="*/ 1625600 h 2203450"/>
              <a:gd name="connsiteX528" fmla="*/ 654050 w 1943100"/>
              <a:gd name="connsiteY528" fmla="*/ 1612900 h 2203450"/>
              <a:gd name="connsiteX529" fmla="*/ 644525 w 1943100"/>
              <a:gd name="connsiteY529" fmla="*/ 1603375 h 2203450"/>
              <a:gd name="connsiteX530" fmla="*/ 638175 w 1943100"/>
              <a:gd name="connsiteY530" fmla="*/ 1593850 h 2203450"/>
              <a:gd name="connsiteX531" fmla="*/ 628650 w 1943100"/>
              <a:gd name="connsiteY531" fmla="*/ 1577975 h 2203450"/>
              <a:gd name="connsiteX532" fmla="*/ 615950 w 1943100"/>
              <a:gd name="connsiteY532" fmla="*/ 1568450 h 2203450"/>
              <a:gd name="connsiteX533" fmla="*/ 600075 w 1943100"/>
              <a:gd name="connsiteY533" fmla="*/ 1558925 h 2203450"/>
              <a:gd name="connsiteX534" fmla="*/ 587375 w 1943100"/>
              <a:gd name="connsiteY534" fmla="*/ 1552575 h 2203450"/>
              <a:gd name="connsiteX535" fmla="*/ 571500 w 1943100"/>
              <a:gd name="connsiteY535" fmla="*/ 1549400 h 2203450"/>
              <a:gd name="connsiteX536" fmla="*/ 555625 w 1943100"/>
              <a:gd name="connsiteY536" fmla="*/ 1546225 h 2203450"/>
              <a:gd name="connsiteX537" fmla="*/ 523875 w 1943100"/>
              <a:gd name="connsiteY537" fmla="*/ 1546225 h 2203450"/>
              <a:gd name="connsiteX538" fmla="*/ 495300 w 1943100"/>
              <a:gd name="connsiteY538" fmla="*/ 1552575 h 2203450"/>
              <a:gd name="connsiteX539" fmla="*/ 469900 w 1943100"/>
              <a:gd name="connsiteY539" fmla="*/ 1558925 h 2203450"/>
              <a:gd name="connsiteX540" fmla="*/ 447675 w 1943100"/>
              <a:gd name="connsiteY540" fmla="*/ 1568450 h 2203450"/>
              <a:gd name="connsiteX541" fmla="*/ 406400 w 1943100"/>
              <a:gd name="connsiteY541" fmla="*/ 1581150 h 2203450"/>
              <a:gd name="connsiteX542" fmla="*/ 368300 w 1943100"/>
              <a:gd name="connsiteY542" fmla="*/ 1587500 h 2203450"/>
              <a:gd name="connsiteX543" fmla="*/ 333375 w 1943100"/>
              <a:gd name="connsiteY543" fmla="*/ 1590675 h 2203450"/>
              <a:gd name="connsiteX544" fmla="*/ 304800 w 1943100"/>
              <a:gd name="connsiteY544" fmla="*/ 1593850 h 2203450"/>
              <a:gd name="connsiteX545" fmla="*/ 279400 w 1943100"/>
              <a:gd name="connsiteY545" fmla="*/ 1593850 h 2203450"/>
              <a:gd name="connsiteX546" fmla="*/ 254000 w 1943100"/>
              <a:gd name="connsiteY546" fmla="*/ 1590675 h 2203450"/>
              <a:gd name="connsiteX547" fmla="*/ 234950 w 1943100"/>
              <a:gd name="connsiteY547" fmla="*/ 1584325 h 2203450"/>
              <a:gd name="connsiteX548" fmla="*/ 219075 w 1943100"/>
              <a:gd name="connsiteY548" fmla="*/ 1581150 h 2203450"/>
              <a:gd name="connsiteX549" fmla="*/ 193675 w 1943100"/>
              <a:gd name="connsiteY549" fmla="*/ 1565275 h 2203450"/>
              <a:gd name="connsiteX550" fmla="*/ 180975 w 1943100"/>
              <a:gd name="connsiteY550" fmla="*/ 1552575 h 2203450"/>
              <a:gd name="connsiteX551" fmla="*/ 171450 w 1943100"/>
              <a:gd name="connsiteY551" fmla="*/ 1543050 h 2203450"/>
              <a:gd name="connsiteX552" fmla="*/ 168275 w 1943100"/>
              <a:gd name="connsiteY552" fmla="*/ 1536700 h 2203450"/>
              <a:gd name="connsiteX553" fmla="*/ 161925 w 1943100"/>
              <a:gd name="connsiteY553" fmla="*/ 1517650 h 2203450"/>
              <a:gd name="connsiteX554" fmla="*/ 155575 w 1943100"/>
              <a:gd name="connsiteY554" fmla="*/ 1495425 h 2203450"/>
              <a:gd name="connsiteX555" fmla="*/ 152400 w 1943100"/>
              <a:gd name="connsiteY555" fmla="*/ 1476375 h 2203450"/>
              <a:gd name="connsiteX556" fmla="*/ 152400 w 1943100"/>
              <a:gd name="connsiteY556" fmla="*/ 1457325 h 2203450"/>
              <a:gd name="connsiteX557" fmla="*/ 155575 w 1943100"/>
              <a:gd name="connsiteY557" fmla="*/ 1422400 h 2203450"/>
              <a:gd name="connsiteX558" fmla="*/ 165100 w 1943100"/>
              <a:gd name="connsiteY558" fmla="*/ 1390650 h 2203450"/>
              <a:gd name="connsiteX559" fmla="*/ 180975 w 1943100"/>
              <a:gd name="connsiteY559" fmla="*/ 1358900 h 2203450"/>
              <a:gd name="connsiteX560" fmla="*/ 200025 w 1943100"/>
              <a:gd name="connsiteY560" fmla="*/ 1333500 h 2203450"/>
              <a:gd name="connsiteX561" fmla="*/ 225425 w 1943100"/>
              <a:gd name="connsiteY561" fmla="*/ 1308100 h 2203450"/>
              <a:gd name="connsiteX562" fmla="*/ 250825 w 1943100"/>
              <a:gd name="connsiteY562" fmla="*/ 1289050 h 2203450"/>
              <a:gd name="connsiteX563" fmla="*/ 276225 w 1943100"/>
              <a:gd name="connsiteY563" fmla="*/ 1270000 h 2203450"/>
              <a:gd name="connsiteX564" fmla="*/ 304800 w 1943100"/>
              <a:gd name="connsiteY564" fmla="*/ 1254125 h 2203450"/>
              <a:gd name="connsiteX565" fmla="*/ 352425 w 1943100"/>
              <a:gd name="connsiteY565" fmla="*/ 1228725 h 2203450"/>
              <a:gd name="connsiteX566" fmla="*/ 387350 w 1943100"/>
              <a:gd name="connsiteY566" fmla="*/ 1212850 h 2203450"/>
              <a:gd name="connsiteX567" fmla="*/ 403225 w 1943100"/>
              <a:gd name="connsiteY567" fmla="*/ 1209675 h 2203450"/>
              <a:gd name="connsiteX568" fmla="*/ 441325 w 1943100"/>
              <a:gd name="connsiteY568" fmla="*/ 1193800 h 2203450"/>
              <a:gd name="connsiteX569" fmla="*/ 473075 w 1943100"/>
              <a:gd name="connsiteY569" fmla="*/ 1177925 h 2203450"/>
              <a:gd name="connsiteX570" fmla="*/ 495300 w 1943100"/>
              <a:gd name="connsiteY570" fmla="*/ 1158875 h 2203450"/>
              <a:gd name="connsiteX571" fmla="*/ 511175 w 1943100"/>
              <a:gd name="connsiteY571" fmla="*/ 1143000 h 2203450"/>
              <a:gd name="connsiteX572" fmla="*/ 523875 w 1943100"/>
              <a:gd name="connsiteY572" fmla="*/ 1123950 h 2203450"/>
              <a:gd name="connsiteX573" fmla="*/ 530225 w 1943100"/>
              <a:gd name="connsiteY573" fmla="*/ 1111250 h 2203450"/>
              <a:gd name="connsiteX574" fmla="*/ 533400 w 1943100"/>
              <a:gd name="connsiteY574" fmla="*/ 1101725 h 2203450"/>
              <a:gd name="connsiteX575" fmla="*/ 533400 w 1943100"/>
              <a:gd name="connsiteY575" fmla="*/ 1076325 h 2203450"/>
              <a:gd name="connsiteX576" fmla="*/ 527050 w 1943100"/>
              <a:gd name="connsiteY576" fmla="*/ 1060450 h 2203450"/>
              <a:gd name="connsiteX577" fmla="*/ 517525 w 1943100"/>
              <a:gd name="connsiteY577" fmla="*/ 1044575 h 2203450"/>
              <a:gd name="connsiteX578" fmla="*/ 508000 w 1943100"/>
              <a:gd name="connsiteY578" fmla="*/ 1035050 h 2203450"/>
              <a:gd name="connsiteX579" fmla="*/ 498475 w 1943100"/>
              <a:gd name="connsiteY579" fmla="*/ 1028700 h 2203450"/>
              <a:gd name="connsiteX580" fmla="*/ 492125 w 1943100"/>
              <a:gd name="connsiteY580" fmla="*/ 1022350 h 2203450"/>
              <a:gd name="connsiteX581" fmla="*/ 482600 w 1943100"/>
              <a:gd name="connsiteY581" fmla="*/ 1019175 h 2203450"/>
              <a:gd name="connsiteX582" fmla="*/ 454025 w 1943100"/>
              <a:gd name="connsiteY582" fmla="*/ 1012825 h 2203450"/>
              <a:gd name="connsiteX583" fmla="*/ 428625 w 1943100"/>
              <a:gd name="connsiteY583" fmla="*/ 1003300 h 2203450"/>
              <a:gd name="connsiteX584" fmla="*/ 406400 w 1943100"/>
              <a:gd name="connsiteY584" fmla="*/ 993775 h 2203450"/>
              <a:gd name="connsiteX585" fmla="*/ 387350 w 1943100"/>
              <a:gd name="connsiteY585" fmla="*/ 984250 h 2203450"/>
              <a:gd name="connsiteX586" fmla="*/ 358775 w 1943100"/>
              <a:gd name="connsiteY586" fmla="*/ 962025 h 2203450"/>
              <a:gd name="connsiteX587" fmla="*/ 339725 w 1943100"/>
              <a:gd name="connsiteY587" fmla="*/ 939800 h 2203450"/>
              <a:gd name="connsiteX588" fmla="*/ 327025 w 1943100"/>
              <a:gd name="connsiteY588" fmla="*/ 920750 h 2203450"/>
              <a:gd name="connsiteX589" fmla="*/ 320675 w 1943100"/>
              <a:gd name="connsiteY589" fmla="*/ 908050 h 2203450"/>
              <a:gd name="connsiteX590" fmla="*/ 320675 w 1943100"/>
              <a:gd name="connsiteY590" fmla="*/ 892175 h 2203450"/>
              <a:gd name="connsiteX591" fmla="*/ 323850 w 1943100"/>
              <a:gd name="connsiteY591" fmla="*/ 876300 h 2203450"/>
              <a:gd name="connsiteX592" fmla="*/ 333375 w 1943100"/>
              <a:gd name="connsiteY592" fmla="*/ 860425 h 2203450"/>
              <a:gd name="connsiteX593" fmla="*/ 342900 w 1943100"/>
              <a:gd name="connsiteY593" fmla="*/ 847725 h 2203450"/>
              <a:gd name="connsiteX594" fmla="*/ 358775 w 1943100"/>
              <a:gd name="connsiteY594" fmla="*/ 835025 h 2203450"/>
              <a:gd name="connsiteX595" fmla="*/ 377825 w 1943100"/>
              <a:gd name="connsiteY595" fmla="*/ 825500 h 2203450"/>
              <a:gd name="connsiteX596" fmla="*/ 396875 w 1943100"/>
              <a:gd name="connsiteY596" fmla="*/ 819150 h 2203450"/>
              <a:gd name="connsiteX597" fmla="*/ 438150 w 1943100"/>
              <a:gd name="connsiteY597" fmla="*/ 809625 h 2203450"/>
              <a:gd name="connsiteX598" fmla="*/ 482600 w 1943100"/>
              <a:gd name="connsiteY598" fmla="*/ 803275 h 2203450"/>
              <a:gd name="connsiteX599" fmla="*/ 517525 w 1943100"/>
              <a:gd name="connsiteY599" fmla="*/ 800100 h 2203450"/>
              <a:gd name="connsiteX600" fmla="*/ 555625 w 1943100"/>
              <a:gd name="connsiteY600" fmla="*/ 800100 h 2203450"/>
              <a:gd name="connsiteX601" fmla="*/ 581025 w 1943100"/>
              <a:gd name="connsiteY601" fmla="*/ 800100 h 2203450"/>
              <a:gd name="connsiteX602" fmla="*/ 606425 w 1943100"/>
              <a:gd name="connsiteY602" fmla="*/ 796925 h 2203450"/>
              <a:gd name="connsiteX603" fmla="*/ 650875 w 1943100"/>
              <a:gd name="connsiteY603" fmla="*/ 787400 h 2203450"/>
              <a:gd name="connsiteX604" fmla="*/ 682625 w 1943100"/>
              <a:gd name="connsiteY604" fmla="*/ 774700 h 2203450"/>
              <a:gd name="connsiteX605" fmla="*/ 704850 w 1943100"/>
              <a:gd name="connsiteY605" fmla="*/ 758825 h 2203450"/>
              <a:gd name="connsiteX606" fmla="*/ 720725 w 1943100"/>
              <a:gd name="connsiteY606" fmla="*/ 742950 h 2203450"/>
              <a:gd name="connsiteX607" fmla="*/ 730250 w 1943100"/>
              <a:gd name="connsiteY607" fmla="*/ 730250 h 2203450"/>
              <a:gd name="connsiteX608" fmla="*/ 736600 w 1943100"/>
              <a:gd name="connsiteY608" fmla="*/ 717550 h 2203450"/>
              <a:gd name="connsiteX609" fmla="*/ 742950 w 1943100"/>
              <a:gd name="connsiteY609" fmla="*/ 688975 h 2203450"/>
              <a:gd name="connsiteX610" fmla="*/ 742950 w 1943100"/>
              <a:gd name="connsiteY610" fmla="*/ 666750 h 2203450"/>
              <a:gd name="connsiteX611" fmla="*/ 739775 w 1943100"/>
              <a:gd name="connsiteY611" fmla="*/ 647700 h 2203450"/>
              <a:gd name="connsiteX612" fmla="*/ 733425 w 1943100"/>
              <a:gd name="connsiteY612" fmla="*/ 631825 h 2203450"/>
              <a:gd name="connsiteX613" fmla="*/ 727075 w 1943100"/>
              <a:gd name="connsiteY613" fmla="*/ 619125 h 2203450"/>
              <a:gd name="connsiteX614" fmla="*/ 717550 w 1943100"/>
              <a:gd name="connsiteY614" fmla="*/ 609600 h 2203450"/>
              <a:gd name="connsiteX615" fmla="*/ 711200 w 1943100"/>
              <a:gd name="connsiteY615" fmla="*/ 603250 h 2203450"/>
              <a:gd name="connsiteX616" fmla="*/ 685800 w 1943100"/>
              <a:gd name="connsiteY616" fmla="*/ 574675 h 2203450"/>
              <a:gd name="connsiteX617" fmla="*/ 666750 w 1943100"/>
              <a:gd name="connsiteY617" fmla="*/ 549275 h 2203450"/>
              <a:gd name="connsiteX618" fmla="*/ 657225 w 1943100"/>
              <a:gd name="connsiteY618" fmla="*/ 527050 h 2203450"/>
              <a:gd name="connsiteX619" fmla="*/ 654050 w 1943100"/>
              <a:gd name="connsiteY619" fmla="*/ 504825 h 2203450"/>
              <a:gd name="connsiteX620" fmla="*/ 650875 w 1943100"/>
              <a:gd name="connsiteY620" fmla="*/ 485775 h 2203450"/>
              <a:gd name="connsiteX621" fmla="*/ 654050 w 1943100"/>
              <a:gd name="connsiteY621" fmla="*/ 469900 h 2203450"/>
              <a:gd name="connsiteX622" fmla="*/ 657225 w 1943100"/>
              <a:gd name="connsiteY622" fmla="*/ 457200 h 2203450"/>
              <a:gd name="connsiteX623" fmla="*/ 663575 w 1943100"/>
              <a:gd name="connsiteY623" fmla="*/ 441325 h 2203450"/>
              <a:gd name="connsiteX624" fmla="*/ 673100 w 1943100"/>
              <a:gd name="connsiteY624" fmla="*/ 428625 h 2203450"/>
              <a:gd name="connsiteX625" fmla="*/ 682625 w 1943100"/>
              <a:gd name="connsiteY625" fmla="*/ 419100 h 2203450"/>
              <a:gd name="connsiteX626" fmla="*/ 692150 w 1943100"/>
              <a:gd name="connsiteY626" fmla="*/ 409575 h 2203450"/>
              <a:gd name="connsiteX627" fmla="*/ 704850 w 1943100"/>
              <a:gd name="connsiteY627" fmla="*/ 406400 h 2203450"/>
              <a:gd name="connsiteX628" fmla="*/ 717550 w 1943100"/>
              <a:gd name="connsiteY628" fmla="*/ 403225 h 2203450"/>
              <a:gd name="connsiteX629" fmla="*/ 746125 w 1943100"/>
              <a:gd name="connsiteY629" fmla="*/ 400050 h 2203450"/>
              <a:gd name="connsiteX630" fmla="*/ 768350 w 1943100"/>
              <a:gd name="connsiteY630" fmla="*/ 403225 h 2203450"/>
              <a:gd name="connsiteX631" fmla="*/ 790575 w 1943100"/>
              <a:gd name="connsiteY631" fmla="*/ 409575 h 2203450"/>
              <a:gd name="connsiteX632" fmla="*/ 809625 w 1943100"/>
              <a:gd name="connsiteY632" fmla="*/ 415925 h 2203450"/>
              <a:gd name="connsiteX633" fmla="*/ 828675 w 1943100"/>
              <a:gd name="connsiteY633" fmla="*/ 419100 h 2203450"/>
              <a:gd name="connsiteX634" fmla="*/ 847725 w 1943100"/>
              <a:gd name="connsiteY634" fmla="*/ 422275 h 2203450"/>
              <a:gd name="connsiteX635" fmla="*/ 866775 w 1943100"/>
              <a:gd name="connsiteY635" fmla="*/ 419100 h 2203450"/>
              <a:gd name="connsiteX636" fmla="*/ 882650 w 1943100"/>
              <a:gd name="connsiteY636" fmla="*/ 412750 h 2203450"/>
              <a:gd name="connsiteX637" fmla="*/ 898525 w 1943100"/>
              <a:gd name="connsiteY637" fmla="*/ 406400 h 2203450"/>
              <a:gd name="connsiteX638" fmla="*/ 914400 w 1943100"/>
              <a:gd name="connsiteY638" fmla="*/ 400050 h 2203450"/>
              <a:gd name="connsiteX639" fmla="*/ 939800 w 1943100"/>
              <a:gd name="connsiteY639" fmla="*/ 377825 h 2203450"/>
              <a:gd name="connsiteX640" fmla="*/ 958850 w 1943100"/>
              <a:gd name="connsiteY640" fmla="*/ 355600 h 2203450"/>
              <a:gd name="connsiteX641" fmla="*/ 974725 w 1943100"/>
              <a:gd name="connsiteY641" fmla="*/ 336550 h 2203450"/>
              <a:gd name="connsiteX642" fmla="*/ 987425 w 1943100"/>
              <a:gd name="connsiteY642" fmla="*/ 317500 h 2203450"/>
              <a:gd name="connsiteX643" fmla="*/ 1019175 w 1943100"/>
              <a:gd name="connsiteY643" fmla="*/ 254000 h 2203450"/>
              <a:gd name="connsiteX644" fmla="*/ 1054100 w 1943100"/>
              <a:gd name="connsiteY644" fmla="*/ 203200 h 2203450"/>
              <a:gd name="connsiteX645" fmla="*/ 1085850 w 1943100"/>
              <a:gd name="connsiteY645" fmla="*/ 165100 h 2203450"/>
              <a:gd name="connsiteX646" fmla="*/ 1120775 w 1943100"/>
              <a:gd name="connsiteY646" fmla="*/ 136525 h 2203450"/>
              <a:gd name="connsiteX647" fmla="*/ 1152525 w 1943100"/>
              <a:gd name="connsiteY647" fmla="*/ 117475 h 2203450"/>
              <a:gd name="connsiteX648" fmla="*/ 1184275 w 1943100"/>
              <a:gd name="connsiteY648" fmla="*/ 104775 h 2203450"/>
              <a:gd name="connsiteX649" fmla="*/ 958850 w 1943100"/>
              <a:gd name="connsiteY649" fmla="*/ 0 h 2203450"/>
              <a:gd name="connsiteX650" fmla="*/ 981075 w 1943100"/>
              <a:gd name="connsiteY650" fmla="*/ 3175 h 2203450"/>
              <a:gd name="connsiteX651" fmla="*/ 1000125 w 1943100"/>
              <a:gd name="connsiteY651" fmla="*/ 12700 h 2203450"/>
              <a:gd name="connsiteX652" fmla="*/ 1012825 w 1943100"/>
              <a:gd name="connsiteY652" fmla="*/ 25400 h 2203450"/>
              <a:gd name="connsiteX653" fmla="*/ 1022350 w 1943100"/>
              <a:gd name="connsiteY653" fmla="*/ 44450 h 2203450"/>
              <a:gd name="connsiteX654" fmla="*/ 1028700 w 1943100"/>
              <a:gd name="connsiteY654" fmla="*/ 63500 h 2203450"/>
              <a:gd name="connsiteX655" fmla="*/ 1028700 w 1943100"/>
              <a:gd name="connsiteY655" fmla="*/ 88900 h 2203450"/>
              <a:gd name="connsiteX656" fmla="*/ 1025525 w 1943100"/>
              <a:gd name="connsiteY656" fmla="*/ 114300 h 2203450"/>
              <a:gd name="connsiteX657" fmla="*/ 1016000 w 1943100"/>
              <a:gd name="connsiteY657" fmla="*/ 142875 h 2203450"/>
              <a:gd name="connsiteX658" fmla="*/ 1003300 w 1943100"/>
              <a:gd name="connsiteY658" fmla="*/ 171450 h 2203450"/>
              <a:gd name="connsiteX659" fmla="*/ 984250 w 1943100"/>
              <a:gd name="connsiteY659" fmla="*/ 196850 h 2203450"/>
              <a:gd name="connsiteX660" fmla="*/ 965200 w 1943100"/>
              <a:gd name="connsiteY660" fmla="*/ 222250 h 2203450"/>
              <a:gd name="connsiteX661" fmla="*/ 939800 w 1943100"/>
              <a:gd name="connsiteY661" fmla="*/ 244475 h 2203450"/>
              <a:gd name="connsiteX662" fmla="*/ 917575 w 1943100"/>
              <a:gd name="connsiteY662" fmla="*/ 263525 h 2203450"/>
              <a:gd name="connsiteX663" fmla="*/ 892175 w 1943100"/>
              <a:gd name="connsiteY663" fmla="*/ 276225 h 2203450"/>
              <a:gd name="connsiteX664" fmla="*/ 866775 w 1943100"/>
              <a:gd name="connsiteY664" fmla="*/ 282575 h 2203450"/>
              <a:gd name="connsiteX665" fmla="*/ 844550 w 1943100"/>
              <a:gd name="connsiteY665" fmla="*/ 285750 h 2203450"/>
              <a:gd name="connsiteX666" fmla="*/ 822325 w 1943100"/>
              <a:gd name="connsiteY666" fmla="*/ 282575 h 2203450"/>
              <a:gd name="connsiteX667" fmla="*/ 806450 w 1943100"/>
              <a:gd name="connsiteY667" fmla="*/ 273050 h 2203450"/>
              <a:gd name="connsiteX668" fmla="*/ 790575 w 1943100"/>
              <a:gd name="connsiteY668" fmla="*/ 260350 h 2203450"/>
              <a:gd name="connsiteX669" fmla="*/ 781050 w 1943100"/>
              <a:gd name="connsiteY669" fmla="*/ 241300 h 2203450"/>
              <a:gd name="connsiteX670" fmla="*/ 774700 w 1943100"/>
              <a:gd name="connsiteY670" fmla="*/ 222250 h 2203450"/>
              <a:gd name="connsiteX671" fmla="*/ 774700 w 1943100"/>
              <a:gd name="connsiteY671" fmla="*/ 196850 h 2203450"/>
              <a:gd name="connsiteX672" fmla="*/ 777875 w 1943100"/>
              <a:gd name="connsiteY672" fmla="*/ 171450 h 2203450"/>
              <a:gd name="connsiteX673" fmla="*/ 787400 w 1943100"/>
              <a:gd name="connsiteY673" fmla="*/ 142875 h 2203450"/>
              <a:gd name="connsiteX674" fmla="*/ 800100 w 1943100"/>
              <a:gd name="connsiteY674" fmla="*/ 114300 h 2203450"/>
              <a:gd name="connsiteX675" fmla="*/ 819150 w 1943100"/>
              <a:gd name="connsiteY675" fmla="*/ 88900 h 2203450"/>
              <a:gd name="connsiteX676" fmla="*/ 841375 w 1943100"/>
              <a:gd name="connsiteY676" fmla="*/ 63500 h 2203450"/>
              <a:gd name="connsiteX677" fmla="*/ 863600 w 1943100"/>
              <a:gd name="connsiteY677" fmla="*/ 41275 h 2203450"/>
              <a:gd name="connsiteX678" fmla="*/ 889000 w 1943100"/>
              <a:gd name="connsiteY678" fmla="*/ 22225 h 2203450"/>
              <a:gd name="connsiteX679" fmla="*/ 911225 w 1943100"/>
              <a:gd name="connsiteY679" fmla="*/ 9525 h 2203450"/>
              <a:gd name="connsiteX680" fmla="*/ 936625 w 1943100"/>
              <a:gd name="connsiteY680" fmla="*/ 3175 h 220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Lst>
            <a:rect l="l" t="t" r="r" b="b"/>
            <a:pathLst>
              <a:path w="1943100" h="2203450">
                <a:moveTo>
                  <a:pt x="1273175" y="1971675"/>
                </a:moveTo>
                <a:lnTo>
                  <a:pt x="1298575" y="1974850"/>
                </a:lnTo>
                <a:lnTo>
                  <a:pt x="1323975" y="1981200"/>
                </a:lnTo>
                <a:lnTo>
                  <a:pt x="1346200" y="1990725"/>
                </a:lnTo>
                <a:lnTo>
                  <a:pt x="1365250" y="2006600"/>
                </a:lnTo>
                <a:lnTo>
                  <a:pt x="1381125" y="2022475"/>
                </a:lnTo>
                <a:lnTo>
                  <a:pt x="1393825" y="2041525"/>
                </a:lnTo>
                <a:lnTo>
                  <a:pt x="1400175" y="2063750"/>
                </a:lnTo>
                <a:lnTo>
                  <a:pt x="1403350" y="2089150"/>
                </a:lnTo>
                <a:lnTo>
                  <a:pt x="1400175" y="2111375"/>
                </a:lnTo>
                <a:lnTo>
                  <a:pt x="1393825" y="2133600"/>
                </a:lnTo>
                <a:lnTo>
                  <a:pt x="1381125" y="2152650"/>
                </a:lnTo>
                <a:lnTo>
                  <a:pt x="1365250" y="2168525"/>
                </a:lnTo>
                <a:lnTo>
                  <a:pt x="1346200" y="2184400"/>
                </a:lnTo>
                <a:lnTo>
                  <a:pt x="1323975" y="2193925"/>
                </a:lnTo>
                <a:lnTo>
                  <a:pt x="1298575" y="2200275"/>
                </a:lnTo>
                <a:lnTo>
                  <a:pt x="1273175" y="2203450"/>
                </a:lnTo>
                <a:lnTo>
                  <a:pt x="1244600" y="2200275"/>
                </a:lnTo>
                <a:lnTo>
                  <a:pt x="1222375" y="2193925"/>
                </a:lnTo>
                <a:lnTo>
                  <a:pt x="1200150" y="2184400"/>
                </a:lnTo>
                <a:lnTo>
                  <a:pt x="1177925" y="2168525"/>
                </a:lnTo>
                <a:lnTo>
                  <a:pt x="1162050" y="2152650"/>
                </a:lnTo>
                <a:lnTo>
                  <a:pt x="1152525" y="2133600"/>
                </a:lnTo>
                <a:lnTo>
                  <a:pt x="1143000" y="2111375"/>
                </a:lnTo>
                <a:lnTo>
                  <a:pt x="1139825" y="2089150"/>
                </a:lnTo>
                <a:lnTo>
                  <a:pt x="1143000" y="2063750"/>
                </a:lnTo>
                <a:lnTo>
                  <a:pt x="1152525" y="2041525"/>
                </a:lnTo>
                <a:lnTo>
                  <a:pt x="1162050" y="2022475"/>
                </a:lnTo>
                <a:lnTo>
                  <a:pt x="1177925" y="2006600"/>
                </a:lnTo>
                <a:lnTo>
                  <a:pt x="1200150" y="1990725"/>
                </a:lnTo>
                <a:lnTo>
                  <a:pt x="1222375" y="1981200"/>
                </a:lnTo>
                <a:lnTo>
                  <a:pt x="1244600" y="1974850"/>
                </a:lnTo>
                <a:close/>
                <a:moveTo>
                  <a:pt x="1498600" y="1819275"/>
                </a:moveTo>
                <a:lnTo>
                  <a:pt x="1530350" y="1822450"/>
                </a:lnTo>
                <a:lnTo>
                  <a:pt x="1562100" y="1825625"/>
                </a:lnTo>
                <a:lnTo>
                  <a:pt x="1587500" y="1831975"/>
                </a:lnTo>
                <a:lnTo>
                  <a:pt x="1612900" y="1841500"/>
                </a:lnTo>
                <a:lnTo>
                  <a:pt x="1631950" y="1854200"/>
                </a:lnTo>
                <a:lnTo>
                  <a:pt x="1647825" y="1866900"/>
                </a:lnTo>
                <a:lnTo>
                  <a:pt x="1657350" y="1879600"/>
                </a:lnTo>
                <a:lnTo>
                  <a:pt x="1660525" y="1895475"/>
                </a:lnTo>
                <a:lnTo>
                  <a:pt x="1657350" y="1911350"/>
                </a:lnTo>
                <a:lnTo>
                  <a:pt x="1647825" y="1924050"/>
                </a:lnTo>
                <a:lnTo>
                  <a:pt x="1631950" y="1939925"/>
                </a:lnTo>
                <a:lnTo>
                  <a:pt x="1612900" y="1949450"/>
                </a:lnTo>
                <a:lnTo>
                  <a:pt x="1587500" y="1958975"/>
                </a:lnTo>
                <a:lnTo>
                  <a:pt x="1562100" y="1965325"/>
                </a:lnTo>
                <a:lnTo>
                  <a:pt x="1530350" y="1971675"/>
                </a:lnTo>
                <a:lnTo>
                  <a:pt x="1498600" y="1971675"/>
                </a:lnTo>
                <a:lnTo>
                  <a:pt x="1466850" y="1971675"/>
                </a:lnTo>
                <a:lnTo>
                  <a:pt x="1435100" y="1965325"/>
                </a:lnTo>
                <a:lnTo>
                  <a:pt x="1409700" y="1958975"/>
                </a:lnTo>
                <a:lnTo>
                  <a:pt x="1384300" y="1949450"/>
                </a:lnTo>
                <a:lnTo>
                  <a:pt x="1365250" y="1939925"/>
                </a:lnTo>
                <a:lnTo>
                  <a:pt x="1349375" y="1924050"/>
                </a:lnTo>
                <a:lnTo>
                  <a:pt x="1339850" y="1911350"/>
                </a:lnTo>
                <a:lnTo>
                  <a:pt x="1336675" y="1895475"/>
                </a:lnTo>
                <a:lnTo>
                  <a:pt x="1339850" y="1879600"/>
                </a:lnTo>
                <a:lnTo>
                  <a:pt x="1349375" y="1866900"/>
                </a:lnTo>
                <a:lnTo>
                  <a:pt x="1365250" y="1854200"/>
                </a:lnTo>
                <a:lnTo>
                  <a:pt x="1384300" y="1841500"/>
                </a:lnTo>
                <a:lnTo>
                  <a:pt x="1409700" y="1831975"/>
                </a:lnTo>
                <a:lnTo>
                  <a:pt x="1435100" y="1825625"/>
                </a:lnTo>
                <a:lnTo>
                  <a:pt x="1466850" y="1822450"/>
                </a:lnTo>
                <a:close/>
                <a:moveTo>
                  <a:pt x="752475" y="1781175"/>
                </a:moveTo>
                <a:lnTo>
                  <a:pt x="762000" y="1784350"/>
                </a:lnTo>
                <a:lnTo>
                  <a:pt x="768350" y="1787525"/>
                </a:lnTo>
                <a:lnTo>
                  <a:pt x="777875" y="1790700"/>
                </a:lnTo>
                <a:lnTo>
                  <a:pt x="784225" y="1800225"/>
                </a:lnTo>
                <a:lnTo>
                  <a:pt x="793750" y="1816100"/>
                </a:lnTo>
                <a:lnTo>
                  <a:pt x="796925" y="1838325"/>
                </a:lnTo>
                <a:lnTo>
                  <a:pt x="793750" y="1860550"/>
                </a:lnTo>
                <a:lnTo>
                  <a:pt x="784225" y="1879600"/>
                </a:lnTo>
                <a:lnTo>
                  <a:pt x="777875" y="1885950"/>
                </a:lnTo>
                <a:lnTo>
                  <a:pt x="768350" y="1889125"/>
                </a:lnTo>
                <a:lnTo>
                  <a:pt x="762000" y="1892300"/>
                </a:lnTo>
                <a:lnTo>
                  <a:pt x="752475" y="1895475"/>
                </a:lnTo>
                <a:lnTo>
                  <a:pt x="742950" y="1892300"/>
                </a:lnTo>
                <a:lnTo>
                  <a:pt x="736600" y="1889125"/>
                </a:lnTo>
                <a:lnTo>
                  <a:pt x="727075" y="1885950"/>
                </a:lnTo>
                <a:lnTo>
                  <a:pt x="720725" y="1879600"/>
                </a:lnTo>
                <a:lnTo>
                  <a:pt x="711200" y="1860550"/>
                </a:lnTo>
                <a:lnTo>
                  <a:pt x="708025" y="1838325"/>
                </a:lnTo>
                <a:lnTo>
                  <a:pt x="711200" y="1816100"/>
                </a:lnTo>
                <a:lnTo>
                  <a:pt x="720725" y="1800225"/>
                </a:lnTo>
                <a:lnTo>
                  <a:pt x="727075" y="1790700"/>
                </a:lnTo>
                <a:lnTo>
                  <a:pt x="736600" y="1787525"/>
                </a:lnTo>
                <a:lnTo>
                  <a:pt x="742950" y="1784350"/>
                </a:lnTo>
                <a:close/>
                <a:moveTo>
                  <a:pt x="492125" y="1670050"/>
                </a:moveTo>
                <a:lnTo>
                  <a:pt x="520700" y="1673225"/>
                </a:lnTo>
                <a:lnTo>
                  <a:pt x="546100" y="1679575"/>
                </a:lnTo>
                <a:lnTo>
                  <a:pt x="568325" y="1689100"/>
                </a:lnTo>
                <a:lnTo>
                  <a:pt x="590550" y="1704975"/>
                </a:lnTo>
                <a:lnTo>
                  <a:pt x="606425" y="1720850"/>
                </a:lnTo>
                <a:lnTo>
                  <a:pt x="619125" y="1739900"/>
                </a:lnTo>
                <a:lnTo>
                  <a:pt x="628650" y="1758950"/>
                </a:lnTo>
                <a:lnTo>
                  <a:pt x="631825" y="1781175"/>
                </a:lnTo>
                <a:lnTo>
                  <a:pt x="628650" y="1806575"/>
                </a:lnTo>
                <a:lnTo>
                  <a:pt x="619125" y="1825625"/>
                </a:lnTo>
                <a:lnTo>
                  <a:pt x="606425" y="1844675"/>
                </a:lnTo>
                <a:lnTo>
                  <a:pt x="590550" y="1860550"/>
                </a:lnTo>
                <a:lnTo>
                  <a:pt x="568325" y="1876425"/>
                </a:lnTo>
                <a:lnTo>
                  <a:pt x="546100" y="1885950"/>
                </a:lnTo>
                <a:lnTo>
                  <a:pt x="520700" y="1892300"/>
                </a:lnTo>
                <a:lnTo>
                  <a:pt x="492125" y="1895475"/>
                </a:lnTo>
                <a:lnTo>
                  <a:pt x="463550" y="1892300"/>
                </a:lnTo>
                <a:lnTo>
                  <a:pt x="438150" y="1885950"/>
                </a:lnTo>
                <a:lnTo>
                  <a:pt x="412750" y="1876425"/>
                </a:lnTo>
                <a:lnTo>
                  <a:pt x="393700" y="1860550"/>
                </a:lnTo>
                <a:lnTo>
                  <a:pt x="374650" y="1844675"/>
                </a:lnTo>
                <a:lnTo>
                  <a:pt x="361950" y="1825625"/>
                </a:lnTo>
                <a:lnTo>
                  <a:pt x="355600" y="1806575"/>
                </a:lnTo>
                <a:lnTo>
                  <a:pt x="352425" y="1781175"/>
                </a:lnTo>
                <a:lnTo>
                  <a:pt x="355600" y="1758950"/>
                </a:lnTo>
                <a:lnTo>
                  <a:pt x="361950" y="1739900"/>
                </a:lnTo>
                <a:lnTo>
                  <a:pt x="374650" y="1720850"/>
                </a:lnTo>
                <a:lnTo>
                  <a:pt x="393700" y="1704975"/>
                </a:lnTo>
                <a:lnTo>
                  <a:pt x="412750" y="1689100"/>
                </a:lnTo>
                <a:lnTo>
                  <a:pt x="438150" y="1679575"/>
                </a:lnTo>
                <a:lnTo>
                  <a:pt x="463550" y="1673225"/>
                </a:lnTo>
                <a:close/>
                <a:moveTo>
                  <a:pt x="212725" y="1670050"/>
                </a:moveTo>
                <a:lnTo>
                  <a:pt x="228600" y="1673225"/>
                </a:lnTo>
                <a:lnTo>
                  <a:pt x="244475" y="1676400"/>
                </a:lnTo>
                <a:lnTo>
                  <a:pt x="257175" y="1679575"/>
                </a:lnTo>
                <a:lnTo>
                  <a:pt x="266700" y="1685925"/>
                </a:lnTo>
                <a:lnTo>
                  <a:pt x="276225" y="1692275"/>
                </a:lnTo>
                <a:lnTo>
                  <a:pt x="285750" y="1701800"/>
                </a:lnTo>
                <a:lnTo>
                  <a:pt x="288925" y="1711325"/>
                </a:lnTo>
                <a:lnTo>
                  <a:pt x="288925" y="1724025"/>
                </a:lnTo>
                <a:lnTo>
                  <a:pt x="288925" y="1733550"/>
                </a:lnTo>
                <a:lnTo>
                  <a:pt x="285750" y="1743075"/>
                </a:lnTo>
                <a:lnTo>
                  <a:pt x="276225" y="1752600"/>
                </a:lnTo>
                <a:lnTo>
                  <a:pt x="266700" y="1758950"/>
                </a:lnTo>
                <a:lnTo>
                  <a:pt x="257175" y="1765300"/>
                </a:lnTo>
                <a:lnTo>
                  <a:pt x="244475" y="1771650"/>
                </a:lnTo>
                <a:lnTo>
                  <a:pt x="228600" y="1774825"/>
                </a:lnTo>
                <a:lnTo>
                  <a:pt x="212725" y="1774825"/>
                </a:lnTo>
                <a:lnTo>
                  <a:pt x="196850" y="1774825"/>
                </a:lnTo>
                <a:lnTo>
                  <a:pt x="184150" y="1771650"/>
                </a:lnTo>
                <a:lnTo>
                  <a:pt x="168275" y="1765300"/>
                </a:lnTo>
                <a:lnTo>
                  <a:pt x="158750" y="1758950"/>
                </a:lnTo>
                <a:lnTo>
                  <a:pt x="149225" y="1752600"/>
                </a:lnTo>
                <a:lnTo>
                  <a:pt x="142875" y="1743075"/>
                </a:lnTo>
                <a:lnTo>
                  <a:pt x="136525" y="1733550"/>
                </a:lnTo>
                <a:lnTo>
                  <a:pt x="136525" y="1724025"/>
                </a:lnTo>
                <a:lnTo>
                  <a:pt x="136525" y="1711325"/>
                </a:lnTo>
                <a:lnTo>
                  <a:pt x="142875" y="1701800"/>
                </a:lnTo>
                <a:lnTo>
                  <a:pt x="149225" y="1692275"/>
                </a:lnTo>
                <a:lnTo>
                  <a:pt x="158750" y="1685925"/>
                </a:lnTo>
                <a:lnTo>
                  <a:pt x="168275" y="1679575"/>
                </a:lnTo>
                <a:lnTo>
                  <a:pt x="184150" y="1676400"/>
                </a:lnTo>
                <a:lnTo>
                  <a:pt x="196850" y="1673225"/>
                </a:lnTo>
                <a:close/>
                <a:moveTo>
                  <a:pt x="44450" y="1260475"/>
                </a:moveTo>
                <a:lnTo>
                  <a:pt x="53975" y="1260475"/>
                </a:lnTo>
                <a:lnTo>
                  <a:pt x="63500" y="1260475"/>
                </a:lnTo>
                <a:lnTo>
                  <a:pt x="76200" y="1266825"/>
                </a:lnTo>
                <a:lnTo>
                  <a:pt x="82550" y="1273175"/>
                </a:lnTo>
                <a:lnTo>
                  <a:pt x="92075" y="1279525"/>
                </a:lnTo>
                <a:lnTo>
                  <a:pt x="98425" y="1289050"/>
                </a:lnTo>
                <a:lnTo>
                  <a:pt x="101600" y="1298575"/>
                </a:lnTo>
                <a:lnTo>
                  <a:pt x="104775" y="1311275"/>
                </a:lnTo>
                <a:lnTo>
                  <a:pt x="107950" y="1323975"/>
                </a:lnTo>
                <a:lnTo>
                  <a:pt x="104775" y="1336675"/>
                </a:lnTo>
                <a:lnTo>
                  <a:pt x="101600" y="1349375"/>
                </a:lnTo>
                <a:lnTo>
                  <a:pt x="98425" y="1362075"/>
                </a:lnTo>
                <a:lnTo>
                  <a:pt x="92075" y="1371600"/>
                </a:lnTo>
                <a:lnTo>
                  <a:pt x="82550" y="1377950"/>
                </a:lnTo>
                <a:lnTo>
                  <a:pt x="76200" y="1384300"/>
                </a:lnTo>
                <a:lnTo>
                  <a:pt x="63500" y="1387475"/>
                </a:lnTo>
                <a:lnTo>
                  <a:pt x="53975" y="1390650"/>
                </a:lnTo>
                <a:lnTo>
                  <a:pt x="44450" y="1387475"/>
                </a:lnTo>
                <a:lnTo>
                  <a:pt x="34925" y="1384300"/>
                </a:lnTo>
                <a:lnTo>
                  <a:pt x="25400" y="1377950"/>
                </a:lnTo>
                <a:lnTo>
                  <a:pt x="15875" y="1371600"/>
                </a:lnTo>
                <a:lnTo>
                  <a:pt x="9525" y="1362075"/>
                </a:lnTo>
                <a:lnTo>
                  <a:pt x="6350" y="1349375"/>
                </a:lnTo>
                <a:lnTo>
                  <a:pt x="3175" y="1336675"/>
                </a:lnTo>
                <a:lnTo>
                  <a:pt x="0" y="1323975"/>
                </a:lnTo>
                <a:lnTo>
                  <a:pt x="3175" y="1311275"/>
                </a:lnTo>
                <a:lnTo>
                  <a:pt x="6350" y="1298575"/>
                </a:lnTo>
                <a:lnTo>
                  <a:pt x="9525" y="1289050"/>
                </a:lnTo>
                <a:lnTo>
                  <a:pt x="15875" y="1279525"/>
                </a:lnTo>
                <a:lnTo>
                  <a:pt x="25400" y="1273175"/>
                </a:lnTo>
                <a:lnTo>
                  <a:pt x="34925" y="1266825"/>
                </a:lnTo>
                <a:close/>
                <a:moveTo>
                  <a:pt x="171450" y="1098550"/>
                </a:moveTo>
                <a:lnTo>
                  <a:pt x="184150" y="1101725"/>
                </a:lnTo>
                <a:lnTo>
                  <a:pt x="193675" y="1104900"/>
                </a:lnTo>
                <a:lnTo>
                  <a:pt x="206375" y="1108075"/>
                </a:lnTo>
                <a:lnTo>
                  <a:pt x="215900" y="1117600"/>
                </a:lnTo>
                <a:lnTo>
                  <a:pt x="222250" y="1123950"/>
                </a:lnTo>
                <a:lnTo>
                  <a:pt x="228600" y="1136650"/>
                </a:lnTo>
                <a:lnTo>
                  <a:pt x="231775" y="1146175"/>
                </a:lnTo>
                <a:lnTo>
                  <a:pt x="234950" y="1158875"/>
                </a:lnTo>
                <a:lnTo>
                  <a:pt x="231775" y="1168400"/>
                </a:lnTo>
                <a:lnTo>
                  <a:pt x="228600" y="1181100"/>
                </a:lnTo>
                <a:lnTo>
                  <a:pt x="222250" y="1190625"/>
                </a:lnTo>
                <a:lnTo>
                  <a:pt x="215900" y="1200150"/>
                </a:lnTo>
                <a:lnTo>
                  <a:pt x="206375" y="1206500"/>
                </a:lnTo>
                <a:lnTo>
                  <a:pt x="193675" y="1212850"/>
                </a:lnTo>
                <a:lnTo>
                  <a:pt x="184150" y="1216025"/>
                </a:lnTo>
                <a:lnTo>
                  <a:pt x="171450" y="1216025"/>
                </a:lnTo>
                <a:lnTo>
                  <a:pt x="158750" y="1216025"/>
                </a:lnTo>
                <a:lnTo>
                  <a:pt x="146050" y="1212850"/>
                </a:lnTo>
                <a:lnTo>
                  <a:pt x="136525" y="1206500"/>
                </a:lnTo>
                <a:lnTo>
                  <a:pt x="127000" y="1200150"/>
                </a:lnTo>
                <a:lnTo>
                  <a:pt x="117475" y="1190625"/>
                </a:lnTo>
                <a:lnTo>
                  <a:pt x="111125" y="1181100"/>
                </a:lnTo>
                <a:lnTo>
                  <a:pt x="107950" y="1168400"/>
                </a:lnTo>
                <a:lnTo>
                  <a:pt x="107950" y="1158875"/>
                </a:lnTo>
                <a:lnTo>
                  <a:pt x="107950" y="1146175"/>
                </a:lnTo>
                <a:lnTo>
                  <a:pt x="111125" y="1136650"/>
                </a:lnTo>
                <a:lnTo>
                  <a:pt x="117475" y="1123950"/>
                </a:lnTo>
                <a:lnTo>
                  <a:pt x="127000" y="1117600"/>
                </a:lnTo>
                <a:lnTo>
                  <a:pt x="136525" y="1108075"/>
                </a:lnTo>
                <a:lnTo>
                  <a:pt x="146050" y="1104900"/>
                </a:lnTo>
                <a:lnTo>
                  <a:pt x="158750" y="1101725"/>
                </a:lnTo>
                <a:close/>
                <a:moveTo>
                  <a:pt x="136525" y="812800"/>
                </a:moveTo>
                <a:lnTo>
                  <a:pt x="155575" y="815975"/>
                </a:lnTo>
                <a:lnTo>
                  <a:pt x="174625" y="822325"/>
                </a:lnTo>
                <a:lnTo>
                  <a:pt x="190500" y="831850"/>
                </a:lnTo>
                <a:lnTo>
                  <a:pt x="206375" y="844550"/>
                </a:lnTo>
                <a:lnTo>
                  <a:pt x="215900" y="860425"/>
                </a:lnTo>
                <a:lnTo>
                  <a:pt x="225425" y="879475"/>
                </a:lnTo>
                <a:lnTo>
                  <a:pt x="231775" y="898525"/>
                </a:lnTo>
                <a:lnTo>
                  <a:pt x="234950" y="920750"/>
                </a:lnTo>
                <a:lnTo>
                  <a:pt x="231775" y="939800"/>
                </a:lnTo>
                <a:lnTo>
                  <a:pt x="225425" y="958850"/>
                </a:lnTo>
                <a:lnTo>
                  <a:pt x="215900" y="977900"/>
                </a:lnTo>
                <a:lnTo>
                  <a:pt x="206375" y="993775"/>
                </a:lnTo>
                <a:lnTo>
                  <a:pt x="190500" y="1006475"/>
                </a:lnTo>
                <a:lnTo>
                  <a:pt x="174625" y="1016000"/>
                </a:lnTo>
                <a:lnTo>
                  <a:pt x="155575" y="1022350"/>
                </a:lnTo>
                <a:lnTo>
                  <a:pt x="136525" y="1025525"/>
                </a:lnTo>
                <a:lnTo>
                  <a:pt x="114300" y="1022350"/>
                </a:lnTo>
                <a:lnTo>
                  <a:pt x="98425" y="1016000"/>
                </a:lnTo>
                <a:lnTo>
                  <a:pt x="79375" y="1006475"/>
                </a:lnTo>
                <a:lnTo>
                  <a:pt x="66675" y="993775"/>
                </a:lnTo>
                <a:lnTo>
                  <a:pt x="53975" y="977900"/>
                </a:lnTo>
                <a:lnTo>
                  <a:pt x="44450" y="958850"/>
                </a:lnTo>
                <a:lnTo>
                  <a:pt x="38100" y="939800"/>
                </a:lnTo>
                <a:lnTo>
                  <a:pt x="38100" y="920750"/>
                </a:lnTo>
                <a:lnTo>
                  <a:pt x="38100" y="898525"/>
                </a:lnTo>
                <a:lnTo>
                  <a:pt x="44450" y="879475"/>
                </a:lnTo>
                <a:lnTo>
                  <a:pt x="53975" y="860425"/>
                </a:lnTo>
                <a:lnTo>
                  <a:pt x="66675" y="844550"/>
                </a:lnTo>
                <a:lnTo>
                  <a:pt x="79375" y="831850"/>
                </a:lnTo>
                <a:lnTo>
                  <a:pt x="98425" y="822325"/>
                </a:lnTo>
                <a:lnTo>
                  <a:pt x="114300" y="815975"/>
                </a:lnTo>
                <a:close/>
                <a:moveTo>
                  <a:pt x="352425" y="698500"/>
                </a:moveTo>
                <a:lnTo>
                  <a:pt x="368300" y="701675"/>
                </a:lnTo>
                <a:lnTo>
                  <a:pt x="381000" y="708025"/>
                </a:lnTo>
                <a:lnTo>
                  <a:pt x="390525" y="720725"/>
                </a:lnTo>
                <a:lnTo>
                  <a:pt x="393700" y="733425"/>
                </a:lnTo>
                <a:lnTo>
                  <a:pt x="390525" y="749300"/>
                </a:lnTo>
                <a:lnTo>
                  <a:pt x="381000" y="762000"/>
                </a:lnTo>
                <a:lnTo>
                  <a:pt x="368300" y="768350"/>
                </a:lnTo>
                <a:lnTo>
                  <a:pt x="352425" y="771525"/>
                </a:lnTo>
                <a:lnTo>
                  <a:pt x="333375" y="768350"/>
                </a:lnTo>
                <a:lnTo>
                  <a:pt x="320675" y="762000"/>
                </a:lnTo>
                <a:lnTo>
                  <a:pt x="311150" y="749300"/>
                </a:lnTo>
                <a:lnTo>
                  <a:pt x="307975" y="733425"/>
                </a:lnTo>
                <a:lnTo>
                  <a:pt x="311150" y="720725"/>
                </a:lnTo>
                <a:lnTo>
                  <a:pt x="320675" y="708025"/>
                </a:lnTo>
                <a:lnTo>
                  <a:pt x="333375" y="701675"/>
                </a:lnTo>
                <a:close/>
                <a:moveTo>
                  <a:pt x="1809750" y="631825"/>
                </a:moveTo>
                <a:lnTo>
                  <a:pt x="1825625" y="631825"/>
                </a:lnTo>
                <a:lnTo>
                  <a:pt x="1841500" y="631825"/>
                </a:lnTo>
                <a:lnTo>
                  <a:pt x="1863725" y="635000"/>
                </a:lnTo>
                <a:lnTo>
                  <a:pt x="1885950" y="644525"/>
                </a:lnTo>
                <a:lnTo>
                  <a:pt x="1895475" y="654050"/>
                </a:lnTo>
                <a:lnTo>
                  <a:pt x="1908175" y="663575"/>
                </a:lnTo>
                <a:lnTo>
                  <a:pt x="1917700" y="679450"/>
                </a:lnTo>
                <a:lnTo>
                  <a:pt x="1927225" y="695325"/>
                </a:lnTo>
                <a:lnTo>
                  <a:pt x="1933575" y="704850"/>
                </a:lnTo>
                <a:lnTo>
                  <a:pt x="1939925" y="720725"/>
                </a:lnTo>
                <a:lnTo>
                  <a:pt x="1943100" y="739775"/>
                </a:lnTo>
                <a:lnTo>
                  <a:pt x="1943100" y="768350"/>
                </a:lnTo>
                <a:lnTo>
                  <a:pt x="1939925" y="800100"/>
                </a:lnTo>
                <a:lnTo>
                  <a:pt x="1930400" y="841375"/>
                </a:lnTo>
                <a:lnTo>
                  <a:pt x="1911350" y="885825"/>
                </a:lnTo>
                <a:lnTo>
                  <a:pt x="1898650" y="914400"/>
                </a:lnTo>
                <a:lnTo>
                  <a:pt x="1882775" y="939800"/>
                </a:lnTo>
                <a:lnTo>
                  <a:pt x="1863725" y="958850"/>
                </a:lnTo>
                <a:lnTo>
                  <a:pt x="1847850" y="974725"/>
                </a:lnTo>
                <a:lnTo>
                  <a:pt x="1828800" y="987425"/>
                </a:lnTo>
                <a:lnTo>
                  <a:pt x="1809750" y="993775"/>
                </a:lnTo>
                <a:lnTo>
                  <a:pt x="1793875" y="996950"/>
                </a:lnTo>
                <a:lnTo>
                  <a:pt x="1778000" y="990600"/>
                </a:lnTo>
                <a:lnTo>
                  <a:pt x="1765300" y="977900"/>
                </a:lnTo>
                <a:lnTo>
                  <a:pt x="1755775" y="962025"/>
                </a:lnTo>
                <a:lnTo>
                  <a:pt x="1749425" y="942975"/>
                </a:lnTo>
                <a:lnTo>
                  <a:pt x="1746250" y="917575"/>
                </a:lnTo>
                <a:lnTo>
                  <a:pt x="1746250" y="892175"/>
                </a:lnTo>
                <a:lnTo>
                  <a:pt x="1749425" y="863600"/>
                </a:lnTo>
                <a:lnTo>
                  <a:pt x="1755775" y="835025"/>
                </a:lnTo>
                <a:lnTo>
                  <a:pt x="1768475" y="803275"/>
                </a:lnTo>
                <a:lnTo>
                  <a:pt x="1771650" y="796925"/>
                </a:lnTo>
                <a:lnTo>
                  <a:pt x="1774825" y="777875"/>
                </a:lnTo>
                <a:lnTo>
                  <a:pt x="1774825" y="752475"/>
                </a:lnTo>
                <a:lnTo>
                  <a:pt x="1774825" y="739775"/>
                </a:lnTo>
                <a:lnTo>
                  <a:pt x="1768475" y="727075"/>
                </a:lnTo>
                <a:lnTo>
                  <a:pt x="1762125" y="717550"/>
                </a:lnTo>
                <a:lnTo>
                  <a:pt x="1758950" y="708025"/>
                </a:lnTo>
                <a:lnTo>
                  <a:pt x="1755775" y="695325"/>
                </a:lnTo>
                <a:lnTo>
                  <a:pt x="1755775" y="682625"/>
                </a:lnTo>
                <a:lnTo>
                  <a:pt x="1762125" y="666750"/>
                </a:lnTo>
                <a:lnTo>
                  <a:pt x="1774825" y="650875"/>
                </a:lnTo>
                <a:lnTo>
                  <a:pt x="1797050" y="638175"/>
                </a:lnTo>
                <a:close/>
                <a:moveTo>
                  <a:pt x="504825" y="593725"/>
                </a:moveTo>
                <a:lnTo>
                  <a:pt x="520700" y="596900"/>
                </a:lnTo>
                <a:lnTo>
                  <a:pt x="536575" y="600075"/>
                </a:lnTo>
                <a:lnTo>
                  <a:pt x="549275" y="606425"/>
                </a:lnTo>
                <a:lnTo>
                  <a:pt x="561975" y="612775"/>
                </a:lnTo>
                <a:lnTo>
                  <a:pt x="571500" y="622300"/>
                </a:lnTo>
                <a:lnTo>
                  <a:pt x="581025" y="631825"/>
                </a:lnTo>
                <a:lnTo>
                  <a:pt x="584200" y="641350"/>
                </a:lnTo>
                <a:lnTo>
                  <a:pt x="587375" y="654050"/>
                </a:lnTo>
                <a:lnTo>
                  <a:pt x="584200" y="666750"/>
                </a:lnTo>
                <a:lnTo>
                  <a:pt x="581025" y="679450"/>
                </a:lnTo>
                <a:lnTo>
                  <a:pt x="571500" y="688975"/>
                </a:lnTo>
                <a:lnTo>
                  <a:pt x="561975" y="698500"/>
                </a:lnTo>
                <a:lnTo>
                  <a:pt x="549275" y="704850"/>
                </a:lnTo>
                <a:lnTo>
                  <a:pt x="536575" y="711200"/>
                </a:lnTo>
                <a:lnTo>
                  <a:pt x="520700" y="714375"/>
                </a:lnTo>
                <a:lnTo>
                  <a:pt x="504825" y="714375"/>
                </a:lnTo>
                <a:lnTo>
                  <a:pt x="488950" y="714375"/>
                </a:lnTo>
                <a:lnTo>
                  <a:pt x="473075" y="711200"/>
                </a:lnTo>
                <a:lnTo>
                  <a:pt x="457200" y="704850"/>
                </a:lnTo>
                <a:lnTo>
                  <a:pt x="444500" y="698500"/>
                </a:lnTo>
                <a:lnTo>
                  <a:pt x="434975" y="688975"/>
                </a:lnTo>
                <a:lnTo>
                  <a:pt x="428625" y="679450"/>
                </a:lnTo>
                <a:lnTo>
                  <a:pt x="422275" y="666750"/>
                </a:lnTo>
                <a:lnTo>
                  <a:pt x="422275" y="654050"/>
                </a:lnTo>
                <a:lnTo>
                  <a:pt x="422275" y="641350"/>
                </a:lnTo>
                <a:lnTo>
                  <a:pt x="428625" y="631825"/>
                </a:lnTo>
                <a:lnTo>
                  <a:pt x="434975" y="622300"/>
                </a:lnTo>
                <a:lnTo>
                  <a:pt x="444500" y="612775"/>
                </a:lnTo>
                <a:lnTo>
                  <a:pt x="457200" y="606425"/>
                </a:lnTo>
                <a:lnTo>
                  <a:pt x="473075" y="600075"/>
                </a:lnTo>
                <a:lnTo>
                  <a:pt x="488950" y="596900"/>
                </a:lnTo>
                <a:close/>
                <a:moveTo>
                  <a:pt x="1581150" y="158750"/>
                </a:moveTo>
                <a:lnTo>
                  <a:pt x="1600200" y="158750"/>
                </a:lnTo>
                <a:lnTo>
                  <a:pt x="1616075" y="165100"/>
                </a:lnTo>
                <a:lnTo>
                  <a:pt x="1635125" y="177800"/>
                </a:lnTo>
                <a:lnTo>
                  <a:pt x="1654175" y="193675"/>
                </a:lnTo>
                <a:lnTo>
                  <a:pt x="1670050" y="215900"/>
                </a:lnTo>
                <a:lnTo>
                  <a:pt x="1685925" y="241300"/>
                </a:lnTo>
                <a:lnTo>
                  <a:pt x="1698625" y="269875"/>
                </a:lnTo>
                <a:lnTo>
                  <a:pt x="1708150" y="298450"/>
                </a:lnTo>
                <a:lnTo>
                  <a:pt x="1714500" y="330200"/>
                </a:lnTo>
                <a:lnTo>
                  <a:pt x="1717675" y="358775"/>
                </a:lnTo>
                <a:lnTo>
                  <a:pt x="1717675" y="387350"/>
                </a:lnTo>
                <a:lnTo>
                  <a:pt x="1714500" y="409575"/>
                </a:lnTo>
                <a:lnTo>
                  <a:pt x="1708150" y="428625"/>
                </a:lnTo>
                <a:lnTo>
                  <a:pt x="1698625" y="444500"/>
                </a:lnTo>
                <a:lnTo>
                  <a:pt x="1685925" y="457200"/>
                </a:lnTo>
                <a:lnTo>
                  <a:pt x="1670050" y="460375"/>
                </a:lnTo>
                <a:lnTo>
                  <a:pt x="1651000" y="460375"/>
                </a:lnTo>
                <a:lnTo>
                  <a:pt x="1631950" y="454025"/>
                </a:lnTo>
                <a:lnTo>
                  <a:pt x="1616075" y="441325"/>
                </a:lnTo>
                <a:lnTo>
                  <a:pt x="1597025" y="422275"/>
                </a:lnTo>
                <a:lnTo>
                  <a:pt x="1581150" y="403225"/>
                </a:lnTo>
                <a:lnTo>
                  <a:pt x="1565275" y="377825"/>
                </a:lnTo>
                <a:lnTo>
                  <a:pt x="1552575" y="349250"/>
                </a:lnTo>
                <a:lnTo>
                  <a:pt x="1543050" y="320675"/>
                </a:lnTo>
                <a:lnTo>
                  <a:pt x="1533525" y="288925"/>
                </a:lnTo>
                <a:lnTo>
                  <a:pt x="1530350" y="260350"/>
                </a:lnTo>
                <a:lnTo>
                  <a:pt x="1530350" y="231775"/>
                </a:lnTo>
                <a:lnTo>
                  <a:pt x="1536700" y="209550"/>
                </a:lnTo>
                <a:lnTo>
                  <a:pt x="1543050" y="190500"/>
                </a:lnTo>
                <a:lnTo>
                  <a:pt x="1552575" y="174625"/>
                </a:lnTo>
                <a:lnTo>
                  <a:pt x="1565275" y="161925"/>
                </a:lnTo>
                <a:close/>
                <a:moveTo>
                  <a:pt x="1212850" y="98425"/>
                </a:moveTo>
                <a:lnTo>
                  <a:pt x="1241425" y="98425"/>
                </a:lnTo>
                <a:lnTo>
                  <a:pt x="1270000" y="101600"/>
                </a:lnTo>
                <a:lnTo>
                  <a:pt x="1292225" y="111125"/>
                </a:lnTo>
                <a:lnTo>
                  <a:pt x="1314450" y="120650"/>
                </a:lnTo>
                <a:lnTo>
                  <a:pt x="1333500" y="130175"/>
                </a:lnTo>
                <a:lnTo>
                  <a:pt x="1358900" y="149225"/>
                </a:lnTo>
                <a:lnTo>
                  <a:pt x="1368425" y="158750"/>
                </a:lnTo>
                <a:lnTo>
                  <a:pt x="1393825" y="180975"/>
                </a:lnTo>
                <a:lnTo>
                  <a:pt x="1419225" y="206375"/>
                </a:lnTo>
                <a:lnTo>
                  <a:pt x="1435100" y="234950"/>
                </a:lnTo>
                <a:lnTo>
                  <a:pt x="1450975" y="260350"/>
                </a:lnTo>
                <a:lnTo>
                  <a:pt x="1460500" y="285750"/>
                </a:lnTo>
                <a:lnTo>
                  <a:pt x="1470025" y="311150"/>
                </a:lnTo>
                <a:lnTo>
                  <a:pt x="1476375" y="333375"/>
                </a:lnTo>
                <a:lnTo>
                  <a:pt x="1476375" y="358775"/>
                </a:lnTo>
                <a:lnTo>
                  <a:pt x="1479550" y="400050"/>
                </a:lnTo>
                <a:lnTo>
                  <a:pt x="1473200" y="431800"/>
                </a:lnTo>
                <a:lnTo>
                  <a:pt x="1466850" y="460375"/>
                </a:lnTo>
                <a:lnTo>
                  <a:pt x="1457325" y="501650"/>
                </a:lnTo>
                <a:lnTo>
                  <a:pt x="1454150" y="533400"/>
                </a:lnTo>
                <a:lnTo>
                  <a:pt x="1454150" y="561975"/>
                </a:lnTo>
                <a:lnTo>
                  <a:pt x="1457325" y="581025"/>
                </a:lnTo>
                <a:lnTo>
                  <a:pt x="1466850" y="596900"/>
                </a:lnTo>
                <a:lnTo>
                  <a:pt x="1473200" y="609600"/>
                </a:lnTo>
                <a:lnTo>
                  <a:pt x="1482725" y="622300"/>
                </a:lnTo>
                <a:lnTo>
                  <a:pt x="1495425" y="631825"/>
                </a:lnTo>
                <a:lnTo>
                  <a:pt x="1508125" y="638175"/>
                </a:lnTo>
                <a:lnTo>
                  <a:pt x="1530350" y="647700"/>
                </a:lnTo>
                <a:lnTo>
                  <a:pt x="1552575" y="650875"/>
                </a:lnTo>
                <a:lnTo>
                  <a:pt x="1571625" y="650875"/>
                </a:lnTo>
                <a:lnTo>
                  <a:pt x="1590675" y="650875"/>
                </a:lnTo>
                <a:lnTo>
                  <a:pt x="1622425" y="650875"/>
                </a:lnTo>
                <a:lnTo>
                  <a:pt x="1647825" y="654050"/>
                </a:lnTo>
                <a:lnTo>
                  <a:pt x="1670050" y="660400"/>
                </a:lnTo>
                <a:lnTo>
                  <a:pt x="1685925" y="666750"/>
                </a:lnTo>
                <a:lnTo>
                  <a:pt x="1695450" y="676275"/>
                </a:lnTo>
                <a:lnTo>
                  <a:pt x="1701800" y="682625"/>
                </a:lnTo>
                <a:lnTo>
                  <a:pt x="1708150" y="688975"/>
                </a:lnTo>
                <a:lnTo>
                  <a:pt x="1714500" y="698500"/>
                </a:lnTo>
                <a:lnTo>
                  <a:pt x="1717675" y="708025"/>
                </a:lnTo>
                <a:lnTo>
                  <a:pt x="1724025" y="727075"/>
                </a:lnTo>
                <a:lnTo>
                  <a:pt x="1724025" y="749300"/>
                </a:lnTo>
                <a:lnTo>
                  <a:pt x="1717675" y="768350"/>
                </a:lnTo>
                <a:lnTo>
                  <a:pt x="1704975" y="800100"/>
                </a:lnTo>
                <a:lnTo>
                  <a:pt x="1698625" y="809625"/>
                </a:lnTo>
                <a:lnTo>
                  <a:pt x="1676400" y="844550"/>
                </a:lnTo>
                <a:lnTo>
                  <a:pt x="1660525" y="873125"/>
                </a:lnTo>
                <a:lnTo>
                  <a:pt x="1651000" y="898525"/>
                </a:lnTo>
                <a:lnTo>
                  <a:pt x="1644650" y="917575"/>
                </a:lnTo>
                <a:lnTo>
                  <a:pt x="1641475" y="936625"/>
                </a:lnTo>
                <a:lnTo>
                  <a:pt x="1641475" y="949325"/>
                </a:lnTo>
                <a:lnTo>
                  <a:pt x="1641475" y="958850"/>
                </a:lnTo>
                <a:lnTo>
                  <a:pt x="1644650" y="974725"/>
                </a:lnTo>
                <a:lnTo>
                  <a:pt x="1647825" y="990600"/>
                </a:lnTo>
                <a:lnTo>
                  <a:pt x="1654175" y="1003300"/>
                </a:lnTo>
                <a:lnTo>
                  <a:pt x="1663700" y="1012825"/>
                </a:lnTo>
                <a:lnTo>
                  <a:pt x="1673225" y="1022350"/>
                </a:lnTo>
                <a:lnTo>
                  <a:pt x="1682750" y="1031875"/>
                </a:lnTo>
                <a:lnTo>
                  <a:pt x="1704975" y="1041400"/>
                </a:lnTo>
                <a:lnTo>
                  <a:pt x="1724025" y="1047750"/>
                </a:lnTo>
                <a:lnTo>
                  <a:pt x="1743075" y="1047750"/>
                </a:lnTo>
                <a:lnTo>
                  <a:pt x="1762125" y="1047750"/>
                </a:lnTo>
                <a:lnTo>
                  <a:pt x="1800225" y="1050925"/>
                </a:lnTo>
                <a:lnTo>
                  <a:pt x="1835150" y="1057275"/>
                </a:lnTo>
                <a:lnTo>
                  <a:pt x="1860550" y="1066800"/>
                </a:lnTo>
                <a:lnTo>
                  <a:pt x="1882775" y="1076325"/>
                </a:lnTo>
                <a:lnTo>
                  <a:pt x="1898650" y="1089025"/>
                </a:lnTo>
                <a:lnTo>
                  <a:pt x="1911350" y="1098550"/>
                </a:lnTo>
                <a:lnTo>
                  <a:pt x="1920875" y="1111250"/>
                </a:lnTo>
                <a:lnTo>
                  <a:pt x="1927225" y="1120775"/>
                </a:lnTo>
                <a:lnTo>
                  <a:pt x="1933575" y="1133475"/>
                </a:lnTo>
                <a:lnTo>
                  <a:pt x="1936750" y="1143000"/>
                </a:lnTo>
                <a:lnTo>
                  <a:pt x="1936750" y="1152525"/>
                </a:lnTo>
                <a:lnTo>
                  <a:pt x="1933575" y="1162050"/>
                </a:lnTo>
                <a:lnTo>
                  <a:pt x="1927225" y="1171575"/>
                </a:lnTo>
                <a:lnTo>
                  <a:pt x="1914525" y="1187450"/>
                </a:lnTo>
                <a:lnTo>
                  <a:pt x="1898650" y="1200150"/>
                </a:lnTo>
                <a:lnTo>
                  <a:pt x="1882775" y="1209675"/>
                </a:lnTo>
                <a:lnTo>
                  <a:pt x="1866900" y="1216025"/>
                </a:lnTo>
                <a:lnTo>
                  <a:pt x="1847850" y="1222375"/>
                </a:lnTo>
                <a:lnTo>
                  <a:pt x="1835150" y="1228725"/>
                </a:lnTo>
                <a:lnTo>
                  <a:pt x="1809750" y="1247775"/>
                </a:lnTo>
                <a:lnTo>
                  <a:pt x="1793875" y="1266825"/>
                </a:lnTo>
                <a:lnTo>
                  <a:pt x="1781175" y="1289050"/>
                </a:lnTo>
                <a:lnTo>
                  <a:pt x="1771650" y="1308100"/>
                </a:lnTo>
                <a:lnTo>
                  <a:pt x="1768475" y="1323975"/>
                </a:lnTo>
                <a:lnTo>
                  <a:pt x="1768475" y="1336675"/>
                </a:lnTo>
                <a:lnTo>
                  <a:pt x="1765300" y="1362075"/>
                </a:lnTo>
                <a:lnTo>
                  <a:pt x="1758950" y="1381125"/>
                </a:lnTo>
                <a:lnTo>
                  <a:pt x="1752600" y="1400175"/>
                </a:lnTo>
                <a:lnTo>
                  <a:pt x="1743075" y="1416050"/>
                </a:lnTo>
                <a:lnTo>
                  <a:pt x="1724025" y="1441450"/>
                </a:lnTo>
                <a:lnTo>
                  <a:pt x="1704975" y="1463675"/>
                </a:lnTo>
                <a:lnTo>
                  <a:pt x="1682750" y="1476375"/>
                </a:lnTo>
                <a:lnTo>
                  <a:pt x="1663700" y="1485900"/>
                </a:lnTo>
                <a:lnTo>
                  <a:pt x="1647825" y="1489075"/>
                </a:lnTo>
                <a:lnTo>
                  <a:pt x="1625600" y="1498600"/>
                </a:lnTo>
                <a:lnTo>
                  <a:pt x="1606550" y="1504950"/>
                </a:lnTo>
                <a:lnTo>
                  <a:pt x="1593850" y="1514475"/>
                </a:lnTo>
                <a:lnTo>
                  <a:pt x="1581150" y="1524000"/>
                </a:lnTo>
                <a:lnTo>
                  <a:pt x="1571625" y="1533525"/>
                </a:lnTo>
                <a:lnTo>
                  <a:pt x="1565275" y="1543050"/>
                </a:lnTo>
                <a:lnTo>
                  <a:pt x="1555750" y="1565275"/>
                </a:lnTo>
                <a:lnTo>
                  <a:pt x="1555750" y="1581150"/>
                </a:lnTo>
                <a:lnTo>
                  <a:pt x="1555750" y="1597025"/>
                </a:lnTo>
                <a:lnTo>
                  <a:pt x="1562100" y="1612900"/>
                </a:lnTo>
                <a:lnTo>
                  <a:pt x="1568450" y="1628775"/>
                </a:lnTo>
                <a:lnTo>
                  <a:pt x="1571625" y="1644650"/>
                </a:lnTo>
                <a:lnTo>
                  <a:pt x="1571625" y="1660525"/>
                </a:lnTo>
                <a:lnTo>
                  <a:pt x="1565275" y="1673225"/>
                </a:lnTo>
                <a:lnTo>
                  <a:pt x="1555750" y="1692275"/>
                </a:lnTo>
                <a:lnTo>
                  <a:pt x="1549400" y="1701800"/>
                </a:lnTo>
                <a:lnTo>
                  <a:pt x="1524000" y="1717675"/>
                </a:lnTo>
                <a:lnTo>
                  <a:pt x="1495425" y="1724025"/>
                </a:lnTo>
                <a:lnTo>
                  <a:pt x="1473200" y="1727200"/>
                </a:lnTo>
                <a:lnTo>
                  <a:pt x="1450975" y="1727200"/>
                </a:lnTo>
                <a:lnTo>
                  <a:pt x="1435100" y="1724025"/>
                </a:lnTo>
                <a:lnTo>
                  <a:pt x="1422400" y="1720850"/>
                </a:lnTo>
                <a:lnTo>
                  <a:pt x="1409700" y="1714500"/>
                </a:lnTo>
                <a:lnTo>
                  <a:pt x="1374775" y="1698625"/>
                </a:lnTo>
                <a:lnTo>
                  <a:pt x="1339850" y="1689100"/>
                </a:lnTo>
                <a:lnTo>
                  <a:pt x="1311275" y="1679575"/>
                </a:lnTo>
                <a:lnTo>
                  <a:pt x="1282700" y="1676400"/>
                </a:lnTo>
                <a:lnTo>
                  <a:pt x="1254125" y="1676400"/>
                </a:lnTo>
                <a:lnTo>
                  <a:pt x="1228725" y="1679575"/>
                </a:lnTo>
                <a:lnTo>
                  <a:pt x="1206500" y="1682750"/>
                </a:lnTo>
                <a:lnTo>
                  <a:pt x="1187450" y="1689100"/>
                </a:lnTo>
                <a:lnTo>
                  <a:pt x="1155700" y="1704975"/>
                </a:lnTo>
                <a:lnTo>
                  <a:pt x="1130300" y="1720850"/>
                </a:lnTo>
                <a:lnTo>
                  <a:pt x="1111250" y="1736725"/>
                </a:lnTo>
                <a:lnTo>
                  <a:pt x="1079500" y="1768475"/>
                </a:lnTo>
                <a:lnTo>
                  <a:pt x="1047750" y="1790700"/>
                </a:lnTo>
                <a:lnTo>
                  <a:pt x="1019175" y="1806575"/>
                </a:lnTo>
                <a:lnTo>
                  <a:pt x="993775" y="1816100"/>
                </a:lnTo>
                <a:lnTo>
                  <a:pt x="971550" y="1819275"/>
                </a:lnTo>
                <a:lnTo>
                  <a:pt x="952500" y="1819275"/>
                </a:lnTo>
                <a:lnTo>
                  <a:pt x="939800" y="1819275"/>
                </a:lnTo>
                <a:lnTo>
                  <a:pt x="908050" y="1812925"/>
                </a:lnTo>
                <a:lnTo>
                  <a:pt x="882650" y="1803400"/>
                </a:lnTo>
                <a:lnTo>
                  <a:pt x="863600" y="1787525"/>
                </a:lnTo>
                <a:lnTo>
                  <a:pt x="850900" y="1774825"/>
                </a:lnTo>
                <a:lnTo>
                  <a:pt x="841375" y="1758950"/>
                </a:lnTo>
                <a:lnTo>
                  <a:pt x="835025" y="1746250"/>
                </a:lnTo>
                <a:lnTo>
                  <a:pt x="831850" y="1736725"/>
                </a:lnTo>
                <a:lnTo>
                  <a:pt x="825500" y="1708150"/>
                </a:lnTo>
                <a:lnTo>
                  <a:pt x="812800" y="1685925"/>
                </a:lnTo>
                <a:lnTo>
                  <a:pt x="800100" y="1670050"/>
                </a:lnTo>
                <a:lnTo>
                  <a:pt x="784225" y="1660525"/>
                </a:lnTo>
                <a:lnTo>
                  <a:pt x="768350" y="1654175"/>
                </a:lnTo>
                <a:lnTo>
                  <a:pt x="755650" y="1651000"/>
                </a:lnTo>
                <a:lnTo>
                  <a:pt x="742950" y="1651000"/>
                </a:lnTo>
                <a:lnTo>
                  <a:pt x="717550" y="1651000"/>
                </a:lnTo>
                <a:lnTo>
                  <a:pt x="698500" y="1644650"/>
                </a:lnTo>
                <a:lnTo>
                  <a:pt x="679450" y="1635125"/>
                </a:lnTo>
                <a:lnTo>
                  <a:pt x="663575" y="1625600"/>
                </a:lnTo>
                <a:lnTo>
                  <a:pt x="654050" y="1612900"/>
                </a:lnTo>
                <a:lnTo>
                  <a:pt x="644525" y="1603375"/>
                </a:lnTo>
                <a:lnTo>
                  <a:pt x="638175" y="1593850"/>
                </a:lnTo>
                <a:lnTo>
                  <a:pt x="628650" y="1577975"/>
                </a:lnTo>
                <a:lnTo>
                  <a:pt x="615950" y="1568450"/>
                </a:lnTo>
                <a:lnTo>
                  <a:pt x="600075" y="1558925"/>
                </a:lnTo>
                <a:lnTo>
                  <a:pt x="587375" y="1552575"/>
                </a:lnTo>
                <a:lnTo>
                  <a:pt x="571500" y="1549400"/>
                </a:lnTo>
                <a:lnTo>
                  <a:pt x="555625" y="1546225"/>
                </a:lnTo>
                <a:lnTo>
                  <a:pt x="523875" y="1546225"/>
                </a:lnTo>
                <a:lnTo>
                  <a:pt x="495300" y="1552575"/>
                </a:lnTo>
                <a:lnTo>
                  <a:pt x="469900" y="1558925"/>
                </a:lnTo>
                <a:lnTo>
                  <a:pt x="447675" y="1568450"/>
                </a:lnTo>
                <a:lnTo>
                  <a:pt x="406400" y="1581150"/>
                </a:lnTo>
                <a:lnTo>
                  <a:pt x="368300" y="1587500"/>
                </a:lnTo>
                <a:lnTo>
                  <a:pt x="333375" y="1590675"/>
                </a:lnTo>
                <a:lnTo>
                  <a:pt x="304800" y="1593850"/>
                </a:lnTo>
                <a:lnTo>
                  <a:pt x="279400" y="1593850"/>
                </a:lnTo>
                <a:lnTo>
                  <a:pt x="254000" y="1590675"/>
                </a:lnTo>
                <a:lnTo>
                  <a:pt x="234950" y="1584325"/>
                </a:lnTo>
                <a:lnTo>
                  <a:pt x="219075" y="1581150"/>
                </a:lnTo>
                <a:lnTo>
                  <a:pt x="193675" y="1565275"/>
                </a:lnTo>
                <a:lnTo>
                  <a:pt x="180975" y="1552575"/>
                </a:lnTo>
                <a:lnTo>
                  <a:pt x="171450" y="1543050"/>
                </a:lnTo>
                <a:lnTo>
                  <a:pt x="168275" y="1536700"/>
                </a:lnTo>
                <a:lnTo>
                  <a:pt x="161925" y="1517650"/>
                </a:lnTo>
                <a:lnTo>
                  <a:pt x="155575" y="1495425"/>
                </a:lnTo>
                <a:lnTo>
                  <a:pt x="152400" y="1476375"/>
                </a:lnTo>
                <a:lnTo>
                  <a:pt x="152400" y="1457325"/>
                </a:lnTo>
                <a:lnTo>
                  <a:pt x="155575" y="1422400"/>
                </a:lnTo>
                <a:lnTo>
                  <a:pt x="165100" y="1390650"/>
                </a:lnTo>
                <a:lnTo>
                  <a:pt x="180975" y="1358900"/>
                </a:lnTo>
                <a:lnTo>
                  <a:pt x="200025" y="1333500"/>
                </a:lnTo>
                <a:lnTo>
                  <a:pt x="225425" y="1308100"/>
                </a:lnTo>
                <a:lnTo>
                  <a:pt x="250825" y="1289050"/>
                </a:lnTo>
                <a:lnTo>
                  <a:pt x="276225" y="1270000"/>
                </a:lnTo>
                <a:lnTo>
                  <a:pt x="304800" y="1254125"/>
                </a:lnTo>
                <a:lnTo>
                  <a:pt x="352425" y="1228725"/>
                </a:lnTo>
                <a:lnTo>
                  <a:pt x="387350" y="1212850"/>
                </a:lnTo>
                <a:lnTo>
                  <a:pt x="403225" y="1209675"/>
                </a:lnTo>
                <a:lnTo>
                  <a:pt x="441325" y="1193800"/>
                </a:lnTo>
                <a:lnTo>
                  <a:pt x="473075" y="1177925"/>
                </a:lnTo>
                <a:lnTo>
                  <a:pt x="495300" y="1158875"/>
                </a:lnTo>
                <a:lnTo>
                  <a:pt x="511175" y="1143000"/>
                </a:lnTo>
                <a:lnTo>
                  <a:pt x="523875" y="1123950"/>
                </a:lnTo>
                <a:lnTo>
                  <a:pt x="530225" y="1111250"/>
                </a:lnTo>
                <a:lnTo>
                  <a:pt x="533400" y="1101725"/>
                </a:lnTo>
                <a:lnTo>
                  <a:pt x="533400" y="1076325"/>
                </a:lnTo>
                <a:lnTo>
                  <a:pt x="527050" y="1060450"/>
                </a:lnTo>
                <a:lnTo>
                  <a:pt x="517525" y="1044575"/>
                </a:lnTo>
                <a:lnTo>
                  <a:pt x="508000" y="1035050"/>
                </a:lnTo>
                <a:lnTo>
                  <a:pt x="498475" y="1028700"/>
                </a:lnTo>
                <a:lnTo>
                  <a:pt x="492125" y="1022350"/>
                </a:lnTo>
                <a:lnTo>
                  <a:pt x="482600" y="1019175"/>
                </a:lnTo>
                <a:lnTo>
                  <a:pt x="454025" y="1012825"/>
                </a:lnTo>
                <a:lnTo>
                  <a:pt x="428625" y="1003300"/>
                </a:lnTo>
                <a:lnTo>
                  <a:pt x="406400" y="993775"/>
                </a:lnTo>
                <a:lnTo>
                  <a:pt x="387350" y="984250"/>
                </a:lnTo>
                <a:lnTo>
                  <a:pt x="358775" y="962025"/>
                </a:lnTo>
                <a:lnTo>
                  <a:pt x="339725" y="939800"/>
                </a:lnTo>
                <a:lnTo>
                  <a:pt x="327025" y="920750"/>
                </a:lnTo>
                <a:lnTo>
                  <a:pt x="320675" y="908050"/>
                </a:lnTo>
                <a:lnTo>
                  <a:pt x="320675" y="892175"/>
                </a:lnTo>
                <a:lnTo>
                  <a:pt x="323850" y="876300"/>
                </a:lnTo>
                <a:lnTo>
                  <a:pt x="333375" y="860425"/>
                </a:lnTo>
                <a:lnTo>
                  <a:pt x="342900" y="847725"/>
                </a:lnTo>
                <a:lnTo>
                  <a:pt x="358775" y="835025"/>
                </a:lnTo>
                <a:lnTo>
                  <a:pt x="377825" y="825500"/>
                </a:lnTo>
                <a:lnTo>
                  <a:pt x="396875" y="819150"/>
                </a:lnTo>
                <a:lnTo>
                  <a:pt x="438150" y="809625"/>
                </a:lnTo>
                <a:lnTo>
                  <a:pt x="482600" y="803275"/>
                </a:lnTo>
                <a:lnTo>
                  <a:pt x="517525" y="800100"/>
                </a:lnTo>
                <a:lnTo>
                  <a:pt x="555625" y="800100"/>
                </a:lnTo>
                <a:lnTo>
                  <a:pt x="581025" y="800100"/>
                </a:lnTo>
                <a:lnTo>
                  <a:pt x="606425" y="796925"/>
                </a:lnTo>
                <a:lnTo>
                  <a:pt x="650875" y="787400"/>
                </a:lnTo>
                <a:lnTo>
                  <a:pt x="682625" y="774700"/>
                </a:lnTo>
                <a:lnTo>
                  <a:pt x="704850" y="758825"/>
                </a:lnTo>
                <a:lnTo>
                  <a:pt x="720725" y="742950"/>
                </a:lnTo>
                <a:lnTo>
                  <a:pt x="730250" y="730250"/>
                </a:lnTo>
                <a:lnTo>
                  <a:pt x="736600" y="717550"/>
                </a:lnTo>
                <a:lnTo>
                  <a:pt x="742950" y="688975"/>
                </a:lnTo>
                <a:lnTo>
                  <a:pt x="742950" y="666750"/>
                </a:lnTo>
                <a:lnTo>
                  <a:pt x="739775" y="647700"/>
                </a:lnTo>
                <a:lnTo>
                  <a:pt x="733425" y="631825"/>
                </a:lnTo>
                <a:lnTo>
                  <a:pt x="727075" y="619125"/>
                </a:lnTo>
                <a:lnTo>
                  <a:pt x="717550" y="609600"/>
                </a:lnTo>
                <a:lnTo>
                  <a:pt x="711200" y="603250"/>
                </a:lnTo>
                <a:lnTo>
                  <a:pt x="685800" y="574675"/>
                </a:lnTo>
                <a:lnTo>
                  <a:pt x="666750" y="549275"/>
                </a:lnTo>
                <a:lnTo>
                  <a:pt x="657225" y="527050"/>
                </a:lnTo>
                <a:lnTo>
                  <a:pt x="654050" y="504825"/>
                </a:lnTo>
                <a:lnTo>
                  <a:pt x="650875" y="485775"/>
                </a:lnTo>
                <a:lnTo>
                  <a:pt x="654050" y="469900"/>
                </a:lnTo>
                <a:lnTo>
                  <a:pt x="657225" y="457200"/>
                </a:lnTo>
                <a:lnTo>
                  <a:pt x="663575" y="441325"/>
                </a:lnTo>
                <a:lnTo>
                  <a:pt x="673100" y="428625"/>
                </a:lnTo>
                <a:lnTo>
                  <a:pt x="682625" y="419100"/>
                </a:lnTo>
                <a:lnTo>
                  <a:pt x="692150" y="409575"/>
                </a:lnTo>
                <a:lnTo>
                  <a:pt x="704850" y="406400"/>
                </a:lnTo>
                <a:lnTo>
                  <a:pt x="717550" y="403225"/>
                </a:lnTo>
                <a:lnTo>
                  <a:pt x="746125" y="400050"/>
                </a:lnTo>
                <a:lnTo>
                  <a:pt x="768350" y="403225"/>
                </a:lnTo>
                <a:lnTo>
                  <a:pt x="790575" y="409575"/>
                </a:lnTo>
                <a:lnTo>
                  <a:pt x="809625" y="415925"/>
                </a:lnTo>
                <a:lnTo>
                  <a:pt x="828675" y="419100"/>
                </a:lnTo>
                <a:lnTo>
                  <a:pt x="847725" y="422275"/>
                </a:lnTo>
                <a:lnTo>
                  <a:pt x="866775" y="419100"/>
                </a:lnTo>
                <a:lnTo>
                  <a:pt x="882650" y="412750"/>
                </a:lnTo>
                <a:lnTo>
                  <a:pt x="898525" y="406400"/>
                </a:lnTo>
                <a:lnTo>
                  <a:pt x="914400" y="400050"/>
                </a:lnTo>
                <a:lnTo>
                  <a:pt x="939800" y="377825"/>
                </a:lnTo>
                <a:lnTo>
                  <a:pt x="958850" y="355600"/>
                </a:lnTo>
                <a:lnTo>
                  <a:pt x="974725" y="336550"/>
                </a:lnTo>
                <a:lnTo>
                  <a:pt x="987425" y="317500"/>
                </a:lnTo>
                <a:lnTo>
                  <a:pt x="1019175" y="254000"/>
                </a:lnTo>
                <a:lnTo>
                  <a:pt x="1054100" y="203200"/>
                </a:lnTo>
                <a:lnTo>
                  <a:pt x="1085850" y="165100"/>
                </a:lnTo>
                <a:lnTo>
                  <a:pt x="1120775" y="136525"/>
                </a:lnTo>
                <a:lnTo>
                  <a:pt x="1152525" y="117475"/>
                </a:lnTo>
                <a:lnTo>
                  <a:pt x="1184275" y="104775"/>
                </a:lnTo>
                <a:close/>
                <a:moveTo>
                  <a:pt x="958850" y="0"/>
                </a:moveTo>
                <a:lnTo>
                  <a:pt x="981075" y="3175"/>
                </a:lnTo>
                <a:lnTo>
                  <a:pt x="1000125" y="12700"/>
                </a:lnTo>
                <a:lnTo>
                  <a:pt x="1012825" y="25400"/>
                </a:lnTo>
                <a:lnTo>
                  <a:pt x="1022350" y="44450"/>
                </a:lnTo>
                <a:lnTo>
                  <a:pt x="1028700" y="63500"/>
                </a:lnTo>
                <a:lnTo>
                  <a:pt x="1028700" y="88900"/>
                </a:lnTo>
                <a:lnTo>
                  <a:pt x="1025525" y="114300"/>
                </a:lnTo>
                <a:lnTo>
                  <a:pt x="1016000" y="142875"/>
                </a:lnTo>
                <a:lnTo>
                  <a:pt x="1003300" y="171450"/>
                </a:lnTo>
                <a:lnTo>
                  <a:pt x="984250" y="196850"/>
                </a:lnTo>
                <a:lnTo>
                  <a:pt x="965200" y="222250"/>
                </a:lnTo>
                <a:lnTo>
                  <a:pt x="939800" y="244475"/>
                </a:lnTo>
                <a:lnTo>
                  <a:pt x="917575" y="263525"/>
                </a:lnTo>
                <a:lnTo>
                  <a:pt x="892175" y="276225"/>
                </a:lnTo>
                <a:lnTo>
                  <a:pt x="866775" y="282575"/>
                </a:lnTo>
                <a:lnTo>
                  <a:pt x="844550" y="285750"/>
                </a:lnTo>
                <a:lnTo>
                  <a:pt x="822325" y="282575"/>
                </a:lnTo>
                <a:lnTo>
                  <a:pt x="806450" y="273050"/>
                </a:lnTo>
                <a:lnTo>
                  <a:pt x="790575" y="260350"/>
                </a:lnTo>
                <a:lnTo>
                  <a:pt x="781050" y="241300"/>
                </a:lnTo>
                <a:lnTo>
                  <a:pt x="774700" y="222250"/>
                </a:lnTo>
                <a:lnTo>
                  <a:pt x="774700" y="196850"/>
                </a:lnTo>
                <a:lnTo>
                  <a:pt x="777875" y="171450"/>
                </a:lnTo>
                <a:lnTo>
                  <a:pt x="787400" y="142875"/>
                </a:lnTo>
                <a:lnTo>
                  <a:pt x="800100" y="114300"/>
                </a:lnTo>
                <a:lnTo>
                  <a:pt x="819150" y="88900"/>
                </a:lnTo>
                <a:lnTo>
                  <a:pt x="841375" y="63500"/>
                </a:lnTo>
                <a:lnTo>
                  <a:pt x="863600" y="41275"/>
                </a:lnTo>
                <a:lnTo>
                  <a:pt x="889000" y="22225"/>
                </a:lnTo>
                <a:lnTo>
                  <a:pt x="911225" y="9525"/>
                </a:lnTo>
                <a:lnTo>
                  <a:pt x="936625" y="317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41" name="Content Placeholder 2"/>
          <p:cNvSpPr txBox="1">
            <a:spLocks/>
          </p:cNvSpPr>
          <p:nvPr/>
        </p:nvSpPr>
        <p:spPr>
          <a:xfrm>
            <a:off x="11312157" y="5667903"/>
            <a:ext cx="626741" cy="341075"/>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lang="en-US" sz="1050" b="1" dirty="0">
                <a:solidFill>
                  <a:schemeClr val="tx1">
                    <a:lumMod val="85000"/>
                    <a:lumOff val="15000"/>
                  </a:schemeClr>
                </a:solidFill>
                <a:ea typeface="Open Sans Light" panose="020B0306030504020204" pitchFamily="34" charset="0"/>
                <a:cs typeface="Open Sans Light" panose="020B0306030504020204" pitchFamily="34" charset="0"/>
              </a:rPr>
              <a:t>1524K</a:t>
            </a:r>
            <a:endParaRPr lang="id-ID" sz="1050" b="1" dirty="0">
              <a:solidFill>
                <a:schemeClr val="tx1">
                  <a:lumMod val="85000"/>
                  <a:lumOff val="15000"/>
                </a:schemeClr>
              </a:solidFill>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705565218"/>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Freeform 34"/>
          <p:cNvSpPr>
            <a:spLocks/>
          </p:cNvSpPr>
          <p:nvPr/>
        </p:nvSpPr>
        <p:spPr bwMode="auto">
          <a:xfrm>
            <a:off x="8163824" y="4729458"/>
            <a:ext cx="932718" cy="1057690"/>
          </a:xfrm>
          <a:custGeom>
            <a:avLst/>
            <a:gdLst>
              <a:gd name="connsiteX0" fmla="*/ 1273175 w 1943100"/>
              <a:gd name="connsiteY0" fmla="*/ 1971675 h 2203450"/>
              <a:gd name="connsiteX1" fmla="*/ 1298575 w 1943100"/>
              <a:gd name="connsiteY1" fmla="*/ 1974850 h 2203450"/>
              <a:gd name="connsiteX2" fmla="*/ 1323975 w 1943100"/>
              <a:gd name="connsiteY2" fmla="*/ 1981200 h 2203450"/>
              <a:gd name="connsiteX3" fmla="*/ 1346200 w 1943100"/>
              <a:gd name="connsiteY3" fmla="*/ 1990725 h 2203450"/>
              <a:gd name="connsiteX4" fmla="*/ 1365250 w 1943100"/>
              <a:gd name="connsiteY4" fmla="*/ 2006600 h 2203450"/>
              <a:gd name="connsiteX5" fmla="*/ 1381125 w 1943100"/>
              <a:gd name="connsiteY5" fmla="*/ 2022475 h 2203450"/>
              <a:gd name="connsiteX6" fmla="*/ 1393825 w 1943100"/>
              <a:gd name="connsiteY6" fmla="*/ 2041525 h 2203450"/>
              <a:gd name="connsiteX7" fmla="*/ 1400175 w 1943100"/>
              <a:gd name="connsiteY7" fmla="*/ 2063750 h 2203450"/>
              <a:gd name="connsiteX8" fmla="*/ 1403350 w 1943100"/>
              <a:gd name="connsiteY8" fmla="*/ 2089150 h 2203450"/>
              <a:gd name="connsiteX9" fmla="*/ 1400175 w 1943100"/>
              <a:gd name="connsiteY9" fmla="*/ 2111375 h 2203450"/>
              <a:gd name="connsiteX10" fmla="*/ 1393825 w 1943100"/>
              <a:gd name="connsiteY10" fmla="*/ 2133600 h 2203450"/>
              <a:gd name="connsiteX11" fmla="*/ 1381125 w 1943100"/>
              <a:gd name="connsiteY11" fmla="*/ 2152650 h 2203450"/>
              <a:gd name="connsiteX12" fmla="*/ 1365250 w 1943100"/>
              <a:gd name="connsiteY12" fmla="*/ 2168525 h 2203450"/>
              <a:gd name="connsiteX13" fmla="*/ 1346200 w 1943100"/>
              <a:gd name="connsiteY13" fmla="*/ 2184400 h 2203450"/>
              <a:gd name="connsiteX14" fmla="*/ 1323975 w 1943100"/>
              <a:gd name="connsiteY14" fmla="*/ 2193925 h 2203450"/>
              <a:gd name="connsiteX15" fmla="*/ 1298575 w 1943100"/>
              <a:gd name="connsiteY15" fmla="*/ 2200275 h 2203450"/>
              <a:gd name="connsiteX16" fmla="*/ 1273175 w 1943100"/>
              <a:gd name="connsiteY16" fmla="*/ 2203450 h 2203450"/>
              <a:gd name="connsiteX17" fmla="*/ 1244600 w 1943100"/>
              <a:gd name="connsiteY17" fmla="*/ 2200275 h 2203450"/>
              <a:gd name="connsiteX18" fmla="*/ 1222375 w 1943100"/>
              <a:gd name="connsiteY18" fmla="*/ 2193925 h 2203450"/>
              <a:gd name="connsiteX19" fmla="*/ 1200150 w 1943100"/>
              <a:gd name="connsiteY19" fmla="*/ 2184400 h 2203450"/>
              <a:gd name="connsiteX20" fmla="*/ 1177925 w 1943100"/>
              <a:gd name="connsiteY20" fmla="*/ 2168525 h 2203450"/>
              <a:gd name="connsiteX21" fmla="*/ 1162050 w 1943100"/>
              <a:gd name="connsiteY21" fmla="*/ 2152650 h 2203450"/>
              <a:gd name="connsiteX22" fmla="*/ 1152525 w 1943100"/>
              <a:gd name="connsiteY22" fmla="*/ 2133600 h 2203450"/>
              <a:gd name="connsiteX23" fmla="*/ 1143000 w 1943100"/>
              <a:gd name="connsiteY23" fmla="*/ 2111375 h 2203450"/>
              <a:gd name="connsiteX24" fmla="*/ 1139825 w 1943100"/>
              <a:gd name="connsiteY24" fmla="*/ 2089150 h 2203450"/>
              <a:gd name="connsiteX25" fmla="*/ 1143000 w 1943100"/>
              <a:gd name="connsiteY25" fmla="*/ 2063750 h 2203450"/>
              <a:gd name="connsiteX26" fmla="*/ 1152525 w 1943100"/>
              <a:gd name="connsiteY26" fmla="*/ 2041525 h 2203450"/>
              <a:gd name="connsiteX27" fmla="*/ 1162050 w 1943100"/>
              <a:gd name="connsiteY27" fmla="*/ 2022475 h 2203450"/>
              <a:gd name="connsiteX28" fmla="*/ 1177925 w 1943100"/>
              <a:gd name="connsiteY28" fmla="*/ 2006600 h 2203450"/>
              <a:gd name="connsiteX29" fmla="*/ 1200150 w 1943100"/>
              <a:gd name="connsiteY29" fmla="*/ 1990725 h 2203450"/>
              <a:gd name="connsiteX30" fmla="*/ 1222375 w 1943100"/>
              <a:gd name="connsiteY30" fmla="*/ 1981200 h 2203450"/>
              <a:gd name="connsiteX31" fmla="*/ 1244600 w 1943100"/>
              <a:gd name="connsiteY31" fmla="*/ 1974850 h 2203450"/>
              <a:gd name="connsiteX32" fmla="*/ 1498600 w 1943100"/>
              <a:gd name="connsiteY32" fmla="*/ 1819275 h 2203450"/>
              <a:gd name="connsiteX33" fmla="*/ 1530350 w 1943100"/>
              <a:gd name="connsiteY33" fmla="*/ 1822450 h 2203450"/>
              <a:gd name="connsiteX34" fmla="*/ 1562100 w 1943100"/>
              <a:gd name="connsiteY34" fmla="*/ 1825625 h 2203450"/>
              <a:gd name="connsiteX35" fmla="*/ 1587500 w 1943100"/>
              <a:gd name="connsiteY35" fmla="*/ 1831975 h 2203450"/>
              <a:gd name="connsiteX36" fmla="*/ 1612900 w 1943100"/>
              <a:gd name="connsiteY36" fmla="*/ 1841500 h 2203450"/>
              <a:gd name="connsiteX37" fmla="*/ 1631950 w 1943100"/>
              <a:gd name="connsiteY37" fmla="*/ 1854200 h 2203450"/>
              <a:gd name="connsiteX38" fmla="*/ 1647825 w 1943100"/>
              <a:gd name="connsiteY38" fmla="*/ 1866900 h 2203450"/>
              <a:gd name="connsiteX39" fmla="*/ 1657350 w 1943100"/>
              <a:gd name="connsiteY39" fmla="*/ 1879600 h 2203450"/>
              <a:gd name="connsiteX40" fmla="*/ 1660525 w 1943100"/>
              <a:gd name="connsiteY40" fmla="*/ 1895475 h 2203450"/>
              <a:gd name="connsiteX41" fmla="*/ 1657350 w 1943100"/>
              <a:gd name="connsiteY41" fmla="*/ 1911350 h 2203450"/>
              <a:gd name="connsiteX42" fmla="*/ 1647825 w 1943100"/>
              <a:gd name="connsiteY42" fmla="*/ 1924050 h 2203450"/>
              <a:gd name="connsiteX43" fmla="*/ 1631950 w 1943100"/>
              <a:gd name="connsiteY43" fmla="*/ 1939925 h 2203450"/>
              <a:gd name="connsiteX44" fmla="*/ 1612900 w 1943100"/>
              <a:gd name="connsiteY44" fmla="*/ 1949450 h 2203450"/>
              <a:gd name="connsiteX45" fmla="*/ 1587500 w 1943100"/>
              <a:gd name="connsiteY45" fmla="*/ 1958975 h 2203450"/>
              <a:gd name="connsiteX46" fmla="*/ 1562100 w 1943100"/>
              <a:gd name="connsiteY46" fmla="*/ 1965325 h 2203450"/>
              <a:gd name="connsiteX47" fmla="*/ 1530350 w 1943100"/>
              <a:gd name="connsiteY47" fmla="*/ 1971675 h 2203450"/>
              <a:gd name="connsiteX48" fmla="*/ 1498600 w 1943100"/>
              <a:gd name="connsiteY48" fmla="*/ 1971675 h 2203450"/>
              <a:gd name="connsiteX49" fmla="*/ 1466850 w 1943100"/>
              <a:gd name="connsiteY49" fmla="*/ 1971675 h 2203450"/>
              <a:gd name="connsiteX50" fmla="*/ 1435100 w 1943100"/>
              <a:gd name="connsiteY50" fmla="*/ 1965325 h 2203450"/>
              <a:gd name="connsiteX51" fmla="*/ 1409700 w 1943100"/>
              <a:gd name="connsiteY51" fmla="*/ 1958975 h 2203450"/>
              <a:gd name="connsiteX52" fmla="*/ 1384300 w 1943100"/>
              <a:gd name="connsiteY52" fmla="*/ 1949450 h 2203450"/>
              <a:gd name="connsiteX53" fmla="*/ 1365250 w 1943100"/>
              <a:gd name="connsiteY53" fmla="*/ 1939925 h 2203450"/>
              <a:gd name="connsiteX54" fmla="*/ 1349375 w 1943100"/>
              <a:gd name="connsiteY54" fmla="*/ 1924050 h 2203450"/>
              <a:gd name="connsiteX55" fmla="*/ 1339850 w 1943100"/>
              <a:gd name="connsiteY55" fmla="*/ 1911350 h 2203450"/>
              <a:gd name="connsiteX56" fmla="*/ 1336675 w 1943100"/>
              <a:gd name="connsiteY56" fmla="*/ 1895475 h 2203450"/>
              <a:gd name="connsiteX57" fmla="*/ 1339850 w 1943100"/>
              <a:gd name="connsiteY57" fmla="*/ 1879600 h 2203450"/>
              <a:gd name="connsiteX58" fmla="*/ 1349375 w 1943100"/>
              <a:gd name="connsiteY58" fmla="*/ 1866900 h 2203450"/>
              <a:gd name="connsiteX59" fmla="*/ 1365250 w 1943100"/>
              <a:gd name="connsiteY59" fmla="*/ 1854200 h 2203450"/>
              <a:gd name="connsiteX60" fmla="*/ 1384300 w 1943100"/>
              <a:gd name="connsiteY60" fmla="*/ 1841500 h 2203450"/>
              <a:gd name="connsiteX61" fmla="*/ 1409700 w 1943100"/>
              <a:gd name="connsiteY61" fmla="*/ 1831975 h 2203450"/>
              <a:gd name="connsiteX62" fmla="*/ 1435100 w 1943100"/>
              <a:gd name="connsiteY62" fmla="*/ 1825625 h 2203450"/>
              <a:gd name="connsiteX63" fmla="*/ 1466850 w 1943100"/>
              <a:gd name="connsiteY63" fmla="*/ 1822450 h 2203450"/>
              <a:gd name="connsiteX64" fmla="*/ 752475 w 1943100"/>
              <a:gd name="connsiteY64" fmla="*/ 1781175 h 2203450"/>
              <a:gd name="connsiteX65" fmla="*/ 762000 w 1943100"/>
              <a:gd name="connsiteY65" fmla="*/ 1784350 h 2203450"/>
              <a:gd name="connsiteX66" fmla="*/ 768350 w 1943100"/>
              <a:gd name="connsiteY66" fmla="*/ 1787525 h 2203450"/>
              <a:gd name="connsiteX67" fmla="*/ 777875 w 1943100"/>
              <a:gd name="connsiteY67" fmla="*/ 1790700 h 2203450"/>
              <a:gd name="connsiteX68" fmla="*/ 784225 w 1943100"/>
              <a:gd name="connsiteY68" fmla="*/ 1800225 h 2203450"/>
              <a:gd name="connsiteX69" fmla="*/ 793750 w 1943100"/>
              <a:gd name="connsiteY69" fmla="*/ 1816100 h 2203450"/>
              <a:gd name="connsiteX70" fmla="*/ 796925 w 1943100"/>
              <a:gd name="connsiteY70" fmla="*/ 1838325 h 2203450"/>
              <a:gd name="connsiteX71" fmla="*/ 793750 w 1943100"/>
              <a:gd name="connsiteY71" fmla="*/ 1860550 h 2203450"/>
              <a:gd name="connsiteX72" fmla="*/ 784225 w 1943100"/>
              <a:gd name="connsiteY72" fmla="*/ 1879600 h 2203450"/>
              <a:gd name="connsiteX73" fmla="*/ 777875 w 1943100"/>
              <a:gd name="connsiteY73" fmla="*/ 1885950 h 2203450"/>
              <a:gd name="connsiteX74" fmla="*/ 768350 w 1943100"/>
              <a:gd name="connsiteY74" fmla="*/ 1889125 h 2203450"/>
              <a:gd name="connsiteX75" fmla="*/ 762000 w 1943100"/>
              <a:gd name="connsiteY75" fmla="*/ 1892300 h 2203450"/>
              <a:gd name="connsiteX76" fmla="*/ 752475 w 1943100"/>
              <a:gd name="connsiteY76" fmla="*/ 1895475 h 2203450"/>
              <a:gd name="connsiteX77" fmla="*/ 742950 w 1943100"/>
              <a:gd name="connsiteY77" fmla="*/ 1892300 h 2203450"/>
              <a:gd name="connsiteX78" fmla="*/ 736600 w 1943100"/>
              <a:gd name="connsiteY78" fmla="*/ 1889125 h 2203450"/>
              <a:gd name="connsiteX79" fmla="*/ 727075 w 1943100"/>
              <a:gd name="connsiteY79" fmla="*/ 1885950 h 2203450"/>
              <a:gd name="connsiteX80" fmla="*/ 720725 w 1943100"/>
              <a:gd name="connsiteY80" fmla="*/ 1879600 h 2203450"/>
              <a:gd name="connsiteX81" fmla="*/ 711200 w 1943100"/>
              <a:gd name="connsiteY81" fmla="*/ 1860550 h 2203450"/>
              <a:gd name="connsiteX82" fmla="*/ 708025 w 1943100"/>
              <a:gd name="connsiteY82" fmla="*/ 1838325 h 2203450"/>
              <a:gd name="connsiteX83" fmla="*/ 711200 w 1943100"/>
              <a:gd name="connsiteY83" fmla="*/ 1816100 h 2203450"/>
              <a:gd name="connsiteX84" fmla="*/ 720725 w 1943100"/>
              <a:gd name="connsiteY84" fmla="*/ 1800225 h 2203450"/>
              <a:gd name="connsiteX85" fmla="*/ 727075 w 1943100"/>
              <a:gd name="connsiteY85" fmla="*/ 1790700 h 2203450"/>
              <a:gd name="connsiteX86" fmla="*/ 736600 w 1943100"/>
              <a:gd name="connsiteY86" fmla="*/ 1787525 h 2203450"/>
              <a:gd name="connsiteX87" fmla="*/ 742950 w 1943100"/>
              <a:gd name="connsiteY87" fmla="*/ 1784350 h 2203450"/>
              <a:gd name="connsiteX88" fmla="*/ 492125 w 1943100"/>
              <a:gd name="connsiteY88" fmla="*/ 1670050 h 2203450"/>
              <a:gd name="connsiteX89" fmla="*/ 520700 w 1943100"/>
              <a:gd name="connsiteY89" fmla="*/ 1673225 h 2203450"/>
              <a:gd name="connsiteX90" fmla="*/ 546100 w 1943100"/>
              <a:gd name="connsiteY90" fmla="*/ 1679575 h 2203450"/>
              <a:gd name="connsiteX91" fmla="*/ 568325 w 1943100"/>
              <a:gd name="connsiteY91" fmla="*/ 1689100 h 2203450"/>
              <a:gd name="connsiteX92" fmla="*/ 590550 w 1943100"/>
              <a:gd name="connsiteY92" fmla="*/ 1704975 h 2203450"/>
              <a:gd name="connsiteX93" fmla="*/ 606425 w 1943100"/>
              <a:gd name="connsiteY93" fmla="*/ 1720850 h 2203450"/>
              <a:gd name="connsiteX94" fmla="*/ 619125 w 1943100"/>
              <a:gd name="connsiteY94" fmla="*/ 1739900 h 2203450"/>
              <a:gd name="connsiteX95" fmla="*/ 628650 w 1943100"/>
              <a:gd name="connsiteY95" fmla="*/ 1758950 h 2203450"/>
              <a:gd name="connsiteX96" fmla="*/ 631825 w 1943100"/>
              <a:gd name="connsiteY96" fmla="*/ 1781175 h 2203450"/>
              <a:gd name="connsiteX97" fmla="*/ 628650 w 1943100"/>
              <a:gd name="connsiteY97" fmla="*/ 1806575 h 2203450"/>
              <a:gd name="connsiteX98" fmla="*/ 619125 w 1943100"/>
              <a:gd name="connsiteY98" fmla="*/ 1825625 h 2203450"/>
              <a:gd name="connsiteX99" fmla="*/ 606425 w 1943100"/>
              <a:gd name="connsiteY99" fmla="*/ 1844675 h 2203450"/>
              <a:gd name="connsiteX100" fmla="*/ 590550 w 1943100"/>
              <a:gd name="connsiteY100" fmla="*/ 1860550 h 2203450"/>
              <a:gd name="connsiteX101" fmla="*/ 568325 w 1943100"/>
              <a:gd name="connsiteY101" fmla="*/ 1876425 h 2203450"/>
              <a:gd name="connsiteX102" fmla="*/ 546100 w 1943100"/>
              <a:gd name="connsiteY102" fmla="*/ 1885950 h 2203450"/>
              <a:gd name="connsiteX103" fmla="*/ 520700 w 1943100"/>
              <a:gd name="connsiteY103" fmla="*/ 1892300 h 2203450"/>
              <a:gd name="connsiteX104" fmla="*/ 492125 w 1943100"/>
              <a:gd name="connsiteY104" fmla="*/ 1895475 h 2203450"/>
              <a:gd name="connsiteX105" fmla="*/ 463550 w 1943100"/>
              <a:gd name="connsiteY105" fmla="*/ 1892300 h 2203450"/>
              <a:gd name="connsiteX106" fmla="*/ 438150 w 1943100"/>
              <a:gd name="connsiteY106" fmla="*/ 1885950 h 2203450"/>
              <a:gd name="connsiteX107" fmla="*/ 412750 w 1943100"/>
              <a:gd name="connsiteY107" fmla="*/ 1876425 h 2203450"/>
              <a:gd name="connsiteX108" fmla="*/ 393700 w 1943100"/>
              <a:gd name="connsiteY108" fmla="*/ 1860550 h 2203450"/>
              <a:gd name="connsiteX109" fmla="*/ 374650 w 1943100"/>
              <a:gd name="connsiteY109" fmla="*/ 1844675 h 2203450"/>
              <a:gd name="connsiteX110" fmla="*/ 361950 w 1943100"/>
              <a:gd name="connsiteY110" fmla="*/ 1825625 h 2203450"/>
              <a:gd name="connsiteX111" fmla="*/ 355600 w 1943100"/>
              <a:gd name="connsiteY111" fmla="*/ 1806575 h 2203450"/>
              <a:gd name="connsiteX112" fmla="*/ 352425 w 1943100"/>
              <a:gd name="connsiteY112" fmla="*/ 1781175 h 2203450"/>
              <a:gd name="connsiteX113" fmla="*/ 355600 w 1943100"/>
              <a:gd name="connsiteY113" fmla="*/ 1758950 h 2203450"/>
              <a:gd name="connsiteX114" fmla="*/ 361950 w 1943100"/>
              <a:gd name="connsiteY114" fmla="*/ 1739900 h 2203450"/>
              <a:gd name="connsiteX115" fmla="*/ 374650 w 1943100"/>
              <a:gd name="connsiteY115" fmla="*/ 1720850 h 2203450"/>
              <a:gd name="connsiteX116" fmla="*/ 393700 w 1943100"/>
              <a:gd name="connsiteY116" fmla="*/ 1704975 h 2203450"/>
              <a:gd name="connsiteX117" fmla="*/ 412750 w 1943100"/>
              <a:gd name="connsiteY117" fmla="*/ 1689100 h 2203450"/>
              <a:gd name="connsiteX118" fmla="*/ 438150 w 1943100"/>
              <a:gd name="connsiteY118" fmla="*/ 1679575 h 2203450"/>
              <a:gd name="connsiteX119" fmla="*/ 463550 w 1943100"/>
              <a:gd name="connsiteY119" fmla="*/ 1673225 h 2203450"/>
              <a:gd name="connsiteX120" fmla="*/ 212725 w 1943100"/>
              <a:gd name="connsiteY120" fmla="*/ 1670050 h 2203450"/>
              <a:gd name="connsiteX121" fmla="*/ 228600 w 1943100"/>
              <a:gd name="connsiteY121" fmla="*/ 1673225 h 2203450"/>
              <a:gd name="connsiteX122" fmla="*/ 244475 w 1943100"/>
              <a:gd name="connsiteY122" fmla="*/ 1676400 h 2203450"/>
              <a:gd name="connsiteX123" fmla="*/ 257175 w 1943100"/>
              <a:gd name="connsiteY123" fmla="*/ 1679575 h 2203450"/>
              <a:gd name="connsiteX124" fmla="*/ 266700 w 1943100"/>
              <a:gd name="connsiteY124" fmla="*/ 1685925 h 2203450"/>
              <a:gd name="connsiteX125" fmla="*/ 276225 w 1943100"/>
              <a:gd name="connsiteY125" fmla="*/ 1692275 h 2203450"/>
              <a:gd name="connsiteX126" fmla="*/ 285750 w 1943100"/>
              <a:gd name="connsiteY126" fmla="*/ 1701800 h 2203450"/>
              <a:gd name="connsiteX127" fmla="*/ 288925 w 1943100"/>
              <a:gd name="connsiteY127" fmla="*/ 1711325 h 2203450"/>
              <a:gd name="connsiteX128" fmla="*/ 288925 w 1943100"/>
              <a:gd name="connsiteY128" fmla="*/ 1724025 h 2203450"/>
              <a:gd name="connsiteX129" fmla="*/ 288925 w 1943100"/>
              <a:gd name="connsiteY129" fmla="*/ 1733550 h 2203450"/>
              <a:gd name="connsiteX130" fmla="*/ 285750 w 1943100"/>
              <a:gd name="connsiteY130" fmla="*/ 1743075 h 2203450"/>
              <a:gd name="connsiteX131" fmla="*/ 276225 w 1943100"/>
              <a:gd name="connsiteY131" fmla="*/ 1752600 h 2203450"/>
              <a:gd name="connsiteX132" fmla="*/ 266700 w 1943100"/>
              <a:gd name="connsiteY132" fmla="*/ 1758950 h 2203450"/>
              <a:gd name="connsiteX133" fmla="*/ 257175 w 1943100"/>
              <a:gd name="connsiteY133" fmla="*/ 1765300 h 2203450"/>
              <a:gd name="connsiteX134" fmla="*/ 244475 w 1943100"/>
              <a:gd name="connsiteY134" fmla="*/ 1771650 h 2203450"/>
              <a:gd name="connsiteX135" fmla="*/ 228600 w 1943100"/>
              <a:gd name="connsiteY135" fmla="*/ 1774825 h 2203450"/>
              <a:gd name="connsiteX136" fmla="*/ 212725 w 1943100"/>
              <a:gd name="connsiteY136" fmla="*/ 1774825 h 2203450"/>
              <a:gd name="connsiteX137" fmla="*/ 196850 w 1943100"/>
              <a:gd name="connsiteY137" fmla="*/ 1774825 h 2203450"/>
              <a:gd name="connsiteX138" fmla="*/ 184150 w 1943100"/>
              <a:gd name="connsiteY138" fmla="*/ 1771650 h 2203450"/>
              <a:gd name="connsiteX139" fmla="*/ 168275 w 1943100"/>
              <a:gd name="connsiteY139" fmla="*/ 1765300 h 2203450"/>
              <a:gd name="connsiteX140" fmla="*/ 158750 w 1943100"/>
              <a:gd name="connsiteY140" fmla="*/ 1758950 h 2203450"/>
              <a:gd name="connsiteX141" fmla="*/ 149225 w 1943100"/>
              <a:gd name="connsiteY141" fmla="*/ 1752600 h 2203450"/>
              <a:gd name="connsiteX142" fmla="*/ 142875 w 1943100"/>
              <a:gd name="connsiteY142" fmla="*/ 1743075 h 2203450"/>
              <a:gd name="connsiteX143" fmla="*/ 136525 w 1943100"/>
              <a:gd name="connsiteY143" fmla="*/ 1733550 h 2203450"/>
              <a:gd name="connsiteX144" fmla="*/ 136525 w 1943100"/>
              <a:gd name="connsiteY144" fmla="*/ 1724025 h 2203450"/>
              <a:gd name="connsiteX145" fmla="*/ 136525 w 1943100"/>
              <a:gd name="connsiteY145" fmla="*/ 1711325 h 2203450"/>
              <a:gd name="connsiteX146" fmla="*/ 142875 w 1943100"/>
              <a:gd name="connsiteY146" fmla="*/ 1701800 h 2203450"/>
              <a:gd name="connsiteX147" fmla="*/ 149225 w 1943100"/>
              <a:gd name="connsiteY147" fmla="*/ 1692275 h 2203450"/>
              <a:gd name="connsiteX148" fmla="*/ 158750 w 1943100"/>
              <a:gd name="connsiteY148" fmla="*/ 1685925 h 2203450"/>
              <a:gd name="connsiteX149" fmla="*/ 168275 w 1943100"/>
              <a:gd name="connsiteY149" fmla="*/ 1679575 h 2203450"/>
              <a:gd name="connsiteX150" fmla="*/ 184150 w 1943100"/>
              <a:gd name="connsiteY150" fmla="*/ 1676400 h 2203450"/>
              <a:gd name="connsiteX151" fmla="*/ 196850 w 1943100"/>
              <a:gd name="connsiteY151" fmla="*/ 1673225 h 2203450"/>
              <a:gd name="connsiteX152" fmla="*/ 44450 w 1943100"/>
              <a:gd name="connsiteY152" fmla="*/ 1260475 h 2203450"/>
              <a:gd name="connsiteX153" fmla="*/ 53975 w 1943100"/>
              <a:gd name="connsiteY153" fmla="*/ 1260475 h 2203450"/>
              <a:gd name="connsiteX154" fmla="*/ 63500 w 1943100"/>
              <a:gd name="connsiteY154" fmla="*/ 1260475 h 2203450"/>
              <a:gd name="connsiteX155" fmla="*/ 76200 w 1943100"/>
              <a:gd name="connsiteY155" fmla="*/ 1266825 h 2203450"/>
              <a:gd name="connsiteX156" fmla="*/ 82550 w 1943100"/>
              <a:gd name="connsiteY156" fmla="*/ 1273175 h 2203450"/>
              <a:gd name="connsiteX157" fmla="*/ 92075 w 1943100"/>
              <a:gd name="connsiteY157" fmla="*/ 1279525 h 2203450"/>
              <a:gd name="connsiteX158" fmla="*/ 98425 w 1943100"/>
              <a:gd name="connsiteY158" fmla="*/ 1289050 h 2203450"/>
              <a:gd name="connsiteX159" fmla="*/ 101600 w 1943100"/>
              <a:gd name="connsiteY159" fmla="*/ 1298575 h 2203450"/>
              <a:gd name="connsiteX160" fmla="*/ 104775 w 1943100"/>
              <a:gd name="connsiteY160" fmla="*/ 1311275 h 2203450"/>
              <a:gd name="connsiteX161" fmla="*/ 107950 w 1943100"/>
              <a:gd name="connsiteY161" fmla="*/ 1323975 h 2203450"/>
              <a:gd name="connsiteX162" fmla="*/ 104775 w 1943100"/>
              <a:gd name="connsiteY162" fmla="*/ 1336675 h 2203450"/>
              <a:gd name="connsiteX163" fmla="*/ 101600 w 1943100"/>
              <a:gd name="connsiteY163" fmla="*/ 1349375 h 2203450"/>
              <a:gd name="connsiteX164" fmla="*/ 98425 w 1943100"/>
              <a:gd name="connsiteY164" fmla="*/ 1362075 h 2203450"/>
              <a:gd name="connsiteX165" fmla="*/ 92075 w 1943100"/>
              <a:gd name="connsiteY165" fmla="*/ 1371600 h 2203450"/>
              <a:gd name="connsiteX166" fmla="*/ 82550 w 1943100"/>
              <a:gd name="connsiteY166" fmla="*/ 1377950 h 2203450"/>
              <a:gd name="connsiteX167" fmla="*/ 76200 w 1943100"/>
              <a:gd name="connsiteY167" fmla="*/ 1384300 h 2203450"/>
              <a:gd name="connsiteX168" fmla="*/ 63500 w 1943100"/>
              <a:gd name="connsiteY168" fmla="*/ 1387475 h 2203450"/>
              <a:gd name="connsiteX169" fmla="*/ 53975 w 1943100"/>
              <a:gd name="connsiteY169" fmla="*/ 1390650 h 2203450"/>
              <a:gd name="connsiteX170" fmla="*/ 44450 w 1943100"/>
              <a:gd name="connsiteY170" fmla="*/ 1387475 h 2203450"/>
              <a:gd name="connsiteX171" fmla="*/ 34925 w 1943100"/>
              <a:gd name="connsiteY171" fmla="*/ 1384300 h 2203450"/>
              <a:gd name="connsiteX172" fmla="*/ 25400 w 1943100"/>
              <a:gd name="connsiteY172" fmla="*/ 1377950 h 2203450"/>
              <a:gd name="connsiteX173" fmla="*/ 15875 w 1943100"/>
              <a:gd name="connsiteY173" fmla="*/ 1371600 h 2203450"/>
              <a:gd name="connsiteX174" fmla="*/ 9525 w 1943100"/>
              <a:gd name="connsiteY174" fmla="*/ 1362075 h 2203450"/>
              <a:gd name="connsiteX175" fmla="*/ 6350 w 1943100"/>
              <a:gd name="connsiteY175" fmla="*/ 1349375 h 2203450"/>
              <a:gd name="connsiteX176" fmla="*/ 3175 w 1943100"/>
              <a:gd name="connsiteY176" fmla="*/ 1336675 h 2203450"/>
              <a:gd name="connsiteX177" fmla="*/ 0 w 1943100"/>
              <a:gd name="connsiteY177" fmla="*/ 1323975 h 2203450"/>
              <a:gd name="connsiteX178" fmla="*/ 3175 w 1943100"/>
              <a:gd name="connsiteY178" fmla="*/ 1311275 h 2203450"/>
              <a:gd name="connsiteX179" fmla="*/ 6350 w 1943100"/>
              <a:gd name="connsiteY179" fmla="*/ 1298575 h 2203450"/>
              <a:gd name="connsiteX180" fmla="*/ 9525 w 1943100"/>
              <a:gd name="connsiteY180" fmla="*/ 1289050 h 2203450"/>
              <a:gd name="connsiteX181" fmla="*/ 15875 w 1943100"/>
              <a:gd name="connsiteY181" fmla="*/ 1279525 h 2203450"/>
              <a:gd name="connsiteX182" fmla="*/ 25400 w 1943100"/>
              <a:gd name="connsiteY182" fmla="*/ 1273175 h 2203450"/>
              <a:gd name="connsiteX183" fmla="*/ 34925 w 1943100"/>
              <a:gd name="connsiteY183" fmla="*/ 1266825 h 2203450"/>
              <a:gd name="connsiteX184" fmla="*/ 171450 w 1943100"/>
              <a:gd name="connsiteY184" fmla="*/ 1098550 h 2203450"/>
              <a:gd name="connsiteX185" fmla="*/ 184150 w 1943100"/>
              <a:gd name="connsiteY185" fmla="*/ 1101725 h 2203450"/>
              <a:gd name="connsiteX186" fmla="*/ 193675 w 1943100"/>
              <a:gd name="connsiteY186" fmla="*/ 1104900 h 2203450"/>
              <a:gd name="connsiteX187" fmla="*/ 206375 w 1943100"/>
              <a:gd name="connsiteY187" fmla="*/ 1108075 h 2203450"/>
              <a:gd name="connsiteX188" fmla="*/ 215900 w 1943100"/>
              <a:gd name="connsiteY188" fmla="*/ 1117600 h 2203450"/>
              <a:gd name="connsiteX189" fmla="*/ 222250 w 1943100"/>
              <a:gd name="connsiteY189" fmla="*/ 1123950 h 2203450"/>
              <a:gd name="connsiteX190" fmla="*/ 228600 w 1943100"/>
              <a:gd name="connsiteY190" fmla="*/ 1136650 h 2203450"/>
              <a:gd name="connsiteX191" fmla="*/ 231775 w 1943100"/>
              <a:gd name="connsiteY191" fmla="*/ 1146175 h 2203450"/>
              <a:gd name="connsiteX192" fmla="*/ 234950 w 1943100"/>
              <a:gd name="connsiteY192" fmla="*/ 1158875 h 2203450"/>
              <a:gd name="connsiteX193" fmla="*/ 231775 w 1943100"/>
              <a:gd name="connsiteY193" fmla="*/ 1168400 h 2203450"/>
              <a:gd name="connsiteX194" fmla="*/ 228600 w 1943100"/>
              <a:gd name="connsiteY194" fmla="*/ 1181100 h 2203450"/>
              <a:gd name="connsiteX195" fmla="*/ 222250 w 1943100"/>
              <a:gd name="connsiteY195" fmla="*/ 1190625 h 2203450"/>
              <a:gd name="connsiteX196" fmla="*/ 215900 w 1943100"/>
              <a:gd name="connsiteY196" fmla="*/ 1200150 h 2203450"/>
              <a:gd name="connsiteX197" fmla="*/ 206375 w 1943100"/>
              <a:gd name="connsiteY197" fmla="*/ 1206500 h 2203450"/>
              <a:gd name="connsiteX198" fmla="*/ 193675 w 1943100"/>
              <a:gd name="connsiteY198" fmla="*/ 1212850 h 2203450"/>
              <a:gd name="connsiteX199" fmla="*/ 184150 w 1943100"/>
              <a:gd name="connsiteY199" fmla="*/ 1216025 h 2203450"/>
              <a:gd name="connsiteX200" fmla="*/ 171450 w 1943100"/>
              <a:gd name="connsiteY200" fmla="*/ 1216025 h 2203450"/>
              <a:gd name="connsiteX201" fmla="*/ 158750 w 1943100"/>
              <a:gd name="connsiteY201" fmla="*/ 1216025 h 2203450"/>
              <a:gd name="connsiteX202" fmla="*/ 146050 w 1943100"/>
              <a:gd name="connsiteY202" fmla="*/ 1212850 h 2203450"/>
              <a:gd name="connsiteX203" fmla="*/ 136525 w 1943100"/>
              <a:gd name="connsiteY203" fmla="*/ 1206500 h 2203450"/>
              <a:gd name="connsiteX204" fmla="*/ 127000 w 1943100"/>
              <a:gd name="connsiteY204" fmla="*/ 1200150 h 2203450"/>
              <a:gd name="connsiteX205" fmla="*/ 117475 w 1943100"/>
              <a:gd name="connsiteY205" fmla="*/ 1190625 h 2203450"/>
              <a:gd name="connsiteX206" fmla="*/ 111125 w 1943100"/>
              <a:gd name="connsiteY206" fmla="*/ 1181100 h 2203450"/>
              <a:gd name="connsiteX207" fmla="*/ 107950 w 1943100"/>
              <a:gd name="connsiteY207" fmla="*/ 1168400 h 2203450"/>
              <a:gd name="connsiteX208" fmla="*/ 107950 w 1943100"/>
              <a:gd name="connsiteY208" fmla="*/ 1158875 h 2203450"/>
              <a:gd name="connsiteX209" fmla="*/ 107950 w 1943100"/>
              <a:gd name="connsiteY209" fmla="*/ 1146175 h 2203450"/>
              <a:gd name="connsiteX210" fmla="*/ 111125 w 1943100"/>
              <a:gd name="connsiteY210" fmla="*/ 1136650 h 2203450"/>
              <a:gd name="connsiteX211" fmla="*/ 117475 w 1943100"/>
              <a:gd name="connsiteY211" fmla="*/ 1123950 h 2203450"/>
              <a:gd name="connsiteX212" fmla="*/ 127000 w 1943100"/>
              <a:gd name="connsiteY212" fmla="*/ 1117600 h 2203450"/>
              <a:gd name="connsiteX213" fmla="*/ 136525 w 1943100"/>
              <a:gd name="connsiteY213" fmla="*/ 1108075 h 2203450"/>
              <a:gd name="connsiteX214" fmla="*/ 146050 w 1943100"/>
              <a:gd name="connsiteY214" fmla="*/ 1104900 h 2203450"/>
              <a:gd name="connsiteX215" fmla="*/ 158750 w 1943100"/>
              <a:gd name="connsiteY215" fmla="*/ 1101725 h 2203450"/>
              <a:gd name="connsiteX216" fmla="*/ 136525 w 1943100"/>
              <a:gd name="connsiteY216" fmla="*/ 812800 h 2203450"/>
              <a:gd name="connsiteX217" fmla="*/ 155575 w 1943100"/>
              <a:gd name="connsiteY217" fmla="*/ 815975 h 2203450"/>
              <a:gd name="connsiteX218" fmla="*/ 174625 w 1943100"/>
              <a:gd name="connsiteY218" fmla="*/ 822325 h 2203450"/>
              <a:gd name="connsiteX219" fmla="*/ 190500 w 1943100"/>
              <a:gd name="connsiteY219" fmla="*/ 831850 h 2203450"/>
              <a:gd name="connsiteX220" fmla="*/ 206375 w 1943100"/>
              <a:gd name="connsiteY220" fmla="*/ 844550 h 2203450"/>
              <a:gd name="connsiteX221" fmla="*/ 215900 w 1943100"/>
              <a:gd name="connsiteY221" fmla="*/ 860425 h 2203450"/>
              <a:gd name="connsiteX222" fmla="*/ 225425 w 1943100"/>
              <a:gd name="connsiteY222" fmla="*/ 879475 h 2203450"/>
              <a:gd name="connsiteX223" fmla="*/ 231775 w 1943100"/>
              <a:gd name="connsiteY223" fmla="*/ 898525 h 2203450"/>
              <a:gd name="connsiteX224" fmla="*/ 234950 w 1943100"/>
              <a:gd name="connsiteY224" fmla="*/ 920750 h 2203450"/>
              <a:gd name="connsiteX225" fmla="*/ 231775 w 1943100"/>
              <a:gd name="connsiteY225" fmla="*/ 939800 h 2203450"/>
              <a:gd name="connsiteX226" fmla="*/ 225425 w 1943100"/>
              <a:gd name="connsiteY226" fmla="*/ 958850 h 2203450"/>
              <a:gd name="connsiteX227" fmla="*/ 215900 w 1943100"/>
              <a:gd name="connsiteY227" fmla="*/ 977900 h 2203450"/>
              <a:gd name="connsiteX228" fmla="*/ 206375 w 1943100"/>
              <a:gd name="connsiteY228" fmla="*/ 993775 h 2203450"/>
              <a:gd name="connsiteX229" fmla="*/ 190500 w 1943100"/>
              <a:gd name="connsiteY229" fmla="*/ 1006475 h 2203450"/>
              <a:gd name="connsiteX230" fmla="*/ 174625 w 1943100"/>
              <a:gd name="connsiteY230" fmla="*/ 1016000 h 2203450"/>
              <a:gd name="connsiteX231" fmla="*/ 155575 w 1943100"/>
              <a:gd name="connsiteY231" fmla="*/ 1022350 h 2203450"/>
              <a:gd name="connsiteX232" fmla="*/ 136525 w 1943100"/>
              <a:gd name="connsiteY232" fmla="*/ 1025525 h 2203450"/>
              <a:gd name="connsiteX233" fmla="*/ 114300 w 1943100"/>
              <a:gd name="connsiteY233" fmla="*/ 1022350 h 2203450"/>
              <a:gd name="connsiteX234" fmla="*/ 98425 w 1943100"/>
              <a:gd name="connsiteY234" fmla="*/ 1016000 h 2203450"/>
              <a:gd name="connsiteX235" fmla="*/ 79375 w 1943100"/>
              <a:gd name="connsiteY235" fmla="*/ 1006475 h 2203450"/>
              <a:gd name="connsiteX236" fmla="*/ 66675 w 1943100"/>
              <a:gd name="connsiteY236" fmla="*/ 993775 h 2203450"/>
              <a:gd name="connsiteX237" fmla="*/ 53975 w 1943100"/>
              <a:gd name="connsiteY237" fmla="*/ 977900 h 2203450"/>
              <a:gd name="connsiteX238" fmla="*/ 44450 w 1943100"/>
              <a:gd name="connsiteY238" fmla="*/ 958850 h 2203450"/>
              <a:gd name="connsiteX239" fmla="*/ 38100 w 1943100"/>
              <a:gd name="connsiteY239" fmla="*/ 939800 h 2203450"/>
              <a:gd name="connsiteX240" fmla="*/ 38100 w 1943100"/>
              <a:gd name="connsiteY240" fmla="*/ 920750 h 2203450"/>
              <a:gd name="connsiteX241" fmla="*/ 38100 w 1943100"/>
              <a:gd name="connsiteY241" fmla="*/ 898525 h 2203450"/>
              <a:gd name="connsiteX242" fmla="*/ 44450 w 1943100"/>
              <a:gd name="connsiteY242" fmla="*/ 879475 h 2203450"/>
              <a:gd name="connsiteX243" fmla="*/ 53975 w 1943100"/>
              <a:gd name="connsiteY243" fmla="*/ 860425 h 2203450"/>
              <a:gd name="connsiteX244" fmla="*/ 66675 w 1943100"/>
              <a:gd name="connsiteY244" fmla="*/ 844550 h 2203450"/>
              <a:gd name="connsiteX245" fmla="*/ 79375 w 1943100"/>
              <a:gd name="connsiteY245" fmla="*/ 831850 h 2203450"/>
              <a:gd name="connsiteX246" fmla="*/ 98425 w 1943100"/>
              <a:gd name="connsiteY246" fmla="*/ 822325 h 2203450"/>
              <a:gd name="connsiteX247" fmla="*/ 114300 w 1943100"/>
              <a:gd name="connsiteY247" fmla="*/ 815975 h 2203450"/>
              <a:gd name="connsiteX248" fmla="*/ 352425 w 1943100"/>
              <a:gd name="connsiteY248" fmla="*/ 698500 h 2203450"/>
              <a:gd name="connsiteX249" fmla="*/ 368300 w 1943100"/>
              <a:gd name="connsiteY249" fmla="*/ 701675 h 2203450"/>
              <a:gd name="connsiteX250" fmla="*/ 381000 w 1943100"/>
              <a:gd name="connsiteY250" fmla="*/ 708025 h 2203450"/>
              <a:gd name="connsiteX251" fmla="*/ 390525 w 1943100"/>
              <a:gd name="connsiteY251" fmla="*/ 720725 h 2203450"/>
              <a:gd name="connsiteX252" fmla="*/ 393700 w 1943100"/>
              <a:gd name="connsiteY252" fmla="*/ 733425 h 2203450"/>
              <a:gd name="connsiteX253" fmla="*/ 390525 w 1943100"/>
              <a:gd name="connsiteY253" fmla="*/ 749300 h 2203450"/>
              <a:gd name="connsiteX254" fmla="*/ 381000 w 1943100"/>
              <a:gd name="connsiteY254" fmla="*/ 762000 h 2203450"/>
              <a:gd name="connsiteX255" fmla="*/ 368300 w 1943100"/>
              <a:gd name="connsiteY255" fmla="*/ 768350 h 2203450"/>
              <a:gd name="connsiteX256" fmla="*/ 352425 w 1943100"/>
              <a:gd name="connsiteY256" fmla="*/ 771525 h 2203450"/>
              <a:gd name="connsiteX257" fmla="*/ 333375 w 1943100"/>
              <a:gd name="connsiteY257" fmla="*/ 768350 h 2203450"/>
              <a:gd name="connsiteX258" fmla="*/ 320675 w 1943100"/>
              <a:gd name="connsiteY258" fmla="*/ 762000 h 2203450"/>
              <a:gd name="connsiteX259" fmla="*/ 311150 w 1943100"/>
              <a:gd name="connsiteY259" fmla="*/ 749300 h 2203450"/>
              <a:gd name="connsiteX260" fmla="*/ 307975 w 1943100"/>
              <a:gd name="connsiteY260" fmla="*/ 733425 h 2203450"/>
              <a:gd name="connsiteX261" fmla="*/ 311150 w 1943100"/>
              <a:gd name="connsiteY261" fmla="*/ 720725 h 2203450"/>
              <a:gd name="connsiteX262" fmla="*/ 320675 w 1943100"/>
              <a:gd name="connsiteY262" fmla="*/ 708025 h 2203450"/>
              <a:gd name="connsiteX263" fmla="*/ 333375 w 1943100"/>
              <a:gd name="connsiteY263" fmla="*/ 701675 h 2203450"/>
              <a:gd name="connsiteX264" fmla="*/ 1809750 w 1943100"/>
              <a:gd name="connsiteY264" fmla="*/ 631825 h 2203450"/>
              <a:gd name="connsiteX265" fmla="*/ 1825625 w 1943100"/>
              <a:gd name="connsiteY265" fmla="*/ 631825 h 2203450"/>
              <a:gd name="connsiteX266" fmla="*/ 1841500 w 1943100"/>
              <a:gd name="connsiteY266" fmla="*/ 631825 h 2203450"/>
              <a:gd name="connsiteX267" fmla="*/ 1863725 w 1943100"/>
              <a:gd name="connsiteY267" fmla="*/ 635000 h 2203450"/>
              <a:gd name="connsiteX268" fmla="*/ 1885950 w 1943100"/>
              <a:gd name="connsiteY268" fmla="*/ 644525 h 2203450"/>
              <a:gd name="connsiteX269" fmla="*/ 1895475 w 1943100"/>
              <a:gd name="connsiteY269" fmla="*/ 654050 h 2203450"/>
              <a:gd name="connsiteX270" fmla="*/ 1908175 w 1943100"/>
              <a:gd name="connsiteY270" fmla="*/ 663575 h 2203450"/>
              <a:gd name="connsiteX271" fmla="*/ 1917700 w 1943100"/>
              <a:gd name="connsiteY271" fmla="*/ 679450 h 2203450"/>
              <a:gd name="connsiteX272" fmla="*/ 1927225 w 1943100"/>
              <a:gd name="connsiteY272" fmla="*/ 695325 h 2203450"/>
              <a:gd name="connsiteX273" fmla="*/ 1933575 w 1943100"/>
              <a:gd name="connsiteY273" fmla="*/ 704850 h 2203450"/>
              <a:gd name="connsiteX274" fmla="*/ 1939925 w 1943100"/>
              <a:gd name="connsiteY274" fmla="*/ 720725 h 2203450"/>
              <a:gd name="connsiteX275" fmla="*/ 1943100 w 1943100"/>
              <a:gd name="connsiteY275" fmla="*/ 739775 h 2203450"/>
              <a:gd name="connsiteX276" fmla="*/ 1943100 w 1943100"/>
              <a:gd name="connsiteY276" fmla="*/ 768350 h 2203450"/>
              <a:gd name="connsiteX277" fmla="*/ 1939925 w 1943100"/>
              <a:gd name="connsiteY277" fmla="*/ 800100 h 2203450"/>
              <a:gd name="connsiteX278" fmla="*/ 1930400 w 1943100"/>
              <a:gd name="connsiteY278" fmla="*/ 841375 h 2203450"/>
              <a:gd name="connsiteX279" fmla="*/ 1911350 w 1943100"/>
              <a:gd name="connsiteY279" fmla="*/ 885825 h 2203450"/>
              <a:gd name="connsiteX280" fmla="*/ 1898650 w 1943100"/>
              <a:gd name="connsiteY280" fmla="*/ 914400 h 2203450"/>
              <a:gd name="connsiteX281" fmla="*/ 1882775 w 1943100"/>
              <a:gd name="connsiteY281" fmla="*/ 939800 h 2203450"/>
              <a:gd name="connsiteX282" fmla="*/ 1863725 w 1943100"/>
              <a:gd name="connsiteY282" fmla="*/ 958850 h 2203450"/>
              <a:gd name="connsiteX283" fmla="*/ 1847850 w 1943100"/>
              <a:gd name="connsiteY283" fmla="*/ 974725 h 2203450"/>
              <a:gd name="connsiteX284" fmla="*/ 1828800 w 1943100"/>
              <a:gd name="connsiteY284" fmla="*/ 987425 h 2203450"/>
              <a:gd name="connsiteX285" fmla="*/ 1809750 w 1943100"/>
              <a:gd name="connsiteY285" fmla="*/ 993775 h 2203450"/>
              <a:gd name="connsiteX286" fmla="*/ 1793875 w 1943100"/>
              <a:gd name="connsiteY286" fmla="*/ 996950 h 2203450"/>
              <a:gd name="connsiteX287" fmla="*/ 1778000 w 1943100"/>
              <a:gd name="connsiteY287" fmla="*/ 990600 h 2203450"/>
              <a:gd name="connsiteX288" fmla="*/ 1765300 w 1943100"/>
              <a:gd name="connsiteY288" fmla="*/ 977900 h 2203450"/>
              <a:gd name="connsiteX289" fmla="*/ 1755775 w 1943100"/>
              <a:gd name="connsiteY289" fmla="*/ 962025 h 2203450"/>
              <a:gd name="connsiteX290" fmla="*/ 1749425 w 1943100"/>
              <a:gd name="connsiteY290" fmla="*/ 942975 h 2203450"/>
              <a:gd name="connsiteX291" fmla="*/ 1746250 w 1943100"/>
              <a:gd name="connsiteY291" fmla="*/ 917575 h 2203450"/>
              <a:gd name="connsiteX292" fmla="*/ 1746250 w 1943100"/>
              <a:gd name="connsiteY292" fmla="*/ 892175 h 2203450"/>
              <a:gd name="connsiteX293" fmla="*/ 1749425 w 1943100"/>
              <a:gd name="connsiteY293" fmla="*/ 863600 h 2203450"/>
              <a:gd name="connsiteX294" fmla="*/ 1755775 w 1943100"/>
              <a:gd name="connsiteY294" fmla="*/ 835025 h 2203450"/>
              <a:gd name="connsiteX295" fmla="*/ 1768475 w 1943100"/>
              <a:gd name="connsiteY295" fmla="*/ 803275 h 2203450"/>
              <a:gd name="connsiteX296" fmla="*/ 1771650 w 1943100"/>
              <a:gd name="connsiteY296" fmla="*/ 796925 h 2203450"/>
              <a:gd name="connsiteX297" fmla="*/ 1774825 w 1943100"/>
              <a:gd name="connsiteY297" fmla="*/ 777875 h 2203450"/>
              <a:gd name="connsiteX298" fmla="*/ 1774825 w 1943100"/>
              <a:gd name="connsiteY298" fmla="*/ 752475 h 2203450"/>
              <a:gd name="connsiteX299" fmla="*/ 1774825 w 1943100"/>
              <a:gd name="connsiteY299" fmla="*/ 739775 h 2203450"/>
              <a:gd name="connsiteX300" fmla="*/ 1768475 w 1943100"/>
              <a:gd name="connsiteY300" fmla="*/ 727075 h 2203450"/>
              <a:gd name="connsiteX301" fmla="*/ 1762125 w 1943100"/>
              <a:gd name="connsiteY301" fmla="*/ 717550 h 2203450"/>
              <a:gd name="connsiteX302" fmla="*/ 1758950 w 1943100"/>
              <a:gd name="connsiteY302" fmla="*/ 708025 h 2203450"/>
              <a:gd name="connsiteX303" fmla="*/ 1755775 w 1943100"/>
              <a:gd name="connsiteY303" fmla="*/ 695325 h 2203450"/>
              <a:gd name="connsiteX304" fmla="*/ 1755775 w 1943100"/>
              <a:gd name="connsiteY304" fmla="*/ 682625 h 2203450"/>
              <a:gd name="connsiteX305" fmla="*/ 1762125 w 1943100"/>
              <a:gd name="connsiteY305" fmla="*/ 666750 h 2203450"/>
              <a:gd name="connsiteX306" fmla="*/ 1774825 w 1943100"/>
              <a:gd name="connsiteY306" fmla="*/ 650875 h 2203450"/>
              <a:gd name="connsiteX307" fmla="*/ 1797050 w 1943100"/>
              <a:gd name="connsiteY307" fmla="*/ 638175 h 2203450"/>
              <a:gd name="connsiteX308" fmla="*/ 504825 w 1943100"/>
              <a:gd name="connsiteY308" fmla="*/ 593725 h 2203450"/>
              <a:gd name="connsiteX309" fmla="*/ 520700 w 1943100"/>
              <a:gd name="connsiteY309" fmla="*/ 596900 h 2203450"/>
              <a:gd name="connsiteX310" fmla="*/ 536575 w 1943100"/>
              <a:gd name="connsiteY310" fmla="*/ 600075 h 2203450"/>
              <a:gd name="connsiteX311" fmla="*/ 549275 w 1943100"/>
              <a:gd name="connsiteY311" fmla="*/ 606425 h 2203450"/>
              <a:gd name="connsiteX312" fmla="*/ 561975 w 1943100"/>
              <a:gd name="connsiteY312" fmla="*/ 612775 h 2203450"/>
              <a:gd name="connsiteX313" fmla="*/ 571500 w 1943100"/>
              <a:gd name="connsiteY313" fmla="*/ 622300 h 2203450"/>
              <a:gd name="connsiteX314" fmla="*/ 581025 w 1943100"/>
              <a:gd name="connsiteY314" fmla="*/ 631825 h 2203450"/>
              <a:gd name="connsiteX315" fmla="*/ 584200 w 1943100"/>
              <a:gd name="connsiteY315" fmla="*/ 641350 h 2203450"/>
              <a:gd name="connsiteX316" fmla="*/ 587375 w 1943100"/>
              <a:gd name="connsiteY316" fmla="*/ 654050 h 2203450"/>
              <a:gd name="connsiteX317" fmla="*/ 584200 w 1943100"/>
              <a:gd name="connsiteY317" fmla="*/ 666750 h 2203450"/>
              <a:gd name="connsiteX318" fmla="*/ 581025 w 1943100"/>
              <a:gd name="connsiteY318" fmla="*/ 679450 h 2203450"/>
              <a:gd name="connsiteX319" fmla="*/ 571500 w 1943100"/>
              <a:gd name="connsiteY319" fmla="*/ 688975 h 2203450"/>
              <a:gd name="connsiteX320" fmla="*/ 561975 w 1943100"/>
              <a:gd name="connsiteY320" fmla="*/ 698500 h 2203450"/>
              <a:gd name="connsiteX321" fmla="*/ 549275 w 1943100"/>
              <a:gd name="connsiteY321" fmla="*/ 704850 h 2203450"/>
              <a:gd name="connsiteX322" fmla="*/ 536575 w 1943100"/>
              <a:gd name="connsiteY322" fmla="*/ 711200 h 2203450"/>
              <a:gd name="connsiteX323" fmla="*/ 520700 w 1943100"/>
              <a:gd name="connsiteY323" fmla="*/ 714375 h 2203450"/>
              <a:gd name="connsiteX324" fmla="*/ 504825 w 1943100"/>
              <a:gd name="connsiteY324" fmla="*/ 714375 h 2203450"/>
              <a:gd name="connsiteX325" fmla="*/ 488950 w 1943100"/>
              <a:gd name="connsiteY325" fmla="*/ 714375 h 2203450"/>
              <a:gd name="connsiteX326" fmla="*/ 473075 w 1943100"/>
              <a:gd name="connsiteY326" fmla="*/ 711200 h 2203450"/>
              <a:gd name="connsiteX327" fmla="*/ 457200 w 1943100"/>
              <a:gd name="connsiteY327" fmla="*/ 704850 h 2203450"/>
              <a:gd name="connsiteX328" fmla="*/ 444500 w 1943100"/>
              <a:gd name="connsiteY328" fmla="*/ 698500 h 2203450"/>
              <a:gd name="connsiteX329" fmla="*/ 434975 w 1943100"/>
              <a:gd name="connsiteY329" fmla="*/ 688975 h 2203450"/>
              <a:gd name="connsiteX330" fmla="*/ 428625 w 1943100"/>
              <a:gd name="connsiteY330" fmla="*/ 679450 h 2203450"/>
              <a:gd name="connsiteX331" fmla="*/ 422275 w 1943100"/>
              <a:gd name="connsiteY331" fmla="*/ 666750 h 2203450"/>
              <a:gd name="connsiteX332" fmla="*/ 422275 w 1943100"/>
              <a:gd name="connsiteY332" fmla="*/ 654050 h 2203450"/>
              <a:gd name="connsiteX333" fmla="*/ 422275 w 1943100"/>
              <a:gd name="connsiteY333" fmla="*/ 641350 h 2203450"/>
              <a:gd name="connsiteX334" fmla="*/ 428625 w 1943100"/>
              <a:gd name="connsiteY334" fmla="*/ 631825 h 2203450"/>
              <a:gd name="connsiteX335" fmla="*/ 434975 w 1943100"/>
              <a:gd name="connsiteY335" fmla="*/ 622300 h 2203450"/>
              <a:gd name="connsiteX336" fmla="*/ 444500 w 1943100"/>
              <a:gd name="connsiteY336" fmla="*/ 612775 h 2203450"/>
              <a:gd name="connsiteX337" fmla="*/ 457200 w 1943100"/>
              <a:gd name="connsiteY337" fmla="*/ 606425 h 2203450"/>
              <a:gd name="connsiteX338" fmla="*/ 473075 w 1943100"/>
              <a:gd name="connsiteY338" fmla="*/ 600075 h 2203450"/>
              <a:gd name="connsiteX339" fmla="*/ 488950 w 1943100"/>
              <a:gd name="connsiteY339" fmla="*/ 596900 h 2203450"/>
              <a:gd name="connsiteX340" fmla="*/ 1581150 w 1943100"/>
              <a:gd name="connsiteY340" fmla="*/ 158750 h 2203450"/>
              <a:gd name="connsiteX341" fmla="*/ 1600200 w 1943100"/>
              <a:gd name="connsiteY341" fmla="*/ 158750 h 2203450"/>
              <a:gd name="connsiteX342" fmla="*/ 1616075 w 1943100"/>
              <a:gd name="connsiteY342" fmla="*/ 165100 h 2203450"/>
              <a:gd name="connsiteX343" fmla="*/ 1635125 w 1943100"/>
              <a:gd name="connsiteY343" fmla="*/ 177800 h 2203450"/>
              <a:gd name="connsiteX344" fmla="*/ 1654175 w 1943100"/>
              <a:gd name="connsiteY344" fmla="*/ 193675 h 2203450"/>
              <a:gd name="connsiteX345" fmla="*/ 1670050 w 1943100"/>
              <a:gd name="connsiteY345" fmla="*/ 215900 h 2203450"/>
              <a:gd name="connsiteX346" fmla="*/ 1685925 w 1943100"/>
              <a:gd name="connsiteY346" fmla="*/ 241300 h 2203450"/>
              <a:gd name="connsiteX347" fmla="*/ 1698625 w 1943100"/>
              <a:gd name="connsiteY347" fmla="*/ 269875 h 2203450"/>
              <a:gd name="connsiteX348" fmla="*/ 1708150 w 1943100"/>
              <a:gd name="connsiteY348" fmla="*/ 298450 h 2203450"/>
              <a:gd name="connsiteX349" fmla="*/ 1714500 w 1943100"/>
              <a:gd name="connsiteY349" fmla="*/ 330200 h 2203450"/>
              <a:gd name="connsiteX350" fmla="*/ 1717675 w 1943100"/>
              <a:gd name="connsiteY350" fmla="*/ 358775 h 2203450"/>
              <a:gd name="connsiteX351" fmla="*/ 1717675 w 1943100"/>
              <a:gd name="connsiteY351" fmla="*/ 387350 h 2203450"/>
              <a:gd name="connsiteX352" fmla="*/ 1714500 w 1943100"/>
              <a:gd name="connsiteY352" fmla="*/ 409575 h 2203450"/>
              <a:gd name="connsiteX353" fmla="*/ 1708150 w 1943100"/>
              <a:gd name="connsiteY353" fmla="*/ 428625 h 2203450"/>
              <a:gd name="connsiteX354" fmla="*/ 1698625 w 1943100"/>
              <a:gd name="connsiteY354" fmla="*/ 444500 h 2203450"/>
              <a:gd name="connsiteX355" fmla="*/ 1685925 w 1943100"/>
              <a:gd name="connsiteY355" fmla="*/ 457200 h 2203450"/>
              <a:gd name="connsiteX356" fmla="*/ 1670050 w 1943100"/>
              <a:gd name="connsiteY356" fmla="*/ 460375 h 2203450"/>
              <a:gd name="connsiteX357" fmla="*/ 1651000 w 1943100"/>
              <a:gd name="connsiteY357" fmla="*/ 460375 h 2203450"/>
              <a:gd name="connsiteX358" fmla="*/ 1631950 w 1943100"/>
              <a:gd name="connsiteY358" fmla="*/ 454025 h 2203450"/>
              <a:gd name="connsiteX359" fmla="*/ 1616075 w 1943100"/>
              <a:gd name="connsiteY359" fmla="*/ 441325 h 2203450"/>
              <a:gd name="connsiteX360" fmla="*/ 1597025 w 1943100"/>
              <a:gd name="connsiteY360" fmla="*/ 422275 h 2203450"/>
              <a:gd name="connsiteX361" fmla="*/ 1581150 w 1943100"/>
              <a:gd name="connsiteY361" fmla="*/ 403225 h 2203450"/>
              <a:gd name="connsiteX362" fmla="*/ 1565275 w 1943100"/>
              <a:gd name="connsiteY362" fmla="*/ 377825 h 2203450"/>
              <a:gd name="connsiteX363" fmla="*/ 1552575 w 1943100"/>
              <a:gd name="connsiteY363" fmla="*/ 349250 h 2203450"/>
              <a:gd name="connsiteX364" fmla="*/ 1543050 w 1943100"/>
              <a:gd name="connsiteY364" fmla="*/ 320675 h 2203450"/>
              <a:gd name="connsiteX365" fmla="*/ 1533525 w 1943100"/>
              <a:gd name="connsiteY365" fmla="*/ 288925 h 2203450"/>
              <a:gd name="connsiteX366" fmla="*/ 1530350 w 1943100"/>
              <a:gd name="connsiteY366" fmla="*/ 260350 h 2203450"/>
              <a:gd name="connsiteX367" fmla="*/ 1530350 w 1943100"/>
              <a:gd name="connsiteY367" fmla="*/ 231775 h 2203450"/>
              <a:gd name="connsiteX368" fmla="*/ 1536700 w 1943100"/>
              <a:gd name="connsiteY368" fmla="*/ 209550 h 2203450"/>
              <a:gd name="connsiteX369" fmla="*/ 1543050 w 1943100"/>
              <a:gd name="connsiteY369" fmla="*/ 190500 h 2203450"/>
              <a:gd name="connsiteX370" fmla="*/ 1552575 w 1943100"/>
              <a:gd name="connsiteY370" fmla="*/ 174625 h 2203450"/>
              <a:gd name="connsiteX371" fmla="*/ 1565275 w 1943100"/>
              <a:gd name="connsiteY371" fmla="*/ 161925 h 2203450"/>
              <a:gd name="connsiteX372" fmla="*/ 1212850 w 1943100"/>
              <a:gd name="connsiteY372" fmla="*/ 98425 h 2203450"/>
              <a:gd name="connsiteX373" fmla="*/ 1241425 w 1943100"/>
              <a:gd name="connsiteY373" fmla="*/ 98425 h 2203450"/>
              <a:gd name="connsiteX374" fmla="*/ 1270000 w 1943100"/>
              <a:gd name="connsiteY374" fmla="*/ 101600 h 2203450"/>
              <a:gd name="connsiteX375" fmla="*/ 1292225 w 1943100"/>
              <a:gd name="connsiteY375" fmla="*/ 111125 h 2203450"/>
              <a:gd name="connsiteX376" fmla="*/ 1314450 w 1943100"/>
              <a:gd name="connsiteY376" fmla="*/ 120650 h 2203450"/>
              <a:gd name="connsiteX377" fmla="*/ 1333500 w 1943100"/>
              <a:gd name="connsiteY377" fmla="*/ 130175 h 2203450"/>
              <a:gd name="connsiteX378" fmla="*/ 1358900 w 1943100"/>
              <a:gd name="connsiteY378" fmla="*/ 149225 h 2203450"/>
              <a:gd name="connsiteX379" fmla="*/ 1368425 w 1943100"/>
              <a:gd name="connsiteY379" fmla="*/ 158750 h 2203450"/>
              <a:gd name="connsiteX380" fmla="*/ 1393825 w 1943100"/>
              <a:gd name="connsiteY380" fmla="*/ 180975 h 2203450"/>
              <a:gd name="connsiteX381" fmla="*/ 1419225 w 1943100"/>
              <a:gd name="connsiteY381" fmla="*/ 206375 h 2203450"/>
              <a:gd name="connsiteX382" fmla="*/ 1435100 w 1943100"/>
              <a:gd name="connsiteY382" fmla="*/ 234950 h 2203450"/>
              <a:gd name="connsiteX383" fmla="*/ 1450975 w 1943100"/>
              <a:gd name="connsiteY383" fmla="*/ 260350 h 2203450"/>
              <a:gd name="connsiteX384" fmla="*/ 1460500 w 1943100"/>
              <a:gd name="connsiteY384" fmla="*/ 285750 h 2203450"/>
              <a:gd name="connsiteX385" fmla="*/ 1470025 w 1943100"/>
              <a:gd name="connsiteY385" fmla="*/ 311150 h 2203450"/>
              <a:gd name="connsiteX386" fmla="*/ 1476375 w 1943100"/>
              <a:gd name="connsiteY386" fmla="*/ 333375 h 2203450"/>
              <a:gd name="connsiteX387" fmla="*/ 1476375 w 1943100"/>
              <a:gd name="connsiteY387" fmla="*/ 358775 h 2203450"/>
              <a:gd name="connsiteX388" fmla="*/ 1479550 w 1943100"/>
              <a:gd name="connsiteY388" fmla="*/ 400050 h 2203450"/>
              <a:gd name="connsiteX389" fmla="*/ 1473200 w 1943100"/>
              <a:gd name="connsiteY389" fmla="*/ 431800 h 2203450"/>
              <a:gd name="connsiteX390" fmla="*/ 1466850 w 1943100"/>
              <a:gd name="connsiteY390" fmla="*/ 460375 h 2203450"/>
              <a:gd name="connsiteX391" fmla="*/ 1457325 w 1943100"/>
              <a:gd name="connsiteY391" fmla="*/ 501650 h 2203450"/>
              <a:gd name="connsiteX392" fmla="*/ 1454150 w 1943100"/>
              <a:gd name="connsiteY392" fmla="*/ 533400 h 2203450"/>
              <a:gd name="connsiteX393" fmla="*/ 1454150 w 1943100"/>
              <a:gd name="connsiteY393" fmla="*/ 561975 h 2203450"/>
              <a:gd name="connsiteX394" fmla="*/ 1457325 w 1943100"/>
              <a:gd name="connsiteY394" fmla="*/ 581025 h 2203450"/>
              <a:gd name="connsiteX395" fmla="*/ 1466850 w 1943100"/>
              <a:gd name="connsiteY395" fmla="*/ 596900 h 2203450"/>
              <a:gd name="connsiteX396" fmla="*/ 1473200 w 1943100"/>
              <a:gd name="connsiteY396" fmla="*/ 609600 h 2203450"/>
              <a:gd name="connsiteX397" fmla="*/ 1482725 w 1943100"/>
              <a:gd name="connsiteY397" fmla="*/ 622300 h 2203450"/>
              <a:gd name="connsiteX398" fmla="*/ 1495425 w 1943100"/>
              <a:gd name="connsiteY398" fmla="*/ 631825 h 2203450"/>
              <a:gd name="connsiteX399" fmla="*/ 1508125 w 1943100"/>
              <a:gd name="connsiteY399" fmla="*/ 638175 h 2203450"/>
              <a:gd name="connsiteX400" fmla="*/ 1530350 w 1943100"/>
              <a:gd name="connsiteY400" fmla="*/ 647700 h 2203450"/>
              <a:gd name="connsiteX401" fmla="*/ 1552575 w 1943100"/>
              <a:gd name="connsiteY401" fmla="*/ 650875 h 2203450"/>
              <a:gd name="connsiteX402" fmla="*/ 1571625 w 1943100"/>
              <a:gd name="connsiteY402" fmla="*/ 650875 h 2203450"/>
              <a:gd name="connsiteX403" fmla="*/ 1590675 w 1943100"/>
              <a:gd name="connsiteY403" fmla="*/ 650875 h 2203450"/>
              <a:gd name="connsiteX404" fmla="*/ 1622425 w 1943100"/>
              <a:gd name="connsiteY404" fmla="*/ 650875 h 2203450"/>
              <a:gd name="connsiteX405" fmla="*/ 1647825 w 1943100"/>
              <a:gd name="connsiteY405" fmla="*/ 654050 h 2203450"/>
              <a:gd name="connsiteX406" fmla="*/ 1670050 w 1943100"/>
              <a:gd name="connsiteY406" fmla="*/ 660400 h 2203450"/>
              <a:gd name="connsiteX407" fmla="*/ 1685925 w 1943100"/>
              <a:gd name="connsiteY407" fmla="*/ 666750 h 2203450"/>
              <a:gd name="connsiteX408" fmla="*/ 1695450 w 1943100"/>
              <a:gd name="connsiteY408" fmla="*/ 676275 h 2203450"/>
              <a:gd name="connsiteX409" fmla="*/ 1701800 w 1943100"/>
              <a:gd name="connsiteY409" fmla="*/ 682625 h 2203450"/>
              <a:gd name="connsiteX410" fmla="*/ 1708150 w 1943100"/>
              <a:gd name="connsiteY410" fmla="*/ 688975 h 2203450"/>
              <a:gd name="connsiteX411" fmla="*/ 1714500 w 1943100"/>
              <a:gd name="connsiteY411" fmla="*/ 698500 h 2203450"/>
              <a:gd name="connsiteX412" fmla="*/ 1717675 w 1943100"/>
              <a:gd name="connsiteY412" fmla="*/ 708025 h 2203450"/>
              <a:gd name="connsiteX413" fmla="*/ 1724025 w 1943100"/>
              <a:gd name="connsiteY413" fmla="*/ 727075 h 2203450"/>
              <a:gd name="connsiteX414" fmla="*/ 1724025 w 1943100"/>
              <a:gd name="connsiteY414" fmla="*/ 749300 h 2203450"/>
              <a:gd name="connsiteX415" fmla="*/ 1717675 w 1943100"/>
              <a:gd name="connsiteY415" fmla="*/ 768350 h 2203450"/>
              <a:gd name="connsiteX416" fmla="*/ 1704975 w 1943100"/>
              <a:gd name="connsiteY416" fmla="*/ 800100 h 2203450"/>
              <a:gd name="connsiteX417" fmla="*/ 1698625 w 1943100"/>
              <a:gd name="connsiteY417" fmla="*/ 809625 h 2203450"/>
              <a:gd name="connsiteX418" fmla="*/ 1676400 w 1943100"/>
              <a:gd name="connsiteY418" fmla="*/ 844550 h 2203450"/>
              <a:gd name="connsiteX419" fmla="*/ 1660525 w 1943100"/>
              <a:gd name="connsiteY419" fmla="*/ 873125 h 2203450"/>
              <a:gd name="connsiteX420" fmla="*/ 1651000 w 1943100"/>
              <a:gd name="connsiteY420" fmla="*/ 898525 h 2203450"/>
              <a:gd name="connsiteX421" fmla="*/ 1644650 w 1943100"/>
              <a:gd name="connsiteY421" fmla="*/ 917575 h 2203450"/>
              <a:gd name="connsiteX422" fmla="*/ 1641475 w 1943100"/>
              <a:gd name="connsiteY422" fmla="*/ 936625 h 2203450"/>
              <a:gd name="connsiteX423" fmla="*/ 1641475 w 1943100"/>
              <a:gd name="connsiteY423" fmla="*/ 949325 h 2203450"/>
              <a:gd name="connsiteX424" fmla="*/ 1641475 w 1943100"/>
              <a:gd name="connsiteY424" fmla="*/ 958850 h 2203450"/>
              <a:gd name="connsiteX425" fmla="*/ 1644650 w 1943100"/>
              <a:gd name="connsiteY425" fmla="*/ 974725 h 2203450"/>
              <a:gd name="connsiteX426" fmla="*/ 1647825 w 1943100"/>
              <a:gd name="connsiteY426" fmla="*/ 990600 h 2203450"/>
              <a:gd name="connsiteX427" fmla="*/ 1654175 w 1943100"/>
              <a:gd name="connsiteY427" fmla="*/ 1003300 h 2203450"/>
              <a:gd name="connsiteX428" fmla="*/ 1663700 w 1943100"/>
              <a:gd name="connsiteY428" fmla="*/ 1012825 h 2203450"/>
              <a:gd name="connsiteX429" fmla="*/ 1673225 w 1943100"/>
              <a:gd name="connsiteY429" fmla="*/ 1022350 h 2203450"/>
              <a:gd name="connsiteX430" fmla="*/ 1682750 w 1943100"/>
              <a:gd name="connsiteY430" fmla="*/ 1031875 h 2203450"/>
              <a:gd name="connsiteX431" fmla="*/ 1704975 w 1943100"/>
              <a:gd name="connsiteY431" fmla="*/ 1041400 h 2203450"/>
              <a:gd name="connsiteX432" fmla="*/ 1724025 w 1943100"/>
              <a:gd name="connsiteY432" fmla="*/ 1047750 h 2203450"/>
              <a:gd name="connsiteX433" fmla="*/ 1743075 w 1943100"/>
              <a:gd name="connsiteY433" fmla="*/ 1047750 h 2203450"/>
              <a:gd name="connsiteX434" fmla="*/ 1762125 w 1943100"/>
              <a:gd name="connsiteY434" fmla="*/ 1047750 h 2203450"/>
              <a:gd name="connsiteX435" fmla="*/ 1800225 w 1943100"/>
              <a:gd name="connsiteY435" fmla="*/ 1050925 h 2203450"/>
              <a:gd name="connsiteX436" fmla="*/ 1835150 w 1943100"/>
              <a:gd name="connsiteY436" fmla="*/ 1057275 h 2203450"/>
              <a:gd name="connsiteX437" fmla="*/ 1860550 w 1943100"/>
              <a:gd name="connsiteY437" fmla="*/ 1066800 h 2203450"/>
              <a:gd name="connsiteX438" fmla="*/ 1882775 w 1943100"/>
              <a:gd name="connsiteY438" fmla="*/ 1076325 h 2203450"/>
              <a:gd name="connsiteX439" fmla="*/ 1898650 w 1943100"/>
              <a:gd name="connsiteY439" fmla="*/ 1089025 h 2203450"/>
              <a:gd name="connsiteX440" fmla="*/ 1911350 w 1943100"/>
              <a:gd name="connsiteY440" fmla="*/ 1098550 h 2203450"/>
              <a:gd name="connsiteX441" fmla="*/ 1920875 w 1943100"/>
              <a:gd name="connsiteY441" fmla="*/ 1111250 h 2203450"/>
              <a:gd name="connsiteX442" fmla="*/ 1927225 w 1943100"/>
              <a:gd name="connsiteY442" fmla="*/ 1120775 h 2203450"/>
              <a:gd name="connsiteX443" fmla="*/ 1933575 w 1943100"/>
              <a:gd name="connsiteY443" fmla="*/ 1133475 h 2203450"/>
              <a:gd name="connsiteX444" fmla="*/ 1936750 w 1943100"/>
              <a:gd name="connsiteY444" fmla="*/ 1143000 h 2203450"/>
              <a:gd name="connsiteX445" fmla="*/ 1936750 w 1943100"/>
              <a:gd name="connsiteY445" fmla="*/ 1152525 h 2203450"/>
              <a:gd name="connsiteX446" fmla="*/ 1933575 w 1943100"/>
              <a:gd name="connsiteY446" fmla="*/ 1162050 h 2203450"/>
              <a:gd name="connsiteX447" fmla="*/ 1927225 w 1943100"/>
              <a:gd name="connsiteY447" fmla="*/ 1171575 h 2203450"/>
              <a:gd name="connsiteX448" fmla="*/ 1914525 w 1943100"/>
              <a:gd name="connsiteY448" fmla="*/ 1187450 h 2203450"/>
              <a:gd name="connsiteX449" fmla="*/ 1898650 w 1943100"/>
              <a:gd name="connsiteY449" fmla="*/ 1200150 h 2203450"/>
              <a:gd name="connsiteX450" fmla="*/ 1882775 w 1943100"/>
              <a:gd name="connsiteY450" fmla="*/ 1209675 h 2203450"/>
              <a:gd name="connsiteX451" fmla="*/ 1866900 w 1943100"/>
              <a:gd name="connsiteY451" fmla="*/ 1216025 h 2203450"/>
              <a:gd name="connsiteX452" fmla="*/ 1847850 w 1943100"/>
              <a:gd name="connsiteY452" fmla="*/ 1222375 h 2203450"/>
              <a:gd name="connsiteX453" fmla="*/ 1835150 w 1943100"/>
              <a:gd name="connsiteY453" fmla="*/ 1228725 h 2203450"/>
              <a:gd name="connsiteX454" fmla="*/ 1809750 w 1943100"/>
              <a:gd name="connsiteY454" fmla="*/ 1247775 h 2203450"/>
              <a:gd name="connsiteX455" fmla="*/ 1793875 w 1943100"/>
              <a:gd name="connsiteY455" fmla="*/ 1266825 h 2203450"/>
              <a:gd name="connsiteX456" fmla="*/ 1781175 w 1943100"/>
              <a:gd name="connsiteY456" fmla="*/ 1289050 h 2203450"/>
              <a:gd name="connsiteX457" fmla="*/ 1771650 w 1943100"/>
              <a:gd name="connsiteY457" fmla="*/ 1308100 h 2203450"/>
              <a:gd name="connsiteX458" fmla="*/ 1768475 w 1943100"/>
              <a:gd name="connsiteY458" fmla="*/ 1323975 h 2203450"/>
              <a:gd name="connsiteX459" fmla="*/ 1768475 w 1943100"/>
              <a:gd name="connsiteY459" fmla="*/ 1336675 h 2203450"/>
              <a:gd name="connsiteX460" fmla="*/ 1765300 w 1943100"/>
              <a:gd name="connsiteY460" fmla="*/ 1362075 h 2203450"/>
              <a:gd name="connsiteX461" fmla="*/ 1758950 w 1943100"/>
              <a:gd name="connsiteY461" fmla="*/ 1381125 h 2203450"/>
              <a:gd name="connsiteX462" fmla="*/ 1752600 w 1943100"/>
              <a:gd name="connsiteY462" fmla="*/ 1400175 h 2203450"/>
              <a:gd name="connsiteX463" fmla="*/ 1743075 w 1943100"/>
              <a:gd name="connsiteY463" fmla="*/ 1416050 h 2203450"/>
              <a:gd name="connsiteX464" fmla="*/ 1724025 w 1943100"/>
              <a:gd name="connsiteY464" fmla="*/ 1441450 h 2203450"/>
              <a:gd name="connsiteX465" fmla="*/ 1704975 w 1943100"/>
              <a:gd name="connsiteY465" fmla="*/ 1463675 h 2203450"/>
              <a:gd name="connsiteX466" fmla="*/ 1682750 w 1943100"/>
              <a:gd name="connsiteY466" fmla="*/ 1476375 h 2203450"/>
              <a:gd name="connsiteX467" fmla="*/ 1663700 w 1943100"/>
              <a:gd name="connsiteY467" fmla="*/ 1485900 h 2203450"/>
              <a:gd name="connsiteX468" fmla="*/ 1647825 w 1943100"/>
              <a:gd name="connsiteY468" fmla="*/ 1489075 h 2203450"/>
              <a:gd name="connsiteX469" fmla="*/ 1625600 w 1943100"/>
              <a:gd name="connsiteY469" fmla="*/ 1498600 h 2203450"/>
              <a:gd name="connsiteX470" fmla="*/ 1606550 w 1943100"/>
              <a:gd name="connsiteY470" fmla="*/ 1504950 h 2203450"/>
              <a:gd name="connsiteX471" fmla="*/ 1593850 w 1943100"/>
              <a:gd name="connsiteY471" fmla="*/ 1514475 h 2203450"/>
              <a:gd name="connsiteX472" fmla="*/ 1581150 w 1943100"/>
              <a:gd name="connsiteY472" fmla="*/ 1524000 h 2203450"/>
              <a:gd name="connsiteX473" fmla="*/ 1571625 w 1943100"/>
              <a:gd name="connsiteY473" fmla="*/ 1533525 h 2203450"/>
              <a:gd name="connsiteX474" fmla="*/ 1565275 w 1943100"/>
              <a:gd name="connsiteY474" fmla="*/ 1543050 h 2203450"/>
              <a:gd name="connsiteX475" fmla="*/ 1555750 w 1943100"/>
              <a:gd name="connsiteY475" fmla="*/ 1565275 h 2203450"/>
              <a:gd name="connsiteX476" fmla="*/ 1555750 w 1943100"/>
              <a:gd name="connsiteY476" fmla="*/ 1581150 h 2203450"/>
              <a:gd name="connsiteX477" fmla="*/ 1555750 w 1943100"/>
              <a:gd name="connsiteY477" fmla="*/ 1597025 h 2203450"/>
              <a:gd name="connsiteX478" fmla="*/ 1562100 w 1943100"/>
              <a:gd name="connsiteY478" fmla="*/ 1612900 h 2203450"/>
              <a:gd name="connsiteX479" fmla="*/ 1568450 w 1943100"/>
              <a:gd name="connsiteY479" fmla="*/ 1628775 h 2203450"/>
              <a:gd name="connsiteX480" fmla="*/ 1571625 w 1943100"/>
              <a:gd name="connsiteY480" fmla="*/ 1644650 h 2203450"/>
              <a:gd name="connsiteX481" fmla="*/ 1571625 w 1943100"/>
              <a:gd name="connsiteY481" fmla="*/ 1660525 h 2203450"/>
              <a:gd name="connsiteX482" fmla="*/ 1565275 w 1943100"/>
              <a:gd name="connsiteY482" fmla="*/ 1673225 h 2203450"/>
              <a:gd name="connsiteX483" fmla="*/ 1555750 w 1943100"/>
              <a:gd name="connsiteY483" fmla="*/ 1692275 h 2203450"/>
              <a:gd name="connsiteX484" fmla="*/ 1549400 w 1943100"/>
              <a:gd name="connsiteY484" fmla="*/ 1701800 h 2203450"/>
              <a:gd name="connsiteX485" fmla="*/ 1524000 w 1943100"/>
              <a:gd name="connsiteY485" fmla="*/ 1717675 h 2203450"/>
              <a:gd name="connsiteX486" fmla="*/ 1495425 w 1943100"/>
              <a:gd name="connsiteY486" fmla="*/ 1724025 h 2203450"/>
              <a:gd name="connsiteX487" fmla="*/ 1473200 w 1943100"/>
              <a:gd name="connsiteY487" fmla="*/ 1727200 h 2203450"/>
              <a:gd name="connsiteX488" fmla="*/ 1450975 w 1943100"/>
              <a:gd name="connsiteY488" fmla="*/ 1727200 h 2203450"/>
              <a:gd name="connsiteX489" fmla="*/ 1435100 w 1943100"/>
              <a:gd name="connsiteY489" fmla="*/ 1724025 h 2203450"/>
              <a:gd name="connsiteX490" fmla="*/ 1422400 w 1943100"/>
              <a:gd name="connsiteY490" fmla="*/ 1720850 h 2203450"/>
              <a:gd name="connsiteX491" fmla="*/ 1409700 w 1943100"/>
              <a:gd name="connsiteY491" fmla="*/ 1714500 h 2203450"/>
              <a:gd name="connsiteX492" fmla="*/ 1374775 w 1943100"/>
              <a:gd name="connsiteY492" fmla="*/ 1698625 h 2203450"/>
              <a:gd name="connsiteX493" fmla="*/ 1339850 w 1943100"/>
              <a:gd name="connsiteY493" fmla="*/ 1689100 h 2203450"/>
              <a:gd name="connsiteX494" fmla="*/ 1311275 w 1943100"/>
              <a:gd name="connsiteY494" fmla="*/ 1679575 h 2203450"/>
              <a:gd name="connsiteX495" fmla="*/ 1282700 w 1943100"/>
              <a:gd name="connsiteY495" fmla="*/ 1676400 h 2203450"/>
              <a:gd name="connsiteX496" fmla="*/ 1254125 w 1943100"/>
              <a:gd name="connsiteY496" fmla="*/ 1676400 h 2203450"/>
              <a:gd name="connsiteX497" fmla="*/ 1228725 w 1943100"/>
              <a:gd name="connsiteY497" fmla="*/ 1679575 h 2203450"/>
              <a:gd name="connsiteX498" fmla="*/ 1206500 w 1943100"/>
              <a:gd name="connsiteY498" fmla="*/ 1682750 h 2203450"/>
              <a:gd name="connsiteX499" fmla="*/ 1187450 w 1943100"/>
              <a:gd name="connsiteY499" fmla="*/ 1689100 h 2203450"/>
              <a:gd name="connsiteX500" fmla="*/ 1155700 w 1943100"/>
              <a:gd name="connsiteY500" fmla="*/ 1704975 h 2203450"/>
              <a:gd name="connsiteX501" fmla="*/ 1130300 w 1943100"/>
              <a:gd name="connsiteY501" fmla="*/ 1720850 h 2203450"/>
              <a:gd name="connsiteX502" fmla="*/ 1111250 w 1943100"/>
              <a:gd name="connsiteY502" fmla="*/ 1736725 h 2203450"/>
              <a:gd name="connsiteX503" fmla="*/ 1079500 w 1943100"/>
              <a:gd name="connsiteY503" fmla="*/ 1768475 h 2203450"/>
              <a:gd name="connsiteX504" fmla="*/ 1047750 w 1943100"/>
              <a:gd name="connsiteY504" fmla="*/ 1790700 h 2203450"/>
              <a:gd name="connsiteX505" fmla="*/ 1019175 w 1943100"/>
              <a:gd name="connsiteY505" fmla="*/ 1806575 h 2203450"/>
              <a:gd name="connsiteX506" fmla="*/ 993775 w 1943100"/>
              <a:gd name="connsiteY506" fmla="*/ 1816100 h 2203450"/>
              <a:gd name="connsiteX507" fmla="*/ 971550 w 1943100"/>
              <a:gd name="connsiteY507" fmla="*/ 1819275 h 2203450"/>
              <a:gd name="connsiteX508" fmla="*/ 952500 w 1943100"/>
              <a:gd name="connsiteY508" fmla="*/ 1819275 h 2203450"/>
              <a:gd name="connsiteX509" fmla="*/ 939800 w 1943100"/>
              <a:gd name="connsiteY509" fmla="*/ 1819275 h 2203450"/>
              <a:gd name="connsiteX510" fmla="*/ 908050 w 1943100"/>
              <a:gd name="connsiteY510" fmla="*/ 1812925 h 2203450"/>
              <a:gd name="connsiteX511" fmla="*/ 882650 w 1943100"/>
              <a:gd name="connsiteY511" fmla="*/ 1803400 h 2203450"/>
              <a:gd name="connsiteX512" fmla="*/ 863600 w 1943100"/>
              <a:gd name="connsiteY512" fmla="*/ 1787525 h 2203450"/>
              <a:gd name="connsiteX513" fmla="*/ 850900 w 1943100"/>
              <a:gd name="connsiteY513" fmla="*/ 1774825 h 2203450"/>
              <a:gd name="connsiteX514" fmla="*/ 841375 w 1943100"/>
              <a:gd name="connsiteY514" fmla="*/ 1758950 h 2203450"/>
              <a:gd name="connsiteX515" fmla="*/ 835025 w 1943100"/>
              <a:gd name="connsiteY515" fmla="*/ 1746250 h 2203450"/>
              <a:gd name="connsiteX516" fmla="*/ 831850 w 1943100"/>
              <a:gd name="connsiteY516" fmla="*/ 1736725 h 2203450"/>
              <a:gd name="connsiteX517" fmla="*/ 825500 w 1943100"/>
              <a:gd name="connsiteY517" fmla="*/ 1708150 h 2203450"/>
              <a:gd name="connsiteX518" fmla="*/ 812800 w 1943100"/>
              <a:gd name="connsiteY518" fmla="*/ 1685925 h 2203450"/>
              <a:gd name="connsiteX519" fmla="*/ 800100 w 1943100"/>
              <a:gd name="connsiteY519" fmla="*/ 1670050 h 2203450"/>
              <a:gd name="connsiteX520" fmla="*/ 784225 w 1943100"/>
              <a:gd name="connsiteY520" fmla="*/ 1660525 h 2203450"/>
              <a:gd name="connsiteX521" fmla="*/ 768350 w 1943100"/>
              <a:gd name="connsiteY521" fmla="*/ 1654175 h 2203450"/>
              <a:gd name="connsiteX522" fmla="*/ 755650 w 1943100"/>
              <a:gd name="connsiteY522" fmla="*/ 1651000 h 2203450"/>
              <a:gd name="connsiteX523" fmla="*/ 742950 w 1943100"/>
              <a:gd name="connsiteY523" fmla="*/ 1651000 h 2203450"/>
              <a:gd name="connsiteX524" fmla="*/ 717550 w 1943100"/>
              <a:gd name="connsiteY524" fmla="*/ 1651000 h 2203450"/>
              <a:gd name="connsiteX525" fmla="*/ 698500 w 1943100"/>
              <a:gd name="connsiteY525" fmla="*/ 1644650 h 2203450"/>
              <a:gd name="connsiteX526" fmla="*/ 679450 w 1943100"/>
              <a:gd name="connsiteY526" fmla="*/ 1635125 h 2203450"/>
              <a:gd name="connsiteX527" fmla="*/ 663575 w 1943100"/>
              <a:gd name="connsiteY527" fmla="*/ 1625600 h 2203450"/>
              <a:gd name="connsiteX528" fmla="*/ 654050 w 1943100"/>
              <a:gd name="connsiteY528" fmla="*/ 1612900 h 2203450"/>
              <a:gd name="connsiteX529" fmla="*/ 644525 w 1943100"/>
              <a:gd name="connsiteY529" fmla="*/ 1603375 h 2203450"/>
              <a:gd name="connsiteX530" fmla="*/ 638175 w 1943100"/>
              <a:gd name="connsiteY530" fmla="*/ 1593850 h 2203450"/>
              <a:gd name="connsiteX531" fmla="*/ 628650 w 1943100"/>
              <a:gd name="connsiteY531" fmla="*/ 1577975 h 2203450"/>
              <a:gd name="connsiteX532" fmla="*/ 615950 w 1943100"/>
              <a:gd name="connsiteY532" fmla="*/ 1568450 h 2203450"/>
              <a:gd name="connsiteX533" fmla="*/ 600075 w 1943100"/>
              <a:gd name="connsiteY533" fmla="*/ 1558925 h 2203450"/>
              <a:gd name="connsiteX534" fmla="*/ 587375 w 1943100"/>
              <a:gd name="connsiteY534" fmla="*/ 1552575 h 2203450"/>
              <a:gd name="connsiteX535" fmla="*/ 571500 w 1943100"/>
              <a:gd name="connsiteY535" fmla="*/ 1549400 h 2203450"/>
              <a:gd name="connsiteX536" fmla="*/ 555625 w 1943100"/>
              <a:gd name="connsiteY536" fmla="*/ 1546225 h 2203450"/>
              <a:gd name="connsiteX537" fmla="*/ 523875 w 1943100"/>
              <a:gd name="connsiteY537" fmla="*/ 1546225 h 2203450"/>
              <a:gd name="connsiteX538" fmla="*/ 495300 w 1943100"/>
              <a:gd name="connsiteY538" fmla="*/ 1552575 h 2203450"/>
              <a:gd name="connsiteX539" fmla="*/ 469900 w 1943100"/>
              <a:gd name="connsiteY539" fmla="*/ 1558925 h 2203450"/>
              <a:gd name="connsiteX540" fmla="*/ 447675 w 1943100"/>
              <a:gd name="connsiteY540" fmla="*/ 1568450 h 2203450"/>
              <a:gd name="connsiteX541" fmla="*/ 406400 w 1943100"/>
              <a:gd name="connsiteY541" fmla="*/ 1581150 h 2203450"/>
              <a:gd name="connsiteX542" fmla="*/ 368300 w 1943100"/>
              <a:gd name="connsiteY542" fmla="*/ 1587500 h 2203450"/>
              <a:gd name="connsiteX543" fmla="*/ 333375 w 1943100"/>
              <a:gd name="connsiteY543" fmla="*/ 1590675 h 2203450"/>
              <a:gd name="connsiteX544" fmla="*/ 304800 w 1943100"/>
              <a:gd name="connsiteY544" fmla="*/ 1593850 h 2203450"/>
              <a:gd name="connsiteX545" fmla="*/ 279400 w 1943100"/>
              <a:gd name="connsiteY545" fmla="*/ 1593850 h 2203450"/>
              <a:gd name="connsiteX546" fmla="*/ 254000 w 1943100"/>
              <a:gd name="connsiteY546" fmla="*/ 1590675 h 2203450"/>
              <a:gd name="connsiteX547" fmla="*/ 234950 w 1943100"/>
              <a:gd name="connsiteY547" fmla="*/ 1584325 h 2203450"/>
              <a:gd name="connsiteX548" fmla="*/ 219075 w 1943100"/>
              <a:gd name="connsiteY548" fmla="*/ 1581150 h 2203450"/>
              <a:gd name="connsiteX549" fmla="*/ 193675 w 1943100"/>
              <a:gd name="connsiteY549" fmla="*/ 1565275 h 2203450"/>
              <a:gd name="connsiteX550" fmla="*/ 180975 w 1943100"/>
              <a:gd name="connsiteY550" fmla="*/ 1552575 h 2203450"/>
              <a:gd name="connsiteX551" fmla="*/ 171450 w 1943100"/>
              <a:gd name="connsiteY551" fmla="*/ 1543050 h 2203450"/>
              <a:gd name="connsiteX552" fmla="*/ 168275 w 1943100"/>
              <a:gd name="connsiteY552" fmla="*/ 1536700 h 2203450"/>
              <a:gd name="connsiteX553" fmla="*/ 161925 w 1943100"/>
              <a:gd name="connsiteY553" fmla="*/ 1517650 h 2203450"/>
              <a:gd name="connsiteX554" fmla="*/ 155575 w 1943100"/>
              <a:gd name="connsiteY554" fmla="*/ 1495425 h 2203450"/>
              <a:gd name="connsiteX555" fmla="*/ 152400 w 1943100"/>
              <a:gd name="connsiteY555" fmla="*/ 1476375 h 2203450"/>
              <a:gd name="connsiteX556" fmla="*/ 152400 w 1943100"/>
              <a:gd name="connsiteY556" fmla="*/ 1457325 h 2203450"/>
              <a:gd name="connsiteX557" fmla="*/ 155575 w 1943100"/>
              <a:gd name="connsiteY557" fmla="*/ 1422400 h 2203450"/>
              <a:gd name="connsiteX558" fmla="*/ 165100 w 1943100"/>
              <a:gd name="connsiteY558" fmla="*/ 1390650 h 2203450"/>
              <a:gd name="connsiteX559" fmla="*/ 180975 w 1943100"/>
              <a:gd name="connsiteY559" fmla="*/ 1358900 h 2203450"/>
              <a:gd name="connsiteX560" fmla="*/ 200025 w 1943100"/>
              <a:gd name="connsiteY560" fmla="*/ 1333500 h 2203450"/>
              <a:gd name="connsiteX561" fmla="*/ 225425 w 1943100"/>
              <a:gd name="connsiteY561" fmla="*/ 1308100 h 2203450"/>
              <a:gd name="connsiteX562" fmla="*/ 250825 w 1943100"/>
              <a:gd name="connsiteY562" fmla="*/ 1289050 h 2203450"/>
              <a:gd name="connsiteX563" fmla="*/ 276225 w 1943100"/>
              <a:gd name="connsiteY563" fmla="*/ 1270000 h 2203450"/>
              <a:gd name="connsiteX564" fmla="*/ 304800 w 1943100"/>
              <a:gd name="connsiteY564" fmla="*/ 1254125 h 2203450"/>
              <a:gd name="connsiteX565" fmla="*/ 352425 w 1943100"/>
              <a:gd name="connsiteY565" fmla="*/ 1228725 h 2203450"/>
              <a:gd name="connsiteX566" fmla="*/ 387350 w 1943100"/>
              <a:gd name="connsiteY566" fmla="*/ 1212850 h 2203450"/>
              <a:gd name="connsiteX567" fmla="*/ 403225 w 1943100"/>
              <a:gd name="connsiteY567" fmla="*/ 1209675 h 2203450"/>
              <a:gd name="connsiteX568" fmla="*/ 441325 w 1943100"/>
              <a:gd name="connsiteY568" fmla="*/ 1193800 h 2203450"/>
              <a:gd name="connsiteX569" fmla="*/ 473075 w 1943100"/>
              <a:gd name="connsiteY569" fmla="*/ 1177925 h 2203450"/>
              <a:gd name="connsiteX570" fmla="*/ 495300 w 1943100"/>
              <a:gd name="connsiteY570" fmla="*/ 1158875 h 2203450"/>
              <a:gd name="connsiteX571" fmla="*/ 511175 w 1943100"/>
              <a:gd name="connsiteY571" fmla="*/ 1143000 h 2203450"/>
              <a:gd name="connsiteX572" fmla="*/ 523875 w 1943100"/>
              <a:gd name="connsiteY572" fmla="*/ 1123950 h 2203450"/>
              <a:gd name="connsiteX573" fmla="*/ 530225 w 1943100"/>
              <a:gd name="connsiteY573" fmla="*/ 1111250 h 2203450"/>
              <a:gd name="connsiteX574" fmla="*/ 533400 w 1943100"/>
              <a:gd name="connsiteY574" fmla="*/ 1101725 h 2203450"/>
              <a:gd name="connsiteX575" fmla="*/ 533400 w 1943100"/>
              <a:gd name="connsiteY575" fmla="*/ 1076325 h 2203450"/>
              <a:gd name="connsiteX576" fmla="*/ 527050 w 1943100"/>
              <a:gd name="connsiteY576" fmla="*/ 1060450 h 2203450"/>
              <a:gd name="connsiteX577" fmla="*/ 517525 w 1943100"/>
              <a:gd name="connsiteY577" fmla="*/ 1044575 h 2203450"/>
              <a:gd name="connsiteX578" fmla="*/ 508000 w 1943100"/>
              <a:gd name="connsiteY578" fmla="*/ 1035050 h 2203450"/>
              <a:gd name="connsiteX579" fmla="*/ 498475 w 1943100"/>
              <a:gd name="connsiteY579" fmla="*/ 1028700 h 2203450"/>
              <a:gd name="connsiteX580" fmla="*/ 492125 w 1943100"/>
              <a:gd name="connsiteY580" fmla="*/ 1022350 h 2203450"/>
              <a:gd name="connsiteX581" fmla="*/ 482600 w 1943100"/>
              <a:gd name="connsiteY581" fmla="*/ 1019175 h 2203450"/>
              <a:gd name="connsiteX582" fmla="*/ 454025 w 1943100"/>
              <a:gd name="connsiteY582" fmla="*/ 1012825 h 2203450"/>
              <a:gd name="connsiteX583" fmla="*/ 428625 w 1943100"/>
              <a:gd name="connsiteY583" fmla="*/ 1003300 h 2203450"/>
              <a:gd name="connsiteX584" fmla="*/ 406400 w 1943100"/>
              <a:gd name="connsiteY584" fmla="*/ 993775 h 2203450"/>
              <a:gd name="connsiteX585" fmla="*/ 387350 w 1943100"/>
              <a:gd name="connsiteY585" fmla="*/ 984250 h 2203450"/>
              <a:gd name="connsiteX586" fmla="*/ 358775 w 1943100"/>
              <a:gd name="connsiteY586" fmla="*/ 962025 h 2203450"/>
              <a:gd name="connsiteX587" fmla="*/ 339725 w 1943100"/>
              <a:gd name="connsiteY587" fmla="*/ 939800 h 2203450"/>
              <a:gd name="connsiteX588" fmla="*/ 327025 w 1943100"/>
              <a:gd name="connsiteY588" fmla="*/ 920750 h 2203450"/>
              <a:gd name="connsiteX589" fmla="*/ 320675 w 1943100"/>
              <a:gd name="connsiteY589" fmla="*/ 908050 h 2203450"/>
              <a:gd name="connsiteX590" fmla="*/ 320675 w 1943100"/>
              <a:gd name="connsiteY590" fmla="*/ 892175 h 2203450"/>
              <a:gd name="connsiteX591" fmla="*/ 323850 w 1943100"/>
              <a:gd name="connsiteY591" fmla="*/ 876300 h 2203450"/>
              <a:gd name="connsiteX592" fmla="*/ 333375 w 1943100"/>
              <a:gd name="connsiteY592" fmla="*/ 860425 h 2203450"/>
              <a:gd name="connsiteX593" fmla="*/ 342900 w 1943100"/>
              <a:gd name="connsiteY593" fmla="*/ 847725 h 2203450"/>
              <a:gd name="connsiteX594" fmla="*/ 358775 w 1943100"/>
              <a:gd name="connsiteY594" fmla="*/ 835025 h 2203450"/>
              <a:gd name="connsiteX595" fmla="*/ 377825 w 1943100"/>
              <a:gd name="connsiteY595" fmla="*/ 825500 h 2203450"/>
              <a:gd name="connsiteX596" fmla="*/ 396875 w 1943100"/>
              <a:gd name="connsiteY596" fmla="*/ 819150 h 2203450"/>
              <a:gd name="connsiteX597" fmla="*/ 438150 w 1943100"/>
              <a:gd name="connsiteY597" fmla="*/ 809625 h 2203450"/>
              <a:gd name="connsiteX598" fmla="*/ 482600 w 1943100"/>
              <a:gd name="connsiteY598" fmla="*/ 803275 h 2203450"/>
              <a:gd name="connsiteX599" fmla="*/ 517525 w 1943100"/>
              <a:gd name="connsiteY599" fmla="*/ 800100 h 2203450"/>
              <a:gd name="connsiteX600" fmla="*/ 555625 w 1943100"/>
              <a:gd name="connsiteY600" fmla="*/ 800100 h 2203450"/>
              <a:gd name="connsiteX601" fmla="*/ 581025 w 1943100"/>
              <a:gd name="connsiteY601" fmla="*/ 800100 h 2203450"/>
              <a:gd name="connsiteX602" fmla="*/ 606425 w 1943100"/>
              <a:gd name="connsiteY602" fmla="*/ 796925 h 2203450"/>
              <a:gd name="connsiteX603" fmla="*/ 650875 w 1943100"/>
              <a:gd name="connsiteY603" fmla="*/ 787400 h 2203450"/>
              <a:gd name="connsiteX604" fmla="*/ 682625 w 1943100"/>
              <a:gd name="connsiteY604" fmla="*/ 774700 h 2203450"/>
              <a:gd name="connsiteX605" fmla="*/ 704850 w 1943100"/>
              <a:gd name="connsiteY605" fmla="*/ 758825 h 2203450"/>
              <a:gd name="connsiteX606" fmla="*/ 720725 w 1943100"/>
              <a:gd name="connsiteY606" fmla="*/ 742950 h 2203450"/>
              <a:gd name="connsiteX607" fmla="*/ 730250 w 1943100"/>
              <a:gd name="connsiteY607" fmla="*/ 730250 h 2203450"/>
              <a:gd name="connsiteX608" fmla="*/ 736600 w 1943100"/>
              <a:gd name="connsiteY608" fmla="*/ 717550 h 2203450"/>
              <a:gd name="connsiteX609" fmla="*/ 742950 w 1943100"/>
              <a:gd name="connsiteY609" fmla="*/ 688975 h 2203450"/>
              <a:gd name="connsiteX610" fmla="*/ 742950 w 1943100"/>
              <a:gd name="connsiteY610" fmla="*/ 666750 h 2203450"/>
              <a:gd name="connsiteX611" fmla="*/ 739775 w 1943100"/>
              <a:gd name="connsiteY611" fmla="*/ 647700 h 2203450"/>
              <a:gd name="connsiteX612" fmla="*/ 733425 w 1943100"/>
              <a:gd name="connsiteY612" fmla="*/ 631825 h 2203450"/>
              <a:gd name="connsiteX613" fmla="*/ 727075 w 1943100"/>
              <a:gd name="connsiteY613" fmla="*/ 619125 h 2203450"/>
              <a:gd name="connsiteX614" fmla="*/ 717550 w 1943100"/>
              <a:gd name="connsiteY614" fmla="*/ 609600 h 2203450"/>
              <a:gd name="connsiteX615" fmla="*/ 711200 w 1943100"/>
              <a:gd name="connsiteY615" fmla="*/ 603250 h 2203450"/>
              <a:gd name="connsiteX616" fmla="*/ 685800 w 1943100"/>
              <a:gd name="connsiteY616" fmla="*/ 574675 h 2203450"/>
              <a:gd name="connsiteX617" fmla="*/ 666750 w 1943100"/>
              <a:gd name="connsiteY617" fmla="*/ 549275 h 2203450"/>
              <a:gd name="connsiteX618" fmla="*/ 657225 w 1943100"/>
              <a:gd name="connsiteY618" fmla="*/ 527050 h 2203450"/>
              <a:gd name="connsiteX619" fmla="*/ 654050 w 1943100"/>
              <a:gd name="connsiteY619" fmla="*/ 504825 h 2203450"/>
              <a:gd name="connsiteX620" fmla="*/ 650875 w 1943100"/>
              <a:gd name="connsiteY620" fmla="*/ 485775 h 2203450"/>
              <a:gd name="connsiteX621" fmla="*/ 654050 w 1943100"/>
              <a:gd name="connsiteY621" fmla="*/ 469900 h 2203450"/>
              <a:gd name="connsiteX622" fmla="*/ 657225 w 1943100"/>
              <a:gd name="connsiteY622" fmla="*/ 457200 h 2203450"/>
              <a:gd name="connsiteX623" fmla="*/ 663575 w 1943100"/>
              <a:gd name="connsiteY623" fmla="*/ 441325 h 2203450"/>
              <a:gd name="connsiteX624" fmla="*/ 673100 w 1943100"/>
              <a:gd name="connsiteY624" fmla="*/ 428625 h 2203450"/>
              <a:gd name="connsiteX625" fmla="*/ 682625 w 1943100"/>
              <a:gd name="connsiteY625" fmla="*/ 419100 h 2203450"/>
              <a:gd name="connsiteX626" fmla="*/ 692150 w 1943100"/>
              <a:gd name="connsiteY626" fmla="*/ 409575 h 2203450"/>
              <a:gd name="connsiteX627" fmla="*/ 704850 w 1943100"/>
              <a:gd name="connsiteY627" fmla="*/ 406400 h 2203450"/>
              <a:gd name="connsiteX628" fmla="*/ 717550 w 1943100"/>
              <a:gd name="connsiteY628" fmla="*/ 403225 h 2203450"/>
              <a:gd name="connsiteX629" fmla="*/ 746125 w 1943100"/>
              <a:gd name="connsiteY629" fmla="*/ 400050 h 2203450"/>
              <a:gd name="connsiteX630" fmla="*/ 768350 w 1943100"/>
              <a:gd name="connsiteY630" fmla="*/ 403225 h 2203450"/>
              <a:gd name="connsiteX631" fmla="*/ 790575 w 1943100"/>
              <a:gd name="connsiteY631" fmla="*/ 409575 h 2203450"/>
              <a:gd name="connsiteX632" fmla="*/ 809625 w 1943100"/>
              <a:gd name="connsiteY632" fmla="*/ 415925 h 2203450"/>
              <a:gd name="connsiteX633" fmla="*/ 828675 w 1943100"/>
              <a:gd name="connsiteY633" fmla="*/ 419100 h 2203450"/>
              <a:gd name="connsiteX634" fmla="*/ 847725 w 1943100"/>
              <a:gd name="connsiteY634" fmla="*/ 422275 h 2203450"/>
              <a:gd name="connsiteX635" fmla="*/ 866775 w 1943100"/>
              <a:gd name="connsiteY635" fmla="*/ 419100 h 2203450"/>
              <a:gd name="connsiteX636" fmla="*/ 882650 w 1943100"/>
              <a:gd name="connsiteY636" fmla="*/ 412750 h 2203450"/>
              <a:gd name="connsiteX637" fmla="*/ 898525 w 1943100"/>
              <a:gd name="connsiteY637" fmla="*/ 406400 h 2203450"/>
              <a:gd name="connsiteX638" fmla="*/ 914400 w 1943100"/>
              <a:gd name="connsiteY638" fmla="*/ 400050 h 2203450"/>
              <a:gd name="connsiteX639" fmla="*/ 939800 w 1943100"/>
              <a:gd name="connsiteY639" fmla="*/ 377825 h 2203450"/>
              <a:gd name="connsiteX640" fmla="*/ 958850 w 1943100"/>
              <a:gd name="connsiteY640" fmla="*/ 355600 h 2203450"/>
              <a:gd name="connsiteX641" fmla="*/ 974725 w 1943100"/>
              <a:gd name="connsiteY641" fmla="*/ 336550 h 2203450"/>
              <a:gd name="connsiteX642" fmla="*/ 987425 w 1943100"/>
              <a:gd name="connsiteY642" fmla="*/ 317500 h 2203450"/>
              <a:gd name="connsiteX643" fmla="*/ 1019175 w 1943100"/>
              <a:gd name="connsiteY643" fmla="*/ 254000 h 2203450"/>
              <a:gd name="connsiteX644" fmla="*/ 1054100 w 1943100"/>
              <a:gd name="connsiteY644" fmla="*/ 203200 h 2203450"/>
              <a:gd name="connsiteX645" fmla="*/ 1085850 w 1943100"/>
              <a:gd name="connsiteY645" fmla="*/ 165100 h 2203450"/>
              <a:gd name="connsiteX646" fmla="*/ 1120775 w 1943100"/>
              <a:gd name="connsiteY646" fmla="*/ 136525 h 2203450"/>
              <a:gd name="connsiteX647" fmla="*/ 1152525 w 1943100"/>
              <a:gd name="connsiteY647" fmla="*/ 117475 h 2203450"/>
              <a:gd name="connsiteX648" fmla="*/ 1184275 w 1943100"/>
              <a:gd name="connsiteY648" fmla="*/ 104775 h 2203450"/>
              <a:gd name="connsiteX649" fmla="*/ 958850 w 1943100"/>
              <a:gd name="connsiteY649" fmla="*/ 0 h 2203450"/>
              <a:gd name="connsiteX650" fmla="*/ 981075 w 1943100"/>
              <a:gd name="connsiteY650" fmla="*/ 3175 h 2203450"/>
              <a:gd name="connsiteX651" fmla="*/ 1000125 w 1943100"/>
              <a:gd name="connsiteY651" fmla="*/ 12700 h 2203450"/>
              <a:gd name="connsiteX652" fmla="*/ 1012825 w 1943100"/>
              <a:gd name="connsiteY652" fmla="*/ 25400 h 2203450"/>
              <a:gd name="connsiteX653" fmla="*/ 1022350 w 1943100"/>
              <a:gd name="connsiteY653" fmla="*/ 44450 h 2203450"/>
              <a:gd name="connsiteX654" fmla="*/ 1028700 w 1943100"/>
              <a:gd name="connsiteY654" fmla="*/ 63500 h 2203450"/>
              <a:gd name="connsiteX655" fmla="*/ 1028700 w 1943100"/>
              <a:gd name="connsiteY655" fmla="*/ 88900 h 2203450"/>
              <a:gd name="connsiteX656" fmla="*/ 1025525 w 1943100"/>
              <a:gd name="connsiteY656" fmla="*/ 114300 h 2203450"/>
              <a:gd name="connsiteX657" fmla="*/ 1016000 w 1943100"/>
              <a:gd name="connsiteY657" fmla="*/ 142875 h 2203450"/>
              <a:gd name="connsiteX658" fmla="*/ 1003300 w 1943100"/>
              <a:gd name="connsiteY658" fmla="*/ 171450 h 2203450"/>
              <a:gd name="connsiteX659" fmla="*/ 984250 w 1943100"/>
              <a:gd name="connsiteY659" fmla="*/ 196850 h 2203450"/>
              <a:gd name="connsiteX660" fmla="*/ 965200 w 1943100"/>
              <a:gd name="connsiteY660" fmla="*/ 222250 h 2203450"/>
              <a:gd name="connsiteX661" fmla="*/ 939800 w 1943100"/>
              <a:gd name="connsiteY661" fmla="*/ 244475 h 2203450"/>
              <a:gd name="connsiteX662" fmla="*/ 917575 w 1943100"/>
              <a:gd name="connsiteY662" fmla="*/ 263525 h 2203450"/>
              <a:gd name="connsiteX663" fmla="*/ 892175 w 1943100"/>
              <a:gd name="connsiteY663" fmla="*/ 276225 h 2203450"/>
              <a:gd name="connsiteX664" fmla="*/ 866775 w 1943100"/>
              <a:gd name="connsiteY664" fmla="*/ 282575 h 2203450"/>
              <a:gd name="connsiteX665" fmla="*/ 844550 w 1943100"/>
              <a:gd name="connsiteY665" fmla="*/ 285750 h 2203450"/>
              <a:gd name="connsiteX666" fmla="*/ 822325 w 1943100"/>
              <a:gd name="connsiteY666" fmla="*/ 282575 h 2203450"/>
              <a:gd name="connsiteX667" fmla="*/ 806450 w 1943100"/>
              <a:gd name="connsiteY667" fmla="*/ 273050 h 2203450"/>
              <a:gd name="connsiteX668" fmla="*/ 790575 w 1943100"/>
              <a:gd name="connsiteY668" fmla="*/ 260350 h 2203450"/>
              <a:gd name="connsiteX669" fmla="*/ 781050 w 1943100"/>
              <a:gd name="connsiteY669" fmla="*/ 241300 h 2203450"/>
              <a:gd name="connsiteX670" fmla="*/ 774700 w 1943100"/>
              <a:gd name="connsiteY670" fmla="*/ 222250 h 2203450"/>
              <a:gd name="connsiteX671" fmla="*/ 774700 w 1943100"/>
              <a:gd name="connsiteY671" fmla="*/ 196850 h 2203450"/>
              <a:gd name="connsiteX672" fmla="*/ 777875 w 1943100"/>
              <a:gd name="connsiteY672" fmla="*/ 171450 h 2203450"/>
              <a:gd name="connsiteX673" fmla="*/ 787400 w 1943100"/>
              <a:gd name="connsiteY673" fmla="*/ 142875 h 2203450"/>
              <a:gd name="connsiteX674" fmla="*/ 800100 w 1943100"/>
              <a:gd name="connsiteY674" fmla="*/ 114300 h 2203450"/>
              <a:gd name="connsiteX675" fmla="*/ 819150 w 1943100"/>
              <a:gd name="connsiteY675" fmla="*/ 88900 h 2203450"/>
              <a:gd name="connsiteX676" fmla="*/ 841375 w 1943100"/>
              <a:gd name="connsiteY676" fmla="*/ 63500 h 2203450"/>
              <a:gd name="connsiteX677" fmla="*/ 863600 w 1943100"/>
              <a:gd name="connsiteY677" fmla="*/ 41275 h 2203450"/>
              <a:gd name="connsiteX678" fmla="*/ 889000 w 1943100"/>
              <a:gd name="connsiteY678" fmla="*/ 22225 h 2203450"/>
              <a:gd name="connsiteX679" fmla="*/ 911225 w 1943100"/>
              <a:gd name="connsiteY679" fmla="*/ 9525 h 2203450"/>
              <a:gd name="connsiteX680" fmla="*/ 936625 w 1943100"/>
              <a:gd name="connsiteY680" fmla="*/ 3175 h 220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Lst>
            <a:rect l="l" t="t" r="r" b="b"/>
            <a:pathLst>
              <a:path w="1943100" h="2203450">
                <a:moveTo>
                  <a:pt x="1273175" y="1971675"/>
                </a:moveTo>
                <a:lnTo>
                  <a:pt x="1298575" y="1974850"/>
                </a:lnTo>
                <a:lnTo>
                  <a:pt x="1323975" y="1981200"/>
                </a:lnTo>
                <a:lnTo>
                  <a:pt x="1346200" y="1990725"/>
                </a:lnTo>
                <a:lnTo>
                  <a:pt x="1365250" y="2006600"/>
                </a:lnTo>
                <a:lnTo>
                  <a:pt x="1381125" y="2022475"/>
                </a:lnTo>
                <a:lnTo>
                  <a:pt x="1393825" y="2041525"/>
                </a:lnTo>
                <a:lnTo>
                  <a:pt x="1400175" y="2063750"/>
                </a:lnTo>
                <a:lnTo>
                  <a:pt x="1403350" y="2089150"/>
                </a:lnTo>
                <a:lnTo>
                  <a:pt x="1400175" y="2111375"/>
                </a:lnTo>
                <a:lnTo>
                  <a:pt x="1393825" y="2133600"/>
                </a:lnTo>
                <a:lnTo>
                  <a:pt x="1381125" y="2152650"/>
                </a:lnTo>
                <a:lnTo>
                  <a:pt x="1365250" y="2168525"/>
                </a:lnTo>
                <a:lnTo>
                  <a:pt x="1346200" y="2184400"/>
                </a:lnTo>
                <a:lnTo>
                  <a:pt x="1323975" y="2193925"/>
                </a:lnTo>
                <a:lnTo>
                  <a:pt x="1298575" y="2200275"/>
                </a:lnTo>
                <a:lnTo>
                  <a:pt x="1273175" y="2203450"/>
                </a:lnTo>
                <a:lnTo>
                  <a:pt x="1244600" y="2200275"/>
                </a:lnTo>
                <a:lnTo>
                  <a:pt x="1222375" y="2193925"/>
                </a:lnTo>
                <a:lnTo>
                  <a:pt x="1200150" y="2184400"/>
                </a:lnTo>
                <a:lnTo>
                  <a:pt x="1177925" y="2168525"/>
                </a:lnTo>
                <a:lnTo>
                  <a:pt x="1162050" y="2152650"/>
                </a:lnTo>
                <a:lnTo>
                  <a:pt x="1152525" y="2133600"/>
                </a:lnTo>
                <a:lnTo>
                  <a:pt x="1143000" y="2111375"/>
                </a:lnTo>
                <a:lnTo>
                  <a:pt x="1139825" y="2089150"/>
                </a:lnTo>
                <a:lnTo>
                  <a:pt x="1143000" y="2063750"/>
                </a:lnTo>
                <a:lnTo>
                  <a:pt x="1152525" y="2041525"/>
                </a:lnTo>
                <a:lnTo>
                  <a:pt x="1162050" y="2022475"/>
                </a:lnTo>
                <a:lnTo>
                  <a:pt x="1177925" y="2006600"/>
                </a:lnTo>
                <a:lnTo>
                  <a:pt x="1200150" y="1990725"/>
                </a:lnTo>
                <a:lnTo>
                  <a:pt x="1222375" y="1981200"/>
                </a:lnTo>
                <a:lnTo>
                  <a:pt x="1244600" y="1974850"/>
                </a:lnTo>
                <a:close/>
                <a:moveTo>
                  <a:pt x="1498600" y="1819275"/>
                </a:moveTo>
                <a:lnTo>
                  <a:pt x="1530350" y="1822450"/>
                </a:lnTo>
                <a:lnTo>
                  <a:pt x="1562100" y="1825625"/>
                </a:lnTo>
                <a:lnTo>
                  <a:pt x="1587500" y="1831975"/>
                </a:lnTo>
                <a:lnTo>
                  <a:pt x="1612900" y="1841500"/>
                </a:lnTo>
                <a:lnTo>
                  <a:pt x="1631950" y="1854200"/>
                </a:lnTo>
                <a:lnTo>
                  <a:pt x="1647825" y="1866900"/>
                </a:lnTo>
                <a:lnTo>
                  <a:pt x="1657350" y="1879600"/>
                </a:lnTo>
                <a:lnTo>
                  <a:pt x="1660525" y="1895475"/>
                </a:lnTo>
                <a:lnTo>
                  <a:pt x="1657350" y="1911350"/>
                </a:lnTo>
                <a:lnTo>
                  <a:pt x="1647825" y="1924050"/>
                </a:lnTo>
                <a:lnTo>
                  <a:pt x="1631950" y="1939925"/>
                </a:lnTo>
                <a:lnTo>
                  <a:pt x="1612900" y="1949450"/>
                </a:lnTo>
                <a:lnTo>
                  <a:pt x="1587500" y="1958975"/>
                </a:lnTo>
                <a:lnTo>
                  <a:pt x="1562100" y="1965325"/>
                </a:lnTo>
                <a:lnTo>
                  <a:pt x="1530350" y="1971675"/>
                </a:lnTo>
                <a:lnTo>
                  <a:pt x="1498600" y="1971675"/>
                </a:lnTo>
                <a:lnTo>
                  <a:pt x="1466850" y="1971675"/>
                </a:lnTo>
                <a:lnTo>
                  <a:pt x="1435100" y="1965325"/>
                </a:lnTo>
                <a:lnTo>
                  <a:pt x="1409700" y="1958975"/>
                </a:lnTo>
                <a:lnTo>
                  <a:pt x="1384300" y="1949450"/>
                </a:lnTo>
                <a:lnTo>
                  <a:pt x="1365250" y="1939925"/>
                </a:lnTo>
                <a:lnTo>
                  <a:pt x="1349375" y="1924050"/>
                </a:lnTo>
                <a:lnTo>
                  <a:pt x="1339850" y="1911350"/>
                </a:lnTo>
                <a:lnTo>
                  <a:pt x="1336675" y="1895475"/>
                </a:lnTo>
                <a:lnTo>
                  <a:pt x="1339850" y="1879600"/>
                </a:lnTo>
                <a:lnTo>
                  <a:pt x="1349375" y="1866900"/>
                </a:lnTo>
                <a:lnTo>
                  <a:pt x="1365250" y="1854200"/>
                </a:lnTo>
                <a:lnTo>
                  <a:pt x="1384300" y="1841500"/>
                </a:lnTo>
                <a:lnTo>
                  <a:pt x="1409700" y="1831975"/>
                </a:lnTo>
                <a:lnTo>
                  <a:pt x="1435100" y="1825625"/>
                </a:lnTo>
                <a:lnTo>
                  <a:pt x="1466850" y="1822450"/>
                </a:lnTo>
                <a:close/>
                <a:moveTo>
                  <a:pt x="752475" y="1781175"/>
                </a:moveTo>
                <a:lnTo>
                  <a:pt x="762000" y="1784350"/>
                </a:lnTo>
                <a:lnTo>
                  <a:pt x="768350" y="1787525"/>
                </a:lnTo>
                <a:lnTo>
                  <a:pt x="777875" y="1790700"/>
                </a:lnTo>
                <a:lnTo>
                  <a:pt x="784225" y="1800225"/>
                </a:lnTo>
                <a:lnTo>
                  <a:pt x="793750" y="1816100"/>
                </a:lnTo>
                <a:lnTo>
                  <a:pt x="796925" y="1838325"/>
                </a:lnTo>
                <a:lnTo>
                  <a:pt x="793750" y="1860550"/>
                </a:lnTo>
                <a:lnTo>
                  <a:pt x="784225" y="1879600"/>
                </a:lnTo>
                <a:lnTo>
                  <a:pt x="777875" y="1885950"/>
                </a:lnTo>
                <a:lnTo>
                  <a:pt x="768350" y="1889125"/>
                </a:lnTo>
                <a:lnTo>
                  <a:pt x="762000" y="1892300"/>
                </a:lnTo>
                <a:lnTo>
                  <a:pt x="752475" y="1895475"/>
                </a:lnTo>
                <a:lnTo>
                  <a:pt x="742950" y="1892300"/>
                </a:lnTo>
                <a:lnTo>
                  <a:pt x="736600" y="1889125"/>
                </a:lnTo>
                <a:lnTo>
                  <a:pt x="727075" y="1885950"/>
                </a:lnTo>
                <a:lnTo>
                  <a:pt x="720725" y="1879600"/>
                </a:lnTo>
                <a:lnTo>
                  <a:pt x="711200" y="1860550"/>
                </a:lnTo>
                <a:lnTo>
                  <a:pt x="708025" y="1838325"/>
                </a:lnTo>
                <a:lnTo>
                  <a:pt x="711200" y="1816100"/>
                </a:lnTo>
                <a:lnTo>
                  <a:pt x="720725" y="1800225"/>
                </a:lnTo>
                <a:lnTo>
                  <a:pt x="727075" y="1790700"/>
                </a:lnTo>
                <a:lnTo>
                  <a:pt x="736600" y="1787525"/>
                </a:lnTo>
                <a:lnTo>
                  <a:pt x="742950" y="1784350"/>
                </a:lnTo>
                <a:close/>
                <a:moveTo>
                  <a:pt x="492125" y="1670050"/>
                </a:moveTo>
                <a:lnTo>
                  <a:pt x="520700" y="1673225"/>
                </a:lnTo>
                <a:lnTo>
                  <a:pt x="546100" y="1679575"/>
                </a:lnTo>
                <a:lnTo>
                  <a:pt x="568325" y="1689100"/>
                </a:lnTo>
                <a:lnTo>
                  <a:pt x="590550" y="1704975"/>
                </a:lnTo>
                <a:lnTo>
                  <a:pt x="606425" y="1720850"/>
                </a:lnTo>
                <a:lnTo>
                  <a:pt x="619125" y="1739900"/>
                </a:lnTo>
                <a:lnTo>
                  <a:pt x="628650" y="1758950"/>
                </a:lnTo>
                <a:lnTo>
                  <a:pt x="631825" y="1781175"/>
                </a:lnTo>
                <a:lnTo>
                  <a:pt x="628650" y="1806575"/>
                </a:lnTo>
                <a:lnTo>
                  <a:pt x="619125" y="1825625"/>
                </a:lnTo>
                <a:lnTo>
                  <a:pt x="606425" y="1844675"/>
                </a:lnTo>
                <a:lnTo>
                  <a:pt x="590550" y="1860550"/>
                </a:lnTo>
                <a:lnTo>
                  <a:pt x="568325" y="1876425"/>
                </a:lnTo>
                <a:lnTo>
                  <a:pt x="546100" y="1885950"/>
                </a:lnTo>
                <a:lnTo>
                  <a:pt x="520700" y="1892300"/>
                </a:lnTo>
                <a:lnTo>
                  <a:pt x="492125" y="1895475"/>
                </a:lnTo>
                <a:lnTo>
                  <a:pt x="463550" y="1892300"/>
                </a:lnTo>
                <a:lnTo>
                  <a:pt x="438150" y="1885950"/>
                </a:lnTo>
                <a:lnTo>
                  <a:pt x="412750" y="1876425"/>
                </a:lnTo>
                <a:lnTo>
                  <a:pt x="393700" y="1860550"/>
                </a:lnTo>
                <a:lnTo>
                  <a:pt x="374650" y="1844675"/>
                </a:lnTo>
                <a:lnTo>
                  <a:pt x="361950" y="1825625"/>
                </a:lnTo>
                <a:lnTo>
                  <a:pt x="355600" y="1806575"/>
                </a:lnTo>
                <a:lnTo>
                  <a:pt x="352425" y="1781175"/>
                </a:lnTo>
                <a:lnTo>
                  <a:pt x="355600" y="1758950"/>
                </a:lnTo>
                <a:lnTo>
                  <a:pt x="361950" y="1739900"/>
                </a:lnTo>
                <a:lnTo>
                  <a:pt x="374650" y="1720850"/>
                </a:lnTo>
                <a:lnTo>
                  <a:pt x="393700" y="1704975"/>
                </a:lnTo>
                <a:lnTo>
                  <a:pt x="412750" y="1689100"/>
                </a:lnTo>
                <a:lnTo>
                  <a:pt x="438150" y="1679575"/>
                </a:lnTo>
                <a:lnTo>
                  <a:pt x="463550" y="1673225"/>
                </a:lnTo>
                <a:close/>
                <a:moveTo>
                  <a:pt x="212725" y="1670050"/>
                </a:moveTo>
                <a:lnTo>
                  <a:pt x="228600" y="1673225"/>
                </a:lnTo>
                <a:lnTo>
                  <a:pt x="244475" y="1676400"/>
                </a:lnTo>
                <a:lnTo>
                  <a:pt x="257175" y="1679575"/>
                </a:lnTo>
                <a:lnTo>
                  <a:pt x="266700" y="1685925"/>
                </a:lnTo>
                <a:lnTo>
                  <a:pt x="276225" y="1692275"/>
                </a:lnTo>
                <a:lnTo>
                  <a:pt x="285750" y="1701800"/>
                </a:lnTo>
                <a:lnTo>
                  <a:pt x="288925" y="1711325"/>
                </a:lnTo>
                <a:lnTo>
                  <a:pt x="288925" y="1724025"/>
                </a:lnTo>
                <a:lnTo>
                  <a:pt x="288925" y="1733550"/>
                </a:lnTo>
                <a:lnTo>
                  <a:pt x="285750" y="1743075"/>
                </a:lnTo>
                <a:lnTo>
                  <a:pt x="276225" y="1752600"/>
                </a:lnTo>
                <a:lnTo>
                  <a:pt x="266700" y="1758950"/>
                </a:lnTo>
                <a:lnTo>
                  <a:pt x="257175" y="1765300"/>
                </a:lnTo>
                <a:lnTo>
                  <a:pt x="244475" y="1771650"/>
                </a:lnTo>
                <a:lnTo>
                  <a:pt x="228600" y="1774825"/>
                </a:lnTo>
                <a:lnTo>
                  <a:pt x="212725" y="1774825"/>
                </a:lnTo>
                <a:lnTo>
                  <a:pt x="196850" y="1774825"/>
                </a:lnTo>
                <a:lnTo>
                  <a:pt x="184150" y="1771650"/>
                </a:lnTo>
                <a:lnTo>
                  <a:pt x="168275" y="1765300"/>
                </a:lnTo>
                <a:lnTo>
                  <a:pt x="158750" y="1758950"/>
                </a:lnTo>
                <a:lnTo>
                  <a:pt x="149225" y="1752600"/>
                </a:lnTo>
                <a:lnTo>
                  <a:pt x="142875" y="1743075"/>
                </a:lnTo>
                <a:lnTo>
                  <a:pt x="136525" y="1733550"/>
                </a:lnTo>
                <a:lnTo>
                  <a:pt x="136525" y="1724025"/>
                </a:lnTo>
                <a:lnTo>
                  <a:pt x="136525" y="1711325"/>
                </a:lnTo>
                <a:lnTo>
                  <a:pt x="142875" y="1701800"/>
                </a:lnTo>
                <a:lnTo>
                  <a:pt x="149225" y="1692275"/>
                </a:lnTo>
                <a:lnTo>
                  <a:pt x="158750" y="1685925"/>
                </a:lnTo>
                <a:lnTo>
                  <a:pt x="168275" y="1679575"/>
                </a:lnTo>
                <a:lnTo>
                  <a:pt x="184150" y="1676400"/>
                </a:lnTo>
                <a:lnTo>
                  <a:pt x="196850" y="1673225"/>
                </a:lnTo>
                <a:close/>
                <a:moveTo>
                  <a:pt x="44450" y="1260475"/>
                </a:moveTo>
                <a:lnTo>
                  <a:pt x="53975" y="1260475"/>
                </a:lnTo>
                <a:lnTo>
                  <a:pt x="63500" y="1260475"/>
                </a:lnTo>
                <a:lnTo>
                  <a:pt x="76200" y="1266825"/>
                </a:lnTo>
                <a:lnTo>
                  <a:pt x="82550" y="1273175"/>
                </a:lnTo>
                <a:lnTo>
                  <a:pt x="92075" y="1279525"/>
                </a:lnTo>
                <a:lnTo>
                  <a:pt x="98425" y="1289050"/>
                </a:lnTo>
                <a:lnTo>
                  <a:pt x="101600" y="1298575"/>
                </a:lnTo>
                <a:lnTo>
                  <a:pt x="104775" y="1311275"/>
                </a:lnTo>
                <a:lnTo>
                  <a:pt x="107950" y="1323975"/>
                </a:lnTo>
                <a:lnTo>
                  <a:pt x="104775" y="1336675"/>
                </a:lnTo>
                <a:lnTo>
                  <a:pt x="101600" y="1349375"/>
                </a:lnTo>
                <a:lnTo>
                  <a:pt x="98425" y="1362075"/>
                </a:lnTo>
                <a:lnTo>
                  <a:pt x="92075" y="1371600"/>
                </a:lnTo>
                <a:lnTo>
                  <a:pt x="82550" y="1377950"/>
                </a:lnTo>
                <a:lnTo>
                  <a:pt x="76200" y="1384300"/>
                </a:lnTo>
                <a:lnTo>
                  <a:pt x="63500" y="1387475"/>
                </a:lnTo>
                <a:lnTo>
                  <a:pt x="53975" y="1390650"/>
                </a:lnTo>
                <a:lnTo>
                  <a:pt x="44450" y="1387475"/>
                </a:lnTo>
                <a:lnTo>
                  <a:pt x="34925" y="1384300"/>
                </a:lnTo>
                <a:lnTo>
                  <a:pt x="25400" y="1377950"/>
                </a:lnTo>
                <a:lnTo>
                  <a:pt x="15875" y="1371600"/>
                </a:lnTo>
                <a:lnTo>
                  <a:pt x="9525" y="1362075"/>
                </a:lnTo>
                <a:lnTo>
                  <a:pt x="6350" y="1349375"/>
                </a:lnTo>
                <a:lnTo>
                  <a:pt x="3175" y="1336675"/>
                </a:lnTo>
                <a:lnTo>
                  <a:pt x="0" y="1323975"/>
                </a:lnTo>
                <a:lnTo>
                  <a:pt x="3175" y="1311275"/>
                </a:lnTo>
                <a:lnTo>
                  <a:pt x="6350" y="1298575"/>
                </a:lnTo>
                <a:lnTo>
                  <a:pt x="9525" y="1289050"/>
                </a:lnTo>
                <a:lnTo>
                  <a:pt x="15875" y="1279525"/>
                </a:lnTo>
                <a:lnTo>
                  <a:pt x="25400" y="1273175"/>
                </a:lnTo>
                <a:lnTo>
                  <a:pt x="34925" y="1266825"/>
                </a:lnTo>
                <a:close/>
                <a:moveTo>
                  <a:pt x="171450" y="1098550"/>
                </a:moveTo>
                <a:lnTo>
                  <a:pt x="184150" y="1101725"/>
                </a:lnTo>
                <a:lnTo>
                  <a:pt x="193675" y="1104900"/>
                </a:lnTo>
                <a:lnTo>
                  <a:pt x="206375" y="1108075"/>
                </a:lnTo>
                <a:lnTo>
                  <a:pt x="215900" y="1117600"/>
                </a:lnTo>
                <a:lnTo>
                  <a:pt x="222250" y="1123950"/>
                </a:lnTo>
                <a:lnTo>
                  <a:pt x="228600" y="1136650"/>
                </a:lnTo>
                <a:lnTo>
                  <a:pt x="231775" y="1146175"/>
                </a:lnTo>
                <a:lnTo>
                  <a:pt x="234950" y="1158875"/>
                </a:lnTo>
                <a:lnTo>
                  <a:pt x="231775" y="1168400"/>
                </a:lnTo>
                <a:lnTo>
                  <a:pt x="228600" y="1181100"/>
                </a:lnTo>
                <a:lnTo>
                  <a:pt x="222250" y="1190625"/>
                </a:lnTo>
                <a:lnTo>
                  <a:pt x="215900" y="1200150"/>
                </a:lnTo>
                <a:lnTo>
                  <a:pt x="206375" y="1206500"/>
                </a:lnTo>
                <a:lnTo>
                  <a:pt x="193675" y="1212850"/>
                </a:lnTo>
                <a:lnTo>
                  <a:pt x="184150" y="1216025"/>
                </a:lnTo>
                <a:lnTo>
                  <a:pt x="171450" y="1216025"/>
                </a:lnTo>
                <a:lnTo>
                  <a:pt x="158750" y="1216025"/>
                </a:lnTo>
                <a:lnTo>
                  <a:pt x="146050" y="1212850"/>
                </a:lnTo>
                <a:lnTo>
                  <a:pt x="136525" y="1206500"/>
                </a:lnTo>
                <a:lnTo>
                  <a:pt x="127000" y="1200150"/>
                </a:lnTo>
                <a:lnTo>
                  <a:pt x="117475" y="1190625"/>
                </a:lnTo>
                <a:lnTo>
                  <a:pt x="111125" y="1181100"/>
                </a:lnTo>
                <a:lnTo>
                  <a:pt x="107950" y="1168400"/>
                </a:lnTo>
                <a:lnTo>
                  <a:pt x="107950" y="1158875"/>
                </a:lnTo>
                <a:lnTo>
                  <a:pt x="107950" y="1146175"/>
                </a:lnTo>
                <a:lnTo>
                  <a:pt x="111125" y="1136650"/>
                </a:lnTo>
                <a:lnTo>
                  <a:pt x="117475" y="1123950"/>
                </a:lnTo>
                <a:lnTo>
                  <a:pt x="127000" y="1117600"/>
                </a:lnTo>
                <a:lnTo>
                  <a:pt x="136525" y="1108075"/>
                </a:lnTo>
                <a:lnTo>
                  <a:pt x="146050" y="1104900"/>
                </a:lnTo>
                <a:lnTo>
                  <a:pt x="158750" y="1101725"/>
                </a:lnTo>
                <a:close/>
                <a:moveTo>
                  <a:pt x="136525" y="812800"/>
                </a:moveTo>
                <a:lnTo>
                  <a:pt x="155575" y="815975"/>
                </a:lnTo>
                <a:lnTo>
                  <a:pt x="174625" y="822325"/>
                </a:lnTo>
                <a:lnTo>
                  <a:pt x="190500" y="831850"/>
                </a:lnTo>
                <a:lnTo>
                  <a:pt x="206375" y="844550"/>
                </a:lnTo>
                <a:lnTo>
                  <a:pt x="215900" y="860425"/>
                </a:lnTo>
                <a:lnTo>
                  <a:pt x="225425" y="879475"/>
                </a:lnTo>
                <a:lnTo>
                  <a:pt x="231775" y="898525"/>
                </a:lnTo>
                <a:lnTo>
                  <a:pt x="234950" y="920750"/>
                </a:lnTo>
                <a:lnTo>
                  <a:pt x="231775" y="939800"/>
                </a:lnTo>
                <a:lnTo>
                  <a:pt x="225425" y="958850"/>
                </a:lnTo>
                <a:lnTo>
                  <a:pt x="215900" y="977900"/>
                </a:lnTo>
                <a:lnTo>
                  <a:pt x="206375" y="993775"/>
                </a:lnTo>
                <a:lnTo>
                  <a:pt x="190500" y="1006475"/>
                </a:lnTo>
                <a:lnTo>
                  <a:pt x="174625" y="1016000"/>
                </a:lnTo>
                <a:lnTo>
                  <a:pt x="155575" y="1022350"/>
                </a:lnTo>
                <a:lnTo>
                  <a:pt x="136525" y="1025525"/>
                </a:lnTo>
                <a:lnTo>
                  <a:pt x="114300" y="1022350"/>
                </a:lnTo>
                <a:lnTo>
                  <a:pt x="98425" y="1016000"/>
                </a:lnTo>
                <a:lnTo>
                  <a:pt x="79375" y="1006475"/>
                </a:lnTo>
                <a:lnTo>
                  <a:pt x="66675" y="993775"/>
                </a:lnTo>
                <a:lnTo>
                  <a:pt x="53975" y="977900"/>
                </a:lnTo>
                <a:lnTo>
                  <a:pt x="44450" y="958850"/>
                </a:lnTo>
                <a:lnTo>
                  <a:pt x="38100" y="939800"/>
                </a:lnTo>
                <a:lnTo>
                  <a:pt x="38100" y="920750"/>
                </a:lnTo>
                <a:lnTo>
                  <a:pt x="38100" y="898525"/>
                </a:lnTo>
                <a:lnTo>
                  <a:pt x="44450" y="879475"/>
                </a:lnTo>
                <a:lnTo>
                  <a:pt x="53975" y="860425"/>
                </a:lnTo>
                <a:lnTo>
                  <a:pt x="66675" y="844550"/>
                </a:lnTo>
                <a:lnTo>
                  <a:pt x="79375" y="831850"/>
                </a:lnTo>
                <a:lnTo>
                  <a:pt x="98425" y="822325"/>
                </a:lnTo>
                <a:lnTo>
                  <a:pt x="114300" y="815975"/>
                </a:lnTo>
                <a:close/>
                <a:moveTo>
                  <a:pt x="352425" y="698500"/>
                </a:moveTo>
                <a:lnTo>
                  <a:pt x="368300" y="701675"/>
                </a:lnTo>
                <a:lnTo>
                  <a:pt x="381000" y="708025"/>
                </a:lnTo>
                <a:lnTo>
                  <a:pt x="390525" y="720725"/>
                </a:lnTo>
                <a:lnTo>
                  <a:pt x="393700" y="733425"/>
                </a:lnTo>
                <a:lnTo>
                  <a:pt x="390525" y="749300"/>
                </a:lnTo>
                <a:lnTo>
                  <a:pt x="381000" y="762000"/>
                </a:lnTo>
                <a:lnTo>
                  <a:pt x="368300" y="768350"/>
                </a:lnTo>
                <a:lnTo>
                  <a:pt x="352425" y="771525"/>
                </a:lnTo>
                <a:lnTo>
                  <a:pt x="333375" y="768350"/>
                </a:lnTo>
                <a:lnTo>
                  <a:pt x="320675" y="762000"/>
                </a:lnTo>
                <a:lnTo>
                  <a:pt x="311150" y="749300"/>
                </a:lnTo>
                <a:lnTo>
                  <a:pt x="307975" y="733425"/>
                </a:lnTo>
                <a:lnTo>
                  <a:pt x="311150" y="720725"/>
                </a:lnTo>
                <a:lnTo>
                  <a:pt x="320675" y="708025"/>
                </a:lnTo>
                <a:lnTo>
                  <a:pt x="333375" y="701675"/>
                </a:lnTo>
                <a:close/>
                <a:moveTo>
                  <a:pt x="1809750" y="631825"/>
                </a:moveTo>
                <a:lnTo>
                  <a:pt x="1825625" y="631825"/>
                </a:lnTo>
                <a:lnTo>
                  <a:pt x="1841500" y="631825"/>
                </a:lnTo>
                <a:lnTo>
                  <a:pt x="1863725" y="635000"/>
                </a:lnTo>
                <a:lnTo>
                  <a:pt x="1885950" y="644525"/>
                </a:lnTo>
                <a:lnTo>
                  <a:pt x="1895475" y="654050"/>
                </a:lnTo>
                <a:lnTo>
                  <a:pt x="1908175" y="663575"/>
                </a:lnTo>
                <a:lnTo>
                  <a:pt x="1917700" y="679450"/>
                </a:lnTo>
                <a:lnTo>
                  <a:pt x="1927225" y="695325"/>
                </a:lnTo>
                <a:lnTo>
                  <a:pt x="1933575" y="704850"/>
                </a:lnTo>
                <a:lnTo>
                  <a:pt x="1939925" y="720725"/>
                </a:lnTo>
                <a:lnTo>
                  <a:pt x="1943100" y="739775"/>
                </a:lnTo>
                <a:lnTo>
                  <a:pt x="1943100" y="768350"/>
                </a:lnTo>
                <a:lnTo>
                  <a:pt x="1939925" y="800100"/>
                </a:lnTo>
                <a:lnTo>
                  <a:pt x="1930400" y="841375"/>
                </a:lnTo>
                <a:lnTo>
                  <a:pt x="1911350" y="885825"/>
                </a:lnTo>
                <a:lnTo>
                  <a:pt x="1898650" y="914400"/>
                </a:lnTo>
                <a:lnTo>
                  <a:pt x="1882775" y="939800"/>
                </a:lnTo>
                <a:lnTo>
                  <a:pt x="1863725" y="958850"/>
                </a:lnTo>
                <a:lnTo>
                  <a:pt x="1847850" y="974725"/>
                </a:lnTo>
                <a:lnTo>
                  <a:pt x="1828800" y="987425"/>
                </a:lnTo>
                <a:lnTo>
                  <a:pt x="1809750" y="993775"/>
                </a:lnTo>
                <a:lnTo>
                  <a:pt x="1793875" y="996950"/>
                </a:lnTo>
                <a:lnTo>
                  <a:pt x="1778000" y="990600"/>
                </a:lnTo>
                <a:lnTo>
                  <a:pt x="1765300" y="977900"/>
                </a:lnTo>
                <a:lnTo>
                  <a:pt x="1755775" y="962025"/>
                </a:lnTo>
                <a:lnTo>
                  <a:pt x="1749425" y="942975"/>
                </a:lnTo>
                <a:lnTo>
                  <a:pt x="1746250" y="917575"/>
                </a:lnTo>
                <a:lnTo>
                  <a:pt x="1746250" y="892175"/>
                </a:lnTo>
                <a:lnTo>
                  <a:pt x="1749425" y="863600"/>
                </a:lnTo>
                <a:lnTo>
                  <a:pt x="1755775" y="835025"/>
                </a:lnTo>
                <a:lnTo>
                  <a:pt x="1768475" y="803275"/>
                </a:lnTo>
                <a:lnTo>
                  <a:pt x="1771650" y="796925"/>
                </a:lnTo>
                <a:lnTo>
                  <a:pt x="1774825" y="777875"/>
                </a:lnTo>
                <a:lnTo>
                  <a:pt x="1774825" y="752475"/>
                </a:lnTo>
                <a:lnTo>
                  <a:pt x="1774825" y="739775"/>
                </a:lnTo>
                <a:lnTo>
                  <a:pt x="1768475" y="727075"/>
                </a:lnTo>
                <a:lnTo>
                  <a:pt x="1762125" y="717550"/>
                </a:lnTo>
                <a:lnTo>
                  <a:pt x="1758950" y="708025"/>
                </a:lnTo>
                <a:lnTo>
                  <a:pt x="1755775" y="695325"/>
                </a:lnTo>
                <a:lnTo>
                  <a:pt x="1755775" y="682625"/>
                </a:lnTo>
                <a:lnTo>
                  <a:pt x="1762125" y="666750"/>
                </a:lnTo>
                <a:lnTo>
                  <a:pt x="1774825" y="650875"/>
                </a:lnTo>
                <a:lnTo>
                  <a:pt x="1797050" y="638175"/>
                </a:lnTo>
                <a:close/>
                <a:moveTo>
                  <a:pt x="504825" y="593725"/>
                </a:moveTo>
                <a:lnTo>
                  <a:pt x="520700" y="596900"/>
                </a:lnTo>
                <a:lnTo>
                  <a:pt x="536575" y="600075"/>
                </a:lnTo>
                <a:lnTo>
                  <a:pt x="549275" y="606425"/>
                </a:lnTo>
                <a:lnTo>
                  <a:pt x="561975" y="612775"/>
                </a:lnTo>
                <a:lnTo>
                  <a:pt x="571500" y="622300"/>
                </a:lnTo>
                <a:lnTo>
                  <a:pt x="581025" y="631825"/>
                </a:lnTo>
                <a:lnTo>
                  <a:pt x="584200" y="641350"/>
                </a:lnTo>
                <a:lnTo>
                  <a:pt x="587375" y="654050"/>
                </a:lnTo>
                <a:lnTo>
                  <a:pt x="584200" y="666750"/>
                </a:lnTo>
                <a:lnTo>
                  <a:pt x="581025" y="679450"/>
                </a:lnTo>
                <a:lnTo>
                  <a:pt x="571500" y="688975"/>
                </a:lnTo>
                <a:lnTo>
                  <a:pt x="561975" y="698500"/>
                </a:lnTo>
                <a:lnTo>
                  <a:pt x="549275" y="704850"/>
                </a:lnTo>
                <a:lnTo>
                  <a:pt x="536575" y="711200"/>
                </a:lnTo>
                <a:lnTo>
                  <a:pt x="520700" y="714375"/>
                </a:lnTo>
                <a:lnTo>
                  <a:pt x="504825" y="714375"/>
                </a:lnTo>
                <a:lnTo>
                  <a:pt x="488950" y="714375"/>
                </a:lnTo>
                <a:lnTo>
                  <a:pt x="473075" y="711200"/>
                </a:lnTo>
                <a:lnTo>
                  <a:pt x="457200" y="704850"/>
                </a:lnTo>
                <a:lnTo>
                  <a:pt x="444500" y="698500"/>
                </a:lnTo>
                <a:lnTo>
                  <a:pt x="434975" y="688975"/>
                </a:lnTo>
                <a:lnTo>
                  <a:pt x="428625" y="679450"/>
                </a:lnTo>
                <a:lnTo>
                  <a:pt x="422275" y="666750"/>
                </a:lnTo>
                <a:lnTo>
                  <a:pt x="422275" y="654050"/>
                </a:lnTo>
                <a:lnTo>
                  <a:pt x="422275" y="641350"/>
                </a:lnTo>
                <a:lnTo>
                  <a:pt x="428625" y="631825"/>
                </a:lnTo>
                <a:lnTo>
                  <a:pt x="434975" y="622300"/>
                </a:lnTo>
                <a:lnTo>
                  <a:pt x="444500" y="612775"/>
                </a:lnTo>
                <a:lnTo>
                  <a:pt x="457200" y="606425"/>
                </a:lnTo>
                <a:lnTo>
                  <a:pt x="473075" y="600075"/>
                </a:lnTo>
                <a:lnTo>
                  <a:pt x="488950" y="596900"/>
                </a:lnTo>
                <a:close/>
                <a:moveTo>
                  <a:pt x="1581150" y="158750"/>
                </a:moveTo>
                <a:lnTo>
                  <a:pt x="1600200" y="158750"/>
                </a:lnTo>
                <a:lnTo>
                  <a:pt x="1616075" y="165100"/>
                </a:lnTo>
                <a:lnTo>
                  <a:pt x="1635125" y="177800"/>
                </a:lnTo>
                <a:lnTo>
                  <a:pt x="1654175" y="193675"/>
                </a:lnTo>
                <a:lnTo>
                  <a:pt x="1670050" y="215900"/>
                </a:lnTo>
                <a:lnTo>
                  <a:pt x="1685925" y="241300"/>
                </a:lnTo>
                <a:lnTo>
                  <a:pt x="1698625" y="269875"/>
                </a:lnTo>
                <a:lnTo>
                  <a:pt x="1708150" y="298450"/>
                </a:lnTo>
                <a:lnTo>
                  <a:pt x="1714500" y="330200"/>
                </a:lnTo>
                <a:lnTo>
                  <a:pt x="1717675" y="358775"/>
                </a:lnTo>
                <a:lnTo>
                  <a:pt x="1717675" y="387350"/>
                </a:lnTo>
                <a:lnTo>
                  <a:pt x="1714500" y="409575"/>
                </a:lnTo>
                <a:lnTo>
                  <a:pt x="1708150" y="428625"/>
                </a:lnTo>
                <a:lnTo>
                  <a:pt x="1698625" y="444500"/>
                </a:lnTo>
                <a:lnTo>
                  <a:pt x="1685925" y="457200"/>
                </a:lnTo>
                <a:lnTo>
                  <a:pt x="1670050" y="460375"/>
                </a:lnTo>
                <a:lnTo>
                  <a:pt x="1651000" y="460375"/>
                </a:lnTo>
                <a:lnTo>
                  <a:pt x="1631950" y="454025"/>
                </a:lnTo>
                <a:lnTo>
                  <a:pt x="1616075" y="441325"/>
                </a:lnTo>
                <a:lnTo>
                  <a:pt x="1597025" y="422275"/>
                </a:lnTo>
                <a:lnTo>
                  <a:pt x="1581150" y="403225"/>
                </a:lnTo>
                <a:lnTo>
                  <a:pt x="1565275" y="377825"/>
                </a:lnTo>
                <a:lnTo>
                  <a:pt x="1552575" y="349250"/>
                </a:lnTo>
                <a:lnTo>
                  <a:pt x="1543050" y="320675"/>
                </a:lnTo>
                <a:lnTo>
                  <a:pt x="1533525" y="288925"/>
                </a:lnTo>
                <a:lnTo>
                  <a:pt x="1530350" y="260350"/>
                </a:lnTo>
                <a:lnTo>
                  <a:pt x="1530350" y="231775"/>
                </a:lnTo>
                <a:lnTo>
                  <a:pt x="1536700" y="209550"/>
                </a:lnTo>
                <a:lnTo>
                  <a:pt x="1543050" y="190500"/>
                </a:lnTo>
                <a:lnTo>
                  <a:pt x="1552575" y="174625"/>
                </a:lnTo>
                <a:lnTo>
                  <a:pt x="1565275" y="161925"/>
                </a:lnTo>
                <a:close/>
                <a:moveTo>
                  <a:pt x="1212850" y="98425"/>
                </a:moveTo>
                <a:lnTo>
                  <a:pt x="1241425" y="98425"/>
                </a:lnTo>
                <a:lnTo>
                  <a:pt x="1270000" y="101600"/>
                </a:lnTo>
                <a:lnTo>
                  <a:pt x="1292225" y="111125"/>
                </a:lnTo>
                <a:lnTo>
                  <a:pt x="1314450" y="120650"/>
                </a:lnTo>
                <a:lnTo>
                  <a:pt x="1333500" y="130175"/>
                </a:lnTo>
                <a:lnTo>
                  <a:pt x="1358900" y="149225"/>
                </a:lnTo>
                <a:lnTo>
                  <a:pt x="1368425" y="158750"/>
                </a:lnTo>
                <a:lnTo>
                  <a:pt x="1393825" y="180975"/>
                </a:lnTo>
                <a:lnTo>
                  <a:pt x="1419225" y="206375"/>
                </a:lnTo>
                <a:lnTo>
                  <a:pt x="1435100" y="234950"/>
                </a:lnTo>
                <a:lnTo>
                  <a:pt x="1450975" y="260350"/>
                </a:lnTo>
                <a:lnTo>
                  <a:pt x="1460500" y="285750"/>
                </a:lnTo>
                <a:lnTo>
                  <a:pt x="1470025" y="311150"/>
                </a:lnTo>
                <a:lnTo>
                  <a:pt x="1476375" y="333375"/>
                </a:lnTo>
                <a:lnTo>
                  <a:pt x="1476375" y="358775"/>
                </a:lnTo>
                <a:lnTo>
                  <a:pt x="1479550" y="400050"/>
                </a:lnTo>
                <a:lnTo>
                  <a:pt x="1473200" y="431800"/>
                </a:lnTo>
                <a:lnTo>
                  <a:pt x="1466850" y="460375"/>
                </a:lnTo>
                <a:lnTo>
                  <a:pt x="1457325" y="501650"/>
                </a:lnTo>
                <a:lnTo>
                  <a:pt x="1454150" y="533400"/>
                </a:lnTo>
                <a:lnTo>
                  <a:pt x="1454150" y="561975"/>
                </a:lnTo>
                <a:lnTo>
                  <a:pt x="1457325" y="581025"/>
                </a:lnTo>
                <a:lnTo>
                  <a:pt x="1466850" y="596900"/>
                </a:lnTo>
                <a:lnTo>
                  <a:pt x="1473200" y="609600"/>
                </a:lnTo>
                <a:lnTo>
                  <a:pt x="1482725" y="622300"/>
                </a:lnTo>
                <a:lnTo>
                  <a:pt x="1495425" y="631825"/>
                </a:lnTo>
                <a:lnTo>
                  <a:pt x="1508125" y="638175"/>
                </a:lnTo>
                <a:lnTo>
                  <a:pt x="1530350" y="647700"/>
                </a:lnTo>
                <a:lnTo>
                  <a:pt x="1552575" y="650875"/>
                </a:lnTo>
                <a:lnTo>
                  <a:pt x="1571625" y="650875"/>
                </a:lnTo>
                <a:lnTo>
                  <a:pt x="1590675" y="650875"/>
                </a:lnTo>
                <a:lnTo>
                  <a:pt x="1622425" y="650875"/>
                </a:lnTo>
                <a:lnTo>
                  <a:pt x="1647825" y="654050"/>
                </a:lnTo>
                <a:lnTo>
                  <a:pt x="1670050" y="660400"/>
                </a:lnTo>
                <a:lnTo>
                  <a:pt x="1685925" y="666750"/>
                </a:lnTo>
                <a:lnTo>
                  <a:pt x="1695450" y="676275"/>
                </a:lnTo>
                <a:lnTo>
                  <a:pt x="1701800" y="682625"/>
                </a:lnTo>
                <a:lnTo>
                  <a:pt x="1708150" y="688975"/>
                </a:lnTo>
                <a:lnTo>
                  <a:pt x="1714500" y="698500"/>
                </a:lnTo>
                <a:lnTo>
                  <a:pt x="1717675" y="708025"/>
                </a:lnTo>
                <a:lnTo>
                  <a:pt x="1724025" y="727075"/>
                </a:lnTo>
                <a:lnTo>
                  <a:pt x="1724025" y="749300"/>
                </a:lnTo>
                <a:lnTo>
                  <a:pt x="1717675" y="768350"/>
                </a:lnTo>
                <a:lnTo>
                  <a:pt x="1704975" y="800100"/>
                </a:lnTo>
                <a:lnTo>
                  <a:pt x="1698625" y="809625"/>
                </a:lnTo>
                <a:lnTo>
                  <a:pt x="1676400" y="844550"/>
                </a:lnTo>
                <a:lnTo>
                  <a:pt x="1660525" y="873125"/>
                </a:lnTo>
                <a:lnTo>
                  <a:pt x="1651000" y="898525"/>
                </a:lnTo>
                <a:lnTo>
                  <a:pt x="1644650" y="917575"/>
                </a:lnTo>
                <a:lnTo>
                  <a:pt x="1641475" y="936625"/>
                </a:lnTo>
                <a:lnTo>
                  <a:pt x="1641475" y="949325"/>
                </a:lnTo>
                <a:lnTo>
                  <a:pt x="1641475" y="958850"/>
                </a:lnTo>
                <a:lnTo>
                  <a:pt x="1644650" y="974725"/>
                </a:lnTo>
                <a:lnTo>
                  <a:pt x="1647825" y="990600"/>
                </a:lnTo>
                <a:lnTo>
                  <a:pt x="1654175" y="1003300"/>
                </a:lnTo>
                <a:lnTo>
                  <a:pt x="1663700" y="1012825"/>
                </a:lnTo>
                <a:lnTo>
                  <a:pt x="1673225" y="1022350"/>
                </a:lnTo>
                <a:lnTo>
                  <a:pt x="1682750" y="1031875"/>
                </a:lnTo>
                <a:lnTo>
                  <a:pt x="1704975" y="1041400"/>
                </a:lnTo>
                <a:lnTo>
                  <a:pt x="1724025" y="1047750"/>
                </a:lnTo>
                <a:lnTo>
                  <a:pt x="1743075" y="1047750"/>
                </a:lnTo>
                <a:lnTo>
                  <a:pt x="1762125" y="1047750"/>
                </a:lnTo>
                <a:lnTo>
                  <a:pt x="1800225" y="1050925"/>
                </a:lnTo>
                <a:lnTo>
                  <a:pt x="1835150" y="1057275"/>
                </a:lnTo>
                <a:lnTo>
                  <a:pt x="1860550" y="1066800"/>
                </a:lnTo>
                <a:lnTo>
                  <a:pt x="1882775" y="1076325"/>
                </a:lnTo>
                <a:lnTo>
                  <a:pt x="1898650" y="1089025"/>
                </a:lnTo>
                <a:lnTo>
                  <a:pt x="1911350" y="1098550"/>
                </a:lnTo>
                <a:lnTo>
                  <a:pt x="1920875" y="1111250"/>
                </a:lnTo>
                <a:lnTo>
                  <a:pt x="1927225" y="1120775"/>
                </a:lnTo>
                <a:lnTo>
                  <a:pt x="1933575" y="1133475"/>
                </a:lnTo>
                <a:lnTo>
                  <a:pt x="1936750" y="1143000"/>
                </a:lnTo>
                <a:lnTo>
                  <a:pt x="1936750" y="1152525"/>
                </a:lnTo>
                <a:lnTo>
                  <a:pt x="1933575" y="1162050"/>
                </a:lnTo>
                <a:lnTo>
                  <a:pt x="1927225" y="1171575"/>
                </a:lnTo>
                <a:lnTo>
                  <a:pt x="1914525" y="1187450"/>
                </a:lnTo>
                <a:lnTo>
                  <a:pt x="1898650" y="1200150"/>
                </a:lnTo>
                <a:lnTo>
                  <a:pt x="1882775" y="1209675"/>
                </a:lnTo>
                <a:lnTo>
                  <a:pt x="1866900" y="1216025"/>
                </a:lnTo>
                <a:lnTo>
                  <a:pt x="1847850" y="1222375"/>
                </a:lnTo>
                <a:lnTo>
                  <a:pt x="1835150" y="1228725"/>
                </a:lnTo>
                <a:lnTo>
                  <a:pt x="1809750" y="1247775"/>
                </a:lnTo>
                <a:lnTo>
                  <a:pt x="1793875" y="1266825"/>
                </a:lnTo>
                <a:lnTo>
                  <a:pt x="1781175" y="1289050"/>
                </a:lnTo>
                <a:lnTo>
                  <a:pt x="1771650" y="1308100"/>
                </a:lnTo>
                <a:lnTo>
                  <a:pt x="1768475" y="1323975"/>
                </a:lnTo>
                <a:lnTo>
                  <a:pt x="1768475" y="1336675"/>
                </a:lnTo>
                <a:lnTo>
                  <a:pt x="1765300" y="1362075"/>
                </a:lnTo>
                <a:lnTo>
                  <a:pt x="1758950" y="1381125"/>
                </a:lnTo>
                <a:lnTo>
                  <a:pt x="1752600" y="1400175"/>
                </a:lnTo>
                <a:lnTo>
                  <a:pt x="1743075" y="1416050"/>
                </a:lnTo>
                <a:lnTo>
                  <a:pt x="1724025" y="1441450"/>
                </a:lnTo>
                <a:lnTo>
                  <a:pt x="1704975" y="1463675"/>
                </a:lnTo>
                <a:lnTo>
                  <a:pt x="1682750" y="1476375"/>
                </a:lnTo>
                <a:lnTo>
                  <a:pt x="1663700" y="1485900"/>
                </a:lnTo>
                <a:lnTo>
                  <a:pt x="1647825" y="1489075"/>
                </a:lnTo>
                <a:lnTo>
                  <a:pt x="1625600" y="1498600"/>
                </a:lnTo>
                <a:lnTo>
                  <a:pt x="1606550" y="1504950"/>
                </a:lnTo>
                <a:lnTo>
                  <a:pt x="1593850" y="1514475"/>
                </a:lnTo>
                <a:lnTo>
                  <a:pt x="1581150" y="1524000"/>
                </a:lnTo>
                <a:lnTo>
                  <a:pt x="1571625" y="1533525"/>
                </a:lnTo>
                <a:lnTo>
                  <a:pt x="1565275" y="1543050"/>
                </a:lnTo>
                <a:lnTo>
                  <a:pt x="1555750" y="1565275"/>
                </a:lnTo>
                <a:lnTo>
                  <a:pt x="1555750" y="1581150"/>
                </a:lnTo>
                <a:lnTo>
                  <a:pt x="1555750" y="1597025"/>
                </a:lnTo>
                <a:lnTo>
                  <a:pt x="1562100" y="1612900"/>
                </a:lnTo>
                <a:lnTo>
                  <a:pt x="1568450" y="1628775"/>
                </a:lnTo>
                <a:lnTo>
                  <a:pt x="1571625" y="1644650"/>
                </a:lnTo>
                <a:lnTo>
                  <a:pt x="1571625" y="1660525"/>
                </a:lnTo>
                <a:lnTo>
                  <a:pt x="1565275" y="1673225"/>
                </a:lnTo>
                <a:lnTo>
                  <a:pt x="1555750" y="1692275"/>
                </a:lnTo>
                <a:lnTo>
                  <a:pt x="1549400" y="1701800"/>
                </a:lnTo>
                <a:lnTo>
                  <a:pt x="1524000" y="1717675"/>
                </a:lnTo>
                <a:lnTo>
                  <a:pt x="1495425" y="1724025"/>
                </a:lnTo>
                <a:lnTo>
                  <a:pt x="1473200" y="1727200"/>
                </a:lnTo>
                <a:lnTo>
                  <a:pt x="1450975" y="1727200"/>
                </a:lnTo>
                <a:lnTo>
                  <a:pt x="1435100" y="1724025"/>
                </a:lnTo>
                <a:lnTo>
                  <a:pt x="1422400" y="1720850"/>
                </a:lnTo>
                <a:lnTo>
                  <a:pt x="1409700" y="1714500"/>
                </a:lnTo>
                <a:lnTo>
                  <a:pt x="1374775" y="1698625"/>
                </a:lnTo>
                <a:lnTo>
                  <a:pt x="1339850" y="1689100"/>
                </a:lnTo>
                <a:lnTo>
                  <a:pt x="1311275" y="1679575"/>
                </a:lnTo>
                <a:lnTo>
                  <a:pt x="1282700" y="1676400"/>
                </a:lnTo>
                <a:lnTo>
                  <a:pt x="1254125" y="1676400"/>
                </a:lnTo>
                <a:lnTo>
                  <a:pt x="1228725" y="1679575"/>
                </a:lnTo>
                <a:lnTo>
                  <a:pt x="1206500" y="1682750"/>
                </a:lnTo>
                <a:lnTo>
                  <a:pt x="1187450" y="1689100"/>
                </a:lnTo>
                <a:lnTo>
                  <a:pt x="1155700" y="1704975"/>
                </a:lnTo>
                <a:lnTo>
                  <a:pt x="1130300" y="1720850"/>
                </a:lnTo>
                <a:lnTo>
                  <a:pt x="1111250" y="1736725"/>
                </a:lnTo>
                <a:lnTo>
                  <a:pt x="1079500" y="1768475"/>
                </a:lnTo>
                <a:lnTo>
                  <a:pt x="1047750" y="1790700"/>
                </a:lnTo>
                <a:lnTo>
                  <a:pt x="1019175" y="1806575"/>
                </a:lnTo>
                <a:lnTo>
                  <a:pt x="993775" y="1816100"/>
                </a:lnTo>
                <a:lnTo>
                  <a:pt x="971550" y="1819275"/>
                </a:lnTo>
                <a:lnTo>
                  <a:pt x="952500" y="1819275"/>
                </a:lnTo>
                <a:lnTo>
                  <a:pt x="939800" y="1819275"/>
                </a:lnTo>
                <a:lnTo>
                  <a:pt x="908050" y="1812925"/>
                </a:lnTo>
                <a:lnTo>
                  <a:pt x="882650" y="1803400"/>
                </a:lnTo>
                <a:lnTo>
                  <a:pt x="863600" y="1787525"/>
                </a:lnTo>
                <a:lnTo>
                  <a:pt x="850900" y="1774825"/>
                </a:lnTo>
                <a:lnTo>
                  <a:pt x="841375" y="1758950"/>
                </a:lnTo>
                <a:lnTo>
                  <a:pt x="835025" y="1746250"/>
                </a:lnTo>
                <a:lnTo>
                  <a:pt x="831850" y="1736725"/>
                </a:lnTo>
                <a:lnTo>
                  <a:pt x="825500" y="1708150"/>
                </a:lnTo>
                <a:lnTo>
                  <a:pt x="812800" y="1685925"/>
                </a:lnTo>
                <a:lnTo>
                  <a:pt x="800100" y="1670050"/>
                </a:lnTo>
                <a:lnTo>
                  <a:pt x="784225" y="1660525"/>
                </a:lnTo>
                <a:lnTo>
                  <a:pt x="768350" y="1654175"/>
                </a:lnTo>
                <a:lnTo>
                  <a:pt x="755650" y="1651000"/>
                </a:lnTo>
                <a:lnTo>
                  <a:pt x="742950" y="1651000"/>
                </a:lnTo>
                <a:lnTo>
                  <a:pt x="717550" y="1651000"/>
                </a:lnTo>
                <a:lnTo>
                  <a:pt x="698500" y="1644650"/>
                </a:lnTo>
                <a:lnTo>
                  <a:pt x="679450" y="1635125"/>
                </a:lnTo>
                <a:lnTo>
                  <a:pt x="663575" y="1625600"/>
                </a:lnTo>
                <a:lnTo>
                  <a:pt x="654050" y="1612900"/>
                </a:lnTo>
                <a:lnTo>
                  <a:pt x="644525" y="1603375"/>
                </a:lnTo>
                <a:lnTo>
                  <a:pt x="638175" y="1593850"/>
                </a:lnTo>
                <a:lnTo>
                  <a:pt x="628650" y="1577975"/>
                </a:lnTo>
                <a:lnTo>
                  <a:pt x="615950" y="1568450"/>
                </a:lnTo>
                <a:lnTo>
                  <a:pt x="600075" y="1558925"/>
                </a:lnTo>
                <a:lnTo>
                  <a:pt x="587375" y="1552575"/>
                </a:lnTo>
                <a:lnTo>
                  <a:pt x="571500" y="1549400"/>
                </a:lnTo>
                <a:lnTo>
                  <a:pt x="555625" y="1546225"/>
                </a:lnTo>
                <a:lnTo>
                  <a:pt x="523875" y="1546225"/>
                </a:lnTo>
                <a:lnTo>
                  <a:pt x="495300" y="1552575"/>
                </a:lnTo>
                <a:lnTo>
                  <a:pt x="469900" y="1558925"/>
                </a:lnTo>
                <a:lnTo>
                  <a:pt x="447675" y="1568450"/>
                </a:lnTo>
                <a:lnTo>
                  <a:pt x="406400" y="1581150"/>
                </a:lnTo>
                <a:lnTo>
                  <a:pt x="368300" y="1587500"/>
                </a:lnTo>
                <a:lnTo>
                  <a:pt x="333375" y="1590675"/>
                </a:lnTo>
                <a:lnTo>
                  <a:pt x="304800" y="1593850"/>
                </a:lnTo>
                <a:lnTo>
                  <a:pt x="279400" y="1593850"/>
                </a:lnTo>
                <a:lnTo>
                  <a:pt x="254000" y="1590675"/>
                </a:lnTo>
                <a:lnTo>
                  <a:pt x="234950" y="1584325"/>
                </a:lnTo>
                <a:lnTo>
                  <a:pt x="219075" y="1581150"/>
                </a:lnTo>
                <a:lnTo>
                  <a:pt x="193675" y="1565275"/>
                </a:lnTo>
                <a:lnTo>
                  <a:pt x="180975" y="1552575"/>
                </a:lnTo>
                <a:lnTo>
                  <a:pt x="171450" y="1543050"/>
                </a:lnTo>
                <a:lnTo>
                  <a:pt x="168275" y="1536700"/>
                </a:lnTo>
                <a:lnTo>
                  <a:pt x="161925" y="1517650"/>
                </a:lnTo>
                <a:lnTo>
                  <a:pt x="155575" y="1495425"/>
                </a:lnTo>
                <a:lnTo>
                  <a:pt x="152400" y="1476375"/>
                </a:lnTo>
                <a:lnTo>
                  <a:pt x="152400" y="1457325"/>
                </a:lnTo>
                <a:lnTo>
                  <a:pt x="155575" y="1422400"/>
                </a:lnTo>
                <a:lnTo>
                  <a:pt x="165100" y="1390650"/>
                </a:lnTo>
                <a:lnTo>
                  <a:pt x="180975" y="1358900"/>
                </a:lnTo>
                <a:lnTo>
                  <a:pt x="200025" y="1333500"/>
                </a:lnTo>
                <a:lnTo>
                  <a:pt x="225425" y="1308100"/>
                </a:lnTo>
                <a:lnTo>
                  <a:pt x="250825" y="1289050"/>
                </a:lnTo>
                <a:lnTo>
                  <a:pt x="276225" y="1270000"/>
                </a:lnTo>
                <a:lnTo>
                  <a:pt x="304800" y="1254125"/>
                </a:lnTo>
                <a:lnTo>
                  <a:pt x="352425" y="1228725"/>
                </a:lnTo>
                <a:lnTo>
                  <a:pt x="387350" y="1212850"/>
                </a:lnTo>
                <a:lnTo>
                  <a:pt x="403225" y="1209675"/>
                </a:lnTo>
                <a:lnTo>
                  <a:pt x="441325" y="1193800"/>
                </a:lnTo>
                <a:lnTo>
                  <a:pt x="473075" y="1177925"/>
                </a:lnTo>
                <a:lnTo>
                  <a:pt x="495300" y="1158875"/>
                </a:lnTo>
                <a:lnTo>
                  <a:pt x="511175" y="1143000"/>
                </a:lnTo>
                <a:lnTo>
                  <a:pt x="523875" y="1123950"/>
                </a:lnTo>
                <a:lnTo>
                  <a:pt x="530225" y="1111250"/>
                </a:lnTo>
                <a:lnTo>
                  <a:pt x="533400" y="1101725"/>
                </a:lnTo>
                <a:lnTo>
                  <a:pt x="533400" y="1076325"/>
                </a:lnTo>
                <a:lnTo>
                  <a:pt x="527050" y="1060450"/>
                </a:lnTo>
                <a:lnTo>
                  <a:pt x="517525" y="1044575"/>
                </a:lnTo>
                <a:lnTo>
                  <a:pt x="508000" y="1035050"/>
                </a:lnTo>
                <a:lnTo>
                  <a:pt x="498475" y="1028700"/>
                </a:lnTo>
                <a:lnTo>
                  <a:pt x="492125" y="1022350"/>
                </a:lnTo>
                <a:lnTo>
                  <a:pt x="482600" y="1019175"/>
                </a:lnTo>
                <a:lnTo>
                  <a:pt x="454025" y="1012825"/>
                </a:lnTo>
                <a:lnTo>
                  <a:pt x="428625" y="1003300"/>
                </a:lnTo>
                <a:lnTo>
                  <a:pt x="406400" y="993775"/>
                </a:lnTo>
                <a:lnTo>
                  <a:pt x="387350" y="984250"/>
                </a:lnTo>
                <a:lnTo>
                  <a:pt x="358775" y="962025"/>
                </a:lnTo>
                <a:lnTo>
                  <a:pt x="339725" y="939800"/>
                </a:lnTo>
                <a:lnTo>
                  <a:pt x="327025" y="920750"/>
                </a:lnTo>
                <a:lnTo>
                  <a:pt x="320675" y="908050"/>
                </a:lnTo>
                <a:lnTo>
                  <a:pt x="320675" y="892175"/>
                </a:lnTo>
                <a:lnTo>
                  <a:pt x="323850" y="876300"/>
                </a:lnTo>
                <a:lnTo>
                  <a:pt x="333375" y="860425"/>
                </a:lnTo>
                <a:lnTo>
                  <a:pt x="342900" y="847725"/>
                </a:lnTo>
                <a:lnTo>
                  <a:pt x="358775" y="835025"/>
                </a:lnTo>
                <a:lnTo>
                  <a:pt x="377825" y="825500"/>
                </a:lnTo>
                <a:lnTo>
                  <a:pt x="396875" y="819150"/>
                </a:lnTo>
                <a:lnTo>
                  <a:pt x="438150" y="809625"/>
                </a:lnTo>
                <a:lnTo>
                  <a:pt x="482600" y="803275"/>
                </a:lnTo>
                <a:lnTo>
                  <a:pt x="517525" y="800100"/>
                </a:lnTo>
                <a:lnTo>
                  <a:pt x="555625" y="800100"/>
                </a:lnTo>
                <a:lnTo>
                  <a:pt x="581025" y="800100"/>
                </a:lnTo>
                <a:lnTo>
                  <a:pt x="606425" y="796925"/>
                </a:lnTo>
                <a:lnTo>
                  <a:pt x="650875" y="787400"/>
                </a:lnTo>
                <a:lnTo>
                  <a:pt x="682625" y="774700"/>
                </a:lnTo>
                <a:lnTo>
                  <a:pt x="704850" y="758825"/>
                </a:lnTo>
                <a:lnTo>
                  <a:pt x="720725" y="742950"/>
                </a:lnTo>
                <a:lnTo>
                  <a:pt x="730250" y="730250"/>
                </a:lnTo>
                <a:lnTo>
                  <a:pt x="736600" y="717550"/>
                </a:lnTo>
                <a:lnTo>
                  <a:pt x="742950" y="688975"/>
                </a:lnTo>
                <a:lnTo>
                  <a:pt x="742950" y="666750"/>
                </a:lnTo>
                <a:lnTo>
                  <a:pt x="739775" y="647700"/>
                </a:lnTo>
                <a:lnTo>
                  <a:pt x="733425" y="631825"/>
                </a:lnTo>
                <a:lnTo>
                  <a:pt x="727075" y="619125"/>
                </a:lnTo>
                <a:lnTo>
                  <a:pt x="717550" y="609600"/>
                </a:lnTo>
                <a:lnTo>
                  <a:pt x="711200" y="603250"/>
                </a:lnTo>
                <a:lnTo>
                  <a:pt x="685800" y="574675"/>
                </a:lnTo>
                <a:lnTo>
                  <a:pt x="666750" y="549275"/>
                </a:lnTo>
                <a:lnTo>
                  <a:pt x="657225" y="527050"/>
                </a:lnTo>
                <a:lnTo>
                  <a:pt x="654050" y="504825"/>
                </a:lnTo>
                <a:lnTo>
                  <a:pt x="650875" y="485775"/>
                </a:lnTo>
                <a:lnTo>
                  <a:pt x="654050" y="469900"/>
                </a:lnTo>
                <a:lnTo>
                  <a:pt x="657225" y="457200"/>
                </a:lnTo>
                <a:lnTo>
                  <a:pt x="663575" y="441325"/>
                </a:lnTo>
                <a:lnTo>
                  <a:pt x="673100" y="428625"/>
                </a:lnTo>
                <a:lnTo>
                  <a:pt x="682625" y="419100"/>
                </a:lnTo>
                <a:lnTo>
                  <a:pt x="692150" y="409575"/>
                </a:lnTo>
                <a:lnTo>
                  <a:pt x="704850" y="406400"/>
                </a:lnTo>
                <a:lnTo>
                  <a:pt x="717550" y="403225"/>
                </a:lnTo>
                <a:lnTo>
                  <a:pt x="746125" y="400050"/>
                </a:lnTo>
                <a:lnTo>
                  <a:pt x="768350" y="403225"/>
                </a:lnTo>
                <a:lnTo>
                  <a:pt x="790575" y="409575"/>
                </a:lnTo>
                <a:lnTo>
                  <a:pt x="809625" y="415925"/>
                </a:lnTo>
                <a:lnTo>
                  <a:pt x="828675" y="419100"/>
                </a:lnTo>
                <a:lnTo>
                  <a:pt x="847725" y="422275"/>
                </a:lnTo>
                <a:lnTo>
                  <a:pt x="866775" y="419100"/>
                </a:lnTo>
                <a:lnTo>
                  <a:pt x="882650" y="412750"/>
                </a:lnTo>
                <a:lnTo>
                  <a:pt x="898525" y="406400"/>
                </a:lnTo>
                <a:lnTo>
                  <a:pt x="914400" y="400050"/>
                </a:lnTo>
                <a:lnTo>
                  <a:pt x="939800" y="377825"/>
                </a:lnTo>
                <a:lnTo>
                  <a:pt x="958850" y="355600"/>
                </a:lnTo>
                <a:lnTo>
                  <a:pt x="974725" y="336550"/>
                </a:lnTo>
                <a:lnTo>
                  <a:pt x="987425" y="317500"/>
                </a:lnTo>
                <a:lnTo>
                  <a:pt x="1019175" y="254000"/>
                </a:lnTo>
                <a:lnTo>
                  <a:pt x="1054100" y="203200"/>
                </a:lnTo>
                <a:lnTo>
                  <a:pt x="1085850" y="165100"/>
                </a:lnTo>
                <a:lnTo>
                  <a:pt x="1120775" y="136525"/>
                </a:lnTo>
                <a:lnTo>
                  <a:pt x="1152525" y="117475"/>
                </a:lnTo>
                <a:lnTo>
                  <a:pt x="1184275" y="104775"/>
                </a:lnTo>
                <a:close/>
                <a:moveTo>
                  <a:pt x="958850" y="0"/>
                </a:moveTo>
                <a:lnTo>
                  <a:pt x="981075" y="3175"/>
                </a:lnTo>
                <a:lnTo>
                  <a:pt x="1000125" y="12700"/>
                </a:lnTo>
                <a:lnTo>
                  <a:pt x="1012825" y="25400"/>
                </a:lnTo>
                <a:lnTo>
                  <a:pt x="1022350" y="44450"/>
                </a:lnTo>
                <a:lnTo>
                  <a:pt x="1028700" y="63500"/>
                </a:lnTo>
                <a:lnTo>
                  <a:pt x="1028700" y="88900"/>
                </a:lnTo>
                <a:lnTo>
                  <a:pt x="1025525" y="114300"/>
                </a:lnTo>
                <a:lnTo>
                  <a:pt x="1016000" y="142875"/>
                </a:lnTo>
                <a:lnTo>
                  <a:pt x="1003300" y="171450"/>
                </a:lnTo>
                <a:lnTo>
                  <a:pt x="984250" y="196850"/>
                </a:lnTo>
                <a:lnTo>
                  <a:pt x="965200" y="222250"/>
                </a:lnTo>
                <a:lnTo>
                  <a:pt x="939800" y="244475"/>
                </a:lnTo>
                <a:lnTo>
                  <a:pt x="917575" y="263525"/>
                </a:lnTo>
                <a:lnTo>
                  <a:pt x="892175" y="276225"/>
                </a:lnTo>
                <a:lnTo>
                  <a:pt x="866775" y="282575"/>
                </a:lnTo>
                <a:lnTo>
                  <a:pt x="844550" y="285750"/>
                </a:lnTo>
                <a:lnTo>
                  <a:pt x="822325" y="282575"/>
                </a:lnTo>
                <a:lnTo>
                  <a:pt x="806450" y="273050"/>
                </a:lnTo>
                <a:lnTo>
                  <a:pt x="790575" y="260350"/>
                </a:lnTo>
                <a:lnTo>
                  <a:pt x="781050" y="241300"/>
                </a:lnTo>
                <a:lnTo>
                  <a:pt x="774700" y="222250"/>
                </a:lnTo>
                <a:lnTo>
                  <a:pt x="774700" y="196850"/>
                </a:lnTo>
                <a:lnTo>
                  <a:pt x="777875" y="171450"/>
                </a:lnTo>
                <a:lnTo>
                  <a:pt x="787400" y="142875"/>
                </a:lnTo>
                <a:lnTo>
                  <a:pt x="800100" y="114300"/>
                </a:lnTo>
                <a:lnTo>
                  <a:pt x="819150" y="88900"/>
                </a:lnTo>
                <a:lnTo>
                  <a:pt x="841375" y="63500"/>
                </a:lnTo>
                <a:lnTo>
                  <a:pt x="863600" y="41275"/>
                </a:lnTo>
                <a:lnTo>
                  <a:pt x="889000" y="22225"/>
                </a:lnTo>
                <a:lnTo>
                  <a:pt x="911225" y="9525"/>
                </a:lnTo>
                <a:lnTo>
                  <a:pt x="936625" y="3175"/>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4" name="Freeform 33"/>
          <p:cNvSpPr>
            <a:spLocks/>
          </p:cNvSpPr>
          <p:nvPr/>
        </p:nvSpPr>
        <p:spPr bwMode="auto">
          <a:xfrm>
            <a:off x="8163824" y="2532541"/>
            <a:ext cx="932718" cy="1057690"/>
          </a:xfrm>
          <a:custGeom>
            <a:avLst/>
            <a:gdLst>
              <a:gd name="connsiteX0" fmla="*/ 1273175 w 1943100"/>
              <a:gd name="connsiteY0" fmla="*/ 1971675 h 2203450"/>
              <a:gd name="connsiteX1" fmla="*/ 1298575 w 1943100"/>
              <a:gd name="connsiteY1" fmla="*/ 1974850 h 2203450"/>
              <a:gd name="connsiteX2" fmla="*/ 1323975 w 1943100"/>
              <a:gd name="connsiteY2" fmla="*/ 1981200 h 2203450"/>
              <a:gd name="connsiteX3" fmla="*/ 1346200 w 1943100"/>
              <a:gd name="connsiteY3" fmla="*/ 1990725 h 2203450"/>
              <a:gd name="connsiteX4" fmla="*/ 1365250 w 1943100"/>
              <a:gd name="connsiteY4" fmla="*/ 2006600 h 2203450"/>
              <a:gd name="connsiteX5" fmla="*/ 1381125 w 1943100"/>
              <a:gd name="connsiteY5" fmla="*/ 2022475 h 2203450"/>
              <a:gd name="connsiteX6" fmla="*/ 1393825 w 1943100"/>
              <a:gd name="connsiteY6" fmla="*/ 2041525 h 2203450"/>
              <a:gd name="connsiteX7" fmla="*/ 1400175 w 1943100"/>
              <a:gd name="connsiteY7" fmla="*/ 2063750 h 2203450"/>
              <a:gd name="connsiteX8" fmla="*/ 1403350 w 1943100"/>
              <a:gd name="connsiteY8" fmla="*/ 2089150 h 2203450"/>
              <a:gd name="connsiteX9" fmla="*/ 1400175 w 1943100"/>
              <a:gd name="connsiteY9" fmla="*/ 2111375 h 2203450"/>
              <a:gd name="connsiteX10" fmla="*/ 1393825 w 1943100"/>
              <a:gd name="connsiteY10" fmla="*/ 2133600 h 2203450"/>
              <a:gd name="connsiteX11" fmla="*/ 1381125 w 1943100"/>
              <a:gd name="connsiteY11" fmla="*/ 2152650 h 2203450"/>
              <a:gd name="connsiteX12" fmla="*/ 1365250 w 1943100"/>
              <a:gd name="connsiteY12" fmla="*/ 2168525 h 2203450"/>
              <a:gd name="connsiteX13" fmla="*/ 1346200 w 1943100"/>
              <a:gd name="connsiteY13" fmla="*/ 2184400 h 2203450"/>
              <a:gd name="connsiteX14" fmla="*/ 1323975 w 1943100"/>
              <a:gd name="connsiteY14" fmla="*/ 2193925 h 2203450"/>
              <a:gd name="connsiteX15" fmla="*/ 1298575 w 1943100"/>
              <a:gd name="connsiteY15" fmla="*/ 2200275 h 2203450"/>
              <a:gd name="connsiteX16" fmla="*/ 1273175 w 1943100"/>
              <a:gd name="connsiteY16" fmla="*/ 2203450 h 2203450"/>
              <a:gd name="connsiteX17" fmla="*/ 1244600 w 1943100"/>
              <a:gd name="connsiteY17" fmla="*/ 2200275 h 2203450"/>
              <a:gd name="connsiteX18" fmla="*/ 1222375 w 1943100"/>
              <a:gd name="connsiteY18" fmla="*/ 2193925 h 2203450"/>
              <a:gd name="connsiteX19" fmla="*/ 1200150 w 1943100"/>
              <a:gd name="connsiteY19" fmla="*/ 2184400 h 2203450"/>
              <a:gd name="connsiteX20" fmla="*/ 1177925 w 1943100"/>
              <a:gd name="connsiteY20" fmla="*/ 2168525 h 2203450"/>
              <a:gd name="connsiteX21" fmla="*/ 1162050 w 1943100"/>
              <a:gd name="connsiteY21" fmla="*/ 2152650 h 2203450"/>
              <a:gd name="connsiteX22" fmla="*/ 1152525 w 1943100"/>
              <a:gd name="connsiteY22" fmla="*/ 2133600 h 2203450"/>
              <a:gd name="connsiteX23" fmla="*/ 1143000 w 1943100"/>
              <a:gd name="connsiteY23" fmla="*/ 2111375 h 2203450"/>
              <a:gd name="connsiteX24" fmla="*/ 1139825 w 1943100"/>
              <a:gd name="connsiteY24" fmla="*/ 2089150 h 2203450"/>
              <a:gd name="connsiteX25" fmla="*/ 1143000 w 1943100"/>
              <a:gd name="connsiteY25" fmla="*/ 2063750 h 2203450"/>
              <a:gd name="connsiteX26" fmla="*/ 1152525 w 1943100"/>
              <a:gd name="connsiteY26" fmla="*/ 2041525 h 2203450"/>
              <a:gd name="connsiteX27" fmla="*/ 1162050 w 1943100"/>
              <a:gd name="connsiteY27" fmla="*/ 2022475 h 2203450"/>
              <a:gd name="connsiteX28" fmla="*/ 1177925 w 1943100"/>
              <a:gd name="connsiteY28" fmla="*/ 2006600 h 2203450"/>
              <a:gd name="connsiteX29" fmla="*/ 1200150 w 1943100"/>
              <a:gd name="connsiteY29" fmla="*/ 1990725 h 2203450"/>
              <a:gd name="connsiteX30" fmla="*/ 1222375 w 1943100"/>
              <a:gd name="connsiteY30" fmla="*/ 1981200 h 2203450"/>
              <a:gd name="connsiteX31" fmla="*/ 1244600 w 1943100"/>
              <a:gd name="connsiteY31" fmla="*/ 1974850 h 2203450"/>
              <a:gd name="connsiteX32" fmla="*/ 1498600 w 1943100"/>
              <a:gd name="connsiteY32" fmla="*/ 1819275 h 2203450"/>
              <a:gd name="connsiteX33" fmla="*/ 1530350 w 1943100"/>
              <a:gd name="connsiteY33" fmla="*/ 1822450 h 2203450"/>
              <a:gd name="connsiteX34" fmla="*/ 1562100 w 1943100"/>
              <a:gd name="connsiteY34" fmla="*/ 1825625 h 2203450"/>
              <a:gd name="connsiteX35" fmla="*/ 1587500 w 1943100"/>
              <a:gd name="connsiteY35" fmla="*/ 1831975 h 2203450"/>
              <a:gd name="connsiteX36" fmla="*/ 1612900 w 1943100"/>
              <a:gd name="connsiteY36" fmla="*/ 1841500 h 2203450"/>
              <a:gd name="connsiteX37" fmla="*/ 1631950 w 1943100"/>
              <a:gd name="connsiteY37" fmla="*/ 1854200 h 2203450"/>
              <a:gd name="connsiteX38" fmla="*/ 1647825 w 1943100"/>
              <a:gd name="connsiteY38" fmla="*/ 1866900 h 2203450"/>
              <a:gd name="connsiteX39" fmla="*/ 1657350 w 1943100"/>
              <a:gd name="connsiteY39" fmla="*/ 1879600 h 2203450"/>
              <a:gd name="connsiteX40" fmla="*/ 1660525 w 1943100"/>
              <a:gd name="connsiteY40" fmla="*/ 1895475 h 2203450"/>
              <a:gd name="connsiteX41" fmla="*/ 1657350 w 1943100"/>
              <a:gd name="connsiteY41" fmla="*/ 1911350 h 2203450"/>
              <a:gd name="connsiteX42" fmla="*/ 1647825 w 1943100"/>
              <a:gd name="connsiteY42" fmla="*/ 1924050 h 2203450"/>
              <a:gd name="connsiteX43" fmla="*/ 1631950 w 1943100"/>
              <a:gd name="connsiteY43" fmla="*/ 1939925 h 2203450"/>
              <a:gd name="connsiteX44" fmla="*/ 1612900 w 1943100"/>
              <a:gd name="connsiteY44" fmla="*/ 1949450 h 2203450"/>
              <a:gd name="connsiteX45" fmla="*/ 1587500 w 1943100"/>
              <a:gd name="connsiteY45" fmla="*/ 1958975 h 2203450"/>
              <a:gd name="connsiteX46" fmla="*/ 1562100 w 1943100"/>
              <a:gd name="connsiteY46" fmla="*/ 1965325 h 2203450"/>
              <a:gd name="connsiteX47" fmla="*/ 1530350 w 1943100"/>
              <a:gd name="connsiteY47" fmla="*/ 1971675 h 2203450"/>
              <a:gd name="connsiteX48" fmla="*/ 1498600 w 1943100"/>
              <a:gd name="connsiteY48" fmla="*/ 1971675 h 2203450"/>
              <a:gd name="connsiteX49" fmla="*/ 1466850 w 1943100"/>
              <a:gd name="connsiteY49" fmla="*/ 1971675 h 2203450"/>
              <a:gd name="connsiteX50" fmla="*/ 1435100 w 1943100"/>
              <a:gd name="connsiteY50" fmla="*/ 1965325 h 2203450"/>
              <a:gd name="connsiteX51" fmla="*/ 1409700 w 1943100"/>
              <a:gd name="connsiteY51" fmla="*/ 1958975 h 2203450"/>
              <a:gd name="connsiteX52" fmla="*/ 1384300 w 1943100"/>
              <a:gd name="connsiteY52" fmla="*/ 1949450 h 2203450"/>
              <a:gd name="connsiteX53" fmla="*/ 1365250 w 1943100"/>
              <a:gd name="connsiteY53" fmla="*/ 1939925 h 2203450"/>
              <a:gd name="connsiteX54" fmla="*/ 1349375 w 1943100"/>
              <a:gd name="connsiteY54" fmla="*/ 1924050 h 2203450"/>
              <a:gd name="connsiteX55" fmla="*/ 1339850 w 1943100"/>
              <a:gd name="connsiteY55" fmla="*/ 1911350 h 2203450"/>
              <a:gd name="connsiteX56" fmla="*/ 1336675 w 1943100"/>
              <a:gd name="connsiteY56" fmla="*/ 1895475 h 2203450"/>
              <a:gd name="connsiteX57" fmla="*/ 1339850 w 1943100"/>
              <a:gd name="connsiteY57" fmla="*/ 1879600 h 2203450"/>
              <a:gd name="connsiteX58" fmla="*/ 1349375 w 1943100"/>
              <a:gd name="connsiteY58" fmla="*/ 1866900 h 2203450"/>
              <a:gd name="connsiteX59" fmla="*/ 1365250 w 1943100"/>
              <a:gd name="connsiteY59" fmla="*/ 1854200 h 2203450"/>
              <a:gd name="connsiteX60" fmla="*/ 1384300 w 1943100"/>
              <a:gd name="connsiteY60" fmla="*/ 1841500 h 2203450"/>
              <a:gd name="connsiteX61" fmla="*/ 1409700 w 1943100"/>
              <a:gd name="connsiteY61" fmla="*/ 1831975 h 2203450"/>
              <a:gd name="connsiteX62" fmla="*/ 1435100 w 1943100"/>
              <a:gd name="connsiteY62" fmla="*/ 1825625 h 2203450"/>
              <a:gd name="connsiteX63" fmla="*/ 1466850 w 1943100"/>
              <a:gd name="connsiteY63" fmla="*/ 1822450 h 2203450"/>
              <a:gd name="connsiteX64" fmla="*/ 752475 w 1943100"/>
              <a:gd name="connsiteY64" fmla="*/ 1781175 h 2203450"/>
              <a:gd name="connsiteX65" fmla="*/ 762000 w 1943100"/>
              <a:gd name="connsiteY65" fmla="*/ 1784350 h 2203450"/>
              <a:gd name="connsiteX66" fmla="*/ 768350 w 1943100"/>
              <a:gd name="connsiteY66" fmla="*/ 1787525 h 2203450"/>
              <a:gd name="connsiteX67" fmla="*/ 777875 w 1943100"/>
              <a:gd name="connsiteY67" fmla="*/ 1790700 h 2203450"/>
              <a:gd name="connsiteX68" fmla="*/ 784225 w 1943100"/>
              <a:gd name="connsiteY68" fmla="*/ 1800225 h 2203450"/>
              <a:gd name="connsiteX69" fmla="*/ 793750 w 1943100"/>
              <a:gd name="connsiteY69" fmla="*/ 1816100 h 2203450"/>
              <a:gd name="connsiteX70" fmla="*/ 796925 w 1943100"/>
              <a:gd name="connsiteY70" fmla="*/ 1838325 h 2203450"/>
              <a:gd name="connsiteX71" fmla="*/ 793750 w 1943100"/>
              <a:gd name="connsiteY71" fmla="*/ 1860550 h 2203450"/>
              <a:gd name="connsiteX72" fmla="*/ 784225 w 1943100"/>
              <a:gd name="connsiteY72" fmla="*/ 1879600 h 2203450"/>
              <a:gd name="connsiteX73" fmla="*/ 777875 w 1943100"/>
              <a:gd name="connsiteY73" fmla="*/ 1885950 h 2203450"/>
              <a:gd name="connsiteX74" fmla="*/ 768350 w 1943100"/>
              <a:gd name="connsiteY74" fmla="*/ 1889125 h 2203450"/>
              <a:gd name="connsiteX75" fmla="*/ 762000 w 1943100"/>
              <a:gd name="connsiteY75" fmla="*/ 1892300 h 2203450"/>
              <a:gd name="connsiteX76" fmla="*/ 752475 w 1943100"/>
              <a:gd name="connsiteY76" fmla="*/ 1895475 h 2203450"/>
              <a:gd name="connsiteX77" fmla="*/ 742950 w 1943100"/>
              <a:gd name="connsiteY77" fmla="*/ 1892300 h 2203450"/>
              <a:gd name="connsiteX78" fmla="*/ 736600 w 1943100"/>
              <a:gd name="connsiteY78" fmla="*/ 1889125 h 2203450"/>
              <a:gd name="connsiteX79" fmla="*/ 727075 w 1943100"/>
              <a:gd name="connsiteY79" fmla="*/ 1885950 h 2203450"/>
              <a:gd name="connsiteX80" fmla="*/ 720725 w 1943100"/>
              <a:gd name="connsiteY80" fmla="*/ 1879600 h 2203450"/>
              <a:gd name="connsiteX81" fmla="*/ 711200 w 1943100"/>
              <a:gd name="connsiteY81" fmla="*/ 1860550 h 2203450"/>
              <a:gd name="connsiteX82" fmla="*/ 708025 w 1943100"/>
              <a:gd name="connsiteY82" fmla="*/ 1838325 h 2203450"/>
              <a:gd name="connsiteX83" fmla="*/ 711200 w 1943100"/>
              <a:gd name="connsiteY83" fmla="*/ 1816100 h 2203450"/>
              <a:gd name="connsiteX84" fmla="*/ 720725 w 1943100"/>
              <a:gd name="connsiteY84" fmla="*/ 1800225 h 2203450"/>
              <a:gd name="connsiteX85" fmla="*/ 727075 w 1943100"/>
              <a:gd name="connsiteY85" fmla="*/ 1790700 h 2203450"/>
              <a:gd name="connsiteX86" fmla="*/ 736600 w 1943100"/>
              <a:gd name="connsiteY86" fmla="*/ 1787525 h 2203450"/>
              <a:gd name="connsiteX87" fmla="*/ 742950 w 1943100"/>
              <a:gd name="connsiteY87" fmla="*/ 1784350 h 2203450"/>
              <a:gd name="connsiteX88" fmla="*/ 492125 w 1943100"/>
              <a:gd name="connsiteY88" fmla="*/ 1670050 h 2203450"/>
              <a:gd name="connsiteX89" fmla="*/ 520700 w 1943100"/>
              <a:gd name="connsiteY89" fmla="*/ 1673225 h 2203450"/>
              <a:gd name="connsiteX90" fmla="*/ 546100 w 1943100"/>
              <a:gd name="connsiteY90" fmla="*/ 1679575 h 2203450"/>
              <a:gd name="connsiteX91" fmla="*/ 568325 w 1943100"/>
              <a:gd name="connsiteY91" fmla="*/ 1689100 h 2203450"/>
              <a:gd name="connsiteX92" fmla="*/ 590550 w 1943100"/>
              <a:gd name="connsiteY92" fmla="*/ 1704975 h 2203450"/>
              <a:gd name="connsiteX93" fmla="*/ 606425 w 1943100"/>
              <a:gd name="connsiteY93" fmla="*/ 1720850 h 2203450"/>
              <a:gd name="connsiteX94" fmla="*/ 619125 w 1943100"/>
              <a:gd name="connsiteY94" fmla="*/ 1739900 h 2203450"/>
              <a:gd name="connsiteX95" fmla="*/ 628650 w 1943100"/>
              <a:gd name="connsiteY95" fmla="*/ 1758950 h 2203450"/>
              <a:gd name="connsiteX96" fmla="*/ 631825 w 1943100"/>
              <a:gd name="connsiteY96" fmla="*/ 1781175 h 2203450"/>
              <a:gd name="connsiteX97" fmla="*/ 628650 w 1943100"/>
              <a:gd name="connsiteY97" fmla="*/ 1806575 h 2203450"/>
              <a:gd name="connsiteX98" fmla="*/ 619125 w 1943100"/>
              <a:gd name="connsiteY98" fmla="*/ 1825625 h 2203450"/>
              <a:gd name="connsiteX99" fmla="*/ 606425 w 1943100"/>
              <a:gd name="connsiteY99" fmla="*/ 1844675 h 2203450"/>
              <a:gd name="connsiteX100" fmla="*/ 590550 w 1943100"/>
              <a:gd name="connsiteY100" fmla="*/ 1860550 h 2203450"/>
              <a:gd name="connsiteX101" fmla="*/ 568325 w 1943100"/>
              <a:gd name="connsiteY101" fmla="*/ 1876425 h 2203450"/>
              <a:gd name="connsiteX102" fmla="*/ 546100 w 1943100"/>
              <a:gd name="connsiteY102" fmla="*/ 1885950 h 2203450"/>
              <a:gd name="connsiteX103" fmla="*/ 520700 w 1943100"/>
              <a:gd name="connsiteY103" fmla="*/ 1892300 h 2203450"/>
              <a:gd name="connsiteX104" fmla="*/ 492125 w 1943100"/>
              <a:gd name="connsiteY104" fmla="*/ 1895475 h 2203450"/>
              <a:gd name="connsiteX105" fmla="*/ 463550 w 1943100"/>
              <a:gd name="connsiteY105" fmla="*/ 1892300 h 2203450"/>
              <a:gd name="connsiteX106" fmla="*/ 438150 w 1943100"/>
              <a:gd name="connsiteY106" fmla="*/ 1885950 h 2203450"/>
              <a:gd name="connsiteX107" fmla="*/ 412750 w 1943100"/>
              <a:gd name="connsiteY107" fmla="*/ 1876425 h 2203450"/>
              <a:gd name="connsiteX108" fmla="*/ 393700 w 1943100"/>
              <a:gd name="connsiteY108" fmla="*/ 1860550 h 2203450"/>
              <a:gd name="connsiteX109" fmla="*/ 374650 w 1943100"/>
              <a:gd name="connsiteY109" fmla="*/ 1844675 h 2203450"/>
              <a:gd name="connsiteX110" fmla="*/ 361950 w 1943100"/>
              <a:gd name="connsiteY110" fmla="*/ 1825625 h 2203450"/>
              <a:gd name="connsiteX111" fmla="*/ 355600 w 1943100"/>
              <a:gd name="connsiteY111" fmla="*/ 1806575 h 2203450"/>
              <a:gd name="connsiteX112" fmla="*/ 352425 w 1943100"/>
              <a:gd name="connsiteY112" fmla="*/ 1781175 h 2203450"/>
              <a:gd name="connsiteX113" fmla="*/ 355600 w 1943100"/>
              <a:gd name="connsiteY113" fmla="*/ 1758950 h 2203450"/>
              <a:gd name="connsiteX114" fmla="*/ 361950 w 1943100"/>
              <a:gd name="connsiteY114" fmla="*/ 1739900 h 2203450"/>
              <a:gd name="connsiteX115" fmla="*/ 374650 w 1943100"/>
              <a:gd name="connsiteY115" fmla="*/ 1720850 h 2203450"/>
              <a:gd name="connsiteX116" fmla="*/ 393700 w 1943100"/>
              <a:gd name="connsiteY116" fmla="*/ 1704975 h 2203450"/>
              <a:gd name="connsiteX117" fmla="*/ 412750 w 1943100"/>
              <a:gd name="connsiteY117" fmla="*/ 1689100 h 2203450"/>
              <a:gd name="connsiteX118" fmla="*/ 438150 w 1943100"/>
              <a:gd name="connsiteY118" fmla="*/ 1679575 h 2203450"/>
              <a:gd name="connsiteX119" fmla="*/ 463550 w 1943100"/>
              <a:gd name="connsiteY119" fmla="*/ 1673225 h 2203450"/>
              <a:gd name="connsiteX120" fmla="*/ 212725 w 1943100"/>
              <a:gd name="connsiteY120" fmla="*/ 1670050 h 2203450"/>
              <a:gd name="connsiteX121" fmla="*/ 228600 w 1943100"/>
              <a:gd name="connsiteY121" fmla="*/ 1673225 h 2203450"/>
              <a:gd name="connsiteX122" fmla="*/ 244475 w 1943100"/>
              <a:gd name="connsiteY122" fmla="*/ 1676400 h 2203450"/>
              <a:gd name="connsiteX123" fmla="*/ 257175 w 1943100"/>
              <a:gd name="connsiteY123" fmla="*/ 1679575 h 2203450"/>
              <a:gd name="connsiteX124" fmla="*/ 266700 w 1943100"/>
              <a:gd name="connsiteY124" fmla="*/ 1685925 h 2203450"/>
              <a:gd name="connsiteX125" fmla="*/ 276225 w 1943100"/>
              <a:gd name="connsiteY125" fmla="*/ 1692275 h 2203450"/>
              <a:gd name="connsiteX126" fmla="*/ 285750 w 1943100"/>
              <a:gd name="connsiteY126" fmla="*/ 1701800 h 2203450"/>
              <a:gd name="connsiteX127" fmla="*/ 288925 w 1943100"/>
              <a:gd name="connsiteY127" fmla="*/ 1711325 h 2203450"/>
              <a:gd name="connsiteX128" fmla="*/ 288925 w 1943100"/>
              <a:gd name="connsiteY128" fmla="*/ 1724025 h 2203450"/>
              <a:gd name="connsiteX129" fmla="*/ 288925 w 1943100"/>
              <a:gd name="connsiteY129" fmla="*/ 1733550 h 2203450"/>
              <a:gd name="connsiteX130" fmla="*/ 285750 w 1943100"/>
              <a:gd name="connsiteY130" fmla="*/ 1743075 h 2203450"/>
              <a:gd name="connsiteX131" fmla="*/ 276225 w 1943100"/>
              <a:gd name="connsiteY131" fmla="*/ 1752600 h 2203450"/>
              <a:gd name="connsiteX132" fmla="*/ 266700 w 1943100"/>
              <a:gd name="connsiteY132" fmla="*/ 1758950 h 2203450"/>
              <a:gd name="connsiteX133" fmla="*/ 257175 w 1943100"/>
              <a:gd name="connsiteY133" fmla="*/ 1765300 h 2203450"/>
              <a:gd name="connsiteX134" fmla="*/ 244475 w 1943100"/>
              <a:gd name="connsiteY134" fmla="*/ 1771650 h 2203450"/>
              <a:gd name="connsiteX135" fmla="*/ 228600 w 1943100"/>
              <a:gd name="connsiteY135" fmla="*/ 1774825 h 2203450"/>
              <a:gd name="connsiteX136" fmla="*/ 212725 w 1943100"/>
              <a:gd name="connsiteY136" fmla="*/ 1774825 h 2203450"/>
              <a:gd name="connsiteX137" fmla="*/ 196850 w 1943100"/>
              <a:gd name="connsiteY137" fmla="*/ 1774825 h 2203450"/>
              <a:gd name="connsiteX138" fmla="*/ 184150 w 1943100"/>
              <a:gd name="connsiteY138" fmla="*/ 1771650 h 2203450"/>
              <a:gd name="connsiteX139" fmla="*/ 168275 w 1943100"/>
              <a:gd name="connsiteY139" fmla="*/ 1765300 h 2203450"/>
              <a:gd name="connsiteX140" fmla="*/ 158750 w 1943100"/>
              <a:gd name="connsiteY140" fmla="*/ 1758950 h 2203450"/>
              <a:gd name="connsiteX141" fmla="*/ 149225 w 1943100"/>
              <a:gd name="connsiteY141" fmla="*/ 1752600 h 2203450"/>
              <a:gd name="connsiteX142" fmla="*/ 142875 w 1943100"/>
              <a:gd name="connsiteY142" fmla="*/ 1743075 h 2203450"/>
              <a:gd name="connsiteX143" fmla="*/ 136525 w 1943100"/>
              <a:gd name="connsiteY143" fmla="*/ 1733550 h 2203450"/>
              <a:gd name="connsiteX144" fmla="*/ 136525 w 1943100"/>
              <a:gd name="connsiteY144" fmla="*/ 1724025 h 2203450"/>
              <a:gd name="connsiteX145" fmla="*/ 136525 w 1943100"/>
              <a:gd name="connsiteY145" fmla="*/ 1711325 h 2203450"/>
              <a:gd name="connsiteX146" fmla="*/ 142875 w 1943100"/>
              <a:gd name="connsiteY146" fmla="*/ 1701800 h 2203450"/>
              <a:gd name="connsiteX147" fmla="*/ 149225 w 1943100"/>
              <a:gd name="connsiteY147" fmla="*/ 1692275 h 2203450"/>
              <a:gd name="connsiteX148" fmla="*/ 158750 w 1943100"/>
              <a:gd name="connsiteY148" fmla="*/ 1685925 h 2203450"/>
              <a:gd name="connsiteX149" fmla="*/ 168275 w 1943100"/>
              <a:gd name="connsiteY149" fmla="*/ 1679575 h 2203450"/>
              <a:gd name="connsiteX150" fmla="*/ 184150 w 1943100"/>
              <a:gd name="connsiteY150" fmla="*/ 1676400 h 2203450"/>
              <a:gd name="connsiteX151" fmla="*/ 196850 w 1943100"/>
              <a:gd name="connsiteY151" fmla="*/ 1673225 h 2203450"/>
              <a:gd name="connsiteX152" fmla="*/ 44450 w 1943100"/>
              <a:gd name="connsiteY152" fmla="*/ 1260475 h 2203450"/>
              <a:gd name="connsiteX153" fmla="*/ 53975 w 1943100"/>
              <a:gd name="connsiteY153" fmla="*/ 1260475 h 2203450"/>
              <a:gd name="connsiteX154" fmla="*/ 63500 w 1943100"/>
              <a:gd name="connsiteY154" fmla="*/ 1260475 h 2203450"/>
              <a:gd name="connsiteX155" fmla="*/ 76200 w 1943100"/>
              <a:gd name="connsiteY155" fmla="*/ 1266825 h 2203450"/>
              <a:gd name="connsiteX156" fmla="*/ 82550 w 1943100"/>
              <a:gd name="connsiteY156" fmla="*/ 1273175 h 2203450"/>
              <a:gd name="connsiteX157" fmla="*/ 92075 w 1943100"/>
              <a:gd name="connsiteY157" fmla="*/ 1279525 h 2203450"/>
              <a:gd name="connsiteX158" fmla="*/ 98425 w 1943100"/>
              <a:gd name="connsiteY158" fmla="*/ 1289050 h 2203450"/>
              <a:gd name="connsiteX159" fmla="*/ 101600 w 1943100"/>
              <a:gd name="connsiteY159" fmla="*/ 1298575 h 2203450"/>
              <a:gd name="connsiteX160" fmla="*/ 104775 w 1943100"/>
              <a:gd name="connsiteY160" fmla="*/ 1311275 h 2203450"/>
              <a:gd name="connsiteX161" fmla="*/ 107950 w 1943100"/>
              <a:gd name="connsiteY161" fmla="*/ 1323975 h 2203450"/>
              <a:gd name="connsiteX162" fmla="*/ 104775 w 1943100"/>
              <a:gd name="connsiteY162" fmla="*/ 1336675 h 2203450"/>
              <a:gd name="connsiteX163" fmla="*/ 101600 w 1943100"/>
              <a:gd name="connsiteY163" fmla="*/ 1349375 h 2203450"/>
              <a:gd name="connsiteX164" fmla="*/ 98425 w 1943100"/>
              <a:gd name="connsiteY164" fmla="*/ 1362075 h 2203450"/>
              <a:gd name="connsiteX165" fmla="*/ 92075 w 1943100"/>
              <a:gd name="connsiteY165" fmla="*/ 1371600 h 2203450"/>
              <a:gd name="connsiteX166" fmla="*/ 82550 w 1943100"/>
              <a:gd name="connsiteY166" fmla="*/ 1377950 h 2203450"/>
              <a:gd name="connsiteX167" fmla="*/ 76200 w 1943100"/>
              <a:gd name="connsiteY167" fmla="*/ 1384300 h 2203450"/>
              <a:gd name="connsiteX168" fmla="*/ 63500 w 1943100"/>
              <a:gd name="connsiteY168" fmla="*/ 1387475 h 2203450"/>
              <a:gd name="connsiteX169" fmla="*/ 53975 w 1943100"/>
              <a:gd name="connsiteY169" fmla="*/ 1390650 h 2203450"/>
              <a:gd name="connsiteX170" fmla="*/ 44450 w 1943100"/>
              <a:gd name="connsiteY170" fmla="*/ 1387475 h 2203450"/>
              <a:gd name="connsiteX171" fmla="*/ 34925 w 1943100"/>
              <a:gd name="connsiteY171" fmla="*/ 1384300 h 2203450"/>
              <a:gd name="connsiteX172" fmla="*/ 25400 w 1943100"/>
              <a:gd name="connsiteY172" fmla="*/ 1377950 h 2203450"/>
              <a:gd name="connsiteX173" fmla="*/ 15875 w 1943100"/>
              <a:gd name="connsiteY173" fmla="*/ 1371600 h 2203450"/>
              <a:gd name="connsiteX174" fmla="*/ 9525 w 1943100"/>
              <a:gd name="connsiteY174" fmla="*/ 1362075 h 2203450"/>
              <a:gd name="connsiteX175" fmla="*/ 6350 w 1943100"/>
              <a:gd name="connsiteY175" fmla="*/ 1349375 h 2203450"/>
              <a:gd name="connsiteX176" fmla="*/ 3175 w 1943100"/>
              <a:gd name="connsiteY176" fmla="*/ 1336675 h 2203450"/>
              <a:gd name="connsiteX177" fmla="*/ 0 w 1943100"/>
              <a:gd name="connsiteY177" fmla="*/ 1323975 h 2203450"/>
              <a:gd name="connsiteX178" fmla="*/ 3175 w 1943100"/>
              <a:gd name="connsiteY178" fmla="*/ 1311275 h 2203450"/>
              <a:gd name="connsiteX179" fmla="*/ 6350 w 1943100"/>
              <a:gd name="connsiteY179" fmla="*/ 1298575 h 2203450"/>
              <a:gd name="connsiteX180" fmla="*/ 9525 w 1943100"/>
              <a:gd name="connsiteY180" fmla="*/ 1289050 h 2203450"/>
              <a:gd name="connsiteX181" fmla="*/ 15875 w 1943100"/>
              <a:gd name="connsiteY181" fmla="*/ 1279525 h 2203450"/>
              <a:gd name="connsiteX182" fmla="*/ 25400 w 1943100"/>
              <a:gd name="connsiteY182" fmla="*/ 1273175 h 2203450"/>
              <a:gd name="connsiteX183" fmla="*/ 34925 w 1943100"/>
              <a:gd name="connsiteY183" fmla="*/ 1266825 h 2203450"/>
              <a:gd name="connsiteX184" fmla="*/ 171450 w 1943100"/>
              <a:gd name="connsiteY184" fmla="*/ 1098550 h 2203450"/>
              <a:gd name="connsiteX185" fmla="*/ 184150 w 1943100"/>
              <a:gd name="connsiteY185" fmla="*/ 1101725 h 2203450"/>
              <a:gd name="connsiteX186" fmla="*/ 193675 w 1943100"/>
              <a:gd name="connsiteY186" fmla="*/ 1104900 h 2203450"/>
              <a:gd name="connsiteX187" fmla="*/ 206375 w 1943100"/>
              <a:gd name="connsiteY187" fmla="*/ 1108075 h 2203450"/>
              <a:gd name="connsiteX188" fmla="*/ 215900 w 1943100"/>
              <a:gd name="connsiteY188" fmla="*/ 1117600 h 2203450"/>
              <a:gd name="connsiteX189" fmla="*/ 222250 w 1943100"/>
              <a:gd name="connsiteY189" fmla="*/ 1123950 h 2203450"/>
              <a:gd name="connsiteX190" fmla="*/ 228600 w 1943100"/>
              <a:gd name="connsiteY190" fmla="*/ 1136650 h 2203450"/>
              <a:gd name="connsiteX191" fmla="*/ 231775 w 1943100"/>
              <a:gd name="connsiteY191" fmla="*/ 1146175 h 2203450"/>
              <a:gd name="connsiteX192" fmla="*/ 234950 w 1943100"/>
              <a:gd name="connsiteY192" fmla="*/ 1158875 h 2203450"/>
              <a:gd name="connsiteX193" fmla="*/ 231775 w 1943100"/>
              <a:gd name="connsiteY193" fmla="*/ 1168400 h 2203450"/>
              <a:gd name="connsiteX194" fmla="*/ 228600 w 1943100"/>
              <a:gd name="connsiteY194" fmla="*/ 1181100 h 2203450"/>
              <a:gd name="connsiteX195" fmla="*/ 222250 w 1943100"/>
              <a:gd name="connsiteY195" fmla="*/ 1190625 h 2203450"/>
              <a:gd name="connsiteX196" fmla="*/ 215900 w 1943100"/>
              <a:gd name="connsiteY196" fmla="*/ 1200150 h 2203450"/>
              <a:gd name="connsiteX197" fmla="*/ 206375 w 1943100"/>
              <a:gd name="connsiteY197" fmla="*/ 1206500 h 2203450"/>
              <a:gd name="connsiteX198" fmla="*/ 193675 w 1943100"/>
              <a:gd name="connsiteY198" fmla="*/ 1212850 h 2203450"/>
              <a:gd name="connsiteX199" fmla="*/ 184150 w 1943100"/>
              <a:gd name="connsiteY199" fmla="*/ 1216025 h 2203450"/>
              <a:gd name="connsiteX200" fmla="*/ 171450 w 1943100"/>
              <a:gd name="connsiteY200" fmla="*/ 1216025 h 2203450"/>
              <a:gd name="connsiteX201" fmla="*/ 158750 w 1943100"/>
              <a:gd name="connsiteY201" fmla="*/ 1216025 h 2203450"/>
              <a:gd name="connsiteX202" fmla="*/ 146050 w 1943100"/>
              <a:gd name="connsiteY202" fmla="*/ 1212850 h 2203450"/>
              <a:gd name="connsiteX203" fmla="*/ 136525 w 1943100"/>
              <a:gd name="connsiteY203" fmla="*/ 1206500 h 2203450"/>
              <a:gd name="connsiteX204" fmla="*/ 127000 w 1943100"/>
              <a:gd name="connsiteY204" fmla="*/ 1200150 h 2203450"/>
              <a:gd name="connsiteX205" fmla="*/ 117475 w 1943100"/>
              <a:gd name="connsiteY205" fmla="*/ 1190625 h 2203450"/>
              <a:gd name="connsiteX206" fmla="*/ 111125 w 1943100"/>
              <a:gd name="connsiteY206" fmla="*/ 1181100 h 2203450"/>
              <a:gd name="connsiteX207" fmla="*/ 107950 w 1943100"/>
              <a:gd name="connsiteY207" fmla="*/ 1168400 h 2203450"/>
              <a:gd name="connsiteX208" fmla="*/ 107950 w 1943100"/>
              <a:gd name="connsiteY208" fmla="*/ 1158875 h 2203450"/>
              <a:gd name="connsiteX209" fmla="*/ 107950 w 1943100"/>
              <a:gd name="connsiteY209" fmla="*/ 1146175 h 2203450"/>
              <a:gd name="connsiteX210" fmla="*/ 111125 w 1943100"/>
              <a:gd name="connsiteY210" fmla="*/ 1136650 h 2203450"/>
              <a:gd name="connsiteX211" fmla="*/ 117475 w 1943100"/>
              <a:gd name="connsiteY211" fmla="*/ 1123950 h 2203450"/>
              <a:gd name="connsiteX212" fmla="*/ 127000 w 1943100"/>
              <a:gd name="connsiteY212" fmla="*/ 1117600 h 2203450"/>
              <a:gd name="connsiteX213" fmla="*/ 136525 w 1943100"/>
              <a:gd name="connsiteY213" fmla="*/ 1108075 h 2203450"/>
              <a:gd name="connsiteX214" fmla="*/ 146050 w 1943100"/>
              <a:gd name="connsiteY214" fmla="*/ 1104900 h 2203450"/>
              <a:gd name="connsiteX215" fmla="*/ 158750 w 1943100"/>
              <a:gd name="connsiteY215" fmla="*/ 1101725 h 2203450"/>
              <a:gd name="connsiteX216" fmla="*/ 136525 w 1943100"/>
              <a:gd name="connsiteY216" fmla="*/ 812800 h 2203450"/>
              <a:gd name="connsiteX217" fmla="*/ 155575 w 1943100"/>
              <a:gd name="connsiteY217" fmla="*/ 815975 h 2203450"/>
              <a:gd name="connsiteX218" fmla="*/ 174625 w 1943100"/>
              <a:gd name="connsiteY218" fmla="*/ 822325 h 2203450"/>
              <a:gd name="connsiteX219" fmla="*/ 190500 w 1943100"/>
              <a:gd name="connsiteY219" fmla="*/ 831850 h 2203450"/>
              <a:gd name="connsiteX220" fmla="*/ 206375 w 1943100"/>
              <a:gd name="connsiteY220" fmla="*/ 844550 h 2203450"/>
              <a:gd name="connsiteX221" fmla="*/ 215900 w 1943100"/>
              <a:gd name="connsiteY221" fmla="*/ 860425 h 2203450"/>
              <a:gd name="connsiteX222" fmla="*/ 225425 w 1943100"/>
              <a:gd name="connsiteY222" fmla="*/ 879475 h 2203450"/>
              <a:gd name="connsiteX223" fmla="*/ 231775 w 1943100"/>
              <a:gd name="connsiteY223" fmla="*/ 898525 h 2203450"/>
              <a:gd name="connsiteX224" fmla="*/ 234950 w 1943100"/>
              <a:gd name="connsiteY224" fmla="*/ 920750 h 2203450"/>
              <a:gd name="connsiteX225" fmla="*/ 231775 w 1943100"/>
              <a:gd name="connsiteY225" fmla="*/ 939800 h 2203450"/>
              <a:gd name="connsiteX226" fmla="*/ 225425 w 1943100"/>
              <a:gd name="connsiteY226" fmla="*/ 958850 h 2203450"/>
              <a:gd name="connsiteX227" fmla="*/ 215900 w 1943100"/>
              <a:gd name="connsiteY227" fmla="*/ 977900 h 2203450"/>
              <a:gd name="connsiteX228" fmla="*/ 206375 w 1943100"/>
              <a:gd name="connsiteY228" fmla="*/ 993775 h 2203450"/>
              <a:gd name="connsiteX229" fmla="*/ 190500 w 1943100"/>
              <a:gd name="connsiteY229" fmla="*/ 1006475 h 2203450"/>
              <a:gd name="connsiteX230" fmla="*/ 174625 w 1943100"/>
              <a:gd name="connsiteY230" fmla="*/ 1016000 h 2203450"/>
              <a:gd name="connsiteX231" fmla="*/ 155575 w 1943100"/>
              <a:gd name="connsiteY231" fmla="*/ 1022350 h 2203450"/>
              <a:gd name="connsiteX232" fmla="*/ 136525 w 1943100"/>
              <a:gd name="connsiteY232" fmla="*/ 1025525 h 2203450"/>
              <a:gd name="connsiteX233" fmla="*/ 114300 w 1943100"/>
              <a:gd name="connsiteY233" fmla="*/ 1022350 h 2203450"/>
              <a:gd name="connsiteX234" fmla="*/ 98425 w 1943100"/>
              <a:gd name="connsiteY234" fmla="*/ 1016000 h 2203450"/>
              <a:gd name="connsiteX235" fmla="*/ 79375 w 1943100"/>
              <a:gd name="connsiteY235" fmla="*/ 1006475 h 2203450"/>
              <a:gd name="connsiteX236" fmla="*/ 66675 w 1943100"/>
              <a:gd name="connsiteY236" fmla="*/ 993775 h 2203450"/>
              <a:gd name="connsiteX237" fmla="*/ 53975 w 1943100"/>
              <a:gd name="connsiteY237" fmla="*/ 977900 h 2203450"/>
              <a:gd name="connsiteX238" fmla="*/ 44450 w 1943100"/>
              <a:gd name="connsiteY238" fmla="*/ 958850 h 2203450"/>
              <a:gd name="connsiteX239" fmla="*/ 38100 w 1943100"/>
              <a:gd name="connsiteY239" fmla="*/ 939800 h 2203450"/>
              <a:gd name="connsiteX240" fmla="*/ 38100 w 1943100"/>
              <a:gd name="connsiteY240" fmla="*/ 920750 h 2203450"/>
              <a:gd name="connsiteX241" fmla="*/ 38100 w 1943100"/>
              <a:gd name="connsiteY241" fmla="*/ 898525 h 2203450"/>
              <a:gd name="connsiteX242" fmla="*/ 44450 w 1943100"/>
              <a:gd name="connsiteY242" fmla="*/ 879475 h 2203450"/>
              <a:gd name="connsiteX243" fmla="*/ 53975 w 1943100"/>
              <a:gd name="connsiteY243" fmla="*/ 860425 h 2203450"/>
              <a:gd name="connsiteX244" fmla="*/ 66675 w 1943100"/>
              <a:gd name="connsiteY244" fmla="*/ 844550 h 2203450"/>
              <a:gd name="connsiteX245" fmla="*/ 79375 w 1943100"/>
              <a:gd name="connsiteY245" fmla="*/ 831850 h 2203450"/>
              <a:gd name="connsiteX246" fmla="*/ 98425 w 1943100"/>
              <a:gd name="connsiteY246" fmla="*/ 822325 h 2203450"/>
              <a:gd name="connsiteX247" fmla="*/ 114300 w 1943100"/>
              <a:gd name="connsiteY247" fmla="*/ 815975 h 2203450"/>
              <a:gd name="connsiteX248" fmla="*/ 352425 w 1943100"/>
              <a:gd name="connsiteY248" fmla="*/ 698500 h 2203450"/>
              <a:gd name="connsiteX249" fmla="*/ 368300 w 1943100"/>
              <a:gd name="connsiteY249" fmla="*/ 701675 h 2203450"/>
              <a:gd name="connsiteX250" fmla="*/ 381000 w 1943100"/>
              <a:gd name="connsiteY250" fmla="*/ 708025 h 2203450"/>
              <a:gd name="connsiteX251" fmla="*/ 390525 w 1943100"/>
              <a:gd name="connsiteY251" fmla="*/ 720725 h 2203450"/>
              <a:gd name="connsiteX252" fmla="*/ 393700 w 1943100"/>
              <a:gd name="connsiteY252" fmla="*/ 733425 h 2203450"/>
              <a:gd name="connsiteX253" fmla="*/ 390525 w 1943100"/>
              <a:gd name="connsiteY253" fmla="*/ 749300 h 2203450"/>
              <a:gd name="connsiteX254" fmla="*/ 381000 w 1943100"/>
              <a:gd name="connsiteY254" fmla="*/ 762000 h 2203450"/>
              <a:gd name="connsiteX255" fmla="*/ 368300 w 1943100"/>
              <a:gd name="connsiteY255" fmla="*/ 768350 h 2203450"/>
              <a:gd name="connsiteX256" fmla="*/ 352425 w 1943100"/>
              <a:gd name="connsiteY256" fmla="*/ 771525 h 2203450"/>
              <a:gd name="connsiteX257" fmla="*/ 333375 w 1943100"/>
              <a:gd name="connsiteY257" fmla="*/ 768350 h 2203450"/>
              <a:gd name="connsiteX258" fmla="*/ 320675 w 1943100"/>
              <a:gd name="connsiteY258" fmla="*/ 762000 h 2203450"/>
              <a:gd name="connsiteX259" fmla="*/ 311150 w 1943100"/>
              <a:gd name="connsiteY259" fmla="*/ 749300 h 2203450"/>
              <a:gd name="connsiteX260" fmla="*/ 307975 w 1943100"/>
              <a:gd name="connsiteY260" fmla="*/ 733425 h 2203450"/>
              <a:gd name="connsiteX261" fmla="*/ 311150 w 1943100"/>
              <a:gd name="connsiteY261" fmla="*/ 720725 h 2203450"/>
              <a:gd name="connsiteX262" fmla="*/ 320675 w 1943100"/>
              <a:gd name="connsiteY262" fmla="*/ 708025 h 2203450"/>
              <a:gd name="connsiteX263" fmla="*/ 333375 w 1943100"/>
              <a:gd name="connsiteY263" fmla="*/ 701675 h 2203450"/>
              <a:gd name="connsiteX264" fmla="*/ 1809750 w 1943100"/>
              <a:gd name="connsiteY264" fmla="*/ 631825 h 2203450"/>
              <a:gd name="connsiteX265" fmla="*/ 1825625 w 1943100"/>
              <a:gd name="connsiteY265" fmla="*/ 631825 h 2203450"/>
              <a:gd name="connsiteX266" fmla="*/ 1841500 w 1943100"/>
              <a:gd name="connsiteY266" fmla="*/ 631825 h 2203450"/>
              <a:gd name="connsiteX267" fmla="*/ 1863725 w 1943100"/>
              <a:gd name="connsiteY267" fmla="*/ 635000 h 2203450"/>
              <a:gd name="connsiteX268" fmla="*/ 1885950 w 1943100"/>
              <a:gd name="connsiteY268" fmla="*/ 644525 h 2203450"/>
              <a:gd name="connsiteX269" fmla="*/ 1895475 w 1943100"/>
              <a:gd name="connsiteY269" fmla="*/ 654050 h 2203450"/>
              <a:gd name="connsiteX270" fmla="*/ 1908175 w 1943100"/>
              <a:gd name="connsiteY270" fmla="*/ 663575 h 2203450"/>
              <a:gd name="connsiteX271" fmla="*/ 1917700 w 1943100"/>
              <a:gd name="connsiteY271" fmla="*/ 679450 h 2203450"/>
              <a:gd name="connsiteX272" fmla="*/ 1927225 w 1943100"/>
              <a:gd name="connsiteY272" fmla="*/ 695325 h 2203450"/>
              <a:gd name="connsiteX273" fmla="*/ 1933575 w 1943100"/>
              <a:gd name="connsiteY273" fmla="*/ 704850 h 2203450"/>
              <a:gd name="connsiteX274" fmla="*/ 1939925 w 1943100"/>
              <a:gd name="connsiteY274" fmla="*/ 720725 h 2203450"/>
              <a:gd name="connsiteX275" fmla="*/ 1943100 w 1943100"/>
              <a:gd name="connsiteY275" fmla="*/ 739775 h 2203450"/>
              <a:gd name="connsiteX276" fmla="*/ 1943100 w 1943100"/>
              <a:gd name="connsiteY276" fmla="*/ 768350 h 2203450"/>
              <a:gd name="connsiteX277" fmla="*/ 1939925 w 1943100"/>
              <a:gd name="connsiteY277" fmla="*/ 800100 h 2203450"/>
              <a:gd name="connsiteX278" fmla="*/ 1930400 w 1943100"/>
              <a:gd name="connsiteY278" fmla="*/ 841375 h 2203450"/>
              <a:gd name="connsiteX279" fmla="*/ 1911350 w 1943100"/>
              <a:gd name="connsiteY279" fmla="*/ 885825 h 2203450"/>
              <a:gd name="connsiteX280" fmla="*/ 1898650 w 1943100"/>
              <a:gd name="connsiteY280" fmla="*/ 914400 h 2203450"/>
              <a:gd name="connsiteX281" fmla="*/ 1882775 w 1943100"/>
              <a:gd name="connsiteY281" fmla="*/ 939800 h 2203450"/>
              <a:gd name="connsiteX282" fmla="*/ 1863725 w 1943100"/>
              <a:gd name="connsiteY282" fmla="*/ 958850 h 2203450"/>
              <a:gd name="connsiteX283" fmla="*/ 1847850 w 1943100"/>
              <a:gd name="connsiteY283" fmla="*/ 974725 h 2203450"/>
              <a:gd name="connsiteX284" fmla="*/ 1828800 w 1943100"/>
              <a:gd name="connsiteY284" fmla="*/ 987425 h 2203450"/>
              <a:gd name="connsiteX285" fmla="*/ 1809750 w 1943100"/>
              <a:gd name="connsiteY285" fmla="*/ 993775 h 2203450"/>
              <a:gd name="connsiteX286" fmla="*/ 1793875 w 1943100"/>
              <a:gd name="connsiteY286" fmla="*/ 996950 h 2203450"/>
              <a:gd name="connsiteX287" fmla="*/ 1778000 w 1943100"/>
              <a:gd name="connsiteY287" fmla="*/ 990600 h 2203450"/>
              <a:gd name="connsiteX288" fmla="*/ 1765300 w 1943100"/>
              <a:gd name="connsiteY288" fmla="*/ 977900 h 2203450"/>
              <a:gd name="connsiteX289" fmla="*/ 1755775 w 1943100"/>
              <a:gd name="connsiteY289" fmla="*/ 962025 h 2203450"/>
              <a:gd name="connsiteX290" fmla="*/ 1749425 w 1943100"/>
              <a:gd name="connsiteY290" fmla="*/ 942975 h 2203450"/>
              <a:gd name="connsiteX291" fmla="*/ 1746250 w 1943100"/>
              <a:gd name="connsiteY291" fmla="*/ 917575 h 2203450"/>
              <a:gd name="connsiteX292" fmla="*/ 1746250 w 1943100"/>
              <a:gd name="connsiteY292" fmla="*/ 892175 h 2203450"/>
              <a:gd name="connsiteX293" fmla="*/ 1749425 w 1943100"/>
              <a:gd name="connsiteY293" fmla="*/ 863600 h 2203450"/>
              <a:gd name="connsiteX294" fmla="*/ 1755775 w 1943100"/>
              <a:gd name="connsiteY294" fmla="*/ 835025 h 2203450"/>
              <a:gd name="connsiteX295" fmla="*/ 1768475 w 1943100"/>
              <a:gd name="connsiteY295" fmla="*/ 803275 h 2203450"/>
              <a:gd name="connsiteX296" fmla="*/ 1771650 w 1943100"/>
              <a:gd name="connsiteY296" fmla="*/ 796925 h 2203450"/>
              <a:gd name="connsiteX297" fmla="*/ 1774825 w 1943100"/>
              <a:gd name="connsiteY297" fmla="*/ 777875 h 2203450"/>
              <a:gd name="connsiteX298" fmla="*/ 1774825 w 1943100"/>
              <a:gd name="connsiteY298" fmla="*/ 752475 h 2203450"/>
              <a:gd name="connsiteX299" fmla="*/ 1774825 w 1943100"/>
              <a:gd name="connsiteY299" fmla="*/ 739775 h 2203450"/>
              <a:gd name="connsiteX300" fmla="*/ 1768475 w 1943100"/>
              <a:gd name="connsiteY300" fmla="*/ 727075 h 2203450"/>
              <a:gd name="connsiteX301" fmla="*/ 1762125 w 1943100"/>
              <a:gd name="connsiteY301" fmla="*/ 717550 h 2203450"/>
              <a:gd name="connsiteX302" fmla="*/ 1758950 w 1943100"/>
              <a:gd name="connsiteY302" fmla="*/ 708025 h 2203450"/>
              <a:gd name="connsiteX303" fmla="*/ 1755775 w 1943100"/>
              <a:gd name="connsiteY303" fmla="*/ 695325 h 2203450"/>
              <a:gd name="connsiteX304" fmla="*/ 1755775 w 1943100"/>
              <a:gd name="connsiteY304" fmla="*/ 682625 h 2203450"/>
              <a:gd name="connsiteX305" fmla="*/ 1762125 w 1943100"/>
              <a:gd name="connsiteY305" fmla="*/ 666750 h 2203450"/>
              <a:gd name="connsiteX306" fmla="*/ 1774825 w 1943100"/>
              <a:gd name="connsiteY306" fmla="*/ 650875 h 2203450"/>
              <a:gd name="connsiteX307" fmla="*/ 1797050 w 1943100"/>
              <a:gd name="connsiteY307" fmla="*/ 638175 h 2203450"/>
              <a:gd name="connsiteX308" fmla="*/ 504825 w 1943100"/>
              <a:gd name="connsiteY308" fmla="*/ 593725 h 2203450"/>
              <a:gd name="connsiteX309" fmla="*/ 520700 w 1943100"/>
              <a:gd name="connsiteY309" fmla="*/ 596900 h 2203450"/>
              <a:gd name="connsiteX310" fmla="*/ 536575 w 1943100"/>
              <a:gd name="connsiteY310" fmla="*/ 600075 h 2203450"/>
              <a:gd name="connsiteX311" fmla="*/ 549275 w 1943100"/>
              <a:gd name="connsiteY311" fmla="*/ 606425 h 2203450"/>
              <a:gd name="connsiteX312" fmla="*/ 561975 w 1943100"/>
              <a:gd name="connsiteY312" fmla="*/ 612775 h 2203450"/>
              <a:gd name="connsiteX313" fmla="*/ 571500 w 1943100"/>
              <a:gd name="connsiteY313" fmla="*/ 622300 h 2203450"/>
              <a:gd name="connsiteX314" fmla="*/ 581025 w 1943100"/>
              <a:gd name="connsiteY314" fmla="*/ 631825 h 2203450"/>
              <a:gd name="connsiteX315" fmla="*/ 584200 w 1943100"/>
              <a:gd name="connsiteY315" fmla="*/ 641350 h 2203450"/>
              <a:gd name="connsiteX316" fmla="*/ 587375 w 1943100"/>
              <a:gd name="connsiteY316" fmla="*/ 654050 h 2203450"/>
              <a:gd name="connsiteX317" fmla="*/ 584200 w 1943100"/>
              <a:gd name="connsiteY317" fmla="*/ 666750 h 2203450"/>
              <a:gd name="connsiteX318" fmla="*/ 581025 w 1943100"/>
              <a:gd name="connsiteY318" fmla="*/ 679450 h 2203450"/>
              <a:gd name="connsiteX319" fmla="*/ 571500 w 1943100"/>
              <a:gd name="connsiteY319" fmla="*/ 688975 h 2203450"/>
              <a:gd name="connsiteX320" fmla="*/ 561975 w 1943100"/>
              <a:gd name="connsiteY320" fmla="*/ 698500 h 2203450"/>
              <a:gd name="connsiteX321" fmla="*/ 549275 w 1943100"/>
              <a:gd name="connsiteY321" fmla="*/ 704850 h 2203450"/>
              <a:gd name="connsiteX322" fmla="*/ 536575 w 1943100"/>
              <a:gd name="connsiteY322" fmla="*/ 711200 h 2203450"/>
              <a:gd name="connsiteX323" fmla="*/ 520700 w 1943100"/>
              <a:gd name="connsiteY323" fmla="*/ 714375 h 2203450"/>
              <a:gd name="connsiteX324" fmla="*/ 504825 w 1943100"/>
              <a:gd name="connsiteY324" fmla="*/ 714375 h 2203450"/>
              <a:gd name="connsiteX325" fmla="*/ 488950 w 1943100"/>
              <a:gd name="connsiteY325" fmla="*/ 714375 h 2203450"/>
              <a:gd name="connsiteX326" fmla="*/ 473075 w 1943100"/>
              <a:gd name="connsiteY326" fmla="*/ 711200 h 2203450"/>
              <a:gd name="connsiteX327" fmla="*/ 457200 w 1943100"/>
              <a:gd name="connsiteY327" fmla="*/ 704850 h 2203450"/>
              <a:gd name="connsiteX328" fmla="*/ 444500 w 1943100"/>
              <a:gd name="connsiteY328" fmla="*/ 698500 h 2203450"/>
              <a:gd name="connsiteX329" fmla="*/ 434975 w 1943100"/>
              <a:gd name="connsiteY329" fmla="*/ 688975 h 2203450"/>
              <a:gd name="connsiteX330" fmla="*/ 428625 w 1943100"/>
              <a:gd name="connsiteY330" fmla="*/ 679450 h 2203450"/>
              <a:gd name="connsiteX331" fmla="*/ 422275 w 1943100"/>
              <a:gd name="connsiteY331" fmla="*/ 666750 h 2203450"/>
              <a:gd name="connsiteX332" fmla="*/ 422275 w 1943100"/>
              <a:gd name="connsiteY332" fmla="*/ 654050 h 2203450"/>
              <a:gd name="connsiteX333" fmla="*/ 422275 w 1943100"/>
              <a:gd name="connsiteY333" fmla="*/ 641350 h 2203450"/>
              <a:gd name="connsiteX334" fmla="*/ 428625 w 1943100"/>
              <a:gd name="connsiteY334" fmla="*/ 631825 h 2203450"/>
              <a:gd name="connsiteX335" fmla="*/ 434975 w 1943100"/>
              <a:gd name="connsiteY335" fmla="*/ 622300 h 2203450"/>
              <a:gd name="connsiteX336" fmla="*/ 444500 w 1943100"/>
              <a:gd name="connsiteY336" fmla="*/ 612775 h 2203450"/>
              <a:gd name="connsiteX337" fmla="*/ 457200 w 1943100"/>
              <a:gd name="connsiteY337" fmla="*/ 606425 h 2203450"/>
              <a:gd name="connsiteX338" fmla="*/ 473075 w 1943100"/>
              <a:gd name="connsiteY338" fmla="*/ 600075 h 2203450"/>
              <a:gd name="connsiteX339" fmla="*/ 488950 w 1943100"/>
              <a:gd name="connsiteY339" fmla="*/ 596900 h 2203450"/>
              <a:gd name="connsiteX340" fmla="*/ 1581150 w 1943100"/>
              <a:gd name="connsiteY340" fmla="*/ 158750 h 2203450"/>
              <a:gd name="connsiteX341" fmla="*/ 1600200 w 1943100"/>
              <a:gd name="connsiteY341" fmla="*/ 158750 h 2203450"/>
              <a:gd name="connsiteX342" fmla="*/ 1616075 w 1943100"/>
              <a:gd name="connsiteY342" fmla="*/ 165100 h 2203450"/>
              <a:gd name="connsiteX343" fmla="*/ 1635125 w 1943100"/>
              <a:gd name="connsiteY343" fmla="*/ 177800 h 2203450"/>
              <a:gd name="connsiteX344" fmla="*/ 1654175 w 1943100"/>
              <a:gd name="connsiteY344" fmla="*/ 193675 h 2203450"/>
              <a:gd name="connsiteX345" fmla="*/ 1670050 w 1943100"/>
              <a:gd name="connsiteY345" fmla="*/ 215900 h 2203450"/>
              <a:gd name="connsiteX346" fmla="*/ 1685925 w 1943100"/>
              <a:gd name="connsiteY346" fmla="*/ 241300 h 2203450"/>
              <a:gd name="connsiteX347" fmla="*/ 1698625 w 1943100"/>
              <a:gd name="connsiteY347" fmla="*/ 269875 h 2203450"/>
              <a:gd name="connsiteX348" fmla="*/ 1708150 w 1943100"/>
              <a:gd name="connsiteY348" fmla="*/ 298450 h 2203450"/>
              <a:gd name="connsiteX349" fmla="*/ 1714500 w 1943100"/>
              <a:gd name="connsiteY349" fmla="*/ 330200 h 2203450"/>
              <a:gd name="connsiteX350" fmla="*/ 1717675 w 1943100"/>
              <a:gd name="connsiteY350" fmla="*/ 358775 h 2203450"/>
              <a:gd name="connsiteX351" fmla="*/ 1717675 w 1943100"/>
              <a:gd name="connsiteY351" fmla="*/ 387350 h 2203450"/>
              <a:gd name="connsiteX352" fmla="*/ 1714500 w 1943100"/>
              <a:gd name="connsiteY352" fmla="*/ 409575 h 2203450"/>
              <a:gd name="connsiteX353" fmla="*/ 1708150 w 1943100"/>
              <a:gd name="connsiteY353" fmla="*/ 428625 h 2203450"/>
              <a:gd name="connsiteX354" fmla="*/ 1698625 w 1943100"/>
              <a:gd name="connsiteY354" fmla="*/ 444500 h 2203450"/>
              <a:gd name="connsiteX355" fmla="*/ 1685925 w 1943100"/>
              <a:gd name="connsiteY355" fmla="*/ 457200 h 2203450"/>
              <a:gd name="connsiteX356" fmla="*/ 1670050 w 1943100"/>
              <a:gd name="connsiteY356" fmla="*/ 460375 h 2203450"/>
              <a:gd name="connsiteX357" fmla="*/ 1651000 w 1943100"/>
              <a:gd name="connsiteY357" fmla="*/ 460375 h 2203450"/>
              <a:gd name="connsiteX358" fmla="*/ 1631950 w 1943100"/>
              <a:gd name="connsiteY358" fmla="*/ 454025 h 2203450"/>
              <a:gd name="connsiteX359" fmla="*/ 1616075 w 1943100"/>
              <a:gd name="connsiteY359" fmla="*/ 441325 h 2203450"/>
              <a:gd name="connsiteX360" fmla="*/ 1597025 w 1943100"/>
              <a:gd name="connsiteY360" fmla="*/ 422275 h 2203450"/>
              <a:gd name="connsiteX361" fmla="*/ 1581150 w 1943100"/>
              <a:gd name="connsiteY361" fmla="*/ 403225 h 2203450"/>
              <a:gd name="connsiteX362" fmla="*/ 1565275 w 1943100"/>
              <a:gd name="connsiteY362" fmla="*/ 377825 h 2203450"/>
              <a:gd name="connsiteX363" fmla="*/ 1552575 w 1943100"/>
              <a:gd name="connsiteY363" fmla="*/ 349250 h 2203450"/>
              <a:gd name="connsiteX364" fmla="*/ 1543050 w 1943100"/>
              <a:gd name="connsiteY364" fmla="*/ 320675 h 2203450"/>
              <a:gd name="connsiteX365" fmla="*/ 1533525 w 1943100"/>
              <a:gd name="connsiteY365" fmla="*/ 288925 h 2203450"/>
              <a:gd name="connsiteX366" fmla="*/ 1530350 w 1943100"/>
              <a:gd name="connsiteY366" fmla="*/ 260350 h 2203450"/>
              <a:gd name="connsiteX367" fmla="*/ 1530350 w 1943100"/>
              <a:gd name="connsiteY367" fmla="*/ 231775 h 2203450"/>
              <a:gd name="connsiteX368" fmla="*/ 1536700 w 1943100"/>
              <a:gd name="connsiteY368" fmla="*/ 209550 h 2203450"/>
              <a:gd name="connsiteX369" fmla="*/ 1543050 w 1943100"/>
              <a:gd name="connsiteY369" fmla="*/ 190500 h 2203450"/>
              <a:gd name="connsiteX370" fmla="*/ 1552575 w 1943100"/>
              <a:gd name="connsiteY370" fmla="*/ 174625 h 2203450"/>
              <a:gd name="connsiteX371" fmla="*/ 1565275 w 1943100"/>
              <a:gd name="connsiteY371" fmla="*/ 161925 h 2203450"/>
              <a:gd name="connsiteX372" fmla="*/ 1212850 w 1943100"/>
              <a:gd name="connsiteY372" fmla="*/ 98425 h 2203450"/>
              <a:gd name="connsiteX373" fmla="*/ 1241425 w 1943100"/>
              <a:gd name="connsiteY373" fmla="*/ 98425 h 2203450"/>
              <a:gd name="connsiteX374" fmla="*/ 1270000 w 1943100"/>
              <a:gd name="connsiteY374" fmla="*/ 101600 h 2203450"/>
              <a:gd name="connsiteX375" fmla="*/ 1292225 w 1943100"/>
              <a:gd name="connsiteY375" fmla="*/ 111125 h 2203450"/>
              <a:gd name="connsiteX376" fmla="*/ 1314450 w 1943100"/>
              <a:gd name="connsiteY376" fmla="*/ 120650 h 2203450"/>
              <a:gd name="connsiteX377" fmla="*/ 1333500 w 1943100"/>
              <a:gd name="connsiteY377" fmla="*/ 130175 h 2203450"/>
              <a:gd name="connsiteX378" fmla="*/ 1358900 w 1943100"/>
              <a:gd name="connsiteY378" fmla="*/ 149225 h 2203450"/>
              <a:gd name="connsiteX379" fmla="*/ 1368425 w 1943100"/>
              <a:gd name="connsiteY379" fmla="*/ 158750 h 2203450"/>
              <a:gd name="connsiteX380" fmla="*/ 1393825 w 1943100"/>
              <a:gd name="connsiteY380" fmla="*/ 180975 h 2203450"/>
              <a:gd name="connsiteX381" fmla="*/ 1419225 w 1943100"/>
              <a:gd name="connsiteY381" fmla="*/ 206375 h 2203450"/>
              <a:gd name="connsiteX382" fmla="*/ 1435100 w 1943100"/>
              <a:gd name="connsiteY382" fmla="*/ 234950 h 2203450"/>
              <a:gd name="connsiteX383" fmla="*/ 1450975 w 1943100"/>
              <a:gd name="connsiteY383" fmla="*/ 260350 h 2203450"/>
              <a:gd name="connsiteX384" fmla="*/ 1460500 w 1943100"/>
              <a:gd name="connsiteY384" fmla="*/ 285750 h 2203450"/>
              <a:gd name="connsiteX385" fmla="*/ 1470025 w 1943100"/>
              <a:gd name="connsiteY385" fmla="*/ 311150 h 2203450"/>
              <a:gd name="connsiteX386" fmla="*/ 1476375 w 1943100"/>
              <a:gd name="connsiteY386" fmla="*/ 333375 h 2203450"/>
              <a:gd name="connsiteX387" fmla="*/ 1476375 w 1943100"/>
              <a:gd name="connsiteY387" fmla="*/ 358775 h 2203450"/>
              <a:gd name="connsiteX388" fmla="*/ 1479550 w 1943100"/>
              <a:gd name="connsiteY388" fmla="*/ 400050 h 2203450"/>
              <a:gd name="connsiteX389" fmla="*/ 1473200 w 1943100"/>
              <a:gd name="connsiteY389" fmla="*/ 431800 h 2203450"/>
              <a:gd name="connsiteX390" fmla="*/ 1466850 w 1943100"/>
              <a:gd name="connsiteY390" fmla="*/ 460375 h 2203450"/>
              <a:gd name="connsiteX391" fmla="*/ 1457325 w 1943100"/>
              <a:gd name="connsiteY391" fmla="*/ 501650 h 2203450"/>
              <a:gd name="connsiteX392" fmla="*/ 1454150 w 1943100"/>
              <a:gd name="connsiteY392" fmla="*/ 533400 h 2203450"/>
              <a:gd name="connsiteX393" fmla="*/ 1454150 w 1943100"/>
              <a:gd name="connsiteY393" fmla="*/ 561975 h 2203450"/>
              <a:gd name="connsiteX394" fmla="*/ 1457325 w 1943100"/>
              <a:gd name="connsiteY394" fmla="*/ 581025 h 2203450"/>
              <a:gd name="connsiteX395" fmla="*/ 1466850 w 1943100"/>
              <a:gd name="connsiteY395" fmla="*/ 596900 h 2203450"/>
              <a:gd name="connsiteX396" fmla="*/ 1473200 w 1943100"/>
              <a:gd name="connsiteY396" fmla="*/ 609600 h 2203450"/>
              <a:gd name="connsiteX397" fmla="*/ 1482725 w 1943100"/>
              <a:gd name="connsiteY397" fmla="*/ 622300 h 2203450"/>
              <a:gd name="connsiteX398" fmla="*/ 1495425 w 1943100"/>
              <a:gd name="connsiteY398" fmla="*/ 631825 h 2203450"/>
              <a:gd name="connsiteX399" fmla="*/ 1508125 w 1943100"/>
              <a:gd name="connsiteY399" fmla="*/ 638175 h 2203450"/>
              <a:gd name="connsiteX400" fmla="*/ 1530350 w 1943100"/>
              <a:gd name="connsiteY400" fmla="*/ 647700 h 2203450"/>
              <a:gd name="connsiteX401" fmla="*/ 1552575 w 1943100"/>
              <a:gd name="connsiteY401" fmla="*/ 650875 h 2203450"/>
              <a:gd name="connsiteX402" fmla="*/ 1571625 w 1943100"/>
              <a:gd name="connsiteY402" fmla="*/ 650875 h 2203450"/>
              <a:gd name="connsiteX403" fmla="*/ 1590675 w 1943100"/>
              <a:gd name="connsiteY403" fmla="*/ 650875 h 2203450"/>
              <a:gd name="connsiteX404" fmla="*/ 1622425 w 1943100"/>
              <a:gd name="connsiteY404" fmla="*/ 650875 h 2203450"/>
              <a:gd name="connsiteX405" fmla="*/ 1647825 w 1943100"/>
              <a:gd name="connsiteY405" fmla="*/ 654050 h 2203450"/>
              <a:gd name="connsiteX406" fmla="*/ 1670050 w 1943100"/>
              <a:gd name="connsiteY406" fmla="*/ 660400 h 2203450"/>
              <a:gd name="connsiteX407" fmla="*/ 1685925 w 1943100"/>
              <a:gd name="connsiteY407" fmla="*/ 666750 h 2203450"/>
              <a:gd name="connsiteX408" fmla="*/ 1695450 w 1943100"/>
              <a:gd name="connsiteY408" fmla="*/ 676275 h 2203450"/>
              <a:gd name="connsiteX409" fmla="*/ 1701800 w 1943100"/>
              <a:gd name="connsiteY409" fmla="*/ 682625 h 2203450"/>
              <a:gd name="connsiteX410" fmla="*/ 1708150 w 1943100"/>
              <a:gd name="connsiteY410" fmla="*/ 688975 h 2203450"/>
              <a:gd name="connsiteX411" fmla="*/ 1714500 w 1943100"/>
              <a:gd name="connsiteY411" fmla="*/ 698500 h 2203450"/>
              <a:gd name="connsiteX412" fmla="*/ 1717675 w 1943100"/>
              <a:gd name="connsiteY412" fmla="*/ 708025 h 2203450"/>
              <a:gd name="connsiteX413" fmla="*/ 1724025 w 1943100"/>
              <a:gd name="connsiteY413" fmla="*/ 727075 h 2203450"/>
              <a:gd name="connsiteX414" fmla="*/ 1724025 w 1943100"/>
              <a:gd name="connsiteY414" fmla="*/ 749300 h 2203450"/>
              <a:gd name="connsiteX415" fmla="*/ 1717675 w 1943100"/>
              <a:gd name="connsiteY415" fmla="*/ 768350 h 2203450"/>
              <a:gd name="connsiteX416" fmla="*/ 1704975 w 1943100"/>
              <a:gd name="connsiteY416" fmla="*/ 800100 h 2203450"/>
              <a:gd name="connsiteX417" fmla="*/ 1698625 w 1943100"/>
              <a:gd name="connsiteY417" fmla="*/ 809625 h 2203450"/>
              <a:gd name="connsiteX418" fmla="*/ 1676400 w 1943100"/>
              <a:gd name="connsiteY418" fmla="*/ 844550 h 2203450"/>
              <a:gd name="connsiteX419" fmla="*/ 1660525 w 1943100"/>
              <a:gd name="connsiteY419" fmla="*/ 873125 h 2203450"/>
              <a:gd name="connsiteX420" fmla="*/ 1651000 w 1943100"/>
              <a:gd name="connsiteY420" fmla="*/ 898525 h 2203450"/>
              <a:gd name="connsiteX421" fmla="*/ 1644650 w 1943100"/>
              <a:gd name="connsiteY421" fmla="*/ 917575 h 2203450"/>
              <a:gd name="connsiteX422" fmla="*/ 1641475 w 1943100"/>
              <a:gd name="connsiteY422" fmla="*/ 936625 h 2203450"/>
              <a:gd name="connsiteX423" fmla="*/ 1641475 w 1943100"/>
              <a:gd name="connsiteY423" fmla="*/ 949325 h 2203450"/>
              <a:gd name="connsiteX424" fmla="*/ 1641475 w 1943100"/>
              <a:gd name="connsiteY424" fmla="*/ 958850 h 2203450"/>
              <a:gd name="connsiteX425" fmla="*/ 1644650 w 1943100"/>
              <a:gd name="connsiteY425" fmla="*/ 974725 h 2203450"/>
              <a:gd name="connsiteX426" fmla="*/ 1647825 w 1943100"/>
              <a:gd name="connsiteY426" fmla="*/ 990600 h 2203450"/>
              <a:gd name="connsiteX427" fmla="*/ 1654175 w 1943100"/>
              <a:gd name="connsiteY427" fmla="*/ 1003300 h 2203450"/>
              <a:gd name="connsiteX428" fmla="*/ 1663700 w 1943100"/>
              <a:gd name="connsiteY428" fmla="*/ 1012825 h 2203450"/>
              <a:gd name="connsiteX429" fmla="*/ 1673225 w 1943100"/>
              <a:gd name="connsiteY429" fmla="*/ 1022350 h 2203450"/>
              <a:gd name="connsiteX430" fmla="*/ 1682750 w 1943100"/>
              <a:gd name="connsiteY430" fmla="*/ 1031875 h 2203450"/>
              <a:gd name="connsiteX431" fmla="*/ 1704975 w 1943100"/>
              <a:gd name="connsiteY431" fmla="*/ 1041400 h 2203450"/>
              <a:gd name="connsiteX432" fmla="*/ 1724025 w 1943100"/>
              <a:gd name="connsiteY432" fmla="*/ 1047750 h 2203450"/>
              <a:gd name="connsiteX433" fmla="*/ 1743075 w 1943100"/>
              <a:gd name="connsiteY433" fmla="*/ 1047750 h 2203450"/>
              <a:gd name="connsiteX434" fmla="*/ 1762125 w 1943100"/>
              <a:gd name="connsiteY434" fmla="*/ 1047750 h 2203450"/>
              <a:gd name="connsiteX435" fmla="*/ 1800225 w 1943100"/>
              <a:gd name="connsiteY435" fmla="*/ 1050925 h 2203450"/>
              <a:gd name="connsiteX436" fmla="*/ 1835150 w 1943100"/>
              <a:gd name="connsiteY436" fmla="*/ 1057275 h 2203450"/>
              <a:gd name="connsiteX437" fmla="*/ 1860550 w 1943100"/>
              <a:gd name="connsiteY437" fmla="*/ 1066800 h 2203450"/>
              <a:gd name="connsiteX438" fmla="*/ 1882775 w 1943100"/>
              <a:gd name="connsiteY438" fmla="*/ 1076325 h 2203450"/>
              <a:gd name="connsiteX439" fmla="*/ 1898650 w 1943100"/>
              <a:gd name="connsiteY439" fmla="*/ 1089025 h 2203450"/>
              <a:gd name="connsiteX440" fmla="*/ 1911350 w 1943100"/>
              <a:gd name="connsiteY440" fmla="*/ 1098550 h 2203450"/>
              <a:gd name="connsiteX441" fmla="*/ 1920875 w 1943100"/>
              <a:gd name="connsiteY441" fmla="*/ 1111250 h 2203450"/>
              <a:gd name="connsiteX442" fmla="*/ 1927225 w 1943100"/>
              <a:gd name="connsiteY442" fmla="*/ 1120775 h 2203450"/>
              <a:gd name="connsiteX443" fmla="*/ 1933575 w 1943100"/>
              <a:gd name="connsiteY443" fmla="*/ 1133475 h 2203450"/>
              <a:gd name="connsiteX444" fmla="*/ 1936750 w 1943100"/>
              <a:gd name="connsiteY444" fmla="*/ 1143000 h 2203450"/>
              <a:gd name="connsiteX445" fmla="*/ 1936750 w 1943100"/>
              <a:gd name="connsiteY445" fmla="*/ 1152525 h 2203450"/>
              <a:gd name="connsiteX446" fmla="*/ 1933575 w 1943100"/>
              <a:gd name="connsiteY446" fmla="*/ 1162050 h 2203450"/>
              <a:gd name="connsiteX447" fmla="*/ 1927225 w 1943100"/>
              <a:gd name="connsiteY447" fmla="*/ 1171575 h 2203450"/>
              <a:gd name="connsiteX448" fmla="*/ 1914525 w 1943100"/>
              <a:gd name="connsiteY448" fmla="*/ 1187450 h 2203450"/>
              <a:gd name="connsiteX449" fmla="*/ 1898650 w 1943100"/>
              <a:gd name="connsiteY449" fmla="*/ 1200150 h 2203450"/>
              <a:gd name="connsiteX450" fmla="*/ 1882775 w 1943100"/>
              <a:gd name="connsiteY450" fmla="*/ 1209675 h 2203450"/>
              <a:gd name="connsiteX451" fmla="*/ 1866900 w 1943100"/>
              <a:gd name="connsiteY451" fmla="*/ 1216025 h 2203450"/>
              <a:gd name="connsiteX452" fmla="*/ 1847850 w 1943100"/>
              <a:gd name="connsiteY452" fmla="*/ 1222375 h 2203450"/>
              <a:gd name="connsiteX453" fmla="*/ 1835150 w 1943100"/>
              <a:gd name="connsiteY453" fmla="*/ 1228725 h 2203450"/>
              <a:gd name="connsiteX454" fmla="*/ 1809750 w 1943100"/>
              <a:gd name="connsiteY454" fmla="*/ 1247775 h 2203450"/>
              <a:gd name="connsiteX455" fmla="*/ 1793875 w 1943100"/>
              <a:gd name="connsiteY455" fmla="*/ 1266825 h 2203450"/>
              <a:gd name="connsiteX456" fmla="*/ 1781175 w 1943100"/>
              <a:gd name="connsiteY456" fmla="*/ 1289050 h 2203450"/>
              <a:gd name="connsiteX457" fmla="*/ 1771650 w 1943100"/>
              <a:gd name="connsiteY457" fmla="*/ 1308100 h 2203450"/>
              <a:gd name="connsiteX458" fmla="*/ 1768475 w 1943100"/>
              <a:gd name="connsiteY458" fmla="*/ 1323975 h 2203450"/>
              <a:gd name="connsiteX459" fmla="*/ 1768475 w 1943100"/>
              <a:gd name="connsiteY459" fmla="*/ 1336675 h 2203450"/>
              <a:gd name="connsiteX460" fmla="*/ 1765300 w 1943100"/>
              <a:gd name="connsiteY460" fmla="*/ 1362075 h 2203450"/>
              <a:gd name="connsiteX461" fmla="*/ 1758950 w 1943100"/>
              <a:gd name="connsiteY461" fmla="*/ 1381125 h 2203450"/>
              <a:gd name="connsiteX462" fmla="*/ 1752600 w 1943100"/>
              <a:gd name="connsiteY462" fmla="*/ 1400175 h 2203450"/>
              <a:gd name="connsiteX463" fmla="*/ 1743075 w 1943100"/>
              <a:gd name="connsiteY463" fmla="*/ 1416050 h 2203450"/>
              <a:gd name="connsiteX464" fmla="*/ 1724025 w 1943100"/>
              <a:gd name="connsiteY464" fmla="*/ 1441450 h 2203450"/>
              <a:gd name="connsiteX465" fmla="*/ 1704975 w 1943100"/>
              <a:gd name="connsiteY465" fmla="*/ 1463675 h 2203450"/>
              <a:gd name="connsiteX466" fmla="*/ 1682750 w 1943100"/>
              <a:gd name="connsiteY466" fmla="*/ 1476375 h 2203450"/>
              <a:gd name="connsiteX467" fmla="*/ 1663700 w 1943100"/>
              <a:gd name="connsiteY467" fmla="*/ 1485900 h 2203450"/>
              <a:gd name="connsiteX468" fmla="*/ 1647825 w 1943100"/>
              <a:gd name="connsiteY468" fmla="*/ 1489075 h 2203450"/>
              <a:gd name="connsiteX469" fmla="*/ 1625600 w 1943100"/>
              <a:gd name="connsiteY469" fmla="*/ 1498600 h 2203450"/>
              <a:gd name="connsiteX470" fmla="*/ 1606550 w 1943100"/>
              <a:gd name="connsiteY470" fmla="*/ 1504950 h 2203450"/>
              <a:gd name="connsiteX471" fmla="*/ 1593850 w 1943100"/>
              <a:gd name="connsiteY471" fmla="*/ 1514475 h 2203450"/>
              <a:gd name="connsiteX472" fmla="*/ 1581150 w 1943100"/>
              <a:gd name="connsiteY472" fmla="*/ 1524000 h 2203450"/>
              <a:gd name="connsiteX473" fmla="*/ 1571625 w 1943100"/>
              <a:gd name="connsiteY473" fmla="*/ 1533525 h 2203450"/>
              <a:gd name="connsiteX474" fmla="*/ 1565275 w 1943100"/>
              <a:gd name="connsiteY474" fmla="*/ 1543050 h 2203450"/>
              <a:gd name="connsiteX475" fmla="*/ 1555750 w 1943100"/>
              <a:gd name="connsiteY475" fmla="*/ 1565275 h 2203450"/>
              <a:gd name="connsiteX476" fmla="*/ 1555750 w 1943100"/>
              <a:gd name="connsiteY476" fmla="*/ 1581150 h 2203450"/>
              <a:gd name="connsiteX477" fmla="*/ 1555750 w 1943100"/>
              <a:gd name="connsiteY477" fmla="*/ 1597025 h 2203450"/>
              <a:gd name="connsiteX478" fmla="*/ 1562100 w 1943100"/>
              <a:gd name="connsiteY478" fmla="*/ 1612900 h 2203450"/>
              <a:gd name="connsiteX479" fmla="*/ 1568450 w 1943100"/>
              <a:gd name="connsiteY479" fmla="*/ 1628775 h 2203450"/>
              <a:gd name="connsiteX480" fmla="*/ 1571625 w 1943100"/>
              <a:gd name="connsiteY480" fmla="*/ 1644650 h 2203450"/>
              <a:gd name="connsiteX481" fmla="*/ 1571625 w 1943100"/>
              <a:gd name="connsiteY481" fmla="*/ 1660525 h 2203450"/>
              <a:gd name="connsiteX482" fmla="*/ 1565275 w 1943100"/>
              <a:gd name="connsiteY482" fmla="*/ 1673225 h 2203450"/>
              <a:gd name="connsiteX483" fmla="*/ 1555750 w 1943100"/>
              <a:gd name="connsiteY483" fmla="*/ 1692275 h 2203450"/>
              <a:gd name="connsiteX484" fmla="*/ 1549400 w 1943100"/>
              <a:gd name="connsiteY484" fmla="*/ 1701800 h 2203450"/>
              <a:gd name="connsiteX485" fmla="*/ 1524000 w 1943100"/>
              <a:gd name="connsiteY485" fmla="*/ 1717675 h 2203450"/>
              <a:gd name="connsiteX486" fmla="*/ 1495425 w 1943100"/>
              <a:gd name="connsiteY486" fmla="*/ 1724025 h 2203450"/>
              <a:gd name="connsiteX487" fmla="*/ 1473200 w 1943100"/>
              <a:gd name="connsiteY487" fmla="*/ 1727200 h 2203450"/>
              <a:gd name="connsiteX488" fmla="*/ 1450975 w 1943100"/>
              <a:gd name="connsiteY488" fmla="*/ 1727200 h 2203450"/>
              <a:gd name="connsiteX489" fmla="*/ 1435100 w 1943100"/>
              <a:gd name="connsiteY489" fmla="*/ 1724025 h 2203450"/>
              <a:gd name="connsiteX490" fmla="*/ 1422400 w 1943100"/>
              <a:gd name="connsiteY490" fmla="*/ 1720850 h 2203450"/>
              <a:gd name="connsiteX491" fmla="*/ 1409700 w 1943100"/>
              <a:gd name="connsiteY491" fmla="*/ 1714500 h 2203450"/>
              <a:gd name="connsiteX492" fmla="*/ 1374775 w 1943100"/>
              <a:gd name="connsiteY492" fmla="*/ 1698625 h 2203450"/>
              <a:gd name="connsiteX493" fmla="*/ 1339850 w 1943100"/>
              <a:gd name="connsiteY493" fmla="*/ 1689100 h 2203450"/>
              <a:gd name="connsiteX494" fmla="*/ 1311275 w 1943100"/>
              <a:gd name="connsiteY494" fmla="*/ 1679575 h 2203450"/>
              <a:gd name="connsiteX495" fmla="*/ 1282700 w 1943100"/>
              <a:gd name="connsiteY495" fmla="*/ 1676400 h 2203450"/>
              <a:gd name="connsiteX496" fmla="*/ 1254125 w 1943100"/>
              <a:gd name="connsiteY496" fmla="*/ 1676400 h 2203450"/>
              <a:gd name="connsiteX497" fmla="*/ 1228725 w 1943100"/>
              <a:gd name="connsiteY497" fmla="*/ 1679575 h 2203450"/>
              <a:gd name="connsiteX498" fmla="*/ 1206500 w 1943100"/>
              <a:gd name="connsiteY498" fmla="*/ 1682750 h 2203450"/>
              <a:gd name="connsiteX499" fmla="*/ 1187450 w 1943100"/>
              <a:gd name="connsiteY499" fmla="*/ 1689100 h 2203450"/>
              <a:gd name="connsiteX500" fmla="*/ 1155700 w 1943100"/>
              <a:gd name="connsiteY500" fmla="*/ 1704975 h 2203450"/>
              <a:gd name="connsiteX501" fmla="*/ 1130300 w 1943100"/>
              <a:gd name="connsiteY501" fmla="*/ 1720850 h 2203450"/>
              <a:gd name="connsiteX502" fmla="*/ 1111250 w 1943100"/>
              <a:gd name="connsiteY502" fmla="*/ 1736725 h 2203450"/>
              <a:gd name="connsiteX503" fmla="*/ 1079500 w 1943100"/>
              <a:gd name="connsiteY503" fmla="*/ 1768475 h 2203450"/>
              <a:gd name="connsiteX504" fmla="*/ 1047750 w 1943100"/>
              <a:gd name="connsiteY504" fmla="*/ 1790700 h 2203450"/>
              <a:gd name="connsiteX505" fmla="*/ 1019175 w 1943100"/>
              <a:gd name="connsiteY505" fmla="*/ 1806575 h 2203450"/>
              <a:gd name="connsiteX506" fmla="*/ 993775 w 1943100"/>
              <a:gd name="connsiteY506" fmla="*/ 1816100 h 2203450"/>
              <a:gd name="connsiteX507" fmla="*/ 971550 w 1943100"/>
              <a:gd name="connsiteY507" fmla="*/ 1819275 h 2203450"/>
              <a:gd name="connsiteX508" fmla="*/ 952500 w 1943100"/>
              <a:gd name="connsiteY508" fmla="*/ 1819275 h 2203450"/>
              <a:gd name="connsiteX509" fmla="*/ 939800 w 1943100"/>
              <a:gd name="connsiteY509" fmla="*/ 1819275 h 2203450"/>
              <a:gd name="connsiteX510" fmla="*/ 908050 w 1943100"/>
              <a:gd name="connsiteY510" fmla="*/ 1812925 h 2203450"/>
              <a:gd name="connsiteX511" fmla="*/ 882650 w 1943100"/>
              <a:gd name="connsiteY511" fmla="*/ 1803400 h 2203450"/>
              <a:gd name="connsiteX512" fmla="*/ 863600 w 1943100"/>
              <a:gd name="connsiteY512" fmla="*/ 1787525 h 2203450"/>
              <a:gd name="connsiteX513" fmla="*/ 850900 w 1943100"/>
              <a:gd name="connsiteY513" fmla="*/ 1774825 h 2203450"/>
              <a:gd name="connsiteX514" fmla="*/ 841375 w 1943100"/>
              <a:gd name="connsiteY514" fmla="*/ 1758950 h 2203450"/>
              <a:gd name="connsiteX515" fmla="*/ 835025 w 1943100"/>
              <a:gd name="connsiteY515" fmla="*/ 1746250 h 2203450"/>
              <a:gd name="connsiteX516" fmla="*/ 831850 w 1943100"/>
              <a:gd name="connsiteY516" fmla="*/ 1736725 h 2203450"/>
              <a:gd name="connsiteX517" fmla="*/ 825500 w 1943100"/>
              <a:gd name="connsiteY517" fmla="*/ 1708150 h 2203450"/>
              <a:gd name="connsiteX518" fmla="*/ 812800 w 1943100"/>
              <a:gd name="connsiteY518" fmla="*/ 1685925 h 2203450"/>
              <a:gd name="connsiteX519" fmla="*/ 800100 w 1943100"/>
              <a:gd name="connsiteY519" fmla="*/ 1670050 h 2203450"/>
              <a:gd name="connsiteX520" fmla="*/ 784225 w 1943100"/>
              <a:gd name="connsiteY520" fmla="*/ 1660525 h 2203450"/>
              <a:gd name="connsiteX521" fmla="*/ 768350 w 1943100"/>
              <a:gd name="connsiteY521" fmla="*/ 1654175 h 2203450"/>
              <a:gd name="connsiteX522" fmla="*/ 755650 w 1943100"/>
              <a:gd name="connsiteY522" fmla="*/ 1651000 h 2203450"/>
              <a:gd name="connsiteX523" fmla="*/ 742950 w 1943100"/>
              <a:gd name="connsiteY523" fmla="*/ 1651000 h 2203450"/>
              <a:gd name="connsiteX524" fmla="*/ 717550 w 1943100"/>
              <a:gd name="connsiteY524" fmla="*/ 1651000 h 2203450"/>
              <a:gd name="connsiteX525" fmla="*/ 698500 w 1943100"/>
              <a:gd name="connsiteY525" fmla="*/ 1644650 h 2203450"/>
              <a:gd name="connsiteX526" fmla="*/ 679450 w 1943100"/>
              <a:gd name="connsiteY526" fmla="*/ 1635125 h 2203450"/>
              <a:gd name="connsiteX527" fmla="*/ 663575 w 1943100"/>
              <a:gd name="connsiteY527" fmla="*/ 1625600 h 2203450"/>
              <a:gd name="connsiteX528" fmla="*/ 654050 w 1943100"/>
              <a:gd name="connsiteY528" fmla="*/ 1612900 h 2203450"/>
              <a:gd name="connsiteX529" fmla="*/ 644525 w 1943100"/>
              <a:gd name="connsiteY529" fmla="*/ 1603375 h 2203450"/>
              <a:gd name="connsiteX530" fmla="*/ 638175 w 1943100"/>
              <a:gd name="connsiteY530" fmla="*/ 1593850 h 2203450"/>
              <a:gd name="connsiteX531" fmla="*/ 628650 w 1943100"/>
              <a:gd name="connsiteY531" fmla="*/ 1577975 h 2203450"/>
              <a:gd name="connsiteX532" fmla="*/ 615950 w 1943100"/>
              <a:gd name="connsiteY532" fmla="*/ 1568450 h 2203450"/>
              <a:gd name="connsiteX533" fmla="*/ 600075 w 1943100"/>
              <a:gd name="connsiteY533" fmla="*/ 1558925 h 2203450"/>
              <a:gd name="connsiteX534" fmla="*/ 587375 w 1943100"/>
              <a:gd name="connsiteY534" fmla="*/ 1552575 h 2203450"/>
              <a:gd name="connsiteX535" fmla="*/ 571500 w 1943100"/>
              <a:gd name="connsiteY535" fmla="*/ 1549400 h 2203450"/>
              <a:gd name="connsiteX536" fmla="*/ 555625 w 1943100"/>
              <a:gd name="connsiteY536" fmla="*/ 1546225 h 2203450"/>
              <a:gd name="connsiteX537" fmla="*/ 523875 w 1943100"/>
              <a:gd name="connsiteY537" fmla="*/ 1546225 h 2203450"/>
              <a:gd name="connsiteX538" fmla="*/ 495300 w 1943100"/>
              <a:gd name="connsiteY538" fmla="*/ 1552575 h 2203450"/>
              <a:gd name="connsiteX539" fmla="*/ 469900 w 1943100"/>
              <a:gd name="connsiteY539" fmla="*/ 1558925 h 2203450"/>
              <a:gd name="connsiteX540" fmla="*/ 447675 w 1943100"/>
              <a:gd name="connsiteY540" fmla="*/ 1568450 h 2203450"/>
              <a:gd name="connsiteX541" fmla="*/ 406400 w 1943100"/>
              <a:gd name="connsiteY541" fmla="*/ 1581150 h 2203450"/>
              <a:gd name="connsiteX542" fmla="*/ 368300 w 1943100"/>
              <a:gd name="connsiteY542" fmla="*/ 1587500 h 2203450"/>
              <a:gd name="connsiteX543" fmla="*/ 333375 w 1943100"/>
              <a:gd name="connsiteY543" fmla="*/ 1590675 h 2203450"/>
              <a:gd name="connsiteX544" fmla="*/ 304800 w 1943100"/>
              <a:gd name="connsiteY544" fmla="*/ 1593850 h 2203450"/>
              <a:gd name="connsiteX545" fmla="*/ 279400 w 1943100"/>
              <a:gd name="connsiteY545" fmla="*/ 1593850 h 2203450"/>
              <a:gd name="connsiteX546" fmla="*/ 254000 w 1943100"/>
              <a:gd name="connsiteY546" fmla="*/ 1590675 h 2203450"/>
              <a:gd name="connsiteX547" fmla="*/ 234950 w 1943100"/>
              <a:gd name="connsiteY547" fmla="*/ 1584325 h 2203450"/>
              <a:gd name="connsiteX548" fmla="*/ 219075 w 1943100"/>
              <a:gd name="connsiteY548" fmla="*/ 1581150 h 2203450"/>
              <a:gd name="connsiteX549" fmla="*/ 193675 w 1943100"/>
              <a:gd name="connsiteY549" fmla="*/ 1565275 h 2203450"/>
              <a:gd name="connsiteX550" fmla="*/ 180975 w 1943100"/>
              <a:gd name="connsiteY550" fmla="*/ 1552575 h 2203450"/>
              <a:gd name="connsiteX551" fmla="*/ 171450 w 1943100"/>
              <a:gd name="connsiteY551" fmla="*/ 1543050 h 2203450"/>
              <a:gd name="connsiteX552" fmla="*/ 168275 w 1943100"/>
              <a:gd name="connsiteY552" fmla="*/ 1536700 h 2203450"/>
              <a:gd name="connsiteX553" fmla="*/ 161925 w 1943100"/>
              <a:gd name="connsiteY553" fmla="*/ 1517650 h 2203450"/>
              <a:gd name="connsiteX554" fmla="*/ 155575 w 1943100"/>
              <a:gd name="connsiteY554" fmla="*/ 1495425 h 2203450"/>
              <a:gd name="connsiteX555" fmla="*/ 152400 w 1943100"/>
              <a:gd name="connsiteY555" fmla="*/ 1476375 h 2203450"/>
              <a:gd name="connsiteX556" fmla="*/ 152400 w 1943100"/>
              <a:gd name="connsiteY556" fmla="*/ 1457325 h 2203450"/>
              <a:gd name="connsiteX557" fmla="*/ 155575 w 1943100"/>
              <a:gd name="connsiteY557" fmla="*/ 1422400 h 2203450"/>
              <a:gd name="connsiteX558" fmla="*/ 165100 w 1943100"/>
              <a:gd name="connsiteY558" fmla="*/ 1390650 h 2203450"/>
              <a:gd name="connsiteX559" fmla="*/ 180975 w 1943100"/>
              <a:gd name="connsiteY559" fmla="*/ 1358900 h 2203450"/>
              <a:gd name="connsiteX560" fmla="*/ 200025 w 1943100"/>
              <a:gd name="connsiteY560" fmla="*/ 1333500 h 2203450"/>
              <a:gd name="connsiteX561" fmla="*/ 225425 w 1943100"/>
              <a:gd name="connsiteY561" fmla="*/ 1308100 h 2203450"/>
              <a:gd name="connsiteX562" fmla="*/ 250825 w 1943100"/>
              <a:gd name="connsiteY562" fmla="*/ 1289050 h 2203450"/>
              <a:gd name="connsiteX563" fmla="*/ 276225 w 1943100"/>
              <a:gd name="connsiteY563" fmla="*/ 1270000 h 2203450"/>
              <a:gd name="connsiteX564" fmla="*/ 304800 w 1943100"/>
              <a:gd name="connsiteY564" fmla="*/ 1254125 h 2203450"/>
              <a:gd name="connsiteX565" fmla="*/ 352425 w 1943100"/>
              <a:gd name="connsiteY565" fmla="*/ 1228725 h 2203450"/>
              <a:gd name="connsiteX566" fmla="*/ 387350 w 1943100"/>
              <a:gd name="connsiteY566" fmla="*/ 1212850 h 2203450"/>
              <a:gd name="connsiteX567" fmla="*/ 403225 w 1943100"/>
              <a:gd name="connsiteY567" fmla="*/ 1209675 h 2203450"/>
              <a:gd name="connsiteX568" fmla="*/ 441325 w 1943100"/>
              <a:gd name="connsiteY568" fmla="*/ 1193800 h 2203450"/>
              <a:gd name="connsiteX569" fmla="*/ 473075 w 1943100"/>
              <a:gd name="connsiteY569" fmla="*/ 1177925 h 2203450"/>
              <a:gd name="connsiteX570" fmla="*/ 495300 w 1943100"/>
              <a:gd name="connsiteY570" fmla="*/ 1158875 h 2203450"/>
              <a:gd name="connsiteX571" fmla="*/ 511175 w 1943100"/>
              <a:gd name="connsiteY571" fmla="*/ 1143000 h 2203450"/>
              <a:gd name="connsiteX572" fmla="*/ 523875 w 1943100"/>
              <a:gd name="connsiteY572" fmla="*/ 1123950 h 2203450"/>
              <a:gd name="connsiteX573" fmla="*/ 530225 w 1943100"/>
              <a:gd name="connsiteY573" fmla="*/ 1111250 h 2203450"/>
              <a:gd name="connsiteX574" fmla="*/ 533400 w 1943100"/>
              <a:gd name="connsiteY574" fmla="*/ 1101725 h 2203450"/>
              <a:gd name="connsiteX575" fmla="*/ 533400 w 1943100"/>
              <a:gd name="connsiteY575" fmla="*/ 1076325 h 2203450"/>
              <a:gd name="connsiteX576" fmla="*/ 527050 w 1943100"/>
              <a:gd name="connsiteY576" fmla="*/ 1060450 h 2203450"/>
              <a:gd name="connsiteX577" fmla="*/ 517525 w 1943100"/>
              <a:gd name="connsiteY577" fmla="*/ 1044575 h 2203450"/>
              <a:gd name="connsiteX578" fmla="*/ 508000 w 1943100"/>
              <a:gd name="connsiteY578" fmla="*/ 1035050 h 2203450"/>
              <a:gd name="connsiteX579" fmla="*/ 498475 w 1943100"/>
              <a:gd name="connsiteY579" fmla="*/ 1028700 h 2203450"/>
              <a:gd name="connsiteX580" fmla="*/ 492125 w 1943100"/>
              <a:gd name="connsiteY580" fmla="*/ 1022350 h 2203450"/>
              <a:gd name="connsiteX581" fmla="*/ 482600 w 1943100"/>
              <a:gd name="connsiteY581" fmla="*/ 1019175 h 2203450"/>
              <a:gd name="connsiteX582" fmla="*/ 454025 w 1943100"/>
              <a:gd name="connsiteY582" fmla="*/ 1012825 h 2203450"/>
              <a:gd name="connsiteX583" fmla="*/ 428625 w 1943100"/>
              <a:gd name="connsiteY583" fmla="*/ 1003300 h 2203450"/>
              <a:gd name="connsiteX584" fmla="*/ 406400 w 1943100"/>
              <a:gd name="connsiteY584" fmla="*/ 993775 h 2203450"/>
              <a:gd name="connsiteX585" fmla="*/ 387350 w 1943100"/>
              <a:gd name="connsiteY585" fmla="*/ 984250 h 2203450"/>
              <a:gd name="connsiteX586" fmla="*/ 358775 w 1943100"/>
              <a:gd name="connsiteY586" fmla="*/ 962025 h 2203450"/>
              <a:gd name="connsiteX587" fmla="*/ 339725 w 1943100"/>
              <a:gd name="connsiteY587" fmla="*/ 939800 h 2203450"/>
              <a:gd name="connsiteX588" fmla="*/ 327025 w 1943100"/>
              <a:gd name="connsiteY588" fmla="*/ 920750 h 2203450"/>
              <a:gd name="connsiteX589" fmla="*/ 320675 w 1943100"/>
              <a:gd name="connsiteY589" fmla="*/ 908050 h 2203450"/>
              <a:gd name="connsiteX590" fmla="*/ 320675 w 1943100"/>
              <a:gd name="connsiteY590" fmla="*/ 892175 h 2203450"/>
              <a:gd name="connsiteX591" fmla="*/ 323850 w 1943100"/>
              <a:gd name="connsiteY591" fmla="*/ 876300 h 2203450"/>
              <a:gd name="connsiteX592" fmla="*/ 333375 w 1943100"/>
              <a:gd name="connsiteY592" fmla="*/ 860425 h 2203450"/>
              <a:gd name="connsiteX593" fmla="*/ 342900 w 1943100"/>
              <a:gd name="connsiteY593" fmla="*/ 847725 h 2203450"/>
              <a:gd name="connsiteX594" fmla="*/ 358775 w 1943100"/>
              <a:gd name="connsiteY594" fmla="*/ 835025 h 2203450"/>
              <a:gd name="connsiteX595" fmla="*/ 377825 w 1943100"/>
              <a:gd name="connsiteY595" fmla="*/ 825500 h 2203450"/>
              <a:gd name="connsiteX596" fmla="*/ 396875 w 1943100"/>
              <a:gd name="connsiteY596" fmla="*/ 819150 h 2203450"/>
              <a:gd name="connsiteX597" fmla="*/ 438150 w 1943100"/>
              <a:gd name="connsiteY597" fmla="*/ 809625 h 2203450"/>
              <a:gd name="connsiteX598" fmla="*/ 482600 w 1943100"/>
              <a:gd name="connsiteY598" fmla="*/ 803275 h 2203450"/>
              <a:gd name="connsiteX599" fmla="*/ 517525 w 1943100"/>
              <a:gd name="connsiteY599" fmla="*/ 800100 h 2203450"/>
              <a:gd name="connsiteX600" fmla="*/ 555625 w 1943100"/>
              <a:gd name="connsiteY600" fmla="*/ 800100 h 2203450"/>
              <a:gd name="connsiteX601" fmla="*/ 581025 w 1943100"/>
              <a:gd name="connsiteY601" fmla="*/ 800100 h 2203450"/>
              <a:gd name="connsiteX602" fmla="*/ 606425 w 1943100"/>
              <a:gd name="connsiteY602" fmla="*/ 796925 h 2203450"/>
              <a:gd name="connsiteX603" fmla="*/ 650875 w 1943100"/>
              <a:gd name="connsiteY603" fmla="*/ 787400 h 2203450"/>
              <a:gd name="connsiteX604" fmla="*/ 682625 w 1943100"/>
              <a:gd name="connsiteY604" fmla="*/ 774700 h 2203450"/>
              <a:gd name="connsiteX605" fmla="*/ 704850 w 1943100"/>
              <a:gd name="connsiteY605" fmla="*/ 758825 h 2203450"/>
              <a:gd name="connsiteX606" fmla="*/ 720725 w 1943100"/>
              <a:gd name="connsiteY606" fmla="*/ 742950 h 2203450"/>
              <a:gd name="connsiteX607" fmla="*/ 730250 w 1943100"/>
              <a:gd name="connsiteY607" fmla="*/ 730250 h 2203450"/>
              <a:gd name="connsiteX608" fmla="*/ 736600 w 1943100"/>
              <a:gd name="connsiteY608" fmla="*/ 717550 h 2203450"/>
              <a:gd name="connsiteX609" fmla="*/ 742950 w 1943100"/>
              <a:gd name="connsiteY609" fmla="*/ 688975 h 2203450"/>
              <a:gd name="connsiteX610" fmla="*/ 742950 w 1943100"/>
              <a:gd name="connsiteY610" fmla="*/ 666750 h 2203450"/>
              <a:gd name="connsiteX611" fmla="*/ 739775 w 1943100"/>
              <a:gd name="connsiteY611" fmla="*/ 647700 h 2203450"/>
              <a:gd name="connsiteX612" fmla="*/ 733425 w 1943100"/>
              <a:gd name="connsiteY612" fmla="*/ 631825 h 2203450"/>
              <a:gd name="connsiteX613" fmla="*/ 727075 w 1943100"/>
              <a:gd name="connsiteY613" fmla="*/ 619125 h 2203450"/>
              <a:gd name="connsiteX614" fmla="*/ 717550 w 1943100"/>
              <a:gd name="connsiteY614" fmla="*/ 609600 h 2203450"/>
              <a:gd name="connsiteX615" fmla="*/ 711200 w 1943100"/>
              <a:gd name="connsiteY615" fmla="*/ 603250 h 2203450"/>
              <a:gd name="connsiteX616" fmla="*/ 685800 w 1943100"/>
              <a:gd name="connsiteY616" fmla="*/ 574675 h 2203450"/>
              <a:gd name="connsiteX617" fmla="*/ 666750 w 1943100"/>
              <a:gd name="connsiteY617" fmla="*/ 549275 h 2203450"/>
              <a:gd name="connsiteX618" fmla="*/ 657225 w 1943100"/>
              <a:gd name="connsiteY618" fmla="*/ 527050 h 2203450"/>
              <a:gd name="connsiteX619" fmla="*/ 654050 w 1943100"/>
              <a:gd name="connsiteY619" fmla="*/ 504825 h 2203450"/>
              <a:gd name="connsiteX620" fmla="*/ 650875 w 1943100"/>
              <a:gd name="connsiteY620" fmla="*/ 485775 h 2203450"/>
              <a:gd name="connsiteX621" fmla="*/ 654050 w 1943100"/>
              <a:gd name="connsiteY621" fmla="*/ 469900 h 2203450"/>
              <a:gd name="connsiteX622" fmla="*/ 657225 w 1943100"/>
              <a:gd name="connsiteY622" fmla="*/ 457200 h 2203450"/>
              <a:gd name="connsiteX623" fmla="*/ 663575 w 1943100"/>
              <a:gd name="connsiteY623" fmla="*/ 441325 h 2203450"/>
              <a:gd name="connsiteX624" fmla="*/ 673100 w 1943100"/>
              <a:gd name="connsiteY624" fmla="*/ 428625 h 2203450"/>
              <a:gd name="connsiteX625" fmla="*/ 682625 w 1943100"/>
              <a:gd name="connsiteY625" fmla="*/ 419100 h 2203450"/>
              <a:gd name="connsiteX626" fmla="*/ 692150 w 1943100"/>
              <a:gd name="connsiteY626" fmla="*/ 409575 h 2203450"/>
              <a:gd name="connsiteX627" fmla="*/ 704850 w 1943100"/>
              <a:gd name="connsiteY627" fmla="*/ 406400 h 2203450"/>
              <a:gd name="connsiteX628" fmla="*/ 717550 w 1943100"/>
              <a:gd name="connsiteY628" fmla="*/ 403225 h 2203450"/>
              <a:gd name="connsiteX629" fmla="*/ 746125 w 1943100"/>
              <a:gd name="connsiteY629" fmla="*/ 400050 h 2203450"/>
              <a:gd name="connsiteX630" fmla="*/ 768350 w 1943100"/>
              <a:gd name="connsiteY630" fmla="*/ 403225 h 2203450"/>
              <a:gd name="connsiteX631" fmla="*/ 790575 w 1943100"/>
              <a:gd name="connsiteY631" fmla="*/ 409575 h 2203450"/>
              <a:gd name="connsiteX632" fmla="*/ 809625 w 1943100"/>
              <a:gd name="connsiteY632" fmla="*/ 415925 h 2203450"/>
              <a:gd name="connsiteX633" fmla="*/ 828675 w 1943100"/>
              <a:gd name="connsiteY633" fmla="*/ 419100 h 2203450"/>
              <a:gd name="connsiteX634" fmla="*/ 847725 w 1943100"/>
              <a:gd name="connsiteY634" fmla="*/ 422275 h 2203450"/>
              <a:gd name="connsiteX635" fmla="*/ 866775 w 1943100"/>
              <a:gd name="connsiteY635" fmla="*/ 419100 h 2203450"/>
              <a:gd name="connsiteX636" fmla="*/ 882650 w 1943100"/>
              <a:gd name="connsiteY636" fmla="*/ 412750 h 2203450"/>
              <a:gd name="connsiteX637" fmla="*/ 898525 w 1943100"/>
              <a:gd name="connsiteY637" fmla="*/ 406400 h 2203450"/>
              <a:gd name="connsiteX638" fmla="*/ 914400 w 1943100"/>
              <a:gd name="connsiteY638" fmla="*/ 400050 h 2203450"/>
              <a:gd name="connsiteX639" fmla="*/ 939800 w 1943100"/>
              <a:gd name="connsiteY639" fmla="*/ 377825 h 2203450"/>
              <a:gd name="connsiteX640" fmla="*/ 958850 w 1943100"/>
              <a:gd name="connsiteY640" fmla="*/ 355600 h 2203450"/>
              <a:gd name="connsiteX641" fmla="*/ 974725 w 1943100"/>
              <a:gd name="connsiteY641" fmla="*/ 336550 h 2203450"/>
              <a:gd name="connsiteX642" fmla="*/ 987425 w 1943100"/>
              <a:gd name="connsiteY642" fmla="*/ 317500 h 2203450"/>
              <a:gd name="connsiteX643" fmla="*/ 1019175 w 1943100"/>
              <a:gd name="connsiteY643" fmla="*/ 254000 h 2203450"/>
              <a:gd name="connsiteX644" fmla="*/ 1054100 w 1943100"/>
              <a:gd name="connsiteY644" fmla="*/ 203200 h 2203450"/>
              <a:gd name="connsiteX645" fmla="*/ 1085850 w 1943100"/>
              <a:gd name="connsiteY645" fmla="*/ 165100 h 2203450"/>
              <a:gd name="connsiteX646" fmla="*/ 1120775 w 1943100"/>
              <a:gd name="connsiteY646" fmla="*/ 136525 h 2203450"/>
              <a:gd name="connsiteX647" fmla="*/ 1152525 w 1943100"/>
              <a:gd name="connsiteY647" fmla="*/ 117475 h 2203450"/>
              <a:gd name="connsiteX648" fmla="*/ 1184275 w 1943100"/>
              <a:gd name="connsiteY648" fmla="*/ 104775 h 2203450"/>
              <a:gd name="connsiteX649" fmla="*/ 958850 w 1943100"/>
              <a:gd name="connsiteY649" fmla="*/ 0 h 2203450"/>
              <a:gd name="connsiteX650" fmla="*/ 981075 w 1943100"/>
              <a:gd name="connsiteY650" fmla="*/ 3175 h 2203450"/>
              <a:gd name="connsiteX651" fmla="*/ 1000125 w 1943100"/>
              <a:gd name="connsiteY651" fmla="*/ 12700 h 2203450"/>
              <a:gd name="connsiteX652" fmla="*/ 1012825 w 1943100"/>
              <a:gd name="connsiteY652" fmla="*/ 25400 h 2203450"/>
              <a:gd name="connsiteX653" fmla="*/ 1022350 w 1943100"/>
              <a:gd name="connsiteY653" fmla="*/ 44450 h 2203450"/>
              <a:gd name="connsiteX654" fmla="*/ 1028700 w 1943100"/>
              <a:gd name="connsiteY654" fmla="*/ 63500 h 2203450"/>
              <a:gd name="connsiteX655" fmla="*/ 1028700 w 1943100"/>
              <a:gd name="connsiteY655" fmla="*/ 88900 h 2203450"/>
              <a:gd name="connsiteX656" fmla="*/ 1025525 w 1943100"/>
              <a:gd name="connsiteY656" fmla="*/ 114300 h 2203450"/>
              <a:gd name="connsiteX657" fmla="*/ 1016000 w 1943100"/>
              <a:gd name="connsiteY657" fmla="*/ 142875 h 2203450"/>
              <a:gd name="connsiteX658" fmla="*/ 1003300 w 1943100"/>
              <a:gd name="connsiteY658" fmla="*/ 171450 h 2203450"/>
              <a:gd name="connsiteX659" fmla="*/ 984250 w 1943100"/>
              <a:gd name="connsiteY659" fmla="*/ 196850 h 2203450"/>
              <a:gd name="connsiteX660" fmla="*/ 965200 w 1943100"/>
              <a:gd name="connsiteY660" fmla="*/ 222250 h 2203450"/>
              <a:gd name="connsiteX661" fmla="*/ 939800 w 1943100"/>
              <a:gd name="connsiteY661" fmla="*/ 244475 h 2203450"/>
              <a:gd name="connsiteX662" fmla="*/ 917575 w 1943100"/>
              <a:gd name="connsiteY662" fmla="*/ 263525 h 2203450"/>
              <a:gd name="connsiteX663" fmla="*/ 892175 w 1943100"/>
              <a:gd name="connsiteY663" fmla="*/ 276225 h 2203450"/>
              <a:gd name="connsiteX664" fmla="*/ 866775 w 1943100"/>
              <a:gd name="connsiteY664" fmla="*/ 282575 h 2203450"/>
              <a:gd name="connsiteX665" fmla="*/ 844550 w 1943100"/>
              <a:gd name="connsiteY665" fmla="*/ 285750 h 2203450"/>
              <a:gd name="connsiteX666" fmla="*/ 822325 w 1943100"/>
              <a:gd name="connsiteY666" fmla="*/ 282575 h 2203450"/>
              <a:gd name="connsiteX667" fmla="*/ 806450 w 1943100"/>
              <a:gd name="connsiteY667" fmla="*/ 273050 h 2203450"/>
              <a:gd name="connsiteX668" fmla="*/ 790575 w 1943100"/>
              <a:gd name="connsiteY668" fmla="*/ 260350 h 2203450"/>
              <a:gd name="connsiteX669" fmla="*/ 781050 w 1943100"/>
              <a:gd name="connsiteY669" fmla="*/ 241300 h 2203450"/>
              <a:gd name="connsiteX670" fmla="*/ 774700 w 1943100"/>
              <a:gd name="connsiteY670" fmla="*/ 222250 h 2203450"/>
              <a:gd name="connsiteX671" fmla="*/ 774700 w 1943100"/>
              <a:gd name="connsiteY671" fmla="*/ 196850 h 2203450"/>
              <a:gd name="connsiteX672" fmla="*/ 777875 w 1943100"/>
              <a:gd name="connsiteY672" fmla="*/ 171450 h 2203450"/>
              <a:gd name="connsiteX673" fmla="*/ 787400 w 1943100"/>
              <a:gd name="connsiteY673" fmla="*/ 142875 h 2203450"/>
              <a:gd name="connsiteX674" fmla="*/ 800100 w 1943100"/>
              <a:gd name="connsiteY674" fmla="*/ 114300 h 2203450"/>
              <a:gd name="connsiteX675" fmla="*/ 819150 w 1943100"/>
              <a:gd name="connsiteY675" fmla="*/ 88900 h 2203450"/>
              <a:gd name="connsiteX676" fmla="*/ 841375 w 1943100"/>
              <a:gd name="connsiteY676" fmla="*/ 63500 h 2203450"/>
              <a:gd name="connsiteX677" fmla="*/ 863600 w 1943100"/>
              <a:gd name="connsiteY677" fmla="*/ 41275 h 2203450"/>
              <a:gd name="connsiteX678" fmla="*/ 889000 w 1943100"/>
              <a:gd name="connsiteY678" fmla="*/ 22225 h 2203450"/>
              <a:gd name="connsiteX679" fmla="*/ 911225 w 1943100"/>
              <a:gd name="connsiteY679" fmla="*/ 9525 h 2203450"/>
              <a:gd name="connsiteX680" fmla="*/ 936625 w 1943100"/>
              <a:gd name="connsiteY680" fmla="*/ 3175 h 220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Lst>
            <a:rect l="l" t="t" r="r" b="b"/>
            <a:pathLst>
              <a:path w="1943100" h="2203450">
                <a:moveTo>
                  <a:pt x="1273175" y="1971675"/>
                </a:moveTo>
                <a:lnTo>
                  <a:pt x="1298575" y="1974850"/>
                </a:lnTo>
                <a:lnTo>
                  <a:pt x="1323975" y="1981200"/>
                </a:lnTo>
                <a:lnTo>
                  <a:pt x="1346200" y="1990725"/>
                </a:lnTo>
                <a:lnTo>
                  <a:pt x="1365250" y="2006600"/>
                </a:lnTo>
                <a:lnTo>
                  <a:pt x="1381125" y="2022475"/>
                </a:lnTo>
                <a:lnTo>
                  <a:pt x="1393825" y="2041525"/>
                </a:lnTo>
                <a:lnTo>
                  <a:pt x="1400175" y="2063750"/>
                </a:lnTo>
                <a:lnTo>
                  <a:pt x="1403350" y="2089150"/>
                </a:lnTo>
                <a:lnTo>
                  <a:pt x="1400175" y="2111375"/>
                </a:lnTo>
                <a:lnTo>
                  <a:pt x="1393825" y="2133600"/>
                </a:lnTo>
                <a:lnTo>
                  <a:pt x="1381125" y="2152650"/>
                </a:lnTo>
                <a:lnTo>
                  <a:pt x="1365250" y="2168525"/>
                </a:lnTo>
                <a:lnTo>
                  <a:pt x="1346200" y="2184400"/>
                </a:lnTo>
                <a:lnTo>
                  <a:pt x="1323975" y="2193925"/>
                </a:lnTo>
                <a:lnTo>
                  <a:pt x="1298575" y="2200275"/>
                </a:lnTo>
                <a:lnTo>
                  <a:pt x="1273175" y="2203450"/>
                </a:lnTo>
                <a:lnTo>
                  <a:pt x="1244600" y="2200275"/>
                </a:lnTo>
                <a:lnTo>
                  <a:pt x="1222375" y="2193925"/>
                </a:lnTo>
                <a:lnTo>
                  <a:pt x="1200150" y="2184400"/>
                </a:lnTo>
                <a:lnTo>
                  <a:pt x="1177925" y="2168525"/>
                </a:lnTo>
                <a:lnTo>
                  <a:pt x="1162050" y="2152650"/>
                </a:lnTo>
                <a:lnTo>
                  <a:pt x="1152525" y="2133600"/>
                </a:lnTo>
                <a:lnTo>
                  <a:pt x="1143000" y="2111375"/>
                </a:lnTo>
                <a:lnTo>
                  <a:pt x="1139825" y="2089150"/>
                </a:lnTo>
                <a:lnTo>
                  <a:pt x="1143000" y="2063750"/>
                </a:lnTo>
                <a:lnTo>
                  <a:pt x="1152525" y="2041525"/>
                </a:lnTo>
                <a:lnTo>
                  <a:pt x="1162050" y="2022475"/>
                </a:lnTo>
                <a:lnTo>
                  <a:pt x="1177925" y="2006600"/>
                </a:lnTo>
                <a:lnTo>
                  <a:pt x="1200150" y="1990725"/>
                </a:lnTo>
                <a:lnTo>
                  <a:pt x="1222375" y="1981200"/>
                </a:lnTo>
                <a:lnTo>
                  <a:pt x="1244600" y="1974850"/>
                </a:lnTo>
                <a:close/>
                <a:moveTo>
                  <a:pt x="1498600" y="1819275"/>
                </a:moveTo>
                <a:lnTo>
                  <a:pt x="1530350" y="1822450"/>
                </a:lnTo>
                <a:lnTo>
                  <a:pt x="1562100" y="1825625"/>
                </a:lnTo>
                <a:lnTo>
                  <a:pt x="1587500" y="1831975"/>
                </a:lnTo>
                <a:lnTo>
                  <a:pt x="1612900" y="1841500"/>
                </a:lnTo>
                <a:lnTo>
                  <a:pt x="1631950" y="1854200"/>
                </a:lnTo>
                <a:lnTo>
                  <a:pt x="1647825" y="1866900"/>
                </a:lnTo>
                <a:lnTo>
                  <a:pt x="1657350" y="1879600"/>
                </a:lnTo>
                <a:lnTo>
                  <a:pt x="1660525" y="1895475"/>
                </a:lnTo>
                <a:lnTo>
                  <a:pt x="1657350" y="1911350"/>
                </a:lnTo>
                <a:lnTo>
                  <a:pt x="1647825" y="1924050"/>
                </a:lnTo>
                <a:lnTo>
                  <a:pt x="1631950" y="1939925"/>
                </a:lnTo>
                <a:lnTo>
                  <a:pt x="1612900" y="1949450"/>
                </a:lnTo>
                <a:lnTo>
                  <a:pt x="1587500" y="1958975"/>
                </a:lnTo>
                <a:lnTo>
                  <a:pt x="1562100" y="1965325"/>
                </a:lnTo>
                <a:lnTo>
                  <a:pt x="1530350" y="1971675"/>
                </a:lnTo>
                <a:lnTo>
                  <a:pt x="1498600" y="1971675"/>
                </a:lnTo>
                <a:lnTo>
                  <a:pt x="1466850" y="1971675"/>
                </a:lnTo>
                <a:lnTo>
                  <a:pt x="1435100" y="1965325"/>
                </a:lnTo>
                <a:lnTo>
                  <a:pt x="1409700" y="1958975"/>
                </a:lnTo>
                <a:lnTo>
                  <a:pt x="1384300" y="1949450"/>
                </a:lnTo>
                <a:lnTo>
                  <a:pt x="1365250" y="1939925"/>
                </a:lnTo>
                <a:lnTo>
                  <a:pt x="1349375" y="1924050"/>
                </a:lnTo>
                <a:lnTo>
                  <a:pt x="1339850" y="1911350"/>
                </a:lnTo>
                <a:lnTo>
                  <a:pt x="1336675" y="1895475"/>
                </a:lnTo>
                <a:lnTo>
                  <a:pt x="1339850" y="1879600"/>
                </a:lnTo>
                <a:lnTo>
                  <a:pt x="1349375" y="1866900"/>
                </a:lnTo>
                <a:lnTo>
                  <a:pt x="1365250" y="1854200"/>
                </a:lnTo>
                <a:lnTo>
                  <a:pt x="1384300" y="1841500"/>
                </a:lnTo>
                <a:lnTo>
                  <a:pt x="1409700" y="1831975"/>
                </a:lnTo>
                <a:lnTo>
                  <a:pt x="1435100" y="1825625"/>
                </a:lnTo>
                <a:lnTo>
                  <a:pt x="1466850" y="1822450"/>
                </a:lnTo>
                <a:close/>
                <a:moveTo>
                  <a:pt x="752475" y="1781175"/>
                </a:moveTo>
                <a:lnTo>
                  <a:pt x="762000" y="1784350"/>
                </a:lnTo>
                <a:lnTo>
                  <a:pt x="768350" y="1787525"/>
                </a:lnTo>
                <a:lnTo>
                  <a:pt x="777875" y="1790700"/>
                </a:lnTo>
                <a:lnTo>
                  <a:pt x="784225" y="1800225"/>
                </a:lnTo>
                <a:lnTo>
                  <a:pt x="793750" y="1816100"/>
                </a:lnTo>
                <a:lnTo>
                  <a:pt x="796925" y="1838325"/>
                </a:lnTo>
                <a:lnTo>
                  <a:pt x="793750" y="1860550"/>
                </a:lnTo>
                <a:lnTo>
                  <a:pt x="784225" y="1879600"/>
                </a:lnTo>
                <a:lnTo>
                  <a:pt x="777875" y="1885950"/>
                </a:lnTo>
                <a:lnTo>
                  <a:pt x="768350" y="1889125"/>
                </a:lnTo>
                <a:lnTo>
                  <a:pt x="762000" y="1892300"/>
                </a:lnTo>
                <a:lnTo>
                  <a:pt x="752475" y="1895475"/>
                </a:lnTo>
                <a:lnTo>
                  <a:pt x="742950" y="1892300"/>
                </a:lnTo>
                <a:lnTo>
                  <a:pt x="736600" y="1889125"/>
                </a:lnTo>
                <a:lnTo>
                  <a:pt x="727075" y="1885950"/>
                </a:lnTo>
                <a:lnTo>
                  <a:pt x="720725" y="1879600"/>
                </a:lnTo>
                <a:lnTo>
                  <a:pt x="711200" y="1860550"/>
                </a:lnTo>
                <a:lnTo>
                  <a:pt x="708025" y="1838325"/>
                </a:lnTo>
                <a:lnTo>
                  <a:pt x="711200" y="1816100"/>
                </a:lnTo>
                <a:lnTo>
                  <a:pt x="720725" y="1800225"/>
                </a:lnTo>
                <a:lnTo>
                  <a:pt x="727075" y="1790700"/>
                </a:lnTo>
                <a:lnTo>
                  <a:pt x="736600" y="1787525"/>
                </a:lnTo>
                <a:lnTo>
                  <a:pt x="742950" y="1784350"/>
                </a:lnTo>
                <a:close/>
                <a:moveTo>
                  <a:pt x="492125" y="1670050"/>
                </a:moveTo>
                <a:lnTo>
                  <a:pt x="520700" y="1673225"/>
                </a:lnTo>
                <a:lnTo>
                  <a:pt x="546100" y="1679575"/>
                </a:lnTo>
                <a:lnTo>
                  <a:pt x="568325" y="1689100"/>
                </a:lnTo>
                <a:lnTo>
                  <a:pt x="590550" y="1704975"/>
                </a:lnTo>
                <a:lnTo>
                  <a:pt x="606425" y="1720850"/>
                </a:lnTo>
                <a:lnTo>
                  <a:pt x="619125" y="1739900"/>
                </a:lnTo>
                <a:lnTo>
                  <a:pt x="628650" y="1758950"/>
                </a:lnTo>
                <a:lnTo>
                  <a:pt x="631825" y="1781175"/>
                </a:lnTo>
                <a:lnTo>
                  <a:pt x="628650" y="1806575"/>
                </a:lnTo>
                <a:lnTo>
                  <a:pt x="619125" y="1825625"/>
                </a:lnTo>
                <a:lnTo>
                  <a:pt x="606425" y="1844675"/>
                </a:lnTo>
                <a:lnTo>
                  <a:pt x="590550" y="1860550"/>
                </a:lnTo>
                <a:lnTo>
                  <a:pt x="568325" y="1876425"/>
                </a:lnTo>
                <a:lnTo>
                  <a:pt x="546100" y="1885950"/>
                </a:lnTo>
                <a:lnTo>
                  <a:pt x="520700" y="1892300"/>
                </a:lnTo>
                <a:lnTo>
                  <a:pt x="492125" y="1895475"/>
                </a:lnTo>
                <a:lnTo>
                  <a:pt x="463550" y="1892300"/>
                </a:lnTo>
                <a:lnTo>
                  <a:pt x="438150" y="1885950"/>
                </a:lnTo>
                <a:lnTo>
                  <a:pt x="412750" y="1876425"/>
                </a:lnTo>
                <a:lnTo>
                  <a:pt x="393700" y="1860550"/>
                </a:lnTo>
                <a:lnTo>
                  <a:pt x="374650" y="1844675"/>
                </a:lnTo>
                <a:lnTo>
                  <a:pt x="361950" y="1825625"/>
                </a:lnTo>
                <a:lnTo>
                  <a:pt x="355600" y="1806575"/>
                </a:lnTo>
                <a:lnTo>
                  <a:pt x="352425" y="1781175"/>
                </a:lnTo>
                <a:lnTo>
                  <a:pt x="355600" y="1758950"/>
                </a:lnTo>
                <a:lnTo>
                  <a:pt x="361950" y="1739900"/>
                </a:lnTo>
                <a:lnTo>
                  <a:pt x="374650" y="1720850"/>
                </a:lnTo>
                <a:lnTo>
                  <a:pt x="393700" y="1704975"/>
                </a:lnTo>
                <a:lnTo>
                  <a:pt x="412750" y="1689100"/>
                </a:lnTo>
                <a:lnTo>
                  <a:pt x="438150" y="1679575"/>
                </a:lnTo>
                <a:lnTo>
                  <a:pt x="463550" y="1673225"/>
                </a:lnTo>
                <a:close/>
                <a:moveTo>
                  <a:pt x="212725" y="1670050"/>
                </a:moveTo>
                <a:lnTo>
                  <a:pt x="228600" y="1673225"/>
                </a:lnTo>
                <a:lnTo>
                  <a:pt x="244475" y="1676400"/>
                </a:lnTo>
                <a:lnTo>
                  <a:pt x="257175" y="1679575"/>
                </a:lnTo>
                <a:lnTo>
                  <a:pt x="266700" y="1685925"/>
                </a:lnTo>
                <a:lnTo>
                  <a:pt x="276225" y="1692275"/>
                </a:lnTo>
                <a:lnTo>
                  <a:pt x="285750" y="1701800"/>
                </a:lnTo>
                <a:lnTo>
                  <a:pt x="288925" y="1711325"/>
                </a:lnTo>
                <a:lnTo>
                  <a:pt x="288925" y="1724025"/>
                </a:lnTo>
                <a:lnTo>
                  <a:pt x="288925" y="1733550"/>
                </a:lnTo>
                <a:lnTo>
                  <a:pt x="285750" y="1743075"/>
                </a:lnTo>
                <a:lnTo>
                  <a:pt x="276225" y="1752600"/>
                </a:lnTo>
                <a:lnTo>
                  <a:pt x="266700" y="1758950"/>
                </a:lnTo>
                <a:lnTo>
                  <a:pt x="257175" y="1765300"/>
                </a:lnTo>
                <a:lnTo>
                  <a:pt x="244475" y="1771650"/>
                </a:lnTo>
                <a:lnTo>
                  <a:pt x="228600" y="1774825"/>
                </a:lnTo>
                <a:lnTo>
                  <a:pt x="212725" y="1774825"/>
                </a:lnTo>
                <a:lnTo>
                  <a:pt x="196850" y="1774825"/>
                </a:lnTo>
                <a:lnTo>
                  <a:pt x="184150" y="1771650"/>
                </a:lnTo>
                <a:lnTo>
                  <a:pt x="168275" y="1765300"/>
                </a:lnTo>
                <a:lnTo>
                  <a:pt x="158750" y="1758950"/>
                </a:lnTo>
                <a:lnTo>
                  <a:pt x="149225" y="1752600"/>
                </a:lnTo>
                <a:lnTo>
                  <a:pt x="142875" y="1743075"/>
                </a:lnTo>
                <a:lnTo>
                  <a:pt x="136525" y="1733550"/>
                </a:lnTo>
                <a:lnTo>
                  <a:pt x="136525" y="1724025"/>
                </a:lnTo>
                <a:lnTo>
                  <a:pt x="136525" y="1711325"/>
                </a:lnTo>
                <a:lnTo>
                  <a:pt x="142875" y="1701800"/>
                </a:lnTo>
                <a:lnTo>
                  <a:pt x="149225" y="1692275"/>
                </a:lnTo>
                <a:lnTo>
                  <a:pt x="158750" y="1685925"/>
                </a:lnTo>
                <a:lnTo>
                  <a:pt x="168275" y="1679575"/>
                </a:lnTo>
                <a:lnTo>
                  <a:pt x="184150" y="1676400"/>
                </a:lnTo>
                <a:lnTo>
                  <a:pt x="196850" y="1673225"/>
                </a:lnTo>
                <a:close/>
                <a:moveTo>
                  <a:pt x="44450" y="1260475"/>
                </a:moveTo>
                <a:lnTo>
                  <a:pt x="53975" y="1260475"/>
                </a:lnTo>
                <a:lnTo>
                  <a:pt x="63500" y="1260475"/>
                </a:lnTo>
                <a:lnTo>
                  <a:pt x="76200" y="1266825"/>
                </a:lnTo>
                <a:lnTo>
                  <a:pt x="82550" y="1273175"/>
                </a:lnTo>
                <a:lnTo>
                  <a:pt x="92075" y="1279525"/>
                </a:lnTo>
                <a:lnTo>
                  <a:pt x="98425" y="1289050"/>
                </a:lnTo>
                <a:lnTo>
                  <a:pt x="101600" y="1298575"/>
                </a:lnTo>
                <a:lnTo>
                  <a:pt x="104775" y="1311275"/>
                </a:lnTo>
                <a:lnTo>
                  <a:pt x="107950" y="1323975"/>
                </a:lnTo>
                <a:lnTo>
                  <a:pt x="104775" y="1336675"/>
                </a:lnTo>
                <a:lnTo>
                  <a:pt x="101600" y="1349375"/>
                </a:lnTo>
                <a:lnTo>
                  <a:pt x="98425" y="1362075"/>
                </a:lnTo>
                <a:lnTo>
                  <a:pt x="92075" y="1371600"/>
                </a:lnTo>
                <a:lnTo>
                  <a:pt x="82550" y="1377950"/>
                </a:lnTo>
                <a:lnTo>
                  <a:pt x="76200" y="1384300"/>
                </a:lnTo>
                <a:lnTo>
                  <a:pt x="63500" y="1387475"/>
                </a:lnTo>
                <a:lnTo>
                  <a:pt x="53975" y="1390650"/>
                </a:lnTo>
                <a:lnTo>
                  <a:pt x="44450" y="1387475"/>
                </a:lnTo>
                <a:lnTo>
                  <a:pt x="34925" y="1384300"/>
                </a:lnTo>
                <a:lnTo>
                  <a:pt x="25400" y="1377950"/>
                </a:lnTo>
                <a:lnTo>
                  <a:pt x="15875" y="1371600"/>
                </a:lnTo>
                <a:lnTo>
                  <a:pt x="9525" y="1362075"/>
                </a:lnTo>
                <a:lnTo>
                  <a:pt x="6350" y="1349375"/>
                </a:lnTo>
                <a:lnTo>
                  <a:pt x="3175" y="1336675"/>
                </a:lnTo>
                <a:lnTo>
                  <a:pt x="0" y="1323975"/>
                </a:lnTo>
                <a:lnTo>
                  <a:pt x="3175" y="1311275"/>
                </a:lnTo>
                <a:lnTo>
                  <a:pt x="6350" y="1298575"/>
                </a:lnTo>
                <a:lnTo>
                  <a:pt x="9525" y="1289050"/>
                </a:lnTo>
                <a:lnTo>
                  <a:pt x="15875" y="1279525"/>
                </a:lnTo>
                <a:lnTo>
                  <a:pt x="25400" y="1273175"/>
                </a:lnTo>
                <a:lnTo>
                  <a:pt x="34925" y="1266825"/>
                </a:lnTo>
                <a:close/>
                <a:moveTo>
                  <a:pt x="171450" y="1098550"/>
                </a:moveTo>
                <a:lnTo>
                  <a:pt x="184150" y="1101725"/>
                </a:lnTo>
                <a:lnTo>
                  <a:pt x="193675" y="1104900"/>
                </a:lnTo>
                <a:lnTo>
                  <a:pt x="206375" y="1108075"/>
                </a:lnTo>
                <a:lnTo>
                  <a:pt x="215900" y="1117600"/>
                </a:lnTo>
                <a:lnTo>
                  <a:pt x="222250" y="1123950"/>
                </a:lnTo>
                <a:lnTo>
                  <a:pt x="228600" y="1136650"/>
                </a:lnTo>
                <a:lnTo>
                  <a:pt x="231775" y="1146175"/>
                </a:lnTo>
                <a:lnTo>
                  <a:pt x="234950" y="1158875"/>
                </a:lnTo>
                <a:lnTo>
                  <a:pt x="231775" y="1168400"/>
                </a:lnTo>
                <a:lnTo>
                  <a:pt x="228600" y="1181100"/>
                </a:lnTo>
                <a:lnTo>
                  <a:pt x="222250" y="1190625"/>
                </a:lnTo>
                <a:lnTo>
                  <a:pt x="215900" y="1200150"/>
                </a:lnTo>
                <a:lnTo>
                  <a:pt x="206375" y="1206500"/>
                </a:lnTo>
                <a:lnTo>
                  <a:pt x="193675" y="1212850"/>
                </a:lnTo>
                <a:lnTo>
                  <a:pt x="184150" y="1216025"/>
                </a:lnTo>
                <a:lnTo>
                  <a:pt x="171450" y="1216025"/>
                </a:lnTo>
                <a:lnTo>
                  <a:pt x="158750" y="1216025"/>
                </a:lnTo>
                <a:lnTo>
                  <a:pt x="146050" y="1212850"/>
                </a:lnTo>
                <a:lnTo>
                  <a:pt x="136525" y="1206500"/>
                </a:lnTo>
                <a:lnTo>
                  <a:pt x="127000" y="1200150"/>
                </a:lnTo>
                <a:lnTo>
                  <a:pt x="117475" y="1190625"/>
                </a:lnTo>
                <a:lnTo>
                  <a:pt x="111125" y="1181100"/>
                </a:lnTo>
                <a:lnTo>
                  <a:pt x="107950" y="1168400"/>
                </a:lnTo>
                <a:lnTo>
                  <a:pt x="107950" y="1158875"/>
                </a:lnTo>
                <a:lnTo>
                  <a:pt x="107950" y="1146175"/>
                </a:lnTo>
                <a:lnTo>
                  <a:pt x="111125" y="1136650"/>
                </a:lnTo>
                <a:lnTo>
                  <a:pt x="117475" y="1123950"/>
                </a:lnTo>
                <a:lnTo>
                  <a:pt x="127000" y="1117600"/>
                </a:lnTo>
                <a:lnTo>
                  <a:pt x="136525" y="1108075"/>
                </a:lnTo>
                <a:lnTo>
                  <a:pt x="146050" y="1104900"/>
                </a:lnTo>
                <a:lnTo>
                  <a:pt x="158750" y="1101725"/>
                </a:lnTo>
                <a:close/>
                <a:moveTo>
                  <a:pt x="136525" y="812800"/>
                </a:moveTo>
                <a:lnTo>
                  <a:pt x="155575" y="815975"/>
                </a:lnTo>
                <a:lnTo>
                  <a:pt x="174625" y="822325"/>
                </a:lnTo>
                <a:lnTo>
                  <a:pt x="190500" y="831850"/>
                </a:lnTo>
                <a:lnTo>
                  <a:pt x="206375" y="844550"/>
                </a:lnTo>
                <a:lnTo>
                  <a:pt x="215900" y="860425"/>
                </a:lnTo>
                <a:lnTo>
                  <a:pt x="225425" y="879475"/>
                </a:lnTo>
                <a:lnTo>
                  <a:pt x="231775" y="898525"/>
                </a:lnTo>
                <a:lnTo>
                  <a:pt x="234950" y="920750"/>
                </a:lnTo>
                <a:lnTo>
                  <a:pt x="231775" y="939800"/>
                </a:lnTo>
                <a:lnTo>
                  <a:pt x="225425" y="958850"/>
                </a:lnTo>
                <a:lnTo>
                  <a:pt x="215900" y="977900"/>
                </a:lnTo>
                <a:lnTo>
                  <a:pt x="206375" y="993775"/>
                </a:lnTo>
                <a:lnTo>
                  <a:pt x="190500" y="1006475"/>
                </a:lnTo>
                <a:lnTo>
                  <a:pt x="174625" y="1016000"/>
                </a:lnTo>
                <a:lnTo>
                  <a:pt x="155575" y="1022350"/>
                </a:lnTo>
                <a:lnTo>
                  <a:pt x="136525" y="1025525"/>
                </a:lnTo>
                <a:lnTo>
                  <a:pt x="114300" y="1022350"/>
                </a:lnTo>
                <a:lnTo>
                  <a:pt x="98425" y="1016000"/>
                </a:lnTo>
                <a:lnTo>
                  <a:pt x="79375" y="1006475"/>
                </a:lnTo>
                <a:lnTo>
                  <a:pt x="66675" y="993775"/>
                </a:lnTo>
                <a:lnTo>
                  <a:pt x="53975" y="977900"/>
                </a:lnTo>
                <a:lnTo>
                  <a:pt x="44450" y="958850"/>
                </a:lnTo>
                <a:lnTo>
                  <a:pt x="38100" y="939800"/>
                </a:lnTo>
                <a:lnTo>
                  <a:pt x="38100" y="920750"/>
                </a:lnTo>
                <a:lnTo>
                  <a:pt x="38100" y="898525"/>
                </a:lnTo>
                <a:lnTo>
                  <a:pt x="44450" y="879475"/>
                </a:lnTo>
                <a:lnTo>
                  <a:pt x="53975" y="860425"/>
                </a:lnTo>
                <a:lnTo>
                  <a:pt x="66675" y="844550"/>
                </a:lnTo>
                <a:lnTo>
                  <a:pt x="79375" y="831850"/>
                </a:lnTo>
                <a:lnTo>
                  <a:pt x="98425" y="822325"/>
                </a:lnTo>
                <a:lnTo>
                  <a:pt x="114300" y="815975"/>
                </a:lnTo>
                <a:close/>
                <a:moveTo>
                  <a:pt x="352425" y="698500"/>
                </a:moveTo>
                <a:lnTo>
                  <a:pt x="368300" y="701675"/>
                </a:lnTo>
                <a:lnTo>
                  <a:pt x="381000" y="708025"/>
                </a:lnTo>
                <a:lnTo>
                  <a:pt x="390525" y="720725"/>
                </a:lnTo>
                <a:lnTo>
                  <a:pt x="393700" y="733425"/>
                </a:lnTo>
                <a:lnTo>
                  <a:pt x="390525" y="749300"/>
                </a:lnTo>
                <a:lnTo>
                  <a:pt x="381000" y="762000"/>
                </a:lnTo>
                <a:lnTo>
                  <a:pt x="368300" y="768350"/>
                </a:lnTo>
                <a:lnTo>
                  <a:pt x="352425" y="771525"/>
                </a:lnTo>
                <a:lnTo>
                  <a:pt x="333375" y="768350"/>
                </a:lnTo>
                <a:lnTo>
                  <a:pt x="320675" y="762000"/>
                </a:lnTo>
                <a:lnTo>
                  <a:pt x="311150" y="749300"/>
                </a:lnTo>
                <a:lnTo>
                  <a:pt x="307975" y="733425"/>
                </a:lnTo>
                <a:lnTo>
                  <a:pt x="311150" y="720725"/>
                </a:lnTo>
                <a:lnTo>
                  <a:pt x="320675" y="708025"/>
                </a:lnTo>
                <a:lnTo>
                  <a:pt x="333375" y="701675"/>
                </a:lnTo>
                <a:close/>
                <a:moveTo>
                  <a:pt x="1809750" y="631825"/>
                </a:moveTo>
                <a:lnTo>
                  <a:pt x="1825625" y="631825"/>
                </a:lnTo>
                <a:lnTo>
                  <a:pt x="1841500" y="631825"/>
                </a:lnTo>
                <a:lnTo>
                  <a:pt x="1863725" y="635000"/>
                </a:lnTo>
                <a:lnTo>
                  <a:pt x="1885950" y="644525"/>
                </a:lnTo>
                <a:lnTo>
                  <a:pt x="1895475" y="654050"/>
                </a:lnTo>
                <a:lnTo>
                  <a:pt x="1908175" y="663575"/>
                </a:lnTo>
                <a:lnTo>
                  <a:pt x="1917700" y="679450"/>
                </a:lnTo>
                <a:lnTo>
                  <a:pt x="1927225" y="695325"/>
                </a:lnTo>
                <a:lnTo>
                  <a:pt x="1933575" y="704850"/>
                </a:lnTo>
                <a:lnTo>
                  <a:pt x="1939925" y="720725"/>
                </a:lnTo>
                <a:lnTo>
                  <a:pt x="1943100" y="739775"/>
                </a:lnTo>
                <a:lnTo>
                  <a:pt x="1943100" y="768350"/>
                </a:lnTo>
                <a:lnTo>
                  <a:pt x="1939925" y="800100"/>
                </a:lnTo>
                <a:lnTo>
                  <a:pt x="1930400" y="841375"/>
                </a:lnTo>
                <a:lnTo>
                  <a:pt x="1911350" y="885825"/>
                </a:lnTo>
                <a:lnTo>
                  <a:pt x="1898650" y="914400"/>
                </a:lnTo>
                <a:lnTo>
                  <a:pt x="1882775" y="939800"/>
                </a:lnTo>
                <a:lnTo>
                  <a:pt x="1863725" y="958850"/>
                </a:lnTo>
                <a:lnTo>
                  <a:pt x="1847850" y="974725"/>
                </a:lnTo>
                <a:lnTo>
                  <a:pt x="1828800" y="987425"/>
                </a:lnTo>
                <a:lnTo>
                  <a:pt x="1809750" y="993775"/>
                </a:lnTo>
                <a:lnTo>
                  <a:pt x="1793875" y="996950"/>
                </a:lnTo>
                <a:lnTo>
                  <a:pt x="1778000" y="990600"/>
                </a:lnTo>
                <a:lnTo>
                  <a:pt x="1765300" y="977900"/>
                </a:lnTo>
                <a:lnTo>
                  <a:pt x="1755775" y="962025"/>
                </a:lnTo>
                <a:lnTo>
                  <a:pt x="1749425" y="942975"/>
                </a:lnTo>
                <a:lnTo>
                  <a:pt x="1746250" y="917575"/>
                </a:lnTo>
                <a:lnTo>
                  <a:pt x="1746250" y="892175"/>
                </a:lnTo>
                <a:lnTo>
                  <a:pt x="1749425" y="863600"/>
                </a:lnTo>
                <a:lnTo>
                  <a:pt x="1755775" y="835025"/>
                </a:lnTo>
                <a:lnTo>
                  <a:pt x="1768475" y="803275"/>
                </a:lnTo>
                <a:lnTo>
                  <a:pt x="1771650" y="796925"/>
                </a:lnTo>
                <a:lnTo>
                  <a:pt x="1774825" y="777875"/>
                </a:lnTo>
                <a:lnTo>
                  <a:pt x="1774825" y="752475"/>
                </a:lnTo>
                <a:lnTo>
                  <a:pt x="1774825" y="739775"/>
                </a:lnTo>
                <a:lnTo>
                  <a:pt x="1768475" y="727075"/>
                </a:lnTo>
                <a:lnTo>
                  <a:pt x="1762125" y="717550"/>
                </a:lnTo>
                <a:lnTo>
                  <a:pt x="1758950" y="708025"/>
                </a:lnTo>
                <a:lnTo>
                  <a:pt x="1755775" y="695325"/>
                </a:lnTo>
                <a:lnTo>
                  <a:pt x="1755775" y="682625"/>
                </a:lnTo>
                <a:lnTo>
                  <a:pt x="1762125" y="666750"/>
                </a:lnTo>
                <a:lnTo>
                  <a:pt x="1774825" y="650875"/>
                </a:lnTo>
                <a:lnTo>
                  <a:pt x="1797050" y="638175"/>
                </a:lnTo>
                <a:close/>
                <a:moveTo>
                  <a:pt x="504825" y="593725"/>
                </a:moveTo>
                <a:lnTo>
                  <a:pt x="520700" y="596900"/>
                </a:lnTo>
                <a:lnTo>
                  <a:pt x="536575" y="600075"/>
                </a:lnTo>
                <a:lnTo>
                  <a:pt x="549275" y="606425"/>
                </a:lnTo>
                <a:lnTo>
                  <a:pt x="561975" y="612775"/>
                </a:lnTo>
                <a:lnTo>
                  <a:pt x="571500" y="622300"/>
                </a:lnTo>
                <a:lnTo>
                  <a:pt x="581025" y="631825"/>
                </a:lnTo>
                <a:lnTo>
                  <a:pt x="584200" y="641350"/>
                </a:lnTo>
                <a:lnTo>
                  <a:pt x="587375" y="654050"/>
                </a:lnTo>
                <a:lnTo>
                  <a:pt x="584200" y="666750"/>
                </a:lnTo>
                <a:lnTo>
                  <a:pt x="581025" y="679450"/>
                </a:lnTo>
                <a:lnTo>
                  <a:pt x="571500" y="688975"/>
                </a:lnTo>
                <a:lnTo>
                  <a:pt x="561975" y="698500"/>
                </a:lnTo>
                <a:lnTo>
                  <a:pt x="549275" y="704850"/>
                </a:lnTo>
                <a:lnTo>
                  <a:pt x="536575" y="711200"/>
                </a:lnTo>
                <a:lnTo>
                  <a:pt x="520700" y="714375"/>
                </a:lnTo>
                <a:lnTo>
                  <a:pt x="504825" y="714375"/>
                </a:lnTo>
                <a:lnTo>
                  <a:pt x="488950" y="714375"/>
                </a:lnTo>
                <a:lnTo>
                  <a:pt x="473075" y="711200"/>
                </a:lnTo>
                <a:lnTo>
                  <a:pt x="457200" y="704850"/>
                </a:lnTo>
                <a:lnTo>
                  <a:pt x="444500" y="698500"/>
                </a:lnTo>
                <a:lnTo>
                  <a:pt x="434975" y="688975"/>
                </a:lnTo>
                <a:lnTo>
                  <a:pt x="428625" y="679450"/>
                </a:lnTo>
                <a:lnTo>
                  <a:pt x="422275" y="666750"/>
                </a:lnTo>
                <a:lnTo>
                  <a:pt x="422275" y="654050"/>
                </a:lnTo>
                <a:lnTo>
                  <a:pt x="422275" y="641350"/>
                </a:lnTo>
                <a:lnTo>
                  <a:pt x="428625" y="631825"/>
                </a:lnTo>
                <a:lnTo>
                  <a:pt x="434975" y="622300"/>
                </a:lnTo>
                <a:lnTo>
                  <a:pt x="444500" y="612775"/>
                </a:lnTo>
                <a:lnTo>
                  <a:pt x="457200" y="606425"/>
                </a:lnTo>
                <a:lnTo>
                  <a:pt x="473075" y="600075"/>
                </a:lnTo>
                <a:lnTo>
                  <a:pt x="488950" y="596900"/>
                </a:lnTo>
                <a:close/>
                <a:moveTo>
                  <a:pt x="1581150" y="158750"/>
                </a:moveTo>
                <a:lnTo>
                  <a:pt x="1600200" y="158750"/>
                </a:lnTo>
                <a:lnTo>
                  <a:pt x="1616075" y="165100"/>
                </a:lnTo>
                <a:lnTo>
                  <a:pt x="1635125" y="177800"/>
                </a:lnTo>
                <a:lnTo>
                  <a:pt x="1654175" y="193675"/>
                </a:lnTo>
                <a:lnTo>
                  <a:pt x="1670050" y="215900"/>
                </a:lnTo>
                <a:lnTo>
                  <a:pt x="1685925" y="241300"/>
                </a:lnTo>
                <a:lnTo>
                  <a:pt x="1698625" y="269875"/>
                </a:lnTo>
                <a:lnTo>
                  <a:pt x="1708150" y="298450"/>
                </a:lnTo>
                <a:lnTo>
                  <a:pt x="1714500" y="330200"/>
                </a:lnTo>
                <a:lnTo>
                  <a:pt x="1717675" y="358775"/>
                </a:lnTo>
                <a:lnTo>
                  <a:pt x="1717675" y="387350"/>
                </a:lnTo>
                <a:lnTo>
                  <a:pt x="1714500" y="409575"/>
                </a:lnTo>
                <a:lnTo>
                  <a:pt x="1708150" y="428625"/>
                </a:lnTo>
                <a:lnTo>
                  <a:pt x="1698625" y="444500"/>
                </a:lnTo>
                <a:lnTo>
                  <a:pt x="1685925" y="457200"/>
                </a:lnTo>
                <a:lnTo>
                  <a:pt x="1670050" y="460375"/>
                </a:lnTo>
                <a:lnTo>
                  <a:pt x="1651000" y="460375"/>
                </a:lnTo>
                <a:lnTo>
                  <a:pt x="1631950" y="454025"/>
                </a:lnTo>
                <a:lnTo>
                  <a:pt x="1616075" y="441325"/>
                </a:lnTo>
                <a:lnTo>
                  <a:pt x="1597025" y="422275"/>
                </a:lnTo>
                <a:lnTo>
                  <a:pt x="1581150" y="403225"/>
                </a:lnTo>
                <a:lnTo>
                  <a:pt x="1565275" y="377825"/>
                </a:lnTo>
                <a:lnTo>
                  <a:pt x="1552575" y="349250"/>
                </a:lnTo>
                <a:lnTo>
                  <a:pt x="1543050" y="320675"/>
                </a:lnTo>
                <a:lnTo>
                  <a:pt x="1533525" y="288925"/>
                </a:lnTo>
                <a:lnTo>
                  <a:pt x="1530350" y="260350"/>
                </a:lnTo>
                <a:lnTo>
                  <a:pt x="1530350" y="231775"/>
                </a:lnTo>
                <a:lnTo>
                  <a:pt x="1536700" y="209550"/>
                </a:lnTo>
                <a:lnTo>
                  <a:pt x="1543050" y="190500"/>
                </a:lnTo>
                <a:lnTo>
                  <a:pt x="1552575" y="174625"/>
                </a:lnTo>
                <a:lnTo>
                  <a:pt x="1565275" y="161925"/>
                </a:lnTo>
                <a:close/>
                <a:moveTo>
                  <a:pt x="1212850" y="98425"/>
                </a:moveTo>
                <a:lnTo>
                  <a:pt x="1241425" y="98425"/>
                </a:lnTo>
                <a:lnTo>
                  <a:pt x="1270000" y="101600"/>
                </a:lnTo>
                <a:lnTo>
                  <a:pt x="1292225" y="111125"/>
                </a:lnTo>
                <a:lnTo>
                  <a:pt x="1314450" y="120650"/>
                </a:lnTo>
                <a:lnTo>
                  <a:pt x="1333500" y="130175"/>
                </a:lnTo>
                <a:lnTo>
                  <a:pt x="1358900" y="149225"/>
                </a:lnTo>
                <a:lnTo>
                  <a:pt x="1368425" y="158750"/>
                </a:lnTo>
                <a:lnTo>
                  <a:pt x="1393825" y="180975"/>
                </a:lnTo>
                <a:lnTo>
                  <a:pt x="1419225" y="206375"/>
                </a:lnTo>
                <a:lnTo>
                  <a:pt x="1435100" y="234950"/>
                </a:lnTo>
                <a:lnTo>
                  <a:pt x="1450975" y="260350"/>
                </a:lnTo>
                <a:lnTo>
                  <a:pt x="1460500" y="285750"/>
                </a:lnTo>
                <a:lnTo>
                  <a:pt x="1470025" y="311150"/>
                </a:lnTo>
                <a:lnTo>
                  <a:pt x="1476375" y="333375"/>
                </a:lnTo>
                <a:lnTo>
                  <a:pt x="1476375" y="358775"/>
                </a:lnTo>
                <a:lnTo>
                  <a:pt x="1479550" y="400050"/>
                </a:lnTo>
                <a:lnTo>
                  <a:pt x="1473200" y="431800"/>
                </a:lnTo>
                <a:lnTo>
                  <a:pt x="1466850" y="460375"/>
                </a:lnTo>
                <a:lnTo>
                  <a:pt x="1457325" y="501650"/>
                </a:lnTo>
                <a:lnTo>
                  <a:pt x="1454150" y="533400"/>
                </a:lnTo>
                <a:lnTo>
                  <a:pt x="1454150" y="561975"/>
                </a:lnTo>
                <a:lnTo>
                  <a:pt x="1457325" y="581025"/>
                </a:lnTo>
                <a:lnTo>
                  <a:pt x="1466850" y="596900"/>
                </a:lnTo>
                <a:lnTo>
                  <a:pt x="1473200" y="609600"/>
                </a:lnTo>
                <a:lnTo>
                  <a:pt x="1482725" y="622300"/>
                </a:lnTo>
                <a:lnTo>
                  <a:pt x="1495425" y="631825"/>
                </a:lnTo>
                <a:lnTo>
                  <a:pt x="1508125" y="638175"/>
                </a:lnTo>
                <a:lnTo>
                  <a:pt x="1530350" y="647700"/>
                </a:lnTo>
                <a:lnTo>
                  <a:pt x="1552575" y="650875"/>
                </a:lnTo>
                <a:lnTo>
                  <a:pt x="1571625" y="650875"/>
                </a:lnTo>
                <a:lnTo>
                  <a:pt x="1590675" y="650875"/>
                </a:lnTo>
                <a:lnTo>
                  <a:pt x="1622425" y="650875"/>
                </a:lnTo>
                <a:lnTo>
                  <a:pt x="1647825" y="654050"/>
                </a:lnTo>
                <a:lnTo>
                  <a:pt x="1670050" y="660400"/>
                </a:lnTo>
                <a:lnTo>
                  <a:pt x="1685925" y="666750"/>
                </a:lnTo>
                <a:lnTo>
                  <a:pt x="1695450" y="676275"/>
                </a:lnTo>
                <a:lnTo>
                  <a:pt x="1701800" y="682625"/>
                </a:lnTo>
                <a:lnTo>
                  <a:pt x="1708150" y="688975"/>
                </a:lnTo>
                <a:lnTo>
                  <a:pt x="1714500" y="698500"/>
                </a:lnTo>
                <a:lnTo>
                  <a:pt x="1717675" y="708025"/>
                </a:lnTo>
                <a:lnTo>
                  <a:pt x="1724025" y="727075"/>
                </a:lnTo>
                <a:lnTo>
                  <a:pt x="1724025" y="749300"/>
                </a:lnTo>
                <a:lnTo>
                  <a:pt x="1717675" y="768350"/>
                </a:lnTo>
                <a:lnTo>
                  <a:pt x="1704975" y="800100"/>
                </a:lnTo>
                <a:lnTo>
                  <a:pt x="1698625" y="809625"/>
                </a:lnTo>
                <a:lnTo>
                  <a:pt x="1676400" y="844550"/>
                </a:lnTo>
                <a:lnTo>
                  <a:pt x="1660525" y="873125"/>
                </a:lnTo>
                <a:lnTo>
                  <a:pt x="1651000" y="898525"/>
                </a:lnTo>
                <a:lnTo>
                  <a:pt x="1644650" y="917575"/>
                </a:lnTo>
                <a:lnTo>
                  <a:pt x="1641475" y="936625"/>
                </a:lnTo>
                <a:lnTo>
                  <a:pt x="1641475" y="949325"/>
                </a:lnTo>
                <a:lnTo>
                  <a:pt x="1641475" y="958850"/>
                </a:lnTo>
                <a:lnTo>
                  <a:pt x="1644650" y="974725"/>
                </a:lnTo>
                <a:lnTo>
                  <a:pt x="1647825" y="990600"/>
                </a:lnTo>
                <a:lnTo>
                  <a:pt x="1654175" y="1003300"/>
                </a:lnTo>
                <a:lnTo>
                  <a:pt x="1663700" y="1012825"/>
                </a:lnTo>
                <a:lnTo>
                  <a:pt x="1673225" y="1022350"/>
                </a:lnTo>
                <a:lnTo>
                  <a:pt x="1682750" y="1031875"/>
                </a:lnTo>
                <a:lnTo>
                  <a:pt x="1704975" y="1041400"/>
                </a:lnTo>
                <a:lnTo>
                  <a:pt x="1724025" y="1047750"/>
                </a:lnTo>
                <a:lnTo>
                  <a:pt x="1743075" y="1047750"/>
                </a:lnTo>
                <a:lnTo>
                  <a:pt x="1762125" y="1047750"/>
                </a:lnTo>
                <a:lnTo>
                  <a:pt x="1800225" y="1050925"/>
                </a:lnTo>
                <a:lnTo>
                  <a:pt x="1835150" y="1057275"/>
                </a:lnTo>
                <a:lnTo>
                  <a:pt x="1860550" y="1066800"/>
                </a:lnTo>
                <a:lnTo>
                  <a:pt x="1882775" y="1076325"/>
                </a:lnTo>
                <a:lnTo>
                  <a:pt x="1898650" y="1089025"/>
                </a:lnTo>
                <a:lnTo>
                  <a:pt x="1911350" y="1098550"/>
                </a:lnTo>
                <a:lnTo>
                  <a:pt x="1920875" y="1111250"/>
                </a:lnTo>
                <a:lnTo>
                  <a:pt x="1927225" y="1120775"/>
                </a:lnTo>
                <a:lnTo>
                  <a:pt x="1933575" y="1133475"/>
                </a:lnTo>
                <a:lnTo>
                  <a:pt x="1936750" y="1143000"/>
                </a:lnTo>
                <a:lnTo>
                  <a:pt x="1936750" y="1152525"/>
                </a:lnTo>
                <a:lnTo>
                  <a:pt x="1933575" y="1162050"/>
                </a:lnTo>
                <a:lnTo>
                  <a:pt x="1927225" y="1171575"/>
                </a:lnTo>
                <a:lnTo>
                  <a:pt x="1914525" y="1187450"/>
                </a:lnTo>
                <a:lnTo>
                  <a:pt x="1898650" y="1200150"/>
                </a:lnTo>
                <a:lnTo>
                  <a:pt x="1882775" y="1209675"/>
                </a:lnTo>
                <a:lnTo>
                  <a:pt x="1866900" y="1216025"/>
                </a:lnTo>
                <a:lnTo>
                  <a:pt x="1847850" y="1222375"/>
                </a:lnTo>
                <a:lnTo>
                  <a:pt x="1835150" y="1228725"/>
                </a:lnTo>
                <a:lnTo>
                  <a:pt x="1809750" y="1247775"/>
                </a:lnTo>
                <a:lnTo>
                  <a:pt x="1793875" y="1266825"/>
                </a:lnTo>
                <a:lnTo>
                  <a:pt x="1781175" y="1289050"/>
                </a:lnTo>
                <a:lnTo>
                  <a:pt x="1771650" y="1308100"/>
                </a:lnTo>
                <a:lnTo>
                  <a:pt x="1768475" y="1323975"/>
                </a:lnTo>
                <a:lnTo>
                  <a:pt x="1768475" y="1336675"/>
                </a:lnTo>
                <a:lnTo>
                  <a:pt x="1765300" y="1362075"/>
                </a:lnTo>
                <a:lnTo>
                  <a:pt x="1758950" y="1381125"/>
                </a:lnTo>
                <a:lnTo>
                  <a:pt x="1752600" y="1400175"/>
                </a:lnTo>
                <a:lnTo>
                  <a:pt x="1743075" y="1416050"/>
                </a:lnTo>
                <a:lnTo>
                  <a:pt x="1724025" y="1441450"/>
                </a:lnTo>
                <a:lnTo>
                  <a:pt x="1704975" y="1463675"/>
                </a:lnTo>
                <a:lnTo>
                  <a:pt x="1682750" y="1476375"/>
                </a:lnTo>
                <a:lnTo>
                  <a:pt x="1663700" y="1485900"/>
                </a:lnTo>
                <a:lnTo>
                  <a:pt x="1647825" y="1489075"/>
                </a:lnTo>
                <a:lnTo>
                  <a:pt x="1625600" y="1498600"/>
                </a:lnTo>
                <a:lnTo>
                  <a:pt x="1606550" y="1504950"/>
                </a:lnTo>
                <a:lnTo>
                  <a:pt x="1593850" y="1514475"/>
                </a:lnTo>
                <a:lnTo>
                  <a:pt x="1581150" y="1524000"/>
                </a:lnTo>
                <a:lnTo>
                  <a:pt x="1571625" y="1533525"/>
                </a:lnTo>
                <a:lnTo>
                  <a:pt x="1565275" y="1543050"/>
                </a:lnTo>
                <a:lnTo>
                  <a:pt x="1555750" y="1565275"/>
                </a:lnTo>
                <a:lnTo>
                  <a:pt x="1555750" y="1581150"/>
                </a:lnTo>
                <a:lnTo>
                  <a:pt x="1555750" y="1597025"/>
                </a:lnTo>
                <a:lnTo>
                  <a:pt x="1562100" y="1612900"/>
                </a:lnTo>
                <a:lnTo>
                  <a:pt x="1568450" y="1628775"/>
                </a:lnTo>
                <a:lnTo>
                  <a:pt x="1571625" y="1644650"/>
                </a:lnTo>
                <a:lnTo>
                  <a:pt x="1571625" y="1660525"/>
                </a:lnTo>
                <a:lnTo>
                  <a:pt x="1565275" y="1673225"/>
                </a:lnTo>
                <a:lnTo>
                  <a:pt x="1555750" y="1692275"/>
                </a:lnTo>
                <a:lnTo>
                  <a:pt x="1549400" y="1701800"/>
                </a:lnTo>
                <a:lnTo>
                  <a:pt x="1524000" y="1717675"/>
                </a:lnTo>
                <a:lnTo>
                  <a:pt x="1495425" y="1724025"/>
                </a:lnTo>
                <a:lnTo>
                  <a:pt x="1473200" y="1727200"/>
                </a:lnTo>
                <a:lnTo>
                  <a:pt x="1450975" y="1727200"/>
                </a:lnTo>
                <a:lnTo>
                  <a:pt x="1435100" y="1724025"/>
                </a:lnTo>
                <a:lnTo>
                  <a:pt x="1422400" y="1720850"/>
                </a:lnTo>
                <a:lnTo>
                  <a:pt x="1409700" y="1714500"/>
                </a:lnTo>
                <a:lnTo>
                  <a:pt x="1374775" y="1698625"/>
                </a:lnTo>
                <a:lnTo>
                  <a:pt x="1339850" y="1689100"/>
                </a:lnTo>
                <a:lnTo>
                  <a:pt x="1311275" y="1679575"/>
                </a:lnTo>
                <a:lnTo>
                  <a:pt x="1282700" y="1676400"/>
                </a:lnTo>
                <a:lnTo>
                  <a:pt x="1254125" y="1676400"/>
                </a:lnTo>
                <a:lnTo>
                  <a:pt x="1228725" y="1679575"/>
                </a:lnTo>
                <a:lnTo>
                  <a:pt x="1206500" y="1682750"/>
                </a:lnTo>
                <a:lnTo>
                  <a:pt x="1187450" y="1689100"/>
                </a:lnTo>
                <a:lnTo>
                  <a:pt x="1155700" y="1704975"/>
                </a:lnTo>
                <a:lnTo>
                  <a:pt x="1130300" y="1720850"/>
                </a:lnTo>
                <a:lnTo>
                  <a:pt x="1111250" y="1736725"/>
                </a:lnTo>
                <a:lnTo>
                  <a:pt x="1079500" y="1768475"/>
                </a:lnTo>
                <a:lnTo>
                  <a:pt x="1047750" y="1790700"/>
                </a:lnTo>
                <a:lnTo>
                  <a:pt x="1019175" y="1806575"/>
                </a:lnTo>
                <a:lnTo>
                  <a:pt x="993775" y="1816100"/>
                </a:lnTo>
                <a:lnTo>
                  <a:pt x="971550" y="1819275"/>
                </a:lnTo>
                <a:lnTo>
                  <a:pt x="952500" y="1819275"/>
                </a:lnTo>
                <a:lnTo>
                  <a:pt x="939800" y="1819275"/>
                </a:lnTo>
                <a:lnTo>
                  <a:pt x="908050" y="1812925"/>
                </a:lnTo>
                <a:lnTo>
                  <a:pt x="882650" y="1803400"/>
                </a:lnTo>
                <a:lnTo>
                  <a:pt x="863600" y="1787525"/>
                </a:lnTo>
                <a:lnTo>
                  <a:pt x="850900" y="1774825"/>
                </a:lnTo>
                <a:lnTo>
                  <a:pt x="841375" y="1758950"/>
                </a:lnTo>
                <a:lnTo>
                  <a:pt x="835025" y="1746250"/>
                </a:lnTo>
                <a:lnTo>
                  <a:pt x="831850" y="1736725"/>
                </a:lnTo>
                <a:lnTo>
                  <a:pt x="825500" y="1708150"/>
                </a:lnTo>
                <a:lnTo>
                  <a:pt x="812800" y="1685925"/>
                </a:lnTo>
                <a:lnTo>
                  <a:pt x="800100" y="1670050"/>
                </a:lnTo>
                <a:lnTo>
                  <a:pt x="784225" y="1660525"/>
                </a:lnTo>
                <a:lnTo>
                  <a:pt x="768350" y="1654175"/>
                </a:lnTo>
                <a:lnTo>
                  <a:pt x="755650" y="1651000"/>
                </a:lnTo>
                <a:lnTo>
                  <a:pt x="742950" y="1651000"/>
                </a:lnTo>
                <a:lnTo>
                  <a:pt x="717550" y="1651000"/>
                </a:lnTo>
                <a:lnTo>
                  <a:pt x="698500" y="1644650"/>
                </a:lnTo>
                <a:lnTo>
                  <a:pt x="679450" y="1635125"/>
                </a:lnTo>
                <a:lnTo>
                  <a:pt x="663575" y="1625600"/>
                </a:lnTo>
                <a:lnTo>
                  <a:pt x="654050" y="1612900"/>
                </a:lnTo>
                <a:lnTo>
                  <a:pt x="644525" y="1603375"/>
                </a:lnTo>
                <a:lnTo>
                  <a:pt x="638175" y="1593850"/>
                </a:lnTo>
                <a:lnTo>
                  <a:pt x="628650" y="1577975"/>
                </a:lnTo>
                <a:lnTo>
                  <a:pt x="615950" y="1568450"/>
                </a:lnTo>
                <a:lnTo>
                  <a:pt x="600075" y="1558925"/>
                </a:lnTo>
                <a:lnTo>
                  <a:pt x="587375" y="1552575"/>
                </a:lnTo>
                <a:lnTo>
                  <a:pt x="571500" y="1549400"/>
                </a:lnTo>
                <a:lnTo>
                  <a:pt x="555625" y="1546225"/>
                </a:lnTo>
                <a:lnTo>
                  <a:pt x="523875" y="1546225"/>
                </a:lnTo>
                <a:lnTo>
                  <a:pt x="495300" y="1552575"/>
                </a:lnTo>
                <a:lnTo>
                  <a:pt x="469900" y="1558925"/>
                </a:lnTo>
                <a:lnTo>
                  <a:pt x="447675" y="1568450"/>
                </a:lnTo>
                <a:lnTo>
                  <a:pt x="406400" y="1581150"/>
                </a:lnTo>
                <a:lnTo>
                  <a:pt x="368300" y="1587500"/>
                </a:lnTo>
                <a:lnTo>
                  <a:pt x="333375" y="1590675"/>
                </a:lnTo>
                <a:lnTo>
                  <a:pt x="304800" y="1593850"/>
                </a:lnTo>
                <a:lnTo>
                  <a:pt x="279400" y="1593850"/>
                </a:lnTo>
                <a:lnTo>
                  <a:pt x="254000" y="1590675"/>
                </a:lnTo>
                <a:lnTo>
                  <a:pt x="234950" y="1584325"/>
                </a:lnTo>
                <a:lnTo>
                  <a:pt x="219075" y="1581150"/>
                </a:lnTo>
                <a:lnTo>
                  <a:pt x="193675" y="1565275"/>
                </a:lnTo>
                <a:lnTo>
                  <a:pt x="180975" y="1552575"/>
                </a:lnTo>
                <a:lnTo>
                  <a:pt x="171450" y="1543050"/>
                </a:lnTo>
                <a:lnTo>
                  <a:pt x="168275" y="1536700"/>
                </a:lnTo>
                <a:lnTo>
                  <a:pt x="161925" y="1517650"/>
                </a:lnTo>
                <a:lnTo>
                  <a:pt x="155575" y="1495425"/>
                </a:lnTo>
                <a:lnTo>
                  <a:pt x="152400" y="1476375"/>
                </a:lnTo>
                <a:lnTo>
                  <a:pt x="152400" y="1457325"/>
                </a:lnTo>
                <a:lnTo>
                  <a:pt x="155575" y="1422400"/>
                </a:lnTo>
                <a:lnTo>
                  <a:pt x="165100" y="1390650"/>
                </a:lnTo>
                <a:lnTo>
                  <a:pt x="180975" y="1358900"/>
                </a:lnTo>
                <a:lnTo>
                  <a:pt x="200025" y="1333500"/>
                </a:lnTo>
                <a:lnTo>
                  <a:pt x="225425" y="1308100"/>
                </a:lnTo>
                <a:lnTo>
                  <a:pt x="250825" y="1289050"/>
                </a:lnTo>
                <a:lnTo>
                  <a:pt x="276225" y="1270000"/>
                </a:lnTo>
                <a:lnTo>
                  <a:pt x="304800" y="1254125"/>
                </a:lnTo>
                <a:lnTo>
                  <a:pt x="352425" y="1228725"/>
                </a:lnTo>
                <a:lnTo>
                  <a:pt x="387350" y="1212850"/>
                </a:lnTo>
                <a:lnTo>
                  <a:pt x="403225" y="1209675"/>
                </a:lnTo>
                <a:lnTo>
                  <a:pt x="441325" y="1193800"/>
                </a:lnTo>
                <a:lnTo>
                  <a:pt x="473075" y="1177925"/>
                </a:lnTo>
                <a:lnTo>
                  <a:pt x="495300" y="1158875"/>
                </a:lnTo>
                <a:lnTo>
                  <a:pt x="511175" y="1143000"/>
                </a:lnTo>
                <a:lnTo>
                  <a:pt x="523875" y="1123950"/>
                </a:lnTo>
                <a:lnTo>
                  <a:pt x="530225" y="1111250"/>
                </a:lnTo>
                <a:lnTo>
                  <a:pt x="533400" y="1101725"/>
                </a:lnTo>
                <a:lnTo>
                  <a:pt x="533400" y="1076325"/>
                </a:lnTo>
                <a:lnTo>
                  <a:pt x="527050" y="1060450"/>
                </a:lnTo>
                <a:lnTo>
                  <a:pt x="517525" y="1044575"/>
                </a:lnTo>
                <a:lnTo>
                  <a:pt x="508000" y="1035050"/>
                </a:lnTo>
                <a:lnTo>
                  <a:pt x="498475" y="1028700"/>
                </a:lnTo>
                <a:lnTo>
                  <a:pt x="492125" y="1022350"/>
                </a:lnTo>
                <a:lnTo>
                  <a:pt x="482600" y="1019175"/>
                </a:lnTo>
                <a:lnTo>
                  <a:pt x="454025" y="1012825"/>
                </a:lnTo>
                <a:lnTo>
                  <a:pt x="428625" y="1003300"/>
                </a:lnTo>
                <a:lnTo>
                  <a:pt x="406400" y="993775"/>
                </a:lnTo>
                <a:lnTo>
                  <a:pt x="387350" y="984250"/>
                </a:lnTo>
                <a:lnTo>
                  <a:pt x="358775" y="962025"/>
                </a:lnTo>
                <a:lnTo>
                  <a:pt x="339725" y="939800"/>
                </a:lnTo>
                <a:lnTo>
                  <a:pt x="327025" y="920750"/>
                </a:lnTo>
                <a:lnTo>
                  <a:pt x="320675" y="908050"/>
                </a:lnTo>
                <a:lnTo>
                  <a:pt x="320675" y="892175"/>
                </a:lnTo>
                <a:lnTo>
                  <a:pt x="323850" y="876300"/>
                </a:lnTo>
                <a:lnTo>
                  <a:pt x="333375" y="860425"/>
                </a:lnTo>
                <a:lnTo>
                  <a:pt x="342900" y="847725"/>
                </a:lnTo>
                <a:lnTo>
                  <a:pt x="358775" y="835025"/>
                </a:lnTo>
                <a:lnTo>
                  <a:pt x="377825" y="825500"/>
                </a:lnTo>
                <a:lnTo>
                  <a:pt x="396875" y="819150"/>
                </a:lnTo>
                <a:lnTo>
                  <a:pt x="438150" y="809625"/>
                </a:lnTo>
                <a:lnTo>
                  <a:pt x="482600" y="803275"/>
                </a:lnTo>
                <a:lnTo>
                  <a:pt x="517525" y="800100"/>
                </a:lnTo>
                <a:lnTo>
                  <a:pt x="555625" y="800100"/>
                </a:lnTo>
                <a:lnTo>
                  <a:pt x="581025" y="800100"/>
                </a:lnTo>
                <a:lnTo>
                  <a:pt x="606425" y="796925"/>
                </a:lnTo>
                <a:lnTo>
                  <a:pt x="650875" y="787400"/>
                </a:lnTo>
                <a:lnTo>
                  <a:pt x="682625" y="774700"/>
                </a:lnTo>
                <a:lnTo>
                  <a:pt x="704850" y="758825"/>
                </a:lnTo>
                <a:lnTo>
                  <a:pt x="720725" y="742950"/>
                </a:lnTo>
                <a:lnTo>
                  <a:pt x="730250" y="730250"/>
                </a:lnTo>
                <a:lnTo>
                  <a:pt x="736600" y="717550"/>
                </a:lnTo>
                <a:lnTo>
                  <a:pt x="742950" y="688975"/>
                </a:lnTo>
                <a:lnTo>
                  <a:pt x="742950" y="666750"/>
                </a:lnTo>
                <a:lnTo>
                  <a:pt x="739775" y="647700"/>
                </a:lnTo>
                <a:lnTo>
                  <a:pt x="733425" y="631825"/>
                </a:lnTo>
                <a:lnTo>
                  <a:pt x="727075" y="619125"/>
                </a:lnTo>
                <a:lnTo>
                  <a:pt x="717550" y="609600"/>
                </a:lnTo>
                <a:lnTo>
                  <a:pt x="711200" y="603250"/>
                </a:lnTo>
                <a:lnTo>
                  <a:pt x="685800" y="574675"/>
                </a:lnTo>
                <a:lnTo>
                  <a:pt x="666750" y="549275"/>
                </a:lnTo>
                <a:lnTo>
                  <a:pt x="657225" y="527050"/>
                </a:lnTo>
                <a:lnTo>
                  <a:pt x="654050" y="504825"/>
                </a:lnTo>
                <a:lnTo>
                  <a:pt x="650875" y="485775"/>
                </a:lnTo>
                <a:lnTo>
                  <a:pt x="654050" y="469900"/>
                </a:lnTo>
                <a:lnTo>
                  <a:pt x="657225" y="457200"/>
                </a:lnTo>
                <a:lnTo>
                  <a:pt x="663575" y="441325"/>
                </a:lnTo>
                <a:lnTo>
                  <a:pt x="673100" y="428625"/>
                </a:lnTo>
                <a:lnTo>
                  <a:pt x="682625" y="419100"/>
                </a:lnTo>
                <a:lnTo>
                  <a:pt x="692150" y="409575"/>
                </a:lnTo>
                <a:lnTo>
                  <a:pt x="704850" y="406400"/>
                </a:lnTo>
                <a:lnTo>
                  <a:pt x="717550" y="403225"/>
                </a:lnTo>
                <a:lnTo>
                  <a:pt x="746125" y="400050"/>
                </a:lnTo>
                <a:lnTo>
                  <a:pt x="768350" y="403225"/>
                </a:lnTo>
                <a:lnTo>
                  <a:pt x="790575" y="409575"/>
                </a:lnTo>
                <a:lnTo>
                  <a:pt x="809625" y="415925"/>
                </a:lnTo>
                <a:lnTo>
                  <a:pt x="828675" y="419100"/>
                </a:lnTo>
                <a:lnTo>
                  <a:pt x="847725" y="422275"/>
                </a:lnTo>
                <a:lnTo>
                  <a:pt x="866775" y="419100"/>
                </a:lnTo>
                <a:lnTo>
                  <a:pt x="882650" y="412750"/>
                </a:lnTo>
                <a:lnTo>
                  <a:pt x="898525" y="406400"/>
                </a:lnTo>
                <a:lnTo>
                  <a:pt x="914400" y="400050"/>
                </a:lnTo>
                <a:lnTo>
                  <a:pt x="939800" y="377825"/>
                </a:lnTo>
                <a:lnTo>
                  <a:pt x="958850" y="355600"/>
                </a:lnTo>
                <a:lnTo>
                  <a:pt x="974725" y="336550"/>
                </a:lnTo>
                <a:lnTo>
                  <a:pt x="987425" y="317500"/>
                </a:lnTo>
                <a:lnTo>
                  <a:pt x="1019175" y="254000"/>
                </a:lnTo>
                <a:lnTo>
                  <a:pt x="1054100" y="203200"/>
                </a:lnTo>
                <a:lnTo>
                  <a:pt x="1085850" y="165100"/>
                </a:lnTo>
                <a:lnTo>
                  <a:pt x="1120775" y="136525"/>
                </a:lnTo>
                <a:lnTo>
                  <a:pt x="1152525" y="117475"/>
                </a:lnTo>
                <a:lnTo>
                  <a:pt x="1184275" y="104775"/>
                </a:lnTo>
                <a:close/>
                <a:moveTo>
                  <a:pt x="958850" y="0"/>
                </a:moveTo>
                <a:lnTo>
                  <a:pt x="981075" y="3175"/>
                </a:lnTo>
                <a:lnTo>
                  <a:pt x="1000125" y="12700"/>
                </a:lnTo>
                <a:lnTo>
                  <a:pt x="1012825" y="25400"/>
                </a:lnTo>
                <a:lnTo>
                  <a:pt x="1022350" y="44450"/>
                </a:lnTo>
                <a:lnTo>
                  <a:pt x="1028700" y="63500"/>
                </a:lnTo>
                <a:lnTo>
                  <a:pt x="1028700" y="88900"/>
                </a:lnTo>
                <a:lnTo>
                  <a:pt x="1025525" y="114300"/>
                </a:lnTo>
                <a:lnTo>
                  <a:pt x="1016000" y="142875"/>
                </a:lnTo>
                <a:lnTo>
                  <a:pt x="1003300" y="171450"/>
                </a:lnTo>
                <a:lnTo>
                  <a:pt x="984250" y="196850"/>
                </a:lnTo>
                <a:lnTo>
                  <a:pt x="965200" y="222250"/>
                </a:lnTo>
                <a:lnTo>
                  <a:pt x="939800" y="244475"/>
                </a:lnTo>
                <a:lnTo>
                  <a:pt x="917575" y="263525"/>
                </a:lnTo>
                <a:lnTo>
                  <a:pt x="892175" y="276225"/>
                </a:lnTo>
                <a:lnTo>
                  <a:pt x="866775" y="282575"/>
                </a:lnTo>
                <a:lnTo>
                  <a:pt x="844550" y="285750"/>
                </a:lnTo>
                <a:lnTo>
                  <a:pt x="822325" y="282575"/>
                </a:lnTo>
                <a:lnTo>
                  <a:pt x="806450" y="273050"/>
                </a:lnTo>
                <a:lnTo>
                  <a:pt x="790575" y="260350"/>
                </a:lnTo>
                <a:lnTo>
                  <a:pt x="781050" y="241300"/>
                </a:lnTo>
                <a:lnTo>
                  <a:pt x="774700" y="222250"/>
                </a:lnTo>
                <a:lnTo>
                  <a:pt x="774700" y="196850"/>
                </a:lnTo>
                <a:lnTo>
                  <a:pt x="777875" y="171450"/>
                </a:lnTo>
                <a:lnTo>
                  <a:pt x="787400" y="142875"/>
                </a:lnTo>
                <a:lnTo>
                  <a:pt x="800100" y="114300"/>
                </a:lnTo>
                <a:lnTo>
                  <a:pt x="819150" y="88900"/>
                </a:lnTo>
                <a:lnTo>
                  <a:pt x="841375" y="63500"/>
                </a:lnTo>
                <a:lnTo>
                  <a:pt x="863600" y="41275"/>
                </a:lnTo>
                <a:lnTo>
                  <a:pt x="889000" y="22225"/>
                </a:lnTo>
                <a:lnTo>
                  <a:pt x="911225" y="9525"/>
                </a:lnTo>
                <a:lnTo>
                  <a:pt x="936625" y="3175"/>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3" name="Freeform 32"/>
          <p:cNvSpPr>
            <a:spLocks/>
          </p:cNvSpPr>
          <p:nvPr/>
        </p:nvSpPr>
        <p:spPr bwMode="auto">
          <a:xfrm>
            <a:off x="8163824" y="597605"/>
            <a:ext cx="932718" cy="1057690"/>
          </a:xfrm>
          <a:custGeom>
            <a:avLst/>
            <a:gdLst>
              <a:gd name="connsiteX0" fmla="*/ 1273175 w 1943100"/>
              <a:gd name="connsiteY0" fmla="*/ 1971675 h 2203450"/>
              <a:gd name="connsiteX1" fmla="*/ 1298575 w 1943100"/>
              <a:gd name="connsiteY1" fmla="*/ 1974850 h 2203450"/>
              <a:gd name="connsiteX2" fmla="*/ 1323975 w 1943100"/>
              <a:gd name="connsiteY2" fmla="*/ 1981200 h 2203450"/>
              <a:gd name="connsiteX3" fmla="*/ 1346200 w 1943100"/>
              <a:gd name="connsiteY3" fmla="*/ 1990725 h 2203450"/>
              <a:gd name="connsiteX4" fmla="*/ 1365250 w 1943100"/>
              <a:gd name="connsiteY4" fmla="*/ 2006600 h 2203450"/>
              <a:gd name="connsiteX5" fmla="*/ 1381125 w 1943100"/>
              <a:gd name="connsiteY5" fmla="*/ 2022475 h 2203450"/>
              <a:gd name="connsiteX6" fmla="*/ 1393825 w 1943100"/>
              <a:gd name="connsiteY6" fmla="*/ 2041525 h 2203450"/>
              <a:gd name="connsiteX7" fmla="*/ 1400175 w 1943100"/>
              <a:gd name="connsiteY7" fmla="*/ 2063750 h 2203450"/>
              <a:gd name="connsiteX8" fmla="*/ 1403350 w 1943100"/>
              <a:gd name="connsiteY8" fmla="*/ 2089150 h 2203450"/>
              <a:gd name="connsiteX9" fmla="*/ 1400175 w 1943100"/>
              <a:gd name="connsiteY9" fmla="*/ 2111375 h 2203450"/>
              <a:gd name="connsiteX10" fmla="*/ 1393825 w 1943100"/>
              <a:gd name="connsiteY10" fmla="*/ 2133600 h 2203450"/>
              <a:gd name="connsiteX11" fmla="*/ 1381125 w 1943100"/>
              <a:gd name="connsiteY11" fmla="*/ 2152650 h 2203450"/>
              <a:gd name="connsiteX12" fmla="*/ 1365250 w 1943100"/>
              <a:gd name="connsiteY12" fmla="*/ 2168525 h 2203450"/>
              <a:gd name="connsiteX13" fmla="*/ 1346200 w 1943100"/>
              <a:gd name="connsiteY13" fmla="*/ 2184400 h 2203450"/>
              <a:gd name="connsiteX14" fmla="*/ 1323975 w 1943100"/>
              <a:gd name="connsiteY14" fmla="*/ 2193925 h 2203450"/>
              <a:gd name="connsiteX15" fmla="*/ 1298575 w 1943100"/>
              <a:gd name="connsiteY15" fmla="*/ 2200275 h 2203450"/>
              <a:gd name="connsiteX16" fmla="*/ 1273175 w 1943100"/>
              <a:gd name="connsiteY16" fmla="*/ 2203450 h 2203450"/>
              <a:gd name="connsiteX17" fmla="*/ 1244600 w 1943100"/>
              <a:gd name="connsiteY17" fmla="*/ 2200275 h 2203450"/>
              <a:gd name="connsiteX18" fmla="*/ 1222375 w 1943100"/>
              <a:gd name="connsiteY18" fmla="*/ 2193925 h 2203450"/>
              <a:gd name="connsiteX19" fmla="*/ 1200150 w 1943100"/>
              <a:gd name="connsiteY19" fmla="*/ 2184400 h 2203450"/>
              <a:gd name="connsiteX20" fmla="*/ 1177925 w 1943100"/>
              <a:gd name="connsiteY20" fmla="*/ 2168525 h 2203450"/>
              <a:gd name="connsiteX21" fmla="*/ 1162050 w 1943100"/>
              <a:gd name="connsiteY21" fmla="*/ 2152650 h 2203450"/>
              <a:gd name="connsiteX22" fmla="*/ 1152525 w 1943100"/>
              <a:gd name="connsiteY22" fmla="*/ 2133600 h 2203450"/>
              <a:gd name="connsiteX23" fmla="*/ 1143000 w 1943100"/>
              <a:gd name="connsiteY23" fmla="*/ 2111375 h 2203450"/>
              <a:gd name="connsiteX24" fmla="*/ 1139825 w 1943100"/>
              <a:gd name="connsiteY24" fmla="*/ 2089150 h 2203450"/>
              <a:gd name="connsiteX25" fmla="*/ 1143000 w 1943100"/>
              <a:gd name="connsiteY25" fmla="*/ 2063750 h 2203450"/>
              <a:gd name="connsiteX26" fmla="*/ 1152525 w 1943100"/>
              <a:gd name="connsiteY26" fmla="*/ 2041525 h 2203450"/>
              <a:gd name="connsiteX27" fmla="*/ 1162050 w 1943100"/>
              <a:gd name="connsiteY27" fmla="*/ 2022475 h 2203450"/>
              <a:gd name="connsiteX28" fmla="*/ 1177925 w 1943100"/>
              <a:gd name="connsiteY28" fmla="*/ 2006600 h 2203450"/>
              <a:gd name="connsiteX29" fmla="*/ 1200150 w 1943100"/>
              <a:gd name="connsiteY29" fmla="*/ 1990725 h 2203450"/>
              <a:gd name="connsiteX30" fmla="*/ 1222375 w 1943100"/>
              <a:gd name="connsiteY30" fmla="*/ 1981200 h 2203450"/>
              <a:gd name="connsiteX31" fmla="*/ 1244600 w 1943100"/>
              <a:gd name="connsiteY31" fmla="*/ 1974850 h 2203450"/>
              <a:gd name="connsiteX32" fmla="*/ 1498600 w 1943100"/>
              <a:gd name="connsiteY32" fmla="*/ 1819275 h 2203450"/>
              <a:gd name="connsiteX33" fmla="*/ 1530350 w 1943100"/>
              <a:gd name="connsiteY33" fmla="*/ 1822450 h 2203450"/>
              <a:gd name="connsiteX34" fmla="*/ 1562100 w 1943100"/>
              <a:gd name="connsiteY34" fmla="*/ 1825625 h 2203450"/>
              <a:gd name="connsiteX35" fmla="*/ 1587500 w 1943100"/>
              <a:gd name="connsiteY35" fmla="*/ 1831975 h 2203450"/>
              <a:gd name="connsiteX36" fmla="*/ 1612900 w 1943100"/>
              <a:gd name="connsiteY36" fmla="*/ 1841500 h 2203450"/>
              <a:gd name="connsiteX37" fmla="*/ 1631950 w 1943100"/>
              <a:gd name="connsiteY37" fmla="*/ 1854200 h 2203450"/>
              <a:gd name="connsiteX38" fmla="*/ 1647825 w 1943100"/>
              <a:gd name="connsiteY38" fmla="*/ 1866900 h 2203450"/>
              <a:gd name="connsiteX39" fmla="*/ 1657350 w 1943100"/>
              <a:gd name="connsiteY39" fmla="*/ 1879600 h 2203450"/>
              <a:gd name="connsiteX40" fmla="*/ 1660525 w 1943100"/>
              <a:gd name="connsiteY40" fmla="*/ 1895475 h 2203450"/>
              <a:gd name="connsiteX41" fmla="*/ 1657350 w 1943100"/>
              <a:gd name="connsiteY41" fmla="*/ 1911350 h 2203450"/>
              <a:gd name="connsiteX42" fmla="*/ 1647825 w 1943100"/>
              <a:gd name="connsiteY42" fmla="*/ 1924050 h 2203450"/>
              <a:gd name="connsiteX43" fmla="*/ 1631950 w 1943100"/>
              <a:gd name="connsiteY43" fmla="*/ 1939925 h 2203450"/>
              <a:gd name="connsiteX44" fmla="*/ 1612900 w 1943100"/>
              <a:gd name="connsiteY44" fmla="*/ 1949450 h 2203450"/>
              <a:gd name="connsiteX45" fmla="*/ 1587500 w 1943100"/>
              <a:gd name="connsiteY45" fmla="*/ 1958975 h 2203450"/>
              <a:gd name="connsiteX46" fmla="*/ 1562100 w 1943100"/>
              <a:gd name="connsiteY46" fmla="*/ 1965325 h 2203450"/>
              <a:gd name="connsiteX47" fmla="*/ 1530350 w 1943100"/>
              <a:gd name="connsiteY47" fmla="*/ 1971675 h 2203450"/>
              <a:gd name="connsiteX48" fmla="*/ 1498600 w 1943100"/>
              <a:gd name="connsiteY48" fmla="*/ 1971675 h 2203450"/>
              <a:gd name="connsiteX49" fmla="*/ 1466850 w 1943100"/>
              <a:gd name="connsiteY49" fmla="*/ 1971675 h 2203450"/>
              <a:gd name="connsiteX50" fmla="*/ 1435100 w 1943100"/>
              <a:gd name="connsiteY50" fmla="*/ 1965325 h 2203450"/>
              <a:gd name="connsiteX51" fmla="*/ 1409700 w 1943100"/>
              <a:gd name="connsiteY51" fmla="*/ 1958975 h 2203450"/>
              <a:gd name="connsiteX52" fmla="*/ 1384300 w 1943100"/>
              <a:gd name="connsiteY52" fmla="*/ 1949450 h 2203450"/>
              <a:gd name="connsiteX53" fmla="*/ 1365250 w 1943100"/>
              <a:gd name="connsiteY53" fmla="*/ 1939925 h 2203450"/>
              <a:gd name="connsiteX54" fmla="*/ 1349375 w 1943100"/>
              <a:gd name="connsiteY54" fmla="*/ 1924050 h 2203450"/>
              <a:gd name="connsiteX55" fmla="*/ 1339850 w 1943100"/>
              <a:gd name="connsiteY55" fmla="*/ 1911350 h 2203450"/>
              <a:gd name="connsiteX56" fmla="*/ 1336675 w 1943100"/>
              <a:gd name="connsiteY56" fmla="*/ 1895475 h 2203450"/>
              <a:gd name="connsiteX57" fmla="*/ 1339850 w 1943100"/>
              <a:gd name="connsiteY57" fmla="*/ 1879600 h 2203450"/>
              <a:gd name="connsiteX58" fmla="*/ 1349375 w 1943100"/>
              <a:gd name="connsiteY58" fmla="*/ 1866900 h 2203450"/>
              <a:gd name="connsiteX59" fmla="*/ 1365250 w 1943100"/>
              <a:gd name="connsiteY59" fmla="*/ 1854200 h 2203450"/>
              <a:gd name="connsiteX60" fmla="*/ 1384300 w 1943100"/>
              <a:gd name="connsiteY60" fmla="*/ 1841500 h 2203450"/>
              <a:gd name="connsiteX61" fmla="*/ 1409700 w 1943100"/>
              <a:gd name="connsiteY61" fmla="*/ 1831975 h 2203450"/>
              <a:gd name="connsiteX62" fmla="*/ 1435100 w 1943100"/>
              <a:gd name="connsiteY62" fmla="*/ 1825625 h 2203450"/>
              <a:gd name="connsiteX63" fmla="*/ 1466850 w 1943100"/>
              <a:gd name="connsiteY63" fmla="*/ 1822450 h 2203450"/>
              <a:gd name="connsiteX64" fmla="*/ 752475 w 1943100"/>
              <a:gd name="connsiteY64" fmla="*/ 1781175 h 2203450"/>
              <a:gd name="connsiteX65" fmla="*/ 762000 w 1943100"/>
              <a:gd name="connsiteY65" fmla="*/ 1784350 h 2203450"/>
              <a:gd name="connsiteX66" fmla="*/ 768350 w 1943100"/>
              <a:gd name="connsiteY66" fmla="*/ 1787525 h 2203450"/>
              <a:gd name="connsiteX67" fmla="*/ 777875 w 1943100"/>
              <a:gd name="connsiteY67" fmla="*/ 1790700 h 2203450"/>
              <a:gd name="connsiteX68" fmla="*/ 784225 w 1943100"/>
              <a:gd name="connsiteY68" fmla="*/ 1800225 h 2203450"/>
              <a:gd name="connsiteX69" fmla="*/ 793750 w 1943100"/>
              <a:gd name="connsiteY69" fmla="*/ 1816100 h 2203450"/>
              <a:gd name="connsiteX70" fmla="*/ 796925 w 1943100"/>
              <a:gd name="connsiteY70" fmla="*/ 1838325 h 2203450"/>
              <a:gd name="connsiteX71" fmla="*/ 793750 w 1943100"/>
              <a:gd name="connsiteY71" fmla="*/ 1860550 h 2203450"/>
              <a:gd name="connsiteX72" fmla="*/ 784225 w 1943100"/>
              <a:gd name="connsiteY72" fmla="*/ 1879600 h 2203450"/>
              <a:gd name="connsiteX73" fmla="*/ 777875 w 1943100"/>
              <a:gd name="connsiteY73" fmla="*/ 1885950 h 2203450"/>
              <a:gd name="connsiteX74" fmla="*/ 768350 w 1943100"/>
              <a:gd name="connsiteY74" fmla="*/ 1889125 h 2203450"/>
              <a:gd name="connsiteX75" fmla="*/ 762000 w 1943100"/>
              <a:gd name="connsiteY75" fmla="*/ 1892300 h 2203450"/>
              <a:gd name="connsiteX76" fmla="*/ 752475 w 1943100"/>
              <a:gd name="connsiteY76" fmla="*/ 1895475 h 2203450"/>
              <a:gd name="connsiteX77" fmla="*/ 742950 w 1943100"/>
              <a:gd name="connsiteY77" fmla="*/ 1892300 h 2203450"/>
              <a:gd name="connsiteX78" fmla="*/ 736600 w 1943100"/>
              <a:gd name="connsiteY78" fmla="*/ 1889125 h 2203450"/>
              <a:gd name="connsiteX79" fmla="*/ 727075 w 1943100"/>
              <a:gd name="connsiteY79" fmla="*/ 1885950 h 2203450"/>
              <a:gd name="connsiteX80" fmla="*/ 720725 w 1943100"/>
              <a:gd name="connsiteY80" fmla="*/ 1879600 h 2203450"/>
              <a:gd name="connsiteX81" fmla="*/ 711200 w 1943100"/>
              <a:gd name="connsiteY81" fmla="*/ 1860550 h 2203450"/>
              <a:gd name="connsiteX82" fmla="*/ 708025 w 1943100"/>
              <a:gd name="connsiteY82" fmla="*/ 1838325 h 2203450"/>
              <a:gd name="connsiteX83" fmla="*/ 711200 w 1943100"/>
              <a:gd name="connsiteY83" fmla="*/ 1816100 h 2203450"/>
              <a:gd name="connsiteX84" fmla="*/ 720725 w 1943100"/>
              <a:gd name="connsiteY84" fmla="*/ 1800225 h 2203450"/>
              <a:gd name="connsiteX85" fmla="*/ 727075 w 1943100"/>
              <a:gd name="connsiteY85" fmla="*/ 1790700 h 2203450"/>
              <a:gd name="connsiteX86" fmla="*/ 736600 w 1943100"/>
              <a:gd name="connsiteY86" fmla="*/ 1787525 h 2203450"/>
              <a:gd name="connsiteX87" fmla="*/ 742950 w 1943100"/>
              <a:gd name="connsiteY87" fmla="*/ 1784350 h 2203450"/>
              <a:gd name="connsiteX88" fmla="*/ 492125 w 1943100"/>
              <a:gd name="connsiteY88" fmla="*/ 1670050 h 2203450"/>
              <a:gd name="connsiteX89" fmla="*/ 520700 w 1943100"/>
              <a:gd name="connsiteY89" fmla="*/ 1673225 h 2203450"/>
              <a:gd name="connsiteX90" fmla="*/ 546100 w 1943100"/>
              <a:gd name="connsiteY90" fmla="*/ 1679575 h 2203450"/>
              <a:gd name="connsiteX91" fmla="*/ 568325 w 1943100"/>
              <a:gd name="connsiteY91" fmla="*/ 1689100 h 2203450"/>
              <a:gd name="connsiteX92" fmla="*/ 590550 w 1943100"/>
              <a:gd name="connsiteY92" fmla="*/ 1704975 h 2203450"/>
              <a:gd name="connsiteX93" fmla="*/ 606425 w 1943100"/>
              <a:gd name="connsiteY93" fmla="*/ 1720850 h 2203450"/>
              <a:gd name="connsiteX94" fmla="*/ 619125 w 1943100"/>
              <a:gd name="connsiteY94" fmla="*/ 1739900 h 2203450"/>
              <a:gd name="connsiteX95" fmla="*/ 628650 w 1943100"/>
              <a:gd name="connsiteY95" fmla="*/ 1758950 h 2203450"/>
              <a:gd name="connsiteX96" fmla="*/ 631825 w 1943100"/>
              <a:gd name="connsiteY96" fmla="*/ 1781175 h 2203450"/>
              <a:gd name="connsiteX97" fmla="*/ 628650 w 1943100"/>
              <a:gd name="connsiteY97" fmla="*/ 1806575 h 2203450"/>
              <a:gd name="connsiteX98" fmla="*/ 619125 w 1943100"/>
              <a:gd name="connsiteY98" fmla="*/ 1825625 h 2203450"/>
              <a:gd name="connsiteX99" fmla="*/ 606425 w 1943100"/>
              <a:gd name="connsiteY99" fmla="*/ 1844675 h 2203450"/>
              <a:gd name="connsiteX100" fmla="*/ 590550 w 1943100"/>
              <a:gd name="connsiteY100" fmla="*/ 1860550 h 2203450"/>
              <a:gd name="connsiteX101" fmla="*/ 568325 w 1943100"/>
              <a:gd name="connsiteY101" fmla="*/ 1876425 h 2203450"/>
              <a:gd name="connsiteX102" fmla="*/ 546100 w 1943100"/>
              <a:gd name="connsiteY102" fmla="*/ 1885950 h 2203450"/>
              <a:gd name="connsiteX103" fmla="*/ 520700 w 1943100"/>
              <a:gd name="connsiteY103" fmla="*/ 1892300 h 2203450"/>
              <a:gd name="connsiteX104" fmla="*/ 492125 w 1943100"/>
              <a:gd name="connsiteY104" fmla="*/ 1895475 h 2203450"/>
              <a:gd name="connsiteX105" fmla="*/ 463550 w 1943100"/>
              <a:gd name="connsiteY105" fmla="*/ 1892300 h 2203450"/>
              <a:gd name="connsiteX106" fmla="*/ 438150 w 1943100"/>
              <a:gd name="connsiteY106" fmla="*/ 1885950 h 2203450"/>
              <a:gd name="connsiteX107" fmla="*/ 412750 w 1943100"/>
              <a:gd name="connsiteY107" fmla="*/ 1876425 h 2203450"/>
              <a:gd name="connsiteX108" fmla="*/ 393700 w 1943100"/>
              <a:gd name="connsiteY108" fmla="*/ 1860550 h 2203450"/>
              <a:gd name="connsiteX109" fmla="*/ 374650 w 1943100"/>
              <a:gd name="connsiteY109" fmla="*/ 1844675 h 2203450"/>
              <a:gd name="connsiteX110" fmla="*/ 361950 w 1943100"/>
              <a:gd name="connsiteY110" fmla="*/ 1825625 h 2203450"/>
              <a:gd name="connsiteX111" fmla="*/ 355600 w 1943100"/>
              <a:gd name="connsiteY111" fmla="*/ 1806575 h 2203450"/>
              <a:gd name="connsiteX112" fmla="*/ 352425 w 1943100"/>
              <a:gd name="connsiteY112" fmla="*/ 1781175 h 2203450"/>
              <a:gd name="connsiteX113" fmla="*/ 355600 w 1943100"/>
              <a:gd name="connsiteY113" fmla="*/ 1758950 h 2203450"/>
              <a:gd name="connsiteX114" fmla="*/ 361950 w 1943100"/>
              <a:gd name="connsiteY114" fmla="*/ 1739900 h 2203450"/>
              <a:gd name="connsiteX115" fmla="*/ 374650 w 1943100"/>
              <a:gd name="connsiteY115" fmla="*/ 1720850 h 2203450"/>
              <a:gd name="connsiteX116" fmla="*/ 393700 w 1943100"/>
              <a:gd name="connsiteY116" fmla="*/ 1704975 h 2203450"/>
              <a:gd name="connsiteX117" fmla="*/ 412750 w 1943100"/>
              <a:gd name="connsiteY117" fmla="*/ 1689100 h 2203450"/>
              <a:gd name="connsiteX118" fmla="*/ 438150 w 1943100"/>
              <a:gd name="connsiteY118" fmla="*/ 1679575 h 2203450"/>
              <a:gd name="connsiteX119" fmla="*/ 463550 w 1943100"/>
              <a:gd name="connsiteY119" fmla="*/ 1673225 h 2203450"/>
              <a:gd name="connsiteX120" fmla="*/ 212725 w 1943100"/>
              <a:gd name="connsiteY120" fmla="*/ 1670050 h 2203450"/>
              <a:gd name="connsiteX121" fmla="*/ 228600 w 1943100"/>
              <a:gd name="connsiteY121" fmla="*/ 1673225 h 2203450"/>
              <a:gd name="connsiteX122" fmla="*/ 244475 w 1943100"/>
              <a:gd name="connsiteY122" fmla="*/ 1676400 h 2203450"/>
              <a:gd name="connsiteX123" fmla="*/ 257175 w 1943100"/>
              <a:gd name="connsiteY123" fmla="*/ 1679575 h 2203450"/>
              <a:gd name="connsiteX124" fmla="*/ 266700 w 1943100"/>
              <a:gd name="connsiteY124" fmla="*/ 1685925 h 2203450"/>
              <a:gd name="connsiteX125" fmla="*/ 276225 w 1943100"/>
              <a:gd name="connsiteY125" fmla="*/ 1692275 h 2203450"/>
              <a:gd name="connsiteX126" fmla="*/ 285750 w 1943100"/>
              <a:gd name="connsiteY126" fmla="*/ 1701800 h 2203450"/>
              <a:gd name="connsiteX127" fmla="*/ 288925 w 1943100"/>
              <a:gd name="connsiteY127" fmla="*/ 1711325 h 2203450"/>
              <a:gd name="connsiteX128" fmla="*/ 288925 w 1943100"/>
              <a:gd name="connsiteY128" fmla="*/ 1724025 h 2203450"/>
              <a:gd name="connsiteX129" fmla="*/ 288925 w 1943100"/>
              <a:gd name="connsiteY129" fmla="*/ 1733550 h 2203450"/>
              <a:gd name="connsiteX130" fmla="*/ 285750 w 1943100"/>
              <a:gd name="connsiteY130" fmla="*/ 1743075 h 2203450"/>
              <a:gd name="connsiteX131" fmla="*/ 276225 w 1943100"/>
              <a:gd name="connsiteY131" fmla="*/ 1752600 h 2203450"/>
              <a:gd name="connsiteX132" fmla="*/ 266700 w 1943100"/>
              <a:gd name="connsiteY132" fmla="*/ 1758950 h 2203450"/>
              <a:gd name="connsiteX133" fmla="*/ 257175 w 1943100"/>
              <a:gd name="connsiteY133" fmla="*/ 1765300 h 2203450"/>
              <a:gd name="connsiteX134" fmla="*/ 244475 w 1943100"/>
              <a:gd name="connsiteY134" fmla="*/ 1771650 h 2203450"/>
              <a:gd name="connsiteX135" fmla="*/ 228600 w 1943100"/>
              <a:gd name="connsiteY135" fmla="*/ 1774825 h 2203450"/>
              <a:gd name="connsiteX136" fmla="*/ 212725 w 1943100"/>
              <a:gd name="connsiteY136" fmla="*/ 1774825 h 2203450"/>
              <a:gd name="connsiteX137" fmla="*/ 196850 w 1943100"/>
              <a:gd name="connsiteY137" fmla="*/ 1774825 h 2203450"/>
              <a:gd name="connsiteX138" fmla="*/ 184150 w 1943100"/>
              <a:gd name="connsiteY138" fmla="*/ 1771650 h 2203450"/>
              <a:gd name="connsiteX139" fmla="*/ 168275 w 1943100"/>
              <a:gd name="connsiteY139" fmla="*/ 1765300 h 2203450"/>
              <a:gd name="connsiteX140" fmla="*/ 158750 w 1943100"/>
              <a:gd name="connsiteY140" fmla="*/ 1758950 h 2203450"/>
              <a:gd name="connsiteX141" fmla="*/ 149225 w 1943100"/>
              <a:gd name="connsiteY141" fmla="*/ 1752600 h 2203450"/>
              <a:gd name="connsiteX142" fmla="*/ 142875 w 1943100"/>
              <a:gd name="connsiteY142" fmla="*/ 1743075 h 2203450"/>
              <a:gd name="connsiteX143" fmla="*/ 136525 w 1943100"/>
              <a:gd name="connsiteY143" fmla="*/ 1733550 h 2203450"/>
              <a:gd name="connsiteX144" fmla="*/ 136525 w 1943100"/>
              <a:gd name="connsiteY144" fmla="*/ 1724025 h 2203450"/>
              <a:gd name="connsiteX145" fmla="*/ 136525 w 1943100"/>
              <a:gd name="connsiteY145" fmla="*/ 1711325 h 2203450"/>
              <a:gd name="connsiteX146" fmla="*/ 142875 w 1943100"/>
              <a:gd name="connsiteY146" fmla="*/ 1701800 h 2203450"/>
              <a:gd name="connsiteX147" fmla="*/ 149225 w 1943100"/>
              <a:gd name="connsiteY147" fmla="*/ 1692275 h 2203450"/>
              <a:gd name="connsiteX148" fmla="*/ 158750 w 1943100"/>
              <a:gd name="connsiteY148" fmla="*/ 1685925 h 2203450"/>
              <a:gd name="connsiteX149" fmla="*/ 168275 w 1943100"/>
              <a:gd name="connsiteY149" fmla="*/ 1679575 h 2203450"/>
              <a:gd name="connsiteX150" fmla="*/ 184150 w 1943100"/>
              <a:gd name="connsiteY150" fmla="*/ 1676400 h 2203450"/>
              <a:gd name="connsiteX151" fmla="*/ 196850 w 1943100"/>
              <a:gd name="connsiteY151" fmla="*/ 1673225 h 2203450"/>
              <a:gd name="connsiteX152" fmla="*/ 44450 w 1943100"/>
              <a:gd name="connsiteY152" fmla="*/ 1260475 h 2203450"/>
              <a:gd name="connsiteX153" fmla="*/ 53975 w 1943100"/>
              <a:gd name="connsiteY153" fmla="*/ 1260475 h 2203450"/>
              <a:gd name="connsiteX154" fmla="*/ 63500 w 1943100"/>
              <a:gd name="connsiteY154" fmla="*/ 1260475 h 2203450"/>
              <a:gd name="connsiteX155" fmla="*/ 76200 w 1943100"/>
              <a:gd name="connsiteY155" fmla="*/ 1266825 h 2203450"/>
              <a:gd name="connsiteX156" fmla="*/ 82550 w 1943100"/>
              <a:gd name="connsiteY156" fmla="*/ 1273175 h 2203450"/>
              <a:gd name="connsiteX157" fmla="*/ 92075 w 1943100"/>
              <a:gd name="connsiteY157" fmla="*/ 1279525 h 2203450"/>
              <a:gd name="connsiteX158" fmla="*/ 98425 w 1943100"/>
              <a:gd name="connsiteY158" fmla="*/ 1289050 h 2203450"/>
              <a:gd name="connsiteX159" fmla="*/ 101600 w 1943100"/>
              <a:gd name="connsiteY159" fmla="*/ 1298575 h 2203450"/>
              <a:gd name="connsiteX160" fmla="*/ 104775 w 1943100"/>
              <a:gd name="connsiteY160" fmla="*/ 1311275 h 2203450"/>
              <a:gd name="connsiteX161" fmla="*/ 107950 w 1943100"/>
              <a:gd name="connsiteY161" fmla="*/ 1323975 h 2203450"/>
              <a:gd name="connsiteX162" fmla="*/ 104775 w 1943100"/>
              <a:gd name="connsiteY162" fmla="*/ 1336675 h 2203450"/>
              <a:gd name="connsiteX163" fmla="*/ 101600 w 1943100"/>
              <a:gd name="connsiteY163" fmla="*/ 1349375 h 2203450"/>
              <a:gd name="connsiteX164" fmla="*/ 98425 w 1943100"/>
              <a:gd name="connsiteY164" fmla="*/ 1362075 h 2203450"/>
              <a:gd name="connsiteX165" fmla="*/ 92075 w 1943100"/>
              <a:gd name="connsiteY165" fmla="*/ 1371600 h 2203450"/>
              <a:gd name="connsiteX166" fmla="*/ 82550 w 1943100"/>
              <a:gd name="connsiteY166" fmla="*/ 1377950 h 2203450"/>
              <a:gd name="connsiteX167" fmla="*/ 76200 w 1943100"/>
              <a:gd name="connsiteY167" fmla="*/ 1384300 h 2203450"/>
              <a:gd name="connsiteX168" fmla="*/ 63500 w 1943100"/>
              <a:gd name="connsiteY168" fmla="*/ 1387475 h 2203450"/>
              <a:gd name="connsiteX169" fmla="*/ 53975 w 1943100"/>
              <a:gd name="connsiteY169" fmla="*/ 1390650 h 2203450"/>
              <a:gd name="connsiteX170" fmla="*/ 44450 w 1943100"/>
              <a:gd name="connsiteY170" fmla="*/ 1387475 h 2203450"/>
              <a:gd name="connsiteX171" fmla="*/ 34925 w 1943100"/>
              <a:gd name="connsiteY171" fmla="*/ 1384300 h 2203450"/>
              <a:gd name="connsiteX172" fmla="*/ 25400 w 1943100"/>
              <a:gd name="connsiteY172" fmla="*/ 1377950 h 2203450"/>
              <a:gd name="connsiteX173" fmla="*/ 15875 w 1943100"/>
              <a:gd name="connsiteY173" fmla="*/ 1371600 h 2203450"/>
              <a:gd name="connsiteX174" fmla="*/ 9525 w 1943100"/>
              <a:gd name="connsiteY174" fmla="*/ 1362075 h 2203450"/>
              <a:gd name="connsiteX175" fmla="*/ 6350 w 1943100"/>
              <a:gd name="connsiteY175" fmla="*/ 1349375 h 2203450"/>
              <a:gd name="connsiteX176" fmla="*/ 3175 w 1943100"/>
              <a:gd name="connsiteY176" fmla="*/ 1336675 h 2203450"/>
              <a:gd name="connsiteX177" fmla="*/ 0 w 1943100"/>
              <a:gd name="connsiteY177" fmla="*/ 1323975 h 2203450"/>
              <a:gd name="connsiteX178" fmla="*/ 3175 w 1943100"/>
              <a:gd name="connsiteY178" fmla="*/ 1311275 h 2203450"/>
              <a:gd name="connsiteX179" fmla="*/ 6350 w 1943100"/>
              <a:gd name="connsiteY179" fmla="*/ 1298575 h 2203450"/>
              <a:gd name="connsiteX180" fmla="*/ 9525 w 1943100"/>
              <a:gd name="connsiteY180" fmla="*/ 1289050 h 2203450"/>
              <a:gd name="connsiteX181" fmla="*/ 15875 w 1943100"/>
              <a:gd name="connsiteY181" fmla="*/ 1279525 h 2203450"/>
              <a:gd name="connsiteX182" fmla="*/ 25400 w 1943100"/>
              <a:gd name="connsiteY182" fmla="*/ 1273175 h 2203450"/>
              <a:gd name="connsiteX183" fmla="*/ 34925 w 1943100"/>
              <a:gd name="connsiteY183" fmla="*/ 1266825 h 2203450"/>
              <a:gd name="connsiteX184" fmla="*/ 171450 w 1943100"/>
              <a:gd name="connsiteY184" fmla="*/ 1098550 h 2203450"/>
              <a:gd name="connsiteX185" fmla="*/ 184150 w 1943100"/>
              <a:gd name="connsiteY185" fmla="*/ 1101725 h 2203450"/>
              <a:gd name="connsiteX186" fmla="*/ 193675 w 1943100"/>
              <a:gd name="connsiteY186" fmla="*/ 1104900 h 2203450"/>
              <a:gd name="connsiteX187" fmla="*/ 206375 w 1943100"/>
              <a:gd name="connsiteY187" fmla="*/ 1108075 h 2203450"/>
              <a:gd name="connsiteX188" fmla="*/ 215900 w 1943100"/>
              <a:gd name="connsiteY188" fmla="*/ 1117600 h 2203450"/>
              <a:gd name="connsiteX189" fmla="*/ 222250 w 1943100"/>
              <a:gd name="connsiteY189" fmla="*/ 1123950 h 2203450"/>
              <a:gd name="connsiteX190" fmla="*/ 228600 w 1943100"/>
              <a:gd name="connsiteY190" fmla="*/ 1136650 h 2203450"/>
              <a:gd name="connsiteX191" fmla="*/ 231775 w 1943100"/>
              <a:gd name="connsiteY191" fmla="*/ 1146175 h 2203450"/>
              <a:gd name="connsiteX192" fmla="*/ 234950 w 1943100"/>
              <a:gd name="connsiteY192" fmla="*/ 1158875 h 2203450"/>
              <a:gd name="connsiteX193" fmla="*/ 231775 w 1943100"/>
              <a:gd name="connsiteY193" fmla="*/ 1168400 h 2203450"/>
              <a:gd name="connsiteX194" fmla="*/ 228600 w 1943100"/>
              <a:gd name="connsiteY194" fmla="*/ 1181100 h 2203450"/>
              <a:gd name="connsiteX195" fmla="*/ 222250 w 1943100"/>
              <a:gd name="connsiteY195" fmla="*/ 1190625 h 2203450"/>
              <a:gd name="connsiteX196" fmla="*/ 215900 w 1943100"/>
              <a:gd name="connsiteY196" fmla="*/ 1200150 h 2203450"/>
              <a:gd name="connsiteX197" fmla="*/ 206375 w 1943100"/>
              <a:gd name="connsiteY197" fmla="*/ 1206500 h 2203450"/>
              <a:gd name="connsiteX198" fmla="*/ 193675 w 1943100"/>
              <a:gd name="connsiteY198" fmla="*/ 1212850 h 2203450"/>
              <a:gd name="connsiteX199" fmla="*/ 184150 w 1943100"/>
              <a:gd name="connsiteY199" fmla="*/ 1216025 h 2203450"/>
              <a:gd name="connsiteX200" fmla="*/ 171450 w 1943100"/>
              <a:gd name="connsiteY200" fmla="*/ 1216025 h 2203450"/>
              <a:gd name="connsiteX201" fmla="*/ 158750 w 1943100"/>
              <a:gd name="connsiteY201" fmla="*/ 1216025 h 2203450"/>
              <a:gd name="connsiteX202" fmla="*/ 146050 w 1943100"/>
              <a:gd name="connsiteY202" fmla="*/ 1212850 h 2203450"/>
              <a:gd name="connsiteX203" fmla="*/ 136525 w 1943100"/>
              <a:gd name="connsiteY203" fmla="*/ 1206500 h 2203450"/>
              <a:gd name="connsiteX204" fmla="*/ 127000 w 1943100"/>
              <a:gd name="connsiteY204" fmla="*/ 1200150 h 2203450"/>
              <a:gd name="connsiteX205" fmla="*/ 117475 w 1943100"/>
              <a:gd name="connsiteY205" fmla="*/ 1190625 h 2203450"/>
              <a:gd name="connsiteX206" fmla="*/ 111125 w 1943100"/>
              <a:gd name="connsiteY206" fmla="*/ 1181100 h 2203450"/>
              <a:gd name="connsiteX207" fmla="*/ 107950 w 1943100"/>
              <a:gd name="connsiteY207" fmla="*/ 1168400 h 2203450"/>
              <a:gd name="connsiteX208" fmla="*/ 107950 w 1943100"/>
              <a:gd name="connsiteY208" fmla="*/ 1158875 h 2203450"/>
              <a:gd name="connsiteX209" fmla="*/ 107950 w 1943100"/>
              <a:gd name="connsiteY209" fmla="*/ 1146175 h 2203450"/>
              <a:gd name="connsiteX210" fmla="*/ 111125 w 1943100"/>
              <a:gd name="connsiteY210" fmla="*/ 1136650 h 2203450"/>
              <a:gd name="connsiteX211" fmla="*/ 117475 w 1943100"/>
              <a:gd name="connsiteY211" fmla="*/ 1123950 h 2203450"/>
              <a:gd name="connsiteX212" fmla="*/ 127000 w 1943100"/>
              <a:gd name="connsiteY212" fmla="*/ 1117600 h 2203450"/>
              <a:gd name="connsiteX213" fmla="*/ 136525 w 1943100"/>
              <a:gd name="connsiteY213" fmla="*/ 1108075 h 2203450"/>
              <a:gd name="connsiteX214" fmla="*/ 146050 w 1943100"/>
              <a:gd name="connsiteY214" fmla="*/ 1104900 h 2203450"/>
              <a:gd name="connsiteX215" fmla="*/ 158750 w 1943100"/>
              <a:gd name="connsiteY215" fmla="*/ 1101725 h 2203450"/>
              <a:gd name="connsiteX216" fmla="*/ 136525 w 1943100"/>
              <a:gd name="connsiteY216" fmla="*/ 812800 h 2203450"/>
              <a:gd name="connsiteX217" fmla="*/ 155575 w 1943100"/>
              <a:gd name="connsiteY217" fmla="*/ 815975 h 2203450"/>
              <a:gd name="connsiteX218" fmla="*/ 174625 w 1943100"/>
              <a:gd name="connsiteY218" fmla="*/ 822325 h 2203450"/>
              <a:gd name="connsiteX219" fmla="*/ 190500 w 1943100"/>
              <a:gd name="connsiteY219" fmla="*/ 831850 h 2203450"/>
              <a:gd name="connsiteX220" fmla="*/ 206375 w 1943100"/>
              <a:gd name="connsiteY220" fmla="*/ 844550 h 2203450"/>
              <a:gd name="connsiteX221" fmla="*/ 215900 w 1943100"/>
              <a:gd name="connsiteY221" fmla="*/ 860425 h 2203450"/>
              <a:gd name="connsiteX222" fmla="*/ 225425 w 1943100"/>
              <a:gd name="connsiteY222" fmla="*/ 879475 h 2203450"/>
              <a:gd name="connsiteX223" fmla="*/ 231775 w 1943100"/>
              <a:gd name="connsiteY223" fmla="*/ 898525 h 2203450"/>
              <a:gd name="connsiteX224" fmla="*/ 234950 w 1943100"/>
              <a:gd name="connsiteY224" fmla="*/ 920750 h 2203450"/>
              <a:gd name="connsiteX225" fmla="*/ 231775 w 1943100"/>
              <a:gd name="connsiteY225" fmla="*/ 939800 h 2203450"/>
              <a:gd name="connsiteX226" fmla="*/ 225425 w 1943100"/>
              <a:gd name="connsiteY226" fmla="*/ 958850 h 2203450"/>
              <a:gd name="connsiteX227" fmla="*/ 215900 w 1943100"/>
              <a:gd name="connsiteY227" fmla="*/ 977900 h 2203450"/>
              <a:gd name="connsiteX228" fmla="*/ 206375 w 1943100"/>
              <a:gd name="connsiteY228" fmla="*/ 993775 h 2203450"/>
              <a:gd name="connsiteX229" fmla="*/ 190500 w 1943100"/>
              <a:gd name="connsiteY229" fmla="*/ 1006475 h 2203450"/>
              <a:gd name="connsiteX230" fmla="*/ 174625 w 1943100"/>
              <a:gd name="connsiteY230" fmla="*/ 1016000 h 2203450"/>
              <a:gd name="connsiteX231" fmla="*/ 155575 w 1943100"/>
              <a:gd name="connsiteY231" fmla="*/ 1022350 h 2203450"/>
              <a:gd name="connsiteX232" fmla="*/ 136525 w 1943100"/>
              <a:gd name="connsiteY232" fmla="*/ 1025525 h 2203450"/>
              <a:gd name="connsiteX233" fmla="*/ 114300 w 1943100"/>
              <a:gd name="connsiteY233" fmla="*/ 1022350 h 2203450"/>
              <a:gd name="connsiteX234" fmla="*/ 98425 w 1943100"/>
              <a:gd name="connsiteY234" fmla="*/ 1016000 h 2203450"/>
              <a:gd name="connsiteX235" fmla="*/ 79375 w 1943100"/>
              <a:gd name="connsiteY235" fmla="*/ 1006475 h 2203450"/>
              <a:gd name="connsiteX236" fmla="*/ 66675 w 1943100"/>
              <a:gd name="connsiteY236" fmla="*/ 993775 h 2203450"/>
              <a:gd name="connsiteX237" fmla="*/ 53975 w 1943100"/>
              <a:gd name="connsiteY237" fmla="*/ 977900 h 2203450"/>
              <a:gd name="connsiteX238" fmla="*/ 44450 w 1943100"/>
              <a:gd name="connsiteY238" fmla="*/ 958850 h 2203450"/>
              <a:gd name="connsiteX239" fmla="*/ 38100 w 1943100"/>
              <a:gd name="connsiteY239" fmla="*/ 939800 h 2203450"/>
              <a:gd name="connsiteX240" fmla="*/ 38100 w 1943100"/>
              <a:gd name="connsiteY240" fmla="*/ 920750 h 2203450"/>
              <a:gd name="connsiteX241" fmla="*/ 38100 w 1943100"/>
              <a:gd name="connsiteY241" fmla="*/ 898525 h 2203450"/>
              <a:gd name="connsiteX242" fmla="*/ 44450 w 1943100"/>
              <a:gd name="connsiteY242" fmla="*/ 879475 h 2203450"/>
              <a:gd name="connsiteX243" fmla="*/ 53975 w 1943100"/>
              <a:gd name="connsiteY243" fmla="*/ 860425 h 2203450"/>
              <a:gd name="connsiteX244" fmla="*/ 66675 w 1943100"/>
              <a:gd name="connsiteY244" fmla="*/ 844550 h 2203450"/>
              <a:gd name="connsiteX245" fmla="*/ 79375 w 1943100"/>
              <a:gd name="connsiteY245" fmla="*/ 831850 h 2203450"/>
              <a:gd name="connsiteX246" fmla="*/ 98425 w 1943100"/>
              <a:gd name="connsiteY246" fmla="*/ 822325 h 2203450"/>
              <a:gd name="connsiteX247" fmla="*/ 114300 w 1943100"/>
              <a:gd name="connsiteY247" fmla="*/ 815975 h 2203450"/>
              <a:gd name="connsiteX248" fmla="*/ 352425 w 1943100"/>
              <a:gd name="connsiteY248" fmla="*/ 698500 h 2203450"/>
              <a:gd name="connsiteX249" fmla="*/ 368300 w 1943100"/>
              <a:gd name="connsiteY249" fmla="*/ 701675 h 2203450"/>
              <a:gd name="connsiteX250" fmla="*/ 381000 w 1943100"/>
              <a:gd name="connsiteY250" fmla="*/ 708025 h 2203450"/>
              <a:gd name="connsiteX251" fmla="*/ 390525 w 1943100"/>
              <a:gd name="connsiteY251" fmla="*/ 720725 h 2203450"/>
              <a:gd name="connsiteX252" fmla="*/ 393700 w 1943100"/>
              <a:gd name="connsiteY252" fmla="*/ 733425 h 2203450"/>
              <a:gd name="connsiteX253" fmla="*/ 390525 w 1943100"/>
              <a:gd name="connsiteY253" fmla="*/ 749300 h 2203450"/>
              <a:gd name="connsiteX254" fmla="*/ 381000 w 1943100"/>
              <a:gd name="connsiteY254" fmla="*/ 762000 h 2203450"/>
              <a:gd name="connsiteX255" fmla="*/ 368300 w 1943100"/>
              <a:gd name="connsiteY255" fmla="*/ 768350 h 2203450"/>
              <a:gd name="connsiteX256" fmla="*/ 352425 w 1943100"/>
              <a:gd name="connsiteY256" fmla="*/ 771525 h 2203450"/>
              <a:gd name="connsiteX257" fmla="*/ 333375 w 1943100"/>
              <a:gd name="connsiteY257" fmla="*/ 768350 h 2203450"/>
              <a:gd name="connsiteX258" fmla="*/ 320675 w 1943100"/>
              <a:gd name="connsiteY258" fmla="*/ 762000 h 2203450"/>
              <a:gd name="connsiteX259" fmla="*/ 311150 w 1943100"/>
              <a:gd name="connsiteY259" fmla="*/ 749300 h 2203450"/>
              <a:gd name="connsiteX260" fmla="*/ 307975 w 1943100"/>
              <a:gd name="connsiteY260" fmla="*/ 733425 h 2203450"/>
              <a:gd name="connsiteX261" fmla="*/ 311150 w 1943100"/>
              <a:gd name="connsiteY261" fmla="*/ 720725 h 2203450"/>
              <a:gd name="connsiteX262" fmla="*/ 320675 w 1943100"/>
              <a:gd name="connsiteY262" fmla="*/ 708025 h 2203450"/>
              <a:gd name="connsiteX263" fmla="*/ 333375 w 1943100"/>
              <a:gd name="connsiteY263" fmla="*/ 701675 h 2203450"/>
              <a:gd name="connsiteX264" fmla="*/ 1809750 w 1943100"/>
              <a:gd name="connsiteY264" fmla="*/ 631825 h 2203450"/>
              <a:gd name="connsiteX265" fmla="*/ 1825625 w 1943100"/>
              <a:gd name="connsiteY265" fmla="*/ 631825 h 2203450"/>
              <a:gd name="connsiteX266" fmla="*/ 1841500 w 1943100"/>
              <a:gd name="connsiteY266" fmla="*/ 631825 h 2203450"/>
              <a:gd name="connsiteX267" fmla="*/ 1863725 w 1943100"/>
              <a:gd name="connsiteY267" fmla="*/ 635000 h 2203450"/>
              <a:gd name="connsiteX268" fmla="*/ 1885950 w 1943100"/>
              <a:gd name="connsiteY268" fmla="*/ 644525 h 2203450"/>
              <a:gd name="connsiteX269" fmla="*/ 1895475 w 1943100"/>
              <a:gd name="connsiteY269" fmla="*/ 654050 h 2203450"/>
              <a:gd name="connsiteX270" fmla="*/ 1908175 w 1943100"/>
              <a:gd name="connsiteY270" fmla="*/ 663575 h 2203450"/>
              <a:gd name="connsiteX271" fmla="*/ 1917700 w 1943100"/>
              <a:gd name="connsiteY271" fmla="*/ 679450 h 2203450"/>
              <a:gd name="connsiteX272" fmla="*/ 1927225 w 1943100"/>
              <a:gd name="connsiteY272" fmla="*/ 695325 h 2203450"/>
              <a:gd name="connsiteX273" fmla="*/ 1933575 w 1943100"/>
              <a:gd name="connsiteY273" fmla="*/ 704850 h 2203450"/>
              <a:gd name="connsiteX274" fmla="*/ 1939925 w 1943100"/>
              <a:gd name="connsiteY274" fmla="*/ 720725 h 2203450"/>
              <a:gd name="connsiteX275" fmla="*/ 1943100 w 1943100"/>
              <a:gd name="connsiteY275" fmla="*/ 739775 h 2203450"/>
              <a:gd name="connsiteX276" fmla="*/ 1943100 w 1943100"/>
              <a:gd name="connsiteY276" fmla="*/ 768350 h 2203450"/>
              <a:gd name="connsiteX277" fmla="*/ 1939925 w 1943100"/>
              <a:gd name="connsiteY277" fmla="*/ 800100 h 2203450"/>
              <a:gd name="connsiteX278" fmla="*/ 1930400 w 1943100"/>
              <a:gd name="connsiteY278" fmla="*/ 841375 h 2203450"/>
              <a:gd name="connsiteX279" fmla="*/ 1911350 w 1943100"/>
              <a:gd name="connsiteY279" fmla="*/ 885825 h 2203450"/>
              <a:gd name="connsiteX280" fmla="*/ 1898650 w 1943100"/>
              <a:gd name="connsiteY280" fmla="*/ 914400 h 2203450"/>
              <a:gd name="connsiteX281" fmla="*/ 1882775 w 1943100"/>
              <a:gd name="connsiteY281" fmla="*/ 939800 h 2203450"/>
              <a:gd name="connsiteX282" fmla="*/ 1863725 w 1943100"/>
              <a:gd name="connsiteY282" fmla="*/ 958850 h 2203450"/>
              <a:gd name="connsiteX283" fmla="*/ 1847850 w 1943100"/>
              <a:gd name="connsiteY283" fmla="*/ 974725 h 2203450"/>
              <a:gd name="connsiteX284" fmla="*/ 1828800 w 1943100"/>
              <a:gd name="connsiteY284" fmla="*/ 987425 h 2203450"/>
              <a:gd name="connsiteX285" fmla="*/ 1809750 w 1943100"/>
              <a:gd name="connsiteY285" fmla="*/ 993775 h 2203450"/>
              <a:gd name="connsiteX286" fmla="*/ 1793875 w 1943100"/>
              <a:gd name="connsiteY286" fmla="*/ 996950 h 2203450"/>
              <a:gd name="connsiteX287" fmla="*/ 1778000 w 1943100"/>
              <a:gd name="connsiteY287" fmla="*/ 990600 h 2203450"/>
              <a:gd name="connsiteX288" fmla="*/ 1765300 w 1943100"/>
              <a:gd name="connsiteY288" fmla="*/ 977900 h 2203450"/>
              <a:gd name="connsiteX289" fmla="*/ 1755775 w 1943100"/>
              <a:gd name="connsiteY289" fmla="*/ 962025 h 2203450"/>
              <a:gd name="connsiteX290" fmla="*/ 1749425 w 1943100"/>
              <a:gd name="connsiteY290" fmla="*/ 942975 h 2203450"/>
              <a:gd name="connsiteX291" fmla="*/ 1746250 w 1943100"/>
              <a:gd name="connsiteY291" fmla="*/ 917575 h 2203450"/>
              <a:gd name="connsiteX292" fmla="*/ 1746250 w 1943100"/>
              <a:gd name="connsiteY292" fmla="*/ 892175 h 2203450"/>
              <a:gd name="connsiteX293" fmla="*/ 1749425 w 1943100"/>
              <a:gd name="connsiteY293" fmla="*/ 863600 h 2203450"/>
              <a:gd name="connsiteX294" fmla="*/ 1755775 w 1943100"/>
              <a:gd name="connsiteY294" fmla="*/ 835025 h 2203450"/>
              <a:gd name="connsiteX295" fmla="*/ 1768475 w 1943100"/>
              <a:gd name="connsiteY295" fmla="*/ 803275 h 2203450"/>
              <a:gd name="connsiteX296" fmla="*/ 1771650 w 1943100"/>
              <a:gd name="connsiteY296" fmla="*/ 796925 h 2203450"/>
              <a:gd name="connsiteX297" fmla="*/ 1774825 w 1943100"/>
              <a:gd name="connsiteY297" fmla="*/ 777875 h 2203450"/>
              <a:gd name="connsiteX298" fmla="*/ 1774825 w 1943100"/>
              <a:gd name="connsiteY298" fmla="*/ 752475 h 2203450"/>
              <a:gd name="connsiteX299" fmla="*/ 1774825 w 1943100"/>
              <a:gd name="connsiteY299" fmla="*/ 739775 h 2203450"/>
              <a:gd name="connsiteX300" fmla="*/ 1768475 w 1943100"/>
              <a:gd name="connsiteY300" fmla="*/ 727075 h 2203450"/>
              <a:gd name="connsiteX301" fmla="*/ 1762125 w 1943100"/>
              <a:gd name="connsiteY301" fmla="*/ 717550 h 2203450"/>
              <a:gd name="connsiteX302" fmla="*/ 1758950 w 1943100"/>
              <a:gd name="connsiteY302" fmla="*/ 708025 h 2203450"/>
              <a:gd name="connsiteX303" fmla="*/ 1755775 w 1943100"/>
              <a:gd name="connsiteY303" fmla="*/ 695325 h 2203450"/>
              <a:gd name="connsiteX304" fmla="*/ 1755775 w 1943100"/>
              <a:gd name="connsiteY304" fmla="*/ 682625 h 2203450"/>
              <a:gd name="connsiteX305" fmla="*/ 1762125 w 1943100"/>
              <a:gd name="connsiteY305" fmla="*/ 666750 h 2203450"/>
              <a:gd name="connsiteX306" fmla="*/ 1774825 w 1943100"/>
              <a:gd name="connsiteY306" fmla="*/ 650875 h 2203450"/>
              <a:gd name="connsiteX307" fmla="*/ 1797050 w 1943100"/>
              <a:gd name="connsiteY307" fmla="*/ 638175 h 2203450"/>
              <a:gd name="connsiteX308" fmla="*/ 504825 w 1943100"/>
              <a:gd name="connsiteY308" fmla="*/ 593725 h 2203450"/>
              <a:gd name="connsiteX309" fmla="*/ 520700 w 1943100"/>
              <a:gd name="connsiteY309" fmla="*/ 596900 h 2203450"/>
              <a:gd name="connsiteX310" fmla="*/ 536575 w 1943100"/>
              <a:gd name="connsiteY310" fmla="*/ 600075 h 2203450"/>
              <a:gd name="connsiteX311" fmla="*/ 549275 w 1943100"/>
              <a:gd name="connsiteY311" fmla="*/ 606425 h 2203450"/>
              <a:gd name="connsiteX312" fmla="*/ 561975 w 1943100"/>
              <a:gd name="connsiteY312" fmla="*/ 612775 h 2203450"/>
              <a:gd name="connsiteX313" fmla="*/ 571500 w 1943100"/>
              <a:gd name="connsiteY313" fmla="*/ 622300 h 2203450"/>
              <a:gd name="connsiteX314" fmla="*/ 581025 w 1943100"/>
              <a:gd name="connsiteY314" fmla="*/ 631825 h 2203450"/>
              <a:gd name="connsiteX315" fmla="*/ 584200 w 1943100"/>
              <a:gd name="connsiteY315" fmla="*/ 641350 h 2203450"/>
              <a:gd name="connsiteX316" fmla="*/ 587375 w 1943100"/>
              <a:gd name="connsiteY316" fmla="*/ 654050 h 2203450"/>
              <a:gd name="connsiteX317" fmla="*/ 584200 w 1943100"/>
              <a:gd name="connsiteY317" fmla="*/ 666750 h 2203450"/>
              <a:gd name="connsiteX318" fmla="*/ 581025 w 1943100"/>
              <a:gd name="connsiteY318" fmla="*/ 679450 h 2203450"/>
              <a:gd name="connsiteX319" fmla="*/ 571500 w 1943100"/>
              <a:gd name="connsiteY319" fmla="*/ 688975 h 2203450"/>
              <a:gd name="connsiteX320" fmla="*/ 561975 w 1943100"/>
              <a:gd name="connsiteY320" fmla="*/ 698500 h 2203450"/>
              <a:gd name="connsiteX321" fmla="*/ 549275 w 1943100"/>
              <a:gd name="connsiteY321" fmla="*/ 704850 h 2203450"/>
              <a:gd name="connsiteX322" fmla="*/ 536575 w 1943100"/>
              <a:gd name="connsiteY322" fmla="*/ 711200 h 2203450"/>
              <a:gd name="connsiteX323" fmla="*/ 520700 w 1943100"/>
              <a:gd name="connsiteY323" fmla="*/ 714375 h 2203450"/>
              <a:gd name="connsiteX324" fmla="*/ 504825 w 1943100"/>
              <a:gd name="connsiteY324" fmla="*/ 714375 h 2203450"/>
              <a:gd name="connsiteX325" fmla="*/ 488950 w 1943100"/>
              <a:gd name="connsiteY325" fmla="*/ 714375 h 2203450"/>
              <a:gd name="connsiteX326" fmla="*/ 473075 w 1943100"/>
              <a:gd name="connsiteY326" fmla="*/ 711200 h 2203450"/>
              <a:gd name="connsiteX327" fmla="*/ 457200 w 1943100"/>
              <a:gd name="connsiteY327" fmla="*/ 704850 h 2203450"/>
              <a:gd name="connsiteX328" fmla="*/ 444500 w 1943100"/>
              <a:gd name="connsiteY328" fmla="*/ 698500 h 2203450"/>
              <a:gd name="connsiteX329" fmla="*/ 434975 w 1943100"/>
              <a:gd name="connsiteY329" fmla="*/ 688975 h 2203450"/>
              <a:gd name="connsiteX330" fmla="*/ 428625 w 1943100"/>
              <a:gd name="connsiteY330" fmla="*/ 679450 h 2203450"/>
              <a:gd name="connsiteX331" fmla="*/ 422275 w 1943100"/>
              <a:gd name="connsiteY331" fmla="*/ 666750 h 2203450"/>
              <a:gd name="connsiteX332" fmla="*/ 422275 w 1943100"/>
              <a:gd name="connsiteY332" fmla="*/ 654050 h 2203450"/>
              <a:gd name="connsiteX333" fmla="*/ 422275 w 1943100"/>
              <a:gd name="connsiteY333" fmla="*/ 641350 h 2203450"/>
              <a:gd name="connsiteX334" fmla="*/ 428625 w 1943100"/>
              <a:gd name="connsiteY334" fmla="*/ 631825 h 2203450"/>
              <a:gd name="connsiteX335" fmla="*/ 434975 w 1943100"/>
              <a:gd name="connsiteY335" fmla="*/ 622300 h 2203450"/>
              <a:gd name="connsiteX336" fmla="*/ 444500 w 1943100"/>
              <a:gd name="connsiteY336" fmla="*/ 612775 h 2203450"/>
              <a:gd name="connsiteX337" fmla="*/ 457200 w 1943100"/>
              <a:gd name="connsiteY337" fmla="*/ 606425 h 2203450"/>
              <a:gd name="connsiteX338" fmla="*/ 473075 w 1943100"/>
              <a:gd name="connsiteY338" fmla="*/ 600075 h 2203450"/>
              <a:gd name="connsiteX339" fmla="*/ 488950 w 1943100"/>
              <a:gd name="connsiteY339" fmla="*/ 596900 h 2203450"/>
              <a:gd name="connsiteX340" fmla="*/ 1581150 w 1943100"/>
              <a:gd name="connsiteY340" fmla="*/ 158750 h 2203450"/>
              <a:gd name="connsiteX341" fmla="*/ 1600200 w 1943100"/>
              <a:gd name="connsiteY341" fmla="*/ 158750 h 2203450"/>
              <a:gd name="connsiteX342" fmla="*/ 1616075 w 1943100"/>
              <a:gd name="connsiteY342" fmla="*/ 165100 h 2203450"/>
              <a:gd name="connsiteX343" fmla="*/ 1635125 w 1943100"/>
              <a:gd name="connsiteY343" fmla="*/ 177800 h 2203450"/>
              <a:gd name="connsiteX344" fmla="*/ 1654175 w 1943100"/>
              <a:gd name="connsiteY344" fmla="*/ 193675 h 2203450"/>
              <a:gd name="connsiteX345" fmla="*/ 1670050 w 1943100"/>
              <a:gd name="connsiteY345" fmla="*/ 215900 h 2203450"/>
              <a:gd name="connsiteX346" fmla="*/ 1685925 w 1943100"/>
              <a:gd name="connsiteY346" fmla="*/ 241300 h 2203450"/>
              <a:gd name="connsiteX347" fmla="*/ 1698625 w 1943100"/>
              <a:gd name="connsiteY347" fmla="*/ 269875 h 2203450"/>
              <a:gd name="connsiteX348" fmla="*/ 1708150 w 1943100"/>
              <a:gd name="connsiteY348" fmla="*/ 298450 h 2203450"/>
              <a:gd name="connsiteX349" fmla="*/ 1714500 w 1943100"/>
              <a:gd name="connsiteY349" fmla="*/ 330200 h 2203450"/>
              <a:gd name="connsiteX350" fmla="*/ 1717675 w 1943100"/>
              <a:gd name="connsiteY350" fmla="*/ 358775 h 2203450"/>
              <a:gd name="connsiteX351" fmla="*/ 1717675 w 1943100"/>
              <a:gd name="connsiteY351" fmla="*/ 387350 h 2203450"/>
              <a:gd name="connsiteX352" fmla="*/ 1714500 w 1943100"/>
              <a:gd name="connsiteY352" fmla="*/ 409575 h 2203450"/>
              <a:gd name="connsiteX353" fmla="*/ 1708150 w 1943100"/>
              <a:gd name="connsiteY353" fmla="*/ 428625 h 2203450"/>
              <a:gd name="connsiteX354" fmla="*/ 1698625 w 1943100"/>
              <a:gd name="connsiteY354" fmla="*/ 444500 h 2203450"/>
              <a:gd name="connsiteX355" fmla="*/ 1685925 w 1943100"/>
              <a:gd name="connsiteY355" fmla="*/ 457200 h 2203450"/>
              <a:gd name="connsiteX356" fmla="*/ 1670050 w 1943100"/>
              <a:gd name="connsiteY356" fmla="*/ 460375 h 2203450"/>
              <a:gd name="connsiteX357" fmla="*/ 1651000 w 1943100"/>
              <a:gd name="connsiteY357" fmla="*/ 460375 h 2203450"/>
              <a:gd name="connsiteX358" fmla="*/ 1631950 w 1943100"/>
              <a:gd name="connsiteY358" fmla="*/ 454025 h 2203450"/>
              <a:gd name="connsiteX359" fmla="*/ 1616075 w 1943100"/>
              <a:gd name="connsiteY359" fmla="*/ 441325 h 2203450"/>
              <a:gd name="connsiteX360" fmla="*/ 1597025 w 1943100"/>
              <a:gd name="connsiteY360" fmla="*/ 422275 h 2203450"/>
              <a:gd name="connsiteX361" fmla="*/ 1581150 w 1943100"/>
              <a:gd name="connsiteY361" fmla="*/ 403225 h 2203450"/>
              <a:gd name="connsiteX362" fmla="*/ 1565275 w 1943100"/>
              <a:gd name="connsiteY362" fmla="*/ 377825 h 2203450"/>
              <a:gd name="connsiteX363" fmla="*/ 1552575 w 1943100"/>
              <a:gd name="connsiteY363" fmla="*/ 349250 h 2203450"/>
              <a:gd name="connsiteX364" fmla="*/ 1543050 w 1943100"/>
              <a:gd name="connsiteY364" fmla="*/ 320675 h 2203450"/>
              <a:gd name="connsiteX365" fmla="*/ 1533525 w 1943100"/>
              <a:gd name="connsiteY365" fmla="*/ 288925 h 2203450"/>
              <a:gd name="connsiteX366" fmla="*/ 1530350 w 1943100"/>
              <a:gd name="connsiteY366" fmla="*/ 260350 h 2203450"/>
              <a:gd name="connsiteX367" fmla="*/ 1530350 w 1943100"/>
              <a:gd name="connsiteY367" fmla="*/ 231775 h 2203450"/>
              <a:gd name="connsiteX368" fmla="*/ 1536700 w 1943100"/>
              <a:gd name="connsiteY368" fmla="*/ 209550 h 2203450"/>
              <a:gd name="connsiteX369" fmla="*/ 1543050 w 1943100"/>
              <a:gd name="connsiteY369" fmla="*/ 190500 h 2203450"/>
              <a:gd name="connsiteX370" fmla="*/ 1552575 w 1943100"/>
              <a:gd name="connsiteY370" fmla="*/ 174625 h 2203450"/>
              <a:gd name="connsiteX371" fmla="*/ 1565275 w 1943100"/>
              <a:gd name="connsiteY371" fmla="*/ 161925 h 2203450"/>
              <a:gd name="connsiteX372" fmla="*/ 1212850 w 1943100"/>
              <a:gd name="connsiteY372" fmla="*/ 98425 h 2203450"/>
              <a:gd name="connsiteX373" fmla="*/ 1241425 w 1943100"/>
              <a:gd name="connsiteY373" fmla="*/ 98425 h 2203450"/>
              <a:gd name="connsiteX374" fmla="*/ 1270000 w 1943100"/>
              <a:gd name="connsiteY374" fmla="*/ 101600 h 2203450"/>
              <a:gd name="connsiteX375" fmla="*/ 1292225 w 1943100"/>
              <a:gd name="connsiteY375" fmla="*/ 111125 h 2203450"/>
              <a:gd name="connsiteX376" fmla="*/ 1314450 w 1943100"/>
              <a:gd name="connsiteY376" fmla="*/ 120650 h 2203450"/>
              <a:gd name="connsiteX377" fmla="*/ 1333500 w 1943100"/>
              <a:gd name="connsiteY377" fmla="*/ 130175 h 2203450"/>
              <a:gd name="connsiteX378" fmla="*/ 1358900 w 1943100"/>
              <a:gd name="connsiteY378" fmla="*/ 149225 h 2203450"/>
              <a:gd name="connsiteX379" fmla="*/ 1368425 w 1943100"/>
              <a:gd name="connsiteY379" fmla="*/ 158750 h 2203450"/>
              <a:gd name="connsiteX380" fmla="*/ 1393825 w 1943100"/>
              <a:gd name="connsiteY380" fmla="*/ 180975 h 2203450"/>
              <a:gd name="connsiteX381" fmla="*/ 1419225 w 1943100"/>
              <a:gd name="connsiteY381" fmla="*/ 206375 h 2203450"/>
              <a:gd name="connsiteX382" fmla="*/ 1435100 w 1943100"/>
              <a:gd name="connsiteY382" fmla="*/ 234950 h 2203450"/>
              <a:gd name="connsiteX383" fmla="*/ 1450975 w 1943100"/>
              <a:gd name="connsiteY383" fmla="*/ 260350 h 2203450"/>
              <a:gd name="connsiteX384" fmla="*/ 1460500 w 1943100"/>
              <a:gd name="connsiteY384" fmla="*/ 285750 h 2203450"/>
              <a:gd name="connsiteX385" fmla="*/ 1470025 w 1943100"/>
              <a:gd name="connsiteY385" fmla="*/ 311150 h 2203450"/>
              <a:gd name="connsiteX386" fmla="*/ 1476375 w 1943100"/>
              <a:gd name="connsiteY386" fmla="*/ 333375 h 2203450"/>
              <a:gd name="connsiteX387" fmla="*/ 1476375 w 1943100"/>
              <a:gd name="connsiteY387" fmla="*/ 358775 h 2203450"/>
              <a:gd name="connsiteX388" fmla="*/ 1479550 w 1943100"/>
              <a:gd name="connsiteY388" fmla="*/ 400050 h 2203450"/>
              <a:gd name="connsiteX389" fmla="*/ 1473200 w 1943100"/>
              <a:gd name="connsiteY389" fmla="*/ 431800 h 2203450"/>
              <a:gd name="connsiteX390" fmla="*/ 1466850 w 1943100"/>
              <a:gd name="connsiteY390" fmla="*/ 460375 h 2203450"/>
              <a:gd name="connsiteX391" fmla="*/ 1457325 w 1943100"/>
              <a:gd name="connsiteY391" fmla="*/ 501650 h 2203450"/>
              <a:gd name="connsiteX392" fmla="*/ 1454150 w 1943100"/>
              <a:gd name="connsiteY392" fmla="*/ 533400 h 2203450"/>
              <a:gd name="connsiteX393" fmla="*/ 1454150 w 1943100"/>
              <a:gd name="connsiteY393" fmla="*/ 561975 h 2203450"/>
              <a:gd name="connsiteX394" fmla="*/ 1457325 w 1943100"/>
              <a:gd name="connsiteY394" fmla="*/ 581025 h 2203450"/>
              <a:gd name="connsiteX395" fmla="*/ 1466850 w 1943100"/>
              <a:gd name="connsiteY395" fmla="*/ 596900 h 2203450"/>
              <a:gd name="connsiteX396" fmla="*/ 1473200 w 1943100"/>
              <a:gd name="connsiteY396" fmla="*/ 609600 h 2203450"/>
              <a:gd name="connsiteX397" fmla="*/ 1482725 w 1943100"/>
              <a:gd name="connsiteY397" fmla="*/ 622300 h 2203450"/>
              <a:gd name="connsiteX398" fmla="*/ 1495425 w 1943100"/>
              <a:gd name="connsiteY398" fmla="*/ 631825 h 2203450"/>
              <a:gd name="connsiteX399" fmla="*/ 1508125 w 1943100"/>
              <a:gd name="connsiteY399" fmla="*/ 638175 h 2203450"/>
              <a:gd name="connsiteX400" fmla="*/ 1530350 w 1943100"/>
              <a:gd name="connsiteY400" fmla="*/ 647700 h 2203450"/>
              <a:gd name="connsiteX401" fmla="*/ 1552575 w 1943100"/>
              <a:gd name="connsiteY401" fmla="*/ 650875 h 2203450"/>
              <a:gd name="connsiteX402" fmla="*/ 1571625 w 1943100"/>
              <a:gd name="connsiteY402" fmla="*/ 650875 h 2203450"/>
              <a:gd name="connsiteX403" fmla="*/ 1590675 w 1943100"/>
              <a:gd name="connsiteY403" fmla="*/ 650875 h 2203450"/>
              <a:gd name="connsiteX404" fmla="*/ 1622425 w 1943100"/>
              <a:gd name="connsiteY404" fmla="*/ 650875 h 2203450"/>
              <a:gd name="connsiteX405" fmla="*/ 1647825 w 1943100"/>
              <a:gd name="connsiteY405" fmla="*/ 654050 h 2203450"/>
              <a:gd name="connsiteX406" fmla="*/ 1670050 w 1943100"/>
              <a:gd name="connsiteY406" fmla="*/ 660400 h 2203450"/>
              <a:gd name="connsiteX407" fmla="*/ 1685925 w 1943100"/>
              <a:gd name="connsiteY407" fmla="*/ 666750 h 2203450"/>
              <a:gd name="connsiteX408" fmla="*/ 1695450 w 1943100"/>
              <a:gd name="connsiteY408" fmla="*/ 676275 h 2203450"/>
              <a:gd name="connsiteX409" fmla="*/ 1701800 w 1943100"/>
              <a:gd name="connsiteY409" fmla="*/ 682625 h 2203450"/>
              <a:gd name="connsiteX410" fmla="*/ 1708150 w 1943100"/>
              <a:gd name="connsiteY410" fmla="*/ 688975 h 2203450"/>
              <a:gd name="connsiteX411" fmla="*/ 1714500 w 1943100"/>
              <a:gd name="connsiteY411" fmla="*/ 698500 h 2203450"/>
              <a:gd name="connsiteX412" fmla="*/ 1717675 w 1943100"/>
              <a:gd name="connsiteY412" fmla="*/ 708025 h 2203450"/>
              <a:gd name="connsiteX413" fmla="*/ 1724025 w 1943100"/>
              <a:gd name="connsiteY413" fmla="*/ 727075 h 2203450"/>
              <a:gd name="connsiteX414" fmla="*/ 1724025 w 1943100"/>
              <a:gd name="connsiteY414" fmla="*/ 749300 h 2203450"/>
              <a:gd name="connsiteX415" fmla="*/ 1717675 w 1943100"/>
              <a:gd name="connsiteY415" fmla="*/ 768350 h 2203450"/>
              <a:gd name="connsiteX416" fmla="*/ 1704975 w 1943100"/>
              <a:gd name="connsiteY416" fmla="*/ 800100 h 2203450"/>
              <a:gd name="connsiteX417" fmla="*/ 1698625 w 1943100"/>
              <a:gd name="connsiteY417" fmla="*/ 809625 h 2203450"/>
              <a:gd name="connsiteX418" fmla="*/ 1676400 w 1943100"/>
              <a:gd name="connsiteY418" fmla="*/ 844550 h 2203450"/>
              <a:gd name="connsiteX419" fmla="*/ 1660525 w 1943100"/>
              <a:gd name="connsiteY419" fmla="*/ 873125 h 2203450"/>
              <a:gd name="connsiteX420" fmla="*/ 1651000 w 1943100"/>
              <a:gd name="connsiteY420" fmla="*/ 898525 h 2203450"/>
              <a:gd name="connsiteX421" fmla="*/ 1644650 w 1943100"/>
              <a:gd name="connsiteY421" fmla="*/ 917575 h 2203450"/>
              <a:gd name="connsiteX422" fmla="*/ 1641475 w 1943100"/>
              <a:gd name="connsiteY422" fmla="*/ 936625 h 2203450"/>
              <a:gd name="connsiteX423" fmla="*/ 1641475 w 1943100"/>
              <a:gd name="connsiteY423" fmla="*/ 949325 h 2203450"/>
              <a:gd name="connsiteX424" fmla="*/ 1641475 w 1943100"/>
              <a:gd name="connsiteY424" fmla="*/ 958850 h 2203450"/>
              <a:gd name="connsiteX425" fmla="*/ 1644650 w 1943100"/>
              <a:gd name="connsiteY425" fmla="*/ 974725 h 2203450"/>
              <a:gd name="connsiteX426" fmla="*/ 1647825 w 1943100"/>
              <a:gd name="connsiteY426" fmla="*/ 990600 h 2203450"/>
              <a:gd name="connsiteX427" fmla="*/ 1654175 w 1943100"/>
              <a:gd name="connsiteY427" fmla="*/ 1003300 h 2203450"/>
              <a:gd name="connsiteX428" fmla="*/ 1663700 w 1943100"/>
              <a:gd name="connsiteY428" fmla="*/ 1012825 h 2203450"/>
              <a:gd name="connsiteX429" fmla="*/ 1673225 w 1943100"/>
              <a:gd name="connsiteY429" fmla="*/ 1022350 h 2203450"/>
              <a:gd name="connsiteX430" fmla="*/ 1682750 w 1943100"/>
              <a:gd name="connsiteY430" fmla="*/ 1031875 h 2203450"/>
              <a:gd name="connsiteX431" fmla="*/ 1704975 w 1943100"/>
              <a:gd name="connsiteY431" fmla="*/ 1041400 h 2203450"/>
              <a:gd name="connsiteX432" fmla="*/ 1724025 w 1943100"/>
              <a:gd name="connsiteY432" fmla="*/ 1047750 h 2203450"/>
              <a:gd name="connsiteX433" fmla="*/ 1743075 w 1943100"/>
              <a:gd name="connsiteY433" fmla="*/ 1047750 h 2203450"/>
              <a:gd name="connsiteX434" fmla="*/ 1762125 w 1943100"/>
              <a:gd name="connsiteY434" fmla="*/ 1047750 h 2203450"/>
              <a:gd name="connsiteX435" fmla="*/ 1800225 w 1943100"/>
              <a:gd name="connsiteY435" fmla="*/ 1050925 h 2203450"/>
              <a:gd name="connsiteX436" fmla="*/ 1835150 w 1943100"/>
              <a:gd name="connsiteY436" fmla="*/ 1057275 h 2203450"/>
              <a:gd name="connsiteX437" fmla="*/ 1860550 w 1943100"/>
              <a:gd name="connsiteY437" fmla="*/ 1066800 h 2203450"/>
              <a:gd name="connsiteX438" fmla="*/ 1882775 w 1943100"/>
              <a:gd name="connsiteY438" fmla="*/ 1076325 h 2203450"/>
              <a:gd name="connsiteX439" fmla="*/ 1898650 w 1943100"/>
              <a:gd name="connsiteY439" fmla="*/ 1089025 h 2203450"/>
              <a:gd name="connsiteX440" fmla="*/ 1911350 w 1943100"/>
              <a:gd name="connsiteY440" fmla="*/ 1098550 h 2203450"/>
              <a:gd name="connsiteX441" fmla="*/ 1920875 w 1943100"/>
              <a:gd name="connsiteY441" fmla="*/ 1111250 h 2203450"/>
              <a:gd name="connsiteX442" fmla="*/ 1927225 w 1943100"/>
              <a:gd name="connsiteY442" fmla="*/ 1120775 h 2203450"/>
              <a:gd name="connsiteX443" fmla="*/ 1933575 w 1943100"/>
              <a:gd name="connsiteY443" fmla="*/ 1133475 h 2203450"/>
              <a:gd name="connsiteX444" fmla="*/ 1936750 w 1943100"/>
              <a:gd name="connsiteY444" fmla="*/ 1143000 h 2203450"/>
              <a:gd name="connsiteX445" fmla="*/ 1936750 w 1943100"/>
              <a:gd name="connsiteY445" fmla="*/ 1152525 h 2203450"/>
              <a:gd name="connsiteX446" fmla="*/ 1933575 w 1943100"/>
              <a:gd name="connsiteY446" fmla="*/ 1162050 h 2203450"/>
              <a:gd name="connsiteX447" fmla="*/ 1927225 w 1943100"/>
              <a:gd name="connsiteY447" fmla="*/ 1171575 h 2203450"/>
              <a:gd name="connsiteX448" fmla="*/ 1914525 w 1943100"/>
              <a:gd name="connsiteY448" fmla="*/ 1187450 h 2203450"/>
              <a:gd name="connsiteX449" fmla="*/ 1898650 w 1943100"/>
              <a:gd name="connsiteY449" fmla="*/ 1200150 h 2203450"/>
              <a:gd name="connsiteX450" fmla="*/ 1882775 w 1943100"/>
              <a:gd name="connsiteY450" fmla="*/ 1209675 h 2203450"/>
              <a:gd name="connsiteX451" fmla="*/ 1866900 w 1943100"/>
              <a:gd name="connsiteY451" fmla="*/ 1216025 h 2203450"/>
              <a:gd name="connsiteX452" fmla="*/ 1847850 w 1943100"/>
              <a:gd name="connsiteY452" fmla="*/ 1222375 h 2203450"/>
              <a:gd name="connsiteX453" fmla="*/ 1835150 w 1943100"/>
              <a:gd name="connsiteY453" fmla="*/ 1228725 h 2203450"/>
              <a:gd name="connsiteX454" fmla="*/ 1809750 w 1943100"/>
              <a:gd name="connsiteY454" fmla="*/ 1247775 h 2203450"/>
              <a:gd name="connsiteX455" fmla="*/ 1793875 w 1943100"/>
              <a:gd name="connsiteY455" fmla="*/ 1266825 h 2203450"/>
              <a:gd name="connsiteX456" fmla="*/ 1781175 w 1943100"/>
              <a:gd name="connsiteY456" fmla="*/ 1289050 h 2203450"/>
              <a:gd name="connsiteX457" fmla="*/ 1771650 w 1943100"/>
              <a:gd name="connsiteY457" fmla="*/ 1308100 h 2203450"/>
              <a:gd name="connsiteX458" fmla="*/ 1768475 w 1943100"/>
              <a:gd name="connsiteY458" fmla="*/ 1323975 h 2203450"/>
              <a:gd name="connsiteX459" fmla="*/ 1768475 w 1943100"/>
              <a:gd name="connsiteY459" fmla="*/ 1336675 h 2203450"/>
              <a:gd name="connsiteX460" fmla="*/ 1765300 w 1943100"/>
              <a:gd name="connsiteY460" fmla="*/ 1362075 h 2203450"/>
              <a:gd name="connsiteX461" fmla="*/ 1758950 w 1943100"/>
              <a:gd name="connsiteY461" fmla="*/ 1381125 h 2203450"/>
              <a:gd name="connsiteX462" fmla="*/ 1752600 w 1943100"/>
              <a:gd name="connsiteY462" fmla="*/ 1400175 h 2203450"/>
              <a:gd name="connsiteX463" fmla="*/ 1743075 w 1943100"/>
              <a:gd name="connsiteY463" fmla="*/ 1416050 h 2203450"/>
              <a:gd name="connsiteX464" fmla="*/ 1724025 w 1943100"/>
              <a:gd name="connsiteY464" fmla="*/ 1441450 h 2203450"/>
              <a:gd name="connsiteX465" fmla="*/ 1704975 w 1943100"/>
              <a:gd name="connsiteY465" fmla="*/ 1463675 h 2203450"/>
              <a:gd name="connsiteX466" fmla="*/ 1682750 w 1943100"/>
              <a:gd name="connsiteY466" fmla="*/ 1476375 h 2203450"/>
              <a:gd name="connsiteX467" fmla="*/ 1663700 w 1943100"/>
              <a:gd name="connsiteY467" fmla="*/ 1485900 h 2203450"/>
              <a:gd name="connsiteX468" fmla="*/ 1647825 w 1943100"/>
              <a:gd name="connsiteY468" fmla="*/ 1489075 h 2203450"/>
              <a:gd name="connsiteX469" fmla="*/ 1625600 w 1943100"/>
              <a:gd name="connsiteY469" fmla="*/ 1498600 h 2203450"/>
              <a:gd name="connsiteX470" fmla="*/ 1606550 w 1943100"/>
              <a:gd name="connsiteY470" fmla="*/ 1504950 h 2203450"/>
              <a:gd name="connsiteX471" fmla="*/ 1593850 w 1943100"/>
              <a:gd name="connsiteY471" fmla="*/ 1514475 h 2203450"/>
              <a:gd name="connsiteX472" fmla="*/ 1581150 w 1943100"/>
              <a:gd name="connsiteY472" fmla="*/ 1524000 h 2203450"/>
              <a:gd name="connsiteX473" fmla="*/ 1571625 w 1943100"/>
              <a:gd name="connsiteY473" fmla="*/ 1533525 h 2203450"/>
              <a:gd name="connsiteX474" fmla="*/ 1565275 w 1943100"/>
              <a:gd name="connsiteY474" fmla="*/ 1543050 h 2203450"/>
              <a:gd name="connsiteX475" fmla="*/ 1555750 w 1943100"/>
              <a:gd name="connsiteY475" fmla="*/ 1565275 h 2203450"/>
              <a:gd name="connsiteX476" fmla="*/ 1555750 w 1943100"/>
              <a:gd name="connsiteY476" fmla="*/ 1581150 h 2203450"/>
              <a:gd name="connsiteX477" fmla="*/ 1555750 w 1943100"/>
              <a:gd name="connsiteY477" fmla="*/ 1597025 h 2203450"/>
              <a:gd name="connsiteX478" fmla="*/ 1562100 w 1943100"/>
              <a:gd name="connsiteY478" fmla="*/ 1612900 h 2203450"/>
              <a:gd name="connsiteX479" fmla="*/ 1568450 w 1943100"/>
              <a:gd name="connsiteY479" fmla="*/ 1628775 h 2203450"/>
              <a:gd name="connsiteX480" fmla="*/ 1571625 w 1943100"/>
              <a:gd name="connsiteY480" fmla="*/ 1644650 h 2203450"/>
              <a:gd name="connsiteX481" fmla="*/ 1571625 w 1943100"/>
              <a:gd name="connsiteY481" fmla="*/ 1660525 h 2203450"/>
              <a:gd name="connsiteX482" fmla="*/ 1565275 w 1943100"/>
              <a:gd name="connsiteY482" fmla="*/ 1673225 h 2203450"/>
              <a:gd name="connsiteX483" fmla="*/ 1555750 w 1943100"/>
              <a:gd name="connsiteY483" fmla="*/ 1692275 h 2203450"/>
              <a:gd name="connsiteX484" fmla="*/ 1549400 w 1943100"/>
              <a:gd name="connsiteY484" fmla="*/ 1701800 h 2203450"/>
              <a:gd name="connsiteX485" fmla="*/ 1524000 w 1943100"/>
              <a:gd name="connsiteY485" fmla="*/ 1717675 h 2203450"/>
              <a:gd name="connsiteX486" fmla="*/ 1495425 w 1943100"/>
              <a:gd name="connsiteY486" fmla="*/ 1724025 h 2203450"/>
              <a:gd name="connsiteX487" fmla="*/ 1473200 w 1943100"/>
              <a:gd name="connsiteY487" fmla="*/ 1727200 h 2203450"/>
              <a:gd name="connsiteX488" fmla="*/ 1450975 w 1943100"/>
              <a:gd name="connsiteY488" fmla="*/ 1727200 h 2203450"/>
              <a:gd name="connsiteX489" fmla="*/ 1435100 w 1943100"/>
              <a:gd name="connsiteY489" fmla="*/ 1724025 h 2203450"/>
              <a:gd name="connsiteX490" fmla="*/ 1422400 w 1943100"/>
              <a:gd name="connsiteY490" fmla="*/ 1720850 h 2203450"/>
              <a:gd name="connsiteX491" fmla="*/ 1409700 w 1943100"/>
              <a:gd name="connsiteY491" fmla="*/ 1714500 h 2203450"/>
              <a:gd name="connsiteX492" fmla="*/ 1374775 w 1943100"/>
              <a:gd name="connsiteY492" fmla="*/ 1698625 h 2203450"/>
              <a:gd name="connsiteX493" fmla="*/ 1339850 w 1943100"/>
              <a:gd name="connsiteY493" fmla="*/ 1689100 h 2203450"/>
              <a:gd name="connsiteX494" fmla="*/ 1311275 w 1943100"/>
              <a:gd name="connsiteY494" fmla="*/ 1679575 h 2203450"/>
              <a:gd name="connsiteX495" fmla="*/ 1282700 w 1943100"/>
              <a:gd name="connsiteY495" fmla="*/ 1676400 h 2203450"/>
              <a:gd name="connsiteX496" fmla="*/ 1254125 w 1943100"/>
              <a:gd name="connsiteY496" fmla="*/ 1676400 h 2203450"/>
              <a:gd name="connsiteX497" fmla="*/ 1228725 w 1943100"/>
              <a:gd name="connsiteY497" fmla="*/ 1679575 h 2203450"/>
              <a:gd name="connsiteX498" fmla="*/ 1206500 w 1943100"/>
              <a:gd name="connsiteY498" fmla="*/ 1682750 h 2203450"/>
              <a:gd name="connsiteX499" fmla="*/ 1187450 w 1943100"/>
              <a:gd name="connsiteY499" fmla="*/ 1689100 h 2203450"/>
              <a:gd name="connsiteX500" fmla="*/ 1155700 w 1943100"/>
              <a:gd name="connsiteY500" fmla="*/ 1704975 h 2203450"/>
              <a:gd name="connsiteX501" fmla="*/ 1130300 w 1943100"/>
              <a:gd name="connsiteY501" fmla="*/ 1720850 h 2203450"/>
              <a:gd name="connsiteX502" fmla="*/ 1111250 w 1943100"/>
              <a:gd name="connsiteY502" fmla="*/ 1736725 h 2203450"/>
              <a:gd name="connsiteX503" fmla="*/ 1079500 w 1943100"/>
              <a:gd name="connsiteY503" fmla="*/ 1768475 h 2203450"/>
              <a:gd name="connsiteX504" fmla="*/ 1047750 w 1943100"/>
              <a:gd name="connsiteY504" fmla="*/ 1790700 h 2203450"/>
              <a:gd name="connsiteX505" fmla="*/ 1019175 w 1943100"/>
              <a:gd name="connsiteY505" fmla="*/ 1806575 h 2203450"/>
              <a:gd name="connsiteX506" fmla="*/ 993775 w 1943100"/>
              <a:gd name="connsiteY506" fmla="*/ 1816100 h 2203450"/>
              <a:gd name="connsiteX507" fmla="*/ 971550 w 1943100"/>
              <a:gd name="connsiteY507" fmla="*/ 1819275 h 2203450"/>
              <a:gd name="connsiteX508" fmla="*/ 952500 w 1943100"/>
              <a:gd name="connsiteY508" fmla="*/ 1819275 h 2203450"/>
              <a:gd name="connsiteX509" fmla="*/ 939800 w 1943100"/>
              <a:gd name="connsiteY509" fmla="*/ 1819275 h 2203450"/>
              <a:gd name="connsiteX510" fmla="*/ 908050 w 1943100"/>
              <a:gd name="connsiteY510" fmla="*/ 1812925 h 2203450"/>
              <a:gd name="connsiteX511" fmla="*/ 882650 w 1943100"/>
              <a:gd name="connsiteY511" fmla="*/ 1803400 h 2203450"/>
              <a:gd name="connsiteX512" fmla="*/ 863600 w 1943100"/>
              <a:gd name="connsiteY512" fmla="*/ 1787525 h 2203450"/>
              <a:gd name="connsiteX513" fmla="*/ 850900 w 1943100"/>
              <a:gd name="connsiteY513" fmla="*/ 1774825 h 2203450"/>
              <a:gd name="connsiteX514" fmla="*/ 841375 w 1943100"/>
              <a:gd name="connsiteY514" fmla="*/ 1758950 h 2203450"/>
              <a:gd name="connsiteX515" fmla="*/ 835025 w 1943100"/>
              <a:gd name="connsiteY515" fmla="*/ 1746250 h 2203450"/>
              <a:gd name="connsiteX516" fmla="*/ 831850 w 1943100"/>
              <a:gd name="connsiteY516" fmla="*/ 1736725 h 2203450"/>
              <a:gd name="connsiteX517" fmla="*/ 825500 w 1943100"/>
              <a:gd name="connsiteY517" fmla="*/ 1708150 h 2203450"/>
              <a:gd name="connsiteX518" fmla="*/ 812800 w 1943100"/>
              <a:gd name="connsiteY518" fmla="*/ 1685925 h 2203450"/>
              <a:gd name="connsiteX519" fmla="*/ 800100 w 1943100"/>
              <a:gd name="connsiteY519" fmla="*/ 1670050 h 2203450"/>
              <a:gd name="connsiteX520" fmla="*/ 784225 w 1943100"/>
              <a:gd name="connsiteY520" fmla="*/ 1660525 h 2203450"/>
              <a:gd name="connsiteX521" fmla="*/ 768350 w 1943100"/>
              <a:gd name="connsiteY521" fmla="*/ 1654175 h 2203450"/>
              <a:gd name="connsiteX522" fmla="*/ 755650 w 1943100"/>
              <a:gd name="connsiteY522" fmla="*/ 1651000 h 2203450"/>
              <a:gd name="connsiteX523" fmla="*/ 742950 w 1943100"/>
              <a:gd name="connsiteY523" fmla="*/ 1651000 h 2203450"/>
              <a:gd name="connsiteX524" fmla="*/ 717550 w 1943100"/>
              <a:gd name="connsiteY524" fmla="*/ 1651000 h 2203450"/>
              <a:gd name="connsiteX525" fmla="*/ 698500 w 1943100"/>
              <a:gd name="connsiteY525" fmla="*/ 1644650 h 2203450"/>
              <a:gd name="connsiteX526" fmla="*/ 679450 w 1943100"/>
              <a:gd name="connsiteY526" fmla="*/ 1635125 h 2203450"/>
              <a:gd name="connsiteX527" fmla="*/ 663575 w 1943100"/>
              <a:gd name="connsiteY527" fmla="*/ 1625600 h 2203450"/>
              <a:gd name="connsiteX528" fmla="*/ 654050 w 1943100"/>
              <a:gd name="connsiteY528" fmla="*/ 1612900 h 2203450"/>
              <a:gd name="connsiteX529" fmla="*/ 644525 w 1943100"/>
              <a:gd name="connsiteY529" fmla="*/ 1603375 h 2203450"/>
              <a:gd name="connsiteX530" fmla="*/ 638175 w 1943100"/>
              <a:gd name="connsiteY530" fmla="*/ 1593850 h 2203450"/>
              <a:gd name="connsiteX531" fmla="*/ 628650 w 1943100"/>
              <a:gd name="connsiteY531" fmla="*/ 1577975 h 2203450"/>
              <a:gd name="connsiteX532" fmla="*/ 615950 w 1943100"/>
              <a:gd name="connsiteY532" fmla="*/ 1568450 h 2203450"/>
              <a:gd name="connsiteX533" fmla="*/ 600075 w 1943100"/>
              <a:gd name="connsiteY533" fmla="*/ 1558925 h 2203450"/>
              <a:gd name="connsiteX534" fmla="*/ 587375 w 1943100"/>
              <a:gd name="connsiteY534" fmla="*/ 1552575 h 2203450"/>
              <a:gd name="connsiteX535" fmla="*/ 571500 w 1943100"/>
              <a:gd name="connsiteY535" fmla="*/ 1549400 h 2203450"/>
              <a:gd name="connsiteX536" fmla="*/ 555625 w 1943100"/>
              <a:gd name="connsiteY536" fmla="*/ 1546225 h 2203450"/>
              <a:gd name="connsiteX537" fmla="*/ 523875 w 1943100"/>
              <a:gd name="connsiteY537" fmla="*/ 1546225 h 2203450"/>
              <a:gd name="connsiteX538" fmla="*/ 495300 w 1943100"/>
              <a:gd name="connsiteY538" fmla="*/ 1552575 h 2203450"/>
              <a:gd name="connsiteX539" fmla="*/ 469900 w 1943100"/>
              <a:gd name="connsiteY539" fmla="*/ 1558925 h 2203450"/>
              <a:gd name="connsiteX540" fmla="*/ 447675 w 1943100"/>
              <a:gd name="connsiteY540" fmla="*/ 1568450 h 2203450"/>
              <a:gd name="connsiteX541" fmla="*/ 406400 w 1943100"/>
              <a:gd name="connsiteY541" fmla="*/ 1581150 h 2203450"/>
              <a:gd name="connsiteX542" fmla="*/ 368300 w 1943100"/>
              <a:gd name="connsiteY542" fmla="*/ 1587500 h 2203450"/>
              <a:gd name="connsiteX543" fmla="*/ 333375 w 1943100"/>
              <a:gd name="connsiteY543" fmla="*/ 1590675 h 2203450"/>
              <a:gd name="connsiteX544" fmla="*/ 304800 w 1943100"/>
              <a:gd name="connsiteY544" fmla="*/ 1593850 h 2203450"/>
              <a:gd name="connsiteX545" fmla="*/ 279400 w 1943100"/>
              <a:gd name="connsiteY545" fmla="*/ 1593850 h 2203450"/>
              <a:gd name="connsiteX546" fmla="*/ 254000 w 1943100"/>
              <a:gd name="connsiteY546" fmla="*/ 1590675 h 2203450"/>
              <a:gd name="connsiteX547" fmla="*/ 234950 w 1943100"/>
              <a:gd name="connsiteY547" fmla="*/ 1584325 h 2203450"/>
              <a:gd name="connsiteX548" fmla="*/ 219075 w 1943100"/>
              <a:gd name="connsiteY548" fmla="*/ 1581150 h 2203450"/>
              <a:gd name="connsiteX549" fmla="*/ 193675 w 1943100"/>
              <a:gd name="connsiteY549" fmla="*/ 1565275 h 2203450"/>
              <a:gd name="connsiteX550" fmla="*/ 180975 w 1943100"/>
              <a:gd name="connsiteY550" fmla="*/ 1552575 h 2203450"/>
              <a:gd name="connsiteX551" fmla="*/ 171450 w 1943100"/>
              <a:gd name="connsiteY551" fmla="*/ 1543050 h 2203450"/>
              <a:gd name="connsiteX552" fmla="*/ 168275 w 1943100"/>
              <a:gd name="connsiteY552" fmla="*/ 1536700 h 2203450"/>
              <a:gd name="connsiteX553" fmla="*/ 161925 w 1943100"/>
              <a:gd name="connsiteY553" fmla="*/ 1517650 h 2203450"/>
              <a:gd name="connsiteX554" fmla="*/ 155575 w 1943100"/>
              <a:gd name="connsiteY554" fmla="*/ 1495425 h 2203450"/>
              <a:gd name="connsiteX555" fmla="*/ 152400 w 1943100"/>
              <a:gd name="connsiteY555" fmla="*/ 1476375 h 2203450"/>
              <a:gd name="connsiteX556" fmla="*/ 152400 w 1943100"/>
              <a:gd name="connsiteY556" fmla="*/ 1457325 h 2203450"/>
              <a:gd name="connsiteX557" fmla="*/ 155575 w 1943100"/>
              <a:gd name="connsiteY557" fmla="*/ 1422400 h 2203450"/>
              <a:gd name="connsiteX558" fmla="*/ 165100 w 1943100"/>
              <a:gd name="connsiteY558" fmla="*/ 1390650 h 2203450"/>
              <a:gd name="connsiteX559" fmla="*/ 180975 w 1943100"/>
              <a:gd name="connsiteY559" fmla="*/ 1358900 h 2203450"/>
              <a:gd name="connsiteX560" fmla="*/ 200025 w 1943100"/>
              <a:gd name="connsiteY560" fmla="*/ 1333500 h 2203450"/>
              <a:gd name="connsiteX561" fmla="*/ 225425 w 1943100"/>
              <a:gd name="connsiteY561" fmla="*/ 1308100 h 2203450"/>
              <a:gd name="connsiteX562" fmla="*/ 250825 w 1943100"/>
              <a:gd name="connsiteY562" fmla="*/ 1289050 h 2203450"/>
              <a:gd name="connsiteX563" fmla="*/ 276225 w 1943100"/>
              <a:gd name="connsiteY563" fmla="*/ 1270000 h 2203450"/>
              <a:gd name="connsiteX564" fmla="*/ 304800 w 1943100"/>
              <a:gd name="connsiteY564" fmla="*/ 1254125 h 2203450"/>
              <a:gd name="connsiteX565" fmla="*/ 352425 w 1943100"/>
              <a:gd name="connsiteY565" fmla="*/ 1228725 h 2203450"/>
              <a:gd name="connsiteX566" fmla="*/ 387350 w 1943100"/>
              <a:gd name="connsiteY566" fmla="*/ 1212850 h 2203450"/>
              <a:gd name="connsiteX567" fmla="*/ 403225 w 1943100"/>
              <a:gd name="connsiteY567" fmla="*/ 1209675 h 2203450"/>
              <a:gd name="connsiteX568" fmla="*/ 441325 w 1943100"/>
              <a:gd name="connsiteY568" fmla="*/ 1193800 h 2203450"/>
              <a:gd name="connsiteX569" fmla="*/ 473075 w 1943100"/>
              <a:gd name="connsiteY569" fmla="*/ 1177925 h 2203450"/>
              <a:gd name="connsiteX570" fmla="*/ 495300 w 1943100"/>
              <a:gd name="connsiteY570" fmla="*/ 1158875 h 2203450"/>
              <a:gd name="connsiteX571" fmla="*/ 511175 w 1943100"/>
              <a:gd name="connsiteY571" fmla="*/ 1143000 h 2203450"/>
              <a:gd name="connsiteX572" fmla="*/ 523875 w 1943100"/>
              <a:gd name="connsiteY572" fmla="*/ 1123950 h 2203450"/>
              <a:gd name="connsiteX573" fmla="*/ 530225 w 1943100"/>
              <a:gd name="connsiteY573" fmla="*/ 1111250 h 2203450"/>
              <a:gd name="connsiteX574" fmla="*/ 533400 w 1943100"/>
              <a:gd name="connsiteY574" fmla="*/ 1101725 h 2203450"/>
              <a:gd name="connsiteX575" fmla="*/ 533400 w 1943100"/>
              <a:gd name="connsiteY575" fmla="*/ 1076325 h 2203450"/>
              <a:gd name="connsiteX576" fmla="*/ 527050 w 1943100"/>
              <a:gd name="connsiteY576" fmla="*/ 1060450 h 2203450"/>
              <a:gd name="connsiteX577" fmla="*/ 517525 w 1943100"/>
              <a:gd name="connsiteY577" fmla="*/ 1044575 h 2203450"/>
              <a:gd name="connsiteX578" fmla="*/ 508000 w 1943100"/>
              <a:gd name="connsiteY578" fmla="*/ 1035050 h 2203450"/>
              <a:gd name="connsiteX579" fmla="*/ 498475 w 1943100"/>
              <a:gd name="connsiteY579" fmla="*/ 1028700 h 2203450"/>
              <a:gd name="connsiteX580" fmla="*/ 492125 w 1943100"/>
              <a:gd name="connsiteY580" fmla="*/ 1022350 h 2203450"/>
              <a:gd name="connsiteX581" fmla="*/ 482600 w 1943100"/>
              <a:gd name="connsiteY581" fmla="*/ 1019175 h 2203450"/>
              <a:gd name="connsiteX582" fmla="*/ 454025 w 1943100"/>
              <a:gd name="connsiteY582" fmla="*/ 1012825 h 2203450"/>
              <a:gd name="connsiteX583" fmla="*/ 428625 w 1943100"/>
              <a:gd name="connsiteY583" fmla="*/ 1003300 h 2203450"/>
              <a:gd name="connsiteX584" fmla="*/ 406400 w 1943100"/>
              <a:gd name="connsiteY584" fmla="*/ 993775 h 2203450"/>
              <a:gd name="connsiteX585" fmla="*/ 387350 w 1943100"/>
              <a:gd name="connsiteY585" fmla="*/ 984250 h 2203450"/>
              <a:gd name="connsiteX586" fmla="*/ 358775 w 1943100"/>
              <a:gd name="connsiteY586" fmla="*/ 962025 h 2203450"/>
              <a:gd name="connsiteX587" fmla="*/ 339725 w 1943100"/>
              <a:gd name="connsiteY587" fmla="*/ 939800 h 2203450"/>
              <a:gd name="connsiteX588" fmla="*/ 327025 w 1943100"/>
              <a:gd name="connsiteY588" fmla="*/ 920750 h 2203450"/>
              <a:gd name="connsiteX589" fmla="*/ 320675 w 1943100"/>
              <a:gd name="connsiteY589" fmla="*/ 908050 h 2203450"/>
              <a:gd name="connsiteX590" fmla="*/ 320675 w 1943100"/>
              <a:gd name="connsiteY590" fmla="*/ 892175 h 2203450"/>
              <a:gd name="connsiteX591" fmla="*/ 323850 w 1943100"/>
              <a:gd name="connsiteY591" fmla="*/ 876300 h 2203450"/>
              <a:gd name="connsiteX592" fmla="*/ 333375 w 1943100"/>
              <a:gd name="connsiteY592" fmla="*/ 860425 h 2203450"/>
              <a:gd name="connsiteX593" fmla="*/ 342900 w 1943100"/>
              <a:gd name="connsiteY593" fmla="*/ 847725 h 2203450"/>
              <a:gd name="connsiteX594" fmla="*/ 358775 w 1943100"/>
              <a:gd name="connsiteY594" fmla="*/ 835025 h 2203450"/>
              <a:gd name="connsiteX595" fmla="*/ 377825 w 1943100"/>
              <a:gd name="connsiteY595" fmla="*/ 825500 h 2203450"/>
              <a:gd name="connsiteX596" fmla="*/ 396875 w 1943100"/>
              <a:gd name="connsiteY596" fmla="*/ 819150 h 2203450"/>
              <a:gd name="connsiteX597" fmla="*/ 438150 w 1943100"/>
              <a:gd name="connsiteY597" fmla="*/ 809625 h 2203450"/>
              <a:gd name="connsiteX598" fmla="*/ 482600 w 1943100"/>
              <a:gd name="connsiteY598" fmla="*/ 803275 h 2203450"/>
              <a:gd name="connsiteX599" fmla="*/ 517525 w 1943100"/>
              <a:gd name="connsiteY599" fmla="*/ 800100 h 2203450"/>
              <a:gd name="connsiteX600" fmla="*/ 555625 w 1943100"/>
              <a:gd name="connsiteY600" fmla="*/ 800100 h 2203450"/>
              <a:gd name="connsiteX601" fmla="*/ 581025 w 1943100"/>
              <a:gd name="connsiteY601" fmla="*/ 800100 h 2203450"/>
              <a:gd name="connsiteX602" fmla="*/ 606425 w 1943100"/>
              <a:gd name="connsiteY602" fmla="*/ 796925 h 2203450"/>
              <a:gd name="connsiteX603" fmla="*/ 650875 w 1943100"/>
              <a:gd name="connsiteY603" fmla="*/ 787400 h 2203450"/>
              <a:gd name="connsiteX604" fmla="*/ 682625 w 1943100"/>
              <a:gd name="connsiteY604" fmla="*/ 774700 h 2203450"/>
              <a:gd name="connsiteX605" fmla="*/ 704850 w 1943100"/>
              <a:gd name="connsiteY605" fmla="*/ 758825 h 2203450"/>
              <a:gd name="connsiteX606" fmla="*/ 720725 w 1943100"/>
              <a:gd name="connsiteY606" fmla="*/ 742950 h 2203450"/>
              <a:gd name="connsiteX607" fmla="*/ 730250 w 1943100"/>
              <a:gd name="connsiteY607" fmla="*/ 730250 h 2203450"/>
              <a:gd name="connsiteX608" fmla="*/ 736600 w 1943100"/>
              <a:gd name="connsiteY608" fmla="*/ 717550 h 2203450"/>
              <a:gd name="connsiteX609" fmla="*/ 742950 w 1943100"/>
              <a:gd name="connsiteY609" fmla="*/ 688975 h 2203450"/>
              <a:gd name="connsiteX610" fmla="*/ 742950 w 1943100"/>
              <a:gd name="connsiteY610" fmla="*/ 666750 h 2203450"/>
              <a:gd name="connsiteX611" fmla="*/ 739775 w 1943100"/>
              <a:gd name="connsiteY611" fmla="*/ 647700 h 2203450"/>
              <a:gd name="connsiteX612" fmla="*/ 733425 w 1943100"/>
              <a:gd name="connsiteY612" fmla="*/ 631825 h 2203450"/>
              <a:gd name="connsiteX613" fmla="*/ 727075 w 1943100"/>
              <a:gd name="connsiteY613" fmla="*/ 619125 h 2203450"/>
              <a:gd name="connsiteX614" fmla="*/ 717550 w 1943100"/>
              <a:gd name="connsiteY614" fmla="*/ 609600 h 2203450"/>
              <a:gd name="connsiteX615" fmla="*/ 711200 w 1943100"/>
              <a:gd name="connsiteY615" fmla="*/ 603250 h 2203450"/>
              <a:gd name="connsiteX616" fmla="*/ 685800 w 1943100"/>
              <a:gd name="connsiteY616" fmla="*/ 574675 h 2203450"/>
              <a:gd name="connsiteX617" fmla="*/ 666750 w 1943100"/>
              <a:gd name="connsiteY617" fmla="*/ 549275 h 2203450"/>
              <a:gd name="connsiteX618" fmla="*/ 657225 w 1943100"/>
              <a:gd name="connsiteY618" fmla="*/ 527050 h 2203450"/>
              <a:gd name="connsiteX619" fmla="*/ 654050 w 1943100"/>
              <a:gd name="connsiteY619" fmla="*/ 504825 h 2203450"/>
              <a:gd name="connsiteX620" fmla="*/ 650875 w 1943100"/>
              <a:gd name="connsiteY620" fmla="*/ 485775 h 2203450"/>
              <a:gd name="connsiteX621" fmla="*/ 654050 w 1943100"/>
              <a:gd name="connsiteY621" fmla="*/ 469900 h 2203450"/>
              <a:gd name="connsiteX622" fmla="*/ 657225 w 1943100"/>
              <a:gd name="connsiteY622" fmla="*/ 457200 h 2203450"/>
              <a:gd name="connsiteX623" fmla="*/ 663575 w 1943100"/>
              <a:gd name="connsiteY623" fmla="*/ 441325 h 2203450"/>
              <a:gd name="connsiteX624" fmla="*/ 673100 w 1943100"/>
              <a:gd name="connsiteY624" fmla="*/ 428625 h 2203450"/>
              <a:gd name="connsiteX625" fmla="*/ 682625 w 1943100"/>
              <a:gd name="connsiteY625" fmla="*/ 419100 h 2203450"/>
              <a:gd name="connsiteX626" fmla="*/ 692150 w 1943100"/>
              <a:gd name="connsiteY626" fmla="*/ 409575 h 2203450"/>
              <a:gd name="connsiteX627" fmla="*/ 704850 w 1943100"/>
              <a:gd name="connsiteY627" fmla="*/ 406400 h 2203450"/>
              <a:gd name="connsiteX628" fmla="*/ 717550 w 1943100"/>
              <a:gd name="connsiteY628" fmla="*/ 403225 h 2203450"/>
              <a:gd name="connsiteX629" fmla="*/ 746125 w 1943100"/>
              <a:gd name="connsiteY629" fmla="*/ 400050 h 2203450"/>
              <a:gd name="connsiteX630" fmla="*/ 768350 w 1943100"/>
              <a:gd name="connsiteY630" fmla="*/ 403225 h 2203450"/>
              <a:gd name="connsiteX631" fmla="*/ 790575 w 1943100"/>
              <a:gd name="connsiteY631" fmla="*/ 409575 h 2203450"/>
              <a:gd name="connsiteX632" fmla="*/ 809625 w 1943100"/>
              <a:gd name="connsiteY632" fmla="*/ 415925 h 2203450"/>
              <a:gd name="connsiteX633" fmla="*/ 828675 w 1943100"/>
              <a:gd name="connsiteY633" fmla="*/ 419100 h 2203450"/>
              <a:gd name="connsiteX634" fmla="*/ 847725 w 1943100"/>
              <a:gd name="connsiteY634" fmla="*/ 422275 h 2203450"/>
              <a:gd name="connsiteX635" fmla="*/ 866775 w 1943100"/>
              <a:gd name="connsiteY635" fmla="*/ 419100 h 2203450"/>
              <a:gd name="connsiteX636" fmla="*/ 882650 w 1943100"/>
              <a:gd name="connsiteY636" fmla="*/ 412750 h 2203450"/>
              <a:gd name="connsiteX637" fmla="*/ 898525 w 1943100"/>
              <a:gd name="connsiteY637" fmla="*/ 406400 h 2203450"/>
              <a:gd name="connsiteX638" fmla="*/ 914400 w 1943100"/>
              <a:gd name="connsiteY638" fmla="*/ 400050 h 2203450"/>
              <a:gd name="connsiteX639" fmla="*/ 939800 w 1943100"/>
              <a:gd name="connsiteY639" fmla="*/ 377825 h 2203450"/>
              <a:gd name="connsiteX640" fmla="*/ 958850 w 1943100"/>
              <a:gd name="connsiteY640" fmla="*/ 355600 h 2203450"/>
              <a:gd name="connsiteX641" fmla="*/ 974725 w 1943100"/>
              <a:gd name="connsiteY641" fmla="*/ 336550 h 2203450"/>
              <a:gd name="connsiteX642" fmla="*/ 987425 w 1943100"/>
              <a:gd name="connsiteY642" fmla="*/ 317500 h 2203450"/>
              <a:gd name="connsiteX643" fmla="*/ 1019175 w 1943100"/>
              <a:gd name="connsiteY643" fmla="*/ 254000 h 2203450"/>
              <a:gd name="connsiteX644" fmla="*/ 1054100 w 1943100"/>
              <a:gd name="connsiteY644" fmla="*/ 203200 h 2203450"/>
              <a:gd name="connsiteX645" fmla="*/ 1085850 w 1943100"/>
              <a:gd name="connsiteY645" fmla="*/ 165100 h 2203450"/>
              <a:gd name="connsiteX646" fmla="*/ 1120775 w 1943100"/>
              <a:gd name="connsiteY646" fmla="*/ 136525 h 2203450"/>
              <a:gd name="connsiteX647" fmla="*/ 1152525 w 1943100"/>
              <a:gd name="connsiteY647" fmla="*/ 117475 h 2203450"/>
              <a:gd name="connsiteX648" fmla="*/ 1184275 w 1943100"/>
              <a:gd name="connsiteY648" fmla="*/ 104775 h 2203450"/>
              <a:gd name="connsiteX649" fmla="*/ 958850 w 1943100"/>
              <a:gd name="connsiteY649" fmla="*/ 0 h 2203450"/>
              <a:gd name="connsiteX650" fmla="*/ 981075 w 1943100"/>
              <a:gd name="connsiteY650" fmla="*/ 3175 h 2203450"/>
              <a:gd name="connsiteX651" fmla="*/ 1000125 w 1943100"/>
              <a:gd name="connsiteY651" fmla="*/ 12700 h 2203450"/>
              <a:gd name="connsiteX652" fmla="*/ 1012825 w 1943100"/>
              <a:gd name="connsiteY652" fmla="*/ 25400 h 2203450"/>
              <a:gd name="connsiteX653" fmla="*/ 1022350 w 1943100"/>
              <a:gd name="connsiteY653" fmla="*/ 44450 h 2203450"/>
              <a:gd name="connsiteX654" fmla="*/ 1028700 w 1943100"/>
              <a:gd name="connsiteY654" fmla="*/ 63500 h 2203450"/>
              <a:gd name="connsiteX655" fmla="*/ 1028700 w 1943100"/>
              <a:gd name="connsiteY655" fmla="*/ 88900 h 2203450"/>
              <a:gd name="connsiteX656" fmla="*/ 1025525 w 1943100"/>
              <a:gd name="connsiteY656" fmla="*/ 114300 h 2203450"/>
              <a:gd name="connsiteX657" fmla="*/ 1016000 w 1943100"/>
              <a:gd name="connsiteY657" fmla="*/ 142875 h 2203450"/>
              <a:gd name="connsiteX658" fmla="*/ 1003300 w 1943100"/>
              <a:gd name="connsiteY658" fmla="*/ 171450 h 2203450"/>
              <a:gd name="connsiteX659" fmla="*/ 984250 w 1943100"/>
              <a:gd name="connsiteY659" fmla="*/ 196850 h 2203450"/>
              <a:gd name="connsiteX660" fmla="*/ 965200 w 1943100"/>
              <a:gd name="connsiteY660" fmla="*/ 222250 h 2203450"/>
              <a:gd name="connsiteX661" fmla="*/ 939800 w 1943100"/>
              <a:gd name="connsiteY661" fmla="*/ 244475 h 2203450"/>
              <a:gd name="connsiteX662" fmla="*/ 917575 w 1943100"/>
              <a:gd name="connsiteY662" fmla="*/ 263525 h 2203450"/>
              <a:gd name="connsiteX663" fmla="*/ 892175 w 1943100"/>
              <a:gd name="connsiteY663" fmla="*/ 276225 h 2203450"/>
              <a:gd name="connsiteX664" fmla="*/ 866775 w 1943100"/>
              <a:gd name="connsiteY664" fmla="*/ 282575 h 2203450"/>
              <a:gd name="connsiteX665" fmla="*/ 844550 w 1943100"/>
              <a:gd name="connsiteY665" fmla="*/ 285750 h 2203450"/>
              <a:gd name="connsiteX666" fmla="*/ 822325 w 1943100"/>
              <a:gd name="connsiteY666" fmla="*/ 282575 h 2203450"/>
              <a:gd name="connsiteX667" fmla="*/ 806450 w 1943100"/>
              <a:gd name="connsiteY667" fmla="*/ 273050 h 2203450"/>
              <a:gd name="connsiteX668" fmla="*/ 790575 w 1943100"/>
              <a:gd name="connsiteY668" fmla="*/ 260350 h 2203450"/>
              <a:gd name="connsiteX669" fmla="*/ 781050 w 1943100"/>
              <a:gd name="connsiteY669" fmla="*/ 241300 h 2203450"/>
              <a:gd name="connsiteX670" fmla="*/ 774700 w 1943100"/>
              <a:gd name="connsiteY670" fmla="*/ 222250 h 2203450"/>
              <a:gd name="connsiteX671" fmla="*/ 774700 w 1943100"/>
              <a:gd name="connsiteY671" fmla="*/ 196850 h 2203450"/>
              <a:gd name="connsiteX672" fmla="*/ 777875 w 1943100"/>
              <a:gd name="connsiteY672" fmla="*/ 171450 h 2203450"/>
              <a:gd name="connsiteX673" fmla="*/ 787400 w 1943100"/>
              <a:gd name="connsiteY673" fmla="*/ 142875 h 2203450"/>
              <a:gd name="connsiteX674" fmla="*/ 800100 w 1943100"/>
              <a:gd name="connsiteY674" fmla="*/ 114300 h 2203450"/>
              <a:gd name="connsiteX675" fmla="*/ 819150 w 1943100"/>
              <a:gd name="connsiteY675" fmla="*/ 88900 h 2203450"/>
              <a:gd name="connsiteX676" fmla="*/ 841375 w 1943100"/>
              <a:gd name="connsiteY676" fmla="*/ 63500 h 2203450"/>
              <a:gd name="connsiteX677" fmla="*/ 863600 w 1943100"/>
              <a:gd name="connsiteY677" fmla="*/ 41275 h 2203450"/>
              <a:gd name="connsiteX678" fmla="*/ 889000 w 1943100"/>
              <a:gd name="connsiteY678" fmla="*/ 22225 h 2203450"/>
              <a:gd name="connsiteX679" fmla="*/ 911225 w 1943100"/>
              <a:gd name="connsiteY679" fmla="*/ 9525 h 2203450"/>
              <a:gd name="connsiteX680" fmla="*/ 936625 w 1943100"/>
              <a:gd name="connsiteY680" fmla="*/ 3175 h 220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Lst>
            <a:rect l="l" t="t" r="r" b="b"/>
            <a:pathLst>
              <a:path w="1943100" h="2203450">
                <a:moveTo>
                  <a:pt x="1273175" y="1971675"/>
                </a:moveTo>
                <a:lnTo>
                  <a:pt x="1298575" y="1974850"/>
                </a:lnTo>
                <a:lnTo>
                  <a:pt x="1323975" y="1981200"/>
                </a:lnTo>
                <a:lnTo>
                  <a:pt x="1346200" y="1990725"/>
                </a:lnTo>
                <a:lnTo>
                  <a:pt x="1365250" y="2006600"/>
                </a:lnTo>
                <a:lnTo>
                  <a:pt x="1381125" y="2022475"/>
                </a:lnTo>
                <a:lnTo>
                  <a:pt x="1393825" y="2041525"/>
                </a:lnTo>
                <a:lnTo>
                  <a:pt x="1400175" y="2063750"/>
                </a:lnTo>
                <a:lnTo>
                  <a:pt x="1403350" y="2089150"/>
                </a:lnTo>
                <a:lnTo>
                  <a:pt x="1400175" y="2111375"/>
                </a:lnTo>
                <a:lnTo>
                  <a:pt x="1393825" y="2133600"/>
                </a:lnTo>
                <a:lnTo>
                  <a:pt x="1381125" y="2152650"/>
                </a:lnTo>
                <a:lnTo>
                  <a:pt x="1365250" y="2168525"/>
                </a:lnTo>
                <a:lnTo>
                  <a:pt x="1346200" y="2184400"/>
                </a:lnTo>
                <a:lnTo>
                  <a:pt x="1323975" y="2193925"/>
                </a:lnTo>
                <a:lnTo>
                  <a:pt x="1298575" y="2200275"/>
                </a:lnTo>
                <a:lnTo>
                  <a:pt x="1273175" y="2203450"/>
                </a:lnTo>
                <a:lnTo>
                  <a:pt x="1244600" y="2200275"/>
                </a:lnTo>
                <a:lnTo>
                  <a:pt x="1222375" y="2193925"/>
                </a:lnTo>
                <a:lnTo>
                  <a:pt x="1200150" y="2184400"/>
                </a:lnTo>
                <a:lnTo>
                  <a:pt x="1177925" y="2168525"/>
                </a:lnTo>
                <a:lnTo>
                  <a:pt x="1162050" y="2152650"/>
                </a:lnTo>
                <a:lnTo>
                  <a:pt x="1152525" y="2133600"/>
                </a:lnTo>
                <a:lnTo>
                  <a:pt x="1143000" y="2111375"/>
                </a:lnTo>
                <a:lnTo>
                  <a:pt x="1139825" y="2089150"/>
                </a:lnTo>
                <a:lnTo>
                  <a:pt x="1143000" y="2063750"/>
                </a:lnTo>
                <a:lnTo>
                  <a:pt x="1152525" y="2041525"/>
                </a:lnTo>
                <a:lnTo>
                  <a:pt x="1162050" y="2022475"/>
                </a:lnTo>
                <a:lnTo>
                  <a:pt x="1177925" y="2006600"/>
                </a:lnTo>
                <a:lnTo>
                  <a:pt x="1200150" y="1990725"/>
                </a:lnTo>
                <a:lnTo>
                  <a:pt x="1222375" y="1981200"/>
                </a:lnTo>
                <a:lnTo>
                  <a:pt x="1244600" y="1974850"/>
                </a:lnTo>
                <a:close/>
                <a:moveTo>
                  <a:pt x="1498600" y="1819275"/>
                </a:moveTo>
                <a:lnTo>
                  <a:pt x="1530350" y="1822450"/>
                </a:lnTo>
                <a:lnTo>
                  <a:pt x="1562100" y="1825625"/>
                </a:lnTo>
                <a:lnTo>
                  <a:pt x="1587500" y="1831975"/>
                </a:lnTo>
                <a:lnTo>
                  <a:pt x="1612900" y="1841500"/>
                </a:lnTo>
                <a:lnTo>
                  <a:pt x="1631950" y="1854200"/>
                </a:lnTo>
                <a:lnTo>
                  <a:pt x="1647825" y="1866900"/>
                </a:lnTo>
                <a:lnTo>
                  <a:pt x="1657350" y="1879600"/>
                </a:lnTo>
                <a:lnTo>
                  <a:pt x="1660525" y="1895475"/>
                </a:lnTo>
                <a:lnTo>
                  <a:pt x="1657350" y="1911350"/>
                </a:lnTo>
                <a:lnTo>
                  <a:pt x="1647825" y="1924050"/>
                </a:lnTo>
                <a:lnTo>
                  <a:pt x="1631950" y="1939925"/>
                </a:lnTo>
                <a:lnTo>
                  <a:pt x="1612900" y="1949450"/>
                </a:lnTo>
                <a:lnTo>
                  <a:pt x="1587500" y="1958975"/>
                </a:lnTo>
                <a:lnTo>
                  <a:pt x="1562100" y="1965325"/>
                </a:lnTo>
                <a:lnTo>
                  <a:pt x="1530350" y="1971675"/>
                </a:lnTo>
                <a:lnTo>
                  <a:pt x="1498600" y="1971675"/>
                </a:lnTo>
                <a:lnTo>
                  <a:pt x="1466850" y="1971675"/>
                </a:lnTo>
                <a:lnTo>
                  <a:pt x="1435100" y="1965325"/>
                </a:lnTo>
                <a:lnTo>
                  <a:pt x="1409700" y="1958975"/>
                </a:lnTo>
                <a:lnTo>
                  <a:pt x="1384300" y="1949450"/>
                </a:lnTo>
                <a:lnTo>
                  <a:pt x="1365250" y="1939925"/>
                </a:lnTo>
                <a:lnTo>
                  <a:pt x="1349375" y="1924050"/>
                </a:lnTo>
                <a:lnTo>
                  <a:pt x="1339850" y="1911350"/>
                </a:lnTo>
                <a:lnTo>
                  <a:pt x="1336675" y="1895475"/>
                </a:lnTo>
                <a:lnTo>
                  <a:pt x="1339850" y="1879600"/>
                </a:lnTo>
                <a:lnTo>
                  <a:pt x="1349375" y="1866900"/>
                </a:lnTo>
                <a:lnTo>
                  <a:pt x="1365250" y="1854200"/>
                </a:lnTo>
                <a:lnTo>
                  <a:pt x="1384300" y="1841500"/>
                </a:lnTo>
                <a:lnTo>
                  <a:pt x="1409700" y="1831975"/>
                </a:lnTo>
                <a:lnTo>
                  <a:pt x="1435100" y="1825625"/>
                </a:lnTo>
                <a:lnTo>
                  <a:pt x="1466850" y="1822450"/>
                </a:lnTo>
                <a:close/>
                <a:moveTo>
                  <a:pt x="752475" y="1781175"/>
                </a:moveTo>
                <a:lnTo>
                  <a:pt x="762000" y="1784350"/>
                </a:lnTo>
                <a:lnTo>
                  <a:pt x="768350" y="1787525"/>
                </a:lnTo>
                <a:lnTo>
                  <a:pt x="777875" y="1790700"/>
                </a:lnTo>
                <a:lnTo>
                  <a:pt x="784225" y="1800225"/>
                </a:lnTo>
                <a:lnTo>
                  <a:pt x="793750" y="1816100"/>
                </a:lnTo>
                <a:lnTo>
                  <a:pt x="796925" y="1838325"/>
                </a:lnTo>
                <a:lnTo>
                  <a:pt x="793750" y="1860550"/>
                </a:lnTo>
                <a:lnTo>
                  <a:pt x="784225" y="1879600"/>
                </a:lnTo>
                <a:lnTo>
                  <a:pt x="777875" y="1885950"/>
                </a:lnTo>
                <a:lnTo>
                  <a:pt x="768350" y="1889125"/>
                </a:lnTo>
                <a:lnTo>
                  <a:pt x="762000" y="1892300"/>
                </a:lnTo>
                <a:lnTo>
                  <a:pt x="752475" y="1895475"/>
                </a:lnTo>
                <a:lnTo>
                  <a:pt x="742950" y="1892300"/>
                </a:lnTo>
                <a:lnTo>
                  <a:pt x="736600" y="1889125"/>
                </a:lnTo>
                <a:lnTo>
                  <a:pt x="727075" y="1885950"/>
                </a:lnTo>
                <a:lnTo>
                  <a:pt x="720725" y="1879600"/>
                </a:lnTo>
                <a:lnTo>
                  <a:pt x="711200" y="1860550"/>
                </a:lnTo>
                <a:lnTo>
                  <a:pt x="708025" y="1838325"/>
                </a:lnTo>
                <a:lnTo>
                  <a:pt x="711200" y="1816100"/>
                </a:lnTo>
                <a:lnTo>
                  <a:pt x="720725" y="1800225"/>
                </a:lnTo>
                <a:lnTo>
                  <a:pt x="727075" y="1790700"/>
                </a:lnTo>
                <a:lnTo>
                  <a:pt x="736600" y="1787525"/>
                </a:lnTo>
                <a:lnTo>
                  <a:pt x="742950" y="1784350"/>
                </a:lnTo>
                <a:close/>
                <a:moveTo>
                  <a:pt x="492125" y="1670050"/>
                </a:moveTo>
                <a:lnTo>
                  <a:pt x="520700" y="1673225"/>
                </a:lnTo>
                <a:lnTo>
                  <a:pt x="546100" y="1679575"/>
                </a:lnTo>
                <a:lnTo>
                  <a:pt x="568325" y="1689100"/>
                </a:lnTo>
                <a:lnTo>
                  <a:pt x="590550" y="1704975"/>
                </a:lnTo>
                <a:lnTo>
                  <a:pt x="606425" y="1720850"/>
                </a:lnTo>
                <a:lnTo>
                  <a:pt x="619125" y="1739900"/>
                </a:lnTo>
                <a:lnTo>
                  <a:pt x="628650" y="1758950"/>
                </a:lnTo>
                <a:lnTo>
                  <a:pt x="631825" y="1781175"/>
                </a:lnTo>
                <a:lnTo>
                  <a:pt x="628650" y="1806575"/>
                </a:lnTo>
                <a:lnTo>
                  <a:pt x="619125" y="1825625"/>
                </a:lnTo>
                <a:lnTo>
                  <a:pt x="606425" y="1844675"/>
                </a:lnTo>
                <a:lnTo>
                  <a:pt x="590550" y="1860550"/>
                </a:lnTo>
                <a:lnTo>
                  <a:pt x="568325" y="1876425"/>
                </a:lnTo>
                <a:lnTo>
                  <a:pt x="546100" y="1885950"/>
                </a:lnTo>
                <a:lnTo>
                  <a:pt x="520700" y="1892300"/>
                </a:lnTo>
                <a:lnTo>
                  <a:pt x="492125" y="1895475"/>
                </a:lnTo>
                <a:lnTo>
                  <a:pt x="463550" y="1892300"/>
                </a:lnTo>
                <a:lnTo>
                  <a:pt x="438150" y="1885950"/>
                </a:lnTo>
                <a:lnTo>
                  <a:pt x="412750" y="1876425"/>
                </a:lnTo>
                <a:lnTo>
                  <a:pt x="393700" y="1860550"/>
                </a:lnTo>
                <a:lnTo>
                  <a:pt x="374650" y="1844675"/>
                </a:lnTo>
                <a:lnTo>
                  <a:pt x="361950" y="1825625"/>
                </a:lnTo>
                <a:lnTo>
                  <a:pt x="355600" y="1806575"/>
                </a:lnTo>
                <a:lnTo>
                  <a:pt x="352425" y="1781175"/>
                </a:lnTo>
                <a:lnTo>
                  <a:pt x="355600" y="1758950"/>
                </a:lnTo>
                <a:lnTo>
                  <a:pt x="361950" y="1739900"/>
                </a:lnTo>
                <a:lnTo>
                  <a:pt x="374650" y="1720850"/>
                </a:lnTo>
                <a:lnTo>
                  <a:pt x="393700" y="1704975"/>
                </a:lnTo>
                <a:lnTo>
                  <a:pt x="412750" y="1689100"/>
                </a:lnTo>
                <a:lnTo>
                  <a:pt x="438150" y="1679575"/>
                </a:lnTo>
                <a:lnTo>
                  <a:pt x="463550" y="1673225"/>
                </a:lnTo>
                <a:close/>
                <a:moveTo>
                  <a:pt x="212725" y="1670050"/>
                </a:moveTo>
                <a:lnTo>
                  <a:pt x="228600" y="1673225"/>
                </a:lnTo>
                <a:lnTo>
                  <a:pt x="244475" y="1676400"/>
                </a:lnTo>
                <a:lnTo>
                  <a:pt x="257175" y="1679575"/>
                </a:lnTo>
                <a:lnTo>
                  <a:pt x="266700" y="1685925"/>
                </a:lnTo>
                <a:lnTo>
                  <a:pt x="276225" y="1692275"/>
                </a:lnTo>
                <a:lnTo>
                  <a:pt x="285750" y="1701800"/>
                </a:lnTo>
                <a:lnTo>
                  <a:pt x="288925" y="1711325"/>
                </a:lnTo>
                <a:lnTo>
                  <a:pt x="288925" y="1724025"/>
                </a:lnTo>
                <a:lnTo>
                  <a:pt x="288925" y="1733550"/>
                </a:lnTo>
                <a:lnTo>
                  <a:pt x="285750" y="1743075"/>
                </a:lnTo>
                <a:lnTo>
                  <a:pt x="276225" y="1752600"/>
                </a:lnTo>
                <a:lnTo>
                  <a:pt x="266700" y="1758950"/>
                </a:lnTo>
                <a:lnTo>
                  <a:pt x="257175" y="1765300"/>
                </a:lnTo>
                <a:lnTo>
                  <a:pt x="244475" y="1771650"/>
                </a:lnTo>
                <a:lnTo>
                  <a:pt x="228600" y="1774825"/>
                </a:lnTo>
                <a:lnTo>
                  <a:pt x="212725" y="1774825"/>
                </a:lnTo>
                <a:lnTo>
                  <a:pt x="196850" y="1774825"/>
                </a:lnTo>
                <a:lnTo>
                  <a:pt x="184150" y="1771650"/>
                </a:lnTo>
                <a:lnTo>
                  <a:pt x="168275" y="1765300"/>
                </a:lnTo>
                <a:lnTo>
                  <a:pt x="158750" y="1758950"/>
                </a:lnTo>
                <a:lnTo>
                  <a:pt x="149225" y="1752600"/>
                </a:lnTo>
                <a:lnTo>
                  <a:pt x="142875" y="1743075"/>
                </a:lnTo>
                <a:lnTo>
                  <a:pt x="136525" y="1733550"/>
                </a:lnTo>
                <a:lnTo>
                  <a:pt x="136525" y="1724025"/>
                </a:lnTo>
                <a:lnTo>
                  <a:pt x="136525" y="1711325"/>
                </a:lnTo>
                <a:lnTo>
                  <a:pt x="142875" y="1701800"/>
                </a:lnTo>
                <a:lnTo>
                  <a:pt x="149225" y="1692275"/>
                </a:lnTo>
                <a:lnTo>
                  <a:pt x="158750" y="1685925"/>
                </a:lnTo>
                <a:lnTo>
                  <a:pt x="168275" y="1679575"/>
                </a:lnTo>
                <a:lnTo>
                  <a:pt x="184150" y="1676400"/>
                </a:lnTo>
                <a:lnTo>
                  <a:pt x="196850" y="1673225"/>
                </a:lnTo>
                <a:close/>
                <a:moveTo>
                  <a:pt x="44450" y="1260475"/>
                </a:moveTo>
                <a:lnTo>
                  <a:pt x="53975" y="1260475"/>
                </a:lnTo>
                <a:lnTo>
                  <a:pt x="63500" y="1260475"/>
                </a:lnTo>
                <a:lnTo>
                  <a:pt x="76200" y="1266825"/>
                </a:lnTo>
                <a:lnTo>
                  <a:pt x="82550" y="1273175"/>
                </a:lnTo>
                <a:lnTo>
                  <a:pt x="92075" y="1279525"/>
                </a:lnTo>
                <a:lnTo>
                  <a:pt x="98425" y="1289050"/>
                </a:lnTo>
                <a:lnTo>
                  <a:pt x="101600" y="1298575"/>
                </a:lnTo>
                <a:lnTo>
                  <a:pt x="104775" y="1311275"/>
                </a:lnTo>
                <a:lnTo>
                  <a:pt x="107950" y="1323975"/>
                </a:lnTo>
                <a:lnTo>
                  <a:pt x="104775" y="1336675"/>
                </a:lnTo>
                <a:lnTo>
                  <a:pt x="101600" y="1349375"/>
                </a:lnTo>
                <a:lnTo>
                  <a:pt x="98425" y="1362075"/>
                </a:lnTo>
                <a:lnTo>
                  <a:pt x="92075" y="1371600"/>
                </a:lnTo>
                <a:lnTo>
                  <a:pt x="82550" y="1377950"/>
                </a:lnTo>
                <a:lnTo>
                  <a:pt x="76200" y="1384300"/>
                </a:lnTo>
                <a:lnTo>
                  <a:pt x="63500" y="1387475"/>
                </a:lnTo>
                <a:lnTo>
                  <a:pt x="53975" y="1390650"/>
                </a:lnTo>
                <a:lnTo>
                  <a:pt x="44450" y="1387475"/>
                </a:lnTo>
                <a:lnTo>
                  <a:pt x="34925" y="1384300"/>
                </a:lnTo>
                <a:lnTo>
                  <a:pt x="25400" y="1377950"/>
                </a:lnTo>
                <a:lnTo>
                  <a:pt x="15875" y="1371600"/>
                </a:lnTo>
                <a:lnTo>
                  <a:pt x="9525" y="1362075"/>
                </a:lnTo>
                <a:lnTo>
                  <a:pt x="6350" y="1349375"/>
                </a:lnTo>
                <a:lnTo>
                  <a:pt x="3175" y="1336675"/>
                </a:lnTo>
                <a:lnTo>
                  <a:pt x="0" y="1323975"/>
                </a:lnTo>
                <a:lnTo>
                  <a:pt x="3175" y="1311275"/>
                </a:lnTo>
                <a:lnTo>
                  <a:pt x="6350" y="1298575"/>
                </a:lnTo>
                <a:lnTo>
                  <a:pt x="9525" y="1289050"/>
                </a:lnTo>
                <a:lnTo>
                  <a:pt x="15875" y="1279525"/>
                </a:lnTo>
                <a:lnTo>
                  <a:pt x="25400" y="1273175"/>
                </a:lnTo>
                <a:lnTo>
                  <a:pt x="34925" y="1266825"/>
                </a:lnTo>
                <a:close/>
                <a:moveTo>
                  <a:pt x="171450" y="1098550"/>
                </a:moveTo>
                <a:lnTo>
                  <a:pt x="184150" y="1101725"/>
                </a:lnTo>
                <a:lnTo>
                  <a:pt x="193675" y="1104900"/>
                </a:lnTo>
                <a:lnTo>
                  <a:pt x="206375" y="1108075"/>
                </a:lnTo>
                <a:lnTo>
                  <a:pt x="215900" y="1117600"/>
                </a:lnTo>
                <a:lnTo>
                  <a:pt x="222250" y="1123950"/>
                </a:lnTo>
                <a:lnTo>
                  <a:pt x="228600" y="1136650"/>
                </a:lnTo>
                <a:lnTo>
                  <a:pt x="231775" y="1146175"/>
                </a:lnTo>
                <a:lnTo>
                  <a:pt x="234950" y="1158875"/>
                </a:lnTo>
                <a:lnTo>
                  <a:pt x="231775" y="1168400"/>
                </a:lnTo>
                <a:lnTo>
                  <a:pt x="228600" y="1181100"/>
                </a:lnTo>
                <a:lnTo>
                  <a:pt x="222250" y="1190625"/>
                </a:lnTo>
                <a:lnTo>
                  <a:pt x="215900" y="1200150"/>
                </a:lnTo>
                <a:lnTo>
                  <a:pt x="206375" y="1206500"/>
                </a:lnTo>
                <a:lnTo>
                  <a:pt x="193675" y="1212850"/>
                </a:lnTo>
                <a:lnTo>
                  <a:pt x="184150" y="1216025"/>
                </a:lnTo>
                <a:lnTo>
                  <a:pt x="171450" y="1216025"/>
                </a:lnTo>
                <a:lnTo>
                  <a:pt x="158750" y="1216025"/>
                </a:lnTo>
                <a:lnTo>
                  <a:pt x="146050" y="1212850"/>
                </a:lnTo>
                <a:lnTo>
                  <a:pt x="136525" y="1206500"/>
                </a:lnTo>
                <a:lnTo>
                  <a:pt x="127000" y="1200150"/>
                </a:lnTo>
                <a:lnTo>
                  <a:pt x="117475" y="1190625"/>
                </a:lnTo>
                <a:lnTo>
                  <a:pt x="111125" y="1181100"/>
                </a:lnTo>
                <a:lnTo>
                  <a:pt x="107950" y="1168400"/>
                </a:lnTo>
                <a:lnTo>
                  <a:pt x="107950" y="1158875"/>
                </a:lnTo>
                <a:lnTo>
                  <a:pt x="107950" y="1146175"/>
                </a:lnTo>
                <a:lnTo>
                  <a:pt x="111125" y="1136650"/>
                </a:lnTo>
                <a:lnTo>
                  <a:pt x="117475" y="1123950"/>
                </a:lnTo>
                <a:lnTo>
                  <a:pt x="127000" y="1117600"/>
                </a:lnTo>
                <a:lnTo>
                  <a:pt x="136525" y="1108075"/>
                </a:lnTo>
                <a:lnTo>
                  <a:pt x="146050" y="1104900"/>
                </a:lnTo>
                <a:lnTo>
                  <a:pt x="158750" y="1101725"/>
                </a:lnTo>
                <a:close/>
                <a:moveTo>
                  <a:pt x="136525" y="812800"/>
                </a:moveTo>
                <a:lnTo>
                  <a:pt x="155575" y="815975"/>
                </a:lnTo>
                <a:lnTo>
                  <a:pt x="174625" y="822325"/>
                </a:lnTo>
                <a:lnTo>
                  <a:pt x="190500" y="831850"/>
                </a:lnTo>
                <a:lnTo>
                  <a:pt x="206375" y="844550"/>
                </a:lnTo>
                <a:lnTo>
                  <a:pt x="215900" y="860425"/>
                </a:lnTo>
                <a:lnTo>
                  <a:pt x="225425" y="879475"/>
                </a:lnTo>
                <a:lnTo>
                  <a:pt x="231775" y="898525"/>
                </a:lnTo>
                <a:lnTo>
                  <a:pt x="234950" y="920750"/>
                </a:lnTo>
                <a:lnTo>
                  <a:pt x="231775" y="939800"/>
                </a:lnTo>
                <a:lnTo>
                  <a:pt x="225425" y="958850"/>
                </a:lnTo>
                <a:lnTo>
                  <a:pt x="215900" y="977900"/>
                </a:lnTo>
                <a:lnTo>
                  <a:pt x="206375" y="993775"/>
                </a:lnTo>
                <a:lnTo>
                  <a:pt x="190500" y="1006475"/>
                </a:lnTo>
                <a:lnTo>
                  <a:pt x="174625" y="1016000"/>
                </a:lnTo>
                <a:lnTo>
                  <a:pt x="155575" y="1022350"/>
                </a:lnTo>
                <a:lnTo>
                  <a:pt x="136525" y="1025525"/>
                </a:lnTo>
                <a:lnTo>
                  <a:pt x="114300" y="1022350"/>
                </a:lnTo>
                <a:lnTo>
                  <a:pt x="98425" y="1016000"/>
                </a:lnTo>
                <a:lnTo>
                  <a:pt x="79375" y="1006475"/>
                </a:lnTo>
                <a:lnTo>
                  <a:pt x="66675" y="993775"/>
                </a:lnTo>
                <a:lnTo>
                  <a:pt x="53975" y="977900"/>
                </a:lnTo>
                <a:lnTo>
                  <a:pt x="44450" y="958850"/>
                </a:lnTo>
                <a:lnTo>
                  <a:pt x="38100" y="939800"/>
                </a:lnTo>
                <a:lnTo>
                  <a:pt x="38100" y="920750"/>
                </a:lnTo>
                <a:lnTo>
                  <a:pt x="38100" y="898525"/>
                </a:lnTo>
                <a:lnTo>
                  <a:pt x="44450" y="879475"/>
                </a:lnTo>
                <a:lnTo>
                  <a:pt x="53975" y="860425"/>
                </a:lnTo>
                <a:lnTo>
                  <a:pt x="66675" y="844550"/>
                </a:lnTo>
                <a:lnTo>
                  <a:pt x="79375" y="831850"/>
                </a:lnTo>
                <a:lnTo>
                  <a:pt x="98425" y="822325"/>
                </a:lnTo>
                <a:lnTo>
                  <a:pt x="114300" y="815975"/>
                </a:lnTo>
                <a:close/>
                <a:moveTo>
                  <a:pt x="352425" y="698500"/>
                </a:moveTo>
                <a:lnTo>
                  <a:pt x="368300" y="701675"/>
                </a:lnTo>
                <a:lnTo>
                  <a:pt x="381000" y="708025"/>
                </a:lnTo>
                <a:lnTo>
                  <a:pt x="390525" y="720725"/>
                </a:lnTo>
                <a:lnTo>
                  <a:pt x="393700" y="733425"/>
                </a:lnTo>
                <a:lnTo>
                  <a:pt x="390525" y="749300"/>
                </a:lnTo>
                <a:lnTo>
                  <a:pt x="381000" y="762000"/>
                </a:lnTo>
                <a:lnTo>
                  <a:pt x="368300" y="768350"/>
                </a:lnTo>
                <a:lnTo>
                  <a:pt x="352425" y="771525"/>
                </a:lnTo>
                <a:lnTo>
                  <a:pt x="333375" y="768350"/>
                </a:lnTo>
                <a:lnTo>
                  <a:pt x="320675" y="762000"/>
                </a:lnTo>
                <a:lnTo>
                  <a:pt x="311150" y="749300"/>
                </a:lnTo>
                <a:lnTo>
                  <a:pt x="307975" y="733425"/>
                </a:lnTo>
                <a:lnTo>
                  <a:pt x="311150" y="720725"/>
                </a:lnTo>
                <a:lnTo>
                  <a:pt x="320675" y="708025"/>
                </a:lnTo>
                <a:lnTo>
                  <a:pt x="333375" y="701675"/>
                </a:lnTo>
                <a:close/>
                <a:moveTo>
                  <a:pt x="1809750" y="631825"/>
                </a:moveTo>
                <a:lnTo>
                  <a:pt x="1825625" y="631825"/>
                </a:lnTo>
                <a:lnTo>
                  <a:pt x="1841500" y="631825"/>
                </a:lnTo>
                <a:lnTo>
                  <a:pt x="1863725" y="635000"/>
                </a:lnTo>
                <a:lnTo>
                  <a:pt x="1885950" y="644525"/>
                </a:lnTo>
                <a:lnTo>
                  <a:pt x="1895475" y="654050"/>
                </a:lnTo>
                <a:lnTo>
                  <a:pt x="1908175" y="663575"/>
                </a:lnTo>
                <a:lnTo>
                  <a:pt x="1917700" y="679450"/>
                </a:lnTo>
                <a:lnTo>
                  <a:pt x="1927225" y="695325"/>
                </a:lnTo>
                <a:lnTo>
                  <a:pt x="1933575" y="704850"/>
                </a:lnTo>
                <a:lnTo>
                  <a:pt x="1939925" y="720725"/>
                </a:lnTo>
                <a:lnTo>
                  <a:pt x="1943100" y="739775"/>
                </a:lnTo>
                <a:lnTo>
                  <a:pt x="1943100" y="768350"/>
                </a:lnTo>
                <a:lnTo>
                  <a:pt x="1939925" y="800100"/>
                </a:lnTo>
                <a:lnTo>
                  <a:pt x="1930400" y="841375"/>
                </a:lnTo>
                <a:lnTo>
                  <a:pt x="1911350" y="885825"/>
                </a:lnTo>
                <a:lnTo>
                  <a:pt x="1898650" y="914400"/>
                </a:lnTo>
                <a:lnTo>
                  <a:pt x="1882775" y="939800"/>
                </a:lnTo>
                <a:lnTo>
                  <a:pt x="1863725" y="958850"/>
                </a:lnTo>
                <a:lnTo>
                  <a:pt x="1847850" y="974725"/>
                </a:lnTo>
                <a:lnTo>
                  <a:pt x="1828800" y="987425"/>
                </a:lnTo>
                <a:lnTo>
                  <a:pt x="1809750" y="993775"/>
                </a:lnTo>
                <a:lnTo>
                  <a:pt x="1793875" y="996950"/>
                </a:lnTo>
                <a:lnTo>
                  <a:pt x="1778000" y="990600"/>
                </a:lnTo>
                <a:lnTo>
                  <a:pt x="1765300" y="977900"/>
                </a:lnTo>
                <a:lnTo>
                  <a:pt x="1755775" y="962025"/>
                </a:lnTo>
                <a:lnTo>
                  <a:pt x="1749425" y="942975"/>
                </a:lnTo>
                <a:lnTo>
                  <a:pt x="1746250" y="917575"/>
                </a:lnTo>
                <a:lnTo>
                  <a:pt x="1746250" y="892175"/>
                </a:lnTo>
                <a:lnTo>
                  <a:pt x="1749425" y="863600"/>
                </a:lnTo>
                <a:lnTo>
                  <a:pt x="1755775" y="835025"/>
                </a:lnTo>
                <a:lnTo>
                  <a:pt x="1768475" y="803275"/>
                </a:lnTo>
                <a:lnTo>
                  <a:pt x="1771650" y="796925"/>
                </a:lnTo>
                <a:lnTo>
                  <a:pt x="1774825" y="777875"/>
                </a:lnTo>
                <a:lnTo>
                  <a:pt x="1774825" y="752475"/>
                </a:lnTo>
                <a:lnTo>
                  <a:pt x="1774825" y="739775"/>
                </a:lnTo>
                <a:lnTo>
                  <a:pt x="1768475" y="727075"/>
                </a:lnTo>
                <a:lnTo>
                  <a:pt x="1762125" y="717550"/>
                </a:lnTo>
                <a:lnTo>
                  <a:pt x="1758950" y="708025"/>
                </a:lnTo>
                <a:lnTo>
                  <a:pt x="1755775" y="695325"/>
                </a:lnTo>
                <a:lnTo>
                  <a:pt x="1755775" y="682625"/>
                </a:lnTo>
                <a:lnTo>
                  <a:pt x="1762125" y="666750"/>
                </a:lnTo>
                <a:lnTo>
                  <a:pt x="1774825" y="650875"/>
                </a:lnTo>
                <a:lnTo>
                  <a:pt x="1797050" y="638175"/>
                </a:lnTo>
                <a:close/>
                <a:moveTo>
                  <a:pt x="504825" y="593725"/>
                </a:moveTo>
                <a:lnTo>
                  <a:pt x="520700" y="596900"/>
                </a:lnTo>
                <a:lnTo>
                  <a:pt x="536575" y="600075"/>
                </a:lnTo>
                <a:lnTo>
                  <a:pt x="549275" y="606425"/>
                </a:lnTo>
                <a:lnTo>
                  <a:pt x="561975" y="612775"/>
                </a:lnTo>
                <a:lnTo>
                  <a:pt x="571500" y="622300"/>
                </a:lnTo>
                <a:lnTo>
                  <a:pt x="581025" y="631825"/>
                </a:lnTo>
                <a:lnTo>
                  <a:pt x="584200" y="641350"/>
                </a:lnTo>
                <a:lnTo>
                  <a:pt x="587375" y="654050"/>
                </a:lnTo>
                <a:lnTo>
                  <a:pt x="584200" y="666750"/>
                </a:lnTo>
                <a:lnTo>
                  <a:pt x="581025" y="679450"/>
                </a:lnTo>
                <a:lnTo>
                  <a:pt x="571500" y="688975"/>
                </a:lnTo>
                <a:lnTo>
                  <a:pt x="561975" y="698500"/>
                </a:lnTo>
                <a:lnTo>
                  <a:pt x="549275" y="704850"/>
                </a:lnTo>
                <a:lnTo>
                  <a:pt x="536575" y="711200"/>
                </a:lnTo>
                <a:lnTo>
                  <a:pt x="520700" y="714375"/>
                </a:lnTo>
                <a:lnTo>
                  <a:pt x="504825" y="714375"/>
                </a:lnTo>
                <a:lnTo>
                  <a:pt x="488950" y="714375"/>
                </a:lnTo>
                <a:lnTo>
                  <a:pt x="473075" y="711200"/>
                </a:lnTo>
                <a:lnTo>
                  <a:pt x="457200" y="704850"/>
                </a:lnTo>
                <a:lnTo>
                  <a:pt x="444500" y="698500"/>
                </a:lnTo>
                <a:lnTo>
                  <a:pt x="434975" y="688975"/>
                </a:lnTo>
                <a:lnTo>
                  <a:pt x="428625" y="679450"/>
                </a:lnTo>
                <a:lnTo>
                  <a:pt x="422275" y="666750"/>
                </a:lnTo>
                <a:lnTo>
                  <a:pt x="422275" y="654050"/>
                </a:lnTo>
                <a:lnTo>
                  <a:pt x="422275" y="641350"/>
                </a:lnTo>
                <a:lnTo>
                  <a:pt x="428625" y="631825"/>
                </a:lnTo>
                <a:lnTo>
                  <a:pt x="434975" y="622300"/>
                </a:lnTo>
                <a:lnTo>
                  <a:pt x="444500" y="612775"/>
                </a:lnTo>
                <a:lnTo>
                  <a:pt x="457200" y="606425"/>
                </a:lnTo>
                <a:lnTo>
                  <a:pt x="473075" y="600075"/>
                </a:lnTo>
                <a:lnTo>
                  <a:pt x="488950" y="596900"/>
                </a:lnTo>
                <a:close/>
                <a:moveTo>
                  <a:pt x="1581150" y="158750"/>
                </a:moveTo>
                <a:lnTo>
                  <a:pt x="1600200" y="158750"/>
                </a:lnTo>
                <a:lnTo>
                  <a:pt x="1616075" y="165100"/>
                </a:lnTo>
                <a:lnTo>
                  <a:pt x="1635125" y="177800"/>
                </a:lnTo>
                <a:lnTo>
                  <a:pt x="1654175" y="193675"/>
                </a:lnTo>
                <a:lnTo>
                  <a:pt x="1670050" y="215900"/>
                </a:lnTo>
                <a:lnTo>
                  <a:pt x="1685925" y="241300"/>
                </a:lnTo>
                <a:lnTo>
                  <a:pt x="1698625" y="269875"/>
                </a:lnTo>
                <a:lnTo>
                  <a:pt x="1708150" y="298450"/>
                </a:lnTo>
                <a:lnTo>
                  <a:pt x="1714500" y="330200"/>
                </a:lnTo>
                <a:lnTo>
                  <a:pt x="1717675" y="358775"/>
                </a:lnTo>
                <a:lnTo>
                  <a:pt x="1717675" y="387350"/>
                </a:lnTo>
                <a:lnTo>
                  <a:pt x="1714500" y="409575"/>
                </a:lnTo>
                <a:lnTo>
                  <a:pt x="1708150" y="428625"/>
                </a:lnTo>
                <a:lnTo>
                  <a:pt x="1698625" y="444500"/>
                </a:lnTo>
                <a:lnTo>
                  <a:pt x="1685925" y="457200"/>
                </a:lnTo>
                <a:lnTo>
                  <a:pt x="1670050" y="460375"/>
                </a:lnTo>
                <a:lnTo>
                  <a:pt x="1651000" y="460375"/>
                </a:lnTo>
                <a:lnTo>
                  <a:pt x="1631950" y="454025"/>
                </a:lnTo>
                <a:lnTo>
                  <a:pt x="1616075" y="441325"/>
                </a:lnTo>
                <a:lnTo>
                  <a:pt x="1597025" y="422275"/>
                </a:lnTo>
                <a:lnTo>
                  <a:pt x="1581150" y="403225"/>
                </a:lnTo>
                <a:lnTo>
                  <a:pt x="1565275" y="377825"/>
                </a:lnTo>
                <a:lnTo>
                  <a:pt x="1552575" y="349250"/>
                </a:lnTo>
                <a:lnTo>
                  <a:pt x="1543050" y="320675"/>
                </a:lnTo>
                <a:lnTo>
                  <a:pt x="1533525" y="288925"/>
                </a:lnTo>
                <a:lnTo>
                  <a:pt x="1530350" y="260350"/>
                </a:lnTo>
                <a:lnTo>
                  <a:pt x="1530350" y="231775"/>
                </a:lnTo>
                <a:lnTo>
                  <a:pt x="1536700" y="209550"/>
                </a:lnTo>
                <a:lnTo>
                  <a:pt x="1543050" y="190500"/>
                </a:lnTo>
                <a:lnTo>
                  <a:pt x="1552575" y="174625"/>
                </a:lnTo>
                <a:lnTo>
                  <a:pt x="1565275" y="161925"/>
                </a:lnTo>
                <a:close/>
                <a:moveTo>
                  <a:pt x="1212850" y="98425"/>
                </a:moveTo>
                <a:lnTo>
                  <a:pt x="1241425" y="98425"/>
                </a:lnTo>
                <a:lnTo>
                  <a:pt x="1270000" y="101600"/>
                </a:lnTo>
                <a:lnTo>
                  <a:pt x="1292225" y="111125"/>
                </a:lnTo>
                <a:lnTo>
                  <a:pt x="1314450" y="120650"/>
                </a:lnTo>
                <a:lnTo>
                  <a:pt x="1333500" y="130175"/>
                </a:lnTo>
                <a:lnTo>
                  <a:pt x="1358900" y="149225"/>
                </a:lnTo>
                <a:lnTo>
                  <a:pt x="1368425" y="158750"/>
                </a:lnTo>
                <a:lnTo>
                  <a:pt x="1393825" y="180975"/>
                </a:lnTo>
                <a:lnTo>
                  <a:pt x="1419225" y="206375"/>
                </a:lnTo>
                <a:lnTo>
                  <a:pt x="1435100" y="234950"/>
                </a:lnTo>
                <a:lnTo>
                  <a:pt x="1450975" y="260350"/>
                </a:lnTo>
                <a:lnTo>
                  <a:pt x="1460500" y="285750"/>
                </a:lnTo>
                <a:lnTo>
                  <a:pt x="1470025" y="311150"/>
                </a:lnTo>
                <a:lnTo>
                  <a:pt x="1476375" y="333375"/>
                </a:lnTo>
                <a:lnTo>
                  <a:pt x="1476375" y="358775"/>
                </a:lnTo>
                <a:lnTo>
                  <a:pt x="1479550" y="400050"/>
                </a:lnTo>
                <a:lnTo>
                  <a:pt x="1473200" y="431800"/>
                </a:lnTo>
                <a:lnTo>
                  <a:pt x="1466850" y="460375"/>
                </a:lnTo>
                <a:lnTo>
                  <a:pt x="1457325" y="501650"/>
                </a:lnTo>
                <a:lnTo>
                  <a:pt x="1454150" y="533400"/>
                </a:lnTo>
                <a:lnTo>
                  <a:pt x="1454150" y="561975"/>
                </a:lnTo>
                <a:lnTo>
                  <a:pt x="1457325" y="581025"/>
                </a:lnTo>
                <a:lnTo>
                  <a:pt x="1466850" y="596900"/>
                </a:lnTo>
                <a:lnTo>
                  <a:pt x="1473200" y="609600"/>
                </a:lnTo>
                <a:lnTo>
                  <a:pt x="1482725" y="622300"/>
                </a:lnTo>
                <a:lnTo>
                  <a:pt x="1495425" y="631825"/>
                </a:lnTo>
                <a:lnTo>
                  <a:pt x="1508125" y="638175"/>
                </a:lnTo>
                <a:lnTo>
                  <a:pt x="1530350" y="647700"/>
                </a:lnTo>
                <a:lnTo>
                  <a:pt x="1552575" y="650875"/>
                </a:lnTo>
                <a:lnTo>
                  <a:pt x="1571625" y="650875"/>
                </a:lnTo>
                <a:lnTo>
                  <a:pt x="1590675" y="650875"/>
                </a:lnTo>
                <a:lnTo>
                  <a:pt x="1622425" y="650875"/>
                </a:lnTo>
                <a:lnTo>
                  <a:pt x="1647825" y="654050"/>
                </a:lnTo>
                <a:lnTo>
                  <a:pt x="1670050" y="660400"/>
                </a:lnTo>
                <a:lnTo>
                  <a:pt x="1685925" y="666750"/>
                </a:lnTo>
                <a:lnTo>
                  <a:pt x="1695450" y="676275"/>
                </a:lnTo>
                <a:lnTo>
                  <a:pt x="1701800" y="682625"/>
                </a:lnTo>
                <a:lnTo>
                  <a:pt x="1708150" y="688975"/>
                </a:lnTo>
                <a:lnTo>
                  <a:pt x="1714500" y="698500"/>
                </a:lnTo>
                <a:lnTo>
                  <a:pt x="1717675" y="708025"/>
                </a:lnTo>
                <a:lnTo>
                  <a:pt x="1724025" y="727075"/>
                </a:lnTo>
                <a:lnTo>
                  <a:pt x="1724025" y="749300"/>
                </a:lnTo>
                <a:lnTo>
                  <a:pt x="1717675" y="768350"/>
                </a:lnTo>
                <a:lnTo>
                  <a:pt x="1704975" y="800100"/>
                </a:lnTo>
                <a:lnTo>
                  <a:pt x="1698625" y="809625"/>
                </a:lnTo>
                <a:lnTo>
                  <a:pt x="1676400" y="844550"/>
                </a:lnTo>
                <a:lnTo>
                  <a:pt x="1660525" y="873125"/>
                </a:lnTo>
                <a:lnTo>
                  <a:pt x="1651000" y="898525"/>
                </a:lnTo>
                <a:lnTo>
                  <a:pt x="1644650" y="917575"/>
                </a:lnTo>
                <a:lnTo>
                  <a:pt x="1641475" y="936625"/>
                </a:lnTo>
                <a:lnTo>
                  <a:pt x="1641475" y="949325"/>
                </a:lnTo>
                <a:lnTo>
                  <a:pt x="1641475" y="958850"/>
                </a:lnTo>
                <a:lnTo>
                  <a:pt x="1644650" y="974725"/>
                </a:lnTo>
                <a:lnTo>
                  <a:pt x="1647825" y="990600"/>
                </a:lnTo>
                <a:lnTo>
                  <a:pt x="1654175" y="1003300"/>
                </a:lnTo>
                <a:lnTo>
                  <a:pt x="1663700" y="1012825"/>
                </a:lnTo>
                <a:lnTo>
                  <a:pt x="1673225" y="1022350"/>
                </a:lnTo>
                <a:lnTo>
                  <a:pt x="1682750" y="1031875"/>
                </a:lnTo>
                <a:lnTo>
                  <a:pt x="1704975" y="1041400"/>
                </a:lnTo>
                <a:lnTo>
                  <a:pt x="1724025" y="1047750"/>
                </a:lnTo>
                <a:lnTo>
                  <a:pt x="1743075" y="1047750"/>
                </a:lnTo>
                <a:lnTo>
                  <a:pt x="1762125" y="1047750"/>
                </a:lnTo>
                <a:lnTo>
                  <a:pt x="1800225" y="1050925"/>
                </a:lnTo>
                <a:lnTo>
                  <a:pt x="1835150" y="1057275"/>
                </a:lnTo>
                <a:lnTo>
                  <a:pt x="1860550" y="1066800"/>
                </a:lnTo>
                <a:lnTo>
                  <a:pt x="1882775" y="1076325"/>
                </a:lnTo>
                <a:lnTo>
                  <a:pt x="1898650" y="1089025"/>
                </a:lnTo>
                <a:lnTo>
                  <a:pt x="1911350" y="1098550"/>
                </a:lnTo>
                <a:lnTo>
                  <a:pt x="1920875" y="1111250"/>
                </a:lnTo>
                <a:lnTo>
                  <a:pt x="1927225" y="1120775"/>
                </a:lnTo>
                <a:lnTo>
                  <a:pt x="1933575" y="1133475"/>
                </a:lnTo>
                <a:lnTo>
                  <a:pt x="1936750" y="1143000"/>
                </a:lnTo>
                <a:lnTo>
                  <a:pt x="1936750" y="1152525"/>
                </a:lnTo>
                <a:lnTo>
                  <a:pt x="1933575" y="1162050"/>
                </a:lnTo>
                <a:lnTo>
                  <a:pt x="1927225" y="1171575"/>
                </a:lnTo>
                <a:lnTo>
                  <a:pt x="1914525" y="1187450"/>
                </a:lnTo>
                <a:lnTo>
                  <a:pt x="1898650" y="1200150"/>
                </a:lnTo>
                <a:lnTo>
                  <a:pt x="1882775" y="1209675"/>
                </a:lnTo>
                <a:lnTo>
                  <a:pt x="1866900" y="1216025"/>
                </a:lnTo>
                <a:lnTo>
                  <a:pt x="1847850" y="1222375"/>
                </a:lnTo>
                <a:lnTo>
                  <a:pt x="1835150" y="1228725"/>
                </a:lnTo>
                <a:lnTo>
                  <a:pt x="1809750" y="1247775"/>
                </a:lnTo>
                <a:lnTo>
                  <a:pt x="1793875" y="1266825"/>
                </a:lnTo>
                <a:lnTo>
                  <a:pt x="1781175" y="1289050"/>
                </a:lnTo>
                <a:lnTo>
                  <a:pt x="1771650" y="1308100"/>
                </a:lnTo>
                <a:lnTo>
                  <a:pt x="1768475" y="1323975"/>
                </a:lnTo>
                <a:lnTo>
                  <a:pt x="1768475" y="1336675"/>
                </a:lnTo>
                <a:lnTo>
                  <a:pt x="1765300" y="1362075"/>
                </a:lnTo>
                <a:lnTo>
                  <a:pt x="1758950" y="1381125"/>
                </a:lnTo>
                <a:lnTo>
                  <a:pt x="1752600" y="1400175"/>
                </a:lnTo>
                <a:lnTo>
                  <a:pt x="1743075" y="1416050"/>
                </a:lnTo>
                <a:lnTo>
                  <a:pt x="1724025" y="1441450"/>
                </a:lnTo>
                <a:lnTo>
                  <a:pt x="1704975" y="1463675"/>
                </a:lnTo>
                <a:lnTo>
                  <a:pt x="1682750" y="1476375"/>
                </a:lnTo>
                <a:lnTo>
                  <a:pt x="1663700" y="1485900"/>
                </a:lnTo>
                <a:lnTo>
                  <a:pt x="1647825" y="1489075"/>
                </a:lnTo>
                <a:lnTo>
                  <a:pt x="1625600" y="1498600"/>
                </a:lnTo>
                <a:lnTo>
                  <a:pt x="1606550" y="1504950"/>
                </a:lnTo>
                <a:lnTo>
                  <a:pt x="1593850" y="1514475"/>
                </a:lnTo>
                <a:lnTo>
                  <a:pt x="1581150" y="1524000"/>
                </a:lnTo>
                <a:lnTo>
                  <a:pt x="1571625" y="1533525"/>
                </a:lnTo>
                <a:lnTo>
                  <a:pt x="1565275" y="1543050"/>
                </a:lnTo>
                <a:lnTo>
                  <a:pt x="1555750" y="1565275"/>
                </a:lnTo>
                <a:lnTo>
                  <a:pt x="1555750" y="1581150"/>
                </a:lnTo>
                <a:lnTo>
                  <a:pt x="1555750" y="1597025"/>
                </a:lnTo>
                <a:lnTo>
                  <a:pt x="1562100" y="1612900"/>
                </a:lnTo>
                <a:lnTo>
                  <a:pt x="1568450" y="1628775"/>
                </a:lnTo>
                <a:lnTo>
                  <a:pt x="1571625" y="1644650"/>
                </a:lnTo>
                <a:lnTo>
                  <a:pt x="1571625" y="1660525"/>
                </a:lnTo>
                <a:lnTo>
                  <a:pt x="1565275" y="1673225"/>
                </a:lnTo>
                <a:lnTo>
                  <a:pt x="1555750" y="1692275"/>
                </a:lnTo>
                <a:lnTo>
                  <a:pt x="1549400" y="1701800"/>
                </a:lnTo>
                <a:lnTo>
                  <a:pt x="1524000" y="1717675"/>
                </a:lnTo>
                <a:lnTo>
                  <a:pt x="1495425" y="1724025"/>
                </a:lnTo>
                <a:lnTo>
                  <a:pt x="1473200" y="1727200"/>
                </a:lnTo>
                <a:lnTo>
                  <a:pt x="1450975" y="1727200"/>
                </a:lnTo>
                <a:lnTo>
                  <a:pt x="1435100" y="1724025"/>
                </a:lnTo>
                <a:lnTo>
                  <a:pt x="1422400" y="1720850"/>
                </a:lnTo>
                <a:lnTo>
                  <a:pt x="1409700" y="1714500"/>
                </a:lnTo>
                <a:lnTo>
                  <a:pt x="1374775" y="1698625"/>
                </a:lnTo>
                <a:lnTo>
                  <a:pt x="1339850" y="1689100"/>
                </a:lnTo>
                <a:lnTo>
                  <a:pt x="1311275" y="1679575"/>
                </a:lnTo>
                <a:lnTo>
                  <a:pt x="1282700" y="1676400"/>
                </a:lnTo>
                <a:lnTo>
                  <a:pt x="1254125" y="1676400"/>
                </a:lnTo>
                <a:lnTo>
                  <a:pt x="1228725" y="1679575"/>
                </a:lnTo>
                <a:lnTo>
                  <a:pt x="1206500" y="1682750"/>
                </a:lnTo>
                <a:lnTo>
                  <a:pt x="1187450" y="1689100"/>
                </a:lnTo>
                <a:lnTo>
                  <a:pt x="1155700" y="1704975"/>
                </a:lnTo>
                <a:lnTo>
                  <a:pt x="1130300" y="1720850"/>
                </a:lnTo>
                <a:lnTo>
                  <a:pt x="1111250" y="1736725"/>
                </a:lnTo>
                <a:lnTo>
                  <a:pt x="1079500" y="1768475"/>
                </a:lnTo>
                <a:lnTo>
                  <a:pt x="1047750" y="1790700"/>
                </a:lnTo>
                <a:lnTo>
                  <a:pt x="1019175" y="1806575"/>
                </a:lnTo>
                <a:lnTo>
                  <a:pt x="993775" y="1816100"/>
                </a:lnTo>
                <a:lnTo>
                  <a:pt x="971550" y="1819275"/>
                </a:lnTo>
                <a:lnTo>
                  <a:pt x="952500" y="1819275"/>
                </a:lnTo>
                <a:lnTo>
                  <a:pt x="939800" y="1819275"/>
                </a:lnTo>
                <a:lnTo>
                  <a:pt x="908050" y="1812925"/>
                </a:lnTo>
                <a:lnTo>
                  <a:pt x="882650" y="1803400"/>
                </a:lnTo>
                <a:lnTo>
                  <a:pt x="863600" y="1787525"/>
                </a:lnTo>
                <a:lnTo>
                  <a:pt x="850900" y="1774825"/>
                </a:lnTo>
                <a:lnTo>
                  <a:pt x="841375" y="1758950"/>
                </a:lnTo>
                <a:lnTo>
                  <a:pt x="835025" y="1746250"/>
                </a:lnTo>
                <a:lnTo>
                  <a:pt x="831850" y="1736725"/>
                </a:lnTo>
                <a:lnTo>
                  <a:pt x="825500" y="1708150"/>
                </a:lnTo>
                <a:lnTo>
                  <a:pt x="812800" y="1685925"/>
                </a:lnTo>
                <a:lnTo>
                  <a:pt x="800100" y="1670050"/>
                </a:lnTo>
                <a:lnTo>
                  <a:pt x="784225" y="1660525"/>
                </a:lnTo>
                <a:lnTo>
                  <a:pt x="768350" y="1654175"/>
                </a:lnTo>
                <a:lnTo>
                  <a:pt x="755650" y="1651000"/>
                </a:lnTo>
                <a:lnTo>
                  <a:pt x="742950" y="1651000"/>
                </a:lnTo>
                <a:lnTo>
                  <a:pt x="717550" y="1651000"/>
                </a:lnTo>
                <a:lnTo>
                  <a:pt x="698500" y="1644650"/>
                </a:lnTo>
                <a:lnTo>
                  <a:pt x="679450" y="1635125"/>
                </a:lnTo>
                <a:lnTo>
                  <a:pt x="663575" y="1625600"/>
                </a:lnTo>
                <a:lnTo>
                  <a:pt x="654050" y="1612900"/>
                </a:lnTo>
                <a:lnTo>
                  <a:pt x="644525" y="1603375"/>
                </a:lnTo>
                <a:lnTo>
                  <a:pt x="638175" y="1593850"/>
                </a:lnTo>
                <a:lnTo>
                  <a:pt x="628650" y="1577975"/>
                </a:lnTo>
                <a:lnTo>
                  <a:pt x="615950" y="1568450"/>
                </a:lnTo>
                <a:lnTo>
                  <a:pt x="600075" y="1558925"/>
                </a:lnTo>
                <a:lnTo>
                  <a:pt x="587375" y="1552575"/>
                </a:lnTo>
                <a:lnTo>
                  <a:pt x="571500" y="1549400"/>
                </a:lnTo>
                <a:lnTo>
                  <a:pt x="555625" y="1546225"/>
                </a:lnTo>
                <a:lnTo>
                  <a:pt x="523875" y="1546225"/>
                </a:lnTo>
                <a:lnTo>
                  <a:pt x="495300" y="1552575"/>
                </a:lnTo>
                <a:lnTo>
                  <a:pt x="469900" y="1558925"/>
                </a:lnTo>
                <a:lnTo>
                  <a:pt x="447675" y="1568450"/>
                </a:lnTo>
                <a:lnTo>
                  <a:pt x="406400" y="1581150"/>
                </a:lnTo>
                <a:lnTo>
                  <a:pt x="368300" y="1587500"/>
                </a:lnTo>
                <a:lnTo>
                  <a:pt x="333375" y="1590675"/>
                </a:lnTo>
                <a:lnTo>
                  <a:pt x="304800" y="1593850"/>
                </a:lnTo>
                <a:lnTo>
                  <a:pt x="279400" y="1593850"/>
                </a:lnTo>
                <a:lnTo>
                  <a:pt x="254000" y="1590675"/>
                </a:lnTo>
                <a:lnTo>
                  <a:pt x="234950" y="1584325"/>
                </a:lnTo>
                <a:lnTo>
                  <a:pt x="219075" y="1581150"/>
                </a:lnTo>
                <a:lnTo>
                  <a:pt x="193675" y="1565275"/>
                </a:lnTo>
                <a:lnTo>
                  <a:pt x="180975" y="1552575"/>
                </a:lnTo>
                <a:lnTo>
                  <a:pt x="171450" y="1543050"/>
                </a:lnTo>
                <a:lnTo>
                  <a:pt x="168275" y="1536700"/>
                </a:lnTo>
                <a:lnTo>
                  <a:pt x="161925" y="1517650"/>
                </a:lnTo>
                <a:lnTo>
                  <a:pt x="155575" y="1495425"/>
                </a:lnTo>
                <a:lnTo>
                  <a:pt x="152400" y="1476375"/>
                </a:lnTo>
                <a:lnTo>
                  <a:pt x="152400" y="1457325"/>
                </a:lnTo>
                <a:lnTo>
                  <a:pt x="155575" y="1422400"/>
                </a:lnTo>
                <a:lnTo>
                  <a:pt x="165100" y="1390650"/>
                </a:lnTo>
                <a:lnTo>
                  <a:pt x="180975" y="1358900"/>
                </a:lnTo>
                <a:lnTo>
                  <a:pt x="200025" y="1333500"/>
                </a:lnTo>
                <a:lnTo>
                  <a:pt x="225425" y="1308100"/>
                </a:lnTo>
                <a:lnTo>
                  <a:pt x="250825" y="1289050"/>
                </a:lnTo>
                <a:lnTo>
                  <a:pt x="276225" y="1270000"/>
                </a:lnTo>
                <a:lnTo>
                  <a:pt x="304800" y="1254125"/>
                </a:lnTo>
                <a:lnTo>
                  <a:pt x="352425" y="1228725"/>
                </a:lnTo>
                <a:lnTo>
                  <a:pt x="387350" y="1212850"/>
                </a:lnTo>
                <a:lnTo>
                  <a:pt x="403225" y="1209675"/>
                </a:lnTo>
                <a:lnTo>
                  <a:pt x="441325" y="1193800"/>
                </a:lnTo>
                <a:lnTo>
                  <a:pt x="473075" y="1177925"/>
                </a:lnTo>
                <a:lnTo>
                  <a:pt x="495300" y="1158875"/>
                </a:lnTo>
                <a:lnTo>
                  <a:pt x="511175" y="1143000"/>
                </a:lnTo>
                <a:lnTo>
                  <a:pt x="523875" y="1123950"/>
                </a:lnTo>
                <a:lnTo>
                  <a:pt x="530225" y="1111250"/>
                </a:lnTo>
                <a:lnTo>
                  <a:pt x="533400" y="1101725"/>
                </a:lnTo>
                <a:lnTo>
                  <a:pt x="533400" y="1076325"/>
                </a:lnTo>
                <a:lnTo>
                  <a:pt x="527050" y="1060450"/>
                </a:lnTo>
                <a:lnTo>
                  <a:pt x="517525" y="1044575"/>
                </a:lnTo>
                <a:lnTo>
                  <a:pt x="508000" y="1035050"/>
                </a:lnTo>
                <a:lnTo>
                  <a:pt x="498475" y="1028700"/>
                </a:lnTo>
                <a:lnTo>
                  <a:pt x="492125" y="1022350"/>
                </a:lnTo>
                <a:lnTo>
                  <a:pt x="482600" y="1019175"/>
                </a:lnTo>
                <a:lnTo>
                  <a:pt x="454025" y="1012825"/>
                </a:lnTo>
                <a:lnTo>
                  <a:pt x="428625" y="1003300"/>
                </a:lnTo>
                <a:lnTo>
                  <a:pt x="406400" y="993775"/>
                </a:lnTo>
                <a:lnTo>
                  <a:pt x="387350" y="984250"/>
                </a:lnTo>
                <a:lnTo>
                  <a:pt x="358775" y="962025"/>
                </a:lnTo>
                <a:lnTo>
                  <a:pt x="339725" y="939800"/>
                </a:lnTo>
                <a:lnTo>
                  <a:pt x="327025" y="920750"/>
                </a:lnTo>
                <a:lnTo>
                  <a:pt x="320675" y="908050"/>
                </a:lnTo>
                <a:lnTo>
                  <a:pt x="320675" y="892175"/>
                </a:lnTo>
                <a:lnTo>
                  <a:pt x="323850" y="876300"/>
                </a:lnTo>
                <a:lnTo>
                  <a:pt x="333375" y="860425"/>
                </a:lnTo>
                <a:lnTo>
                  <a:pt x="342900" y="847725"/>
                </a:lnTo>
                <a:lnTo>
                  <a:pt x="358775" y="835025"/>
                </a:lnTo>
                <a:lnTo>
                  <a:pt x="377825" y="825500"/>
                </a:lnTo>
                <a:lnTo>
                  <a:pt x="396875" y="819150"/>
                </a:lnTo>
                <a:lnTo>
                  <a:pt x="438150" y="809625"/>
                </a:lnTo>
                <a:lnTo>
                  <a:pt x="482600" y="803275"/>
                </a:lnTo>
                <a:lnTo>
                  <a:pt x="517525" y="800100"/>
                </a:lnTo>
                <a:lnTo>
                  <a:pt x="555625" y="800100"/>
                </a:lnTo>
                <a:lnTo>
                  <a:pt x="581025" y="800100"/>
                </a:lnTo>
                <a:lnTo>
                  <a:pt x="606425" y="796925"/>
                </a:lnTo>
                <a:lnTo>
                  <a:pt x="650875" y="787400"/>
                </a:lnTo>
                <a:lnTo>
                  <a:pt x="682625" y="774700"/>
                </a:lnTo>
                <a:lnTo>
                  <a:pt x="704850" y="758825"/>
                </a:lnTo>
                <a:lnTo>
                  <a:pt x="720725" y="742950"/>
                </a:lnTo>
                <a:lnTo>
                  <a:pt x="730250" y="730250"/>
                </a:lnTo>
                <a:lnTo>
                  <a:pt x="736600" y="717550"/>
                </a:lnTo>
                <a:lnTo>
                  <a:pt x="742950" y="688975"/>
                </a:lnTo>
                <a:lnTo>
                  <a:pt x="742950" y="666750"/>
                </a:lnTo>
                <a:lnTo>
                  <a:pt x="739775" y="647700"/>
                </a:lnTo>
                <a:lnTo>
                  <a:pt x="733425" y="631825"/>
                </a:lnTo>
                <a:lnTo>
                  <a:pt x="727075" y="619125"/>
                </a:lnTo>
                <a:lnTo>
                  <a:pt x="717550" y="609600"/>
                </a:lnTo>
                <a:lnTo>
                  <a:pt x="711200" y="603250"/>
                </a:lnTo>
                <a:lnTo>
                  <a:pt x="685800" y="574675"/>
                </a:lnTo>
                <a:lnTo>
                  <a:pt x="666750" y="549275"/>
                </a:lnTo>
                <a:lnTo>
                  <a:pt x="657225" y="527050"/>
                </a:lnTo>
                <a:lnTo>
                  <a:pt x="654050" y="504825"/>
                </a:lnTo>
                <a:lnTo>
                  <a:pt x="650875" y="485775"/>
                </a:lnTo>
                <a:lnTo>
                  <a:pt x="654050" y="469900"/>
                </a:lnTo>
                <a:lnTo>
                  <a:pt x="657225" y="457200"/>
                </a:lnTo>
                <a:lnTo>
                  <a:pt x="663575" y="441325"/>
                </a:lnTo>
                <a:lnTo>
                  <a:pt x="673100" y="428625"/>
                </a:lnTo>
                <a:lnTo>
                  <a:pt x="682625" y="419100"/>
                </a:lnTo>
                <a:lnTo>
                  <a:pt x="692150" y="409575"/>
                </a:lnTo>
                <a:lnTo>
                  <a:pt x="704850" y="406400"/>
                </a:lnTo>
                <a:lnTo>
                  <a:pt x="717550" y="403225"/>
                </a:lnTo>
                <a:lnTo>
                  <a:pt x="746125" y="400050"/>
                </a:lnTo>
                <a:lnTo>
                  <a:pt x="768350" y="403225"/>
                </a:lnTo>
                <a:lnTo>
                  <a:pt x="790575" y="409575"/>
                </a:lnTo>
                <a:lnTo>
                  <a:pt x="809625" y="415925"/>
                </a:lnTo>
                <a:lnTo>
                  <a:pt x="828675" y="419100"/>
                </a:lnTo>
                <a:lnTo>
                  <a:pt x="847725" y="422275"/>
                </a:lnTo>
                <a:lnTo>
                  <a:pt x="866775" y="419100"/>
                </a:lnTo>
                <a:lnTo>
                  <a:pt x="882650" y="412750"/>
                </a:lnTo>
                <a:lnTo>
                  <a:pt x="898525" y="406400"/>
                </a:lnTo>
                <a:lnTo>
                  <a:pt x="914400" y="400050"/>
                </a:lnTo>
                <a:lnTo>
                  <a:pt x="939800" y="377825"/>
                </a:lnTo>
                <a:lnTo>
                  <a:pt x="958850" y="355600"/>
                </a:lnTo>
                <a:lnTo>
                  <a:pt x="974725" y="336550"/>
                </a:lnTo>
                <a:lnTo>
                  <a:pt x="987425" y="317500"/>
                </a:lnTo>
                <a:lnTo>
                  <a:pt x="1019175" y="254000"/>
                </a:lnTo>
                <a:lnTo>
                  <a:pt x="1054100" y="203200"/>
                </a:lnTo>
                <a:lnTo>
                  <a:pt x="1085850" y="165100"/>
                </a:lnTo>
                <a:lnTo>
                  <a:pt x="1120775" y="136525"/>
                </a:lnTo>
                <a:lnTo>
                  <a:pt x="1152525" y="117475"/>
                </a:lnTo>
                <a:lnTo>
                  <a:pt x="1184275" y="104775"/>
                </a:lnTo>
                <a:close/>
                <a:moveTo>
                  <a:pt x="958850" y="0"/>
                </a:moveTo>
                <a:lnTo>
                  <a:pt x="981075" y="3175"/>
                </a:lnTo>
                <a:lnTo>
                  <a:pt x="1000125" y="12700"/>
                </a:lnTo>
                <a:lnTo>
                  <a:pt x="1012825" y="25400"/>
                </a:lnTo>
                <a:lnTo>
                  <a:pt x="1022350" y="44450"/>
                </a:lnTo>
                <a:lnTo>
                  <a:pt x="1028700" y="63500"/>
                </a:lnTo>
                <a:lnTo>
                  <a:pt x="1028700" y="88900"/>
                </a:lnTo>
                <a:lnTo>
                  <a:pt x="1025525" y="114300"/>
                </a:lnTo>
                <a:lnTo>
                  <a:pt x="1016000" y="142875"/>
                </a:lnTo>
                <a:lnTo>
                  <a:pt x="1003300" y="171450"/>
                </a:lnTo>
                <a:lnTo>
                  <a:pt x="984250" y="196850"/>
                </a:lnTo>
                <a:lnTo>
                  <a:pt x="965200" y="222250"/>
                </a:lnTo>
                <a:lnTo>
                  <a:pt x="939800" y="244475"/>
                </a:lnTo>
                <a:lnTo>
                  <a:pt x="917575" y="263525"/>
                </a:lnTo>
                <a:lnTo>
                  <a:pt x="892175" y="276225"/>
                </a:lnTo>
                <a:lnTo>
                  <a:pt x="866775" y="282575"/>
                </a:lnTo>
                <a:lnTo>
                  <a:pt x="844550" y="285750"/>
                </a:lnTo>
                <a:lnTo>
                  <a:pt x="822325" y="282575"/>
                </a:lnTo>
                <a:lnTo>
                  <a:pt x="806450" y="273050"/>
                </a:lnTo>
                <a:lnTo>
                  <a:pt x="790575" y="260350"/>
                </a:lnTo>
                <a:lnTo>
                  <a:pt x="781050" y="241300"/>
                </a:lnTo>
                <a:lnTo>
                  <a:pt x="774700" y="222250"/>
                </a:lnTo>
                <a:lnTo>
                  <a:pt x="774700" y="196850"/>
                </a:lnTo>
                <a:lnTo>
                  <a:pt x="777875" y="171450"/>
                </a:lnTo>
                <a:lnTo>
                  <a:pt x="787400" y="142875"/>
                </a:lnTo>
                <a:lnTo>
                  <a:pt x="800100" y="114300"/>
                </a:lnTo>
                <a:lnTo>
                  <a:pt x="819150" y="88900"/>
                </a:lnTo>
                <a:lnTo>
                  <a:pt x="841375" y="63500"/>
                </a:lnTo>
                <a:lnTo>
                  <a:pt x="863600" y="41275"/>
                </a:lnTo>
                <a:lnTo>
                  <a:pt x="889000" y="22225"/>
                </a:lnTo>
                <a:lnTo>
                  <a:pt x="911225" y="9525"/>
                </a:lnTo>
                <a:lnTo>
                  <a:pt x="936625" y="3175"/>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4" name="Picture Placeholder 3">
            <a:extLst>
              <a:ext uri="{FF2B5EF4-FFF2-40B4-BE49-F238E27FC236}">
                <a16:creationId xmlns:a16="http://schemas.microsoft.com/office/drawing/2014/main" id="{D935D3AF-0C30-41AA-9125-27C74DB35B51}"/>
              </a:ext>
            </a:extLst>
          </p:cNvPr>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t="27459" b="27459"/>
          <a:stretch>
            <a:fillRect/>
          </a:stretch>
        </p:blipFill>
        <p:spPr>
          <a:solidFill>
            <a:schemeClr val="bg1">
              <a:lumMod val="85000"/>
            </a:schemeClr>
          </a:solidFill>
        </p:spPr>
      </p:pic>
      <p:pic>
        <p:nvPicPr>
          <p:cNvPr id="11" name="Picture Placeholder 10">
            <a:extLst>
              <a:ext uri="{FF2B5EF4-FFF2-40B4-BE49-F238E27FC236}">
                <a16:creationId xmlns:a16="http://schemas.microsoft.com/office/drawing/2014/main" id="{E9CD357A-F399-4C94-BAD3-32DBB2B5A72E}"/>
              </a:ext>
            </a:extLst>
          </p:cNvPr>
          <p:cNvPicPr>
            <a:picLocks noGrp="1" noChangeAspect="1"/>
          </p:cNvPicPr>
          <p:nvPr>
            <p:ph type="pic" sz="quarter" idx="14"/>
          </p:nvPr>
        </p:nvPicPr>
        <p:blipFill>
          <a:blip r:embed="rId5">
            <a:extLst>
              <a:ext uri="{28A0092B-C50C-407E-A947-70E740481C1C}">
                <a14:useLocalDpi xmlns:a14="http://schemas.microsoft.com/office/drawing/2010/main" val="0"/>
              </a:ext>
            </a:extLst>
          </a:blip>
          <a:srcRect l="7633" r="7633"/>
          <a:stretch>
            <a:fillRect/>
          </a:stretch>
        </p:blipFill>
        <p:spPr>
          <a:solidFill>
            <a:schemeClr val="bg1">
              <a:lumMod val="85000"/>
            </a:schemeClr>
          </a:solidFill>
        </p:spPr>
      </p:pic>
      <p:pic>
        <p:nvPicPr>
          <p:cNvPr id="36" name="Picture Placeholder 35">
            <a:extLst>
              <a:ext uri="{FF2B5EF4-FFF2-40B4-BE49-F238E27FC236}">
                <a16:creationId xmlns:a16="http://schemas.microsoft.com/office/drawing/2014/main" id="{5693E2D2-F589-4873-959B-71AAD7AC4509}"/>
              </a:ext>
            </a:extLst>
          </p:cNvPr>
          <p:cNvPicPr>
            <a:picLocks noGrp="1" noChangeAspect="1"/>
          </p:cNvPicPr>
          <p:nvPr>
            <p:ph type="pic" sz="quarter" idx="15"/>
          </p:nvPr>
        </p:nvPicPr>
        <p:blipFill>
          <a:blip r:embed="rId6">
            <a:extLst>
              <a:ext uri="{28A0092B-C50C-407E-A947-70E740481C1C}">
                <a14:useLocalDpi xmlns:a14="http://schemas.microsoft.com/office/drawing/2010/main" val="0"/>
              </a:ext>
            </a:extLst>
          </a:blip>
          <a:srcRect l="746" r="746"/>
          <a:stretch>
            <a:fillRect/>
          </a:stretch>
        </p:blipFill>
        <p:spPr>
          <a:solidFill>
            <a:schemeClr val="bg1">
              <a:lumMod val="85000"/>
            </a:schemeClr>
          </a:solidFill>
        </p:spPr>
      </p:pic>
      <p:sp>
        <p:nvSpPr>
          <p:cNvPr id="5" name="Rectangle 4"/>
          <p:cNvSpPr/>
          <p:nvPr>
            <p:custDataLst>
              <p:tags r:id="rId1"/>
            </p:custDataLst>
          </p:nvPr>
        </p:nvSpPr>
        <p:spPr>
          <a:xfrm>
            <a:off x="406318" y="890857"/>
            <a:ext cx="3378282" cy="199204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spc="-150" dirty="0">
                <a:solidFill>
                  <a:schemeClr val="tx1">
                    <a:lumMod val="85000"/>
                    <a:lumOff val="15000"/>
                  </a:schemeClr>
                </a:solidFill>
                <a:ea typeface="Source Sans Pro" panose="020B0503030403020204" pitchFamily="34" charset="0"/>
                <a:cs typeface="Open Sans Light" panose="020B0306030504020204" pitchFamily="34" charset="0"/>
              </a:rPr>
              <a:t>Those Who Are Too Busy To </a:t>
            </a:r>
            <a:r>
              <a:rPr lang="en-US" sz="3200" b="1" spc="-150" dirty="0">
                <a:solidFill>
                  <a:schemeClr val="tx1">
                    <a:lumMod val="85000"/>
                    <a:lumOff val="15000"/>
                  </a:schemeClr>
                </a:solidFill>
                <a:ea typeface="Source Sans Pro" panose="020B0503030403020204" pitchFamily="34" charset="0"/>
                <a:cs typeface="Open Sans Light" panose="020B0306030504020204" pitchFamily="34" charset="0"/>
              </a:rPr>
              <a:t>Be Looking For It</a:t>
            </a:r>
          </a:p>
        </p:txBody>
      </p:sp>
      <p:sp>
        <p:nvSpPr>
          <p:cNvPr id="6" name="Rectangle 5"/>
          <p:cNvSpPr/>
          <p:nvPr>
            <p:custDataLst>
              <p:tags r:id="rId2"/>
            </p:custDataLst>
          </p:nvPr>
        </p:nvSpPr>
        <p:spPr>
          <a:xfrm>
            <a:off x="465988" y="2628623"/>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lumMod val="85000"/>
                    <a:lumOff val="15000"/>
                  </a:schemeClr>
                </a:solidFill>
                <a:ea typeface="Open Sans" panose="020B0606030504020204" pitchFamily="34" charset="0"/>
                <a:cs typeface="Open Sans" panose="020B0606030504020204" pitchFamily="34" charset="0"/>
              </a:rPr>
              <a:t>Put Your Great Subtitle Here</a:t>
            </a:r>
          </a:p>
        </p:txBody>
      </p:sp>
      <p:sp>
        <p:nvSpPr>
          <p:cNvPr id="13" name="Rectangle 12"/>
          <p:cNvSpPr/>
          <p:nvPr/>
        </p:nvSpPr>
        <p:spPr>
          <a:xfrm>
            <a:off x="9350270" y="923804"/>
            <a:ext cx="2375741" cy="1517980"/>
          </a:xfrm>
          <a:prstGeom prst="rect">
            <a:avLst/>
          </a:prstGeom>
        </p:spPr>
        <p:txBody>
          <a:bodyPr wrap="square">
            <a:spAutoFit/>
          </a:bodyPr>
          <a:lstStyle/>
          <a:p>
            <a:pPr algn="just">
              <a:lnSpc>
                <a:spcPct val="200000"/>
              </a:lnSpc>
              <a:spcBef>
                <a:spcPts val="600"/>
              </a:spcBef>
              <a:buClr>
                <a:srgbClr val="E24848"/>
              </a:buClr>
              <a:defRPr/>
            </a:pPr>
            <a:r>
              <a:rPr lang="en-US" sz="1200" noProof="1">
                <a:solidFill>
                  <a:schemeClr val="tx1">
                    <a:lumMod val="85000"/>
                    <a:lumOff val="15000"/>
                  </a:schemeClr>
                </a:solidFill>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
        <p:nvSpPr>
          <p:cNvPr id="14" name="Rectangle 13"/>
          <p:cNvSpPr/>
          <p:nvPr/>
        </p:nvSpPr>
        <p:spPr>
          <a:xfrm>
            <a:off x="9328907" y="597605"/>
            <a:ext cx="1696361" cy="363099"/>
          </a:xfrm>
          <a:prstGeom prst="rect">
            <a:avLst/>
          </a:prstGeom>
        </p:spPr>
        <p:txBody>
          <a:bodyPr vert="horz" lIns="91440" tIns="45720" rIns="91440" bIns="45720" rtlCol="0" anchor="ctr">
            <a:noAutofit/>
          </a:bodyPr>
          <a:lstStyle/>
          <a:p>
            <a:pPr>
              <a:spcBef>
                <a:spcPct val="0"/>
              </a:spcBef>
            </a:pPr>
            <a:r>
              <a:rPr lang="en-US" sz="1200" b="1" noProof="1">
                <a:solidFill>
                  <a:schemeClr val="tx1">
                    <a:lumMod val="85000"/>
                    <a:lumOff val="15000"/>
                  </a:schemeClr>
                </a:solidFill>
                <a:ea typeface="Open Sans" panose="020B0606030504020204" pitchFamily="34" charset="0"/>
                <a:cs typeface="Open Sans" panose="020B0606030504020204" pitchFamily="34" charset="0"/>
              </a:rPr>
              <a:t>LOREM</a:t>
            </a:r>
            <a:r>
              <a:rPr lang="en-US" sz="1200" noProof="1">
                <a:solidFill>
                  <a:schemeClr val="tx1">
                    <a:lumMod val="85000"/>
                    <a:lumOff val="15000"/>
                  </a:schemeClr>
                </a:solidFill>
                <a:ea typeface="Open Sans" panose="020B0606030504020204" pitchFamily="34" charset="0"/>
                <a:cs typeface="Open Sans" panose="020B0606030504020204" pitchFamily="34" charset="0"/>
              </a:rPr>
              <a:t> IPSUM</a:t>
            </a:r>
          </a:p>
        </p:txBody>
      </p:sp>
      <p:sp>
        <p:nvSpPr>
          <p:cNvPr id="15" name="Rectangle 14"/>
          <p:cNvSpPr/>
          <p:nvPr/>
        </p:nvSpPr>
        <p:spPr>
          <a:xfrm>
            <a:off x="9350270" y="3114236"/>
            <a:ext cx="2375741" cy="1517980"/>
          </a:xfrm>
          <a:prstGeom prst="rect">
            <a:avLst/>
          </a:prstGeom>
        </p:spPr>
        <p:txBody>
          <a:bodyPr wrap="square">
            <a:spAutoFit/>
          </a:bodyPr>
          <a:lstStyle/>
          <a:p>
            <a:pPr algn="just">
              <a:lnSpc>
                <a:spcPct val="200000"/>
              </a:lnSpc>
              <a:spcBef>
                <a:spcPts val="600"/>
              </a:spcBef>
              <a:buClr>
                <a:srgbClr val="E24848"/>
              </a:buClr>
              <a:defRPr/>
            </a:pPr>
            <a:r>
              <a:rPr lang="en-US" sz="1200" noProof="1">
                <a:solidFill>
                  <a:schemeClr val="tx1">
                    <a:lumMod val="85000"/>
                    <a:lumOff val="15000"/>
                  </a:schemeClr>
                </a:solidFill>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
        <p:nvSpPr>
          <p:cNvPr id="16" name="Rectangle 15"/>
          <p:cNvSpPr/>
          <p:nvPr/>
        </p:nvSpPr>
        <p:spPr>
          <a:xfrm>
            <a:off x="9328907" y="2788037"/>
            <a:ext cx="1696361" cy="363099"/>
          </a:xfrm>
          <a:prstGeom prst="rect">
            <a:avLst/>
          </a:prstGeom>
        </p:spPr>
        <p:txBody>
          <a:bodyPr vert="horz" lIns="91440" tIns="45720" rIns="91440" bIns="45720" rtlCol="0" anchor="ctr">
            <a:noAutofit/>
          </a:bodyPr>
          <a:lstStyle/>
          <a:p>
            <a:pPr>
              <a:spcBef>
                <a:spcPct val="0"/>
              </a:spcBef>
            </a:pPr>
            <a:r>
              <a:rPr lang="en-US" sz="1200" b="1" noProof="1">
                <a:solidFill>
                  <a:schemeClr val="tx1">
                    <a:lumMod val="85000"/>
                    <a:lumOff val="15000"/>
                  </a:schemeClr>
                </a:solidFill>
                <a:ea typeface="Open Sans" panose="020B0606030504020204" pitchFamily="34" charset="0"/>
                <a:cs typeface="Open Sans" panose="020B0606030504020204" pitchFamily="34" charset="0"/>
              </a:rPr>
              <a:t>LOREM</a:t>
            </a:r>
            <a:r>
              <a:rPr lang="en-US" sz="1200" noProof="1">
                <a:solidFill>
                  <a:schemeClr val="tx1">
                    <a:lumMod val="85000"/>
                    <a:lumOff val="15000"/>
                  </a:schemeClr>
                </a:solidFill>
                <a:ea typeface="Open Sans" panose="020B0606030504020204" pitchFamily="34" charset="0"/>
                <a:cs typeface="Open Sans" panose="020B0606030504020204" pitchFamily="34" charset="0"/>
              </a:rPr>
              <a:t> IPSUM</a:t>
            </a:r>
          </a:p>
        </p:txBody>
      </p:sp>
      <p:sp>
        <p:nvSpPr>
          <p:cNvPr id="17" name="Rectangle 16"/>
          <p:cNvSpPr/>
          <p:nvPr/>
        </p:nvSpPr>
        <p:spPr>
          <a:xfrm>
            <a:off x="9350270" y="5267768"/>
            <a:ext cx="2375741" cy="1517980"/>
          </a:xfrm>
          <a:prstGeom prst="rect">
            <a:avLst/>
          </a:prstGeom>
        </p:spPr>
        <p:txBody>
          <a:bodyPr wrap="square">
            <a:spAutoFit/>
          </a:bodyPr>
          <a:lstStyle/>
          <a:p>
            <a:pPr algn="just">
              <a:lnSpc>
                <a:spcPct val="200000"/>
              </a:lnSpc>
              <a:spcBef>
                <a:spcPts val="600"/>
              </a:spcBef>
              <a:buClr>
                <a:srgbClr val="E24848"/>
              </a:buClr>
              <a:defRPr/>
            </a:pPr>
            <a:r>
              <a:rPr lang="en-US" sz="1200" noProof="1">
                <a:solidFill>
                  <a:schemeClr val="tx1">
                    <a:lumMod val="85000"/>
                    <a:lumOff val="15000"/>
                  </a:schemeClr>
                </a:solidFill>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
        <p:nvSpPr>
          <p:cNvPr id="18" name="Rectangle 17"/>
          <p:cNvSpPr/>
          <p:nvPr/>
        </p:nvSpPr>
        <p:spPr>
          <a:xfrm>
            <a:off x="9328907" y="4941569"/>
            <a:ext cx="1696361" cy="363099"/>
          </a:xfrm>
          <a:prstGeom prst="rect">
            <a:avLst/>
          </a:prstGeom>
        </p:spPr>
        <p:txBody>
          <a:bodyPr vert="horz" lIns="91440" tIns="45720" rIns="91440" bIns="45720" rtlCol="0" anchor="ctr">
            <a:noAutofit/>
          </a:bodyPr>
          <a:lstStyle/>
          <a:p>
            <a:pPr>
              <a:spcBef>
                <a:spcPct val="0"/>
              </a:spcBef>
            </a:pPr>
            <a:r>
              <a:rPr lang="en-US" sz="1200" b="1" noProof="1">
                <a:solidFill>
                  <a:schemeClr val="tx1">
                    <a:lumMod val="85000"/>
                    <a:lumOff val="15000"/>
                  </a:schemeClr>
                </a:solidFill>
                <a:ea typeface="Open Sans" panose="020B0606030504020204" pitchFamily="34" charset="0"/>
                <a:cs typeface="Open Sans" panose="020B0606030504020204" pitchFamily="34" charset="0"/>
              </a:rPr>
              <a:t>LOREM</a:t>
            </a:r>
            <a:r>
              <a:rPr lang="en-US" sz="1200" noProof="1">
                <a:solidFill>
                  <a:schemeClr val="tx1">
                    <a:lumMod val="85000"/>
                    <a:lumOff val="15000"/>
                  </a:schemeClr>
                </a:solidFill>
                <a:ea typeface="Open Sans" panose="020B0606030504020204" pitchFamily="34" charset="0"/>
                <a:cs typeface="Open Sans" panose="020B0606030504020204" pitchFamily="34" charset="0"/>
              </a:rPr>
              <a:t> IPSUM</a:t>
            </a:r>
          </a:p>
        </p:txBody>
      </p:sp>
      <p:grpSp>
        <p:nvGrpSpPr>
          <p:cNvPr id="19" name="Group 18"/>
          <p:cNvGrpSpPr/>
          <p:nvPr/>
        </p:nvGrpSpPr>
        <p:grpSpPr>
          <a:xfrm>
            <a:off x="8559369" y="877532"/>
            <a:ext cx="247879" cy="344143"/>
            <a:chOff x="1336365" y="4507890"/>
            <a:chExt cx="299934" cy="416413"/>
          </a:xfrm>
          <a:solidFill>
            <a:schemeClr val="bg1"/>
          </a:solidFill>
        </p:grpSpPr>
        <p:sp>
          <p:nvSpPr>
            <p:cNvPr id="20" name="Freeform 247"/>
            <p:cNvSpPr>
              <a:spLocks noEditPoints="1"/>
            </p:cNvSpPr>
            <p:nvPr/>
          </p:nvSpPr>
          <p:spPr bwMode="auto">
            <a:xfrm>
              <a:off x="1336365" y="4812192"/>
              <a:ext cx="112111" cy="112111"/>
            </a:xfrm>
            <a:custGeom>
              <a:avLst/>
              <a:gdLst>
                <a:gd name="T0" fmla="*/ 106 w 230"/>
                <a:gd name="T1" fmla="*/ 39 h 232"/>
                <a:gd name="T2" fmla="*/ 92 w 230"/>
                <a:gd name="T3" fmla="*/ 44 h 232"/>
                <a:gd name="T4" fmla="*/ 72 w 230"/>
                <a:gd name="T5" fmla="*/ 52 h 232"/>
                <a:gd name="T6" fmla="*/ 51 w 230"/>
                <a:gd name="T7" fmla="*/ 74 h 232"/>
                <a:gd name="T8" fmla="*/ 41 w 230"/>
                <a:gd name="T9" fmla="*/ 94 h 232"/>
                <a:gd name="T10" fmla="*/ 38 w 230"/>
                <a:gd name="T11" fmla="*/ 108 h 232"/>
                <a:gd name="T12" fmla="*/ 38 w 230"/>
                <a:gd name="T13" fmla="*/ 124 h 232"/>
                <a:gd name="T14" fmla="*/ 41 w 230"/>
                <a:gd name="T15" fmla="*/ 140 h 232"/>
                <a:gd name="T16" fmla="*/ 51 w 230"/>
                <a:gd name="T17" fmla="*/ 160 h 232"/>
                <a:gd name="T18" fmla="*/ 72 w 230"/>
                <a:gd name="T19" fmla="*/ 180 h 232"/>
                <a:gd name="T20" fmla="*/ 92 w 230"/>
                <a:gd name="T21" fmla="*/ 191 h 232"/>
                <a:gd name="T22" fmla="*/ 106 w 230"/>
                <a:gd name="T23" fmla="*/ 193 h 232"/>
                <a:gd name="T24" fmla="*/ 123 w 230"/>
                <a:gd name="T25" fmla="*/ 193 h 232"/>
                <a:gd name="T26" fmla="*/ 138 w 230"/>
                <a:gd name="T27" fmla="*/ 191 h 232"/>
                <a:gd name="T28" fmla="*/ 158 w 230"/>
                <a:gd name="T29" fmla="*/ 179 h 232"/>
                <a:gd name="T30" fmla="*/ 180 w 230"/>
                <a:gd name="T31" fmla="*/ 157 h 232"/>
                <a:gd name="T32" fmla="*/ 191 w 230"/>
                <a:gd name="T33" fmla="*/ 130 h 232"/>
                <a:gd name="T34" fmla="*/ 193 w 230"/>
                <a:gd name="T35" fmla="*/ 39 h 232"/>
                <a:gd name="T36" fmla="*/ 115 w 230"/>
                <a:gd name="T37" fmla="*/ 232 h 232"/>
                <a:gd name="T38" fmla="*/ 92 w 230"/>
                <a:gd name="T39" fmla="*/ 231 h 232"/>
                <a:gd name="T40" fmla="*/ 70 w 230"/>
                <a:gd name="T41" fmla="*/ 224 h 232"/>
                <a:gd name="T42" fmla="*/ 50 w 230"/>
                <a:gd name="T43" fmla="*/ 214 h 232"/>
                <a:gd name="T44" fmla="*/ 33 w 230"/>
                <a:gd name="T45" fmla="*/ 199 h 232"/>
                <a:gd name="T46" fmla="*/ 18 w 230"/>
                <a:gd name="T47" fmla="*/ 182 h 232"/>
                <a:gd name="T48" fmla="*/ 8 w 230"/>
                <a:gd name="T49" fmla="*/ 162 h 232"/>
                <a:gd name="T50" fmla="*/ 1 w 230"/>
                <a:gd name="T51" fmla="*/ 140 h 232"/>
                <a:gd name="T52" fmla="*/ 0 w 230"/>
                <a:gd name="T53" fmla="*/ 117 h 232"/>
                <a:gd name="T54" fmla="*/ 1 w 230"/>
                <a:gd name="T55" fmla="*/ 94 h 232"/>
                <a:gd name="T56" fmla="*/ 8 w 230"/>
                <a:gd name="T57" fmla="*/ 72 h 232"/>
                <a:gd name="T58" fmla="*/ 18 w 230"/>
                <a:gd name="T59" fmla="*/ 52 h 232"/>
                <a:gd name="T60" fmla="*/ 33 w 230"/>
                <a:gd name="T61" fmla="*/ 35 h 232"/>
                <a:gd name="T62" fmla="*/ 50 w 230"/>
                <a:gd name="T63" fmla="*/ 21 h 232"/>
                <a:gd name="T64" fmla="*/ 70 w 230"/>
                <a:gd name="T65" fmla="*/ 11 h 232"/>
                <a:gd name="T66" fmla="*/ 92 w 230"/>
                <a:gd name="T67" fmla="*/ 3 h 232"/>
                <a:gd name="T68" fmla="*/ 115 w 230"/>
                <a:gd name="T69" fmla="*/ 0 h 232"/>
                <a:gd name="T70" fmla="*/ 230 w 230"/>
                <a:gd name="T71" fmla="*/ 117 h 232"/>
                <a:gd name="T72" fmla="*/ 229 w 230"/>
                <a:gd name="T73" fmla="*/ 140 h 232"/>
                <a:gd name="T74" fmla="*/ 221 w 230"/>
                <a:gd name="T75" fmla="*/ 160 h 232"/>
                <a:gd name="T76" fmla="*/ 210 w 230"/>
                <a:gd name="T77" fmla="*/ 180 h 232"/>
                <a:gd name="T78" fmla="*/ 195 w 230"/>
                <a:gd name="T79" fmla="*/ 198 h 232"/>
                <a:gd name="T80" fmla="*/ 178 w 230"/>
                <a:gd name="T81" fmla="*/ 212 h 232"/>
                <a:gd name="T82" fmla="*/ 159 w 230"/>
                <a:gd name="T83" fmla="*/ 224 h 232"/>
                <a:gd name="T84" fmla="*/ 138 w 230"/>
                <a:gd name="T85" fmla="*/ 231 h 232"/>
                <a:gd name="T86" fmla="*/ 115 w 230"/>
                <a:gd name="T87"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 h="232">
                  <a:moveTo>
                    <a:pt x="115" y="39"/>
                  </a:moveTo>
                  <a:lnTo>
                    <a:pt x="106" y="39"/>
                  </a:lnTo>
                  <a:lnTo>
                    <a:pt x="99" y="41"/>
                  </a:lnTo>
                  <a:lnTo>
                    <a:pt x="92" y="44"/>
                  </a:lnTo>
                  <a:lnTo>
                    <a:pt x="85" y="45"/>
                  </a:lnTo>
                  <a:lnTo>
                    <a:pt x="72" y="52"/>
                  </a:lnTo>
                  <a:lnTo>
                    <a:pt x="60" y="62"/>
                  </a:lnTo>
                  <a:lnTo>
                    <a:pt x="51" y="74"/>
                  </a:lnTo>
                  <a:lnTo>
                    <a:pt x="44" y="87"/>
                  </a:lnTo>
                  <a:lnTo>
                    <a:pt x="41" y="94"/>
                  </a:lnTo>
                  <a:lnTo>
                    <a:pt x="38" y="101"/>
                  </a:lnTo>
                  <a:lnTo>
                    <a:pt x="38" y="108"/>
                  </a:lnTo>
                  <a:lnTo>
                    <a:pt x="37" y="117"/>
                  </a:lnTo>
                  <a:lnTo>
                    <a:pt x="38" y="124"/>
                  </a:lnTo>
                  <a:lnTo>
                    <a:pt x="38" y="133"/>
                  </a:lnTo>
                  <a:lnTo>
                    <a:pt x="41" y="140"/>
                  </a:lnTo>
                  <a:lnTo>
                    <a:pt x="44" y="147"/>
                  </a:lnTo>
                  <a:lnTo>
                    <a:pt x="51" y="160"/>
                  </a:lnTo>
                  <a:lnTo>
                    <a:pt x="60" y="172"/>
                  </a:lnTo>
                  <a:lnTo>
                    <a:pt x="72" y="180"/>
                  </a:lnTo>
                  <a:lnTo>
                    <a:pt x="85" y="188"/>
                  </a:lnTo>
                  <a:lnTo>
                    <a:pt x="92" y="191"/>
                  </a:lnTo>
                  <a:lnTo>
                    <a:pt x="99" y="192"/>
                  </a:lnTo>
                  <a:lnTo>
                    <a:pt x="106" y="193"/>
                  </a:lnTo>
                  <a:lnTo>
                    <a:pt x="115" y="193"/>
                  </a:lnTo>
                  <a:lnTo>
                    <a:pt x="123" y="193"/>
                  </a:lnTo>
                  <a:lnTo>
                    <a:pt x="131" y="192"/>
                  </a:lnTo>
                  <a:lnTo>
                    <a:pt x="138" y="191"/>
                  </a:lnTo>
                  <a:lnTo>
                    <a:pt x="145" y="188"/>
                  </a:lnTo>
                  <a:lnTo>
                    <a:pt x="158" y="179"/>
                  </a:lnTo>
                  <a:lnTo>
                    <a:pt x="170" y="169"/>
                  </a:lnTo>
                  <a:lnTo>
                    <a:pt x="180" y="157"/>
                  </a:lnTo>
                  <a:lnTo>
                    <a:pt x="187" y="144"/>
                  </a:lnTo>
                  <a:lnTo>
                    <a:pt x="191" y="130"/>
                  </a:lnTo>
                  <a:lnTo>
                    <a:pt x="193" y="117"/>
                  </a:lnTo>
                  <a:lnTo>
                    <a:pt x="193" y="39"/>
                  </a:lnTo>
                  <a:lnTo>
                    <a:pt x="115" y="39"/>
                  </a:lnTo>
                  <a:close/>
                  <a:moveTo>
                    <a:pt x="115" y="232"/>
                  </a:moveTo>
                  <a:lnTo>
                    <a:pt x="103" y="232"/>
                  </a:lnTo>
                  <a:lnTo>
                    <a:pt x="92" y="231"/>
                  </a:lnTo>
                  <a:lnTo>
                    <a:pt x="80" y="228"/>
                  </a:lnTo>
                  <a:lnTo>
                    <a:pt x="70" y="224"/>
                  </a:lnTo>
                  <a:lnTo>
                    <a:pt x="60" y="219"/>
                  </a:lnTo>
                  <a:lnTo>
                    <a:pt x="50" y="214"/>
                  </a:lnTo>
                  <a:lnTo>
                    <a:pt x="41" y="206"/>
                  </a:lnTo>
                  <a:lnTo>
                    <a:pt x="33" y="199"/>
                  </a:lnTo>
                  <a:lnTo>
                    <a:pt x="26" y="191"/>
                  </a:lnTo>
                  <a:lnTo>
                    <a:pt x="18" y="182"/>
                  </a:lnTo>
                  <a:lnTo>
                    <a:pt x="13" y="172"/>
                  </a:lnTo>
                  <a:lnTo>
                    <a:pt x="8" y="162"/>
                  </a:lnTo>
                  <a:lnTo>
                    <a:pt x="4" y="152"/>
                  </a:lnTo>
                  <a:lnTo>
                    <a:pt x="1" y="140"/>
                  </a:lnTo>
                  <a:lnTo>
                    <a:pt x="0" y="129"/>
                  </a:lnTo>
                  <a:lnTo>
                    <a:pt x="0" y="117"/>
                  </a:lnTo>
                  <a:lnTo>
                    <a:pt x="0" y="106"/>
                  </a:lnTo>
                  <a:lnTo>
                    <a:pt x="1" y="94"/>
                  </a:lnTo>
                  <a:lnTo>
                    <a:pt x="4" y="83"/>
                  </a:lnTo>
                  <a:lnTo>
                    <a:pt x="8" y="72"/>
                  </a:lnTo>
                  <a:lnTo>
                    <a:pt x="13" y="62"/>
                  </a:lnTo>
                  <a:lnTo>
                    <a:pt x="18" y="52"/>
                  </a:lnTo>
                  <a:lnTo>
                    <a:pt x="26" y="44"/>
                  </a:lnTo>
                  <a:lnTo>
                    <a:pt x="33" y="35"/>
                  </a:lnTo>
                  <a:lnTo>
                    <a:pt x="41" y="28"/>
                  </a:lnTo>
                  <a:lnTo>
                    <a:pt x="50" y="21"/>
                  </a:lnTo>
                  <a:lnTo>
                    <a:pt x="60" y="15"/>
                  </a:lnTo>
                  <a:lnTo>
                    <a:pt x="70" y="11"/>
                  </a:lnTo>
                  <a:lnTo>
                    <a:pt x="80" y="6"/>
                  </a:lnTo>
                  <a:lnTo>
                    <a:pt x="92" y="3"/>
                  </a:lnTo>
                  <a:lnTo>
                    <a:pt x="103" y="2"/>
                  </a:lnTo>
                  <a:lnTo>
                    <a:pt x="115" y="0"/>
                  </a:lnTo>
                  <a:lnTo>
                    <a:pt x="230" y="0"/>
                  </a:lnTo>
                  <a:lnTo>
                    <a:pt x="230" y="117"/>
                  </a:lnTo>
                  <a:lnTo>
                    <a:pt x="230" y="129"/>
                  </a:lnTo>
                  <a:lnTo>
                    <a:pt x="229" y="140"/>
                  </a:lnTo>
                  <a:lnTo>
                    <a:pt x="226" y="150"/>
                  </a:lnTo>
                  <a:lnTo>
                    <a:pt x="221" y="160"/>
                  </a:lnTo>
                  <a:lnTo>
                    <a:pt x="216" y="170"/>
                  </a:lnTo>
                  <a:lnTo>
                    <a:pt x="210" y="180"/>
                  </a:lnTo>
                  <a:lnTo>
                    <a:pt x="204" y="189"/>
                  </a:lnTo>
                  <a:lnTo>
                    <a:pt x="195" y="198"/>
                  </a:lnTo>
                  <a:lnTo>
                    <a:pt x="187" y="205"/>
                  </a:lnTo>
                  <a:lnTo>
                    <a:pt x="178" y="212"/>
                  </a:lnTo>
                  <a:lnTo>
                    <a:pt x="170" y="218"/>
                  </a:lnTo>
                  <a:lnTo>
                    <a:pt x="159" y="224"/>
                  </a:lnTo>
                  <a:lnTo>
                    <a:pt x="148" y="228"/>
                  </a:lnTo>
                  <a:lnTo>
                    <a:pt x="138" y="231"/>
                  </a:lnTo>
                  <a:lnTo>
                    <a:pt x="126" y="232"/>
                  </a:lnTo>
                  <a:lnTo>
                    <a:pt x="115"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48"/>
            <p:cNvSpPr>
              <a:spLocks noEditPoints="1"/>
            </p:cNvSpPr>
            <p:nvPr/>
          </p:nvSpPr>
          <p:spPr bwMode="auto">
            <a:xfrm>
              <a:off x="1524188" y="4756864"/>
              <a:ext cx="112111" cy="112111"/>
            </a:xfrm>
            <a:custGeom>
              <a:avLst/>
              <a:gdLst>
                <a:gd name="T0" fmla="*/ 108 w 231"/>
                <a:gd name="T1" fmla="*/ 39 h 232"/>
                <a:gd name="T2" fmla="*/ 92 w 231"/>
                <a:gd name="T3" fmla="*/ 42 h 232"/>
                <a:gd name="T4" fmla="*/ 72 w 231"/>
                <a:gd name="T5" fmla="*/ 52 h 232"/>
                <a:gd name="T6" fmla="*/ 51 w 231"/>
                <a:gd name="T7" fmla="*/ 72 h 232"/>
                <a:gd name="T8" fmla="*/ 41 w 231"/>
                <a:gd name="T9" fmla="*/ 92 h 232"/>
                <a:gd name="T10" fmla="*/ 38 w 231"/>
                <a:gd name="T11" fmla="*/ 108 h 232"/>
                <a:gd name="T12" fmla="*/ 38 w 231"/>
                <a:gd name="T13" fmla="*/ 124 h 232"/>
                <a:gd name="T14" fmla="*/ 41 w 231"/>
                <a:gd name="T15" fmla="*/ 138 h 232"/>
                <a:gd name="T16" fmla="*/ 51 w 231"/>
                <a:gd name="T17" fmla="*/ 159 h 232"/>
                <a:gd name="T18" fmla="*/ 72 w 231"/>
                <a:gd name="T19" fmla="*/ 180 h 232"/>
                <a:gd name="T20" fmla="*/ 92 w 231"/>
                <a:gd name="T21" fmla="*/ 190 h 232"/>
                <a:gd name="T22" fmla="*/ 108 w 231"/>
                <a:gd name="T23" fmla="*/ 193 h 232"/>
                <a:gd name="T24" fmla="*/ 123 w 231"/>
                <a:gd name="T25" fmla="*/ 193 h 232"/>
                <a:gd name="T26" fmla="*/ 139 w 231"/>
                <a:gd name="T27" fmla="*/ 189 h 232"/>
                <a:gd name="T28" fmla="*/ 159 w 231"/>
                <a:gd name="T29" fmla="*/ 179 h 232"/>
                <a:gd name="T30" fmla="*/ 180 w 231"/>
                <a:gd name="T31" fmla="*/ 156 h 232"/>
                <a:gd name="T32" fmla="*/ 191 w 231"/>
                <a:gd name="T33" fmla="*/ 130 h 232"/>
                <a:gd name="T34" fmla="*/ 192 w 231"/>
                <a:gd name="T35" fmla="*/ 39 h 232"/>
                <a:gd name="T36" fmla="*/ 115 w 231"/>
                <a:gd name="T37" fmla="*/ 232 h 232"/>
                <a:gd name="T38" fmla="*/ 92 w 231"/>
                <a:gd name="T39" fmla="*/ 229 h 232"/>
                <a:gd name="T40" fmla="*/ 70 w 231"/>
                <a:gd name="T41" fmla="*/ 222 h 232"/>
                <a:gd name="T42" fmla="*/ 50 w 231"/>
                <a:gd name="T43" fmla="*/ 212 h 232"/>
                <a:gd name="T44" fmla="*/ 33 w 231"/>
                <a:gd name="T45" fmla="*/ 198 h 232"/>
                <a:gd name="T46" fmla="*/ 18 w 231"/>
                <a:gd name="T47" fmla="*/ 180 h 232"/>
                <a:gd name="T48" fmla="*/ 8 w 231"/>
                <a:gd name="T49" fmla="*/ 162 h 232"/>
                <a:gd name="T50" fmla="*/ 1 w 231"/>
                <a:gd name="T51" fmla="*/ 140 h 232"/>
                <a:gd name="T52" fmla="*/ 0 w 231"/>
                <a:gd name="T53" fmla="*/ 115 h 232"/>
                <a:gd name="T54" fmla="*/ 1 w 231"/>
                <a:gd name="T55" fmla="*/ 92 h 232"/>
                <a:gd name="T56" fmla="*/ 8 w 231"/>
                <a:gd name="T57" fmla="*/ 71 h 232"/>
                <a:gd name="T58" fmla="*/ 18 w 231"/>
                <a:gd name="T59" fmla="*/ 51 h 232"/>
                <a:gd name="T60" fmla="*/ 33 w 231"/>
                <a:gd name="T61" fmla="*/ 35 h 232"/>
                <a:gd name="T62" fmla="*/ 50 w 231"/>
                <a:gd name="T63" fmla="*/ 20 h 232"/>
                <a:gd name="T64" fmla="*/ 70 w 231"/>
                <a:gd name="T65" fmla="*/ 9 h 232"/>
                <a:gd name="T66" fmla="*/ 92 w 231"/>
                <a:gd name="T67" fmla="*/ 3 h 232"/>
                <a:gd name="T68" fmla="*/ 115 w 231"/>
                <a:gd name="T69" fmla="*/ 0 h 232"/>
                <a:gd name="T70" fmla="*/ 231 w 231"/>
                <a:gd name="T71" fmla="*/ 115 h 232"/>
                <a:gd name="T72" fmla="*/ 228 w 231"/>
                <a:gd name="T73" fmla="*/ 138 h 232"/>
                <a:gd name="T74" fmla="*/ 221 w 231"/>
                <a:gd name="T75" fmla="*/ 160 h 232"/>
                <a:gd name="T76" fmla="*/ 210 w 231"/>
                <a:gd name="T77" fmla="*/ 180 h 232"/>
                <a:gd name="T78" fmla="*/ 195 w 231"/>
                <a:gd name="T79" fmla="*/ 198 h 232"/>
                <a:gd name="T80" fmla="*/ 178 w 231"/>
                <a:gd name="T81" fmla="*/ 212 h 232"/>
                <a:gd name="T82" fmla="*/ 159 w 231"/>
                <a:gd name="T83" fmla="*/ 222 h 232"/>
                <a:gd name="T84" fmla="*/ 138 w 231"/>
                <a:gd name="T85" fmla="*/ 229 h 232"/>
                <a:gd name="T86" fmla="*/ 115 w 231"/>
                <a:gd name="T87"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1" h="232">
                  <a:moveTo>
                    <a:pt x="115" y="39"/>
                  </a:moveTo>
                  <a:lnTo>
                    <a:pt x="108" y="39"/>
                  </a:lnTo>
                  <a:lnTo>
                    <a:pt x="99" y="41"/>
                  </a:lnTo>
                  <a:lnTo>
                    <a:pt x="92" y="42"/>
                  </a:lnTo>
                  <a:lnTo>
                    <a:pt x="84" y="45"/>
                  </a:lnTo>
                  <a:lnTo>
                    <a:pt x="72" y="52"/>
                  </a:lnTo>
                  <a:lnTo>
                    <a:pt x="60" y="61"/>
                  </a:lnTo>
                  <a:lnTo>
                    <a:pt x="51" y="72"/>
                  </a:lnTo>
                  <a:lnTo>
                    <a:pt x="44" y="87"/>
                  </a:lnTo>
                  <a:lnTo>
                    <a:pt x="41" y="92"/>
                  </a:lnTo>
                  <a:lnTo>
                    <a:pt x="40" y="101"/>
                  </a:lnTo>
                  <a:lnTo>
                    <a:pt x="38" y="108"/>
                  </a:lnTo>
                  <a:lnTo>
                    <a:pt x="38" y="115"/>
                  </a:lnTo>
                  <a:lnTo>
                    <a:pt x="38" y="124"/>
                  </a:lnTo>
                  <a:lnTo>
                    <a:pt x="40" y="131"/>
                  </a:lnTo>
                  <a:lnTo>
                    <a:pt x="41" y="138"/>
                  </a:lnTo>
                  <a:lnTo>
                    <a:pt x="44" y="146"/>
                  </a:lnTo>
                  <a:lnTo>
                    <a:pt x="51" y="159"/>
                  </a:lnTo>
                  <a:lnTo>
                    <a:pt x="60" y="170"/>
                  </a:lnTo>
                  <a:lnTo>
                    <a:pt x="72" y="180"/>
                  </a:lnTo>
                  <a:lnTo>
                    <a:pt x="84" y="187"/>
                  </a:lnTo>
                  <a:lnTo>
                    <a:pt x="92" y="190"/>
                  </a:lnTo>
                  <a:lnTo>
                    <a:pt x="99" y="192"/>
                  </a:lnTo>
                  <a:lnTo>
                    <a:pt x="108" y="193"/>
                  </a:lnTo>
                  <a:lnTo>
                    <a:pt x="115" y="193"/>
                  </a:lnTo>
                  <a:lnTo>
                    <a:pt x="123" y="193"/>
                  </a:lnTo>
                  <a:lnTo>
                    <a:pt x="131" y="192"/>
                  </a:lnTo>
                  <a:lnTo>
                    <a:pt x="139" y="189"/>
                  </a:lnTo>
                  <a:lnTo>
                    <a:pt x="145" y="186"/>
                  </a:lnTo>
                  <a:lnTo>
                    <a:pt x="159" y="179"/>
                  </a:lnTo>
                  <a:lnTo>
                    <a:pt x="169" y="169"/>
                  </a:lnTo>
                  <a:lnTo>
                    <a:pt x="180" y="156"/>
                  </a:lnTo>
                  <a:lnTo>
                    <a:pt x="187" y="143"/>
                  </a:lnTo>
                  <a:lnTo>
                    <a:pt x="191" y="130"/>
                  </a:lnTo>
                  <a:lnTo>
                    <a:pt x="192" y="115"/>
                  </a:lnTo>
                  <a:lnTo>
                    <a:pt x="192" y="39"/>
                  </a:lnTo>
                  <a:lnTo>
                    <a:pt x="115" y="39"/>
                  </a:lnTo>
                  <a:close/>
                  <a:moveTo>
                    <a:pt x="115" y="232"/>
                  </a:moveTo>
                  <a:lnTo>
                    <a:pt x="103" y="231"/>
                  </a:lnTo>
                  <a:lnTo>
                    <a:pt x="92" y="229"/>
                  </a:lnTo>
                  <a:lnTo>
                    <a:pt x="80" y="226"/>
                  </a:lnTo>
                  <a:lnTo>
                    <a:pt x="70" y="222"/>
                  </a:lnTo>
                  <a:lnTo>
                    <a:pt x="60" y="218"/>
                  </a:lnTo>
                  <a:lnTo>
                    <a:pt x="50" y="212"/>
                  </a:lnTo>
                  <a:lnTo>
                    <a:pt x="41" y="205"/>
                  </a:lnTo>
                  <a:lnTo>
                    <a:pt x="33" y="198"/>
                  </a:lnTo>
                  <a:lnTo>
                    <a:pt x="25" y="190"/>
                  </a:lnTo>
                  <a:lnTo>
                    <a:pt x="18" y="180"/>
                  </a:lnTo>
                  <a:lnTo>
                    <a:pt x="12" y="172"/>
                  </a:lnTo>
                  <a:lnTo>
                    <a:pt x="8" y="162"/>
                  </a:lnTo>
                  <a:lnTo>
                    <a:pt x="4" y="150"/>
                  </a:lnTo>
                  <a:lnTo>
                    <a:pt x="1" y="140"/>
                  </a:lnTo>
                  <a:lnTo>
                    <a:pt x="0" y="128"/>
                  </a:lnTo>
                  <a:lnTo>
                    <a:pt x="0" y="115"/>
                  </a:lnTo>
                  <a:lnTo>
                    <a:pt x="0" y="104"/>
                  </a:lnTo>
                  <a:lnTo>
                    <a:pt x="1" y="92"/>
                  </a:lnTo>
                  <a:lnTo>
                    <a:pt x="4" y="81"/>
                  </a:lnTo>
                  <a:lnTo>
                    <a:pt x="8" y="71"/>
                  </a:lnTo>
                  <a:lnTo>
                    <a:pt x="12" y="61"/>
                  </a:lnTo>
                  <a:lnTo>
                    <a:pt x="18" y="51"/>
                  </a:lnTo>
                  <a:lnTo>
                    <a:pt x="25" y="42"/>
                  </a:lnTo>
                  <a:lnTo>
                    <a:pt x="33" y="35"/>
                  </a:lnTo>
                  <a:lnTo>
                    <a:pt x="41" y="26"/>
                  </a:lnTo>
                  <a:lnTo>
                    <a:pt x="50" y="20"/>
                  </a:lnTo>
                  <a:lnTo>
                    <a:pt x="60" y="15"/>
                  </a:lnTo>
                  <a:lnTo>
                    <a:pt x="70" y="9"/>
                  </a:lnTo>
                  <a:lnTo>
                    <a:pt x="80" y="6"/>
                  </a:lnTo>
                  <a:lnTo>
                    <a:pt x="92" y="3"/>
                  </a:lnTo>
                  <a:lnTo>
                    <a:pt x="103" y="0"/>
                  </a:lnTo>
                  <a:lnTo>
                    <a:pt x="115" y="0"/>
                  </a:lnTo>
                  <a:lnTo>
                    <a:pt x="231" y="0"/>
                  </a:lnTo>
                  <a:lnTo>
                    <a:pt x="231" y="115"/>
                  </a:lnTo>
                  <a:lnTo>
                    <a:pt x="230" y="127"/>
                  </a:lnTo>
                  <a:lnTo>
                    <a:pt x="228" y="138"/>
                  </a:lnTo>
                  <a:lnTo>
                    <a:pt x="226" y="150"/>
                  </a:lnTo>
                  <a:lnTo>
                    <a:pt x="221" y="160"/>
                  </a:lnTo>
                  <a:lnTo>
                    <a:pt x="217" y="170"/>
                  </a:lnTo>
                  <a:lnTo>
                    <a:pt x="210" y="180"/>
                  </a:lnTo>
                  <a:lnTo>
                    <a:pt x="204" y="189"/>
                  </a:lnTo>
                  <a:lnTo>
                    <a:pt x="195" y="198"/>
                  </a:lnTo>
                  <a:lnTo>
                    <a:pt x="188" y="205"/>
                  </a:lnTo>
                  <a:lnTo>
                    <a:pt x="178" y="212"/>
                  </a:lnTo>
                  <a:lnTo>
                    <a:pt x="169" y="218"/>
                  </a:lnTo>
                  <a:lnTo>
                    <a:pt x="159" y="222"/>
                  </a:lnTo>
                  <a:lnTo>
                    <a:pt x="149" y="226"/>
                  </a:lnTo>
                  <a:lnTo>
                    <a:pt x="138" y="229"/>
                  </a:lnTo>
                  <a:lnTo>
                    <a:pt x="126" y="231"/>
                  </a:lnTo>
                  <a:lnTo>
                    <a:pt x="115"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49"/>
            <p:cNvSpPr>
              <a:spLocks/>
            </p:cNvSpPr>
            <p:nvPr/>
          </p:nvSpPr>
          <p:spPr bwMode="auto">
            <a:xfrm>
              <a:off x="1431004" y="4507890"/>
              <a:ext cx="205295" cy="314494"/>
            </a:xfrm>
            <a:custGeom>
              <a:avLst/>
              <a:gdLst>
                <a:gd name="T0" fmla="*/ 37 w 424"/>
                <a:gd name="T1" fmla="*/ 647 h 647"/>
                <a:gd name="T2" fmla="*/ 0 w 424"/>
                <a:gd name="T3" fmla="*/ 647 h 647"/>
                <a:gd name="T4" fmla="*/ 0 w 424"/>
                <a:gd name="T5" fmla="*/ 170 h 647"/>
                <a:gd name="T6" fmla="*/ 424 w 424"/>
                <a:gd name="T7" fmla="*/ 0 h 647"/>
                <a:gd name="T8" fmla="*/ 424 w 424"/>
                <a:gd name="T9" fmla="*/ 530 h 647"/>
                <a:gd name="T10" fmla="*/ 385 w 424"/>
                <a:gd name="T11" fmla="*/ 530 h 647"/>
                <a:gd name="T12" fmla="*/ 385 w 424"/>
                <a:gd name="T13" fmla="*/ 56 h 647"/>
                <a:gd name="T14" fmla="*/ 37 w 424"/>
                <a:gd name="T15" fmla="*/ 196 h 647"/>
                <a:gd name="T16" fmla="*/ 37 w 424"/>
                <a:gd name="T17" fmla="*/ 647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4" h="647">
                  <a:moveTo>
                    <a:pt x="37" y="647"/>
                  </a:moveTo>
                  <a:lnTo>
                    <a:pt x="0" y="647"/>
                  </a:lnTo>
                  <a:lnTo>
                    <a:pt x="0" y="170"/>
                  </a:lnTo>
                  <a:lnTo>
                    <a:pt x="424" y="0"/>
                  </a:lnTo>
                  <a:lnTo>
                    <a:pt x="424" y="530"/>
                  </a:lnTo>
                  <a:lnTo>
                    <a:pt x="385" y="530"/>
                  </a:lnTo>
                  <a:lnTo>
                    <a:pt x="385" y="56"/>
                  </a:lnTo>
                  <a:lnTo>
                    <a:pt x="37" y="196"/>
                  </a:lnTo>
                  <a:lnTo>
                    <a:pt x="37" y="6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50"/>
            <p:cNvSpPr>
              <a:spLocks/>
            </p:cNvSpPr>
            <p:nvPr/>
          </p:nvSpPr>
          <p:spPr bwMode="auto">
            <a:xfrm>
              <a:off x="1435372" y="4579233"/>
              <a:ext cx="195103" cy="91727"/>
            </a:xfrm>
            <a:custGeom>
              <a:avLst/>
              <a:gdLst>
                <a:gd name="T0" fmla="*/ 386 w 400"/>
                <a:gd name="T1" fmla="*/ 0 h 190"/>
                <a:gd name="T2" fmla="*/ 400 w 400"/>
                <a:gd name="T3" fmla="*/ 36 h 190"/>
                <a:gd name="T4" fmla="*/ 14 w 400"/>
                <a:gd name="T5" fmla="*/ 190 h 190"/>
                <a:gd name="T6" fmla="*/ 0 w 400"/>
                <a:gd name="T7" fmla="*/ 154 h 190"/>
                <a:gd name="T8" fmla="*/ 386 w 400"/>
                <a:gd name="T9" fmla="*/ 0 h 190"/>
              </a:gdLst>
              <a:ahLst/>
              <a:cxnLst>
                <a:cxn ang="0">
                  <a:pos x="T0" y="T1"/>
                </a:cxn>
                <a:cxn ang="0">
                  <a:pos x="T2" y="T3"/>
                </a:cxn>
                <a:cxn ang="0">
                  <a:pos x="T4" y="T5"/>
                </a:cxn>
                <a:cxn ang="0">
                  <a:pos x="T6" y="T7"/>
                </a:cxn>
                <a:cxn ang="0">
                  <a:pos x="T8" y="T9"/>
                </a:cxn>
              </a:cxnLst>
              <a:rect l="0" t="0" r="r" b="b"/>
              <a:pathLst>
                <a:path w="400" h="190">
                  <a:moveTo>
                    <a:pt x="386" y="0"/>
                  </a:moveTo>
                  <a:lnTo>
                    <a:pt x="400" y="36"/>
                  </a:lnTo>
                  <a:lnTo>
                    <a:pt x="14" y="190"/>
                  </a:lnTo>
                  <a:lnTo>
                    <a:pt x="0" y="154"/>
                  </a:lnTo>
                  <a:lnTo>
                    <a:pt x="3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 name="Group 23"/>
          <p:cNvGrpSpPr/>
          <p:nvPr/>
        </p:nvGrpSpPr>
        <p:grpSpPr>
          <a:xfrm>
            <a:off x="8497399" y="2892170"/>
            <a:ext cx="371819" cy="302028"/>
            <a:chOff x="2013401" y="4534097"/>
            <a:chExt cx="449901" cy="365454"/>
          </a:xfrm>
          <a:solidFill>
            <a:schemeClr val="bg1"/>
          </a:solidFill>
        </p:grpSpPr>
        <p:sp>
          <p:nvSpPr>
            <p:cNvPr id="25" name="Freeform 251"/>
            <p:cNvSpPr>
              <a:spLocks/>
            </p:cNvSpPr>
            <p:nvPr/>
          </p:nvSpPr>
          <p:spPr bwMode="auto">
            <a:xfrm>
              <a:off x="2078920" y="4534097"/>
              <a:ext cx="318862" cy="187823"/>
            </a:xfrm>
            <a:custGeom>
              <a:avLst/>
              <a:gdLst>
                <a:gd name="T0" fmla="*/ 618 w 657"/>
                <a:gd name="T1" fmla="*/ 386 h 386"/>
                <a:gd name="T2" fmla="*/ 618 w 657"/>
                <a:gd name="T3" fmla="*/ 313 h 386"/>
                <a:gd name="T4" fmla="*/ 615 w 657"/>
                <a:gd name="T5" fmla="*/ 284 h 386"/>
                <a:gd name="T6" fmla="*/ 605 w 657"/>
                <a:gd name="T7" fmla="*/ 242 h 386"/>
                <a:gd name="T8" fmla="*/ 583 w 657"/>
                <a:gd name="T9" fmla="*/ 190 h 386"/>
                <a:gd name="T10" fmla="*/ 551 w 657"/>
                <a:gd name="T11" fmla="*/ 144 h 386"/>
                <a:gd name="T12" fmla="*/ 513 w 657"/>
                <a:gd name="T13" fmla="*/ 104 h 386"/>
                <a:gd name="T14" fmla="*/ 466 w 657"/>
                <a:gd name="T15" fmla="*/ 74 h 386"/>
                <a:gd name="T16" fmla="*/ 415 w 657"/>
                <a:gd name="T17" fmla="*/ 51 h 386"/>
                <a:gd name="T18" fmla="*/ 371 w 657"/>
                <a:gd name="T19" fmla="*/ 42 h 386"/>
                <a:gd name="T20" fmla="*/ 343 w 657"/>
                <a:gd name="T21" fmla="*/ 39 h 386"/>
                <a:gd name="T22" fmla="*/ 314 w 657"/>
                <a:gd name="T23" fmla="*/ 39 h 386"/>
                <a:gd name="T24" fmla="*/ 284 w 657"/>
                <a:gd name="T25" fmla="*/ 42 h 386"/>
                <a:gd name="T26" fmla="*/ 242 w 657"/>
                <a:gd name="T27" fmla="*/ 51 h 386"/>
                <a:gd name="T28" fmla="*/ 190 w 657"/>
                <a:gd name="T29" fmla="*/ 74 h 386"/>
                <a:gd name="T30" fmla="*/ 144 w 657"/>
                <a:gd name="T31" fmla="*/ 104 h 386"/>
                <a:gd name="T32" fmla="*/ 105 w 657"/>
                <a:gd name="T33" fmla="*/ 144 h 386"/>
                <a:gd name="T34" fmla="*/ 73 w 657"/>
                <a:gd name="T35" fmla="*/ 190 h 386"/>
                <a:gd name="T36" fmla="*/ 52 w 657"/>
                <a:gd name="T37" fmla="*/ 242 h 386"/>
                <a:gd name="T38" fmla="*/ 42 w 657"/>
                <a:gd name="T39" fmla="*/ 284 h 386"/>
                <a:gd name="T40" fmla="*/ 39 w 657"/>
                <a:gd name="T41" fmla="*/ 313 h 386"/>
                <a:gd name="T42" fmla="*/ 39 w 657"/>
                <a:gd name="T43" fmla="*/ 386 h 386"/>
                <a:gd name="T44" fmla="*/ 0 w 657"/>
                <a:gd name="T45" fmla="*/ 329 h 386"/>
                <a:gd name="T46" fmla="*/ 1 w 657"/>
                <a:gd name="T47" fmla="*/ 294 h 386"/>
                <a:gd name="T48" fmla="*/ 7 w 657"/>
                <a:gd name="T49" fmla="*/ 262 h 386"/>
                <a:gd name="T50" fmla="*/ 14 w 657"/>
                <a:gd name="T51" fmla="*/ 231 h 386"/>
                <a:gd name="T52" fmla="*/ 26 w 657"/>
                <a:gd name="T53" fmla="*/ 200 h 386"/>
                <a:gd name="T54" fmla="*/ 39 w 657"/>
                <a:gd name="T55" fmla="*/ 172 h 386"/>
                <a:gd name="T56" fmla="*/ 56 w 657"/>
                <a:gd name="T57" fmla="*/ 144 h 386"/>
                <a:gd name="T58" fmla="*/ 75 w 657"/>
                <a:gd name="T59" fmla="*/ 120 h 386"/>
                <a:gd name="T60" fmla="*/ 96 w 657"/>
                <a:gd name="T61" fmla="*/ 95 h 386"/>
                <a:gd name="T62" fmla="*/ 119 w 657"/>
                <a:gd name="T63" fmla="*/ 75 h 386"/>
                <a:gd name="T64" fmla="*/ 145 w 657"/>
                <a:gd name="T65" fmla="*/ 56 h 386"/>
                <a:gd name="T66" fmla="*/ 171 w 657"/>
                <a:gd name="T67" fmla="*/ 39 h 386"/>
                <a:gd name="T68" fmla="*/ 200 w 657"/>
                <a:gd name="T69" fmla="*/ 26 h 386"/>
                <a:gd name="T70" fmla="*/ 230 w 657"/>
                <a:gd name="T71" fmla="*/ 15 h 386"/>
                <a:gd name="T72" fmla="*/ 262 w 657"/>
                <a:gd name="T73" fmla="*/ 6 h 386"/>
                <a:gd name="T74" fmla="*/ 295 w 657"/>
                <a:gd name="T75" fmla="*/ 2 h 386"/>
                <a:gd name="T76" fmla="*/ 328 w 657"/>
                <a:gd name="T77" fmla="*/ 0 h 386"/>
                <a:gd name="T78" fmla="*/ 361 w 657"/>
                <a:gd name="T79" fmla="*/ 2 h 386"/>
                <a:gd name="T80" fmla="*/ 394 w 657"/>
                <a:gd name="T81" fmla="*/ 6 h 386"/>
                <a:gd name="T82" fmla="*/ 426 w 657"/>
                <a:gd name="T83" fmla="*/ 15 h 386"/>
                <a:gd name="T84" fmla="*/ 456 w 657"/>
                <a:gd name="T85" fmla="*/ 26 h 386"/>
                <a:gd name="T86" fmla="*/ 484 w 657"/>
                <a:gd name="T87" fmla="*/ 39 h 386"/>
                <a:gd name="T88" fmla="*/ 511 w 657"/>
                <a:gd name="T89" fmla="*/ 56 h 386"/>
                <a:gd name="T90" fmla="*/ 537 w 657"/>
                <a:gd name="T91" fmla="*/ 75 h 386"/>
                <a:gd name="T92" fmla="*/ 560 w 657"/>
                <a:gd name="T93" fmla="*/ 95 h 386"/>
                <a:gd name="T94" fmla="*/ 582 w 657"/>
                <a:gd name="T95" fmla="*/ 120 h 386"/>
                <a:gd name="T96" fmla="*/ 600 w 657"/>
                <a:gd name="T97" fmla="*/ 144 h 386"/>
                <a:gd name="T98" fmla="*/ 616 w 657"/>
                <a:gd name="T99" fmla="*/ 172 h 386"/>
                <a:gd name="T100" fmla="*/ 631 w 657"/>
                <a:gd name="T101" fmla="*/ 200 h 386"/>
                <a:gd name="T102" fmla="*/ 642 w 657"/>
                <a:gd name="T103" fmla="*/ 231 h 386"/>
                <a:gd name="T104" fmla="*/ 649 w 657"/>
                <a:gd name="T105" fmla="*/ 262 h 386"/>
                <a:gd name="T106" fmla="*/ 655 w 657"/>
                <a:gd name="T107" fmla="*/ 294 h 386"/>
                <a:gd name="T108" fmla="*/ 657 w 657"/>
                <a:gd name="T109" fmla="*/ 32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57" h="386">
                  <a:moveTo>
                    <a:pt x="657" y="386"/>
                  </a:moveTo>
                  <a:lnTo>
                    <a:pt x="618" y="386"/>
                  </a:lnTo>
                  <a:lnTo>
                    <a:pt x="618" y="329"/>
                  </a:lnTo>
                  <a:lnTo>
                    <a:pt x="618" y="313"/>
                  </a:lnTo>
                  <a:lnTo>
                    <a:pt x="616" y="298"/>
                  </a:lnTo>
                  <a:lnTo>
                    <a:pt x="615" y="284"/>
                  </a:lnTo>
                  <a:lnTo>
                    <a:pt x="612" y="270"/>
                  </a:lnTo>
                  <a:lnTo>
                    <a:pt x="605" y="242"/>
                  </a:lnTo>
                  <a:lnTo>
                    <a:pt x="595" y="215"/>
                  </a:lnTo>
                  <a:lnTo>
                    <a:pt x="583" y="190"/>
                  </a:lnTo>
                  <a:lnTo>
                    <a:pt x="569" y="166"/>
                  </a:lnTo>
                  <a:lnTo>
                    <a:pt x="551" y="144"/>
                  </a:lnTo>
                  <a:lnTo>
                    <a:pt x="533" y="123"/>
                  </a:lnTo>
                  <a:lnTo>
                    <a:pt x="513" y="104"/>
                  </a:lnTo>
                  <a:lnTo>
                    <a:pt x="489" y="88"/>
                  </a:lnTo>
                  <a:lnTo>
                    <a:pt x="466" y="74"/>
                  </a:lnTo>
                  <a:lnTo>
                    <a:pt x="441" y="61"/>
                  </a:lnTo>
                  <a:lnTo>
                    <a:pt x="415" y="51"/>
                  </a:lnTo>
                  <a:lnTo>
                    <a:pt x="386" y="45"/>
                  </a:lnTo>
                  <a:lnTo>
                    <a:pt x="371" y="42"/>
                  </a:lnTo>
                  <a:lnTo>
                    <a:pt x="357" y="39"/>
                  </a:lnTo>
                  <a:lnTo>
                    <a:pt x="343" y="39"/>
                  </a:lnTo>
                  <a:lnTo>
                    <a:pt x="328" y="38"/>
                  </a:lnTo>
                  <a:lnTo>
                    <a:pt x="314" y="39"/>
                  </a:lnTo>
                  <a:lnTo>
                    <a:pt x="298" y="39"/>
                  </a:lnTo>
                  <a:lnTo>
                    <a:pt x="284" y="42"/>
                  </a:lnTo>
                  <a:lnTo>
                    <a:pt x="269" y="45"/>
                  </a:lnTo>
                  <a:lnTo>
                    <a:pt x="242" y="51"/>
                  </a:lnTo>
                  <a:lnTo>
                    <a:pt x="216" y="61"/>
                  </a:lnTo>
                  <a:lnTo>
                    <a:pt x="190" y="74"/>
                  </a:lnTo>
                  <a:lnTo>
                    <a:pt x="165" y="88"/>
                  </a:lnTo>
                  <a:lnTo>
                    <a:pt x="144" y="104"/>
                  </a:lnTo>
                  <a:lnTo>
                    <a:pt x="124" y="123"/>
                  </a:lnTo>
                  <a:lnTo>
                    <a:pt x="105" y="144"/>
                  </a:lnTo>
                  <a:lnTo>
                    <a:pt x="88" y="166"/>
                  </a:lnTo>
                  <a:lnTo>
                    <a:pt x="73" y="190"/>
                  </a:lnTo>
                  <a:lnTo>
                    <a:pt x="62" y="215"/>
                  </a:lnTo>
                  <a:lnTo>
                    <a:pt x="52" y="242"/>
                  </a:lnTo>
                  <a:lnTo>
                    <a:pt x="45" y="270"/>
                  </a:lnTo>
                  <a:lnTo>
                    <a:pt x="42" y="284"/>
                  </a:lnTo>
                  <a:lnTo>
                    <a:pt x="40" y="298"/>
                  </a:lnTo>
                  <a:lnTo>
                    <a:pt x="39" y="313"/>
                  </a:lnTo>
                  <a:lnTo>
                    <a:pt x="39" y="329"/>
                  </a:lnTo>
                  <a:lnTo>
                    <a:pt x="39" y="386"/>
                  </a:lnTo>
                  <a:lnTo>
                    <a:pt x="0" y="386"/>
                  </a:lnTo>
                  <a:lnTo>
                    <a:pt x="0" y="329"/>
                  </a:lnTo>
                  <a:lnTo>
                    <a:pt x="0" y="311"/>
                  </a:lnTo>
                  <a:lnTo>
                    <a:pt x="1" y="294"/>
                  </a:lnTo>
                  <a:lnTo>
                    <a:pt x="4" y="278"/>
                  </a:lnTo>
                  <a:lnTo>
                    <a:pt x="7" y="262"/>
                  </a:lnTo>
                  <a:lnTo>
                    <a:pt x="10" y="246"/>
                  </a:lnTo>
                  <a:lnTo>
                    <a:pt x="14" y="231"/>
                  </a:lnTo>
                  <a:lnTo>
                    <a:pt x="20" y="215"/>
                  </a:lnTo>
                  <a:lnTo>
                    <a:pt x="26" y="200"/>
                  </a:lnTo>
                  <a:lnTo>
                    <a:pt x="32" y="186"/>
                  </a:lnTo>
                  <a:lnTo>
                    <a:pt x="39" y="172"/>
                  </a:lnTo>
                  <a:lnTo>
                    <a:pt x="47" y="157"/>
                  </a:lnTo>
                  <a:lnTo>
                    <a:pt x="56" y="144"/>
                  </a:lnTo>
                  <a:lnTo>
                    <a:pt x="65" y="131"/>
                  </a:lnTo>
                  <a:lnTo>
                    <a:pt x="75" y="120"/>
                  </a:lnTo>
                  <a:lnTo>
                    <a:pt x="85" y="107"/>
                  </a:lnTo>
                  <a:lnTo>
                    <a:pt x="96" y="95"/>
                  </a:lnTo>
                  <a:lnTo>
                    <a:pt x="108" y="85"/>
                  </a:lnTo>
                  <a:lnTo>
                    <a:pt x="119" y="75"/>
                  </a:lnTo>
                  <a:lnTo>
                    <a:pt x="132" y="65"/>
                  </a:lnTo>
                  <a:lnTo>
                    <a:pt x="145" y="56"/>
                  </a:lnTo>
                  <a:lnTo>
                    <a:pt x="158" y="48"/>
                  </a:lnTo>
                  <a:lnTo>
                    <a:pt x="171" y="39"/>
                  </a:lnTo>
                  <a:lnTo>
                    <a:pt x="186" y="32"/>
                  </a:lnTo>
                  <a:lnTo>
                    <a:pt x="200" y="26"/>
                  </a:lnTo>
                  <a:lnTo>
                    <a:pt x="216" y="19"/>
                  </a:lnTo>
                  <a:lnTo>
                    <a:pt x="230" y="15"/>
                  </a:lnTo>
                  <a:lnTo>
                    <a:pt x="246" y="10"/>
                  </a:lnTo>
                  <a:lnTo>
                    <a:pt x="262" y="6"/>
                  </a:lnTo>
                  <a:lnTo>
                    <a:pt x="278" y="3"/>
                  </a:lnTo>
                  <a:lnTo>
                    <a:pt x="295" y="2"/>
                  </a:lnTo>
                  <a:lnTo>
                    <a:pt x="311" y="0"/>
                  </a:lnTo>
                  <a:lnTo>
                    <a:pt x="328" y="0"/>
                  </a:lnTo>
                  <a:lnTo>
                    <a:pt x="345" y="0"/>
                  </a:lnTo>
                  <a:lnTo>
                    <a:pt x="361" y="2"/>
                  </a:lnTo>
                  <a:lnTo>
                    <a:pt x="379" y="3"/>
                  </a:lnTo>
                  <a:lnTo>
                    <a:pt x="394" y="6"/>
                  </a:lnTo>
                  <a:lnTo>
                    <a:pt x="410" y="10"/>
                  </a:lnTo>
                  <a:lnTo>
                    <a:pt x="426" y="15"/>
                  </a:lnTo>
                  <a:lnTo>
                    <a:pt x="441" y="19"/>
                  </a:lnTo>
                  <a:lnTo>
                    <a:pt x="456" y="26"/>
                  </a:lnTo>
                  <a:lnTo>
                    <a:pt x="471" y="32"/>
                  </a:lnTo>
                  <a:lnTo>
                    <a:pt x="484" y="39"/>
                  </a:lnTo>
                  <a:lnTo>
                    <a:pt x="498" y="48"/>
                  </a:lnTo>
                  <a:lnTo>
                    <a:pt x="511" y="56"/>
                  </a:lnTo>
                  <a:lnTo>
                    <a:pt x="524" y="65"/>
                  </a:lnTo>
                  <a:lnTo>
                    <a:pt x="537" y="75"/>
                  </a:lnTo>
                  <a:lnTo>
                    <a:pt x="549" y="85"/>
                  </a:lnTo>
                  <a:lnTo>
                    <a:pt x="560" y="95"/>
                  </a:lnTo>
                  <a:lnTo>
                    <a:pt x="572" y="107"/>
                  </a:lnTo>
                  <a:lnTo>
                    <a:pt x="582" y="120"/>
                  </a:lnTo>
                  <a:lnTo>
                    <a:pt x="590" y="131"/>
                  </a:lnTo>
                  <a:lnTo>
                    <a:pt x="600" y="144"/>
                  </a:lnTo>
                  <a:lnTo>
                    <a:pt x="609" y="157"/>
                  </a:lnTo>
                  <a:lnTo>
                    <a:pt x="616" y="172"/>
                  </a:lnTo>
                  <a:lnTo>
                    <a:pt x="623" y="186"/>
                  </a:lnTo>
                  <a:lnTo>
                    <a:pt x="631" y="200"/>
                  </a:lnTo>
                  <a:lnTo>
                    <a:pt x="636" y="215"/>
                  </a:lnTo>
                  <a:lnTo>
                    <a:pt x="642" y="231"/>
                  </a:lnTo>
                  <a:lnTo>
                    <a:pt x="646" y="246"/>
                  </a:lnTo>
                  <a:lnTo>
                    <a:pt x="649" y="262"/>
                  </a:lnTo>
                  <a:lnTo>
                    <a:pt x="652" y="278"/>
                  </a:lnTo>
                  <a:lnTo>
                    <a:pt x="655" y="294"/>
                  </a:lnTo>
                  <a:lnTo>
                    <a:pt x="657" y="311"/>
                  </a:lnTo>
                  <a:lnTo>
                    <a:pt x="657" y="329"/>
                  </a:lnTo>
                  <a:lnTo>
                    <a:pt x="657"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2"/>
            <p:cNvSpPr>
              <a:spLocks/>
            </p:cNvSpPr>
            <p:nvPr/>
          </p:nvSpPr>
          <p:spPr bwMode="auto">
            <a:xfrm>
              <a:off x="2013401" y="4758320"/>
              <a:ext cx="46592" cy="94639"/>
            </a:xfrm>
            <a:custGeom>
              <a:avLst/>
              <a:gdLst>
                <a:gd name="T0" fmla="*/ 96 w 96"/>
                <a:gd name="T1" fmla="*/ 194 h 194"/>
                <a:gd name="T2" fmla="*/ 86 w 96"/>
                <a:gd name="T3" fmla="*/ 193 h 194"/>
                <a:gd name="T4" fmla="*/ 77 w 96"/>
                <a:gd name="T5" fmla="*/ 191 h 194"/>
                <a:gd name="T6" fmla="*/ 67 w 96"/>
                <a:gd name="T7" fmla="*/ 188 h 194"/>
                <a:gd name="T8" fmla="*/ 59 w 96"/>
                <a:gd name="T9" fmla="*/ 185 h 194"/>
                <a:gd name="T10" fmla="*/ 50 w 96"/>
                <a:gd name="T11" fmla="*/ 181 h 194"/>
                <a:gd name="T12" fmla="*/ 43 w 96"/>
                <a:gd name="T13" fmla="*/ 177 h 194"/>
                <a:gd name="T14" fmla="*/ 34 w 96"/>
                <a:gd name="T15" fmla="*/ 171 h 194"/>
                <a:gd name="T16" fmla="*/ 28 w 96"/>
                <a:gd name="T17" fmla="*/ 165 h 194"/>
                <a:gd name="T18" fmla="*/ 21 w 96"/>
                <a:gd name="T19" fmla="*/ 158 h 194"/>
                <a:gd name="T20" fmla="*/ 17 w 96"/>
                <a:gd name="T21" fmla="*/ 151 h 194"/>
                <a:gd name="T22" fmla="*/ 11 w 96"/>
                <a:gd name="T23" fmla="*/ 142 h 194"/>
                <a:gd name="T24" fmla="*/ 7 w 96"/>
                <a:gd name="T25" fmla="*/ 135 h 194"/>
                <a:gd name="T26" fmla="*/ 4 w 96"/>
                <a:gd name="T27" fmla="*/ 125 h 194"/>
                <a:gd name="T28" fmla="*/ 1 w 96"/>
                <a:gd name="T29" fmla="*/ 116 h 194"/>
                <a:gd name="T30" fmla="*/ 0 w 96"/>
                <a:gd name="T31" fmla="*/ 106 h 194"/>
                <a:gd name="T32" fmla="*/ 0 w 96"/>
                <a:gd name="T33" fmla="*/ 96 h 194"/>
                <a:gd name="T34" fmla="*/ 0 w 96"/>
                <a:gd name="T35" fmla="*/ 87 h 194"/>
                <a:gd name="T36" fmla="*/ 1 w 96"/>
                <a:gd name="T37" fmla="*/ 77 h 194"/>
                <a:gd name="T38" fmla="*/ 4 w 96"/>
                <a:gd name="T39" fmla="*/ 69 h 194"/>
                <a:gd name="T40" fmla="*/ 7 w 96"/>
                <a:gd name="T41" fmla="*/ 59 h 194"/>
                <a:gd name="T42" fmla="*/ 11 w 96"/>
                <a:gd name="T43" fmla="*/ 51 h 194"/>
                <a:gd name="T44" fmla="*/ 17 w 96"/>
                <a:gd name="T45" fmla="*/ 43 h 194"/>
                <a:gd name="T46" fmla="*/ 21 w 96"/>
                <a:gd name="T47" fmla="*/ 36 h 194"/>
                <a:gd name="T48" fmla="*/ 28 w 96"/>
                <a:gd name="T49" fmla="*/ 28 h 194"/>
                <a:gd name="T50" fmla="*/ 34 w 96"/>
                <a:gd name="T51" fmla="*/ 23 h 194"/>
                <a:gd name="T52" fmla="*/ 43 w 96"/>
                <a:gd name="T53" fmla="*/ 17 h 194"/>
                <a:gd name="T54" fmla="*/ 50 w 96"/>
                <a:gd name="T55" fmla="*/ 12 h 194"/>
                <a:gd name="T56" fmla="*/ 59 w 96"/>
                <a:gd name="T57" fmla="*/ 8 h 194"/>
                <a:gd name="T58" fmla="*/ 67 w 96"/>
                <a:gd name="T59" fmla="*/ 4 h 194"/>
                <a:gd name="T60" fmla="*/ 77 w 96"/>
                <a:gd name="T61" fmla="*/ 2 h 194"/>
                <a:gd name="T62" fmla="*/ 86 w 96"/>
                <a:gd name="T63" fmla="*/ 1 h 194"/>
                <a:gd name="T64" fmla="*/ 96 w 96"/>
                <a:gd name="T65" fmla="*/ 0 h 194"/>
                <a:gd name="T66" fmla="*/ 96 w 96"/>
                <a:gd name="T67" fmla="*/ 38 h 194"/>
                <a:gd name="T68" fmla="*/ 84 w 96"/>
                <a:gd name="T69" fmla="*/ 40 h 194"/>
                <a:gd name="T70" fmla="*/ 73 w 96"/>
                <a:gd name="T71" fmla="*/ 43 h 194"/>
                <a:gd name="T72" fmla="*/ 64 w 96"/>
                <a:gd name="T73" fmla="*/ 49 h 194"/>
                <a:gd name="T74" fmla="*/ 56 w 96"/>
                <a:gd name="T75" fmla="*/ 56 h 194"/>
                <a:gd name="T76" fmla="*/ 48 w 96"/>
                <a:gd name="T77" fmla="*/ 64 h 194"/>
                <a:gd name="T78" fmla="*/ 43 w 96"/>
                <a:gd name="T79" fmla="*/ 74 h 194"/>
                <a:gd name="T80" fmla="*/ 40 w 96"/>
                <a:gd name="T81" fmla="*/ 85 h 194"/>
                <a:gd name="T82" fmla="*/ 38 w 96"/>
                <a:gd name="T83" fmla="*/ 96 h 194"/>
                <a:gd name="T84" fmla="*/ 40 w 96"/>
                <a:gd name="T85" fmla="*/ 109 h 194"/>
                <a:gd name="T86" fmla="*/ 43 w 96"/>
                <a:gd name="T87" fmla="*/ 119 h 194"/>
                <a:gd name="T88" fmla="*/ 48 w 96"/>
                <a:gd name="T89" fmla="*/ 129 h 194"/>
                <a:gd name="T90" fmla="*/ 56 w 96"/>
                <a:gd name="T91" fmla="*/ 138 h 194"/>
                <a:gd name="T92" fmla="*/ 64 w 96"/>
                <a:gd name="T93" fmla="*/ 145 h 194"/>
                <a:gd name="T94" fmla="*/ 73 w 96"/>
                <a:gd name="T95" fmla="*/ 151 h 194"/>
                <a:gd name="T96" fmla="*/ 84 w 96"/>
                <a:gd name="T97" fmla="*/ 154 h 194"/>
                <a:gd name="T98" fmla="*/ 96 w 96"/>
                <a:gd name="T99" fmla="*/ 155 h 194"/>
                <a:gd name="T100" fmla="*/ 96 w 96"/>
                <a:gd name="T101"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6" h="194">
                  <a:moveTo>
                    <a:pt x="96" y="194"/>
                  </a:moveTo>
                  <a:lnTo>
                    <a:pt x="86" y="193"/>
                  </a:lnTo>
                  <a:lnTo>
                    <a:pt x="77" y="191"/>
                  </a:lnTo>
                  <a:lnTo>
                    <a:pt x="67" y="188"/>
                  </a:lnTo>
                  <a:lnTo>
                    <a:pt x="59" y="185"/>
                  </a:lnTo>
                  <a:lnTo>
                    <a:pt x="50" y="181"/>
                  </a:lnTo>
                  <a:lnTo>
                    <a:pt x="43" y="177"/>
                  </a:lnTo>
                  <a:lnTo>
                    <a:pt x="34" y="171"/>
                  </a:lnTo>
                  <a:lnTo>
                    <a:pt x="28" y="165"/>
                  </a:lnTo>
                  <a:lnTo>
                    <a:pt x="21" y="158"/>
                  </a:lnTo>
                  <a:lnTo>
                    <a:pt x="17" y="151"/>
                  </a:lnTo>
                  <a:lnTo>
                    <a:pt x="11" y="142"/>
                  </a:lnTo>
                  <a:lnTo>
                    <a:pt x="7" y="135"/>
                  </a:lnTo>
                  <a:lnTo>
                    <a:pt x="4" y="125"/>
                  </a:lnTo>
                  <a:lnTo>
                    <a:pt x="1" y="116"/>
                  </a:lnTo>
                  <a:lnTo>
                    <a:pt x="0" y="106"/>
                  </a:lnTo>
                  <a:lnTo>
                    <a:pt x="0" y="96"/>
                  </a:lnTo>
                  <a:lnTo>
                    <a:pt x="0" y="87"/>
                  </a:lnTo>
                  <a:lnTo>
                    <a:pt x="1" y="77"/>
                  </a:lnTo>
                  <a:lnTo>
                    <a:pt x="4" y="69"/>
                  </a:lnTo>
                  <a:lnTo>
                    <a:pt x="7" y="59"/>
                  </a:lnTo>
                  <a:lnTo>
                    <a:pt x="11" y="51"/>
                  </a:lnTo>
                  <a:lnTo>
                    <a:pt x="17" y="43"/>
                  </a:lnTo>
                  <a:lnTo>
                    <a:pt x="21" y="36"/>
                  </a:lnTo>
                  <a:lnTo>
                    <a:pt x="28" y="28"/>
                  </a:lnTo>
                  <a:lnTo>
                    <a:pt x="34" y="23"/>
                  </a:lnTo>
                  <a:lnTo>
                    <a:pt x="43" y="17"/>
                  </a:lnTo>
                  <a:lnTo>
                    <a:pt x="50" y="12"/>
                  </a:lnTo>
                  <a:lnTo>
                    <a:pt x="59" y="8"/>
                  </a:lnTo>
                  <a:lnTo>
                    <a:pt x="67" y="4"/>
                  </a:lnTo>
                  <a:lnTo>
                    <a:pt x="77" y="2"/>
                  </a:lnTo>
                  <a:lnTo>
                    <a:pt x="86" y="1"/>
                  </a:lnTo>
                  <a:lnTo>
                    <a:pt x="96" y="0"/>
                  </a:lnTo>
                  <a:lnTo>
                    <a:pt x="96" y="38"/>
                  </a:lnTo>
                  <a:lnTo>
                    <a:pt x="84" y="40"/>
                  </a:lnTo>
                  <a:lnTo>
                    <a:pt x="73" y="43"/>
                  </a:lnTo>
                  <a:lnTo>
                    <a:pt x="64" y="49"/>
                  </a:lnTo>
                  <a:lnTo>
                    <a:pt x="56" y="56"/>
                  </a:lnTo>
                  <a:lnTo>
                    <a:pt x="48" y="64"/>
                  </a:lnTo>
                  <a:lnTo>
                    <a:pt x="43" y="74"/>
                  </a:lnTo>
                  <a:lnTo>
                    <a:pt x="40" y="85"/>
                  </a:lnTo>
                  <a:lnTo>
                    <a:pt x="38" y="96"/>
                  </a:lnTo>
                  <a:lnTo>
                    <a:pt x="40" y="109"/>
                  </a:lnTo>
                  <a:lnTo>
                    <a:pt x="43" y="119"/>
                  </a:lnTo>
                  <a:lnTo>
                    <a:pt x="48" y="129"/>
                  </a:lnTo>
                  <a:lnTo>
                    <a:pt x="56" y="138"/>
                  </a:lnTo>
                  <a:lnTo>
                    <a:pt x="64" y="145"/>
                  </a:lnTo>
                  <a:lnTo>
                    <a:pt x="73" y="151"/>
                  </a:lnTo>
                  <a:lnTo>
                    <a:pt x="84" y="154"/>
                  </a:lnTo>
                  <a:lnTo>
                    <a:pt x="96" y="155"/>
                  </a:lnTo>
                  <a:lnTo>
                    <a:pt x="96"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53"/>
            <p:cNvSpPr>
              <a:spLocks noEditPoints="1"/>
            </p:cNvSpPr>
            <p:nvPr/>
          </p:nvSpPr>
          <p:spPr bwMode="auto">
            <a:xfrm>
              <a:off x="2051257" y="4711728"/>
              <a:ext cx="93183" cy="187823"/>
            </a:xfrm>
            <a:custGeom>
              <a:avLst/>
              <a:gdLst>
                <a:gd name="T0" fmla="*/ 69 w 193"/>
                <a:gd name="T1" fmla="*/ 40 h 387"/>
                <a:gd name="T2" fmla="*/ 55 w 193"/>
                <a:gd name="T3" fmla="*/ 46 h 387"/>
                <a:gd name="T4" fmla="*/ 45 w 193"/>
                <a:gd name="T5" fmla="*/ 56 h 387"/>
                <a:gd name="T6" fmla="*/ 39 w 193"/>
                <a:gd name="T7" fmla="*/ 71 h 387"/>
                <a:gd name="T8" fmla="*/ 39 w 193"/>
                <a:gd name="T9" fmla="*/ 310 h 387"/>
                <a:gd name="T10" fmla="*/ 42 w 193"/>
                <a:gd name="T11" fmla="*/ 324 h 387"/>
                <a:gd name="T12" fmla="*/ 49 w 193"/>
                <a:gd name="T13" fmla="*/ 337 h 387"/>
                <a:gd name="T14" fmla="*/ 62 w 193"/>
                <a:gd name="T15" fmla="*/ 346 h 387"/>
                <a:gd name="T16" fmla="*/ 77 w 193"/>
                <a:gd name="T17" fmla="*/ 349 h 387"/>
                <a:gd name="T18" fmla="*/ 124 w 193"/>
                <a:gd name="T19" fmla="*/ 347 h 387"/>
                <a:gd name="T20" fmla="*/ 137 w 193"/>
                <a:gd name="T21" fmla="*/ 341 h 387"/>
                <a:gd name="T22" fmla="*/ 147 w 193"/>
                <a:gd name="T23" fmla="*/ 331 h 387"/>
                <a:gd name="T24" fmla="*/ 153 w 193"/>
                <a:gd name="T25" fmla="*/ 317 h 387"/>
                <a:gd name="T26" fmla="*/ 154 w 193"/>
                <a:gd name="T27" fmla="*/ 78 h 387"/>
                <a:gd name="T28" fmla="*/ 151 w 193"/>
                <a:gd name="T29" fmla="*/ 63 h 387"/>
                <a:gd name="T30" fmla="*/ 143 w 193"/>
                <a:gd name="T31" fmla="*/ 50 h 387"/>
                <a:gd name="T32" fmla="*/ 131 w 193"/>
                <a:gd name="T33" fmla="*/ 42 h 387"/>
                <a:gd name="T34" fmla="*/ 115 w 193"/>
                <a:gd name="T35" fmla="*/ 39 h 387"/>
                <a:gd name="T36" fmla="*/ 115 w 193"/>
                <a:gd name="T37" fmla="*/ 387 h 387"/>
                <a:gd name="T38" fmla="*/ 69 w 193"/>
                <a:gd name="T39" fmla="*/ 386 h 387"/>
                <a:gd name="T40" fmla="*/ 54 w 193"/>
                <a:gd name="T41" fmla="*/ 383 h 387"/>
                <a:gd name="T42" fmla="*/ 33 w 193"/>
                <a:gd name="T43" fmla="*/ 373 h 387"/>
                <a:gd name="T44" fmla="*/ 13 w 193"/>
                <a:gd name="T45" fmla="*/ 353 h 387"/>
                <a:gd name="T46" fmla="*/ 3 w 193"/>
                <a:gd name="T47" fmla="*/ 333 h 387"/>
                <a:gd name="T48" fmla="*/ 0 w 193"/>
                <a:gd name="T49" fmla="*/ 317 h 387"/>
                <a:gd name="T50" fmla="*/ 0 w 193"/>
                <a:gd name="T51" fmla="*/ 78 h 387"/>
                <a:gd name="T52" fmla="*/ 2 w 193"/>
                <a:gd name="T53" fmla="*/ 62 h 387"/>
                <a:gd name="T54" fmla="*/ 6 w 193"/>
                <a:gd name="T55" fmla="*/ 48 h 387"/>
                <a:gd name="T56" fmla="*/ 22 w 193"/>
                <a:gd name="T57" fmla="*/ 23 h 387"/>
                <a:gd name="T58" fmla="*/ 46 w 193"/>
                <a:gd name="T59" fmla="*/ 7 h 387"/>
                <a:gd name="T60" fmla="*/ 62 w 193"/>
                <a:gd name="T61" fmla="*/ 1 h 387"/>
                <a:gd name="T62" fmla="*/ 77 w 193"/>
                <a:gd name="T63" fmla="*/ 0 h 387"/>
                <a:gd name="T64" fmla="*/ 124 w 193"/>
                <a:gd name="T65" fmla="*/ 1 h 387"/>
                <a:gd name="T66" fmla="*/ 139 w 193"/>
                <a:gd name="T67" fmla="*/ 4 h 387"/>
                <a:gd name="T68" fmla="*/ 159 w 193"/>
                <a:gd name="T69" fmla="*/ 14 h 387"/>
                <a:gd name="T70" fmla="*/ 180 w 193"/>
                <a:gd name="T71" fmla="*/ 35 h 387"/>
                <a:gd name="T72" fmla="*/ 189 w 193"/>
                <a:gd name="T73" fmla="*/ 55 h 387"/>
                <a:gd name="T74" fmla="*/ 193 w 193"/>
                <a:gd name="T75" fmla="*/ 71 h 387"/>
                <a:gd name="T76" fmla="*/ 193 w 193"/>
                <a:gd name="T77" fmla="*/ 310 h 387"/>
                <a:gd name="T78" fmla="*/ 192 w 193"/>
                <a:gd name="T79" fmla="*/ 326 h 387"/>
                <a:gd name="T80" fmla="*/ 187 w 193"/>
                <a:gd name="T81" fmla="*/ 340 h 387"/>
                <a:gd name="T82" fmla="*/ 170 w 193"/>
                <a:gd name="T83" fmla="*/ 364 h 387"/>
                <a:gd name="T84" fmla="*/ 146 w 193"/>
                <a:gd name="T85" fmla="*/ 380 h 387"/>
                <a:gd name="T86" fmla="*/ 131 w 193"/>
                <a:gd name="T87" fmla="*/ 385 h 387"/>
                <a:gd name="T88" fmla="*/ 115 w 193"/>
                <a:gd name="T89" fmla="*/ 38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3" h="387">
                  <a:moveTo>
                    <a:pt x="77" y="39"/>
                  </a:moveTo>
                  <a:lnTo>
                    <a:pt x="69" y="40"/>
                  </a:lnTo>
                  <a:lnTo>
                    <a:pt x="62" y="42"/>
                  </a:lnTo>
                  <a:lnTo>
                    <a:pt x="55" y="46"/>
                  </a:lnTo>
                  <a:lnTo>
                    <a:pt x="49" y="50"/>
                  </a:lnTo>
                  <a:lnTo>
                    <a:pt x="45" y="56"/>
                  </a:lnTo>
                  <a:lnTo>
                    <a:pt x="42" y="63"/>
                  </a:lnTo>
                  <a:lnTo>
                    <a:pt x="39" y="71"/>
                  </a:lnTo>
                  <a:lnTo>
                    <a:pt x="39" y="78"/>
                  </a:lnTo>
                  <a:lnTo>
                    <a:pt x="39" y="310"/>
                  </a:lnTo>
                  <a:lnTo>
                    <a:pt x="39" y="317"/>
                  </a:lnTo>
                  <a:lnTo>
                    <a:pt x="42" y="324"/>
                  </a:lnTo>
                  <a:lnTo>
                    <a:pt x="45" y="331"/>
                  </a:lnTo>
                  <a:lnTo>
                    <a:pt x="49" y="337"/>
                  </a:lnTo>
                  <a:lnTo>
                    <a:pt x="55" y="341"/>
                  </a:lnTo>
                  <a:lnTo>
                    <a:pt x="62" y="346"/>
                  </a:lnTo>
                  <a:lnTo>
                    <a:pt x="69" y="347"/>
                  </a:lnTo>
                  <a:lnTo>
                    <a:pt x="77" y="349"/>
                  </a:lnTo>
                  <a:lnTo>
                    <a:pt x="115" y="349"/>
                  </a:lnTo>
                  <a:lnTo>
                    <a:pt x="124" y="347"/>
                  </a:lnTo>
                  <a:lnTo>
                    <a:pt x="131" y="346"/>
                  </a:lnTo>
                  <a:lnTo>
                    <a:pt x="137" y="341"/>
                  </a:lnTo>
                  <a:lnTo>
                    <a:pt x="143" y="337"/>
                  </a:lnTo>
                  <a:lnTo>
                    <a:pt x="147" y="331"/>
                  </a:lnTo>
                  <a:lnTo>
                    <a:pt x="151" y="324"/>
                  </a:lnTo>
                  <a:lnTo>
                    <a:pt x="153" y="317"/>
                  </a:lnTo>
                  <a:lnTo>
                    <a:pt x="154" y="310"/>
                  </a:lnTo>
                  <a:lnTo>
                    <a:pt x="154" y="78"/>
                  </a:lnTo>
                  <a:lnTo>
                    <a:pt x="153" y="71"/>
                  </a:lnTo>
                  <a:lnTo>
                    <a:pt x="151" y="63"/>
                  </a:lnTo>
                  <a:lnTo>
                    <a:pt x="147" y="56"/>
                  </a:lnTo>
                  <a:lnTo>
                    <a:pt x="143" y="50"/>
                  </a:lnTo>
                  <a:lnTo>
                    <a:pt x="137" y="46"/>
                  </a:lnTo>
                  <a:lnTo>
                    <a:pt x="131" y="42"/>
                  </a:lnTo>
                  <a:lnTo>
                    <a:pt x="124" y="40"/>
                  </a:lnTo>
                  <a:lnTo>
                    <a:pt x="115" y="39"/>
                  </a:lnTo>
                  <a:lnTo>
                    <a:pt x="77" y="39"/>
                  </a:lnTo>
                  <a:close/>
                  <a:moveTo>
                    <a:pt x="115" y="387"/>
                  </a:moveTo>
                  <a:lnTo>
                    <a:pt x="77" y="387"/>
                  </a:lnTo>
                  <a:lnTo>
                    <a:pt x="69" y="386"/>
                  </a:lnTo>
                  <a:lnTo>
                    <a:pt x="62" y="385"/>
                  </a:lnTo>
                  <a:lnTo>
                    <a:pt x="54" y="383"/>
                  </a:lnTo>
                  <a:lnTo>
                    <a:pt x="46" y="380"/>
                  </a:lnTo>
                  <a:lnTo>
                    <a:pt x="33" y="373"/>
                  </a:lnTo>
                  <a:lnTo>
                    <a:pt x="22" y="364"/>
                  </a:lnTo>
                  <a:lnTo>
                    <a:pt x="13" y="353"/>
                  </a:lnTo>
                  <a:lnTo>
                    <a:pt x="6" y="340"/>
                  </a:lnTo>
                  <a:lnTo>
                    <a:pt x="3" y="333"/>
                  </a:lnTo>
                  <a:lnTo>
                    <a:pt x="2" y="326"/>
                  </a:lnTo>
                  <a:lnTo>
                    <a:pt x="0" y="317"/>
                  </a:lnTo>
                  <a:lnTo>
                    <a:pt x="0" y="310"/>
                  </a:lnTo>
                  <a:lnTo>
                    <a:pt x="0" y="78"/>
                  </a:lnTo>
                  <a:lnTo>
                    <a:pt x="0" y="71"/>
                  </a:lnTo>
                  <a:lnTo>
                    <a:pt x="2" y="62"/>
                  </a:lnTo>
                  <a:lnTo>
                    <a:pt x="3" y="55"/>
                  </a:lnTo>
                  <a:lnTo>
                    <a:pt x="6" y="48"/>
                  </a:lnTo>
                  <a:lnTo>
                    <a:pt x="13" y="35"/>
                  </a:lnTo>
                  <a:lnTo>
                    <a:pt x="22" y="23"/>
                  </a:lnTo>
                  <a:lnTo>
                    <a:pt x="33" y="14"/>
                  </a:lnTo>
                  <a:lnTo>
                    <a:pt x="46" y="7"/>
                  </a:lnTo>
                  <a:lnTo>
                    <a:pt x="54" y="4"/>
                  </a:lnTo>
                  <a:lnTo>
                    <a:pt x="62" y="1"/>
                  </a:lnTo>
                  <a:lnTo>
                    <a:pt x="69" y="1"/>
                  </a:lnTo>
                  <a:lnTo>
                    <a:pt x="77" y="0"/>
                  </a:lnTo>
                  <a:lnTo>
                    <a:pt x="115" y="0"/>
                  </a:lnTo>
                  <a:lnTo>
                    <a:pt x="124" y="1"/>
                  </a:lnTo>
                  <a:lnTo>
                    <a:pt x="131" y="1"/>
                  </a:lnTo>
                  <a:lnTo>
                    <a:pt x="139" y="4"/>
                  </a:lnTo>
                  <a:lnTo>
                    <a:pt x="146" y="7"/>
                  </a:lnTo>
                  <a:lnTo>
                    <a:pt x="159" y="14"/>
                  </a:lnTo>
                  <a:lnTo>
                    <a:pt x="170" y="23"/>
                  </a:lnTo>
                  <a:lnTo>
                    <a:pt x="180" y="35"/>
                  </a:lnTo>
                  <a:lnTo>
                    <a:pt x="187" y="48"/>
                  </a:lnTo>
                  <a:lnTo>
                    <a:pt x="189" y="55"/>
                  </a:lnTo>
                  <a:lnTo>
                    <a:pt x="192" y="62"/>
                  </a:lnTo>
                  <a:lnTo>
                    <a:pt x="193" y="71"/>
                  </a:lnTo>
                  <a:lnTo>
                    <a:pt x="193" y="78"/>
                  </a:lnTo>
                  <a:lnTo>
                    <a:pt x="193" y="310"/>
                  </a:lnTo>
                  <a:lnTo>
                    <a:pt x="193" y="317"/>
                  </a:lnTo>
                  <a:lnTo>
                    <a:pt x="192" y="326"/>
                  </a:lnTo>
                  <a:lnTo>
                    <a:pt x="189" y="333"/>
                  </a:lnTo>
                  <a:lnTo>
                    <a:pt x="187" y="340"/>
                  </a:lnTo>
                  <a:lnTo>
                    <a:pt x="180" y="353"/>
                  </a:lnTo>
                  <a:lnTo>
                    <a:pt x="170" y="364"/>
                  </a:lnTo>
                  <a:lnTo>
                    <a:pt x="159" y="373"/>
                  </a:lnTo>
                  <a:lnTo>
                    <a:pt x="146" y="380"/>
                  </a:lnTo>
                  <a:lnTo>
                    <a:pt x="139" y="383"/>
                  </a:lnTo>
                  <a:lnTo>
                    <a:pt x="131" y="385"/>
                  </a:lnTo>
                  <a:lnTo>
                    <a:pt x="124" y="386"/>
                  </a:lnTo>
                  <a:lnTo>
                    <a:pt x="115"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54"/>
            <p:cNvSpPr>
              <a:spLocks/>
            </p:cNvSpPr>
            <p:nvPr/>
          </p:nvSpPr>
          <p:spPr bwMode="auto">
            <a:xfrm>
              <a:off x="2416710" y="4758320"/>
              <a:ext cx="46592" cy="94639"/>
            </a:xfrm>
            <a:custGeom>
              <a:avLst/>
              <a:gdLst>
                <a:gd name="T0" fmla="*/ 0 w 97"/>
                <a:gd name="T1" fmla="*/ 194 h 194"/>
                <a:gd name="T2" fmla="*/ 0 w 97"/>
                <a:gd name="T3" fmla="*/ 155 h 194"/>
                <a:gd name="T4" fmla="*/ 12 w 97"/>
                <a:gd name="T5" fmla="*/ 154 h 194"/>
                <a:gd name="T6" fmla="*/ 22 w 97"/>
                <a:gd name="T7" fmla="*/ 151 h 194"/>
                <a:gd name="T8" fmla="*/ 32 w 97"/>
                <a:gd name="T9" fmla="*/ 145 h 194"/>
                <a:gd name="T10" fmla="*/ 41 w 97"/>
                <a:gd name="T11" fmla="*/ 138 h 194"/>
                <a:gd name="T12" fmla="*/ 48 w 97"/>
                <a:gd name="T13" fmla="*/ 129 h 194"/>
                <a:gd name="T14" fmla="*/ 54 w 97"/>
                <a:gd name="T15" fmla="*/ 119 h 194"/>
                <a:gd name="T16" fmla="*/ 57 w 97"/>
                <a:gd name="T17" fmla="*/ 109 h 194"/>
                <a:gd name="T18" fmla="*/ 58 w 97"/>
                <a:gd name="T19" fmla="*/ 96 h 194"/>
                <a:gd name="T20" fmla="*/ 57 w 97"/>
                <a:gd name="T21" fmla="*/ 85 h 194"/>
                <a:gd name="T22" fmla="*/ 54 w 97"/>
                <a:gd name="T23" fmla="*/ 74 h 194"/>
                <a:gd name="T24" fmla="*/ 48 w 97"/>
                <a:gd name="T25" fmla="*/ 64 h 194"/>
                <a:gd name="T26" fmla="*/ 41 w 97"/>
                <a:gd name="T27" fmla="*/ 56 h 194"/>
                <a:gd name="T28" fmla="*/ 32 w 97"/>
                <a:gd name="T29" fmla="*/ 49 h 194"/>
                <a:gd name="T30" fmla="*/ 22 w 97"/>
                <a:gd name="T31" fmla="*/ 43 h 194"/>
                <a:gd name="T32" fmla="*/ 12 w 97"/>
                <a:gd name="T33" fmla="*/ 40 h 194"/>
                <a:gd name="T34" fmla="*/ 0 w 97"/>
                <a:gd name="T35" fmla="*/ 38 h 194"/>
                <a:gd name="T36" fmla="*/ 0 w 97"/>
                <a:gd name="T37" fmla="*/ 0 h 194"/>
                <a:gd name="T38" fmla="*/ 10 w 97"/>
                <a:gd name="T39" fmla="*/ 1 h 194"/>
                <a:gd name="T40" fmla="*/ 19 w 97"/>
                <a:gd name="T41" fmla="*/ 2 h 194"/>
                <a:gd name="T42" fmla="*/ 29 w 97"/>
                <a:gd name="T43" fmla="*/ 4 h 194"/>
                <a:gd name="T44" fmla="*/ 38 w 97"/>
                <a:gd name="T45" fmla="*/ 8 h 194"/>
                <a:gd name="T46" fmla="*/ 46 w 97"/>
                <a:gd name="T47" fmla="*/ 12 h 194"/>
                <a:gd name="T48" fmla="*/ 54 w 97"/>
                <a:gd name="T49" fmla="*/ 17 h 194"/>
                <a:gd name="T50" fmla="*/ 61 w 97"/>
                <a:gd name="T51" fmla="*/ 23 h 194"/>
                <a:gd name="T52" fmla="*/ 68 w 97"/>
                <a:gd name="T53" fmla="*/ 28 h 194"/>
                <a:gd name="T54" fmla="*/ 74 w 97"/>
                <a:gd name="T55" fmla="*/ 36 h 194"/>
                <a:gd name="T56" fmla="*/ 80 w 97"/>
                <a:gd name="T57" fmla="*/ 43 h 194"/>
                <a:gd name="T58" fmla="*/ 85 w 97"/>
                <a:gd name="T59" fmla="*/ 51 h 194"/>
                <a:gd name="T60" fmla="*/ 88 w 97"/>
                <a:gd name="T61" fmla="*/ 59 h 194"/>
                <a:gd name="T62" fmla="*/ 93 w 97"/>
                <a:gd name="T63" fmla="*/ 69 h 194"/>
                <a:gd name="T64" fmla="*/ 94 w 97"/>
                <a:gd name="T65" fmla="*/ 77 h 194"/>
                <a:gd name="T66" fmla="*/ 95 w 97"/>
                <a:gd name="T67" fmla="*/ 87 h 194"/>
                <a:gd name="T68" fmla="*/ 97 w 97"/>
                <a:gd name="T69" fmla="*/ 96 h 194"/>
                <a:gd name="T70" fmla="*/ 95 w 97"/>
                <a:gd name="T71" fmla="*/ 106 h 194"/>
                <a:gd name="T72" fmla="*/ 94 w 97"/>
                <a:gd name="T73" fmla="*/ 116 h 194"/>
                <a:gd name="T74" fmla="*/ 93 w 97"/>
                <a:gd name="T75" fmla="*/ 125 h 194"/>
                <a:gd name="T76" fmla="*/ 88 w 97"/>
                <a:gd name="T77" fmla="*/ 135 h 194"/>
                <a:gd name="T78" fmla="*/ 85 w 97"/>
                <a:gd name="T79" fmla="*/ 142 h 194"/>
                <a:gd name="T80" fmla="*/ 80 w 97"/>
                <a:gd name="T81" fmla="*/ 151 h 194"/>
                <a:gd name="T82" fmla="*/ 74 w 97"/>
                <a:gd name="T83" fmla="*/ 158 h 194"/>
                <a:gd name="T84" fmla="*/ 68 w 97"/>
                <a:gd name="T85" fmla="*/ 165 h 194"/>
                <a:gd name="T86" fmla="*/ 61 w 97"/>
                <a:gd name="T87" fmla="*/ 171 h 194"/>
                <a:gd name="T88" fmla="*/ 54 w 97"/>
                <a:gd name="T89" fmla="*/ 177 h 194"/>
                <a:gd name="T90" fmla="*/ 46 w 97"/>
                <a:gd name="T91" fmla="*/ 181 h 194"/>
                <a:gd name="T92" fmla="*/ 38 w 97"/>
                <a:gd name="T93" fmla="*/ 185 h 194"/>
                <a:gd name="T94" fmla="*/ 29 w 97"/>
                <a:gd name="T95" fmla="*/ 190 h 194"/>
                <a:gd name="T96" fmla="*/ 19 w 97"/>
                <a:gd name="T97" fmla="*/ 191 h 194"/>
                <a:gd name="T98" fmla="*/ 10 w 97"/>
                <a:gd name="T99" fmla="*/ 193 h 194"/>
                <a:gd name="T100" fmla="*/ 0 w 97"/>
                <a:gd name="T101"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7" h="194">
                  <a:moveTo>
                    <a:pt x="0" y="194"/>
                  </a:moveTo>
                  <a:lnTo>
                    <a:pt x="0" y="155"/>
                  </a:lnTo>
                  <a:lnTo>
                    <a:pt x="12" y="154"/>
                  </a:lnTo>
                  <a:lnTo>
                    <a:pt x="22" y="151"/>
                  </a:lnTo>
                  <a:lnTo>
                    <a:pt x="32" y="145"/>
                  </a:lnTo>
                  <a:lnTo>
                    <a:pt x="41" y="138"/>
                  </a:lnTo>
                  <a:lnTo>
                    <a:pt x="48" y="129"/>
                  </a:lnTo>
                  <a:lnTo>
                    <a:pt x="54" y="119"/>
                  </a:lnTo>
                  <a:lnTo>
                    <a:pt x="57" y="109"/>
                  </a:lnTo>
                  <a:lnTo>
                    <a:pt x="58" y="96"/>
                  </a:lnTo>
                  <a:lnTo>
                    <a:pt x="57" y="85"/>
                  </a:lnTo>
                  <a:lnTo>
                    <a:pt x="54" y="74"/>
                  </a:lnTo>
                  <a:lnTo>
                    <a:pt x="48" y="64"/>
                  </a:lnTo>
                  <a:lnTo>
                    <a:pt x="41" y="56"/>
                  </a:lnTo>
                  <a:lnTo>
                    <a:pt x="32" y="49"/>
                  </a:lnTo>
                  <a:lnTo>
                    <a:pt x="22" y="43"/>
                  </a:lnTo>
                  <a:lnTo>
                    <a:pt x="12" y="40"/>
                  </a:lnTo>
                  <a:lnTo>
                    <a:pt x="0" y="38"/>
                  </a:lnTo>
                  <a:lnTo>
                    <a:pt x="0" y="0"/>
                  </a:lnTo>
                  <a:lnTo>
                    <a:pt x="10" y="1"/>
                  </a:lnTo>
                  <a:lnTo>
                    <a:pt x="19" y="2"/>
                  </a:lnTo>
                  <a:lnTo>
                    <a:pt x="29" y="4"/>
                  </a:lnTo>
                  <a:lnTo>
                    <a:pt x="38" y="8"/>
                  </a:lnTo>
                  <a:lnTo>
                    <a:pt x="46" y="12"/>
                  </a:lnTo>
                  <a:lnTo>
                    <a:pt x="54" y="17"/>
                  </a:lnTo>
                  <a:lnTo>
                    <a:pt x="61" y="23"/>
                  </a:lnTo>
                  <a:lnTo>
                    <a:pt x="68" y="28"/>
                  </a:lnTo>
                  <a:lnTo>
                    <a:pt x="74" y="36"/>
                  </a:lnTo>
                  <a:lnTo>
                    <a:pt x="80" y="43"/>
                  </a:lnTo>
                  <a:lnTo>
                    <a:pt x="85" y="51"/>
                  </a:lnTo>
                  <a:lnTo>
                    <a:pt x="88" y="59"/>
                  </a:lnTo>
                  <a:lnTo>
                    <a:pt x="93" y="69"/>
                  </a:lnTo>
                  <a:lnTo>
                    <a:pt x="94" y="77"/>
                  </a:lnTo>
                  <a:lnTo>
                    <a:pt x="95" y="87"/>
                  </a:lnTo>
                  <a:lnTo>
                    <a:pt x="97" y="96"/>
                  </a:lnTo>
                  <a:lnTo>
                    <a:pt x="95" y="106"/>
                  </a:lnTo>
                  <a:lnTo>
                    <a:pt x="94" y="116"/>
                  </a:lnTo>
                  <a:lnTo>
                    <a:pt x="93" y="125"/>
                  </a:lnTo>
                  <a:lnTo>
                    <a:pt x="88" y="135"/>
                  </a:lnTo>
                  <a:lnTo>
                    <a:pt x="85" y="142"/>
                  </a:lnTo>
                  <a:lnTo>
                    <a:pt x="80" y="151"/>
                  </a:lnTo>
                  <a:lnTo>
                    <a:pt x="74" y="158"/>
                  </a:lnTo>
                  <a:lnTo>
                    <a:pt x="68" y="165"/>
                  </a:lnTo>
                  <a:lnTo>
                    <a:pt x="61" y="171"/>
                  </a:lnTo>
                  <a:lnTo>
                    <a:pt x="54" y="177"/>
                  </a:lnTo>
                  <a:lnTo>
                    <a:pt x="46" y="181"/>
                  </a:lnTo>
                  <a:lnTo>
                    <a:pt x="38" y="185"/>
                  </a:lnTo>
                  <a:lnTo>
                    <a:pt x="29" y="190"/>
                  </a:lnTo>
                  <a:lnTo>
                    <a:pt x="19" y="191"/>
                  </a:lnTo>
                  <a:lnTo>
                    <a:pt x="10" y="193"/>
                  </a:lnTo>
                  <a:lnTo>
                    <a:pt x="0"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55"/>
            <p:cNvSpPr>
              <a:spLocks noEditPoints="1"/>
            </p:cNvSpPr>
            <p:nvPr/>
          </p:nvSpPr>
          <p:spPr bwMode="auto">
            <a:xfrm>
              <a:off x="2332263" y="4711728"/>
              <a:ext cx="93183" cy="187823"/>
            </a:xfrm>
            <a:custGeom>
              <a:avLst/>
              <a:gdLst>
                <a:gd name="T0" fmla="*/ 85 w 193"/>
                <a:gd name="T1" fmla="*/ 40 h 387"/>
                <a:gd name="T2" fmla="*/ 65 w 193"/>
                <a:gd name="T3" fmla="*/ 49 h 387"/>
                <a:gd name="T4" fmla="*/ 49 w 193"/>
                <a:gd name="T5" fmla="*/ 65 h 387"/>
                <a:gd name="T6" fmla="*/ 40 w 193"/>
                <a:gd name="T7" fmla="*/ 85 h 387"/>
                <a:gd name="T8" fmla="*/ 39 w 193"/>
                <a:gd name="T9" fmla="*/ 291 h 387"/>
                <a:gd name="T10" fmla="*/ 43 w 193"/>
                <a:gd name="T11" fmla="*/ 313 h 387"/>
                <a:gd name="T12" fmla="*/ 56 w 193"/>
                <a:gd name="T13" fmla="*/ 331 h 387"/>
                <a:gd name="T14" fmla="*/ 74 w 193"/>
                <a:gd name="T15" fmla="*/ 344 h 387"/>
                <a:gd name="T16" fmla="*/ 97 w 193"/>
                <a:gd name="T17" fmla="*/ 349 h 387"/>
                <a:gd name="T18" fmla="*/ 120 w 193"/>
                <a:gd name="T19" fmla="*/ 344 h 387"/>
                <a:gd name="T20" fmla="*/ 137 w 193"/>
                <a:gd name="T21" fmla="*/ 331 h 387"/>
                <a:gd name="T22" fmla="*/ 150 w 193"/>
                <a:gd name="T23" fmla="*/ 313 h 387"/>
                <a:gd name="T24" fmla="*/ 154 w 193"/>
                <a:gd name="T25" fmla="*/ 291 h 387"/>
                <a:gd name="T26" fmla="*/ 153 w 193"/>
                <a:gd name="T27" fmla="*/ 85 h 387"/>
                <a:gd name="T28" fmla="*/ 144 w 193"/>
                <a:gd name="T29" fmla="*/ 65 h 387"/>
                <a:gd name="T30" fmla="*/ 130 w 193"/>
                <a:gd name="T31" fmla="*/ 49 h 387"/>
                <a:gd name="T32" fmla="*/ 108 w 193"/>
                <a:gd name="T33" fmla="*/ 40 h 387"/>
                <a:gd name="T34" fmla="*/ 97 w 193"/>
                <a:gd name="T35" fmla="*/ 387 h 387"/>
                <a:gd name="T36" fmla="*/ 78 w 193"/>
                <a:gd name="T37" fmla="*/ 385 h 387"/>
                <a:gd name="T38" fmla="*/ 59 w 193"/>
                <a:gd name="T39" fmla="*/ 379 h 387"/>
                <a:gd name="T40" fmla="*/ 43 w 193"/>
                <a:gd name="T41" fmla="*/ 370 h 387"/>
                <a:gd name="T42" fmla="*/ 29 w 193"/>
                <a:gd name="T43" fmla="*/ 359 h 387"/>
                <a:gd name="T44" fmla="*/ 16 w 193"/>
                <a:gd name="T45" fmla="*/ 344 h 387"/>
                <a:gd name="T46" fmla="*/ 7 w 193"/>
                <a:gd name="T47" fmla="*/ 328 h 387"/>
                <a:gd name="T48" fmla="*/ 2 w 193"/>
                <a:gd name="T49" fmla="*/ 310 h 387"/>
                <a:gd name="T50" fmla="*/ 0 w 193"/>
                <a:gd name="T51" fmla="*/ 291 h 387"/>
                <a:gd name="T52" fmla="*/ 0 w 193"/>
                <a:gd name="T53" fmla="*/ 88 h 387"/>
                <a:gd name="T54" fmla="*/ 4 w 193"/>
                <a:gd name="T55" fmla="*/ 69 h 387"/>
                <a:gd name="T56" fmla="*/ 12 w 193"/>
                <a:gd name="T57" fmla="*/ 50 h 387"/>
                <a:gd name="T58" fmla="*/ 22 w 193"/>
                <a:gd name="T59" fmla="*/ 36 h 387"/>
                <a:gd name="T60" fmla="*/ 35 w 193"/>
                <a:gd name="T61" fmla="*/ 23 h 387"/>
                <a:gd name="T62" fmla="*/ 51 w 193"/>
                <a:gd name="T63" fmla="*/ 12 h 387"/>
                <a:gd name="T64" fmla="*/ 68 w 193"/>
                <a:gd name="T65" fmla="*/ 4 h 387"/>
                <a:gd name="T66" fmla="*/ 87 w 193"/>
                <a:gd name="T67" fmla="*/ 1 h 387"/>
                <a:gd name="T68" fmla="*/ 107 w 193"/>
                <a:gd name="T69" fmla="*/ 1 h 387"/>
                <a:gd name="T70" fmla="*/ 125 w 193"/>
                <a:gd name="T71" fmla="*/ 4 h 387"/>
                <a:gd name="T72" fmla="*/ 143 w 193"/>
                <a:gd name="T73" fmla="*/ 12 h 387"/>
                <a:gd name="T74" fmla="*/ 159 w 193"/>
                <a:gd name="T75" fmla="*/ 23 h 387"/>
                <a:gd name="T76" fmla="*/ 172 w 193"/>
                <a:gd name="T77" fmla="*/ 36 h 387"/>
                <a:gd name="T78" fmla="*/ 182 w 193"/>
                <a:gd name="T79" fmla="*/ 50 h 387"/>
                <a:gd name="T80" fmla="*/ 189 w 193"/>
                <a:gd name="T81" fmla="*/ 69 h 387"/>
                <a:gd name="T82" fmla="*/ 193 w 193"/>
                <a:gd name="T83" fmla="*/ 88 h 387"/>
                <a:gd name="T84" fmla="*/ 193 w 193"/>
                <a:gd name="T85" fmla="*/ 291 h 387"/>
                <a:gd name="T86" fmla="*/ 192 w 193"/>
                <a:gd name="T87" fmla="*/ 310 h 387"/>
                <a:gd name="T88" fmla="*/ 186 w 193"/>
                <a:gd name="T89" fmla="*/ 328 h 387"/>
                <a:gd name="T90" fmla="*/ 177 w 193"/>
                <a:gd name="T91" fmla="*/ 344 h 387"/>
                <a:gd name="T92" fmla="*/ 164 w 193"/>
                <a:gd name="T93" fmla="*/ 359 h 387"/>
                <a:gd name="T94" fmla="*/ 150 w 193"/>
                <a:gd name="T95" fmla="*/ 370 h 387"/>
                <a:gd name="T96" fmla="*/ 134 w 193"/>
                <a:gd name="T97" fmla="*/ 379 h 387"/>
                <a:gd name="T98" fmla="*/ 117 w 193"/>
                <a:gd name="T99" fmla="*/ 385 h 387"/>
                <a:gd name="T100" fmla="*/ 97 w 193"/>
                <a:gd name="T101" fmla="*/ 38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3" h="387">
                  <a:moveTo>
                    <a:pt x="97" y="39"/>
                  </a:moveTo>
                  <a:lnTo>
                    <a:pt x="85" y="40"/>
                  </a:lnTo>
                  <a:lnTo>
                    <a:pt x="74" y="43"/>
                  </a:lnTo>
                  <a:lnTo>
                    <a:pt x="65" y="49"/>
                  </a:lnTo>
                  <a:lnTo>
                    <a:pt x="56" y="56"/>
                  </a:lnTo>
                  <a:lnTo>
                    <a:pt x="49" y="65"/>
                  </a:lnTo>
                  <a:lnTo>
                    <a:pt x="43" y="75"/>
                  </a:lnTo>
                  <a:lnTo>
                    <a:pt x="40" y="85"/>
                  </a:lnTo>
                  <a:lnTo>
                    <a:pt x="39" y="97"/>
                  </a:lnTo>
                  <a:lnTo>
                    <a:pt x="39" y="291"/>
                  </a:lnTo>
                  <a:lnTo>
                    <a:pt x="40" y="302"/>
                  </a:lnTo>
                  <a:lnTo>
                    <a:pt x="43" y="313"/>
                  </a:lnTo>
                  <a:lnTo>
                    <a:pt x="49" y="323"/>
                  </a:lnTo>
                  <a:lnTo>
                    <a:pt x="56" y="331"/>
                  </a:lnTo>
                  <a:lnTo>
                    <a:pt x="65" y="339"/>
                  </a:lnTo>
                  <a:lnTo>
                    <a:pt x="74" y="344"/>
                  </a:lnTo>
                  <a:lnTo>
                    <a:pt x="85" y="347"/>
                  </a:lnTo>
                  <a:lnTo>
                    <a:pt x="97" y="349"/>
                  </a:lnTo>
                  <a:lnTo>
                    <a:pt x="108" y="347"/>
                  </a:lnTo>
                  <a:lnTo>
                    <a:pt x="120" y="344"/>
                  </a:lnTo>
                  <a:lnTo>
                    <a:pt x="130" y="339"/>
                  </a:lnTo>
                  <a:lnTo>
                    <a:pt x="137" y="331"/>
                  </a:lnTo>
                  <a:lnTo>
                    <a:pt x="144" y="323"/>
                  </a:lnTo>
                  <a:lnTo>
                    <a:pt x="150" y="313"/>
                  </a:lnTo>
                  <a:lnTo>
                    <a:pt x="153" y="302"/>
                  </a:lnTo>
                  <a:lnTo>
                    <a:pt x="154" y="291"/>
                  </a:lnTo>
                  <a:lnTo>
                    <a:pt x="154" y="97"/>
                  </a:lnTo>
                  <a:lnTo>
                    <a:pt x="153" y="85"/>
                  </a:lnTo>
                  <a:lnTo>
                    <a:pt x="150" y="75"/>
                  </a:lnTo>
                  <a:lnTo>
                    <a:pt x="144" y="65"/>
                  </a:lnTo>
                  <a:lnTo>
                    <a:pt x="137" y="56"/>
                  </a:lnTo>
                  <a:lnTo>
                    <a:pt x="130" y="49"/>
                  </a:lnTo>
                  <a:lnTo>
                    <a:pt x="120" y="43"/>
                  </a:lnTo>
                  <a:lnTo>
                    <a:pt x="108" y="40"/>
                  </a:lnTo>
                  <a:lnTo>
                    <a:pt x="97" y="39"/>
                  </a:lnTo>
                  <a:close/>
                  <a:moveTo>
                    <a:pt x="97" y="387"/>
                  </a:moveTo>
                  <a:lnTo>
                    <a:pt x="87" y="386"/>
                  </a:lnTo>
                  <a:lnTo>
                    <a:pt x="78" y="385"/>
                  </a:lnTo>
                  <a:lnTo>
                    <a:pt x="68" y="383"/>
                  </a:lnTo>
                  <a:lnTo>
                    <a:pt x="59" y="379"/>
                  </a:lnTo>
                  <a:lnTo>
                    <a:pt x="51" y="375"/>
                  </a:lnTo>
                  <a:lnTo>
                    <a:pt x="43" y="370"/>
                  </a:lnTo>
                  <a:lnTo>
                    <a:pt x="35" y="364"/>
                  </a:lnTo>
                  <a:lnTo>
                    <a:pt x="29" y="359"/>
                  </a:lnTo>
                  <a:lnTo>
                    <a:pt x="22" y="351"/>
                  </a:lnTo>
                  <a:lnTo>
                    <a:pt x="16" y="344"/>
                  </a:lnTo>
                  <a:lnTo>
                    <a:pt x="12" y="336"/>
                  </a:lnTo>
                  <a:lnTo>
                    <a:pt x="7" y="328"/>
                  </a:lnTo>
                  <a:lnTo>
                    <a:pt x="4" y="318"/>
                  </a:lnTo>
                  <a:lnTo>
                    <a:pt x="2" y="310"/>
                  </a:lnTo>
                  <a:lnTo>
                    <a:pt x="0" y="300"/>
                  </a:lnTo>
                  <a:lnTo>
                    <a:pt x="0" y="291"/>
                  </a:lnTo>
                  <a:lnTo>
                    <a:pt x="0" y="97"/>
                  </a:lnTo>
                  <a:lnTo>
                    <a:pt x="0" y="88"/>
                  </a:lnTo>
                  <a:lnTo>
                    <a:pt x="2" y="78"/>
                  </a:lnTo>
                  <a:lnTo>
                    <a:pt x="4" y="69"/>
                  </a:lnTo>
                  <a:lnTo>
                    <a:pt x="7" y="59"/>
                  </a:lnTo>
                  <a:lnTo>
                    <a:pt x="12" y="50"/>
                  </a:lnTo>
                  <a:lnTo>
                    <a:pt x="16" y="43"/>
                  </a:lnTo>
                  <a:lnTo>
                    <a:pt x="22" y="36"/>
                  </a:lnTo>
                  <a:lnTo>
                    <a:pt x="29" y="29"/>
                  </a:lnTo>
                  <a:lnTo>
                    <a:pt x="35" y="23"/>
                  </a:lnTo>
                  <a:lnTo>
                    <a:pt x="43" y="17"/>
                  </a:lnTo>
                  <a:lnTo>
                    <a:pt x="51" y="12"/>
                  </a:lnTo>
                  <a:lnTo>
                    <a:pt x="59" y="9"/>
                  </a:lnTo>
                  <a:lnTo>
                    <a:pt x="68" y="4"/>
                  </a:lnTo>
                  <a:lnTo>
                    <a:pt x="78" y="3"/>
                  </a:lnTo>
                  <a:lnTo>
                    <a:pt x="87" y="1"/>
                  </a:lnTo>
                  <a:lnTo>
                    <a:pt x="97" y="0"/>
                  </a:lnTo>
                  <a:lnTo>
                    <a:pt x="107" y="1"/>
                  </a:lnTo>
                  <a:lnTo>
                    <a:pt x="117" y="3"/>
                  </a:lnTo>
                  <a:lnTo>
                    <a:pt x="125" y="4"/>
                  </a:lnTo>
                  <a:lnTo>
                    <a:pt x="134" y="9"/>
                  </a:lnTo>
                  <a:lnTo>
                    <a:pt x="143" y="12"/>
                  </a:lnTo>
                  <a:lnTo>
                    <a:pt x="150" y="17"/>
                  </a:lnTo>
                  <a:lnTo>
                    <a:pt x="159" y="23"/>
                  </a:lnTo>
                  <a:lnTo>
                    <a:pt x="164" y="29"/>
                  </a:lnTo>
                  <a:lnTo>
                    <a:pt x="172" y="36"/>
                  </a:lnTo>
                  <a:lnTo>
                    <a:pt x="177" y="43"/>
                  </a:lnTo>
                  <a:lnTo>
                    <a:pt x="182" y="50"/>
                  </a:lnTo>
                  <a:lnTo>
                    <a:pt x="186" y="59"/>
                  </a:lnTo>
                  <a:lnTo>
                    <a:pt x="189" y="69"/>
                  </a:lnTo>
                  <a:lnTo>
                    <a:pt x="192" y="78"/>
                  </a:lnTo>
                  <a:lnTo>
                    <a:pt x="193" y="88"/>
                  </a:lnTo>
                  <a:lnTo>
                    <a:pt x="193" y="97"/>
                  </a:lnTo>
                  <a:lnTo>
                    <a:pt x="193" y="291"/>
                  </a:lnTo>
                  <a:lnTo>
                    <a:pt x="193" y="300"/>
                  </a:lnTo>
                  <a:lnTo>
                    <a:pt x="192" y="310"/>
                  </a:lnTo>
                  <a:lnTo>
                    <a:pt x="189" y="318"/>
                  </a:lnTo>
                  <a:lnTo>
                    <a:pt x="186" y="328"/>
                  </a:lnTo>
                  <a:lnTo>
                    <a:pt x="182" y="336"/>
                  </a:lnTo>
                  <a:lnTo>
                    <a:pt x="177" y="344"/>
                  </a:lnTo>
                  <a:lnTo>
                    <a:pt x="172" y="351"/>
                  </a:lnTo>
                  <a:lnTo>
                    <a:pt x="164" y="359"/>
                  </a:lnTo>
                  <a:lnTo>
                    <a:pt x="159" y="364"/>
                  </a:lnTo>
                  <a:lnTo>
                    <a:pt x="150" y="370"/>
                  </a:lnTo>
                  <a:lnTo>
                    <a:pt x="143" y="375"/>
                  </a:lnTo>
                  <a:lnTo>
                    <a:pt x="134" y="379"/>
                  </a:lnTo>
                  <a:lnTo>
                    <a:pt x="125" y="383"/>
                  </a:lnTo>
                  <a:lnTo>
                    <a:pt x="117" y="385"/>
                  </a:lnTo>
                  <a:lnTo>
                    <a:pt x="107" y="386"/>
                  </a:lnTo>
                  <a:lnTo>
                    <a:pt x="97"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 name="Group 29"/>
          <p:cNvGrpSpPr/>
          <p:nvPr/>
        </p:nvGrpSpPr>
        <p:grpSpPr>
          <a:xfrm>
            <a:off x="8488900" y="5110792"/>
            <a:ext cx="338017" cy="313951"/>
            <a:chOff x="1260653" y="5947865"/>
            <a:chExt cx="449901" cy="417869"/>
          </a:xfrm>
          <a:solidFill>
            <a:schemeClr val="tx1">
              <a:lumMod val="85000"/>
              <a:lumOff val="15000"/>
            </a:schemeClr>
          </a:solidFill>
        </p:grpSpPr>
        <p:sp>
          <p:nvSpPr>
            <p:cNvPr id="31" name="Freeform 595"/>
            <p:cNvSpPr>
              <a:spLocks noEditPoints="1"/>
            </p:cNvSpPr>
            <p:nvPr/>
          </p:nvSpPr>
          <p:spPr bwMode="auto">
            <a:xfrm>
              <a:off x="1364029" y="6036680"/>
              <a:ext cx="243151" cy="221311"/>
            </a:xfrm>
            <a:custGeom>
              <a:avLst/>
              <a:gdLst>
                <a:gd name="T0" fmla="*/ 118 w 501"/>
                <a:gd name="T1" fmla="*/ 41 h 456"/>
                <a:gd name="T2" fmla="*/ 92 w 501"/>
                <a:gd name="T3" fmla="*/ 49 h 456"/>
                <a:gd name="T4" fmla="*/ 69 w 501"/>
                <a:gd name="T5" fmla="*/ 65 h 456"/>
                <a:gd name="T6" fmla="*/ 52 w 501"/>
                <a:gd name="T7" fmla="*/ 90 h 456"/>
                <a:gd name="T8" fmla="*/ 41 w 501"/>
                <a:gd name="T9" fmla="*/ 121 h 456"/>
                <a:gd name="T10" fmla="*/ 39 w 501"/>
                <a:gd name="T11" fmla="*/ 159 h 456"/>
                <a:gd name="T12" fmla="*/ 46 w 501"/>
                <a:gd name="T13" fmla="*/ 193 h 456"/>
                <a:gd name="T14" fmla="*/ 79 w 501"/>
                <a:gd name="T15" fmla="*/ 258 h 456"/>
                <a:gd name="T16" fmla="*/ 128 w 501"/>
                <a:gd name="T17" fmla="*/ 317 h 456"/>
                <a:gd name="T18" fmla="*/ 182 w 501"/>
                <a:gd name="T19" fmla="*/ 365 h 456"/>
                <a:gd name="T20" fmla="*/ 251 w 501"/>
                <a:gd name="T21" fmla="*/ 414 h 456"/>
                <a:gd name="T22" fmla="*/ 318 w 501"/>
                <a:gd name="T23" fmla="*/ 359 h 456"/>
                <a:gd name="T24" fmla="*/ 373 w 501"/>
                <a:gd name="T25" fmla="*/ 307 h 456"/>
                <a:gd name="T26" fmla="*/ 422 w 501"/>
                <a:gd name="T27" fmla="*/ 245 h 456"/>
                <a:gd name="T28" fmla="*/ 455 w 501"/>
                <a:gd name="T29" fmla="*/ 179 h 456"/>
                <a:gd name="T30" fmla="*/ 462 w 501"/>
                <a:gd name="T31" fmla="*/ 146 h 456"/>
                <a:gd name="T32" fmla="*/ 461 w 501"/>
                <a:gd name="T33" fmla="*/ 111 h 456"/>
                <a:gd name="T34" fmla="*/ 451 w 501"/>
                <a:gd name="T35" fmla="*/ 84 h 456"/>
                <a:gd name="T36" fmla="*/ 434 w 501"/>
                <a:gd name="T37" fmla="*/ 62 h 456"/>
                <a:gd name="T38" fmla="*/ 411 w 501"/>
                <a:gd name="T39" fmla="*/ 48 h 456"/>
                <a:gd name="T40" fmla="*/ 386 w 501"/>
                <a:gd name="T41" fmla="*/ 39 h 456"/>
                <a:gd name="T42" fmla="*/ 353 w 501"/>
                <a:gd name="T43" fmla="*/ 39 h 456"/>
                <a:gd name="T44" fmla="*/ 323 w 501"/>
                <a:gd name="T45" fmla="*/ 49 h 456"/>
                <a:gd name="T46" fmla="*/ 301 w 501"/>
                <a:gd name="T47" fmla="*/ 64 h 456"/>
                <a:gd name="T48" fmla="*/ 284 w 501"/>
                <a:gd name="T49" fmla="*/ 85 h 456"/>
                <a:gd name="T50" fmla="*/ 272 w 501"/>
                <a:gd name="T51" fmla="*/ 116 h 456"/>
                <a:gd name="T52" fmla="*/ 264 w 501"/>
                <a:gd name="T53" fmla="*/ 139 h 456"/>
                <a:gd name="T54" fmla="*/ 244 w 501"/>
                <a:gd name="T55" fmla="*/ 142 h 456"/>
                <a:gd name="T56" fmla="*/ 232 w 501"/>
                <a:gd name="T57" fmla="*/ 127 h 456"/>
                <a:gd name="T58" fmla="*/ 222 w 501"/>
                <a:gd name="T59" fmla="*/ 96 h 456"/>
                <a:gd name="T60" fmla="*/ 208 w 501"/>
                <a:gd name="T61" fmla="*/ 71 h 456"/>
                <a:gd name="T62" fmla="*/ 180 w 501"/>
                <a:gd name="T63" fmla="*/ 51 h 456"/>
                <a:gd name="T64" fmla="*/ 136 w 501"/>
                <a:gd name="T65" fmla="*/ 39 h 456"/>
                <a:gd name="T66" fmla="*/ 241 w 501"/>
                <a:gd name="T67" fmla="*/ 454 h 456"/>
                <a:gd name="T68" fmla="*/ 180 w 501"/>
                <a:gd name="T69" fmla="*/ 414 h 456"/>
                <a:gd name="T70" fmla="*/ 117 w 501"/>
                <a:gd name="T71" fmla="*/ 361 h 456"/>
                <a:gd name="T72" fmla="*/ 53 w 501"/>
                <a:gd name="T73" fmla="*/ 290 h 456"/>
                <a:gd name="T74" fmla="*/ 22 w 501"/>
                <a:gd name="T75" fmla="*/ 237 h 456"/>
                <a:gd name="T76" fmla="*/ 6 w 501"/>
                <a:gd name="T77" fmla="*/ 192 h 456"/>
                <a:gd name="T78" fmla="*/ 0 w 501"/>
                <a:gd name="T79" fmla="*/ 146 h 456"/>
                <a:gd name="T80" fmla="*/ 6 w 501"/>
                <a:gd name="T81" fmla="*/ 97 h 456"/>
                <a:gd name="T82" fmla="*/ 25 w 501"/>
                <a:gd name="T83" fmla="*/ 58 h 456"/>
                <a:gd name="T84" fmla="*/ 52 w 501"/>
                <a:gd name="T85" fmla="*/ 29 h 456"/>
                <a:gd name="T86" fmla="*/ 87 w 501"/>
                <a:gd name="T87" fmla="*/ 11 h 456"/>
                <a:gd name="T88" fmla="*/ 123 w 501"/>
                <a:gd name="T89" fmla="*/ 2 h 456"/>
                <a:gd name="T90" fmla="*/ 169 w 501"/>
                <a:gd name="T91" fmla="*/ 5 h 456"/>
                <a:gd name="T92" fmla="*/ 215 w 501"/>
                <a:gd name="T93" fmla="*/ 26 h 456"/>
                <a:gd name="T94" fmla="*/ 251 w 501"/>
                <a:gd name="T95" fmla="*/ 65 h 456"/>
                <a:gd name="T96" fmla="*/ 288 w 501"/>
                <a:gd name="T97" fmla="*/ 25 h 456"/>
                <a:gd name="T98" fmla="*/ 336 w 501"/>
                <a:gd name="T99" fmla="*/ 3 h 456"/>
                <a:gd name="T100" fmla="*/ 382 w 501"/>
                <a:gd name="T101" fmla="*/ 0 h 456"/>
                <a:gd name="T102" fmla="*/ 418 w 501"/>
                <a:gd name="T103" fmla="*/ 9 h 456"/>
                <a:gd name="T104" fmla="*/ 451 w 501"/>
                <a:gd name="T105" fmla="*/ 26 h 456"/>
                <a:gd name="T106" fmla="*/ 477 w 501"/>
                <a:gd name="T107" fmla="*/ 54 h 456"/>
                <a:gd name="T108" fmla="*/ 496 w 501"/>
                <a:gd name="T109" fmla="*/ 90 h 456"/>
                <a:gd name="T110" fmla="*/ 501 w 501"/>
                <a:gd name="T111" fmla="*/ 134 h 456"/>
                <a:gd name="T112" fmla="*/ 496 w 501"/>
                <a:gd name="T113" fmla="*/ 179 h 456"/>
                <a:gd name="T114" fmla="*/ 481 w 501"/>
                <a:gd name="T115" fmla="*/ 221 h 456"/>
                <a:gd name="T116" fmla="*/ 448 w 501"/>
                <a:gd name="T117" fmla="*/ 276 h 456"/>
                <a:gd name="T118" fmla="*/ 386 w 501"/>
                <a:gd name="T119" fmla="*/ 349 h 456"/>
                <a:gd name="T120" fmla="*/ 321 w 501"/>
                <a:gd name="T121" fmla="*/ 408 h 456"/>
                <a:gd name="T122" fmla="*/ 262 w 501"/>
                <a:gd name="T123" fmla="*/ 453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01" h="456">
                  <a:moveTo>
                    <a:pt x="136" y="39"/>
                  </a:moveTo>
                  <a:lnTo>
                    <a:pt x="127" y="41"/>
                  </a:lnTo>
                  <a:lnTo>
                    <a:pt x="118" y="41"/>
                  </a:lnTo>
                  <a:lnTo>
                    <a:pt x="110" y="44"/>
                  </a:lnTo>
                  <a:lnTo>
                    <a:pt x="101" y="47"/>
                  </a:lnTo>
                  <a:lnTo>
                    <a:pt x="92" y="49"/>
                  </a:lnTo>
                  <a:lnTo>
                    <a:pt x="84" y="54"/>
                  </a:lnTo>
                  <a:lnTo>
                    <a:pt x="77" y="60"/>
                  </a:lnTo>
                  <a:lnTo>
                    <a:pt x="69" y="65"/>
                  </a:lnTo>
                  <a:lnTo>
                    <a:pt x="64" y="72"/>
                  </a:lnTo>
                  <a:lnTo>
                    <a:pt x="56" y="81"/>
                  </a:lnTo>
                  <a:lnTo>
                    <a:pt x="52" y="90"/>
                  </a:lnTo>
                  <a:lnTo>
                    <a:pt x="48" y="98"/>
                  </a:lnTo>
                  <a:lnTo>
                    <a:pt x="43" y="110"/>
                  </a:lnTo>
                  <a:lnTo>
                    <a:pt x="41" y="121"/>
                  </a:lnTo>
                  <a:lnTo>
                    <a:pt x="39" y="133"/>
                  </a:lnTo>
                  <a:lnTo>
                    <a:pt x="39" y="146"/>
                  </a:lnTo>
                  <a:lnTo>
                    <a:pt x="39" y="159"/>
                  </a:lnTo>
                  <a:lnTo>
                    <a:pt x="41" y="170"/>
                  </a:lnTo>
                  <a:lnTo>
                    <a:pt x="42" y="182"/>
                  </a:lnTo>
                  <a:lnTo>
                    <a:pt x="46" y="193"/>
                  </a:lnTo>
                  <a:lnTo>
                    <a:pt x="55" y="215"/>
                  </a:lnTo>
                  <a:lnTo>
                    <a:pt x="65" y="238"/>
                  </a:lnTo>
                  <a:lnTo>
                    <a:pt x="79" y="258"/>
                  </a:lnTo>
                  <a:lnTo>
                    <a:pt x="94" y="280"/>
                  </a:lnTo>
                  <a:lnTo>
                    <a:pt x="111" y="299"/>
                  </a:lnTo>
                  <a:lnTo>
                    <a:pt x="128" y="317"/>
                  </a:lnTo>
                  <a:lnTo>
                    <a:pt x="146" y="335"/>
                  </a:lnTo>
                  <a:lnTo>
                    <a:pt x="164" y="350"/>
                  </a:lnTo>
                  <a:lnTo>
                    <a:pt x="182" y="365"/>
                  </a:lnTo>
                  <a:lnTo>
                    <a:pt x="199" y="378"/>
                  </a:lnTo>
                  <a:lnTo>
                    <a:pt x="228" y="399"/>
                  </a:lnTo>
                  <a:lnTo>
                    <a:pt x="251" y="414"/>
                  </a:lnTo>
                  <a:lnTo>
                    <a:pt x="272" y="398"/>
                  </a:lnTo>
                  <a:lnTo>
                    <a:pt x="301" y="374"/>
                  </a:lnTo>
                  <a:lnTo>
                    <a:pt x="318" y="359"/>
                  </a:lnTo>
                  <a:lnTo>
                    <a:pt x="337" y="343"/>
                  </a:lnTo>
                  <a:lnTo>
                    <a:pt x="354" y="326"/>
                  </a:lnTo>
                  <a:lnTo>
                    <a:pt x="373" y="307"/>
                  </a:lnTo>
                  <a:lnTo>
                    <a:pt x="390" y="287"/>
                  </a:lnTo>
                  <a:lnTo>
                    <a:pt x="408" y="267"/>
                  </a:lnTo>
                  <a:lnTo>
                    <a:pt x="422" y="245"/>
                  </a:lnTo>
                  <a:lnTo>
                    <a:pt x="437" y="224"/>
                  </a:lnTo>
                  <a:lnTo>
                    <a:pt x="447" y="202"/>
                  </a:lnTo>
                  <a:lnTo>
                    <a:pt x="455" y="179"/>
                  </a:lnTo>
                  <a:lnTo>
                    <a:pt x="460" y="169"/>
                  </a:lnTo>
                  <a:lnTo>
                    <a:pt x="461" y="157"/>
                  </a:lnTo>
                  <a:lnTo>
                    <a:pt x="462" y="146"/>
                  </a:lnTo>
                  <a:lnTo>
                    <a:pt x="464" y="134"/>
                  </a:lnTo>
                  <a:lnTo>
                    <a:pt x="462" y="123"/>
                  </a:lnTo>
                  <a:lnTo>
                    <a:pt x="461" y="111"/>
                  </a:lnTo>
                  <a:lnTo>
                    <a:pt x="458" y="101"/>
                  </a:lnTo>
                  <a:lnTo>
                    <a:pt x="455" y="93"/>
                  </a:lnTo>
                  <a:lnTo>
                    <a:pt x="451" y="84"/>
                  </a:lnTo>
                  <a:lnTo>
                    <a:pt x="445" y="75"/>
                  </a:lnTo>
                  <a:lnTo>
                    <a:pt x="439" y="68"/>
                  </a:lnTo>
                  <a:lnTo>
                    <a:pt x="434" y="62"/>
                  </a:lnTo>
                  <a:lnTo>
                    <a:pt x="426" y="57"/>
                  </a:lnTo>
                  <a:lnTo>
                    <a:pt x="419" y="52"/>
                  </a:lnTo>
                  <a:lnTo>
                    <a:pt x="411" y="48"/>
                  </a:lnTo>
                  <a:lnTo>
                    <a:pt x="403" y="44"/>
                  </a:lnTo>
                  <a:lnTo>
                    <a:pt x="395" y="42"/>
                  </a:lnTo>
                  <a:lnTo>
                    <a:pt x="386" y="39"/>
                  </a:lnTo>
                  <a:lnTo>
                    <a:pt x="377" y="39"/>
                  </a:lnTo>
                  <a:lnTo>
                    <a:pt x="369" y="38"/>
                  </a:lnTo>
                  <a:lnTo>
                    <a:pt x="353" y="39"/>
                  </a:lnTo>
                  <a:lnTo>
                    <a:pt x="339" y="44"/>
                  </a:lnTo>
                  <a:lnTo>
                    <a:pt x="330" y="47"/>
                  </a:lnTo>
                  <a:lnTo>
                    <a:pt x="323" y="49"/>
                  </a:lnTo>
                  <a:lnTo>
                    <a:pt x="316" y="54"/>
                  </a:lnTo>
                  <a:lnTo>
                    <a:pt x="308" y="58"/>
                  </a:lnTo>
                  <a:lnTo>
                    <a:pt x="301" y="64"/>
                  </a:lnTo>
                  <a:lnTo>
                    <a:pt x="295" y="70"/>
                  </a:lnTo>
                  <a:lnTo>
                    <a:pt x="290" y="77"/>
                  </a:lnTo>
                  <a:lnTo>
                    <a:pt x="284" y="85"/>
                  </a:lnTo>
                  <a:lnTo>
                    <a:pt x="280" y="94"/>
                  </a:lnTo>
                  <a:lnTo>
                    <a:pt x="275" y="104"/>
                  </a:lnTo>
                  <a:lnTo>
                    <a:pt x="272" y="116"/>
                  </a:lnTo>
                  <a:lnTo>
                    <a:pt x="269" y="127"/>
                  </a:lnTo>
                  <a:lnTo>
                    <a:pt x="268" y="133"/>
                  </a:lnTo>
                  <a:lnTo>
                    <a:pt x="264" y="139"/>
                  </a:lnTo>
                  <a:lnTo>
                    <a:pt x="258" y="142"/>
                  </a:lnTo>
                  <a:lnTo>
                    <a:pt x="251" y="143"/>
                  </a:lnTo>
                  <a:lnTo>
                    <a:pt x="244" y="142"/>
                  </a:lnTo>
                  <a:lnTo>
                    <a:pt x="238" y="139"/>
                  </a:lnTo>
                  <a:lnTo>
                    <a:pt x="233" y="133"/>
                  </a:lnTo>
                  <a:lnTo>
                    <a:pt x="232" y="127"/>
                  </a:lnTo>
                  <a:lnTo>
                    <a:pt x="229" y="116"/>
                  </a:lnTo>
                  <a:lnTo>
                    <a:pt x="226" y="104"/>
                  </a:lnTo>
                  <a:lnTo>
                    <a:pt x="222" y="96"/>
                  </a:lnTo>
                  <a:lnTo>
                    <a:pt x="218" y="85"/>
                  </a:lnTo>
                  <a:lnTo>
                    <a:pt x="213" y="78"/>
                  </a:lnTo>
                  <a:lnTo>
                    <a:pt x="208" y="71"/>
                  </a:lnTo>
                  <a:lnTo>
                    <a:pt x="200" y="65"/>
                  </a:lnTo>
                  <a:lnTo>
                    <a:pt x="195" y="60"/>
                  </a:lnTo>
                  <a:lnTo>
                    <a:pt x="180" y="51"/>
                  </a:lnTo>
                  <a:lnTo>
                    <a:pt x="166" y="44"/>
                  </a:lnTo>
                  <a:lnTo>
                    <a:pt x="150" y="41"/>
                  </a:lnTo>
                  <a:lnTo>
                    <a:pt x="136" y="39"/>
                  </a:lnTo>
                  <a:close/>
                  <a:moveTo>
                    <a:pt x="251" y="456"/>
                  </a:moveTo>
                  <a:lnTo>
                    <a:pt x="246" y="456"/>
                  </a:lnTo>
                  <a:lnTo>
                    <a:pt x="241" y="454"/>
                  </a:lnTo>
                  <a:lnTo>
                    <a:pt x="228" y="446"/>
                  </a:lnTo>
                  <a:lnTo>
                    <a:pt x="199" y="427"/>
                  </a:lnTo>
                  <a:lnTo>
                    <a:pt x="180" y="414"/>
                  </a:lnTo>
                  <a:lnTo>
                    <a:pt x="160" y="398"/>
                  </a:lnTo>
                  <a:lnTo>
                    <a:pt x="138" y="381"/>
                  </a:lnTo>
                  <a:lnTo>
                    <a:pt x="117" y="361"/>
                  </a:lnTo>
                  <a:lnTo>
                    <a:pt x="95" y="339"/>
                  </a:lnTo>
                  <a:lnTo>
                    <a:pt x="74" y="316"/>
                  </a:lnTo>
                  <a:lnTo>
                    <a:pt x="53" y="290"/>
                  </a:lnTo>
                  <a:lnTo>
                    <a:pt x="36" y="264"/>
                  </a:lnTo>
                  <a:lnTo>
                    <a:pt x="29" y="251"/>
                  </a:lnTo>
                  <a:lnTo>
                    <a:pt x="22" y="237"/>
                  </a:lnTo>
                  <a:lnTo>
                    <a:pt x="15" y="222"/>
                  </a:lnTo>
                  <a:lnTo>
                    <a:pt x="10" y="208"/>
                  </a:lnTo>
                  <a:lnTo>
                    <a:pt x="6" y="192"/>
                  </a:lnTo>
                  <a:lnTo>
                    <a:pt x="3" y="178"/>
                  </a:lnTo>
                  <a:lnTo>
                    <a:pt x="0" y="162"/>
                  </a:lnTo>
                  <a:lnTo>
                    <a:pt x="0" y="146"/>
                  </a:lnTo>
                  <a:lnTo>
                    <a:pt x="0" y="129"/>
                  </a:lnTo>
                  <a:lnTo>
                    <a:pt x="3" y="113"/>
                  </a:lnTo>
                  <a:lnTo>
                    <a:pt x="6" y="97"/>
                  </a:lnTo>
                  <a:lnTo>
                    <a:pt x="12" y="84"/>
                  </a:lnTo>
                  <a:lnTo>
                    <a:pt x="17" y="71"/>
                  </a:lnTo>
                  <a:lnTo>
                    <a:pt x="25" y="58"/>
                  </a:lnTo>
                  <a:lnTo>
                    <a:pt x="33" y="48"/>
                  </a:lnTo>
                  <a:lnTo>
                    <a:pt x="42" y="38"/>
                  </a:lnTo>
                  <a:lnTo>
                    <a:pt x="52" y="29"/>
                  </a:lnTo>
                  <a:lnTo>
                    <a:pt x="64" y="22"/>
                  </a:lnTo>
                  <a:lnTo>
                    <a:pt x="74" y="16"/>
                  </a:lnTo>
                  <a:lnTo>
                    <a:pt x="87" y="11"/>
                  </a:lnTo>
                  <a:lnTo>
                    <a:pt x="98" y="6"/>
                  </a:lnTo>
                  <a:lnTo>
                    <a:pt x="111" y="3"/>
                  </a:lnTo>
                  <a:lnTo>
                    <a:pt x="123" y="2"/>
                  </a:lnTo>
                  <a:lnTo>
                    <a:pt x="136" y="0"/>
                  </a:lnTo>
                  <a:lnTo>
                    <a:pt x="151" y="2"/>
                  </a:lnTo>
                  <a:lnTo>
                    <a:pt x="169" y="5"/>
                  </a:lnTo>
                  <a:lnTo>
                    <a:pt x="185" y="11"/>
                  </a:lnTo>
                  <a:lnTo>
                    <a:pt x="199" y="16"/>
                  </a:lnTo>
                  <a:lnTo>
                    <a:pt x="215" y="26"/>
                  </a:lnTo>
                  <a:lnTo>
                    <a:pt x="228" y="36"/>
                  </a:lnTo>
                  <a:lnTo>
                    <a:pt x="241" y="51"/>
                  </a:lnTo>
                  <a:lnTo>
                    <a:pt x="251" y="65"/>
                  </a:lnTo>
                  <a:lnTo>
                    <a:pt x="262" y="49"/>
                  </a:lnTo>
                  <a:lnTo>
                    <a:pt x="274" y="36"/>
                  </a:lnTo>
                  <a:lnTo>
                    <a:pt x="288" y="25"/>
                  </a:lnTo>
                  <a:lnTo>
                    <a:pt x="304" y="16"/>
                  </a:lnTo>
                  <a:lnTo>
                    <a:pt x="320" y="9"/>
                  </a:lnTo>
                  <a:lnTo>
                    <a:pt x="336" y="3"/>
                  </a:lnTo>
                  <a:lnTo>
                    <a:pt x="352" y="0"/>
                  </a:lnTo>
                  <a:lnTo>
                    <a:pt x="369" y="0"/>
                  </a:lnTo>
                  <a:lnTo>
                    <a:pt x="382" y="0"/>
                  </a:lnTo>
                  <a:lnTo>
                    <a:pt x="393" y="2"/>
                  </a:lnTo>
                  <a:lnTo>
                    <a:pt x="406" y="5"/>
                  </a:lnTo>
                  <a:lnTo>
                    <a:pt x="418" y="9"/>
                  </a:lnTo>
                  <a:lnTo>
                    <a:pt x="429" y="13"/>
                  </a:lnTo>
                  <a:lnTo>
                    <a:pt x="439" y="19"/>
                  </a:lnTo>
                  <a:lnTo>
                    <a:pt x="451" y="26"/>
                  </a:lnTo>
                  <a:lnTo>
                    <a:pt x="460" y="34"/>
                  </a:lnTo>
                  <a:lnTo>
                    <a:pt x="470" y="44"/>
                  </a:lnTo>
                  <a:lnTo>
                    <a:pt x="477" y="54"/>
                  </a:lnTo>
                  <a:lnTo>
                    <a:pt x="484" y="64"/>
                  </a:lnTo>
                  <a:lnTo>
                    <a:pt x="490" y="77"/>
                  </a:lnTo>
                  <a:lnTo>
                    <a:pt x="496" y="90"/>
                  </a:lnTo>
                  <a:lnTo>
                    <a:pt x="498" y="104"/>
                  </a:lnTo>
                  <a:lnTo>
                    <a:pt x="501" y="119"/>
                  </a:lnTo>
                  <a:lnTo>
                    <a:pt x="501" y="134"/>
                  </a:lnTo>
                  <a:lnTo>
                    <a:pt x="501" y="150"/>
                  </a:lnTo>
                  <a:lnTo>
                    <a:pt x="500" y="165"/>
                  </a:lnTo>
                  <a:lnTo>
                    <a:pt x="496" y="179"/>
                  </a:lnTo>
                  <a:lnTo>
                    <a:pt x="493" y="193"/>
                  </a:lnTo>
                  <a:lnTo>
                    <a:pt x="487" y="208"/>
                  </a:lnTo>
                  <a:lnTo>
                    <a:pt x="481" y="221"/>
                  </a:lnTo>
                  <a:lnTo>
                    <a:pt x="474" y="235"/>
                  </a:lnTo>
                  <a:lnTo>
                    <a:pt x="465" y="250"/>
                  </a:lnTo>
                  <a:lnTo>
                    <a:pt x="448" y="276"/>
                  </a:lnTo>
                  <a:lnTo>
                    <a:pt x="428" y="302"/>
                  </a:lnTo>
                  <a:lnTo>
                    <a:pt x="408" y="326"/>
                  </a:lnTo>
                  <a:lnTo>
                    <a:pt x="386" y="349"/>
                  </a:lnTo>
                  <a:lnTo>
                    <a:pt x="363" y="371"/>
                  </a:lnTo>
                  <a:lnTo>
                    <a:pt x="341" y="391"/>
                  </a:lnTo>
                  <a:lnTo>
                    <a:pt x="321" y="408"/>
                  </a:lnTo>
                  <a:lnTo>
                    <a:pt x="303" y="422"/>
                  </a:lnTo>
                  <a:lnTo>
                    <a:pt x="275" y="444"/>
                  </a:lnTo>
                  <a:lnTo>
                    <a:pt x="262" y="453"/>
                  </a:lnTo>
                  <a:lnTo>
                    <a:pt x="257" y="456"/>
                  </a:lnTo>
                  <a:lnTo>
                    <a:pt x="251" y="4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596"/>
            <p:cNvSpPr>
              <a:spLocks noEditPoints="1"/>
            </p:cNvSpPr>
            <p:nvPr/>
          </p:nvSpPr>
          <p:spPr bwMode="auto">
            <a:xfrm>
              <a:off x="1260653" y="5947865"/>
              <a:ext cx="449901" cy="417869"/>
            </a:xfrm>
            <a:custGeom>
              <a:avLst/>
              <a:gdLst>
                <a:gd name="T0" fmla="*/ 399 w 927"/>
                <a:gd name="T1" fmla="*/ 42 h 860"/>
                <a:gd name="T2" fmla="*/ 318 w 927"/>
                <a:gd name="T3" fmla="*/ 59 h 860"/>
                <a:gd name="T4" fmla="*/ 243 w 927"/>
                <a:gd name="T5" fmla="*/ 88 h 860"/>
                <a:gd name="T6" fmla="*/ 179 w 927"/>
                <a:gd name="T7" fmla="*/ 128 h 860"/>
                <a:gd name="T8" fmla="*/ 124 w 927"/>
                <a:gd name="T9" fmla="*/ 176 h 860"/>
                <a:gd name="T10" fmla="*/ 81 w 927"/>
                <a:gd name="T11" fmla="*/ 233 h 860"/>
                <a:gd name="T12" fmla="*/ 52 w 927"/>
                <a:gd name="T13" fmla="*/ 295 h 860"/>
                <a:gd name="T14" fmla="*/ 39 w 927"/>
                <a:gd name="T15" fmla="*/ 364 h 860"/>
                <a:gd name="T16" fmla="*/ 43 w 927"/>
                <a:gd name="T17" fmla="*/ 432 h 860"/>
                <a:gd name="T18" fmla="*/ 63 w 927"/>
                <a:gd name="T19" fmla="*/ 498 h 860"/>
                <a:gd name="T20" fmla="*/ 99 w 927"/>
                <a:gd name="T21" fmla="*/ 559 h 860"/>
                <a:gd name="T22" fmla="*/ 150 w 927"/>
                <a:gd name="T23" fmla="*/ 612 h 860"/>
                <a:gd name="T24" fmla="*/ 171 w 927"/>
                <a:gd name="T25" fmla="*/ 642 h 860"/>
                <a:gd name="T26" fmla="*/ 307 w 927"/>
                <a:gd name="T27" fmla="*/ 701 h 860"/>
                <a:gd name="T28" fmla="*/ 425 w 927"/>
                <a:gd name="T29" fmla="*/ 723 h 860"/>
                <a:gd name="T30" fmla="*/ 529 w 927"/>
                <a:gd name="T31" fmla="*/ 720 h 860"/>
                <a:gd name="T32" fmla="*/ 609 w 927"/>
                <a:gd name="T33" fmla="*/ 704 h 860"/>
                <a:gd name="T34" fmla="*/ 684 w 927"/>
                <a:gd name="T35" fmla="*/ 676 h 860"/>
                <a:gd name="T36" fmla="*/ 749 w 927"/>
                <a:gd name="T37" fmla="*/ 635 h 860"/>
                <a:gd name="T38" fmla="*/ 804 w 927"/>
                <a:gd name="T39" fmla="*/ 586 h 860"/>
                <a:gd name="T40" fmla="*/ 847 w 927"/>
                <a:gd name="T41" fmla="*/ 530 h 860"/>
                <a:gd name="T42" fmla="*/ 876 w 927"/>
                <a:gd name="T43" fmla="*/ 467 h 860"/>
                <a:gd name="T44" fmla="*/ 889 w 927"/>
                <a:gd name="T45" fmla="*/ 399 h 860"/>
                <a:gd name="T46" fmla="*/ 884 w 927"/>
                <a:gd name="T47" fmla="*/ 330 h 860"/>
                <a:gd name="T48" fmla="*/ 863 w 927"/>
                <a:gd name="T49" fmla="*/ 264 h 860"/>
                <a:gd name="T50" fmla="*/ 827 w 927"/>
                <a:gd name="T51" fmla="*/ 203 h 860"/>
                <a:gd name="T52" fmla="*/ 778 w 927"/>
                <a:gd name="T53" fmla="*/ 151 h 860"/>
                <a:gd name="T54" fmla="*/ 717 w 927"/>
                <a:gd name="T55" fmla="*/ 107 h 860"/>
                <a:gd name="T56" fmla="*/ 648 w 927"/>
                <a:gd name="T57" fmla="*/ 72 h 860"/>
                <a:gd name="T58" fmla="*/ 570 w 927"/>
                <a:gd name="T59" fmla="*/ 49 h 860"/>
                <a:gd name="T60" fmla="*/ 485 w 927"/>
                <a:gd name="T61" fmla="*/ 39 h 860"/>
                <a:gd name="T62" fmla="*/ 46 w 927"/>
                <a:gd name="T63" fmla="*/ 857 h 860"/>
                <a:gd name="T64" fmla="*/ 35 w 927"/>
                <a:gd name="T65" fmla="*/ 843 h 860"/>
                <a:gd name="T66" fmla="*/ 114 w 927"/>
                <a:gd name="T67" fmla="*/ 632 h 860"/>
                <a:gd name="T68" fmla="*/ 62 w 927"/>
                <a:gd name="T69" fmla="*/ 573 h 860"/>
                <a:gd name="T70" fmla="*/ 26 w 927"/>
                <a:gd name="T71" fmla="*/ 507 h 860"/>
                <a:gd name="T72" fmla="*/ 6 w 927"/>
                <a:gd name="T73" fmla="*/ 436 h 860"/>
                <a:gd name="T74" fmla="*/ 2 w 927"/>
                <a:gd name="T75" fmla="*/ 362 h 860"/>
                <a:gd name="T76" fmla="*/ 14 w 927"/>
                <a:gd name="T77" fmla="*/ 287 h 860"/>
                <a:gd name="T78" fmla="*/ 46 w 927"/>
                <a:gd name="T79" fmla="*/ 216 h 860"/>
                <a:gd name="T80" fmla="*/ 92 w 927"/>
                <a:gd name="T81" fmla="*/ 153 h 860"/>
                <a:gd name="T82" fmla="*/ 153 w 927"/>
                <a:gd name="T83" fmla="*/ 99 h 860"/>
                <a:gd name="T84" fmla="*/ 223 w 927"/>
                <a:gd name="T85" fmla="*/ 55 h 860"/>
                <a:gd name="T86" fmla="*/ 305 w 927"/>
                <a:gd name="T87" fmla="*/ 23 h 860"/>
                <a:gd name="T88" fmla="*/ 393 w 927"/>
                <a:gd name="T89" fmla="*/ 4 h 860"/>
                <a:gd name="T90" fmla="*/ 488 w 927"/>
                <a:gd name="T91" fmla="*/ 0 h 860"/>
                <a:gd name="T92" fmla="*/ 579 w 927"/>
                <a:gd name="T93" fmla="*/ 12 h 860"/>
                <a:gd name="T94" fmla="*/ 664 w 927"/>
                <a:gd name="T95" fmla="*/ 37 h 860"/>
                <a:gd name="T96" fmla="*/ 740 w 927"/>
                <a:gd name="T97" fmla="*/ 76 h 860"/>
                <a:gd name="T98" fmla="*/ 806 w 927"/>
                <a:gd name="T99" fmla="*/ 125 h 860"/>
                <a:gd name="T100" fmla="*/ 860 w 927"/>
                <a:gd name="T101" fmla="*/ 184 h 860"/>
                <a:gd name="T102" fmla="*/ 899 w 927"/>
                <a:gd name="T103" fmla="*/ 251 h 860"/>
                <a:gd name="T104" fmla="*/ 922 w 927"/>
                <a:gd name="T105" fmla="*/ 324 h 860"/>
                <a:gd name="T106" fmla="*/ 926 w 927"/>
                <a:gd name="T107" fmla="*/ 400 h 860"/>
                <a:gd name="T108" fmla="*/ 913 w 927"/>
                <a:gd name="T109" fmla="*/ 477 h 860"/>
                <a:gd name="T110" fmla="*/ 881 w 927"/>
                <a:gd name="T111" fmla="*/ 547 h 860"/>
                <a:gd name="T112" fmla="*/ 835 w 927"/>
                <a:gd name="T113" fmla="*/ 609 h 860"/>
                <a:gd name="T114" fmla="*/ 775 w 927"/>
                <a:gd name="T115" fmla="*/ 664 h 860"/>
                <a:gd name="T116" fmla="*/ 704 w 927"/>
                <a:gd name="T117" fmla="*/ 709 h 860"/>
                <a:gd name="T118" fmla="*/ 624 w 927"/>
                <a:gd name="T119" fmla="*/ 740 h 860"/>
                <a:gd name="T120" fmla="*/ 534 w 927"/>
                <a:gd name="T121" fmla="*/ 759 h 860"/>
                <a:gd name="T122" fmla="*/ 425 w 927"/>
                <a:gd name="T123" fmla="*/ 762 h 860"/>
                <a:gd name="T124" fmla="*/ 61 w 927"/>
                <a:gd name="T125" fmla="*/ 857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27" h="860">
                  <a:moveTo>
                    <a:pt x="464" y="39"/>
                  </a:moveTo>
                  <a:lnTo>
                    <a:pt x="442" y="39"/>
                  </a:lnTo>
                  <a:lnTo>
                    <a:pt x="421" y="40"/>
                  </a:lnTo>
                  <a:lnTo>
                    <a:pt x="399" y="42"/>
                  </a:lnTo>
                  <a:lnTo>
                    <a:pt x="379" y="45"/>
                  </a:lnTo>
                  <a:lnTo>
                    <a:pt x="357" y="49"/>
                  </a:lnTo>
                  <a:lnTo>
                    <a:pt x="337" y="53"/>
                  </a:lnTo>
                  <a:lnTo>
                    <a:pt x="318" y="59"/>
                  </a:lnTo>
                  <a:lnTo>
                    <a:pt x="298" y="65"/>
                  </a:lnTo>
                  <a:lnTo>
                    <a:pt x="279" y="72"/>
                  </a:lnTo>
                  <a:lnTo>
                    <a:pt x="262" y="79"/>
                  </a:lnTo>
                  <a:lnTo>
                    <a:pt x="243" y="88"/>
                  </a:lnTo>
                  <a:lnTo>
                    <a:pt x="226" y="96"/>
                  </a:lnTo>
                  <a:lnTo>
                    <a:pt x="210" y="107"/>
                  </a:lnTo>
                  <a:lnTo>
                    <a:pt x="194" y="117"/>
                  </a:lnTo>
                  <a:lnTo>
                    <a:pt x="179" y="128"/>
                  </a:lnTo>
                  <a:lnTo>
                    <a:pt x="164" y="140"/>
                  </a:lnTo>
                  <a:lnTo>
                    <a:pt x="150" y="151"/>
                  </a:lnTo>
                  <a:lnTo>
                    <a:pt x="137" y="163"/>
                  </a:lnTo>
                  <a:lnTo>
                    <a:pt x="124" y="176"/>
                  </a:lnTo>
                  <a:lnTo>
                    <a:pt x="112" y="190"/>
                  </a:lnTo>
                  <a:lnTo>
                    <a:pt x="101" y="203"/>
                  </a:lnTo>
                  <a:lnTo>
                    <a:pt x="91" y="217"/>
                  </a:lnTo>
                  <a:lnTo>
                    <a:pt x="81" y="233"/>
                  </a:lnTo>
                  <a:lnTo>
                    <a:pt x="72" y="248"/>
                  </a:lnTo>
                  <a:lnTo>
                    <a:pt x="65" y="264"/>
                  </a:lnTo>
                  <a:lnTo>
                    <a:pt x="58" y="279"/>
                  </a:lnTo>
                  <a:lnTo>
                    <a:pt x="52" y="295"/>
                  </a:lnTo>
                  <a:lnTo>
                    <a:pt x="48" y="313"/>
                  </a:lnTo>
                  <a:lnTo>
                    <a:pt x="43" y="330"/>
                  </a:lnTo>
                  <a:lnTo>
                    <a:pt x="42" y="347"/>
                  </a:lnTo>
                  <a:lnTo>
                    <a:pt x="39" y="364"/>
                  </a:lnTo>
                  <a:lnTo>
                    <a:pt x="39" y="382"/>
                  </a:lnTo>
                  <a:lnTo>
                    <a:pt x="39" y="399"/>
                  </a:lnTo>
                  <a:lnTo>
                    <a:pt x="42" y="416"/>
                  </a:lnTo>
                  <a:lnTo>
                    <a:pt x="43" y="432"/>
                  </a:lnTo>
                  <a:lnTo>
                    <a:pt x="48" y="449"/>
                  </a:lnTo>
                  <a:lnTo>
                    <a:pt x="52" y="465"/>
                  </a:lnTo>
                  <a:lnTo>
                    <a:pt x="58" y="483"/>
                  </a:lnTo>
                  <a:lnTo>
                    <a:pt x="63" y="498"/>
                  </a:lnTo>
                  <a:lnTo>
                    <a:pt x="72" y="514"/>
                  </a:lnTo>
                  <a:lnTo>
                    <a:pt x="81" y="529"/>
                  </a:lnTo>
                  <a:lnTo>
                    <a:pt x="89" y="544"/>
                  </a:lnTo>
                  <a:lnTo>
                    <a:pt x="99" y="559"/>
                  </a:lnTo>
                  <a:lnTo>
                    <a:pt x="111" y="573"/>
                  </a:lnTo>
                  <a:lnTo>
                    <a:pt x="124" y="586"/>
                  </a:lnTo>
                  <a:lnTo>
                    <a:pt x="137" y="599"/>
                  </a:lnTo>
                  <a:lnTo>
                    <a:pt x="150" y="612"/>
                  </a:lnTo>
                  <a:lnTo>
                    <a:pt x="166" y="625"/>
                  </a:lnTo>
                  <a:lnTo>
                    <a:pt x="170" y="631"/>
                  </a:lnTo>
                  <a:lnTo>
                    <a:pt x="171" y="637"/>
                  </a:lnTo>
                  <a:lnTo>
                    <a:pt x="171" y="642"/>
                  </a:lnTo>
                  <a:lnTo>
                    <a:pt x="170" y="650"/>
                  </a:lnTo>
                  <a:lnTo>
                    <a:pt x="95" y="799"/>
                  </a:lnTo>
                  <a:lnTo>
                    <a:pt x="300" y="703"/>
                  </a:lnTo>
                  <a:lnTo>
                    <a:pt x="307" y="701"/>
                  </a:lnTo>
                  <a:lnTo>
                    <a:pt x="314" y="703"/>
                  </a:lnTo>
                  <a:lnTo>
                    <a:pt x="350" y="712"/>
                  </a:lnTo>
                  <a:lnTo>
                    <a:pt x="387" y="719"/>
                  </a:lnTo>
                  <a:lnTo>
                    <a:pt x="425" y="723"/>
                  </a:lnTo>
                  <a:lnTo>
                    <a:pt x="464" y="724"/>
                  </a:lnTo>
                  <a:lnTo>
                    <a:pt x="485" y="724"/>
                  </a:lnTo>
                  <a:lnTo>
                    <a:pt x="507" y="723"/>
                  </a:lnTo>
                  <a:lnTo>
                    <a:pt x="529" y="720"/>
                  </a:lnTo>
                  <a:lnTo>
                    <a:pt x="549" y="717"/>
                  </a:lnTo>
                  <a:lnTo>
                    <a:pt x="570" y="714"/>
                  </a:lnTo>
                  <a:lnTo>
                    <a:pt x="590" y="709"/>
                  </a:lnTo>
                  <a:lnTo>
                    <a:pt x="609" y="704"/>
                  </a:lnTo>
                  <a:lnTo>
                    <a:pt x="629" y="697"/>
                  </a:lnTo>
                  <a:lnTo>
                    <a:pt x="648" y="691"/>
                  </a:lnTo>
                  <a:lnTo>
                    <a:pt x="667" y="683"/>
                  </a:lnTo>
                  <a:lnTo>
                    <a:pt x="684" y="676"/>
                  </a:lnTo>
                  <a:lnTo>
                    <a:pt x="701" y="665"/>
                  </a:lnTo>
                  <a:lnTo>
                    <a:pt x="717" y="657"/>
                  </a:lnTo>
                  <a:lnTo>
                    <a:pt x="734" y="647"/>
                  </a:lnTo>
                  <a:lnTo>
                    <a:pt x="749" y="635"/>
                  </a:lnTo>
                  <a:lnTo>
                    <a:pt x="765" y="624"/>
                  </a:lnTo>
                  <a:lnTo>
                    <a:pt x="778" y="612"/>
                  </a:lnTo>
                  <a:lnTo>
                    <a:pt x="792" y="599"/>
                  </a:lnTo>
                  <a:lnTo>
                    <a:pt x="804" y="586"/>
                  </a:lnTo>
                  <a:lnTo>
                    <a:pt x="817" y="573"/>
                  </a:lnTo>
                  <a:lnTo>
                    <a:pt x="827" y="559"/>
                  </a:lnTo>
                  <a:lnTo>
                    <a:pt x="837" y="544"/>
                  </a:lnTo>
                  <a:lnTo>
                    <a:pt x="847" y="530"/>
                  </a:lnTo>
                  <a:lnTo>
                    <a:pt x="855" y="516"/>
                  </a:lnTo>
                  <a:lnTo>
                    <a:pt x="863" y="500"/>
                  </a:lnTo>
                  <a:lnTo>
                    <a:pt x="870" y="484"/>
                  </a:lnTo>
                  <a:lnTo>
                    <a:pt x="876" y="467"/>
                  </a:lnTo>
                  <a:lnTo>
                    <a:pt x="880" y="451"/>
                  </a:lnTo>
                  <a:lnTo>
                    <a:pt x="884" y="434"/>
                  </a:lnTo>
                  <a:lnTo>
                    <a:pt x="887" y="416"/>
                  </a:lnTo>
                  <a:lnTo>
                    <a:pt x="889" y="399"/>
                  </a:lnTo>
                  <a:lnTo>
                    <a:pt x="889" y="382"/>
                  </a:lnTo>
                  <a:lnTo>
                    <a:pt x="889" y="364"/>
                  </a:lnTo>
                  <a:lnTo>
                    <a:pt x="887" y="347"/>
                  </a:lnTo>
                  <a:lnTo>
                    <a:pt x="884" y="330"/>
                  </a:lnTo>
                  <a:lnTo>
                    <a:pt x="880" y="313"/>
                  </a:lnTo>
                  <a:lnTo>
                    <a:pt x="876" y="295"/>
                  </a:lnTo>
                  <a:lnTo>
                    <a:pt x="870" y="279"/>
                  </a:lnTo>
                  <a:lnTo>
                    <a:pt x="863" y="264"/>
                  </a:lnTo>
                  <a:lnTo>
                    <a:pt x="855" y="248"/>
                  </a:lnTo>
                  <a:lnTo>
                    <a:pt x="847" y="233"/>
                  </a:lnTo>
                  <a:lnTo>
                    <a:pt x="837" y="217"/>
                  </a:lnTo>
                  <a:lnTo>
                    <a:pt x="827" y="203"/>
                  </a:lnTo>
                  <a:lnTo>
                    <a:pt x="817" y="190"/>
                  </a:lnTo>
                  <a:lnTo>
                    <a:pt x="804" y="176"/>
                  </a:lnTo>
                  <a:lnTo>
                    <a:pt x="792" y="163"/>
                  </a:lnTo>
                  <a:lnTo>
                    <a:pt x="778" y="151"/>
                  </a:lnTo>
                  <a:lnTo>
                    <a:pt x="765" y="140"/>
                  </a:lnTo>
                  <a:lnTo>
                    <a:pt x="749" y="128"/>
                  </a:lnTo>
                  <a:lnTo>
                    <a:pt x="734" y="117"/>
                  </a:lnTo>
                  <a:lnTo>
                    <a:pt x="717" y="107"/>
                  </a:lnTo>
                  <a:lnTo>
                    <a:pt x="701" y="96"/>
                  </a:lnTo>
                  <a:lnTo>
                    <a:pt x="684" y="88"/>
                  </a:lnTo>
                  <a:lnTo>
                    <a:pt x="667" y="79"/>
                  </a:lnTo>
                  <a:lnTo>
                    <a:pt x="648" y="72"/>
                  </a:lnTo>
                  <a:lnTo>
                    <a:pt x="629" y="65"/>
                  </a:lnTo>
                  <a:lnTo>
                    <a:pt x="609" y="59"/>
                  </a:lnTo>
                  <a:lnTo>
                    <a:pt x="590" y="53"/>
                  </a:lnTo>
                  <a:lnTo>
                    <a:pt x="570" y="49"/>
                  </a:lnTo>
                  <a:lnTo>
                    <a:pt x="549" y="45"/>
                  </a:lnTo>
                  <a:lnTo>
                    <a:pt x="529" y="42"/>
                  </a:lnTo>
                  <a:lnTo>
                    <a:pt x="507" y="40"/>
                  </a:lnTo>
                  <a:lnTo>
                    <a:pt x="485" y="39"/>
                  </a:lnTo>
                  <a:lnTo>
                    <a:pt x="464" y="39"/>
                  </a:lnTo>
                  <a:close/>
                  <a:moveTo>
                    <a:pt x="53" y="860"/>
                  </a:moveTo>
                  <a:lnTo>
                    <a:pt x="49" y="858"/>
                  </a:lnTo>
                  <a:lnTo>
                    <a:pt x="46" y="857"/>
                  </a:lnTo>
                  <a:lnTo>
                    <a:pt x="42" y="856"/>
                  </a:lnTo>
                  <a:lnTo>
                    <a:pt x="39" y="853"/>
                  </a:lnTo>
                  <a:lnTo>
                    <a:pt x="36" y="848"/>
                  </a:lnTo>
                  <a:lnTo>
                    <a:pt x="35" y="843"/>
                  </a:lnTo>
                  <a:lnTo>
                    <a:pt x="35" y="837"/>
                  </a:lnTo>
                  <a:lnTo>
                    <a:pt x="36" y="831"/>
                  </a:lnTo>
                  <a:lnTo>
                    <a:pt x="128" y="645"/>
                  </a:lnTo>
                  <a:lnTo>
                    <a:pt x="114" y="632"/>
                  </a:lnTo>
                  <a:lnTo>
                    <a:pt x="99" y="618"/>
                  </a:lnTo>
                  <a:lnTo>
                    <a:pt x="86" y="603"/>
                  </a:lnTo>
                  <a:lnTo>
                    <a:pt x="74" y="588"/>
                  </a:lnTo>
                  <a:lnTo>
                    <a:pt x="62" y="573"/>
                  </a:lnTo>
                  <a:lnTo>
                    <a:pt x="52" y="557"/>
                  </a:lnTo>
                  <a:lnTo>
                    <a:pt x="42" y="540"/>
                  </a:lnTo>
                  <a:lnTo>
                    <a:pt x="33" y="524"/>
                  </a:lnTo>
                  <a:lnTo>
                    <a:pt x="26" y="507"/>
                  </a:lnTo>
                  <a:lnTo>
                    <a:pt x="19" y="490"/>
                  </a:lnTo>
                  <a:lnTo>
                    <a:pt x="13" y="472"/>
                  </a:lnTo>
                  <a:lnTo>
                    <a:pt x="9" y="455"/>
                  </a:lnTo>
                  <a:lnTo>
                    <a:pt x="6" y="436"/>
                  </a:lnTo>
                  <a:lnTo>
                    <a:pt x="3" y="419"/>
                  </a:lnTo>
                  <a:lnTo>
                    <a:pt x="2" y="400"/>
                  </a:lnTo>
                  <a:lnTo>
                    <a:pt x="0" y="382"/>
                  </a:lnTo>
                  <a:lnTo>
                    <a:pt x="2" y="362"/>
                  </a:lnTo>
                  <a:lnTo>
                    <a:pt x="3" y="343"/>
                  </a:lnTo>
                  <a:lnTo>
                    <a:pt x="6" y="324"/>
                  </a:lnTo>
                  <a:lnTo>
                    <a:pt x="10" y="305"/>
                  </a:lnTo>
                  <a:lnTo>
                    <a:pt x="14" y="287"/>
                  </a:lnTo>
                  <a:lnTo>
                    <a:pt x="22" y="268"/>
                  </a:lnTo>
                  <a:lnTo>
                    <a:pt x="29" y="251"/>
                  </a:lnTo>
                  <a:lnTo>
                    <a:pt x="38" y="233"/>
                  </a:lnTo>
                  <a:lnTo>
                    <a:pt x="46" y="216"/>
                  </a:lnTo>
                  <a:lnTo>
                    <a:pt x="56" y="200"/>
                  </a:lnTo>
                  <a:lnTo>
                    <a:pt x="68" y="184"/>
                  </a:lnTo>
                  <a:lnTo>
                    <a:pt x="79" y="169"/>
                  </a:lnTo>
                  <a:lnTo>
                    <a:pt x="92" y="153"/>
                  </a:lnTo>
                  <a:lnTo>
                    <a:pt x="107" y="138"/>
                  </a:lnTo>
                  <a:lnTo>
                    <a:pt x="121" y="125"/>
                  </a:lnTo>
                  <a:lnTo>
                    <a:pt x="137" y="112"/>
                  </a:lnTo>
                  <a:lnTo>
                    <a:pt x="153" y="99"/>
                  </a:lnTo>
                  <a:lnTo>
                    <a:pt x="169" y="86"/>
                  </a:lnTo>
                  <a:lnTo>
                    <a:pt x="187" y="76"/>
                  </a:lnTo>
                  <a:lnTo>
                    <a:pt x="205" y="65"/>
                  </a:lnTo>
                  <a:lnTo>
                    <a:pt x="223" y="55"/>
                  </a:lnTo>
                  <a:lnTo>
                    <a:pt x="243" y="46"/>
                  </a:lnTo>
                  <a:lnTo>
                    <a:pt x="264" y="37"/>
                  </a:lnTo>
                  <a:lnTo>
                    <a:pt x="284" y="30"/>
                  </a:lnTo>
                  <a:lnTo>
                    <a:pt x="305" y="23"/>
                  </a:lnTo>
                  <a:lnTo>
                    <a:pt x="326" y="17"/>
                  </a:lnTo>
                  <a:lnTo>
                    <a:pt x="349" y="12"/>
                  </a:lnTo>
                  <a:lnTo>
                    <a:pt x="370" y="7"/>
                  </a:lnTo>
                  <a:lnTo>
                    <a:pt x="393" y="4"/>
                  </a:lnTo>
                  <a:lnTo>
                    <a:pt x="416" y="1"/>
                  </a:lnTo>
                  <a:lnTo>
                    <a:pt x="441" y="0"/>
                  </a:lnTo>
                  <a:lnTo>
                    <a:pt x="464" y="0"/>
                  </a:lnTo>
                  <a:lnTo>
                    <a:pt x="488" y="0"/>
                  </a:lnTo>
                  <a:lnTo>
                    <a:pt x="511" y="1"/>
                  </a:lnTo>
                  <a:lnTo>
                    <a:pt x="534" y="4"/>
                  </a:lnTo>
                  <a:lnTo>
                    <a:pt x="557" y="7"/>
                  </a:lnTo>
                  <a:lnTo>
                    <a:pt x="579" y="12"/>
                  </a:lnTo>
                  <a:lnTo>
                    <a:pt x="602" y="17"/>
                  </a:lnTo>
                  <a:lnTo>
                    <a:pt x="624" y="23"/>
                  </a:lnTo>
                  <a:lnTo>
                    <a:pt x="644" y="30"/>
                  </a:lnTo>
                  <a:lnTo>
                    <a:pt x="664" y="37"/>
                  </a:lnTo>
                  <a:lnTo>
                    <a:pt x="684" y="46"/>
                  </a:lnTo>
                  <a:lnTo>
                    <a:pt x="704" y="55"/>
                  </a:lnTo>
                  <a:lnTo>
                    <a:pt x="723" y="65"/>
                  </a:lnTo>
                  <a:lnTo>
                    <a:pt x="740" y="76"/>
                  </a:lnTo>
                  <a:lnTo>
                    <a:pt x="759" y="86"/>
                  </a:lnTo>
                  <a:lnTo>
                    <a:pt x="775" y="99"/>
                  </a:lnTo>
                  <a:lnTo>
                    <a:pt x="792" y="112"/>
                  </a:lnTo>
                  <a:lnTo>
                    <a:pt x="806" y="125"/>
                  </a:lnTo>
                  <a:lnTo>
                    <a:pt x="821" y="138"/>
                  </a:lnTo>
                  <a:lnTo>
                    <a:pt x="835" y="153"/>
                  </a:lnTo>
                  <a:lnTo>
                    <a:pt x="848" y="169"/>
                  </a:lnTo>
                  <a:lnTo>
                    <a:pt x="860" y="184"/>
                  </a:lnTo>
                  <a:lnTo>
                    <a:pt x="871" y="200"/>
                  </a:lnTo>
                  <a:lnTo>
                    <a:pt x="881" y="216"/>
                  </a:lnTo>
                  <a:lnTo>
                    <a:pt x="891" y="233"/>
                  </a:lnTo>
                  <a:lnTo>
                    <a:pt x="899" y="251"/>
                  </a:lnTo>
                  <a:lnTo>
                    <a:pt x="906" y="268"/>
                  </a:lnTo>
                  <a:lnTo>
                    <a:pt x="913" y="287"/>
                  </a:lnTo>
                  <a:lnTo>
                    <a:pt x="917" y="305"/>
                  </a:lnTo>
                  <a:lnTo>
                    <a:pt x="922" y="324"/>
                  </a:lnTo>
                  <a:lnTo>
                    <a:pt x="925" y="343"/>
                  </a:lnTo>
                  <a:lnTo>
                    <a:pt x="926" y="362"/>
                  </a:lnTo>
                  <a:lnTo>
                    <a:pt x="927" y="382"/>
                  </a:lnTo>
                  <a:lnTo>
                    <a:pt x="926" y="400"/>
                  </a:lnTo>
                  <a:lnTo>
                    <a:pt x="925" y="421"/>
                  </a:lnTo>
                  <a:lnTo>
                    <a:pt x="922" y="439"/>
                  </a:lnTo>
                  <a:lnTo>
                    <a:pt x="917" y="458"/>
                  </a:lnTo>
                  <a:lnTo>
                    <a:pt x="913" y="477"/>
                  </a:lnTo>
                  <a:lnTo>
                    <a:pt x="906" y="495"/>
                  </a:lnTo>
                  <a:lnTo>
                    <a:pt x="899" y="513"/>
                  </a:lnTo>
                  <a:lnTo>
                    <a:pt x="891" y="530"/>
                  </a:lnTo>
                  <a:lnTo>
                    <a:pt x="881" y="547"/>
                  </a:lnTo>
                  <a:lnTo>
                    <a:pt x="871" y="563"/>
                  </a:lnTo>
                  <a:lnTo>
                    <a:pt x="860" y="579"/>
                  </a:lnTo>
                  <a:lnTo>
                    <a:pt x="848" y="595"/>
                  </a:lnTo>
                  <a:lnTo>
                    <a:pt x="835" y="609"/>
                  </a:lnTo>
                  <a:lnTo>
                    <a:pt x="821" y="624"/>
                  </a:lnTo>
                  <a:lnTo>
                    <a:pt x="806" y="638"/>
                  </a:lnTo>
                  <a:lnTo>
                    <a:pt x="792" y="651"/>
                  </a:lnTo>
                  <a:lnTo>
                    <a:pt x="775" y="664"/>
                  </a:lnTo>
                  <a:lnTo>
                    <a:pt x="759" y="676"/>
                  </a:lnTo>
                  <a:lnTo>
                    <a:pt x="740" y="687"/>
                  </a:lnTo>
                  <a:lnTo>
                    <a:pt x="723" y="699"/>
                  </a:lnTo>
                  <a:lnTo>
                    <a:pt x="704" y="709"/>
                  </a:lnTo>
                  <a:lnTo>
                    <a:pt x="684" y="717"/>
                  </a:lnTo>
                  <a:lnTo>
                    <a:pt x="664" y="726"/>
                  </a:lnTo>
                  <a:lnTo>
                    <a:pt x="644" y="733"/>
                  </a:lnTo>
                  <a:lnTo>
                    <a:pt x="624" y="740"/>
                  </a:lnTo>
                  <a:lnTo>
                    <a:pt x="602" y="746"/>
                  </a:lnTo>
                  <a:lnTo>
                    <a:pt x="579" y="752"/>
                  </a:lnTo>
                  <a:lnTo>
                    <a:pt x="557" y="756"/>
                  </a:lnTo>
                  <a:lnTo>
                    <a:pt x="534" y="759"/>
                  </a:lnTo>
                  <a:lnTo>
                    <a:pt x="511" y="762"/>
                  </a:lnTo>
                  <a:lnTo>
                    <a:pt x="488" y="763"/>
                  </a:lnTo>
                  <a:lnTo>
                    <a:pt x="464" y="763"/>
                  </a:lnTo>
                  <a:lnTo>
                    <a:pt x="425" y="762"/>
                  </a:lnTo>
                  <a:lnTo>
                    <a:pt x="386" y="758"/>
                  </a:lnTo>
                  <a:lnTo>
                    <a:pt x="347" y="750"/>
                  </a:lnTo>
                  <a:lnTo>
                    <a:pt x="310" y="742"/>
                  </a:lnTo>
                  <a:lnTo>
                    <a:pt x="61" y="857"/>
                  </a:lnTo>
                  <a:lnTo>
                    <a:pt x="58" y="858"/>
                  </a:lnTo>
                  <a:lnTo>
                    <a:pt x="53" y="8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32675595"/>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15E839D3-E58D-4DD0-B101-D9F88D768214}"/>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18282" r="18282"/>
          <a:stretch>
            <a:fillRect/>
          </a:stretch>
        </p:blipFill>
        <p:spPr/>
      </p:pic>
      <p:sp>
        <p:nvSpPr>
          <p:cNvPr id="6" name="Rectangle 5"/>
          <p:cNvSpPr/>
          <p:nvPr>
            <p:custDataLst>
              <p:tags r:id="rId1"/>
            </p:custDataLst>
          </p:nvPr>
        </p:nvSpPr>
        <p:spPr>
          <a:xfrm>
            <a:off x="465988" y="1707052"/>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lumMod val="85000"/>
                    <a:lumOff val="15000"/>
                  </a:schemeClr>
                </a:solidFill>
                <a:ea typeface="Open Sans" panose="020B0606030504020204" pitchFamily="34" charset="0"/>
                <a:cs typeface="Open Sans" panose="020B0606030504020204" pitchFamily="34" charset="0"/>
              </a:rPr>
              <a:t>Put Your Great Subtitle Here</a:t>
            </a:r>
          </a:p>
        </p:txBody>
      </p:sp>
      <p:sp>
        <p:nvSpPr>
          <p:cNvPr id="10" name="Rectangle 9"/>
          <p:cNvSpPr/>
          <p:nvPr/>
        </p:nvSpPr>
        <p:spPr>
          <a:xfrm>
            <a:off x="465988" y="1707052"/>
            <a:ext cx="4233261" cy="3017348"/>
          </a:xfrm>
          <a:prstGeom prst="rect">
            <a:avLst/>
          </a:prstGeom>
        </p:spPr>
        <p:txBody>
          <a:bodyPr vert="horz" wrap="square" lIns="91416" tIns="45708" rIns="91416" bIns="45708" rtlCol="0" anchor="ctr">
            <a:noAutofit/>
          </a:bodyPr>
          <a:lstStyle/>
          <a:p>
            <a:pPr>
              <a:lnSpc>
                <a:spcPct val="90000"/>
              </a:lnSpc>
              <a:spcBef>
                <a:spcPct val="0"/>
              </a:spcBef>
            </a:pPr>
            <a:r>
              <a:rPr lang="en-US" sz="3200" spc="-150" noProof="1">
                <a:solidFill>
                  <a:schemeClr val="tx1">
                    <a:lumMod val="85000"/>
                    <a:lumOff val="15000"/>
                  </a:schemeClr>
                </a:solidFill>
                <a:ea typeface="Roboto" panose="02000000000000000000" pitchFamily="2" charset="0"/>
                <a:cs typeface="Times New Roman" panose="02020603050405020304" pitchFamily="18" charset="0"/>
              </a:rPr>
              <a:t>Let’s Introduce to Our </a:t>
            </a:r>
            <a:r>
              <a:rPr lang="en-US" sz="6000" b="1" spc="-150" noProof="1">
                <a:solidFill>
                  <a:schemeClr val="tx1">
                    <a:lumMod val="85000"/>
                    <a:lumOff val="15000"/>
                  </a:schemeClr>
                </a:solidFill>
                <a:ea typeface="Roboto" panose="02000000000000000000" pitchFamily="2" charset="0"/>
                <a:cs typeface="Times New Roman" panose="02020603050405020304" pitchFamily="18" charset="0"/>
              </a:rPr>
              <a:t>Awesome </a:t>
            </a:r>
            <a:r>
              <a:rPr lang="en-US" sz="6000" b="1" spc="-150" noProof="1">
                <a:solidFill>
                  <a:schemeClr val="accent3"/>
                </a:solidFill>
                <a:ea typeface="Roboto" panose="02000000000000000000" pitchFamily="2" charset="0"/>
                <a:cs typeface="Times New Roman" panose="02020603050405020304" pitchFamily="18" charset="0"/>
              </a:rPr>
              <a:t>Team</a:t>
            </a:r>
          </a:p>
        </p:txBody>
      </p:sp>
      <p:sp>
        <p:nvSpPr>
          <p:cNvPr id="11" name="Rectangle 10"/>
          <p:cNvSpPr/>
          <p:nvPr/>
        </p:nvSpPr>
        <p:spPr>
          <a:xfrm>
            <a:off x="465988" y="4339679"/>
            <a:ext cx="3975100" cy="1399166"/>
          </a:xfrm>
          <a:prstGeom prst="rect">
            <a:avLst/>
          </a:prstGeom>
        </p:spPr>
        <p:txBody>
          <a:bodyPr wrap="square">
            <a:spAutoFit/>
          </a:bodyPr>
          <a:lstStyle/>
          <a:p>
            <a:pPr algn="just">
              <a:lnSpc>
                <a:spcPct val="200000"/>
              </a:lnSpc>
              <a:buClr>
                <a:srgbClr val="E24848"/>
              </a:buClr>
            </a:pPr>
            <a:r>
              <a:rPr lang="en-US" sz="1100" noProof="1">
                <a:solidFill>
                  <a:schemeClr val="bg1">
                    <a:lumMod val="50000"/>
                  </a:schemeClr>
                </a:solidFill>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a:t>
            </a:r>
          </a:p>
        </p:txBody>
      </p:sp>
    </p:spTree>
    <p:extLst>
      <p:ext uri="{BB962C8B-B14F-4D97-AF65-F5344CB8AC3E}">
        <p14:creationId xmlns:p14="http://schemas.microsoft.com/office/powerpoint/2010/main" val="2508495710"/>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82DC019C-F8DD-474A-81E1-48EB6814245B}"/>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7813" b="7813"/>
          <a:stretch>
            <a:fillRect/>
          </a:stretch>
        </p:blipFill>
        <p:spPr>
          <a:solidFill>
            <a:schemeClr val="tx2"/>
          </a:solidFill>
        </p:spPr>
      </p:pic>
      <p:sp>
        <p:nvSpPr>
          <p:cNvPr id="8" name="Shape 5675"/>
          <p:cNvSpPr/>
          <p:nvPr/>
        </p:nvSpPr>
        <p:spPr>
          <a:xfrm flipH="1">
            <a:off x="3391897" y="2902858"/>
            <a:ext cx="8800103" cy="3955142"/>
          </a:xfrm>
          <a:custGeom>
            <a:avLst/>
            <a:gdLst/>
            <a:ahLst/>
            <a:cxnLst>
              <a:cxn ang="0">
                <a:pos x="wd2" y="hd2"/>
              </a:cxn>
              <a:cxn ang="5400000">
                <a:pos x="wd2" y="hd2"/>
              </a:cxn>
              <a:cxn ang="10800000">
                <a:pos x="wd2" y="hd2"/>
              </a:cxn>
              <a:cxn ang="16200000">
                <a:pos x="wd2" y="hd2"/>
              </a:cxn>
            </a:cxnLst>
            <a:rect l="0" t="0" r="r" b="b"/>
            <a:pathLst>
              <a:path w="21600" h="17955" extrusionOk="0">
                <a:moveTo>
                  <a:pt x="0" y="1874"/>
                </a:moveTo>
                <a:cubicBezTo>
                  <a:pt x="8631" y="-3645"/>
                  <a:pt x="18384" y="3456"/>
                  <a:pt x="21509" y="17533"/>
                </a:cubicBezTo>
                <a:cubicBezTo>
                  <a:pt x="21540" y="17673"/>
                  <a:pt x="21571" y="17814"/>
                  <a:pt x="21600" y="17955"/>
                </a:cubicBezTo>
                <a:lnTo>
                  <a:pt x="12" y="17955"/>
                </a:lnTo>
                <a:lnTo>
                  <a:pt x="0" y="1874"/>
                </a:lnTo>
                <a:close/>
              </a:path>
            </a:pathLst>
          </a:custGeom>
          <a:gradFill flip="none" rotWithShape="1">
            <a:gsLst>
              <a:gs pos="0">
                <a:schemeClr val="accent2"/>
              </a:gs>
              <a:gs pos="100000">
                <a:schemeClr val="accent1"/>
              </a:gs>
            </a:gsLst>
            <a:lin ang="8100000" scaled="1"/>
            <a:tileRect/>
          </a:gradFill>
          <a:ln w="12700">
            <a:miter lim="400000"/>
          </a:ln>
        </p:spPr>
        <p:txBody>
          <a:bodyPr lIns="25400" tIns="25400" rIns="25400" bIns="25400" anchor="ctr"/>
          <a:lstStyle/>
          <a:p>
            <a:pPr>
              <a:defRPr sz="3200"/>
            </a:pPr>
            <a:endParaRPr sz="1600"/>
          </a:p>
        </p:txBody>
      </p:sp>
      <p:sp>
        <p:nvSpPr>
          <p:cNvPr id="25" name="Rectangle 24"/>
          <p:cNvSpPr/>
          <p:nvPr/>
        </p:nvSpPr>
        <p:spPr>
          <a:xfrm>
            <a:off x="5660571" y="4232045"/>
            <a:ext cx="6125029" cy="894732"/>
          </a:xfrm>
          <a:prstGeom prst="rect">
            <a:avLst/>
          </a:prstGeom>
        </p:spPr>
        <p:txBody>
          <a:bodyPr wrap="square">
            <a:spAutoFit/>
          </a:bodyPr>
          <a:lstStyle/>
          <a:p>
            <a:pPr algn="just">
              <a:lnSpc>
                <a:spcPct val="150000"/>
              </a:lnSpc>
            </a:pPr>
            <a:r>
              <a:rPr lang="en-US" sz="1200" noProof="1">
                <a:solidFill>
                  <a:schemeClr val="bg1"/>
                </a:solidFill>
                <a:ea typeface="Roboto Light" panose="02000000000000000000" pitchFamily="2" charset="0"/>
              </a:rPr>
              <a:t>Lorem ipsum dolor sit amet, consectetur adipiscing elit. Nulla imperdiet volutpat dui at fermentum. Aliquam erat volutpat. Aenean lacinia lacus aliquet ante mollis, sollicitudin tempor tortor aliquam. Nulla facilisi. Nam auctor metus vitae quam gravida, ac vehicula elit mollis. </a:t>
            </a:r>
          </a:p>
        </p:txBody>
      </p:sp>
      <p:sp>
        <p:nvSpPr>
          <p:cNvPr id="26" name="Rectangle 25"/>
          <p:cNvSpPr/>
          <p:nvPr/>
        </p:nvSpPr>
        <p:spPr>
          <a:xfrm>
            <a:off x="5521310" y="5825154"/>
            <a:ext cx="2507900" cy="760978"/>
          </a:xfrm>
          <a:prstGeom prst="rect">
            <a:avLst/>
          </a:prstGeom>
        </p:spPr>
        <p:txBody>
          <a:bodyPr wrap="square">
            <a:spAutoFit/>
          </a:bodyPr>
          <a:lstStyle/>
          <a:p>
            <a:pPr algn="just">
              <a:lnSpc>
                <a:spcPct val="150000"/>
              </a:lnSpc>
              <a:spcBef>
                <a:spcPts val="600"/>
              </a:spcBef>
              <a:buClr>
                <a:srgbClr val="E24848"/>
              </a:buClr>
              <a:defRPr/>
            </a:pPr>
            <a:r>
              <a:rPr lang="en-US" sz="1000" noProof="1">
                <a:solidFill>
                  <a:schemeClr val="bg1"/>
                </a:solidFill>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
        <p:nvSpPr>
          <p:cNvPr id="27" name="Rectangle 26"/>
          <p:cNvSpPr/>
          <p:nvPr/>
        </p:nvSpPr>
        <p:spPr>
          <a:xfrm>
            <a:off x="5499946" y="5498955"/>
            <a:ext cx="1696361" cy="363099"/>
          </a:xfrm>
          <a:prstGeom prst="rect">
            <a:avLst/>
          </a:prstGeom>
        </p:spPr>
        <p:txBody>
          <a:bodyPr vert="horz" lIns="91440" tIns="45720" rIns="91440" bIns="45720" rtlCol="0" anchor="ctr">
            <a:noAutofit/>
          </a:bodyPr>
          <a:lstStyle/>
          <a:p>
            <a:pPr>
              <a:spcBef>
                <a:spcPct val="0"/>
              </a:spcBef>
            </a:pPr>
            <a:r>
              <a:rPr lang="en-US" sz="1400" b="1" noProof="1">
                <a:solidFill>
                  <a:schemeClr val="bg1"/>
                </a:solidFill>
                <a:ea typeface="Open Sans" panose="020B0606030504020204" pitchFamily="34" charset="0"/>
                <a:cs typeface="Open Sans" panose="020B0606030504020204" pitchFamily="34" charset="0"/>
              </a:rPr>
              <a:t>LOREM</a:t>
            </a:r>
            <a:r>
              <a:rPr lang="en-US" sz="1400" noProof="1">
                <a:solidFill>
                  <a:schemeClr val="bg1"/>
                </a:solidFill>
                <a:ea typeface="Open Sans" panose="020B0606030504020204" pitchFamily="34" charset="0"/>
                <a:cs typeface="Open Sans" panose="020B0606030504020204" pitchFamily="34" charset="0"/>
              </a:rPr>
              <a:t> IPSUM</a:t>
            </a:r>
          </a:p>
        </p:txBody>
      </p:sp>
      <p:grpSp>
        <p:nvGrpSpPr>
          <p:cNvPr id="28" name="Group 27"/>
          <p:cNvGrpSpPr/>
          <p:nvPr/>
        </p:nvGrpSpPr>
        <p:grpSpPr>
          <a:xfrm>
            <a:off x="4932709" y="5653847"/>
            <a:ext cx="299934" cy="416413"/>
            <a:chOff x="1336365" y="4507890"/>
            <a:chExt cx="299934" cy="416413"/>
          </a:xfrm>
          <a:solidFill>
            <a:schemeClr val="bg1"/>
          </a:solidFill>
        </p:grpSpPr>
        <p:sp>
          <p:nvSpPr>
            <p:cNvPr id="29" name="Freeform 247"/>
            <p:cNvSpPr>
              <a:spLocks noEditPoints="1"/>
            </p:cNvSpPr>
            <p:nvPr/>
          </p:nvSpPr>
          <p:spPr bwMode="auto">
            <a:xfrm>
              <a:off x="1336365" y="4812192"/>
              <a:ext cx="112111" cy="112111"/>
            </a:xfrm>
            <a:custGeom>
              <a:avLst/>
              <a:gdLst>
                <a:gd name="T0" fmla="*/ 106 w 230"/>
                <a:gd name="T1" fmla="*/ 39 h 232"/>
                <a:gd name="T2" fmla="*/ 92 w 230"/>
                <a:gd name="T3" fmla="*/ 44 h 232"/>
                <a:gd name="T4" fmla="*/ 72 w 230"/>
                <a:gd name="T5" fmla="*/ 52 h 232"/>
                <a:gd name="T6" fmla="*/ 51 w 230"/>
                <a:gd name="T7" fmla="*/ 74 h 232"/>
                <a:gd name="T8" fmla="*/ 41 w 230"/>
                <a:gd name="T9" fmla="*/ 94 h 232"/>
                <a:gd name="T10" fmla="*/ 38 w 230"/>
                <a:gd name="T11" fmla="*/ 108 h 232"/>
                <a:gd name="T12" fmla="*/ 38 w 230"/>
                <a:gd name="T13" fmla="*/ 124 h 232"/>
                <a:gd name="T14" fmla="*/ 41 w 230"/>
                <a:gd name="T15" fmla="*/ 140 h 232"/>
                <a:gd name="T16" fmla="*/ 51 w 230"/>
                <a:gd name="T17" fmla="*/ 160 h 232"/>
                <a:gd name="T18" fmla="*/ 72 w 230"/>
                <a:gd name="T19" fmla="*/ 180 h 232"/>
                <a:gd name="T20" fmla="*/ 92 w 230"/>
                <a:gd name="T21" fmla="*/ 191 h 232"/>
                <a:gd name="T22" fmla="*/ 106 w 230"/>
                <a:gd name="T23" fmla="*/ 193 h 232"/>
                <a:gd name="T24" fmla="*/ 123 w 230"/>
                <a:gd name="T25" fmla="*/ 193 h 232"/>
                <a:gd name="T26" fmla="*/ 138 w 230"/>
                <a:gd name="T27" fmla="*/ 191 h 232"/>
                <a:gd name="T28" fmla="*/ 158 w 230"/>
                <a:gd name="T29" fmla="*/ 179 h 232"/>
                <a:gd name="T30" fmla="*/ 180 w 230"/>
                <a:gd name="T31" fmla="*/ 157 h 232"/>
                <a:gd name="T32" fmla="*/ 191 w 230"/>
                <a:gd name="T33" fmla="*/ 130 h 232"/>
                <a:gd name="T34" fmla="*/ 193 w 230"/>
                <a:gd name="T35" fmla="*/ 39 h 232"/>
                <a:gd name="T36" fmla="*/ 115 w 230"/>
                <a:gd name="T37" fmla="*/ 232 h 232"/>
                <a:gd name="T38" fmla="*/ 92 w 230"/>
                <a:gd name="T39" fmla="*/ 231 h 232"/>
                <a:gd name="T40" fmla="*/ 70 w 230"/>
                <a:gd name="T41" fmla="*/ 224 h 232"/>
                <a:gd name="T42" fmla="*/ 50 w 230"/>
                <a:gd name="T43" fmla="*/ 214 h 232"/>
                <a:gd name="T44" fmla="*/ 33 w 230"/>
                <a:gd name="T45" fmla="*/ 199 h 232"/>
                <a:gd name="T46" fmla="*/ 18 w 230"/>
                <a:gd name="T47" fmla="*/ 182 h 232"/>
                <a:gd name="T48" fmla="*/ 8 w 230"/>
                <a:gd name="T49" fmla="*/ 162 h 232"/>
                <a:gd name="T50" fmla="*/ 1 w 230"/>
                <a:gd name="T51" fmla="*/ 140 h 232"/>
                <a:gd name="T52" fmla="*/ 0 w 230"/>
                <a:gd name="T53" fmla="*/ 117 h 232"/>
                <a:gd name="T54" fmla="*/ 1 w 230"/>
                <a:gd name="T55" fmla="*/ 94 h 232"/>
                <a:gd name="T56" fmla="*/ 8 w 230"/>
                <a:gd name="T57" fmla="*/ 72 h 232"/>
                <a:gd name="T58" fmla="*/ 18 w 230"/>
                <a:gd name="T59" fmla="*/ 52 h 232"/>
                <a:gd name="T60" fmla="*/ 33 w 230"/>
                <a:gd name="T61" fmla="*/ 35 h 232"/>
                <a:gd name="T62" fmla="*/ 50 w 230"/>
                <a:gd name="T63" fmla="*/ 21 h 232"/>
                <a:gd name="T64" fmla="*/ 70 w 230"/>
                <a:gd name="T65" fmla="*/ 11 h 232"/>
                <a:gd name="T66" fmla="*/ 92 w 230"/>
                <a:gd name="T67" fmla="*/ 3 h 232"/>
                <a:gd name="T68" fmla="*/ 115 w 230"/>
                <a:gd name="T69" fmla="*/ 0 h 232"/>
                <a:gd name="T70" fmla="*/ 230 w 230"/>
                <a:gd name="T71" fmla="*/ 117 h 232"/>
                <a:gd name="T72" fmla="*/ 229 w 230"/>
                <a:gd name="T73" fmla="*/ 140 h 232"/>
                <a:gd name="T74" fmla="*/ 221 w 230"/>
                <a:gd name="T75" fmla="*/ 160 h 232"/>
                <a:gd name="T76" fmla="*/ 210 w 230"/>
                <a:gd name="T77" fmla="*/ 180 h 232"/>
                <a:gd name="T78" fmla="*/ 195 w 230"/>
                <a:gd name="T79" fmla="*/ 198 h 232"/>
                <a:gd name="T80" fmla="*/ 178 w 230"/>
                <a:gd name="T81" fmla="*/ 212 h 232"/>
                <a:gd name="T82" fmla="*/ 159 w 230"/>
                <a:gd name="T83" fmla="*/ 224 h 232"/>
                <a:gd name="T84" fmla="*/ 138 w 230"/>
                <a:gd name="T85" fmla="*/ 231 h 232"/>
                <a:gd name="T86" fmla="*/ 115 w 230"/>
                <a:gd name="T87"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 h="232">
                  <a:moveTo>
                    <a:pt x="115" y="39"/>
                  </a:moveTo>
                  <a:lnTo>
                    <a:pt x="106" y="39"/>
                  </a:lnTo>
                  <a:lnTo>
                    <a:pt x="99" y="41"/>
                  </a:lnTo>
                  <a:lnTo>
                    <a:pt x="92" y="44"/>
                  </a:lnTo>
                  <a:lnTo>
                    <a:pt x="85" y="45"/>
                  </a:lnTo>
                  <a:lnTo>
                    <a:pt x="72" y="52"/>
                  </a:lnTo>
                  <a:lnTo>
                    <a:pt x="60" y="62"/>
                  </a:lnTo>
                  <a:lnTo>
                    <a:pt x="51" y="74"/>
                  </a:lnTo>
                  <a:lnTo>
                    <a:pt x="44" y="87"/>
                  </a:lnTo>
                  <a:lnTo>
                    <a:pt x="41" y="94"/>
                  </a:lnTo>
                  <a:lnTo>
                    <a:pt x="38" y="101"/>
                  </a:lnTo>
                  <a:lnTo>
                    <a:pt x="38" y="108"/>
                  </a:lnTo>
                  <a:lnTo>
                    <a:pt x="37" y="117"/>
                  </a:lnTo>
                  <a:lnTo>
                    <a:pt x="38" y="124"/>
                  </a:lnTo>
                  <a:lnTo>
                    <a:pt x="38" y="133"/>
                  </a:lnTo>
                  <a:lnTo>
                    <a:pt x="41" y="140"/>
                  </a:lnTo>
                  <a:lnTo>
                    <a:pt x="44" y="147"/>
                  </a:lnTo>
                  <a:lnTo>
                    <a:pt x="51" y="160"/>
                  </a:lnTo>
                  <a:lnTo>
                    <a:pt x="60" y="172"/>
                  </a:lnTo>
                  <a:lnTo>
                    <a:pt x="72" y="180"/>
                  </a:lnTo>
                  <a:lnTo>
                    <a:pt x="85" y="188"/>
                  </a:lnTo>
                  <a:lnTo>
                    <a:pt x="92" y="191"/>
                  </a:lnTo>
                  <a:lnTo>
                    <a:pt x="99" y="192"/>
                  </a:lnTo>
                  <a:lnTo>
                    <a:pt x="106" y="193"/>
                  </a:lnTo>
                  <a:lnTo>
                    <a:pt x="115" y="193"/>
                  </a:lnTo>
                  <a:lnTo>
                    <a:pt x="123" y="193"/>
                  </a:lnTo>
                  <a:lnTo>
                    <a:pt x="131" y="192"/>
                  </a:lnTo>
                  <a:lnTo>
                    <a:pt x="138" y="191"/>
                  </a:lnTo>
                  <a:lnTo>
                    <a:pt x="145" y="188"/>
                  </a:lnTo>
                  <a:lnTo>
                    <a:pt x="158" y="179"/>
                  </a:lnTo>
                  <a:lnTo>
                    <a:pt x="170" y="169"/>
                  </a:lnTo>
                  <a:lnTo>
                    <a:pt x="180" y="157"/>
                  </a:lnTo>
                  <a:lnTo>
                    <a:pt x="187" y="144"/>
                  </a:lnTo>
                  <a:lnTo>
                    <a:pt x="191" y="130"/>
                  </a:lnTo>
                  <a:lnTo>
                    <a:pt x="193" y="117"/>
                  </a:lnTo>
                  <a:lnTo>
                    <a:pt x="193" y="39"/>
                  </a:lnTo>
                  <a:lnTo>
                    <a:pt x="115" y="39"/>
                  </a:lnTo>
                  <a:close/>
                  <a:moveTo>
                    <a:pt x="115" y="232"/>
                  </a:moveTo>
                  <a:lnTo>
                    <a:pt x="103" y="232"/>
                  </a:lnTo>
                  <a:lnTo>
                    <a:pt x="92" y="231"/>
                  </a:lnTo>
                  <a:lnTo>
                    <a:pt x="80" y="228"/>
                  </a:lnTo>
                  <a:lnTo>
                    <a:pt x="70" y="224"/>
                  </a:lnTo>
                  <a:lnTo>
                    <a:pt x="60" y="219"/>
                  </a:lnTo>
                  <a:lnTo>
                    <a:pt x="50" y="214"/>
                  </a:lnTo>
                  <a:lnTo>
                    <a:pt x="41" y="206"/>
                  </a:lnTo>
                  <a:lnTo>
                    <a:pt x="33" y="199"/>
                  </a:lnTo>
                  <a:lnTo>
                    <a:pt x="26" y="191"/>
                  </a:lnTo>
                  <a:lnTo>
                    <a:pt x="18" y="182"/>
                  </a:lnTo>
                  <a:lnTo>
                    <a:pt x="13" y="172"/>
                  </a:lnTo>
                  <a:lnTo>
                    <a:pt x="8" y="162"/>
                  </a:lnTo>
                  <a:lnTo>
                    <a:pt x="4" y="152"/>
                  </a:lnTo>
                  <a:lnTo>
                    <a:pt x="1" y="140"/>
                  </a:lnTo>
                  <a:lnTo>
                    <a:pt x="0" y="129"/>
                  </a:lnTo>
                  <a:lnTo>
                    <a:pt x="0" y="117"/>
                  </a:lnTo>
                  <a:lnTo>
                    <a:pt x="0" y="106"/>
                  </a:lnTo>
                  <a:lnTo>
                    <a:pt x="1" y="94"/>
                  </a:lnTo>
                  <a:lnTo>
                    <a:pt x="4" y="83"/>
                  </a:lnTo>
                  <a:lnTo>
                    <a:pt x="8" y="72"/>
                  </a:lnTo>
                  <a:lnTo>
                    <a:pt x="13" y="62"/>
                  </a:lnTo>
                  <a:lnTo>
                    <a:pt x="18" y="52"/>
                  </a:lnTo>
                  <a:lnTo>
                    <a:pt x="26" y="44"/>
                  </a:lnTo>
                  <a:lnTo>
                    <a:pt x="33" y="35"/>
                  </a:lnTo>
                  <a:lnTo>
                    <a:pt x="41" y="28"/>
                  </a:lnTo>
                  <a:lnTo>
                    <a:pt x="50" y="21"/>
                  </a:lnTo>
                  <a:lnTo>
                    <a:pt x="60" y="15"/>
                  </a:lnTo>
                  <a:lnTo>
                    <a:pt x="70" y="11"/>
                  </a:lnTo>
                  <a:lnTo>
                    <a:pt x="80" y="6"/>
                  </a:lnTo>
                  <a:lnTo>
                    <a:pt x="92" y="3"/>
                  </a:lnTo>
                  <a:lnTo>
                    <a:pt x="103" y="2"/>
                  </a:lnTo>
                  <a:lnTo>
                    <a:pt x="115" y="0"/>
                  </a:lnTo>
                  <a:lnTo>
                    <a:pt x="230" y="0"/>
                  </a:lnTo>
                  <a:lnTo>
                    <a:pt x="230" y="117"/>
                  </a:lnTo>
                  <a:lnTo>
                    <a:pt x="230" y="129"/>
                  </a:lnTo>
                  <a:lnTo>
                    <a:pt x="229" y="140"/>
                  </a:lnTo>
                  <a:lnTo>
                    <a:pt x="226" y="150"/>
                  </a:lnTo>
                  <a:lnTo>
                    <a:pt x="221" y="160"/>
                  </a:lnTo>
                  <a:lnTo>
                    <a:pt x="216" y="170"/>
                  </a:lnTo>
                  <a:lnTo>
                    <a:pt x="210" y="180"/>
                  </a:lnTo>
                  <a:lnTo>
                    <a:pt x="204" y="189"/>
                  </a:lnTo>
                  <a:lnTo>
                    <a:pt x="195" y="198"/>
                  </a:lnTo>
                  <a:lnTo>
                    <a:pt x="187" y="205"/>
                  </a:lnTo>
                  <a:lnTo>
                    <a:pt x="178" y="212"/>
                  </a:lnTo>
                  <a:lnTo>
                    <a:pt x="170" y="218"/>
                  </a:lnTo>
                  <a:lnTo>
                    <a:pt x="159" y="224"/>
                  </a:lnTo>
                  <a:lnTo>
                    <a:pt x="148" y="228"/>
                  </a:lnTo>
                  <a:lnTo>
                    <a:pt x="138" y="231"/>
                  </a:lnTo>
                  <a:lnTo>
                    <a:pt x="126" y="232"/>
                  </a:lnTo>
                  <a:lnTo>
                    <a:pt x="115"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48"/>
            <p:cNvSpPr>
              <a:spLocks noEditPoints="1"/>
            </p:cNvSpPr>
            <p:nvPr/>
          </p:nvSpPr>
          <p:spPr bwMode="auto">
            <a:xfrm>
              <a:off x="1524188" y="4756864"/>
              <a:ext cx="112111" cy="112111"/>
            </a:xfrm>
            <a:custGeom>
              <a:avLst/>
              <a:gdLst>
                <a:gd name="T0" fmla="*/ 108 w 231"/>
                <a:gd name="T1" fmla="*/ 39 h 232"/>
                <a:gd name="T2" fmla="*/ 92 w 231"/>
                <a:gd name="T3" fmla="*/ 42 h 232"/>
                <a:gd name="T4" fmla="*/ 72 w 231"/>
                <a:gd name="T5" fmla="*/ 52 h 232"/>
                <a:gd name="T6" fmla="*/ 51 w 231"/>
                <a:gd name="T7" fmla="*/ 72 h 232"/>
                <a:gd name="T8" fmla="*/ 41 w 231"/>
                <a:gd name="T9" fmla="*/ 92 h 232"/>
                <a:gd name="T10" fmla="*/ 38 w 231"/>
                <a:gd name="T11" fmla="*/ 108 h 232"/>
                <a:gd name="T12" fmla="*/ 38 w 231"/>
                <a:gd name="T13" fmla="*/ 124 h 232"/>
                <a:gd name="T14" fmla="*/ 41 w 231"/>
                <a:gd name="T15" fmla="*/ 138 h 232"/>
                <a:gd name="T16" fmla="*/ 51 w 231"/>
                <a:gd name="T17" fmla="*/ 159 h 232"/>
                <a:gd name="T18" fmla="*/ 72 w 231"/>
                <a:gd name="T19" fmla="*/ 180 h 232"/>
                <a:gd name="T20" fmla="*/ 92 w 231"/>
                <a:gd name="T21" fmla="*/ 190 h 232"/>
                <a:gd name="T22" fmla="*/ 108 w 231"/>
                <a:gd name="T23" fmla="*/ 193 h 232"/>
                <a:gd name="T24" fmla="*/ 123 w 231"/>
                <a:gd name="T25" fmla="*/ 193 h 232"/>
                <a:gd name="T26" fmla="*/ 139 w 231"/>
                <a:gd name="T27" fmla="*/ 189 h 232"/>
                <a:gd name="T28" fmla="*/ 159 w 231"/>
                <a:gd name="T29" fmla="*/ 179 h 232"/>
                <a:gd name="T30" fmla="*/ 180 w 231"/>
                <a:gd name="T31" fmla="*/ 156 h 232"/>
                <a:gd name="T32" fmla="*/ 191 w 231"/>
                <a:gd name="T33" fmla="*/ 130 h 232"/>
                <a:gd name="T34" fmla="*/ 192 w 231"/>
                <a:gd name="T35" fmla="*/ 39 h 232"/>
                <a:gd name="T36" fmla="*/ 115 w 231"/>
                <a:gd name="T37" fmla="*/ 232 h 232"/>
                <a:gd name="T38" fmla="*/ 92 w 231"/>
                <a:gd name="T39" fmla="*/ 229 h 232"/>
                <a:gd name="T40" fmla="*/ 70 w 231"/>
                <a:gd name="T41" fmla="*/ 222 h 232"/>
                <a:gd name="T42" fmla="*/ 50 w 231"/>
                <a:gd name="T43" fmla="*/ 212 h 232"/>
                <a:gd name="T44" fmla="*/ 33 w 231"/>
                <a:gd name="T45" fmla="*/ 198 h 232"/>
                <a:gd name="T46" fmla="*/ 18 w 231"/>
                <a:gd name="T47" fmla="*/ 180 h 232"/>
                <a:gd name="T48" fmla="*/ 8 w 231"/>
                <a:gd name="T49" fmla="*/ 162 h 232"/>
                <a:gd name="T50" fmla="*/ 1 w 231"/>
                <a:gd name="T51" fmla="*/ 140 h 232"/>
                <a:gd name="T52" fmla="*/ 0 w 231"/>
                <a:gd name="T53" fmla="*/ 115 h 232"/>
                <a:gd name="T54" fmla="*/ 1 w 231"/>
                <a:gd name="T55" fmla="*/ 92 h 232"/>
                <a:gd name="T56" fmla="*/ 8 w 231"/>
                <a:gd name="T57" fmla="*/ 71 h 232"/>
                <a:gd name="T58" fmla="*/ 18 w 231"/>
                <a:gd name="T59" fmla="*/ 51 h 232"/>
                <a:gd name="T60" fmla="*/ 33 w 231"/>
                <a:gd name="T61" fmla="*/ 35 h 232"/>
                <a:gd name="T62" fmla="*/ 50 w 231"/>
                <a:gd name="T63" fmla="*/ 20 h 232"/>
                <a:gd name="T64" fmla="*/ 70 w 231"/>
                <a:gd name="T65" fmla="*/ 9 h 232"/>
                <a:gd name="T66" fmla="*/ 92 w 231"/>
                <a:gd name="T67" fmla="*/ 3 h 232"/>
                <a:gd name="T68" fmla="*/ 115 w 231"/>
                <a:gd name="T69" fmla="*/ 0 h 232"/>
                <a:gd name="T70" fmla="*/ 231 w 231"/>
                <a:gd name="T71" fmla="*/ 115 h 232"/>
                <a:gd name="T72" fmla="*/ 228 w 231"/>
                <a:gd name="T73" fmla="*/ 138 h 232"/>
                <a:gd name="T74" fmla="*/ 221 w 231"/>
                <a:gd name="T75" fmla="*/ 160 h 232"/>
                <a:gd name="T76" fmla="*/ 210 w 231"/>
                <a:gd name="T77" fmla="*/ 180 h 232"/>
                <a:gd name="T78" fmla="*/ 195 w 231"/>
                <a:gd name="T79" fmla="*/ 198 h 232"/>
                <a:gd name="T80" fmla="*/ 178 w 231"/>
                <a:gd name="T81" fmla="*/ 212 h 232"/>
                <a:gd name="T82" fmla="*/ 159 w 231"/>
                <a:gd name="T83" fmla="*/ 222 h 232"/>
                <a:gd name="T84" fmla="*/ 138 w 231"/>
                <a:gd name="T85" fmla="*/ 229 h 232"/>
                <a:gd name="T86" fmla="*/ 115 w 231"/>
                <a:gd name="T87"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1" h="232">
                  <a:moveTo>
                    <a:pt x="115" y="39"/>
                  </a:moveTo>
                  <a:lnTo>
                    <a:pt x="108" y="39"/>
                  </a:lnTo>
                  <a:lnTo>
                    <a:pt x="99" y="41"/>
                  </a:lnTo>
                  <a:lnTo>
                    <a:pt x="92" y="42"/>
                  </a:lnTo>
                  <a:lnTo>
                    <a:pt x="84" y="45"/>
                  </a:lnTo>
                  <a:lnTo>
                    <a:pt x="72" y="52"/>
                  </a:lnTo>
                  <a:lnTo>
                    <a:pt x="60" y="61"/>
                  </a:lnTo>
                  <a:lnTo>
                    <a:pt x="51" y="72"/>
                  </a:lnTo>
                  <a:lnTo>
                    <a:pt x="44" y="87"/>
                  </a:lnTo>
                  <a:lnTo>
                    <a:pt x="41" y="92"/>
                  </a:lnTo>
                  <a:lnTo>
                    <a:pt x="40" y="101"/>
                  </a:lnTo>
                  <a:lnTo>
                    <a:pt x="38" y="108"/>
                  </a:lnTo>
                  <a:lnTo>
                    <a:pt x="38" y="115"/>
                  </a:lnTo>
                  <a:lnTo>
                    <a:pt x="38" y="124"/>
                  </a:lnTo>
                  <a:lnTo>
                    <a:pt x="40" y="131"/>
                  </a:lnTo>
                  <a:lnTo>
                    <a:pt x="41" y="138"/>
                  </a:lnTo>
                  <a:lnTo>
                    <a:pt x="44" y="146"/>
                  </a:lnTo>
                  <a:lnTo>
                    <a:pt x="51" y="159"/>
                  </a:lnTo>
                  <a:lnTo>
                    <a:pt x="60" y="170"/>
                  </a:lnTo>
                  <a:lnTo>
                    <a:pt x="72" y="180"/>
                  </a:lnTo>
                  <a:lnTo>
                    <a:pt x="84" y="187"/>
                  </a:lnTo>
                  <a:lnTo>
                    <a:pt x="92" y="190"/>
                  </a:lnTo>
                  <a:lnTo>
                    <a:pt x="99" y="192"/>
                  </a:lnTo>
                  <a:lnTo>
                    <a:pt x="108" y="193"/>
                  </a:lnTo>
                  <a:lnTo>
                    <a:pt x="115" y="193"/>
                  </a:lnTo>
                  <a:lnTo>
                    <a:pt x="123" y="193"/>
                  </a:lnTo>
                  <a:lnTo>
                    <a:pt x="131" y="192"/>
                  </a:lnTo>
                  <a:lnTo>
                    <a:pt x="139" y="189"/>
                  </a:lnTo>
                  <a:lnTo>
                    <a:pt x="145" y="186"/>
                  </a:lnTo>
                  <a:lnTo>
                    <a:pt x="159" y="179"/>
                  </a:lnTo>
                  <a:lnTo>
                    <a:pt x="169" y="169"/>
                  </a:lnTo>
                  <a:lnTo>
                    <a:pt x="180" y="156"/>
                  </a:lnTo>
                  <a:lnTo>
                    <a:pt x="187" y="143"/>
                  </a:lnTo>
                  <a:lnTo>
                    <a:pt x="191" y="130"/>
                  </a:lnTo>
                  <a:lnTo>
                    <a:pt x="192" y="115"/>
                  </a:lnTo>
                  <a:lnTo>
                    <a:pt x="192" y="39"/>
                  </a:lnTo>
                  <a:lnTo>
                    <a:pt x="115" y="39"/>
                  </a:lnTo>
                  <a:close/>
                  <a:moveTo>
                    <a:pt x="115" y="232"/>
                  </a:moveTo>
                  <a:lnTo>
                    <a:pt x="103" y="231"/>
                  </a:lnTo>
                  <a:lnTo>
                    <a:pt x="92" y="229"/>
                  </a:lnTo>
                  <a:lnTo>
                    <a:pt x="80" y="226"/>
                  </a:lnTo>
                  <a:lnTo>
                    <a:pt x="70" y="222"/>
                  </a:lnTo>
                  <a:lnTo>
                    <a:pt x="60" y="218"/>
                  </a:lnTo>
                  <a:lnTo>
                    <a:pt x="50" y="212"/>
                  </a:lnTo>
                  <a:lnTo>
                    <a:pt x="41" y="205"/>
                  </a:lnTo>
                  <a:lnTo>
                    <a:pt x="33" y="198"/>
                  </a:lnTo>
                  <a:lnTo>
                    <a:pt x="25" y="190"/>
                  </a:lnTo>
                  <a:lnTo>
                    <a:pt x="18" y="180"/>
                  </a:lnTo>
                  <a:lnTo>
                    <a:pt x="12" y="172"/>
                  </a:lnTo>
                  <a:lnTo>
                    <a:pt x="8" y="162"/>
                  </a:lnTo>
                  <a:lnTo>
                    <a:pt x="4" y="150"/>
                  </a:lnTo>
                  <a:lnTo>
                    <a:pt x="1" y="140"/>
                  </a:lnTo>
                  <a:lnTo>
                    <a:pt x="0" y="128"/>
                  </a:lnTo>
                  <a:lnTo>
                    <a:pt x="0" y="115"/>
                  </a:lnTo>
                  <a:lnTo>
                    <a:pt x="0" y="104"/>
                  </a:lnTo>
                  <a:lnTo>
                    <a:pt x="1" y="92"/>
                  </a:lnTo>
                  <a:lnTo>
                    <a:pt x="4" y="81"/>
                  </a:lnTo>
                  <a:lnTo>
                    <a:pt x="8" y="71"/>
                  </a:lnTo>
                  <a:lnTo>
                    <a:pt x="12" y="61"/>
                  </a:lnTo>
                  <a:lnTo>
                    <a:pt x="18" y="51"/>
                  </a:lnTo>
                  <a:lnTo>
                    <a:pt x="25" y="42"/>
                  </a:lnTo>
                  <a:lnTo>
                    <a:pt x="33" y="35"/>
                  </a:lnTo>
                  <a:lnTo>
                    <a:pt x="41" y="26"/>
                  </a:lnTo>
                  <a:lnTo>
                    <a:pt x="50" y="20"/>
                  </a:lnTo>
                  <a:lnTo>
                    <a:pt x="60" y="15"/>
                  </a:lnTo>
                  <a:lnTo>
                    <a:pt x="70" y="9"/>
                  </a:lnTo>
                  <a:lnTo>
                    <a:pt x="80" y="6"/>
                  </a:lnTo>
                  <a:lnTo>
                    <a:pt x="92" y="3"/>
                  </a:lnTo>
                  <a:lnTo>
                    <a:pt x="103" y="0"/>
                  </a:lnTo>
                  <a:lnTo>
                    <a:pt x="115" y="0"/>
                  </a:lnTo>
                  <a:lnTo>
                    <a:pt x="231" y="0"/>
                  </a:lnTo>
                  <a:lnTo>
                    <a:pt x="231" y="115"/>
                  </a:lnTo>
                  <a:lnTo>
                    <a:pt x="230" y="127"/>
                  </a:lnTo>
                  <a:lnTo>
                    <a:pt x="228" y="138"/>
                  </a:lnTo>
                  <a:lnTo>
                    <a:pt x="226" y="150"/>
                  </a:lnTo>
                  <a:lnTo>
                    <a:pt x="221" y="160"/>
                  </a:lnTo>
                  <a:lnTo>
                    <a:pt x="217" y="170"/>
                  </a:lnTo>
                  <a:lnTo>
                    <a:pt x="210" y="180"/>
                  </a:lnTo>
                  <a:lnTo>
                    <a:pt x="204" y="189"/>
                  </a:lnTo>
                  <a:lnTo>
                    <a:pt x="195" y="198"/>
                  </a:lnTo>
                  <a:lnTo>
                    <a:pt x="188" y="205"/>
                  </a:lnTo>
                  <a:lnTo>
                    <a:pt x="178" y="212"/>
                  </a:lnTo>
                  <a:lnTo>
                    <a:pt x="169" y="218"/>
                  </a:lnTo>
                  <a:lnTo>
                    <a:pt x="159" y="222"/>
                  </a:lnTo>
                  <a:lnTo>
                    <a:pt x="149" y="226"/>
                  </a:lnTo>
                  <a:lnTo>
                    <a:pt x="138" y="229"/>
                  </a:lnTo>
                  <a:lnTo>
                    <a:pt x="126" y="231"/>
                  </a:lnTo>
                  <a:lnTo>
                    <a:pt x="115"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9"/>
            <p:cNvSpPr>
              <a:spLocks/>
            </p:cNvSpPr>
            <p:nvPr/>
          </p:nvSpPr>
          <p:spPr bwMode="auto">
            <a:xfrm>
              <a:off x="1431004" y="4507890"/>
              <a:ext cx="205295" cy="314494"/>
            </a:xfrm>
            <a:custGeom>
              <a:avLst/>
              <a:gdLst>
                <a:gd name="T0" fmla="*/ 37 w 424"/>
                <a:gd name="T1" fmla="*/ 647 h 647"/>
                <a:gd name="T2" fmla="*/ 0 w 424"/>
                <a:gd name="T3" fmla="*/ 647 h 647"/>
                <a:gd name="T4" fmla="*/ 0 w 424"/>
                <a:gd name="T5" fmla="*/ 170 h 647"/>
                <a:gd name="T6" fmla="*/ 424 w 424"/>
                <a:gd name="T7" fmla="*/ 0 h 647"/>
                <a:gd name="T8" fmla="*/ 424 w 424"/>
                <a:gd name="T9" fmla="*/ 530 h 647"/>
                <a:gd name="T10" fmla="*/ 385 w 424"/>
                <a:gd name="T11" fmla="*/ 530 h 647"/>
                <a:gd name="T12" fmla="*/ 385 w 424"/>
                <a:gd name="T13" fmla="*/ 56 h 647"/>
                <a:gd name="T14" fmla="*/ 37 w 424"/>
                <a:gd name="T15" fmla="*/ 196 h 647"/>
                <a:gd name="T16" fmla="*/ 37 w 424"/>
                <a:gd name="T17" fmla="*/ 647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4" h="647">
                  <a:moveTo>
                    <a:pt x="37" y="647"/>
                  </a:moveTo>
                  <a:lnTo>
                    <a:pt x="0" y="647"/>
                  </a:lnTo>
                  <a:lnTo>
                    <a:pt x="0" y="170"/>
                  </a:lnTo>
                  <a:lnTo>
                    <a:pt x="424" y="0"/>
                  </a:lnTo>
                  <a:lnTo>
                    <a:pt x="424" y="530"/>
                  </a:lnTo>
                  <a:lnTo>
                    <a:pt x="385" y="530"/>
                  </a:lnTo>
                  <a:lnTo>
                    <a:pt x="385" y="56"/>
                  </a:lnTo>
                  <a:lnTo>
                    <a:pt x="37" y="196"/>
                  </a:lnTo>
                  <a:lnTo>
                    <a:pt x="37" y="6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0"/>
            <p:cNvSpPr>
              <a:spLocks/>
            </p:cNvSpPr>
            <p:nvPr/>
          </p:nvSpPr>
          <p:spPr bwMode="auto">
            <a:xfrm>
              <a:off x="1435372" y="4579233"/>
              <a:ext cx="195103" cy="91727"/>
            </a:xfrm>
            <a:custGeom>
              <a:avLst/>
              <a:gdLst>
                <a:gd name="T0" fmla="*/ 386 w 400"/>
                <a:gd name="T1" fmla="*/ 0 h 190"/>
                <a:gd name="T2" fmla="*/ 400 w 400"/>
                <a:gd name="T3" fmla="*/ 36 h 190"/>
                <a:gd name="T4" fmla="*/ 14 w 400"/>
                <a:gd name="T5" fmla="*/ 190 h 190"/>
                <a:gd name="T6" fmla="*/ 0 w 400"/>
                <a:gd name="T7" fmla="*/ 154 h 190"/>
                <a:gd name="T8" fmla="*/ 386 w 400"/>
                <a:gd name="T9" fmla="*/ 0 h 190"/>
              </a:gdLst>
              <a:ahLst/>
              <a:cxnLst>
                <a:cxn ang="0">
                  <a:pos x="T0" y="T1"/>
                </a:cxn>
                <a:cxn ang="0">
                  <a:pos x="T2" y="T3"/>
                </a:cxn>
                <a:cxn ang="0">
                  <a:pos x="T4" y="T5"/>
                </a:cxn>
                <a:cxn ang="0">
                  <a:pos x="T6" y="T7"/>
                </a:cxn>
                <a:cxn ang="0">
                  <a:pos x="T8" y="T9"/>
                </a:cxn>
              </a:cxnLst>
              <a:rect l="0" t="0" r="r" b="b"/>
              <a:pathLst>
                <a:path w="400" h="190">
                  <a:moveTo>
                    <a:pt x="386" y="0"/>
                  </a:moveTo>
                  <a:lnTo>
                    <a:pt x="400" y="36"/>
                  </a:lnTo>
                  <a:lnTo>
                    <a:pt x="14" y="190"/>
                  </a:lnTo>
                  <a:lnTo>
                    <a:pt x="0" y="154"/>
                  </a:lnTo>
                  <a:lnTo>
                    <a:pt x="3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 name="Rectangle 37"/>
          <p:cNvSpPr/>
          <p:nvPr/>
        </p:nvSpPr>
        <p:spPr>
          <a:xfrm>
            <a:off x="9286340" y="5825154"/>
            <a:ext cx="2507900" cy="760978"/>
          </a:xfrm>
          <a:prstGeom prst="rect">
            <a:avLst/>
          </a:prstGeom>
        </p:spPr>
        <p:txBody>
          <a:bodyPr wrap="square">
            <a:spAutoFit/>
          </a:bodyPr>
          <a:lstStyle/>
          <a:p>
            <a:pPr algn="just">
              <a:lnSpc>
                <a:spcPct val="150000"/>
              </a:lnSpc>
              <a:spcBef>
                <a:spcPts val="600"/>
              </a:spcBef>
              <a:buClr>
                <a:srgbClr val="E24848"/>
              </a:buClr>
              <a:defRPr/>
            </a:pPr>
            <a:r>
              <a:rPr lang="en-US" sz="1000" noProof="1">
                <a:solidFill>
                  <a:schemeClr val="bg1"/>
                </a:solidFill>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
        <p:nvSpPr>
          <p:cNvPr id="39" name="Rectangle 38"/>
          <p:cNvSpPr/>
          <p:nvPr/>
        </p:nvSpPr>
        <p:spPr>
          <a:xfrm>
            <a:off x="9264976" y="5498955"/>
            <a:ext cx="1696361" cy="363099"/>
          </a:xfrm>
          <a:prstGeom prst="rect">
            <a:avLst/>
          </a:prstGeom>
        </p:spPr>
        <p:txBody>
          <a:bodyPr vert="horz" lIns="91440" tIns="45720" rIns="91440" bIns="45720" rtlCol="0" anchor="ctr">
            <a:noAutofit/>
          </a:bodyPr>
          <a:lstStyle/>
          <a:p>
            <a:pPr>
              <a:spcBef>
                <a:spcPct val="0"/>
              </a:spcBef>
            </a:pPr>
            <a:r>
              <a:rPr lang="en-US" sz="1400" b="1" noProof="1">
                <a:solidFill>
                  <a:schemeClr val="bg1"/>
                </a:solidFill>
                <a:ea typeface="Open Sans" panose="020B0606030504020204" pitchFamily="34" charset="0"/>
                <a:cs typeface="Open Sans" panose="020B0606030504020204" pitchFamily="34" charset="0"/>
              </a:rPr>
              <a:t>LOREM</a:t>
            </a:r>
            <a:r>
              <a:rPr lang="en-US" sz="1400" noProof="1">
                <a:solidFill>
                  <a:schemeClr val="bg1"/>
                </a:solidFill>
                <a:ea typeface="Open Sans" panose="020B0606030504020204" pitchFamily="34" charset="0"/>
                <a:cs typeface="Open Sans" panose="020B0606030504020204" pitchFamily="34" charset="0"/>
              </a:rPr>
              <a:t> IPSUM</a:t>
            </a:r>
          </a:p>
        </p:txBody>
      </p:sp>
      <p:grpSp>
        <p:nvGrpSpPr>
          <p:cNvPr id="35" name="Group 34"/>
          <p:cNvGrpSpPr/>
          <p:nvPr/>
        </p:nvGrpSpPr>
        <p:grpSpPr>
          <a:xfrm>
            <a:off x="8668288" y="5730119"/>
            <a:ext cx="449901" cy="417869"/>
            <a:chOff x="1260653" y="5947865"/>
            <a:chExt cx="449901" cy="417869"/>
          </a:xfrm>
          <a:solidFill>
            <a:schemeClr val="bg1"/>
          </a:solidFill>
        </p:grpSpPr>
        <p:sp>
          <p:nvSpPr>
            <p:cNvPr id="36" name="Freeform 595"/>
            <p:cNvSpPr>
              <a:spLocks noEditPoints="1"/>
            </p:cNvSpPr>
            <p:nvPr/>
          </p:nvSpPr>
          <p:spPr bwMode="auto">
            <a:xfrm>
              <a:off x="1364029" y="6036680"/>
              <a:ext cx="243151" cy="221311"/>
            </a:xfrm>
            <a:custGeom>
              <a:avLst/>
              <a:gdLst>
                <a:gd name="T0" fmla="*/ 118 w 501"/>
                <a:gd name="T1" fmla="*/ 41 h 456"/>
                <a:gd name="T2" fmla="*/ 92 w 501"/>
                <a:gd name="T3" fmla="*/ 49 h 456"/>
                <a:gd name="T4" fmla="*/ 69 w 501"/>
                <a:gd name="T5" fmla="*/ 65 h 456"/>
                <a:gd name="T6" fmla="*/ 52 w 501"/>
                <a:gd name="T7" fmla="*/ 90 h 456"/>
                <a:gd name="T8" fmla="*/ 41 w 501"/>
                <a:gd name="T9" fmla="*/ 121 h 456"/>
                <a:gd name="T10" fmla="*/ 39 w 501"/>
                <a:gd name="T11" fmla="*/ 159 h 456"/>
                <a:gd name="T12" fmla="*/ 46 w 501"/>
                <a:gd name="T13" fmla="*/ 193 h 456"/>
                <a:gd name="T14" fmla="*/ 79 w 501"/>
                <a:gd name="T15" fmla="*/ 258 h 456"/>
                <a:gd name="T16" fmla="*/ 128 w 501"/>
                <a:gd name="T17" fmla="*/ 317 h 456"/>
                <a:gd name="T18" fmla="*/ 182 w 501"/>
                <a:gd name="T19" fmla="*/ 365 h 456"/>
                <a:gd name="T20" fmla="*/ 251 w 501"/>
                <a:gd name="T21" fmla="*/ 414 h 456"/>
                <a:gd name="T22" fmla="*/ 318 w 501"/>
                <a:gd name="T23" fmla="*/ 359 h 456"/>
                <a:gd name="T24" fmla="*/ 373 w 501"/>
                <a:gd name="T25" fmla="*/ 307 h 456"/>
                <a:gd name="T26" fmla="*/ 422 w 501"/>
                <a:gd name="T27" fmla="*/ 245 h 456"/>
                <a:gd name="T28" fmla="*/ 455 w 501"/>
                <a:gd name="T29" fmla="*/ 179 h 456"/>
                <a:gd name="T30" fmla="*/ 462 w 501"/>
                <a:gd name="T31" fmla="*/ 146 h 456"/>
                <a:gd name="T32" fmla="*/ 461 w 501"/>
                <a:gd name="T33" fmla="*/ 111 h 456"/>
                <a:gd name="T34" fmla="*/ 451 w 501"/>
                <a:gd name="T35" fmla="*/ 84 h 456"/>
                <a:gd name="T36" fmla="*/ 434 w 501"/>
                <a:gd name="T37" fmla="*/ 62 h 456"/>
                <a:gd name="T38" fmla="*/ 411 w 501"/>
                <a:gd name="T39" fmla="*/ 48 h 456"/>
                <a:gd name="T40" fmla="*/ 386 w 501"/>
                <a:gd name="T41" fmla="*/ 39 h 456"/>
                <a:gd name="T42" fmla="*/ 353 w 501"/>
                <a:gd name="T43" fmla="*/ 39 h 456"/>
                <a:gd name="T44" fmla="*/ 323 w 501"/>
                <a:gd name="T45" fmla="*/ 49 h 456"/>
                <a:gd name="T46" fmla="*/ 301 w 501"/>
                <a:gd name="T47" fmla="*/ 64 h 456"/>
                <a:gd name="T48" fmla="*/ 284 w 501"/>
                <a:gd name="T49" fmla="*/ 85 h 456"/>
                <a:gd name="T50" fmla="*/ 272 w 501"/>
                <a:gd name="T51" fmla="*/ 116 h 456"/>
                <a:gd name="T52" fmla="*/ 264 w 501"/>
                <a:gd name="T53" fmla="*/ 139 h 456"/>
                <a:gd name="T54" fmla="*/ 244 w 501"/>
                <a:gd name="T55" fmla="*/ 142 h 456"/>
                <a:gd name="T56" fmla="*/ 232 w 501"/>
                <a:gd name="T57" fmla="*/ 127 h 456"/>
                <a:gd name="T58" fmla="*/ 222 w 501"/>
                <a:gd name="T59" fmla="*/ 96 h 456"/>
                <a:gd name="T60" fmla="*/ 208 w 501"/>
                <a:gd name="T61" fmla="*/ 71 h 456"/>
                <a:gd name="T62" fmla="*/ 180 w 501"/>
                <a:gd name="T63" fmla="*/ 51 h 456"/>
                <a:gd name="T64" fmla="*/ 136 w 501"/>
                <a:gd name="T65" fmla="*/ 39 h 456"/>
                <a:gd name="T66" fmla="*/ 241 w 501"/>
                <a:gd name="T67" fmla="*/ 454 h 456"/>
                <a:gd name="T68" fmla="*/ 180 w 501"/>
                <a:gd name="T69" fmla="*/ 414 h 456"/>
                <a:gd name="T70" fmla="*/ 117 w 501"/>
                <a:gd name="T71" fmla="*/ 361 h 456"/>
                <a:gd name="T72" fmla="*/ 53 w 501"/>
                <a:gd name="T73" fmla="*/ 290 h 456"/>
                <a:gd name="T74" fmla="*/ 22 w 501"/>
                <a:gd name="T75" fmla="*/ 237 h 456"/>
                <a:gd name="T76" fmla="*/ 6 w 501"/>
                <a:gd name="T77" fmla="*/ 192 h 456"/>
                <a:gd name="T78" fmla="*/ 0 w 501"/>
                <a:gd name="T79" fmla="*/ 146 h 456"/>
                <a:gd name="T80" fmla="*/ 6 w 501"/>
                <a:gd name="T81" fmla="*/ 97 h 456"/>
                <a:gd name="T82" fmla="*/ 25 w 501"/>
                <a:gd name="T83" fmla="*/ 58 h 456"/>
                <a:gd name="T84" fmla="*/ 52 w 501"/>
                <a:gd name="T85" fmla="*/ 29 h 456"/>
                <a:gd name="T86" fmla="*/ 87 w 501"/>
                <a:gd name="T87" fmla="*/ 11 h 456"/>
                <a:gd name="T88" fmla="*/ 123 w 501"/>
                <a:gd name="T89" fmla="*/ 2 h 456"/>
                <a:gd name="T90" fmla="*/ 169 w 501"/>
                <a:gd name="T91" fmla="*/ 5 h 456"/>
                <a:gd name="T92" fmla="*/ 215 w 501"/>
                <a:gd name="T93" fmla="*/ 26 h 456"/>
                <a:gd name="T94" fmla="*/ 251 w 501"/>
                <a:gd name="T95" fmla="*/ 65 h 456"/>
                <a:gd name="T96" fmla="*/ 288 w 501"/>
                <a:gd name="T97" fmla="*/ 25 h 456"/>
                <a:gd name="T98" fmla="*/ 336 w 501"/>
                <a:gd name="T99" fmla="*/ 3 h 456"/>
                <a:gd name="T100" fmla="*/ 382 w 501"/>
                <a:gd name="T101" fmla="*/ 0 h 456"/>
                <a:gd name="T102" fmla="*/ 418 w 501"/>
                <a:gd name="T103" fmla="*/ 9 h 456"/>
                <a:gd name="T104" fmla="*/ 451 w 501"/>
                <a:gd name="T105" fmla="*/ 26 h 456"/>
                <a:gd name="T106" fmla="*/ 477 w 501"/>
                <a:gd name="T107" fmla="*/ 54 h 456"/>
                <a:gd name="T108" fmla="*/ 496 w 501"/>
                <a:gd name="T109" fmla="*/ 90 h 456"/>
                <a:gd name="T110" fmla="*/ 501 w 501"/>
                <a:gd name="T111" fmla="*/ 134 h 456"/>
                <a:gd name="T112" fmla="*/ 496 w 501"/>
                <a:gd name="T113" fmla="*/ 179 h 456"/>
                <a:gd name="T114" fmla="*/ 481 w 501"/>
                <a:gd name="T115" fmla="*/ 221 h 456"/>
                <a:gd name="T116" fmla="*/ 448 w 501"/>
                <a:gd name="T117" fmla="*/ 276 h 456"/>
                <a:gd name="T118" fmla="*/ 386 w 501"/>
                <a:gd name="T119" fmla="*/ 349 h 456"/>
                <a:gd name="T120" fmla="*/ 321 w 501"/>
                <a:gd name="T121" fmla="*/ 408 h 456"/>
                <a:gd name="T122" fmla="*/ 262 w 501"/>
                <a:gd name="T123" fmla="*/ 453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01" h="456">
                  <a:moveTo>
                    <a:pt x="136" y="39"/>
                  </a:moveTo>
                  <a:lnTo>
                    <a:pt x="127" y="41"/>
                  </a:lnTo>
                  <a:lnTo>
                    <a:pt x="118" y="41"/>
                  </a:lnTo>
                  <a:lnTo>
                    <a:pt x="110" y="44"/>
                  </a:lnTo>
                  <a:lnTo>
                    <a:pt x="101" y="47"/>
                  </a:lnTo>
                  <a:lnTo>
                    <a:pt x="92" y="49"/>
                  </a:lnTo>
                  <a:lnTo>
                    <a:pt x="84" y="54"/>
                  </a:lnTo>
                  <a:lnTo>
                    <a:pt x="77" y="60"/>
                  </a:lnTo>
                  <a:lnTo>
                    <a:pt x="69" y="65"/>
                  </a:lnTo>
                  <a:lnTo>
                    <a:pt x="64" y="72"/>
                  </a:lnTo>
                  <a:lnTo>
                    <a:pt x="56" y="81"/>
                  </a:lnTo>
                  <a:lnTo>
                    <a:pt x="52" y="90"/>
                  </a:lnTo>
                  <a:lnTo>
                    <a:pt x="48" y="98"/>
                  </a:lnTo>
                  <a:lnTo>
                    <a:pt x="43" y="110"/>
                  </a:lnTo>
                  <a:lnTo>
                    <a:pt x="41" y="121"/>
                  </a:lnTo>
                  <a:lnTo>
                    <a:pt x="39" y="133"/>
                  </a:lnTo>
                  <a:lnTo>
                    <a:pt x="39" y="146"/>
                  </a:lnTo>
                  <a:lnTo>
                    <a:pt x="39" y="159"/>
                  </a:lnTo>
                  <a:lnTo>
                    <a:pt x="41" y="170"/>
                  </a:lnTo>
                  <a:lnTo>
                    <a:pt x="42" y="182"/>
                  </a:lnTo>
                  <a:lnTo>
                    <a:pt x="46" y="193"/>
                  </a:lnTo>
                  <a:lnTo>
                    <a:pt x="55" y="215"/>
                  </a:lnTo>
                  <a:lnTo>
                    <a:pt x="65" y="238"/>
                  </a:lnTo>
                  <a:lnTo>
                    <a:pt x="79" y="258"/>
                  </a:lnTo>
                  <a:lnTo>
                    <a:pt x="94" y="280"/>
                  </a:lnTo>
                  <a:lnTo>
                    <a:pt x="111" y="299"/>
                  </a:lnTo>
                  <a:lnTo>
                    <a:pt x="128" y="317"/>
                  </a:lnTo>
                  <a:lnTo>
                    <a:pt x="146" y="335"/>
                  </a:lnTo>
                  <a:lnTo>
                    <a:pt x="164" y="350"/>
                  </a:lnTo>
                  <a:lnTo>
                    <a:pt x="182" y="365"/>
                  </a:lnTo>
                  <a:lnTo>
                    <a:pt x="199" y="378"/>
                  </a:lnTo>
                  <a:lnTo>
                    <a:pt x="228" y="399"/>
                  </a:lnTo>
                  <a:lnTo>
                    <a:pt x="251" y="414"/>
                  </a:lnTo>
                  <a:lnTo>
                    <a:pt x="272" y="398"/>
                  </a:lnTo>
                  <a:lnTo>
                    <a:pt x="301" y="374"/>
                  </a:lnTo>
                  <a:lnTo>
                    <a:pt x="318" y="359"/>
                  </a:lnTo>
                  <a:lnTo>
                    <a:pt x="337" y="343"/>
                  </a:lnTo>
                  <a:lnTo>
                    <a:pt x="354" y="326"/>
                  </a:lnTo>
                  <a:lnTo>
                    <a:pt x="373" y="307"/>
                  </a:lnTo>
                  <a:lnTo>
                    <a:pt x="390" y="287"/>
                  </a:lnTo>
                  <a:lnTo>
                    <a:pt x="408" y="267"/>
                  </a:lnTo>
                  <a:lnTo>
                    <a:pt x="422" y="245"/>
                  </a:lnTo>
                  <a:lnTo>
                    <a:pt x="437" y="224"/>
                  </a:lnTo>
                  <a:lnTo>
                    <a:pt x="447" y="202"/>
                  </a:lnTo>
                  <a:lnTo>
                    <a:pt x="455" y="179"/>
                  </a:lnTo>
                  <a:lnTo>
                    <a:pt x="460" y="169"/>
                  </a:lnTo>
                  <a:lnTo>
                    <a:pt x="461" y="157"/>
                  </a:lnTo>
                  <a:lnTo>
                    <a:pt x="462" y="146"/>
                  </a:lnTo>
                  <a:lnTo>
                    <a:pt x="464" y="134"/>
                  </a:lnTo>
                  <a:lnTo>
                    <a:pt x="462" y="123"/>
                  </a:lnTo>
                  <a:lnTo>
                    <a:pt x="461" y="111"/>
                  </a:lnTo>
                  <a:lnTo>
                    <a:pt x="458" y="101"/>
                  </a:lnTo>
                  <a:lnTo>
                    <a:pt x="455" y="93"/>
                  </a:lnTo>
                  <a:lnTo>
                    <a:pt x="451" y="84"/>
                  </a:lnTo>
                  <a:lnTo>
                    <a:pt x="445" y="75"/>
                  </a:lnTo>
                  <a:lnTo>
                    <a:pt x="439" y="68"/>
                  </a:lnTo>
                  <a:lnTo>
                    <a:pt x="434" y="62"/>
                  </a:lnTo>
                  <a:lnTo>
                    <a:pt x="426" y="57"/>
                  </a:lnTo>
                  <a:lnTo>
                    <a:pt x="419" y="52"/>
                  </a:lnTo>
                  <a:lnTo>
                    <a:pt x="411" y="48"/>
                  </a:lnTo>
                  <a:lnTo>
                    <a:pt x="403" y="44"/>
                  </a:lnTo>
                  <a:lnTo>
                    <a:pt x="395" y="42"/>
                  </a:lnTo>
                  <a:lnTo>
                    <a:pt x="386" y="39"/>
                  </a:lnTo>
                  <a:lnTo>
                    <a:pt x="377" y="39"/>
                  </a:lnTo>
                  <a:lnTo>
                    <a:pt x="369" y="38"/>
                  </a:lnTo>
                  <a:lnTo>
                    <a:pt x="353" y="39"/>
                  </a:lnTo>
                  <a:lnTo>
                    <a:pt x="339" y="44"/>
                  </a:lnTo>
                  <a:lnTo>
                    <a:pt x="330" y="47"/>
                  </a:lnTo>
                  <a:lnTo>
                    <a:pt x="323" y="49"/>
                  </a:lnTo>
                  <a:lnTo>
                    <a:pt x="316" y="54"/>
                  </a:lnTo>
                  <a:lnTo>
                    <a:pt x="308" y="58"/>
                  </a:lnTo>
                  <a:lnTo>
                    <a:pt x="301" y="64"/>
                  </a:lnTo>
                  <a:lnTo>
                    <a:pt x="295" y="70"/>
                  </a:lnTo>
                  <a:lnTo>
                    <a:pt x="290" y="77"/>
                  </a:lnTo>
                  <a:lnTo>
                    <a:pt x="284" y="85"/>
                  </a:lnTo>
                  <a:lnTo>
                    <a:pt x="280" y="94"/>
                  </a:lnTo>
                  <a:lnTo>
                    <a:pt x="275" y="104"/>
                  </a:lnTo>
                  <a:lnTo>
                    <a:pt x="272" y="116"/>
                  </a:lnTo>
                  <a:lnTo>
                    <a:pt x="269" y="127"/>
                  </a:lnTo>
                  <a:lnTo>
                    <a:pt x="268" y="133"/>
                  </a:lnTo>
                  <a:lnTo>
                    <a:pt x="264" y="139"/>
                  </a:lnTo>
                  <a:lnTo>
                    <a:pt x="258" y="142"/>
                  </a:lnTo>
                  <a:lnTo>
                    <a:pt x="251" y="143"/>
                  </a:lnTo>
                  <a:lnTo>
                    <a:pt x="244" y="142"/>
                  </a:lnTo>
                  <a:lnTo>
                    <a:pt x="238" y="139"/>
                  </a:lnTo>
                  <a:lnTo>
                    <a:pt x="233" y="133"/>
                  </a:lnTo>
                  <a:lnTo>
                    <a:pt x="232" y="127"/>
                  </a:lnTo>
                  <a:lnTo>
                    <a:pt x="229" y="116"/>
                  </a:lnTo>
                  <a:lnTo>
                    <a:pt x="226" y="104"/>
                  </a:lnTo>
                  <a:lnTo>
                    <a:pt x="222" y="96"/>
                  </a:lnTo>
                  <a:lnTo>
                    <a:pt x="218" y="85"/>
                  </a:lnTo>
                  <a:lnTo>
                    <a:pt x="213" y="78"/>
                  </a:lnTo>
                  <a:lnTo>
                    <a:pt x="208" y="71"/>
                  </a:lnTo>
                  <a:lnTo>
                    <a:pt x="200" y="65"/>
                  </a:lnTo>
                  <a:lnTo>
                    <a:pt x="195" y="60"/>
                  </a:lnTo>
                  <a:lnTo>
                    <a:pt x="180" y="51"/>
                  </a:lnTo>
                  <a:lnTo>
                    <a:pt x="166" y="44"/>
                  </a:lnTo>
                  <a:lnTo>
                    <a:pt x="150" y="41"/>
                  </a:lnTo>
                  <a:lnTo>
                    <a:pt x="136" y="39"/>
                  </a:lnTo>
                  <a:close/>
                  <a:moveTo>
                    <a:pt x="251" y="456"/>
                  </a:moveTo>
                  <a:lnTo>
                    <a:pt x="246" y="456"/>
                  </a:lnTo>
                  <a:lnTo>
                    <a:pt x="241" y="454"/>
                  </a:lnTo>
                  <a:lnTo>
                    <a:pt x="228" y="446"/>
                  </a:lnTo>
                  <a:lnTo>
                    <a:pt x="199" y="427"/>
                  </a:lnTo>
                  <a:lnTo>
                    <a:pt x="180" y="414"/>
                  </a:lnTo>
                  <a:lnTo>
                    <a:pt x="160" y="398"/>
                  </a:lnTo>
                  <a:lnTo>
                    <a:pt x="138" y="381"/>
                  </a:lnTo>
                  <a:lnTo>
                    <a:pt x="117" y="361"/>
                  </a:lnTo>
                  <a:lnTo>
                    <a:pt x="95" y="339"/>
                  </a:lnTo>
                  <a:lnTo>
                    <a:pt x="74" y="316"/>
                  </a:lnTo>
                  <a:lnTo>
                    <a:pt x="53" y="290"/>
                  </a:lnTo>
                  <a:lnTo>
                    <a:pt x="36" y="264"/>
                  </a:lnTo>
                  <a:lnTo>
                    <a:pt x="29" y="251"/>
                  </a:lnTo>
                  <a:lnTo>
                    <a:pt x="22" y="237"/>
                  </a:lnTo>
                  <a:lnTo>
                    <a:pt x="15" y="222"/>
                  </a:lnTo>
                  <a:lnTo>
                    <a:pt x="10" y="208"/>
                  </a:lnTo>
                  <a:lnTo>
                    <a:pt x="6" y="192"/>
                  </a:lnTo>
                  <a:lnTo>
                    <a:pt x="3" y="178"/>
                  </a:lnTo>
                  <a:lnTo>
                    <a:pt x="0" y="162"/>
                  </a:lnTo>
                  <a:lnTo>
                    <a:pt x="0" y="146"/>
                  </a:lnTo>
                  <a:lnTo>
                    <a:pt x="0" y="129"/>
                  </a:lnTo>
                  <a:lnTo>
                    <a:pt x="3" y="113"/>
                  </a:lnTo>
                  <a:lnTo>
                    <a:pt x="6" y="97"/>
                  </a:lnTo>
                  <a:lnTo>
                    <a:pt x="12" y="84"/>
                  </a:lnTo>
                  <a:lnTo>
                    <a:pt x="17" y="71"/>
                  </a:lnTo>
                  <a:lnTo>
                    <a:pt x="25" y="58"/>
                  </a:lnTo>
                  <a:lnTo>
                    <a:pt x="33" y="48"/>
                  </a:lnTo>
                  <a:lnTo>
                    <a:pt x="42" y="38"/>
                  </a:lnTo>
                  <a:lnTo>
                    <a:pt x="52" y="29"/>
                  </a:lnTo>
                  <a:lnTo>
                    <a:pt x="64" y="22"/>
                  </a:lnTo>
                  <a:lnTo>
                    <a:pt x="74" y="16"/>
                  </a:lnTo>
                  <a:lnTo>
                    <a:pt x="87" y="11"/>
                  </a:lnTo>
                  <a:lnTo>
                    <a:pt x="98" y="6"/>
                  </a:lnTo>
                  <a:lnTo>
                    <a:pt x="111" y="3"/>
                  </a:lnTo>
                  <a:lnTo>
                    <a:pt x="123" y="2"/>
                  </a:lnTo>
                  <a:lnTo>
                    <a:pt x="136" y="0"/>
                  </a:lnTo>
                  <a:lnTo>
                    <a:pt x="151" y="2"/>
                  </a:lnTo>
                  <a:lnTo>
                    <a:pt x="169" y="5"/>
                  </a:lnTo>
                  <a:lnTo>
                    <a:pt x="185" y="11"/>
                  </a:lnTo>
                  <a:lnTo>
                    <a:pt x="199" y="16"/>
                  </a:lnTo>
                  <a:lnTo>
                    <a:pt x="215" y="26"/>
                  </a:lnTo>
                  <a:lnTo>
                    <a:pt x="228" y="36"/>
                  </a:lnTo>
                  <a:lnTo>
                    <a:pt x="241" y="51"/>
                  </a:lnTo>
                  <a:lnTo>
                    <a:pt x="251" y="65"/>
                  </a:lnTo>
                  <a:lnTo>
                    <a:pt x="262" y="49"/>
                  </a:lnTo>
                  <a:lnTo>
                    <a:pt x="274" y="36"/>
                  </a:lnTo>
                  <a:lnTo>
                    <a:pt x="288" y="25"/>
                  </a:lnTo>
                  <a:lnTo>
                    <a:pt x="304" y="16"/>
                  </a:lnTo>
                  <a:lnTo>
                    <a:pt x="320" y="9"/>
                  </a:lnTo>
                  <a:lnTo>
                    <a:pt x="336" y="3"/>
                  </a:lnTo>
                  <a:lnTo>
                    <a:pt x="352" y="0"/>
                  </a:lnTo>
                  <a:lnTo>
                    <a:pt x="369" y="0"/>
                  </a:lnTo>
                  <a:lnTo>
                    <a:pt x="382" y="0"/>
                  </a:lnTo>
                  <a:lnTo>
                    <a:pt x="393" y="2"/>
                  </a:lnTo>
                  <a:lnTo>
                    <a:pt x="406" y="5"/>
                  </a:lnTo>
                  <a:lnTo>
                    <a:pt x="418" y="9"/>
                  </a:lnTo>
                  <a:lnTo>
                    <a:pt x="429" y="13"/>
                  </a:lnTo>
                  <a:lnTo>
                    <a:pt x="439" y="19"/>
                  </a:lnTo>
                  <a:lnTo>
                    <a:pt x="451" y="26"/>
                  </a:lnTo>
                  <a:lnTo>
                    <a:pt x="460" y="34"/>
                  </a:lnTo>
                  <a:lnTo>
                    <a:pt x="470" y="44"/>
                  </a:lnTo>
                  <a:lnTo>
                    <a:pt x="477" y="54"/>
                  </a:lnTo>
                  <a:lnTo>
                    <a:pt x="484" y="64"/>
                  </a:lnTo>
                  <a:lnTo>
                    <a:pt x="490" y="77"/>
                  </a:lnTo>
                  <a:lnTo>
                    <a:pt x="496" y="90"/>
                  </a:lnTo>
                  <a:lnTo>
                    <a:pt x="498" y="104"/>
                  </a:lnTo>
                  <a:lnTo>
                    <a:pt x="501" y="119"/>
                  </a:lnTo>
                  <a:lnTo>
                    <a:pt x="501" y="134"/>
                  </a:lnTo>
                  <a:lnTo>
                    <a:pt x="501" y="150"/>
                  </a:lnTo>
                  <a:lnTo>
                    <a:pt x="500" y="165"/>
                  </a:lnTo>
                  <a:lnTo>
                    <a:pt x="496" y="179"/>
                  </a:lnTo>
                  <a:lnTo>
                    <a:pt x="493" y="193"/>
                  </a:lnTo>
                  <a:lnTo>
                    <a:pt x="487" y="208"/>
                  </a:lnTo>
                  <a:lnTo>
                    <a:pt x="481" y="221"/>
                  </a:lnTo>
                  <a:lnTo>
                    <a:pt x="474" y="235"/>
                  </a:lnTo>
                  <a:lnTo>
                    <a:pt x="465" y="250"/>
                  </a:lnTo>
                  <a:lnTo>
                    <a:pt x="448" y="276"/>
                  </a:lnTo>
                  <a:lnTo>
                    <a:pt x="428" y="302"/>
                  </a:lnTo>
                  <a:lnTo>
                    <a:pt x="408" y="326"/>
                  </a:lnTo>
                  <a:lnTo>
                    <a:pt x="386" y="349"/>
                  </a:lnTo>
                  <a:lnTo>
                    <a:pt x="363" y="371"/>
                  </a:lnTo>
                  <a:lnTo>
                    <a:pt x="341" y="391"/>
                  </a:lnTo>
                  <a:lnTo>
                    <a:pt x="321" y="408"/>
                  </a:lnTo>
                  <a:lnTo>
                    <a:pt x="303" y="422"/>
                  </a:lnTo>
                  <a:lnTo>
                    <a:pt x="275" y="444"/>
                  </a:lnTo>
                  <a:lnTo>
                    <a:pt x="262" y="453"/>
                  </a:lnTo>
                  <a:lnTo>
                    <a:pt x="257" y="456"/>
                  </a:lnTo>
                  <a:lnTo>
                    <a:pt x="251" y="4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596"/>
            <p:cNvSpPr>
              <a:spLocks noEditPoints="1"/>
            </p:cNvSpPr>
            <p:nvPr/>
          </p:nvSpPr>
          <p:spPr bwMode="auto">
            <a:xfrm>
              <a:off x="1260653" y="5947865"/>
              <a:ext cx="449901" cy="417869"/>
            </a:xfrm>
            <a:custGeom>
              <a:avLst/>
              <a:gdLst>
                <a:gd name="T0" fmla="*/ 399 w 927"/>
                <a:gd name="T1" fmla="*/ 42 h 860"/>
                <a:gd name="T2" fmla="*/ 318 w 927"/>
                <a:gd name="T3" fmla="*/ 59 h 860"/>
                <a:gd name="T4" fmla="*/ 243 w 927"/>
                <a:gd name="T5" fmla="*/ 88 h 860"/>
                <a:gd name="T6" fmla="*/ 179 w 927"/>
                <a:gd name="T7" fmla="*/ 128 h 860"/>
                <a:gd name="T8" fmla="*/ 124 w 927"/>
                <a:gd name="T9" fmla="*/ 176 h 860"/>
                <a:gd name="T10" fmla="*/ 81 w 927"/>
                <a:gd name="T11" fmla="*/ 233 h 860"/>
                <a:gd name="T12" fmla="*/ 52 w 927"/>
                <a:gd name="T13" fmla="*/ 295 h 860"/>
                <a:gd name="T14" fmla="*/ 39 w 927"/>
                <a:gd name="T15" fmla="*/ 364 h 860"/>
                <a:gd name="T16" fmla="*/ 43 w 927"/>
                <a:gd name="T17" fmla="*/ 432 h 860"/>
                <a:gd name="T18" fmla="*/ 63 w 927"/>
                <a:gd name="T19" fmla="*/ 498 h 860"/>
                <a:gd name="T20" fmla="*/ 99 w 927"/>
                <a:gd name="T21" fmla="*/ 559 h 860"/>
                <a:gd name="T22" fmla="*/ 150 w 927"/>
                <a:gd name="T23" fmla="*/ 612 h 860"/>
                <a:gd name="T24" fmla="*/ 171 w 927"/>
                <a:gd name="T25" fmla="*/ 642 h 860"/>
                <a:gd name="T26" fmla="*/ 307 w 927"/>
                <a:gd name="T27" fmla="*/ 701 h 860"/>
                <a:gd name="T28" fmla="*/ 425 w 927"/>
                <a:gd name="T29" fmla="*/ 723 h 860"/>
                <a:gd name="T30" fmla="*/ 529 w 927"/>
                <a:gd name="T31" fmla="*/ 720 h 860"/>
                <a:gd name="T32" fmla="*/ 609 w 927"/>
                <a:gd name="T33" fmla="*/ 704 h 860"/>
                <a:gd name="T34" fmla="*/ 684 w 927"/>
                <a:gd name="T35" fmla="*/ 676 h 860"/>
                <a:gd name="T36" fmla="*/ 749 w 927"/>
                <a:gd name="T37" fmla="*/ 635 h 860"/>
                <a:gd name="T38" fmla="*/ 804 w 927"/>
                <a:gd name="T39" fmla="*/ 586 h 860"/>
                <a:gd name="T40" fmla="*/ 847 w 927"/>
                <a:gd name="T41" fmla="*/ 530 h 860"/>
                <a:gd name="T42" fmla="*/ 876 w 927"/>
                <a:gd name="T43" fmla="*/ 467 h 860"/>
                <a:gd name="T44" fmla="*/ 889 w 927"/>
                <a:gd name="T45" fmla="*/ 399 h 860"/>
                <a:gd name="T46" fmla="*/ 884 w 927"/>
                <a:gd name="T47" fmla="*/ 330 h 860"/>
                <a:gd name="T48" fmla="*/ 863 w 927"/>
                <a:gd name="T49" fmla="*/ 264 h 860"/>
                <a:gd name="T50" fmla="*/ 827 w 927"/>
                <a:gd name="T51" fmla="*/ 203 h 860"/>
                <a:gd name="T52" fmla="*/ 778 w 927"/>
                <a:gd name="T53" fmla="*/ 151 h 860"/>
                <a:gd name="T54" fmla="*/ 717 w 927"/>
                <a:gd name="T55" fmla="*/ 107 h 860"/>
                <a:gd name="T56" fmla="*/ 648 w 927"/>
                <a:gd name="T57" fmla="*/ 72 h 860"/>
                <a:gd name="T58" fmla="*/ 570 w 927"/>
                <a:gd name="T59" fmla="*/ 49 h 860"/>
                <a:gd name="T60" fmla="*/ 485 w 927"/>
                <a:gd name="T61" fmla="*/ 39 h 860"/>
                <a:gd name="T62" fmla="*/ 46 w 927"/>
                <a:gd name="T63" fmla="*/ 857 h 860"/>
                <a:gd name="T64" fmla="*/ 35 w 927"/>
                <a:gd name="T65" fmla="*/ 843 h 860"/>
                <a:gd name="T66" fmla="*/ 114 w 927"/>
                <a:gd name="T67" fmla="*/ 632 h 860"/>
                <a:gd name="T68" fmla="*/ 62 w 927"/>
                <a:gd name="T69" fmla="*/ 573 h 860"/>
                <a:gd name="T70" fmla="*/ 26 w 927"/>
                <a:gd name="T71" fmla="*/ 507 h 860"/>
                <a:gd name="T72" fmla="*/ 6 w 927"/>
                <a:gd name="T73" fmla="*/ 436 h 860"/>
                <a:gd name="T74" fmla="*/ 2 w 927"/>
                <a:gd name="T75" fmla="*/ 362 h 860"/>
                <a:gd name="T76" fmla="*/ 14 w 927"/>
                <a:gd name="T77" fmla="*/ 287 h 860"/>
                <a:gd name="T78" fmla="*/ 46 w 927"/>
                <a:gd name="T79" fmla="*/ 216 h 860"/>
                <a:gd name="T80" fmla="*/ 92 w 927"/>
                <a:gd name="T81" fmla="*/ 153 h 860"/>
                <a:gd name="T82" fmla="*/ 153 w 927"/>
                <a:gd name="T83" fmla="*/ 99 h 860"/>
                <a:gd name="T84" fmla="*/ 223 w 927"/>
                <a:gd name="T85" fmla="*/ 55 h 860"/>
                <a:gd name="T86" fmla="*/ 305 w 927"/>
                <a:gd name="T87" fmla="*/ 23 h 860"/>
                <a:gd name="T88" fmla="*/ 393 w 927"/>
                <a:gd name="T89" fmla="*/ 4 h 860"/>
                <a:gd name="T90" fmla="*/ 488 w 927"/>
                <a:gd name="T91" fmla="*/ 0 h 860"/>
                <a:gd name="T92" fmla="*/ 579 w 927"/>
                <a:gd name="T93" fmla="*/ 12 h 860"/>
                <a:gd name="T94" fmla="*/ 664 w 927"/>
                <a:gd name="T95" fmla="*/ 37 h 860"/>
                <a:gd name="T96" fmla="*/ 740 w 927"/>
                <a:gd name="T97" fmla="*/ 76 h 860"/>
                <a:gd name="T98" fmla="*/ 806 w 927"/>
                <a:gd name="T99" fmla="*/ 125 h 860"/>
                <a:gd name="T100" fmla="*/ 860 w 927"/>
                <a:gd name="T101" fmla="*/ 184 h 860"/>
                <a:gd name="T102" fmla="*/ 899 w 927"/>
                <a:gd name="T103" fmla="*/ 251 h 860"/>
                <a:gd name="T104" fmla="*/ 922 w 927"/>
                <a:gd name="T105" fmla="*/ 324 h 860"/>
                <a:gd name="T106" fmla="*/ 926 w 927"/>
                <a:gd name="T107" fmla="*/ 400 h 860"/>
                <a:gd name="T108" fmla="*/ 913 w 927"/>
                <a:gd name="T109" fmla="*/ 477 h 860"/>
                <a:gd name="T110" fmla="*/ 881 w 927"/>
                <a:gd name="T111" fmla="*/ 547 h 860"/>
                <a:gd name="T112" fmla="*/ 835 w 927"/>
                <a:gd name="T113" fmla="*/ 609 h 860"/>
                <a:gd name="T114" fmla="*/ 775 w 927"/>
                <a:gd name="T115" fmla="*/ 664 h 860"/>
                <a:gd name="T116" fmla="*/ 704 w 927"/>
                <a:gd name="T117" fmla="*/ 709 h 860"/>
                <a:gd name="T118" fmla="*/ 624 w 927"/>
                <a:gd name="T119" fmla="*/ 740 h 860"/>
                <a:gd name="T120" fmla="*/ 534 w 927"/>
                <a:gd name="T121" fmla="*/ 759 h 860"/>
                <a:gd name="T122" fmla="*/ 425 w 927"/>
                <a:gd name="T123" fmla="*/ 762 h 860"/>
                <a:gd name="T124" fmla="*/ 61 w 927"/>
                <a:gd name="T125" fmla="*/ 857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27" h="860">
                  <a:moveTo>
                    <a:pt x="464" y="39"/>
                  </a:moveTo>
                  <a:lnTo>
                    <a:pt x="442" y="39"/>
                  </a:lnTo>
                  <a:lnTo>
                    <a:pt x="421" y="40"/>
                  </a:lnTo>
                  <a:lnTo>
                    <a:pt x="399" y="42"/>
                  </a:lnTo>
                  <a:lnTo>
                    <a:pt x="379" y="45"/>
                  </a:lnTo>
                  <a:lnTo>
                    <a:pt x="357" y="49"/>
                  </a:lnTo>
                  <a:lnTo>
                    <a:pt x="337" y="53"/>
                  </a:lnTo>
                  <a:lnTo>
                    <a:pt x="318" y="59"/>
                  </a:lnTo>
                  <a:lnTo>
                    <a:pt x="298" y="65"/>
                  </a:lnTo>
                  <a:lnTo>
                    <a:pt x="279" y="72"/>
                  </a:lnTo>
                  <a:lnTo>
                    <a:pt x="262" y="79"/>
                  </a:lnTo>
                  <a:lnTo>
                    <a:pt x="243" y="88"/>
                  </a:lnTo>
                  <a:lnTo>
                    <a:pt x="226" y="96"/>
                  </a:lnTo>
                  <a:lnTo>
                    <a:pt x="210" y="107"/>
                  </a:lnTo>
                  <a:lnTo>
                    <a:pt x="194" y="117"/>
                  </a:lnTo>
                  <a:lnTo>
                    <a:pt x="179" y="128"/>
                  </a:lnTo>
                  <a:lnTo>
                    <a:pt x="164" y="140"/>
                  </a:lnTo>
                  <a:lnTo>
                    <a:pt x="150" y="151"/>
                  </a:lnTo>
                  <a:lnTo>
                    <a:pt x="137" y="163"/>
                  </a:lnTo>
                  <a:lnTo>
                    <a:pt x="124" y="176"/>
                  </a:lnTo>
                  <a:lnTo>
                    <a:pt x="112" y="190"/>
                  </a:lnTo>
                  <a:lnTo>
                    <a:pt x="101" y="203"/>
                  </a:lnTo>
                  <a:lnTo>
                    <a:pt x="91" y="217"/>
                  </a:lnTo>
                  <a:lnTo>
                    <a:pt x="81" y="233"/>
                  </a:lnTo>
                  <a:lnTo>
                    <a:pt x="72" y="248"/>
                  </a:lnTo>
                  <a:lnTo>
                    <a:pt x="65" y="264"/>
                  </a:lnTo>
                  <a:lnTo>
                    <a:pt x="58" y="279"/>
                  </a:lnTo>
                  <a:lnTo>
                    <a:pt x="52" y="295"/>
                  </a:lnTo>
                  <a:lnTo>
                    <a:pt x="48" y="313"/>
                  </a:lnTo>
                  <a:lnTo>
                    <a:pt x="43" y="330"/>
                  </a:lnTo>
                  <a:lnTo>
                    <a:pt x="42" y="347"/>
                  </a:lnTo>
                  <a:lnTo>
                    <a:pt x="39" y="364"/>
                  </a:lnTo>
                  <a:lnTo>
                    <a:pt x="39" y="382"/>
                  </a:lnTo>
                  <a:lnTo>
                    <a:pt x="39" y="399"/>
                  </a:lnTo>
                  <a:lnTo>
                    <a:pt x="42" y="416"/>
                  </a:lnTo>
                  <a:lnTo>
                    <a:pt x="43" y="432"/>
                  </a:lnTo>
                  <a:lnTo>
                    <a:pt x="48" y="449"/>
                  </a:lnTo>
                  <a:lnTo>
                    <a:pt x="52" y="465"/>
                  </a:lnTo>
                  <a:lnTo>
                    <a:pt x="58" y="483"/>
                  </a:lnTo>
                  <a:lnTo>
                    <a:pt x="63" y="498"/>
                  </a:lnTo>
                  <a:lnTo>
                    <a:pt x="72" y="514"/>
                  </a:lnTo>
                  <a:lnTo>
                    <a:pt x="81" y="529"/>
                  </a:lnTo>
                  <a:lnTo>
                    <a:pt x="89" y="544"/>
                  </a:lnTo>
                  <a:lnTo>
                    <a:pt x="99" y="559"/>
                  </a:lnTo>
                  <a:lnTo>
                    <a:pt x="111" y="573"/>
                  </a:lnTo>
                  <a:lnTo>
                    <a:pt x="124" y="586"/>
                  </a:lnTo>
                  <a:lnTo>
                    <a:pt x="137" y="599"/>
                  </a:lnTo>
                  <a:lnTo>
                    <a:pt x="150" y="612"/>
                  </a:lnTo>
                  <a:lnTo>
                    <a:pt x="166" y="625"/>
                  </a:lnTo>
                  <a:lnTo>
                    <a:pt x="170" y="631"/>
                  </a:lnTo>
                  <a:lnTo>
                    <a:pt x="171" y="637"/>
                  </a:lnTo>
                  <a:lnTo>
                    <a:pt x="171" y="642"/>
                  </a:lnTo>
                  <a:lnTo>
                    <a:pt x="170" y="650"/>
                  </a:lnTo>
                  <a:lnTo>
                    <a:pt x="95" y="799"/>
                  </a:lnTo>
                  <a:lnTo>
                    <a:pt x="300" y="703"/>
                  </a:lnTo>
                  <a:lnTo>
                    <a:pt x="307" y="701"/>
                  </a:lnTo>
                  <a:lnTo>
                    <a:pt x="314" y="703"/>
                  </a:lnTo>
                  <a:lnTo>
                    <a:pt x="350" y="712"/>
                  </a:lnTo>
                  <a:lnTo>
                    <a:pt x="387" y="719"/>
                  </a:lnTo>
                  <a:lnTo>
                    <a:pt x="425" y="723"/>
                  </a:lnTo>
                  <a:lnTo>
                    <a:pt x="464" y="724"/>
                  </a:lnTo>
                  <a:lnTo>
                    <a:pt x="485" y="724"/>
                  </a:lnTo>
                  <a:lnTo>
                    <a:pt x="507" y="723"/>
                  </a:lnTo>
                  <a:lnTo>
                    <a:pt x="529" y="720"/>
                  </a:lnTo>
                  <a:lnTo>
                    <a:pt x="549" y="717"/>
                  </a:lnTo>
                  <a:lnTo>
                    <a:pt x="570" y="714"/>
                  </a:lnTo>
                  <a:lnTo>
                    <a:pt x="590" y="709"/>
                  </a:lnTo>
                  <a:lnTo>
                    <a:pt x="609" y="704"/>
                  </a:lnTo>
                  <a:lnTo>
                    <a:pt x="629" y="697"/>
                  </a:lnTo>
                  <a:lnTo>
                    <a:pt x="648" y="691"/>
                  </a:lnTo>
                  <a:lnTo>
                    <a:pt x="667" y="683"/>
                  </a:lnTo>
                  <a:lnTo>
                    <a:pt x="684" y="676"/>
                  </a:lnTo>
                  <a:lnTo>
                    <a:pt x="701" y="665"/>
                  </a:lnTo>
                  <a:lnTo>
                    <a:pt x="717" y="657"/>
                  </a:lnTo>
                  <a:lnTo>
                    <a:pt x="734" y="647"/>
                  </a:lnTo>
                  <a:lnTo>
                    <a:pt x="749" y="635"/>
                  </a:lnTo>
                  <a:lnTo>
                    <a:pt x="765" y="624"/>
                  </a:lnTo>
                  <a:lnTo>
                    <a:pt x="778" y="612"/>
                  </a:lnTo>
                  <a:lnTo>
                    <a:pt x="792" y="599"/>
                  </a:lnTo>
                  <a:lnTo>
                    <a:pt x="804" y="586"/>
                  </a:lnTo>
                  <a:lnTo>
                    <a:pt x="817" y="573"/>
                  </a:lnTo>
                  <a:lnTo>
                    <a:pt x="827" y="559"/>
                  </a:lnTo>
                  <a:lnTo>
                    <a:pt x="837" y="544"/>
                  </a:lnTo>
                  <a:lnTo>
                    <a:pt x="847" y="530"/>
                  </a:lnTo>
                  <a:lnTo>
                    <a:pt x="855" y="516"/>
                  </a:lnTo>
                  <a:lnTo>
                    <a:pt x="863" y="500"/>
                  </a:lnTo>
                  <a:lnTo>
                    <a:pt x="870" y="484"/>
                  </a:lnTo>
                  <a:lnTo>
                    <a:pt x="876" y="467"/>
                  </a:lnTo>
                  <a:lnTo>
                    <a:pt x="880" y="451"/>
                  </a:lnTo>
                  <a:lnTo>
                    <a:pt x="884" y="434"/>
                  </a:lnTo>
                  <a:lnTo>
                    <a:pt x="887" y="416"/>
                  </a:lnTo>
                  <a:lnTo>
                    <a:pt x="889" y="399"/>
                  </a:lnTo>
                  <a:lnTo>
                    <a:pt x="889" y="382"/>
                  </a:lnTo>
                  <a:lnTo>
                    <a:pt x="889" y="364"/>
                  </a:lnTo>
                  <a:lnTo>
                    <a:pt x="887" y="347"/>
                  </a:lnTo>
                  <a:lnTo>
                    <a:pt x="884" y="330"/>
                  </a:lnTo>
                  <a:lnTo>
                    <a:pt x="880" y="313"/>
                  </a:lnTo>
                  <a:lnTo>
                    <a:pt x="876" y="295"/>
                  </a:lnTo>
                  <a:lnTo>
                    <a:pt x="870" y="279"/>
                  </a:lnTo>
                  <a:lnTo>
                    <a:pt x="863" y="264"/>
                  </a:lnTo>
                  <a:lnTo>
                    <a:pt x="855" y="248"/>
                  </a:lnTo>
                  <a:lnTo>
                    <a:pt x="847" y="233"/>
                  </a:lnTo>
                  <a:lnTo>
                    <a:pt x="837" y="217"/>
                  </a:lnTo>
                  <a:lnTo>
                    <a:pt x="827" y="203"/>
                  </a:lnTo>
                  <a:lnTo>
                    <a:pt x="817" y="190"/>
                  </a:lnTo>
                  <a:lnTo>
                    <a:pt x="804" y="176"/>
                  </a:lnTo>
                  <a:lnTo>
                    <a:pt x="792" y="163"/>
                  </a:lnTo>
                  <a:lnTo>
                    <a:pt x="778" y="151"/>
                  </a:lnTo>
                  <a:lnTo>
                    <a:pt x="765" y="140"/>
                  </a:lnTo>
                  <a:lnTo>
                    <a:pt x="749" y="128"/>
                  </a:lnTo>
                  <a:lnTo>
                    <a:pt x="734" y="117"/>
                  </a:lnTo>
                  <a:lnTo>
                    <a:pt x="717" y="107"/>
                  </a:lnTo>
                  <a:lnTo>
                    <a:pt x="701" y="96"/>
                  </a:lnTo>
                  <a:lnTo>
                    <a:pt x="684" y="88"/>
                  </a:lnTo>
                  <a:lnTo>
                    <a:pt x="667" y="79"/>
                  </a:lnTo>
                  <a:lnTo>
                    <a:pt x="648" y="72"/>
                  </a:lnTo>
                  <a:lnTo>
                    <a:pt x="629" y="65"/>
                  </a:lnTo>
                  <a:lnTo>
                    <a:pt x="609" y="59"/>
                  </a:lnTo>
                  <a:lnTo>
                    <a:pt x="590" y="53"/>
                  </a:lnTo>
                  <a:lnTo>
                    <a:pt x="570" y="49"/>
                  </a:lnTo>
                  <a:lnTo>
                    <a:pt x="549" y="45"/>
                  </a:lnTo>
                  <a:lnTo>
                    <a:pt x="529" y="42"/>
                  </a:lnTo>
                  <a:lnTo>
                    <a:pt x="507" y="40"/>
                  </a:lnTo>
                  <a:lnTo>
                    <a:pt x="485" y="39"/>
                  </a:lnTo>
                  <a:lnTo>
                    <a:pt x="464" y="39"/>
                  </a:lnTo>
                  <a:close/>
                  <a:moveTo>
                    <a:pt x="53" y="860"/>
                  </a:moveTo>
                  <a:lnTo>
                    <a:pt x="49" y="858"/>
                  </a:lnTo>
                  <a:lnTo>
                    <a:pt x="46" y="857"/>
                  </a:lnTo>
                  <a:lnTo>
                    <a:pt x="42" y="856"/>
                  </a:lnTo>
                  <a:lnTo>
                    <a:pt x="39" y="853"/>
                  </a:lnTo>
                  <a:lnTo>
                    <a:pt x="36" y="848"/>
                  </a:lnTo>
                  <a:lnTo>
                    <a:pt x="35" y="843"/>
                  </a:lnTo>
                  <a:lnTo>
                    <a:pt x="35" y="837"/>
                  </a:lnTo>
                  <a:lnTo>
                    <a:pt x="36" y="831"/>
                  </a:lnTo>
                  <a:lnTo>
                    <a:pt x="128" y="645"/>
                  </a:lnTo>
                  <a:lnTo>
                    <a:pt x="114" y="632"/>
                  </a:lnTo>
                  <a:lnTo>
                    <a:pt x="99" y="618"/>
                  </a:lnTo>
                  <a:lnTo>
                    <a:pt x="86" y="603"/>
                  </a:lnTo>
                  <a:lnTo>
                    <a:pt x="74" y="588"/>
                  </a:lnTo>
                  <a:lnTo>
                    <a:pt x="62" y="573"/>
                  </a:lnTo>
                  <a:lnTo>
                    <a:pt x="52" y="557"/>
                  </a:lnTo>
                  <a:lnTo>
                    <a:pt x="42" y="540"/>
                  </a:lnTo>
                  <a:lnTo>
                    <a:pt x="33" y="524"/>
                  </a:lnTo>
                  <a:lnTo>
                    <a:pt x="26" y="507"/>
                  </a:lnTo>
                  <a:lnTo>
                    <a:pt x="19" y="490"/>
                  </a:lnTo>
                  <a:lnTo>
                    <a:pt x="13" y="472"/>
                  </a:lnTo>
                  <a:lnTo>
                    <a:pt x="9" y="455"/>
                  </a:lnTo>
                  <a:lnTo>
                    <a:pt x="6" y="436"/>
                  </a:lnTo>
                  <a:lnTo>
                    <a:pt x="3" y="419"/>
                  </a:lnTo>
                  <a:lnTo>
                    <a:pt x="2" y="400"/>
                  </a:lnTo>
                  <a:lnTo>
                    <a:pt x="0" y="382"/>
                  </a:lnTo>
                  <a:lnTo>
                    <a:pt x="2" y="362"/>
                  </a:lnTo>
                  <a:lnTo>
                    <a:pt x="3" y="343"/>
                  </a:lnTo>
                  <a:lnTo>
                    <a:pt x="6" y="324"/>
                  </a:lnTo>
                  <a:lnTo>
                    <a:pt x="10" y="305"/>
                  </a:lnTo>
                  <a:lnTo>
                    <a:pt x="14" y="287"/>
                  </a:lnTo>
                  <a:lnTo>
                    <a:pt x="22" y="268"/>
                  </a:lnTo>
                  <a:lnTo>
                    <a:pt x="29" y="251"/>
                  </a:lnTo>
                  <a:lnTo>
                    <a:pt x="38" y="233"/>
                  </a:lnTo>
                  <a:lnTo>
                    <a:pt x="46" y="216"/>
                  </a:lnTo>
                  <a:lnTo>
                    <a:pt x="56" y="200"/>
                  </a:lnTo>
                  <a:lnTo>
                    <a:pt x="68" y="184"/>
                  </a:lnTo>
                  <a:lnTo>
                    <a:pt x="79" y="169"/>
                  </a:lnTo>
                  <a:lnTo>
                    <a:pt x="92" y="153"/>
                  </a:lnTo>
                  <a:lnTo>
                    <a:pt x="107" y="138"/>
                  </a:lnTo>
                  <a:lnTo>
                    <a:pt x="121" y="125"/>
                  </a:lnTo>
                  <a:lnTo>
                    <a:pt x="137" y="112"/>
                  </a:lnTo>
                  <a:lnTo>
                    <a:pt x="153" y="99"/>
                  </a:lnTo>
                  <a:lnTo>
                    <a:pt x="169" y="86"/>
                  </a:lnTo>
                  <a:lnTo>
                    <a:pt x="187" y="76"/>
                  </a:lnTo>
                  <a:lnTo>
                    <a:pt x="205" y="65"/>
                  </a:lnTo>
                  <a:lnTo>
                    <a:pt x="223" y="55"/>
                  </a:lnTo>
                  <a:lnTo>
                    <a:pt x="243" y="46"/>
                  </a:lnTo>
                  <a:lnTo>
                    <a:pt x="264" y="37"/>
                  </a:lnTo>
                  <a:lnTo>
                    <a:pt x="284" y="30"/>
                  </a:lnTo>
                  <a:lnTo>
                    <a:pt x="305" y="23"/>
                  </a:lnTo>
                  <a:lnTo>
                    <a:pt x="326" y="17"/>
                  </a:lnTo>
                  <a:lnTo>
                    <a:pt x="349" y="12"/>
                  </a:lnTo>
                  <a:lnTo>
                    <a:pt x="370" y="7"/>
                  </a:lnTo>
                  <a:lnTo>
                    <a:pt x="393" y="4"/>
                  </a:lnTo>
                  <a:lnTo>
                    <a:pt x="416" y="1"/>
                  </a:lnTo>
                  <a:lnTo>
                    <a:pt x="441" y="0"/>
                  </a:lnTo>
                  <a:lnTo>
                    <a:pt x="464" y="0"/>
                  </a:lnTo>
                  <a:lnTo>
                    <a:pt x="488" y="0"/>
                  </a:lnTo>
                  <a:lnTo>
                    <a:pt x="511" y="1"/>
                  </a:lnTo>
                  <a:lnTo>
                    <a:pt x="534" y="4"/>
                  </a:lnTo>
                  <a:lnTo>
                    <a:pt x="557" y="7"/>
                  </a:lnTo>
                  <a:lnTo>
                    <a:pt x="579" y="12"/>
                  </a:lnTo>
                  <a:lnTo>
                    <a:pt x="602" y="17"/>
                  </a:lnTo>
                  <a:lnTo>
                    <a:pt x="624" y="23"/>
                  </a:lnTo>
                  <a:lnTo>
                    <a:pt x="644" y="30"/>
                  </a:lnTo>
                  <a:lnTo>
                    <a:pt x="664" y="37"/>
                  </a:lnTo>
                  <a:lnTo>
                    <a:pt x="684" y="46"/>
                  </a:lnTo>
                  <a:lnTo>
                    <a:pt x="704" y="55"/>
                  </a:lnTo>
                  <a:lnTo>
                    <a:pt x="723" y="65"/>
                  </a:lnTo>
                  <a:lnTo>
                    <a:pt x="740" y="76"/>
                  </a:lnTo>
                  <a:lnTo>
                    <a:pt x="759" y="86"/>
                  </a:lnTo>
                  <a:lnTo>
                    <a:pt x="775" y="99"/>
                  </a:lnTo>
                  <a:lnTo>
                    <a:pt x="792" y="112"/>
                  </a:lnTo>
                  <a:lnTo>
                    <a:pt x="806" y="125"/>
                  </a:lnTo>
                  <a:lnTo>
                    <a:pt x="821" y="138"/>
                  </a:lnTo>
                  <a:lnTo>
                    <a:pt x="835" y="153"/>
                  </a:lnTo>
                  <a:lnTo>
                    <a:pt x="848" y="169"/>
                  </a:lnTo>
                  <a:lnTo>
                    <a:pt x="860" y="184"/>
                  </a:lnTo>
                  <a:lnTo>
                    <a:pt x="871" y="200"/>
                  </a:lnTo>
                  <a:lnTo>
                    <a:pt x="881" y="216"/>
                  </a:lnTo>
                  <a:lnTo>
                    <a:pt x="891" y="233"/>
                  </a:lnTo>
                  <a:lnTo>
                    <a:pt x="899" y="251"/>
                  </a:lnTo>
                  <a:lnTo>
                    <a:pt x="906" y="268"/>
                  </a:lnTo>
                  <a:lnTo>
                    <a:pt x="913" y="287"/>
                  </a:lnTo>
                  <a:lnTo>
                    <a:pt x="917" y="305"/>
                  </a:lnTo>
                  <a:lnTo>
                    <a:pt x="922" y="324"/>
                  </a:lnTo>
                  <a:lnTo>
                    <a:pt x="925" y="343"/>
                  </a:lnTo>
                  <a:lnTo>
                    <a:pt x="926" y="362"/>
                  </a:lnTo>
                  <a:lnTo>
                    <a:pt x="927" y="382"/>
                  </a:lnTo>
                  <a:lnTo>
                    <a:pt x="926" y="400"/>
                  </a:lnTo>
                  <a:lnTo>
                    <a:pt x="925" y="421"/>
                  </a:lnTo>
                  <a:lnTo>
                    <a:pt x="922" y="439"/>
                  </a:lnTo>
                  <a:lnTo>
                    <a:pt x="917" y="458"/>
                  </a:lnTo>
                  <a:lnTo>
                    <a:pt x="913" y="477"/>
                  </a:lnTo>
                  <a:lnTo>
                    <a:pt x="906" y="495"/>
                  </a:lnTo>
                  <a:lnTo>
                    <a:pt x="899" y="513"/>
                  </a:lnTo>
                  <a:lnTo>
                    <a:pt x="891" y="530"/>
                  </a:lnTo>
                  <a:lnTo>
                    <a:pt x="881" y="547"/>
                  </a:lnTo>
                  <a:lnTo>
                    <a:pt x="871" y="563"/>
                  </a:lnTo>
                  <a:lnTo>
                    <a:pt x="860" y="579"/>
                  </a:lnTo>
                  <a:lnTo>
                    <a:pt x="848" y="595"/>
                  </a:lnTo>
                  <a:lnTo>
                    <a:pt x="835" y="609"/>
                  </a:lnTo>
                  <a:lnTo>
                    <a:pt x="821" y="624"/>
                  </a:lnTo>
                  <a:lnTo>
                    <a:pt x="806" y="638"/>
                  </a:lnTo>
                  <a:lnTo>
                    <a:pt x="792" y="651"/>
                  </a:lnTo>
                  <a:lnTo>
                    <a:pt x="775" y="664"/>
                  </a:lnTo>
                  <a:lnTo>
                    <a:pt x="759" y="676"/>
                  </a:lnTo>
                  <a:lnTo>
                    <a:pt x="740" y="687"/>
                  </a:lnTo>
                  <a:lnTo>
                    <a:pt x="723" y="699"/>
                  </a:lnTo>
                  <a:lnTo>
                    <a:pt x="704" y="709"/>
                  </a:lnTo>
                  <a:lnTo>
                    <a:pt x="684" y="717"/>
                  </a:lnTo>
                  <a:lnTo>
                    <a:pt x="664" y="726"/>
                  </a:lnTo>
                  <a:lnTo>
                    <a:pt x="644" y="733"/>
                  </a:lnTo>
                  <a:lnTo>
                    <a:pt x="624" y="740"/>
                  </a:lnTo>
                  <a:lnTo>
                    <a:pt x="602" y="746"/>
                  </a:lnTo>
                  <a:lnTo>
                    <a:pt x="579" y="752"/>
                  </a:lnTo>
                  <a:lnTo>
                    <a:pt x="557" y="756"/>
                  </a:lnTo>
                  <a:lnTo>
                    <a:pt x="534" y="759"/>
                  </a:lnTo>
                  <a:lnTo>
                    <a:pt x="511" y="762"/>
                  </a:lnTo>
                  <a:lnTo>
                    <a:pt x="488" y="763"/>
                  </a:lnTo>
                  <a:lnTo>
                    <a:pt x="464" y="763"/>
                  </a:lnTo>
                  <a:lnTo>
                    <a:pt x="425" y="762"/>
                  </a:lnTo>
                  <a:lnTo>
                    <a:pt x="386" y="758"/>
                  </a:lnTo>
                  <a:lnTo>
                    <a:pt x="347" y="750"/>
                  </a:lnTo>
                  <a:lnTo>
                    <a:pt x="310" y="742"/>
                  </a:lnTo>
                  <a:lnTo>
                    <a:pt x="61" y="857"/>
                  </a:lnTo>
                  <a:lnTo>
                    <a:pt x="58" y="858"/>
                  </a:lnTo>
                  <a:lnTo>
                    <a:pt x="53" y="8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755591956"/>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7CB976B7-0494-4AFA-A50A-B82A8970A208}"/>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7779" b="7779"/>
          <a:stretch>
            <a:fillRect/>
          </a:stretch>
        </p:blipFill>
        <p:spPr/>
      </p:pic>
      <p:sp>
        <p:nvSpPr>
          <p:cNvPr id="19" name="Freeform 18"/>
          <p:cNvSpPr/>
          <p:nvPr/>
        </p:nvSpPr>
        <p:spPr>
          <a:xfrm>
            <a:off x="0" y="0"/>
            <a:ext cx="12192000" cy="5588000"/>
          </a:xfrm>
          <a:custGeom>
            <a:avLst/>
            <a:gdLst>
              <a:gd name="connsiteX0" fmla="*/ 0 w 12192000"/>
              <a:gd name="connsiteY0" fmla="*/ 6853766 h 6858000"/>
              <a:gd name="connsiteX1" fmla="*/ 679 w 12192000"/>
              <a:gd name="connsiteY1" fmla="*/ 6858000 h 6858000"/>
              <a:gd name="connsiteX2" fmla="*/ 0 w 12192000"/>
              <a:gd name="connsiteY2" fmla="*/ 6858000 h 6858000"/>
              <a:gd name="connsiteX3" fmla="*/ 0 w 12192000"/>
              <a:gd name="connsiteY3" fmla="*/ 0 h 6858000"/>
              <a:gd name="connsiteX4" fmla="*/ 12192000 w 12192000"/>
              <a:gd name="connsiteY4" fmla="*/ 0 h 6858000"/>
              <a:gd name="connsiteX5" fmla="*/ 12192000 w 12192000"/>
              <a:gd name="connsiteY5" fmla="*/ 6858000 h 6858000"/>
              <a:gd name="connsiteX6" fmla="*/ 12191317 w 12192000"/>
              <a:gd name="connsiteY6" fmla="*/ 6858000 h 6858000"/>
              <a:gd name="connsiteX7" fmla="*/ 12191998 w 12192000"/>
              <a:gd name="connsiteY7" fmla="*/ 6853753 h 6858000"/>
              <a:gd name="connsiteX8" fmla="*/ 12191998 w 12192000"/>
              <a:gd name="connsiteY8" fmla="*/ 5618290 h 6858000"/>
              <a:gd name="connsiteX9" fmla="*/ 12127518 w 12192000"/>
              <a:gd name="connsiteY9" fmla="*/ 5617677 h 6858000"/>
              <a:gd name="connsiteX10" fmla="*/ 11737130 w 12192000"/>
              <a:gd name="connsiteY10" fmla="*/ 5659445 h 6858000"/>
              <a:gd name="connsiteX11" fmla="*/ 9140880 w 12192000"/>
              <a:gd name="connsiteY11" fmla="*/ 6563827 h 6858000"/>
              <a:gd name="connsiteX12" fmla="*/ 6392721 w 12192000"/>
              <a:gd name="connsiteY12" fmla="*/ 5470158 h 6858000"/>
              <a:gd name="connsiteX13" fmla="*/ 3822438 w 12192000"/>
              <a:gd name="connsiteY13" fmla="*/ 5899281 h 6858000"/>
              <a:gd name="connsiteX14" fmla="*/ 3722758 w 12192000"/>
              <a:gd name="connsiteY14" fmla="*/ 5895486 h 6858000"/>
              <a:gd name="connsiteX15" fmla="*/ 3623077 w 12192000"/>
              <a:gd name="connsiteY15" fmla="*/ 5899281 h 6858000"/>
              <a:gd name="connsiteX16" fmla="*/ 1052794 w 12192000"/>
              <a:gd name="connsiteY16" fmla="*/ 5470158 h 6858000"/>
              <a:gd name="connsiteX17" fmla="*/ 331328 w 12192000"/>
              <a:gd name="connsiteY17" fmla="*/ 5723739 h 6858000"/>
              <a:gd name="connsiteX18" fmla="*/ 0 w 12192000"/>
              <a:gd name="connsiteY18" fmla="*/ 589030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92000" h="6858000">
                <a:moveTo>
                  <a:pt x="0" y="6853766"/>
                </a:moveTo>
                <a:lnTo>
                  <a:pt x="679" y="6858000"/>
                </a:lnTo>
                <a:lnTo>
                  <a:pt x="0" y="6858000"/>
                </a:lnTo>
                <a:close/>
                <a:moveTo>
                  <a:pt x="0" y="0"/>
                </a:moveTo>
                <a:lnTo>
                  <a:pt x="12192000" y="0"/>
                </a:lnTo>
                <a:lnTo>
                  <a:pt x="12192000" y="6858000"/>
                </a:lnTo>
                <a:lnTo>
                  <a:pt x="12191317" y="6858000"/>
                </a:lnTo>
                <a:lnTo>
                  <a:pt x="12191998" y="6853753"/>
                </a:lnTo>
                <a:lnTo>
                  <a:pt x="12191998" y="5618290"/>
                </a:lnTo>
                <a:lnTo>
                  <a:pt x="12127518" y="5617677"/>
                </a:lnTo>
                <a:cubicBezTo>
                  <a:pt x="11986679" y="5620833"/>
                  <a:pt x="11855150" y="5633628"/>
                  <a:pt x="11737130" y="5659445"/>
                </a:cubicBezTo>
                <a:cubicBezTo>
                  <a:pt x="10792969" y="5865979"/>
                  <a:pt x="10031615" y="6595375"/>
                  <a:pt x="9140880" y="6563827"/>
                </a:cubicBezTo>
                <a:cubicBezTo>
                  <a:pt x="8250146" y="6532279"/>
                  <a:pt x="7381938" y="5676692"/>
                  <a:pt x="6392721" y="5470158"/>
                </a:cubicBezTo>
                <a:cubicBezTo>
                  <a:pt x="5588983" y="5302349"/>
                  <a:pt x="4514231" y="5879078"/>
                  <a:pt x="3822438" y="5899281"/>
                </a:cubicBezTo>
                <a:lnTo>
                  <a:pt x="3722758" y="5895486"/>
                </a:lnTo>
                <a:lnTo>
                  <a:pt x="3623077" y="5899281"/>
                </a:lnTo>
                <a:cubicBezTo>
                  <a:pt x="2931285" y="5879078"/>
                  <a:pt x="1856534" y="5302349"/>
                  <a:pt x="1052794" y="5470158"/>
                </a:cubicBezTo>
                <a:cubicBezTo>
                  <a:pt x="805490" y="5521791"/>
                  <a:pt x="565749" y="5613990"/>
                  <a:pt x="331328" y="5723739"/>
                </a:cubicBezTo>
                <a:lnTo>
                  <a:pt x="0" y="5890304"/>
                </a:lnTo>
                <a:close/>
              </a:path>
            </a:pathLst>
          </a:custGeom>
          <a:gradFill>
            <a:gsLst>
              <a:gs pos="100000">
                <a:schemeClr val="accent1">
                  <a:alpha val="90000"/>
                </a:schemeClr>
              </a:gs>
              <a:gs pos="0">
                <a:schemeClr val="accent2">
                  <a:alpha val="9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txBox="1">
            <a:spLocks/>
          </p:cNvSpPr>
          <p:nvPr/>
        </p:nvSpPr>
        <p:spPr>
          <a:xfrm>
            <a:off x="1333500" y="1638300"/>
            <a:ext cx="9525000" cy="8544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3200" b="1" spc="-151">
                <a:solidFill>
                  <a:schemeClr val="bg1"/>
                </a:solidFill>
                <a:latin typeface="Source Sans Pro" panose="020B0503030403020204" pitchFamily="34" charset="0"/>
                <a:ea typeface="Source Sans Pro" panose="020B0503030403020204" pitchFamily="34" charset="0"/>
                <a:cs typeface="Open Sans Light" panose="020B0306030504020204" pitchFamily="34" charset="0"/>
              </a:defRPr>
            </a:lvl1pPr>
          </a:lstStyle>
          <a:p>
            <a:pPr algn="ctr"/>
            <a:r>
              <a:rPr lang="en-US" sz="5400" dirty="0">
                <a:latin typeface="+mn-lt"/>
              </a:rPr>
              <a:t>THANK YOU</a:t>
            </a:r>
          </a:p>
        </p:txBody>
      </p:sp>
      <p:sp>
        <p:nvSpPr>
          <p:cNvPr id="7" name="Title 11"/>
          <p:cNvSpPr txBox="1">
            <a:spLocks/>
          </p:cNvSpPr>
          <p:nvPr/>
        </p:nvSpPr>
        <p:spPr>
          <a:xfrm>
            <a:off x="2584450" y="2492724"/>
            <a:ext cx="7023100" cy="424751"/>
          </a:xfrm>
          <a:prstGeom prst="rect">
            <a:avLst/>
          </a:prstGeom>
        </p:spPr>
        <p:txBody>
          <a:bodyPr vert="horz" wrap="square" lIns="91416" tIns="45708" rIns="91416" bIns="45708" rtlCol="0" anchor="ctr">
            <a:noAutofit/>
          </a:bodyPr>
          <a:lstStyle>
            <a:defPPr>
              <a:defRPr lang="en-US"/>
            </a:defPPr>
            <a:lvl1pPr algn="ctr">
              <a:lnSpc>
                <a:spcPct val="100000"/>
              </a:lnSpc>
              <a:spcBef>
                <a:spcPct val="0"/>
              </a:spcBef>
              <a:buNone/>
              <a:defRPr sz="2800" b="1">
                <a:solidFill>
                  <a:schemeClr val="tx1">
                    <a:lumMod val="95000"/>
                    <a:lumOff val="5000"/>
                  </a:schemeClr>
                </a:solidFill>
                <a:latin typeface="Freestyle Script" panose="030804020302050B0404" pitchFamily="66" charset="0"/>
                <a:ea typeface="Roboto" panose="02000000000000000000" pitchFamily="2" charset="0"/>
                <a:cs typeface="Lato" panose="020F0502020204030203" pitchFamily="34" charset="0"/>
              </a:defRPr>
            </a:lvl1pPr>
          </a:lstStyle>
          <a:p>
            <a:r>
              <a:rPr lang="en-US" sz="1400" b="0" spc="300" dirty="0">
                <a:solidFill>
                  <a:schemeClr val="bg1"/>
                </a:solidFill>
                <a:latin typeface="+mn-lt"/>
              </a:rPr>
              <a:t>Beautiful Presentation Template</a:t>
            </a:r>
          </a:p>
        </p:txBody>
      </p:sp>
      <p:sp>
        <p:nvSpPr>
          <p:cNvPr id="26" name="Rectangle 25"/>
          <p:cNvSpPr/>
          <p:nvPr/>
        </p:nvSpPr>
        <p:spPr>
          <a:xfrm>
            <a:off x="2746375" y="3006986"/>
            <a:ext cx="6699250" cy="646331"/>
          </a:xfrm>
          <a:prstGeom prst="rect">
            <a:avLst/>
          </a:prstGeom>
        </p:spPr>
        <p:txBody>
          <a:bodyPr wrap="square" anchor="ctr">
            <a:noAutofit/>
          </a:bodyPr>
          <a:lstStyle/>
          <a:p>
            <a:pPr algn="ctr">
              <a:buClr>
                <a:srgbClr val="E24848"/>
              </a:buClr>
              <a:defRPr/>
            </a:pPr>
            <a:r>
              <a:rPr lang="en-US" sz="1050" noProof="1">
                <a:solidFill>
                  <a:schemeClr val="bg1"/>
                </a:solidFill>
                <a:ea typeface="Open Sans Light" panose="020B0306030504020204" pitchFamily="34" charset="0"/>
                <a:cs typeface="Open Sans Light" panose="020B0306030504020204" pitchFamily="34" charset="0"/>
              </a:rPr>
              <a:t>Lorem ipsum dolor sit amet, consectetur adipiscing elit. Nulla imperdiet volutpat dui at fermentum. Lorem ipsum dolor sit amet, consectetur adipiscing elit. Nuldui at fermentumla imperdiet volutpat. Lorem ipsum dolor sit amet, </a:t>
            </a:r>
          </a:p>
        </p:txBody>
      </p:sp>
    </p:spTree>
    <p:extLst>
      <p:ext uri="{BB962C8B-B14F-4D97-AF65-F5344CB8AC3E}">
        <p14:creationId xmlns:p14="http://schemas.microsoft.com/office/powerpoint/2010/main" val="3651190808"/>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06A0B25D-9DF5-45F7-8537-FD49BD0556D3}"/>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11080" r="11080"/>
          <a:stretch>
            <a:fillRect/>
          </a:stretch>
        </p:blipFill>
        <p:spPr>
          <a:noFill/>
        </p:spPr>
      </p:pic>
      <p:sp>
        <p:nvSpPr>
          <p:cNvPr id="53" name="Freeform 52"/>
          <p:cNvSpPr/>
          <p:nvPr/>
        </p:nvSpPr>
        <p:spPr>
          <a:xfrm>
            <a:off x="0" y="-25400"/>
            <a:ext cx="8007932" cy="6896227"/>
          </a:xfrm>
          <a:custGeom>
            <a:avLst/>
            <a:gdLst>
              <a:gd name="connsiteX0" fmla="*/ 4496241 w 8223593"/>
              <a:gd name="connsiteY0" fmla="*/ 0 h 6876803"/>
              <a:gd name="connsiteX1" fmla="*/ 6423323 w 8223593"/>
              <a:gd name="connsiteY1" fmla="*/ 0 h 6876803"/>
              <a:gd name="connsiteX2" fmla="*/ 6068906 w 8223593"/>
              <a:gd name="connsiteY2" fmla="*/ 1941978 h 6876803"/>
              <a:gd name="connsiteX3" fmla="*/ 8221231 w 8223593"/>
              <a:gd name="connsiteY3" fmla="*/ 3481071 h 6876803"/>
              <a:gd name="connsiteX4" fmla="*/ 5868307 w 8223593"/>
              <a:gd name="connsiteY4" fmla="*/ 4893507 h 6876803"/>
              <a:gd name="connsiteX5" fmla="*/ 5812495 w 8223593"/>
              <a:gd name="connsiteY5" fmla="*/ 4936249 h 6876803"/>
              <a:gd name="connsiteX6" fmla="*/ 5812495 w 8223593"/>
              <a:gd name="connsiteY6" fmla="*/ 5753814 h 6876803"/>
              <a:gd name="connsiteX7" fmla="*/ 5893382 w 8223593"/>
              <a:gd name="connsiteY7" fmla="*/ 5834499 h 6876803"/>
              <a:gd name="connsiteX8" fmla="*/ 6423324 w 8223593"/>
              <a:gd name="connsiteY8" fmla="*/ 6876803 h 6876803"/>
              <a:gd name="connsiteX9" fmla="*/ 5812495 w 8223593"/>
              <a:gd name="connsiteY9" fmla="*/ 6876803 h 6876803"/>
              <a:gd name="connsiteX10" fmla="*/ 5812495 w 8223593"/>
              <a:gd name="connsiteY10" fmla="*/ 6876803 h 6876803"/>
              <a:gd name="connsiteX11" fmla="*/ 0 w 8223593"/>
              <a:gd name="connsiteY11" fmla="*/ 6876803 h 6876803"/>
              <a:gd name="connsiteX12" fmla="*/ 0 w 8223593"/>
              <a:gd name="connsiteY12" fmla="*/ 6104 h 6876803"/>
              <a:gd name="connsiteX13" fmla="*/ 4496241 w 8223593"/>
              <a:gd name="connsiteY13" fmla="*/ 6104 h 6876803"/>
              <a:gd name="connsiteX0" fmla="*/ 4496241 w 8222020"/>
              <a:gd name="connsiteY0" fmla="*/ 0 h 6876803"/>
              <a:gd name="connsiteX1" fmla="*/ 6423323 w 8222020"/>
              <a:gd name="connsiteY1" fmla="*/ 0 h 6876803"/>
              <a:gd name="connsiteX2" fmla="*/ 6068906 w 8222020"/>
              <a:gd name="connsiteY2" fmla="*/ 1941978 h 6876803"/>
              <a:gd name="connsiteX3" fmla="*/ 8221231 w 8222020"/>
              <a:gd name="connsiteY3" fmla="*/ 3481071 h 6876803"/>
              <a:gd name="connsiteX4" fmla="*/ 5812495 w 8222020"/>
              <a:gd name="connsiteY4" fmla="*/ 4936249 h 6876803"/>
              <a:gd name="connsiteX5" fmla="*/ 5812495 w 8222020"/>
              <a:gd name="connsiteY5" fmla="*/ 5753814 h 6876803"/>
              <a:gd name="connsiteX6" fmla="*/ 5893382 w 8222020"/>
              <a:gd name="connsiteY6" fmla="*/ 5834499 h 6876803"/>
              <a:gd name="connsiteX7" fmla="*/ 6423324 w 8222020"/>
              <a:gd name="connsiteY7" fmla="*/ 6876803 h 6876803"/>
              <a:gd name="connsiteX8" fmla="*/ 5812495 w 8222020"/>
              <a:gd name="connsiteY8" fmla="*/ 6876803 h 6876803"/>
              <a:gd name="connsiteX9" fmla="*/ 5812495 w 8222020"/>
              <a:gd name="connsiteY9" fmla="*/ 6876803 h 6876803"/>
              <a:gd name="connsiteX10" fmla="*/ 0 w 8222020"/>
              <a:gd name="connsiteY10" fmla="*/ 6876803 h 6876803"/>
              <a:gd name="connsiteX11" fmla="*/ 0 w 8222020"/>
              <a:gd name="connsiteY11" fmla="*/ 6104 h 6876803"/>
              <a:gd name="connsiteX12" fmla="*/ 4496241 w 8222020"/>
              <a:gd name="connsiteY12" fmla="*/ 6104 h 6876803"/>
              <a:gd name="connsiteX13" fmla="*/ 4496241 w 8222020"/>
              <a:gd name="connsiteY13" fmla="*/ 0 h 6876803"/>
              <a:gd name="connsiteX0" fmla="*/ 4496241 w 8222020"/>
              <a:gd name="connsiteY0" fmla="*/ 0 h 6876803"/>
              <a:gd name="connsiteX1" fmla="*/ 6423323 w 8222020"/>
              <a:gd name="connsiteY1" fmla="*/ 0 h 6876803"/>
              <a:gd name="connsiteX2" fmla="*/ 6068906 w 8222020"/>
              <a:gd name="connsiteY2" fmla="*/ 1941978 h 6876803"/>
              <a:gd name="connsiteX3" fmla="*/ 8221231 w 8222020"/>
              <a:gd name="connsiteY3" fmla="*/ 3481071 h 6876803"/>
              <a:gd name="connsiteX4" fmla="*/ 5812495 w 8222020"/>
              <a:gd name="connsiteY4" fmla="*/ 5753814 h 6876803"/>
              <a:gd name="connsiteX5" fmla="*/ 5893382 w 8222020"/>
              <a:gd name="connsiteY5" fmla="*/ 5834499 h 6876803"/>
              <a:gd name="connsiteX6" fmla="*/ 6423324 w 8222020"/>
              <a:gd name="connsiteY6" fmla="*/ 6876803 h 6876803"/>
              <a:gd name="connsiteX7" fmla="*/ 5812495 w 8222020"/>
              <a:gd name="connsiteY7" fmla="*/ 6876803 h 6876803"/>
              <a:gd name="connsiteX8" fmla="*/ 5812495 w 8222020"/>
              <a:gd name="connsiteY8" fmla="*/ 6876803 h 6876803"/>
              <a:gd name="connsiteX9" fmla="*/ 0 w 8222020"/>
              <a:gd name="connsiteY9" fmla="*/ 6876803 h 6876803"/>
              <a:gd name="connsiteX10" fmla="*/ 0 w 8222020"/>
              <a:gd name="connsiteY10" fmla="*/ 6104 h 6876803"/>
              <a:gd name="connsiteX11" fmla="*/ 4496241 w 8222020"/>
              <a:gd name="connsiteY11" fmla="*/ 6104 h 6876803"/>
              <a:gd name="connsiteX12" fmla="*/ 4496241 w 8222020"/>
              <a:gd name="connsiteY12" fmla="*/ 0 h 6876803"/>
              <a:gd name="connsiteX0" fmla="*/ 4496241 w 8221606"/>
              <a:gd name="connsiteY0" fmla="*/ 0 h 6876803"/>
              <a:gd name="connsiteX1" fmla="*/ 6423323 w 8221606"/>
              <a:gd name="connsiteY1" fmla="*/ 0 h 6876803"/>
              <a:gd name="connsiteX2" fmla="*/ 6068906 w 8221606"/>
              <a:gd name="connsiteY2" fmla="*/ 1941978 h 6876803"/>
              <a:gd name="connsiteX3" fmla="*/ 8221231 w 8221606"/>
              <a:gd name="connsiteY3" fmla="*/ 3481071 h 6876803"/>
              <a:gd name="connsiteX4" fmla="*/ 5893382 w 8221606"/>
              <a:gd name="connsiteY4" fmla="*/ 5834499 h 6876803"/>
              <a:gd name="connsiteX5" fmla="*/ 6423324 w 8221606"/>
              <a:gd name="connsiteY5" fmla="*/ 6876803 h 6876803"/>
              <a:gd name="connsiteX6" fmla="*/ 5812495 w 8221606"/>
              <a:gd name="connsiteY6" fmla="*/ 6876803 h 6876803"/>
              <a:gd name="connsiteX7" fmla="*/ 5812495 w 8221606"/>
              <a:gd name="connsiteY7" fmla="*/ 6876803 h 6876803"/>
              <a:gd name="connsiteX8" fmla="*/ 0 w 8221606"/>
              <a:gd name="connsiteY8" fmla="*/ 6876803 h 6876803"/>
              <a:gd name="connsiteX9" fmla="*/ 0 w 8221606"/>
              <a:gd name="connsiteY9" fmla="*/ 6104 h 6876803"/>
              <a:gd name="connsiteX10" fmla="*/ 4496241 w 8221606"/>
              <a:gd name="connsiteY10" fmla="*/ 6104 h 6876803"/>
              <a:gd name="connsiteX11" fmla="*/ 4496241 w 8221606"/>
              <a:gd name="connsiteY11" fmla="*/ 0 h 6876803"/>
              <a:gd name="connsiteX0" fmla="*/ 4496241 w 8221606"/>
              <a:gd name="connsiteY0" fmla="*/ 0 h 6876803"/>
              <a:gd name="connsiteX1" fmla="*/ 6423323 w 8221606"/>
              <a:gd name="connsiteY1" fmla="*/ 0 h 6876803"/>
              <a:gd name="connsiteX2" fmla="*/ 6068906 w 8221606"/>
              <a:gd name="connsiteY2" fmla="*/ 1941978 h 6876803"/>
              <a:gd name="connsiteX3" fmla="*/ 8221231 w 8221606"/>
              <a:gd name="connsiteY3" fmla="*/ 3481071 h 6876803"/>
              <a:gd name="connsiteX4" fmla="*/ 5893382 w 8221606"/>
              <a:gd name="connsiteY4" fmla="*/ 5834499 h 6876803"/>
              <a:gd name="connsiteX5" fmla="*/ 6423324 w 8221606"/>
              <a:gd name="connsiteY5" fmla="*/ 6876803 h 6876803"/>
              <a:gd name="connsiteX6" fmla="*/ 5812495 w 8221606"/>
              <a:gd name="connsiteY6" fmla="*/ 6876803 h 6876803"/>
              <a:gd name="connsiteX7" fmla="*/ 5812495 w 8221606"/>
              <a:gd name="connsiteY7" fmla="*/ 6876803 h 6876803"/>
              <a:gd name="connsiteX8" fmla="*/ 0 w 8221606"/>
              <a:gd name="connsiteY8" fmla="*/ 6876803 h 6876803"/>
              <a:gd name="connsiteX9" fmla="*/ 0 w 8221606"/>
              <a:gd name="connsiteY9" fmla="*/ 6104 h 6876803"/>
              <a:gd name="connsiteX10" fmla="*/ 4496241 w 8221606"/>
              <a:gd name="connsiteY10" fmla="*/ 6104 h 6876803"/>
              <a:gd name="connsiteX11" fmla="*/ 4496241 w 8221606"/>
              <a:gd name="connsiteY11" fmla="*/ 0 h 6876803"/>
              <a:gd name="connsiteX0" fmla="*/ 4496241 w 8224223"/>
              <a:gd name="connsiteY0" fmla="*/ 0 h 6876803"/>
              <a:gd name="connsiteX1" fmla="*/ 6423323 w 8224223"/>
              <a:gd name="connsiteY1" fmla="*/ 0 h 6876803"/>
              <a:gd name="connsiteX2" fmla="*/ 6068906 w 8224223"/>
              <a:gd name="connsiteY2" fmla="*/ 1941978 h 6876803"/>
              <a:gd name="connsiteX3" fmla="*/ 8221231 w 8224223"/>
              <a:gd name="connsiteY3" fmla="*/ 3481071 h 6876803"/>
              <a:gd name="connsiteX4" fmla="*/ 5559554 w 8224223"/>
              <a:gd name="connsiteY4" fmla="*/ 5500671 h 6876803"/>
              <a:gd name="connsiteX5" fmla="*/ 6423324 w 8224223"/>
              <a:gd name="connsiteY5" fmla="*/ 6876803 h 6876803"/>
              <a:gd name="connsiteX6" fmla="*/ 5812495 w 8224223"/>
              <a:gd name="connsiteY6" fmla="*/ 6876803 h 6876803"/>
              <a:gd name="connsiteX7" fmla="*/ 5812495 w 8224223"/>
              <a:gd name="connsiteY7" fmla="*/ 6876803 h 6876803"/>
              <a:gd name="connsiteX8" fmla="*/ 0 w 8224223"/>
              <a:gd name="connsiteY8" fmla="*/ 6876803 h 6876803"/>
              <a:gd name="connsiteX9" fmla="*/ 0 w 8224223"/>
              <a:gd name="connsiteY9" fmla="*/ 6104 h 6876803"/>
              <a:gd name="connsiteX10" fmla="*/ 4496241 w 8224223"/>
              <a:gd name="connsiteY10" fmla="*/ 6104 h 6876803"/>
              <a:gd name="connsiteX11" fmla="*/ 4496241 w 8224223"/>
              <a:gd name="connsiteY11" fmla="*/ 0 h 6876803"/>
              <a:gd name="connsiteX0" fmla="*/ 4496241 w 8224223"/>
              <a:gd name="connsiteY0" fmla="*/ 0 h 6876803"/>
              <a:gd name="connsiteX1" fmla="*/ 6423323 w 8224223"/>
              <a:gd name="connsiteY1" fmla="*/ 0 h 6876803"/>
              <a:gd name="connsiteX2" fmla="*/ 6068906 w 8224223"/>
              <a:gd name="connsiteY2" fmla="*/ 1941978 h 6876803"/>
              <a:gd name="connsiteX3" fmla="*/ 8221231 w 8224223"/>
              <a:gd name="connsiteY3" fmla="*/ 3481071 h 6876803"/>
              <a:gd name="connsiteX4" fmla="*/ 5559554 w 8224223"/>
              <a:gd name="connsiteY4" fmla="*/ 5500671 h 6876803"/>
              <a:gd name="connsiteX5" fmla="*/ 6423324 w 8224223"/>
              <a:gd name="connsiteY5" fmla="*/ 6876803 h 6876803"/>
              <a:gd name="connsiteX6" fmla="*/ 5812495 w 8224223"/>
              <a:gd name="connsiteY6" fmla="*/ 6876803 h 6876803"/>
              <a:gd name="connsiteX7" fmla="*/ 5812495 w 8224223"/>
              <a:gd name="connsiteY7" fmla="*/ 6876803 h 6876803"/>
              <a:gd name="connsiteX8" fmla="*/ 0 w 8224223"/>
              <a:gd name="connsiteY8" fmla="*/ 6876803 h 6876803"/>
              <a:gd name="connsiteX9" fmla="*/ 0 w 8224223"/>
              <a:gd name="connsiteY9" fmla="*/ 6104 h 6876803"/>
              <a:gd name="connsiteX10" fmla="*/ 4496241 w 8224223"/>
              <a:gd name="connsiteY10" fmla="*/ 6104 h 6876803"/>
              <a:gd name="connsiteX11" fmla="*/ 4496241 w 8224223"/>
              <a:gd name="connsiteY11" fmla="*/ 0 h 6876803"/>
              <a:gd name="connsiteX0" fmla="*/ 4496241 w 8248707"/>
              <a:gd name="connsiteY0" fmla="*/ 0 h 6876803"/>
              <a:gd name="connsiteX1" fmla="*/ 6423323 w 8248707"/>
              <a:gd name="connsiteY1" fmla="*/ 0 h 6876803"/>
              <a:gd name="connsiteX2" fmla="*/ 6068906 w 8248707"/>
              <a:gd name="connsiteY2" fmla="*/ 1941978 h 6876803"/>
              <a:gd name="connsiteX3" fmla="*/ 6894286 w 8248707"/>
              <a:gd name="connsiteY3" fmla="*/ 2473533 h 6876803"/>
              <a:gd name="connsiteX4" fmla="*/ 8221231 w 8248707"/>
              <a:gd name="connsiteY4" fmla="*/ 3481071 h 6876803"/>
              <a:gd name="connsiteX5" fmla="*/ 5559554 w 8248707"/>
              <a:gd name="connsiteY5" fmla="*/ 5500671 h 6876803"/>
              <a:gd name="connsiteX6" fmla="*/ 6423324 w 8248707"/>
              <a:gd name="connsiteY6" fmla="*/ 6876803 h 6876803"/>
              <a:gd name="connsiteX7" fmla="*/ 5812495 w 8248707"/>
              <a:gd name="connsiteY7" fmla="*/ 6876803 h 6876803"/>
              <a:gd name="connsiteX8" fmla="*/ 5812495 w 8248707"/>
              <a:gd name="connsiteY8" fmla="*/ 6876803 h 6876803"/>
              <a:gd name="connsiteX9" fmla="*/ 0 w 8248707"/>
              <a:gd name="connsiteY9" fmla="*/ 6876803 h 6876803"/>
              <a:gd name="connsiteX10" fmla="*/ 0 w 8248707"/>
              <a:gd name="connsiteY10" fmla="*/ 6104 h 6876803"/>
              <a:gd name="connsiteX11" fmla="*/ 4496241 w 8248707"/>
              <a:gd name="connsiteY11" fmla="*/ 6104 h 6876803"/>
              <a:gd name="connsiteX12" fmla="*/ 4496241 w 8248707"/>
              <a:gd name="connsiteY12" fmla="*/ 0 h 6876803"/>
              <a:gd name="connsiteX0" fmla="*/ 4496241 w 8290402"/>
              <a:gd name="connsiteY0" fmla="*/ 0 h 6876803"/>
              <a:gd name="connsiteX1" fmla="*/ 6423323 w 8290402"/>
              <a:gd name="connsiteY1" fmla="*/ 0 h 6876803"/>
              <a:gd name="connsiteX2" fmla="*/ 6068906 w 8290402"/>
              <a:gd name="connsiteY2" fmla="*/ 1941978 h 6876803"/>
              <a:gd name="connsiteX3" fmla="*/ 7387771 w 8290402"/>
              <a:gd name="connsiteY3" fmla="*/ 2168733 h 6876803"/>
              <a:gd name="connsiteX4" fmla="*/ 8221231 w 8290402"/>
              <a:gd name="connsiteY4" fmla="*/ 3481071 h 6876803"/>
              <a:gd name="connsiteX5" fmla="*/ 5559554 w 8290402"/>
              <a:gd name="connsiteY5" fmla="*/ 5500671 h 6876803"/>
              <a:gd name="connsiteX6" fmla="*/ 6423324 w 8290402"/>
              <a:gd name="connsiteY6" fmla="*/ 6876803 h 6876803"/>
              <a:gd name="connsiteX7" fmla="*/ 5812495 w 8290402"/>
              <a:gd name="connsiteY7" fmla="*/ 6876803 h 6876803"/>
              <a:gd name="connsiteX8" fmla="*/ 5812495 w 8290402"/>
              <a:gd name="connsiteY8" fmla="*/ 6876803 h 6876803"/>
              <a:gd name="connsiteX9" fmla="*/ 0 w 8290402"/>
              <a:gd name="connsiteY9" fmla="*/ 6876803 h 6876803"/>
              <a:gd name="connsiteX10" fmla="*/ 0 w 8290402"/>
              <a:gd name="connsiteY10" fmla="*/ 6104 h 6876803"/>
              <a:gd name="connsiteX11" fmla="*/ 4496241 w 8290402"/>
              <a:gd name="connsiteY11" fmla="*/ 6104 h 6876803"/>
              <a:gd name="connsiteX12" fmla="*/ 4496241 w 8290402"/>
              <a:gd name="connsiteY12" fmla="*/ 0 h 6876803"/>
              <a:gd name="connsiteX0" fmla="*/ 4496241 w 8272913"/>
              <a:gd name="connsiteY0" fmla="*/ 0 h 6876803"/>
              <a:gd name="connsiteX1" fmla="*/ 6423323 w 8272913"/>
              <a:gd name="connsiteY1" fmla="*/ 0 h 6876803"/>
              <a:gd name="connsiteX2" fmla="*/ 6068906 w 8272913"/>
              <a:gd name="connsiteY2" fmla="*/ 1941978 h 6876803"/>
              <a:gd name="connsiteX3" fmla="*/ 7387771 w 8272913"/>
              <a:gd name="connsiteY3" fmla="*/ 2168733 h 6876803"/>
              <a:gd name="connsiteX4" fmla="*/ 8221231 w 8272913"/>
              <a:gd name="connsiteY4" fmla="*/ 3481071 h 6876803"/>
              <a:gd name="connsiteX5" fmla="*/ 5559554 w 8272913"/>
              <a:gd name="connsiteY5" fmla="*/ 5500671 h 6876803"/>
              <a:gd name="connsiteX6" fmla="*/ 6423324 w 8272913"/>
              <a:gd name="connsiteY6" fmla="*/ 6876803 h 6876803"/>
              <a:gd name="connsiteX7" fmla="*/ 5812495 w 8272913"/>
              <a:gd name="connsiteY7" fmla="*/ 6876803 h 6876803"/>
              <a:gd name="connsiteX8" fmla="*/ 5812495 w 8272913"/>
              <a:gd name="connsiteY8" fmla="*/ 6876803 h 6876803"/>
              <a:gd name="connsiteX9" fmla="*/ 0 w 8272913"/>
              <a:gd name="connsiteY9" fmla="*/ 6876803 h 6876803"/>
              <a:gd name="connsiteX10" fmla="*/ 0 w 8272913"/>
              <a:gd name="connsiteY10" fmla="*/ 6104 h 6876803"/>
              <a:gd name="connsiteX11" fmla="*/ 4496241 w 8272913"/>
              <a:gd name="connsiteY11" fmla="*/ 6104 h 6876803"/>
              <a:gd name="connsiteX12" fmla="*/ 4496241 w 8272913"/>
              <a:gd name="connsiteY12" fmla="*/ 0 h 6876803"/>
              <a:gd name="connsiteX0" fmla="*/ 4496241 w 8238914"/>
              <a:gd name="connsiteY0" fmla="*/ 0 h 6876803"/>
              <a:gd name="connsiteX1" fmla="*/ 6423323 w 8238914"/>
              <a:gd name="connsiteY1" fmla="*/ 0 h 6876803"/>
              <a:gd name="connsiteX2" fmla="*/ 6068906 w 8238914"/>
              <a:gd name="connsiteY2" fmla="*/ 1941978 h 6876803"/>
              <a:gd name="connsiteX3" fmla="*/ 7387771 w 8238914"/>
              <a:gd name="connsiteY3" fmla="*/ 2168733 h 6876803"/>
              <a:gd name="connsiteX4" fmla="*/ 6749143 w 8238914"/>
              <a:gd name="connsiteY4" fmla="*/ 3068618 h 6876803"/>
              <a:gd name="connsiteX5" fmla="*/ 8221231 w 8238914"/>
              <a:gd name="connsiteY5" fmla="*/ 3481071 h 6876803"/>
              <a:gd name="connsiteX6" fmla="*/ 5559554 w 8238914"/>
              <a:gd name="connsiteY6" fmla="*/ 5500671 h 6876803"/>
              <a:gd name="connsiteX7" fmla="*/ 6423324 w 8238914"/>
              <a:gd name="connsiteY7" fmla="*/ 6876803 h 6876803"/>
              <a:gd name="connsiteX8" fmla="*/ 5812495 w 8238914"/>
              <a:gd name="connsiteY8" fmla="*/ 6876803 h 6876803"/>
              <a:gd name="connsiteX9" fmla="*/ 5812495 w 8238914"/>
              <a:gd name="connsiteY9" fmla="*/ 6876803 h 6876803"/>
              <a:gd name="connsiteX10" fmla="*/ 0 w 8238914"/>
              <a:gd name="connsiteY10" fmla="*/ 6876803 h 6876803"/>
              <a:gd name="connsiteX11" fmla="*/ 0 w 8238914"/>
              <a:gd name="connsiteY11" fmla="*/ 6104 h 6876803"/>
              <a:gd name="connsiteX12" fmla="*/ 4496241 w 8238914"/>
              <a:gd name="connsiteY12" fmla="*/ 6104 h 6876803"/>
              <a:gd name="connsiteX13" fmla="*/ 4496241 w 8238914"/>
              <a:gd name="connsiteY13" fmla="*/ 0 h 6876803"/>
              <a:gd name="connsiteX0" fmla="*/ 4496241 w 7995232"/>
              <a:gd name="connsiteY0" fmla="*/ 0 h 6876803"/>
              <a:gd name="connsiteX1" fmla="*/ 6423323 w 7995232"/>
              <a:gd name="connsiteY1" fmla="*/ 0 h 6876803"/>
              <a:gd name="connsiteX2" fmla="*/ 6068906 w 7995232"/>
              <a:gd name="connsiteY2" fmla="*/ 1941978 h 6876803"/>
              <a:gd name="connsiteX3" fmla="*/ 7387771 w 7995232"/>
              <a:gd name="connsiteY3" fmla="*/ 2168733 h 6876803"/>
              <a:gd name="connsiteX4" fmla="*/ 6749143 w 7995232"/>
              <a:gd name="connsiteY4" fmla="*/ 3068618 h 6876803"/>
              <a:gd name="connsiteX5" fmla="*/ 7974488 w 7995232"/>
              <a:gd name="connsiteY5" fmla="*/ 4148729 h 6876803"/>
              <a:gd name="connsiteX6" fmla="*/ 5559554 w 7995232"/>
              <a:gd name="connsiteY6" fmla="*/ 5500671 h 6876803"/>
              <a:gd name="connsiteX7" fmla="*/ 6423324 w 7995232"/>
              <a:gd name="connsiteY7" fmla="*/ 6876803 h 6876803"/>
              <a:gd name="connsiteX8" fmla="*/ 5812495 w 7995232"/>
              <a:gd name="connsiteY8" fmla="*/ 6876803 h 6876803"/>
              <a:gd name="connsiteX9" fmla="*/ 5812495 w 7995232"/>
              <a:gd name="connsiteY9" fmla="*/ 6876803 h 6876803"/>
              <a:gd name="connsiteX10" fmla="*/ 0 w 7995232"/>
              <a:gd name="connsiteY10" fmla="*/ 6876803 h 6876803"/>
              <a:gd name="connsiteX11" fmla="*/ 0 w 7995232"/>
              <a:gd name="connsiteY11" fmla="*/ 6104 h 6876803"/>
              <a:gd name="connsiteX12" fmla="*/ 4496241 w 7995232"/>
              <a:gd name="connsiteY12" fmla="*/ 6104 h 6876803"/>
              <a:gd name="connsiteX13" fmla="*/ 4496241 w 7995232"/>
              <a:gd name="connsiteY13" fmla="*/ 0 h 6876803"/>
              <a:gd name="connsiteX0" fmla="*/ 4496241 w 7995232"/>
              <a:gd name="connsiteY0" fmla="*/ 6104 h 6876803"/>
              <a:gd name="connsiteX1" fmla="*/ 6423323 w 7995232"/>
              <a:gd name="connsiteY1" fmla="*/ 0 h 6876803"/>
              <a:gd name="connsiteX2" fmla="*/ 6068906 w 7995232"/>
              <a:gd name="connsiteY2" fmla="*/ 1941978 h 6876803"/>
              <a:gd name="connsiteX3" fmla="*/ 7387771 w 7995232"/>
              <a:gd name="connsiteY3" fmla="*/ 2168733 h 6876803"/>
              <a:gd name="connsiteX4" fmla="*/ 6749143 w 7995232"/>
              <a:gd name="connsiteY4" fmla="*/ 3068618 h 6876803"/>
              <a:gd name="connsiteX5" fmla="*/ 7974488 w 7995232"/>
              <a:gd name="connsiteY5" fmla="*/ 4148729 h 6876803"/>
              <a:gd name="connsiteX6" fmla="*/ 5559554 w 7995232"/>
              <a:gd name="connsiteY6" fmla="*/ 5500671 h 6876803"/>
              <a:gd name="connsiteX7" fmla="*/ 6423324 w 7995232"/>
              <a:gd name="connsiteY7" fmla="*/ 6876803 h 6876803"/>
              <a:gd name="connsiteX8" fmla="*/ 5812495 w 7995232"/>
              <a:gd name="connsiteY8" fmla="*/ 6876803 h 6876803"/>
              <a:gd name="connsiteX9" fmla="*/ 5812495 w 7995232"/>
              <a:gd name="connsiteY9" fmla="*/ 6876803 h 6876803"/>
              <a:gd name="connsiteX10" fmla="*/ 0 w 7995232"/>
              <a:gd name="connsiteY10" fmla="*/ 6876803 h 6876803"/>
              <a:gd name="connsiteX11" fmla="*/ 0 w 7995232"/>
              <a:gd name="connsiteY11" fmla="*/ 6104 h 6876803"/>
              <a:gd name="connsiteX12" fmla="*/ 4496241 w 7995232"/>
              <a:gd name="connsiteY12" fmla="*/ 6104 h 6876803"/>
              <a:gd name="connsiteX0" fmla="*/ 0 w 7995232"/>
              <a:gd name="connsiteY0" fmla="*/ 6104 h 6876803"/>
              <a:gd name="connsiteX1" fmla="*/ 6423323 w 7995232"/>
              <a:gd name="connsiteY1" fmla="*/ 0 h 6876803"/>
              <a:gd name="connsiteX2" fmla="*/ 6068906 w 7995232"/>
              <a:gd name="connsiteY2" fmla="*/ 1941978 h 6876803"/>
              <a:gd name="connsiteX3" fmla="*/ 7387771 w 7995232"/>
              <a:gd name="connsiteY3" fmla="*/ 2168733 h 6876803"/>
              <a:gd name="connsiteX4" fmla="*/ 6749143 w 7995232"/>
              <a:gd name="connsiteY4" fmla="*/ 3068618 h 6876803"/>
              <a:gd name="connsiteX5" fmla="*/ 7974488 w 7995232"/>
              <a:gd name="connsiteY5" fmla="*/ 4148729 h 6876803"/>
              <a:gd name="connsiteX6" fmla="*/ 5559554 w 7995232"/>
              <a:gd name="connsiteY6" fmla="*/ 5500671 h 6876803"/>
              <a:gd name="connsiteX7" fmla="*/ 6423324 w 7995232"/>
              <a:gd name="connsiteY7" fmla="*/ 6876803 h 6876803"/>
              <a:gd name="connsiteX8" fmla="*/ 5812495 w 7995232"/>
              <a:gd name="connsiteY8" fmla="*/ 6876803 h 6876803"/>
              <a:gd name="connsiteX9" fmla="*/ 5812495 w 7995232"/>
              <a:gd name="connsiteY9" fmla="*/ 6876803 h 6876803"/>
              <a:gd name="connsiteX10" fmla="*/ 0 w 7995232"/>
              <a:gd name="connsiteY10" fmla="*/ 6876803 h 6876803"/>
              <a:gd name="connsiteX11" fmla="*/ 0 w 7995232"/>
              <a:gd name="connsiteY11" fmla="*/ 6104 h 687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95232" h="6876803">
                <a:moveTo>
                  <a:pt x="0" y="6104"/>
                </a:moveTo>
                <a:lnTo>
                  <a:pt x="6423323" y="0"/>
                </a:lnTo>
                <a:cubicBezTo>
                  <a:pt x="7069182" y="310018"/>
                  <a:pt x="5908165" y="1580523"/>
                  <a:pt x="6068906" y="1941978"/>
                </a:cubicBezTo>
                <a:cubicBezTo>
                  <a:pt x="6229647" y="2303434"/>
                  <a:pt x="7124417" y="2058369"/>
                  <a:pt x="7387771" y="2168733"/>
                </a:cubicBezTo>
                <a:cubicBezTo>
                  <a:pt x="7651125" y="2279097"/>
                  <a:pt x="6610233" y="2849895"/>
                  <a:pt x="6749143" y="3068618"/>
                </a:cubicBezTo>
                <a:cubicBezTo>
                  <a:pt x="6888053" y="3287341"/>
                  <a:pt x="8172753" y="3743387"/>
                  <a:pt x="7974488" y="4148729"/>
                </a:cubicBezTo>
                <a:cubicBezTo>
                  <a:pt x="7776223" y="4554071"/>
                  <a:pt x="5818081" y="5045992"/>
                  <a:pt x="5559554" y="5500671"/>
                </a:cubicBezTo>
                <a:cubicBezTo>
                  <a:pt x="5301027" y="5955350"/>
                  <a:pt x="6983405" y="6657820"/>
                  <a:pt x="6423324" y="6876803"/>
                </a:cubicBezTo>
                <a:lnTo>
                  <a:pt x="5812495" y="6876803"/>
                </a:lnTo>
                <a:lnTo>
                  <a:pt x="5812495" y="6876803"/>
                </a:lnTo>
                <a:lnTo>
                  <a:pt x="0" y="6876803"/>
                </a:lnTo>
                <a:lnTo>
                  <a:pt x="0" y="6104"/>
                </a:lnTo>
                <a:close/>
              </a:path>
            </a:pathLst>
          </a:custGeom>
          <a:gradFill>
            <a:gsLst>
              <a:gs pos="100000">
                <a:schemeClr val="accent1">
                  <a:alpha val="90000"/>
                </a:schemeClr>
              </a:gs>
              <a:gs pos="0">
                <a:schemeClr val="accent2">
                  <a:alpha val="90000"/>
                </a:schemeClr>
              </a:gs>
            </a:gsLst>
            <a:lin ang="8100000" scaled="1"/>
          </a:gradFill>
          <a:ln>
            <a:noFill/>
          </a:ln>
          <a:effectLst>
            <a:outerShdw blurRad="342900" dist="304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a:off x="6026384" y="5070397"/>
            <a:ext cx="3097962" cy="58477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noProof="1">
                <a:solidFill>
                  <a:schemeClr val="tx1">
                    <a:lumMod val="75000"/>
                    <a:lumOff val="25000"/>
                  </a:schemeClr>
                </a:solidFill>
                <a:ea typeface="Open Sans" panose="020B0606030504020204" pitchFamily="34" charset="0"/>
                <a:cs typeface="Open Sans" panose="020B0606030504020204" pitchFamily="34" charset="0"/>
              </a:rPr>
              <a:t>Contrack</a:t>
            </a:r>
          </a:p>
        </p:txBody>
      </p:sp>
      <p:sp>
        <p:nvSpPr>
          <p:cNvPr id="39" name="Rectangle 38"/>
          <p:cNvSpPr/>
          <p:nvPr/>
        </p:nvSpPr>
        <p:spPr>
          <a:xfrm>
            <a:off x="6055311" y="5568208"/>
            <a:ext cx="3300373" cy="792483"/>
          </a:xfrm>
          <a:prstGeom prst="rect">
            <a:avLst/>
          </a:prstGeom>
        </p:spPr>
        <p:txBody>
          <a:bodyPr wrap="square" anchor="ctr">
            <a:noAutofit/>
          </a:bodyPr>
          <a:lstStyle/>
          <a:p>
            <a:pPr algn="just">
              <a:lnSpc>
                <a:spcPct val="150000"/>
              </a:lnSpc>
              <a:buClr>
                <a:srgbClr val="E24848"/>
              </a:buClr>
              <a:defRPr/>
            </a:pPr>
            <a:r>
              <a:rPr lang="en-US" sz="1200" noProof="1">
                <a:solidFill>
                  <a:schemeClr val="tx1">
                    <a:lumMod val="75000"/>
                    <a:lumOff val="25000"/>
                  </a:schemeClr>
                </a:solidFill>
                <a:ea typeface="Open Sans Light" panose="020B0306030504020204" pitchFamily="34" charset="0"/>
                <a:cs typeface="Open Sans Light" panose="020B0306030504020204" pitchFamily="34" charset="0"/>
              </a:rPr>
              <a:t>Lorem ipsum dolor sit amet, consectetur adipiscing elit. Nulla imperdiet volutpat dui at fermentum. </a:t>
            </a:r>
          </a:p>
        </p:txBody>
      </p:sp>
      <p:pic>
        <p:nvPicPr>
          <p:cNvPr id="7" name="Picture Placeholder 6">
            <a:extLst>
              <a:ext uri="{FF2B5EF4-FFF2-40B4-BE49-F238E27FC236}">
                <a16:creationId xmlns:a16="http://schemas.microsoft.com/office/drawing/2014/main" id="{0B2F004E-348F-4861-8130-CF7A2D108202}"/>
              </a:ext>
            </a:extLst>
          </p:cNvPr>
          <p:cNvPicPr>
            <a:picLocks noGrp="1" noChangeAspect="1"/>
          </p:cNvPicPr>
          <p:nvPr>
            <p:ph type="pic" sz="quarter" idx="14"/>
          </p:nvPr>
        </p:nvPicPr>
        <p:blipFill>
          <a:blip r:embed="rId4">
            <a:extLst>
              <a:ext uri="{28A0092B-C50C-407E-A947-70E740481C1C}">
                <a14:useLocalDpi xmlns:a14="http://schemas.microsoft.com/office/drawing/2010/main" val="0"/>
              </a:ext>
            </a:extLst>
          </a:blip>
          <a:srcRect l="864" r="864"/>
          <a:stretch>
            <a:fillRect/>
          </a:stretch>
        </p:blipFill>
        <p:spPr>
          <a:solidFill>
            <a:schemeClr val="bg1">
              <a:lumMod val="85000"/>
            </a:schemeClr>
          </a:solidFill>
        </p:spPr>
      </p:pic>
      <p:sp>
        <p:nvSpPr>
          <p:cNvPr id="32" name="Oval 31"/>
          <p:cNvSpPr/>
          <p:nvPr/>
        </p:nvSpPr>
        <p:spPr>
          <a:xfrm>
            <a:off x="5570975" y="5181050"/>
            <a:ext cx="224070" cy="224070"/>
          </a:xfrm>
          <a:prstGeom prst="ellips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endParaRPr lang="en-US" sz="1051" dirty="0">
              <a:solidFill>
                <a:schemeClr val="tx1">
                  <a:lumMod val="85000"/>
                  <a:lumOff val="15000"/>
                </a:schemeClr>
              </a:solidFill>
              <a:ea typeface="Open Sans Light" panose="020B0306030504020204" pitchFamily="34" charset="0"/>
              <a:cs typeface="Open Sans Light" panose="020B0306030504020204" pitchFamily="34" charset="0"/>
            </a:endParaRPr>
          </a:p>
        </p:txBody>
      </p:sp>
      <p:sp>
        <p:nvSpPr>
          <p:cNvPr id="34" name="Freeform 33"/>
          <p:cNvSpPr/>
          <p:nvPr/>
        </p:nvSpPr>
        <p:spPr>
          <a:xfrm flipV="1">
            <a:off x="0" y="0"/>
            <a:ext cx="6620711" cy="3727352"/>
          </a:xfrm>
          <a:custGeom>
            <a:avLst/>
            <a:gdLst>
              <a:gd name="connsiteX0" fmla="*/ 12192000 w 12192000"/>
              <a:gd name="connsiteY0" fmla="*/ 0 h 1074584"/>
              <a:gd name="connsiteX1" fmla="*/ 1582058 w 12192000"/>
              <a:gd name="connsiteY1" fmla="*/ 0 h 1074584"/>
              <a:gd name="connsiteX2" fmla="*/ 810918 w 12192000"/>
              <a:gd name="connsiteY2" fmla="*/ 0 h 1074584"/>
              <a:gd name="connsiteX3" fmla="*/ 470766 w 12192000"/>
              <a:gd name="connsiteY3" fmla="*/ 0 h 1074584"/>
              <a:gd name="connsiteX4" fmla="*/ 448024 w 12192000"/>
              <a:gd name="connsiteY4" fmla="*/ 0 h 1074584"/>
              <a:gd name="connsiteX5" fmla="*/ 0 w 12192000"/>
              <a:gd name="connsiteY5" fmla="*/ 0 h 1074584"/>
              <a:gd name="connsiteX6" fmla="*/ 0 w 12192000"/>
              <a:gd name="connsiteY6" fmla="*/ 1074584 h 1074584"/>
              <a:gd name="connsiteX7" fmla="*/ 345070 w 12192000"/>
              <a:gd name="connsiteY7" fmla="*/ 1074584 h 1074584"/>
              <a:gd name="connsiteX8" fmla="*/ 1582058 w 12192000"/>
              <a:gd name="connsiteY8" fmla="*/ 1074584 h 1074584"/>
              <a:gd name="connsiteX9" fmla="*/ 12192000 w 12192000"/>
              <a:gd name="connsiteY9" fmla="*/ 1074584 h 1074584"/>
              <a:gd name="connsiteX0" fmla="*/ 12192000 w 12192000"/>
              <a:gd name="connsiteY0" fmla="*/ 0 h 1074584"/>
              <a:gd name="connsiteX1" fmla="*/ 1582058 w 12192000"/>
              <a:gd name="connsiteY1" fmla="*/ 0 h 1074584"/>
              <a:gd name="connsiteX2" fmla="*/ 470766 w 12192000"/>
              <a:gd name="connsiteY2" fmla="*/ 0 h 1074584"/>
              <a:gd name="connsiteX3" fmla="*/ 448024 w 12192000"/>
              <a:gd name="connsiteY3" fmla="*/ 0 h 1074584"/>
              <a:gd name="connsiteX4" fmla="*/ 0 w 12192000"/>
              <a:gd name="connsiteY4" fmla="*/ 0 h 1074584"/>
              <a:gd name="connsiteX5" fmla="*/ 0 w 12192000"/>
              <a:gd name="connsiteY5" fmla="*/ 1074584 h 1074584"/>
              <a:gd name="connsiteX6" fmla="*/ 345070 w 12192000"/>
              <a:gd name="connsiteY6" fmla="*/ 1074584 h 1074584"/>
              <a:gd name="connsiteX7" fmla="*/ 1582058 w 12192000"/>
              <a:gd name="connsiteY7" fmla="*/ 1074584 h 1074584"/>
              <a:gd name="connsiteX8" fmla="*/ 12192000 w 12192000"/>
              <a:gd name="connsiteY8" fmla="*/ 1074584 h 1074584"/>
              <a:gd name="connsiteX9" fmla="*/ 12192000 w 12192000"/>
              <a:gd name="connsiteY9" fmla="*/ 0 h 1074584"/>
              <a:gd name="connsiteX0" fmla="*/ 12192000 w 12192000"/>
              <a:gd name="connsiteY0" fmla="*/ 0 h 1074584"/>
              <a:gd name="connsiteX1" fmla="*/ 1582058 w 12192000"/>
              <a:gd name="connsiteY1" fmla="*/ 0 h 1074584"/>
              <a:gd name="connsiteX2" fmla="*/ 470766 w 12192000"/>
              <a:gd name="connsiteY2" fmla="*/ 0 h 1074584"/>
              <a:gd name="connsiteX3" fmla="*/ 0 w 12192000"/>
              <a:gd name="connsiteY3" fmla="*/ 0 h 1074584"/>
              <a:gd name="connsiteX4" fmla="*/ 0 w 12192000"/>
              <a:gd name="connsiteY4" fmla="*/ 1074584 h 1074584"/>
              <a:gd name="connsiteX5" fmla="*/ 345070 w 12192000"/>
              <a:gd name="connsiteY5" fmla="*/ 1074584 h 1074584"/>
              <a:gd name="connsiteX6" fmla="*/ 1582058 w 12192000"/>
              <a:gd name="connsiteY6" fmla="*/ 1074584 h 1074584"/>
              <a:gd name="connsiteX7" fmla="*/ 12192000 w 12192000"/>
              <a:gd name="connsiteY7" fmla="*/ 1074584 h 1074584"/>
              <a:gd name="connsiteX8" fmla="*/ 12192000 w 12192000"/>
              <a:gd name="connsiteY8"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345070 w 12192000"/>
              <a:gd name="connsiteY4" fmla="*/ 1074584 h 1074584"/>
              <a:gd name="connsiteX5" fmla="*/ 1582058 w 12192000"/>
              <a:gd name="connsiteY5" fmla="*/ 1074584 h 1074584"/>
              <a:gd name="connsiteX6" fmla="*/ 12192000 w 12192000"/>
              <a:gd name="connsiteY6" fmla="*/ 1074584 h 1074584"/>
              <a:gd name="connsiteX7" fmla="*/ 12192000 w 12192000"/>
              <a:gd name="connsiteY7"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1582058 w 12192000"/>
              <a:gd name="connsiteY4" fmla="*/ 1074584 h 1074584"/>
              <a:gd name="connsiteX5" fmla="*/ 12192000 w 12192000"/>
              <a:gd name="connsiteY5" fmla="*/ 1074584 h 1074584"/>
              <a:gd name="connsiteX6" fmla="*/ 12192000 w 12192000"/>
              <a:gd name="connsiteY6" fmla="*/ 0 h 1074584"/>
              <a:gd name="connsiteX0" fmla="*/ 12192000 w 12192000"/>
              <a:gd name="connsiteY0" fmla="*/ 0 h 1074584"/>
              <a:gd name="connsiteX1" fmla="*/ 1582058 w 12192000"/>
              <a:gd name="connsiteY1" fmla="*/ 0 h 1074584"/>
              <a:gd name="connsiteX2" fmla="*/ 0 w 12192000"/>
              <a:gd name="connsiteY2" fmla="*/ 0 h 1074584"/>
              <a:gd name="connsiteX3" fmla="*/ 0 w 12192000"/>
              <a:gd name="connsiteY3" fmla="*/ 1074584 h 1074584"/>
              <a:gd name="connsiteX4" fmla="*/ 12192000 w 12192000"/>
              <a:gd name="connsiteY4" fmla="*/ 1074584 h 1074584"/>
              <a:gd name="connsiteX5" fmla="*/ 12192000 w 12192000"/>
              <a:gd name="connsiteY5" fmla="*/ 0 h 1074584"/>
              <a:gd name="connsiteX0" fmla="*/ 12192000 w 12192000"/>
              <a:gd name="connsiteY0" fmla="*/ 0 h 1074584"/>
              <a:gd name="connsiteX1" fmla="*/ 0 w 12192000"/>
              <a:gd name="connsiteY1" fmla="*/ 0 h 1074584"/>
              <a:gd name="connsiteX2" fmla="*/ 0 w 12192000"/>
              <a:gd name="connsiteY2" fmla="*/ 1074584 h 1074584"/>
              <a:gd name="connsiteX3" fmla="*/ 12192000 w 12192000"/>
              <a:gd name="connsiteY3" fmla="*/ 1074584 h 1074584"/>
              <a:gd name="connsiteX4" fmla="*/ 12192000 w 12192000"/>
              <a:gd name="connsiteY4" fmla="*/ 0 h 1074584"/>
              <a:gd name="connsiteX0" fmla="*/ 12192000 w 12192000"/>
              <a:gd name="connsiteY0" fmla="*/ 0 h 1074584"/>
              <a:gd name="connsiteX1" fmla="*/ 1683657 w 12192000"/>
              <a:gd name="connsiteY1" fmla="*/ 0 h 1074584"/>
              <a:gd name="connsiteX2" fmla="*/ 0 w 12192000"/>
              <a:gd name="connsiteY2" fmla="*/ 0 h 1074584"/>
              <a:gd name="connsiteX3" fmla="*/ 0 w 12192000"/>
              <a:gd name="connsiteY3" fmla="*/ 1074584 h 1074584"/>
              <a:gd name="connsiteX4" fmla="*/ 12192000 w 12192000"/>
              <a:gd name="connsiteY4" fmla="*/ 1074584 h 1074584"/>
              <a:gd name="connsiteX5" fmla="*/ 12192000 w 12192000"/>
              <a:gd name="connsiteY5" fmla="*/ 0 h 1074584"/>
              <a:gd name="connsiteX0" fmla="*/ 12192000 w 12192000"/>
              <a:gd name="connsiteY0" fmla="*/ 2595749 h 3670333"/>
              <a:gd name="connsiteX1" fmla="*/ 2989943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2595749 h 3670333"/>
              <a:gd name="connsiteX1" fmla="*/ 2989943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2595749 h 3670333"/>
              <a:gd name="connsiteX1" fmla="*/ 3875315 w 12192000"/>
              <a:gd name="connsiteY1" fmla="*/ 0 h 3670333"/>
              <a:gd name="connsiteX2" fmla="*/ 0 w 12192000"/>
              <a:gd name="connsiteY2" fmla="*/ 2595749 h 3670333"/>
              <a:gd name="connsiteX3" fmla="*/ 0 w 12192000"/>
              <a:gd name="connsiteY3" fmla="*/ 3670333 h 3670333"/>
              <a:gd name="connsiteX4" fmla="*/ 12192000 w 12192000"/>
              <a:gd name="connsiteY4" fmla="*/ 3670333 h 3670333"/>
              <a:gd name="connsiteX5" fmla="*/ 12192000 w 12192000"/>
              <a:gd name="connsiteY5" fmla="*/ 2595749 h 3670333"/>
              <a:gd name="connsiteX0" fmla="*/ 12192000 w 12192000"/>
              <a:gd name="connsiteY0" fmla="*/ 3134985 h 4209569"/>
              <a:gd name="connsiteX1" fmla="*/ 3875315 w 12192000"/>
              <a:gd name="connsiteY1" fmla="*/ 539236 h 4209569"/>
              <a:gd name="connsiteX2" fmla="*/ 0 w 12192000"/>
              <a:gd name="connsiteY2" fmla="*/ 3134985 h 4209569"/>
              <a:gd name="connsiteX3" fmla="*/ 0 w 12192000"/>
              <a:gd name="connsiteY3" fmla="*/ 4209569 h 4209569"/>
              <a:gd name="connsiteX4" fmla="*/ 12192000 w 12192000"/>
              <a:gd name="connsiteY4" fmla="*/ 4209569 h 4209569"/>
              <a:gd name="connsiteX5" fmla="*/ 12192000 w 12192000"/>
              <a:gd name="connsiteY5" fmla="*/ 3134985 h 4209569"/>
              <a:gd name="connsiteX0" fmla="*/ 12192000 w 12192000"/>
              <a:gd name="connsiteY0" fmla="*/ 2158437 h 3233021"/>
              <a:gd name="connsiteX1" fmla="*/ 5138058 w 12192000"/>
              <a:gd name="connsiteY1" fmla="*/ 679140 h 3233021"/>
              <a:gd name="connsiteX2" fmla="*/ 0 w 12192000"/>
              <a:gd name="connsiteY2" fmla="*/ 2158437 h 3233021"/>
              <a:gd name="connsiteX3" fmla="*/ 0 w 12192000"/>
              <a:gd name="connsiteY3" fmla="*/ 3233021 h 3233021"/>
              <a:gd name="connsiteX4" fmla="*/ 12192000 w 12192000"/>
              <a:gd name="connsiteY4" fmla="*/ 3233021 h 3233021"/>
              <a:gd name="connsiteX5" fmla="*/ 12192000 w 12192000"/>
              <a:gd name="connsiteY5" fmla="*/ 2158437 h 3233021"/>
              <a:gd name="connsiteX0" fmla="*/ 12192000 w 12192000"/>
              <a:gd name="connsiteY0" fmla="*/ 1802920 h 2877504"/>
              <a:gd name="connsiteX1" fmla="*/ 5138058 w 12192000"/>
              <a:gd name="connsiteY1" fmla="*/ 323623 h 2877504"/>
              <a:gd name="connsiteX2" fmla="*/ 0 w 12192000"/>
              <a:gd name="connsiteY2" fmla="*/ 1802920 h 2877504"/>
              <a:gd name="connsiteX3" fmla="*/ 0 w 12192000"/>
              <a:gd name="connsiteY3" fmla="*/ 2877504 h 2877504"/>
              <a:gd name="connsiteX4" fmla="*/ 12192000 w 12192000"/>
              <a:gd name="connsiteY4" fmla="*/ 2877504 h 2877504"/>
              <a:gd name="connsiteX5" fmla="*/ 12192000 w 12192000"/>
              <a:gd name="connsiteY5" fmla="*/ 1802920 h 2877504"/>
              <a:gd name="connsiteX0" fmla="*/ 12192000 w 12192000"/>
              <a:gd name="connsiteY0" fmla="*/ 1802920 h 2877504"/>
              <a:gd name="connsiteX1" fmla="*/ 5138058 w 12192000"/>
              <a:gd name="connsiteY1" fmla="*/ 323623 h 2877504"/>
              <a:gd name="connsiteX2" fmla="*/ 0 w 12192000"/>
              <a:gd name="connsiteY2" fmla="*/ 1802920 h 2877504"/>
              <a:gd name="connsiteX3" fmla="*/ 0 w 12192000"/>
              <a:gd name="connsiteY3" fmla="*/ 2877504 h 2877504"/>
              <a:gd name="connsiteX4" fmla="*/ 12192000 w 12192000"/>
              <a:gd name="connsiteY4" fmla="*/ 2877504 h 2877504"/>
              <a:gd name="connsiteX5" fmla="*/ 12192000 w 12192000"/>
              <a:gd name="connsiteY5" fmla="*/ 1802920 h 2877504"/>
              <a:gd name="connsiteX0" fmla="*/ 12192000 w 12192000"/>
              <a:gd name="connsiteY0" fmla="*/ 1187253 h 2261837"/>
              <a:gd name="connsiteX1" fmla="*/ 4601030 w 12192000"/>
              <a:gd name="connsiteY1" fmla="*/ 433648 h 2261837"/>
              <a:gd name="connsiteX2" fmla="*/ 0 w 12192000"/>
              <a:gd name="connsiteY2" fmla="*/ 1187253 h 2261837"/>
              <a:gd name="connsiteX3" fmla="*/ 0 w 12192000"/>
              <a:gd name="connsiteY3" fmla="*/ 2261837 h 2261837"/>
              <a:gd name="connsiteX4" fmla="*/ 12192000 w 12192000"/>
              <a:gd name="connsiteY4" fmla="*/ 2261837 h 2261837"/>
              <a:gd name="connsiteX5" fmla="*/ 12192000 w 12192000"/>
              <a:gd name="connsiteY5" fmla="*/ 1187253 h 2261837"/>
              <a:gd name="connsiteX0" fmla="*/ 12192000 w 12192000"/>
              <a:gd name="connsiteY0" fmla="*/ 755772 h 1830356"/>
              <a:gd name="connsiteX1" fmla="*/ 6194520 w 12192000"/>
              <a:gd name="connsiteY1" fmla="*/ 534733 h 1830356"/>
              <a:gd name="connsiteX2" fmla="*/ 4601030 w 12192000"/>
              <a:gd name="connsiteY2" fmla="*/ 2167 h 1830356"/>
              <a:gd name="connsiteX3" fmla="*/ 0 w 12192000"/>
              <a:gd name="connsiteY3" fmla="*/ 755772 h 1830356"/>
              <a:gd name="connsiteX4" fmla="*/ 0 w 12192000"/>
              <a:gd name="connsiteY4" fmla="*/ 1830356 h 1830356"/>
              <a:gd name="connsiteX5" fmla="*/ 12192000 w 12192000"/>
              <a:gd name="connsiteY5" fmla="*/ 1830356 h 1830356"/>
              <a:gd name="connsiteX6" fmla="*/ 12192000 w 12192000"/>
              <a:gd name="connsiteY6" fmla="*/ 755772 h 1830356"/>
              <a:gd name="connsiteX0" fmla="*/ 12192000 w 12192000"/>
              <a:gd name="connsiteY0" fmla="*/ 221040 h 1295624"/>
              <a:gd name="connsiteX1" fmla="*/ 6194520 w 12192000"/>
              <a:gd name="connsiteY1" fmla="*/ 1 h 1295624"/>
              <a:gd name="connsiteX2" fmla="*/ 0 w 12192000"/>
              <a:gd name="connsiteY2" fmla="*/ 221040 h 1295624"/>
              <a:gd name="connsiteX3" fmla="*/ 0 w 12192000"/>
              <a:gd name="connsiteY3" fmla="*/ 1295624 h 1295624"/>
              <a:gd name="connsiteX4" fmla="*/ 12192000 w 12192000"/>
              <a:gd name="connsiteY4" fmla="*/ 1295624 h 1295624"/>
              <a:gd name="connsiteX5" fmla="*/ 12192000 w 12192000"/>
              <a:gd name="connsiteY5" fmla="*/ 221040 h 1295624"/>
              <a:gd name="connsiteX0" fmla="*/ 12192000 w 12192000"/>
              <a:gd name="connsiteY0" fmla="*/ 1644514 h 2719098"/>
              <a:gd name="connsiteX1" fmla="*/ 6238063 w 12192000"/>
              <a:gd name="connsiteY1" fmla="*/ 0 h 2719098"/>
              <a:gd name="connsiteX2" fmla="*/ 0 w 12192000"/>
              <a:gd name="connsiteY2" fmla="*/ 1644514 h 2719098"/>
              <a:gd name="connsiteX3" fmla="*/ 0 w 12192000"/>
              <a:gd name="connsiteY3" fmla="*/ 2719098 h 2719098"/>
              <a:gd name="connsiteX4" fmla="*/ 12192000 w 12192000"/>
              <a:gd name="connsiteY4" fmla="*/ 2719098 h 2719098"/>
              <a:gd name="connsiteX5" fmla="*/ 12192000 w 12192000"/>
              <a:gd name="connsiteY5" fmla="*/ 1644514 h 2719098"/>
              <a:gd name="connsiteX0" fmla="*/ 12192000 w 12192000"/>
              <a:gd name="connsiteY0" fmla="*/ 1644514 h 2719098"/>
              <a:gd name="connsiteX1" fmla="*/ 6238063 w 12192000"/>
              <a:gd name="connsiteY1" fmla="*/ 0 h 2719098"/>
              <a:gd name="connsiteX2" fmla="*/ 0 w 12192000"/>
              <a:gd name="connsiteY2" fmla="*/ 1644514 h 2719098"/>
              <a:gd name="connsiteX3" fmla="*/ 0 w 12192000"/>
              <a:gd name="connsiteY3" fmla="*/ 2719098 h 2719098"/>
              <a:gd name="connsiteX4" fmla="*/ 12192000 w 12192000"/>
              <a:gd name="connsiteY4" fmla="*/ 2719098 h 2719098"/>
              <a:gd name="connsiteX5" fmla="*/ 12192000 w 12192000"/>
              <a:gd name="connsiteY5" fmla="*/ 1644514 h 2719098"/>
              <a:gd name="connsiteX0" fmla="*/ 12192000 w 12192000"/>
              <a:gd name="connsiteY0" fmla="*/ 2138436 h 3213020"/>
              <a:gd name="connsiteX1" fmla="*/ 6238063 w 12192000"/>
              <a:gd name="connsiteY1" fmla="*/ 493922 h 3213020"/>
              <a:gd name="connsiteX2" fmla="*/ 0 w 12192000"/>
              <a:gd name="connsiteY2" fmla="*/ 2138436 h 3213020"/>
              <a:gd name="connsiteX3" fmla="*/ 0 w 12192000"/>
              <a:gd name="connsiteY3" fmla="*/ 3213020 h 3213020"/>
              <a:gd name="connsiteX4" fmla="*/ 12192000 w 12192000"/>
              <a:gd name="connsiteY4" fmla="*/ 3213020 h 3213020"/>
              <a:gd name="connsiteX5" fmla="*/ 12192000 w 12192000"/>
              <a:gd name="connsiteY5" fmla="*/ 2138436 h 3213020"/>
              <a:gd name="connsiteX0" fmla="*/ 12192000 w 12192000"/>
              <a:gd name="connsiteY0" fmla="*/ 2044923 h 3119507"/>
              <a:gd name="connsiteX1" fmla="*/ 6238063 w 12192000"/>
              <a:gd name="connsiteY1" fmla="*/ 400409 h 3119507"/>
              <a:gd name="connsiteX2" fmla="*/ 3727091 w 12192000"/>
              <a:gd name="connsiteY2" fmla="*/ 121296 h 3119507"/>
              <a:gd name="connsiteX3" fmla="*/ 0 w 12192000"/>
              <a:gd name="connsiteY3" fmla="*/ 2044923 h 3119507"/>
              <a:gd name="connsiteX4" fmla="*/ 0 w 12192000"/>
              <a:gd name="connsiteY4" fmla="*/ 3119507 h 3119507"/>
              <a:gd name="connsiteX5" fmla="*/ 12192000 w 12192000"/>
              <a:gd name="connsiteY5" fmla="*/ 3119507 h 3119507"/>
              <a:gd name="connsiteX6" fmla="*/ 12192000 w 12192000"/>
              <a:gd name="connsiteY6" fmla="*/ 2044923 h 3119507"/>
              <a:gd name="connsiteX0" fmla="*/ 12192000 w 12192000"/>
              <a:gd name="connsiteY0" fmla="*/ 1652861 h 2727445"/>
              <a:gd name="connsiteX1" fmla="*/ 6238063 w 12192000"/>
              <a:gd name="connsiteY1" fmla="*/ 8347 h 2727445"/>
              <a:gd name="connsiteX2" fmla="*/ 3538406 w 12192000"/>
              <a:gd name="connsiteY2" fmla="*/ 1041063 h 2727445"/>
              <a:gd name="connsiteX3" fmla="*/ 0 w 12192000"/>
              <a:gd name="connsiteY3" fmla="*/ 1652861 h 2727445"/>
              <a:gd name="connsiteX4" fmla="*/ 0 w 12192000"/>
              <a:gd name="connsiteY4" fmla="*/ 2727445 h 2727445"/>
              <a:gd name="connsiteX5" fmla="*/ 12192000 w 12192000"/>
              <a:gd name="connsiteY5" fmla="*/ 2727445 h 2727445"/>
              <a:gd name="connsiteX6" fmla="*/ 12192000 w 12192000"/>
              <a:gd name="connsiteY6" fmla="*/ 1652861 h 2727445"/>
              <a:gd name="connsiteX0" fmla="*/ 12192000 w 12192000"/>
              <a:gd name="connsiteY0" fmla="*/ 1655532 h 2730116"/>
              <a:gd name="connsiteX1" fmla="*/ 8894177 w 12192000"/>
              <a:gd name="connsiteY1" fmla="*/ 569243 h 2730116"/>
              <a:gd name="connsiteX2" fmla="*/ 6238063 w 12192000"/>
              <a:gd name="connsiteY2" fmla="*/ 11018 h 2730116"/>
              <a:gd name="connsiteX3" fmla="*/ 3538406 w 12192000"/>
              <a:gd name="connsiteY3" fmla="*/ 1043734 h 2730116"/>
              <a:gd name="connsiteX4" fmla="*/ 0 w 12192000"/>
              <a:gd name="connsiteY4" fmla="*/ 1655532 h 2730116"/>
              <a:gd name="connsiteX5" fmla="*/ 0 w 12192000"/>
              <a:gd name="connsiteY5" fmla="*/ 2730116 h 2730116"/>
              <a:gd name="connsiteX6" fmla="*/ 12192000 w 12192000"/>
              <a:gd name="connsiteY6" fmla="*/ 2730116 h 2730116"/>
              <a:gd name="connsiteX7" fmla="*/ 12192000 w 12192000"/>
              <a:gd name="connsiteY7" fmla="*/ 1655532 h 2730116"/>
              <a:gd name="connsiteX0" fmla="*/ 12192000 w 12192000"/>
              <a:gd name="connsiteY0" fmla="*/ 1658292 h 2732876"/>
              <a:gd name="connsiteX1" fmla="*/ 8749034 w 12192000"/>
              <a:gd name="connsiteY1" fmla="*/ 1855923 h 2732876"/>
              <a:gd name="connsiteX2" fmla="*/ 6238063 w 12192000"/>
              <a:gd name="connsiteY2" fmla="*/ 13778 h 2732876"/>
              <a:gd name="connsiteX3" fmla="*/ 3538406 w 12192000"/>
              <a:gd name="connsiteY3" fmla="*/ 1046494 h 2732876"/>
              <a:gd name="connsiteX4" fmla="*/ 0 w 12192000"/>
              <a:gd name="connsiteY4" fmla="*/ 1658292 h 2732876"/>
              <a:gd name="connsiteX5" fmla="*/ 0 w 12192000"/>
              <a:gd name="connsiteY5" fmla="*/ 2732876 h 2732876"/>
              <a:gd name="connsiteX6" fmla="*/ 12192000 w 12192000"/>
              <a:gd name="connsiteY6" fmla="*/ 2732876 h 2732876"/>
              <a:gd name="connsiteX7" fmla="*/ 12192000 w 12192000"/>
              <a:gd name="connsiteY7" fmla="*/ 1658292 h 2732876"/>
              <a:gd name="connsiteX0" fmla="*/ 12192000 w 12192000"/>
              <a:gd name="connsiteY0" fmla="*/ 780671 h 1855255"/>
              <a:gd name="connsiteX1" fmla="*/ 8749034 w 12192000"/>
              <a:gd name="connsiteY1" fmla="*/ 978302 h 1855255"/>
              <a:gd name="connsiteX2" fmla="*/ 6034863 w 12192000"/>
              <a:gd name="connsiteY2" fmla="*/ 140965 h 1855255"/>
              <a:gd name="connsiteX3" fmla="*/ 3538406 w 12192000"/>
              <a:gd name="connsiteY3" fmla="*/ 168873 h 1855255"/>
              <a:gd name="connsiteX4" fmla="*/ 0 w 12192000"/>
              <a:gd name="connsiteY4" fmla="*/ 780671 h 1855255"/>
              <a:gd name="connsiteX5" fmla="*/ 0 w 12192000"/>
              <a:gd name="connsiteY5" fmla="*/ 1855255 h 1855255"/>
              <a:gd name="connsiteX6" fmla="*/ 12192000 w 12192000"/>
              <a:gd name="connsiteY6" fmla="*/ 1855255 h 1855255"/>
              <a:gd name="connsiteX7" fmla="*/ 12192000 w 12192000"/>
              <a:gd name="connsiteY7" fmla="*/ 780671 h 1855255"/>
              <a:gd name="connsiteX0" fmla="*/ 12192000 w 12192000"/>
              <a:gd name="connsiteY0" fmla="*/ 641773 h 1716357"/>
              <a:gd name="connsiteX1" fmla="*/ 8749034 w 12192000"/>
              <a:gd name="connsiteY1" fmla="*/ 839404 h 1716357"/>
              <a:gd name="connsiteX2" fmla="*/ 6034863 w 12192000"/>
              <a:gd name="connsiteY2" fmla="*/ 2067 h 1716357"/>
              <a:gd name="connsiteX3" fmla="*/ 3132006 w 12192000"/>
              <a:gd name="connsiteY3" fmla="*/ 1090602 h 1716357"/>
              <a:gd name="connsiteX4" fmla="*/ 0 w 12192000"/>
              <a:gd name="connsiteY4" fmla="*/ 641773 h 1716357"/>
              <a:gd name="connsiteX5" fmla="*/ 0 w 12192000"/>
              <a:gd name="connsiteY5" fmla="*/ 1716357 h 1716357"/>
              <a:gd name="connsiteX6" fmla="*/ 12192000 w 12192000"/>
              <a:gd name="connsiteY6" fmla="*/ 1716357 h 1716357"/>
              <a:gd name="connsiteX7" fmla="*/ 12192000 w 12192000"/>
              <a:gd name="connsiteY7" fmla="*/ 641773 h 1716357"/>
              <a:gd name="connsiteX0" fmla="*/ 12192000 w 12192000"/>
              <a:gd name="connsiteY0" fmla="*/ 1003870 h 2078454"/>
              <a:gd name="connsiteX1" fmla="*/ 8749034 w 12192000"/>
              <a:gd name="connsiteY1" fmla="*/ 1201501 h 2078454"/>
              <a:gd name="connsiteX2" fmla="*/ 6020349 w 12192000"/>
              <a:gd name="connsiteY2" fmla="*/ 1317 h 2078454"/>
              <a:gd name="connsiteX3" fmla="*/ 3132006 w 12192000"/>
              <a:gd name="connsiteY3" fmla="*/ 1452699 h 2078454"/>
              <a:gd name="connsiteX4" fmla="*/ 0 w 12192000"/>
              <a:gd name="connsiteY4" fmla="*/ 1003870 h 2078454"/>
              <a:gd name="connsiteX5" fmla="*/ 0 w 12192000"/>
              <a:gd name="connsiteY5" fmla="*/ 2078454 h 2078454"/>
              <a:gd name="connsiteX6" fmla="*/ 12192000 w 12192000"/>
              <a:gd name="connsiteY6" fmla="*/ 2078454 h 2078454"/>
              <a:gd name="connsiteX7" fmla="*/ 12192000 w 12192000"/>
              <a:gd name="connsiteY7" fmla="*/ 1003870 h 2078454"/>
              <a:gd name="connsiteX0" fmla="*/ 12192000 w 13622890"/>
              <a:gd name="connsiteY0" fmla="*/ 1003870 h 2078454"/>
              <a:gd name="connsiteX1" fmla="*/ 8749034 w 13622890"/>
              <a:gd name="connsiteY1" fmla="*/ 1201501 h 2078454"/>
              <a:gd name="connsiteX2" fmla="*/ 6020349 w 13622890"/>
              <a:gd name="connsiteY2" fmla="*/ 1317 h 2078454"/>
              <a:gd name="connsiteX3" fmla="*/ 3132006 w 13622890"/>
              <a:gd name="connsiteY3" fmla="*/ 1452699 h 2078454"/>
              <a:gd name="connsiteX4" fmla="*/ 0 w 13622890"/>
              <a:gd name="connsiteY4" fmla="*/ 1003870 h 2078454"/>
              <a:gd name="connsiteX5" fmla="*/ 0 w 13622890"/>
              <a:gd name="connsiteY5" fmla="*/ 2078454 h 2078454"/>
              <a:gd name="connsiteX6" fmla="*/ 13622890 w 13622890"/>
              <a:gd name="connsiteY6" fmla="*/ 2070360 h 2078454"/>
              <a:gd name="connsiteX7" fmla="*/ 12192000 w 13622890"/>
              <a:gd name="connsiteY7" fmla="*/ 1003870 h 2078454"/>
              <a:gd name="connsiteX0" fmla="*/ 12192000 w 13815139"/>
              <a:gd name="connsiteY0" fmla="*/ 1003870 h 2078454"/>
              <a:gd name="connsiteX1" fmla="*/ 8749034 w 13815139"/>
              <a:gd name="connsiteY1" fmla="*/ 1201501 h 2078454"/>
              <a:gd name="connsiteX2" fmla="*/ 6020349 w 13815139"/>
              <a:gd name="connsiteY2" fmla="*/ 1317 h 2078454"/>
              <a:gd name="connsiteX3" fmla="*/ 3132006 w 13815139"/>
              <a:gd name="connsiteY3" fmla="*/ 1452699 h 2078454"/>
              <a:gd name="connsiteX4" fmla="*/ 0 w 13815139"/>
              <a:gd name="connsiteY4" fmla="*/ 1003870 h 2078454"/>
              <a:gd name="connsiteX5" fmla="*/ 0 w 13815139"/>
              <a:gd name="connsiteY5" fmla="*/ 2078454 h 2078454"/>
              <a:gd name="connsiteX6" fmla="*/ 13622890 w 13815139"/>
              <a:gd name="connsiteY6" fmla="*/ 2070360 h 2078454"/>
              <a:gd name="connsiteX7" fmla="*/ 12192000 w 13815139"/>
              <a:gd name="connsiteY7" fmla="*/ 1003870 h 2078454"/>
              <a:gd name="connsiteX0" fmla="*/ 12778056 w 13879689"/>
              <a:gd name="connsiteY0" fmla="*/ 1007411 h 2078454"/>
              <a:gd name="connsiteX1" fmla="*/ 8749034 w 13879689"/>
              <a:gd name="connsiteY1" fmla="*/ 1201501 h 2078454"/>
              <a:gd name="connsiteX2" fmla="*/ 6020349 w 13879689"/>
              <a:gd name="connsiteY2" fmla="*/ 1317 h 2078454"/>
              <a:gd name="connsiteX3" fmla="*/ 3132006 w 13879689"/>
              <a:gd name="connsiteY3" fmla="*/ 1452699 h 2078454"/>
              <a:gd name="connsiteX4" fmla="*/ 0 w 13879689"/>
              <a:gd name="connsiteY4" fmla="*/ 1003870 h 2078454"/>
              <a:gd name="connsiteX5" fmla="*/ 0 w 13879689"/>
              <a:gd name="connsiteY5" fmla="*/ 2078454 h 2078454"/>
              <a:gd name="connsiteX6" fmla="*/ 13622890 w 13879689"/>
              <a:gd name="connsiteY6" fmla="*/ 2070360 h 2078454"/>
              <a:gd name="connsiteX7" fmla="*/ 12778056 w 13879689"/>
              <a:gd name="connsiteY7" fmla="*/ 1007411 h 2078454"/>
              <a:gd name="connsiteX0" fmla="*/ 12778056 w 13759858"/>
              <a:gd name="connsiteY0" fmla="*/ 1007411 h 2078454"/>
              <a:gd name="connsiteX1" fmla="*/ 8749034 w 13759858"/>
              <a:gd name="connsiteY1" fmla="*/ 1201501 h 2078454"/>
              <a:gd name="connsiteX2" fmla="*/ 6020349 w 13759858"/>
              <a:gd name="connsiteY2" fmla="*/ 1317 h 2078454"/>
              <a:gd name="connsiteX3" fmla="*/ 3132006 w 13759858"/>
              <a:gd name="connsiteY3" fmla="*/ 1452699 h 2078454"/>
              <a:gd name="connsiteX4" fmla="*/ 0 w 13759858"/>
              <a:gd name="connsiteY4" fmla="*/ 1003870 h 2078454"/>
              <a:gd name="connsiteX5" fmla="*/ 0 w 13759858"/>
              <a:gd name="connsiteY5" fmla="*/ 2078454 h 2078454"/>
              <a:gd name="connsiteX6" fmla="*/ 13622890 w 13759858"/>
              <a:gd name="connsiteY6" fmla="*/ 2070360 h 2078454"/>
              <a:gd name="connsiteX7" fmla="*/ 12778056 w 13759858"/>
              <a:gd name="connsiteY7" fmla="*/ 1007411 h 2078454"/>
              <a:gd name="connsiteX0" fmla="*/ 12778056 w 13645451"/>
              <a:gd name="connsiteY0" fmla="*/ 1007411 h 2078454"/>
              <a:gd name="connsiteX1" fmla="*/ 8749034 w 13645451"/>
              <a:gd name="connsiteY1" fmla="*/ 1201501 h 2078454"/>
              <a:gd name="connsiteX2" fmla="*/ 6020349 w 13645451"/>
              <a:gd name="connsiteY2" fmla="*/ 1317 h 2078454"/>
              <a:gd name="connsiteX3" fmla="*/ 3132006 w 13645451"/>
              <a:gd name="connsiteY3" fmla="*/ 1452699 h 2078454"/>
              <a:gd name="connsiteX4" fmla="*/ 0 w 13645451"/>
              <a:gd name="connsiteY4" fmla="*/ 1003870 h 2078454"/>
              <a:gd name="connsiteX5" fmla="*/ 0 w 13645451"/>
              <a:gd name="connsiteY5" fmla="*/ 2078454 h 2078454"/>
              <a:gd name="connsiteX6" fmla="*/ 13503015 w 13645451"/>
              <a:gd name="connsiteY6" fmla="*/ 2077442 h 2078454"/>
              <a:gd name="connsiteX7" fmla="*/ 12778056 w 13645451"/>
              <a:gd name="connsiteY7" fmla="*/ 1007411 h 2078454"/>
              <a:gd name="connsiteX0" fmla="*/ 12778056 w 13818014"/>
              <a:gd name="connsiteY0" fmla="*/ 1007411 h 2078454"/>
              <a:gd name="connsiteX1" fmla="*/ 8749034 w 13818014"/>
              <a:gd name="connsiteY1" fmla="*/ 1201501 h 2078454"/>
              <a:gd name="connsiteX2" fmla="*/ 6020349 w 13818014"/>
              <a:gd name="connsiteY2" fmla="*/ 1317 h 2078454"/>
              <a:gd name="connsiteX3" fmla="*/ 3132006 w 13818014"/>
              <a:gd name="connsiteY3" fmla="*/ 1452699 h 2078454"/>
              <a:gd name="connsiteX4" fmla="*/ 0 w 13818014"/>
              <a:gd name="connsiteY4" fmla="*/ 1003870 h 2078454"/>
              <a:gd name="connsiteX5" fmla="*/ 0 w 13818014"/>
              <a:gd name="connsiteY5" fmla="*/ 2078454 h 2078454"/>
              <a:gd name="connsiteX6" fmla="*/ 13503015 w 13818014"/>
              <a:gd name="connsiteY6" fmla="*/ 2077442 h 2078454"/>
              <a:gd name="connsiteX7" fmla="*/ 12778056 w 13818014"/>
              <a:gd name="connsiteY7" fmla="*/ 1007411 h 2078454"/>
              <a:gd name="connsiteX0" fmla="*/ 12778056 w 13811012"/>
              <a:gd name="connsiteY0" fmla="*/ 1007411 h 2078454"/>
              <a:gd name="connsiteX1" fmla="*/ 8749034 w 13811012"/>
              <a:gd name="connsiteY1" fmla="*/ 1201501 h 2078454"/>
              <a:gd name="connsiteX2" fmla="*/ 6020349 w 13811012"/>
              <a:gd name="connsiteY2" fmla="*/ 1317 h 2078454"/>
              <a:gd name="connsiteX3" fmla="*/ 3132006 w 13811012"/>
              <a:gd name="connsiteY3" fmla="*/ 1452699 h 2078454"/>
              <a:gd name="connsiteX4" fmla="*/ 0 w 13811012"/>
              <a:gd name="connsiteY4" fmla="*/ 1003870 h 2078454"/>
              <a:gd name="connsiteX5" fmla="*/ 0 w 13811012"/>
              <a:gd name="connsiteY5" fmla="*/ 2078454 h 2078454"/>
              <a:gd name="connsiteX6" fmla="*/ 13503015 w 13811012"/>
              <a:gd name="connsiteY6" fmla="*/ 2077442 h 2078454"/>
              <a:gd name="connsiteX7" fmla="*/ 12778056 w 13811012"/>
              <a:gd name="connsiteY7" fmla="*/ 1007411 h 2078454"/>
              <a:gd name="connsiteX0" fmla="*/ 12764737 w 13809970"/>
              <a:gd name="connsiteY0" fmla="*/ 993248 h 2078454"/>
              <a:gd name="connsiteX1" fmla="*/ 8749034 w 13809970"/>
              <a:gd name="connsiteY1" fmla="*/ 1201501 h 2078454"/>
              <a:gd name="connsiteX2" fmla="*/ 6020349 w 13809970"/>
              <a:gd name="connsiteY2" fmla="*/ 1317 h 2078454"/>
              <a:gd name="connsiteX3" fmla="*/ 3132006 w 13809970"/>
              <a:gd name="connsiteY3" fmla="*/ 1452699 h 2078454"/>
              <a:gd name="connsiteX4" fmla="*/ 0 w 13809970"/>
              <a:gd name="connsiteY4" fmla="*/ 1003870 h 2078454"/>
              <a:gd name="connsiteX5" fmla="*/ 0 w 13809970"/>
              <a:gd name="connsiteY5" fmla="*/ 2078454 h 2078454"/>
              <a:gd name="connsiteX6" fmla="*/ 13503015 w 13809970"/>
              <a:gd name="connsiteY6" fmla="*/ 2077442 h 2078454"/>
              <a:gd name="connsiteX7" fmla="*/ 12764737 w 13809970"/>
              <a:gd name="connsiteY7" fmla="*/ 993248 h 2078454"/>
              <a:gd name="connsiteX0" fmla="*/ 12764737 w 13819996"/>
              <a:gd name="connsiteY0" fmla="*/ 993248 h 2078454"/>
              <a:gd name="connsiteX1" fmla="*/ 8749034 w 13819996"/>
              <a:gd name="connsiteY1" fmla="*/ 1201501 h 2078454"/>
              <a:gd name="connsiteX2" fmla="*/ 6020349 w 13819996"/>
              <a:gd name="connsiteY2" fmla="*/ 1317 h 2078454"/>
              <a:gd name="connsiteX3" fmla="*/ 3132006 w 13819996"/>
              <a:gd name="connsiteY3" fmla="*/ 1452699 h 2078454"/>
              <a:gd name="connsiteX4" fmla="*/ 0 w 13819996"/>
              <a:gd name="connsiteY4" fmla="*/ 1003870 h 2078454"/>
              <a:gd name="connsiteX5" fmla="*/ 0 w 13819996"/>
              <a:gd name="connsiteY5" fmla="*/ 2078454 h 2078454"/>
              <a:gd name="connsiteX6" fmla="*/ 13503015 w 13819996"/>
              <a:gd name="connsiteY6" fmla="*/ 2077442 h 2078454"/>
              <a:gd name="connsiteX7" fmla="*/ 12764737 w 13819996"/>
              <a:gd name="connsiteY7" fmla="*/ 993248 h 2078454"/>
              <a:gd name="connsiteX0" fmla="*/ 12764737 w 13810433"/>
              <a:gd name="connsiteY0" fmla="*/ 993248 h 2078454"/>
              <a:gd name="connsiteX1" fmla="*/ 8749034 w 13810433"/>
              <a:gd name="connsiteY1" fmla="*/ 1201501 h 2078454"/>
              <a:gd name="connsiteX2" fmla="*/ 6020349 w 13810433"/>
              <a:gd name="connsiteY2" fmla="*/ 1317 h 2078454"/>
              <a:gd name="connsiteX3" fmla="*/ 3132006 w 13810433"/>
              <a:gd name="connsiteY3" fmla="*/ 1452699 h 2078454"/>
              <a:gd name="connsiteX4" fmla="*/ 0 w 13810433"/>
              <a:gd name="connsiteY4" fmla="*/ 1003870 h 2078454"/>
              <a:gd name="connsiteX5" fmla="*/ 0 w 13810433"/>
              <a:gd name="connsiteY5" fmla="*/ 2078454 h 2078454"/>
              <a:gd name="connsiteX6" fmla="*/ 13503015 w 13810433"/>
              <a:gd name="connsiteY6" fmla="*/ 2077442 h 2078454"/>
              <a:gd name="connsiteX7" fmla="*/ 12764737 w 13810433"/>
              <a:gd name="connsiteY7" fmla="*/ 993248 h 2078454"/>
              <a:gd name="connsiteX0" fmla="*/ 12764737 w 13808417"/>
              <a:gd name="connsiteY0" fmla="*/ 993248 h 2078454"/>
              <a:gd name="connsiteX1" fmla="*/ 8749034 w 13808417"/>
              <a:gd name="connsiteY1" fmla="*/ 1201501 h 2078454"/>
              <a:gd name="connsiteX2" fmla="*/ 6020349 w 13808417"/>
              <a:gd name="connsiteY2" fmla="*/ 1317 h 2078454"/>
              <a:gd name="connsiteX3" fmla="*/ 3132006 w 13808417"/>
              <a:gd name="connsiteY3" fmla="*/ 1452699 h 2078454"/>
              <a:gd name="connsiteX4" fmla="*/ 0 w 13808417"/>
              <a:gd name="connsiteY4" fmla="*/ 1003870 h 2078454"/>
              <a:gd name="connsiteX5" fmla="*/ 0 w 13808417"/>
              <a:gd name="connsiteY5" fmla="*/ 2078454 h 2078454"/>
              <a:gd name="connsiteX6" fmla="*/ 13503015 w 13808417"/>
              <a:gd name="connsiteY6" fmla="*/ 2077442 h 2078454"/>
              <a:gd name="connsiteX7" fmla="*/ 12764737 w 13808417"/>
              <a:gd name="connsiteY7" fmla="*/ 993248 h 2078454"/>
              <a:gd name="connsiteX0" fmla="*/ 12764737 w 13887272"/>
              <a:gd name="connsiteY0" fmla="*/ 993248 h 2078454"/>
              <a:gd name="connsiteX1" fmla="*/ 8749034 w 13887272"/>
              <a:gd name="connsiteY1" fmla="*/ 1201501 h 2078454"/>
              <a:gd name="connsiteX2" fmla="*/ 6020349 w 13887272"/>
              <a:gd name="connsiteY2" fmla="*/ 1317 h 2078454"/>
              <a:gd name="connsiteX3" fmla="*/ 3132006 w 13887272"/>
              <a:gd name="connsiteY3" fmla="*/ 1452699 h 2078454"/>
              <a:gd name="connsiteX4" fmla="*/ 0 w 13887272"/>
              <a:gd name="connsiteY4" fmla="*/ 1003870 h 2078454"/>
              <a:gd name="connsiteX5" fmla="*/ 0 w 13887272"/>
              <a:gd name="connsiteY5" fmla="*/ 2078454 h 2078454"/>
              <a:gd name="connsiteX6" fmla="*/ 13503015 w 13887272"/>
              <a:gd name="connsiteY6" fmla="*/ 2077442 h 2078454"/>
              <a:gd name="connsiteX7" fmla="*/ 12764737 w 13887272"/>
              <a:gd name="connsiteY7" fmla="*/ 993248 h 2078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87272" h="2078454">
                <a:moveTo>
                  <a:pt x="12764737" y="993248"/>
                </a:moveTo>
                <a:cubicBezTo>
                  <a:pt x="12215100" y="633103"/>
                  <a:pt x="9741357" y="1475587"/>
                  <a:pt x="8749034" y="1201501"/>
                </a:cubicBezTo>
                <a:cubicBezTo>
                  <a:pt x="7756711" y="927415"/>
                  <a:pt x="6956520" y="-40549"/>
                  <a:pt x="6020349" y="1317"/>
                </a:cubicBezTo>
                <a:cubicBezTo>
                  <a:pt x="5084178" y="43183"/>
                  <a:pt x="4171683" y="1178613"/>
                  <a:pt x="3132006" y="1452699"/>
                </a:cubicBezTo>
                <a:cubicBezTo>
                  <a:pt x="2092329" y="1726785"/>
                  <a:pt x="621182" y="504168"/>
                  <a:pt x="0" y="1003870"/>
                </a:cubicBezTo>
                <a:lnTo>
                  <a:pt x="0" y="2078454"/>
                </a:lnTo>
                <a:lnTo>
                  <a:pt x="13503015" y="2077442"/>
                </a:lnTo>
                <a:cubicBezTo>
                  <a:pt x="14757580" y="1959186"/>
                  <a:pt x="12517123" y="1207110"/>
                  <a:pt x="12764737" y="993248"/>
                </a:cubicBezTo>
                <a:close/>
              </a:path>
            </a:pathLst>
          </a:custGeom>
          <a:solidFill>
            <a:schemeClr val="accent3">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0" name="Title 1"/>
          <p:cNvSpPr txBox="1">
            <a:spLocks/>
          </p:cNvSpPr>
          <p:nvPr/>
        </p:nvSpPr>
        <p:spPr>
          <a:xfrm>
            <a:off x="2322501" y="1080099"/>
            <a:ext cx="2853464" cy="116558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3200" b="1" spc="-151">
                <a:solidFill>
                  <a:schemeClr val="bg1"/>
                </a:solidFill>
                <a:latin typeface="Source Sans Pro" panose="020B0503030403020204" pitchFamily="34" charset="0"/>
                <a:ea typeface="Source Sans Pro" panose="020B0503030403020204" pitchFamily="34" charset="0"/>
                <a:cs typeface="Open Sans Light" panose="020B0306030504020204" pitchFamily="34" charset="0"/>
              </a:defRPr>
            </a:lvl1pPr>
          </a:lstStyle>
          <a:p>
            <a:pPr algn="r"/>
            <a:r>
              <a:rPr lang="da-DK" sz="4000" dirty="0">
                <a:latin typeface="+mn-lt"/>
              </a:rPr>
              <a:t>Our Agenda</a:t>
            </a:r>
            <a:endParaRPr lang="en-US" sz="4000" dirty="0">
              <a:latin typeface="+mn-lt"/>
            </a:endParaRPr>
          </a:p>
        </p:txBody>
      </p:sp>
      <p:sp>
        <p:nvSpPr>
          <p:cNvPr id="41" name="Rectangle 40"/>
          <p:cNvSpPr/>
          <p:nvPr/>
        </p:nvSpPr>
        <p:spPr>
          <a:xfrm>
            <a:off x="2001974" y="2026820"/>
            <a:ext cx="3173991" cy="1028423"/>
          </a:xfrm>
          <a:prstGeom prst="rect">
            <a:avLst/>
          </a:prstGeom>
        </p:spPr>
        <p:txBody>
          <a:bodyPr wrap="square">
            <a:spAutoFit/>
          </a:bodyPr>
          <a:lstStyle/>
          <a:p>
            <a:pPr algn="just">
              <a:lnSpc>
                <a:spcPct val="150000"/>
              </a:lnSpc>
              <a:buClr>
                <a:srgbClr val="E24848"/>
              </a:buClr>
              <a:defRPr/>
            </a:pPr>
            <a:r>
              <a:rPr lang="en-US" sz="1400" noProof="1">
                <a:solidFill>
                  <a:schemeClr val="bg1"/>
                </a:solidFill>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t>
            </a:r>
          </a:p>
        </p:txBody>
      </p:sp>
      <p:sp>
        <p:nvSpPr>
          <p:cNvPr id="24" name="Rectangle 23"/>
          <p:cNvSpPr/>
          <p:nvPr/>
        </p:nvSpPr>
        <p:spPr>
          <a:xfrm>
            <a:off x="6810200" y="470530"/>
            <a:ext cx="3097962" cy="58477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noProof="1">
                <a:solidFill>
                  <a:schemeClr val="tx1">
                    <a:lumMod val="75000"/>
                    <a:lumOff val="25000"/>
                  </a:schemeClr>
                </a:solidFill>
                <a:ea typeface="Open Sans" panose="020B0606030504020204" pitchFamily="34" charset="0"/>
                <a:cs typeface="Open Sans" panose="020B0606030504020204" pitchFamily="34" charset="0"/>
              </a:rPr>
              <a:t>About</a:t>
            </a:r>
            <a:r>
              <a:rPr lang="en-US" b="1" noProof="1">
                <a:solidFill>
                  <a:schemeClr val="tx1">
                    <a:lumMod val="75000"/>
                    <a:lumOff val="25000"/>
                  </a:schemeClr>
                </a:solidFill>
                <a:ea typeface="Open Sans" panose="020B0606030504020204" pitchFamily="34" charset="0"/>
                <a:cs typeface="Open Sans" panose="020B0606030504020204" pitchFamily="34" charset="0"/>
              </a:rPr>
              <a:t> Us</a:t>
            </a:r>
          </a:p>
        </p:txBody>
      </p:sp>
      <p:sp>
        <p:nvSpPr>
          <p:cNvPr id="27" name="Rectangle 26"/>
          <p:cNvSpPr/>
          <p:nvPr/>
        </p:nvSpPr>
        <p:spPr>
          <a:xfrm>
            <a:off x="7593466" y="1862510"/>
            <a:ext cx="3097962" cy="48308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noProof="1">
                <a:solidFill>
                  <a:schemeClr val="tx1">
                    <a:lumMod val="75000"/>
                    <a:lumOff val="25000"/>
                  </a:schemeClr>
                </a:solidFill>
                <a:ea typeface="Open Sans" panose="020B0606030504020204" pitchFamily="34" charset="0"/>
                <a:cs typeface="Open Sans" panose="020B0606030504020204" pitchFamily="34" charset="0"/>
              </a:rPr>
              <a:t>Who We </a:t>
            </a:r>
            <a:r>
              <a:rPr lang="en-US" b="1" noProof="1">
                <a:solidFill>
                  <a:schemeClr val="tx1">
                    <a:lumMod val="75000"/>
                    <a:lumOff val="25000"/>
                  </a:schemeClr>
                </a:solidFill>
                <a:ea typeface="Open Sans" panose="020B0606030504020204" pitchFamily="34" charset="0"/>
                <a:cs typeface="Open Sans" panose="020B0606030504020204" pitchFamily="34" charset="0"/>
              </a:rPr>
              <a:t>Are?</a:t>
            </a:r>
          </a:p>
        </p:txBody>
      </p:sp>
      <p:sp>
        <p:nvSpPr>
          <p:cNvPr id="30" name="Rectangle 29"/>
          <p:cNvSpPr/>
          <p:nvPr/>
        </p:nvSpPr>
        <p:spPr>
          <a:xfrm>
            <a:off x="8092014" y="3742639"/>
            <a:ext cx="3097962" cy="58477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noProof="1">
                <a:solidFill>
                  <a:schemeClr val="tx1">
                    <a:lumMod val="75000"/>
                    <a:lumOff val="25000"/>
                  </a:schemeClr>
                </a:solidFill>
                <a:ea typeface="Open Sans" panose="020B0606030504020204" pitchFamily="34" charset="0"/>
                <a:cs typeface="Open Sans" panose="020B0606030504020204" pitchFamily="34" charset="0"/>
              </a:rPr>
              <a:t>What We </a:t>
            </a:r>
            <a:r>
              <a:rPr lang="en-US" b="1" noProof="1">
                <a:solidFill>
                  <a:schemeClr val="tx1">
                    <a:lumMod val="75000"/>
                    <a:lumOff val="25000"/>
                  </a:schemeClr>
                </a:solidFill>
                <a:ea typeface="Open Sans" panose="020B0606030504020204" pitchFamily="34" charset="0"/>
                <a:cs typeface="Open Sans" panose="020B0606030504020204" pitchFamily="34" charset="0"/>
              </a:rPr>
              <a:t>Do</a:t>
            </a:r>
          </a:p>
        </p:txBody>
      </p:sp>
      <p:sp>
        <p:nvSpPr>
          <p:cNvPr id="23" name="Oval 22"/>
          <p:cNvSpPr/>
          <p:nvPr/>
        </p:nvSpPr>
        <p:spPr>
          <a:xfrm>
            <a:off x="6408983" y="599099"/>
            <a:ext cx="224070" cy="224070"/>
          </a:xfrm>
          <a:prstGeom prst="ellips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endParaRPr lang="en-US" sz="1051" dirty="0">
              <a:solidFill>
                <a:schemeClr val="tx1">
                  <a:lumMod val="85000"/>
                  <a:lumOff val="15000"/>
                </a:schemeClr>
              </a:solidFill>
              <a:ea typeface="Open Sans Light" panose="020B0306030504020204" pitchFamily="34" charset="0"/>
              <a:cs typeface="Open Sans Light" panose="020B0306030504020204" pitchFamily="34" charset="0"/>
            </a:endParaRPr>
          </a:p>
        </p:txBody>
      </p:sp>
      <p:sp>
        <p:nvSpPr>
          <p:cNvPr id="26" name="Oval 25"/>
          <p:cNvSpPr/>
          <p:nvPr/>
        </p:nvSpPr>
        <p:spPr>
          <a:xfrm>
            <a:off x="7190766" y="2021618"/>
            <a:ext cx="224070" cy="224070"/>
          </a:xfrm>
          <a:prstGeom prst="ellips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endParaRPr lang="en-US" sz="1051" dirty="0">
              <a:solidFill>
                <a:schemeClr val="tx1">
                  <a:lumMod val="85000"/>
                  <a:lumOff val="15000"/>
                </a:schemeClr>
              </a:solidFill>
              <a:ea typeface="Open Sans Light" panose="020B0306030504020204" pitchFamily="34" charset="0"/>
              <a:cs typeface="Open Sans Light" panose="020B0306030504020204" pitchFamily="34" charset="0"/>
            </a:endParaRPr>
          </a:p>
        </p:txBody>
      </p:sp>
      <p:sp>
        <p:nvSpPr>
          <p:cNvPr id="29" name="Oval 28"/>
          <p:cNvSpPr/>
          <p:nvPr/>
        </p:nvSpPr>
        <p:spPr>
          <a:xfrm>
            <a:off x="7839409" y="3977998"/>
            <a:ext cx="224070" cy="224070"/>
          </a:xfrm>
          <a:prstGeom prst="ellips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endParaRPr lang="en-US" sz="1051" dirty="0">
              <a:solidFill>
                <a:schemeClr val="tx1">
                  <a:lumMod val="85000"/>
                  <a:lumOff val="15000"/>
                </a:schemeClr>
              </a:solidFill>
              <a:ea typeface="Open Sans Light" panose="020B0306030504020204" pitchFamily="34" charset="0"/>
              <a:cs typeface="Open Sans Light" panose="020B0306030504020204" pitchFamily="34" charset="0"/>
            </a:endParaRPr>
          </a:p>
        </p:txBody>
      </p:sp>
      <p:sp>
        <p:nvSpPr>
          <p:cNvPr id="50" name="Rectangle 49"/>
          <p:cNvSpPr/>
          <p:nvPr/>
        </p:nvSpPr>
        <p:spPr>
          <a:xfrm>
            <a:off x="8145977" y="4307056"/>
            <a:ext cx="3300373" cy="792483"/>
          </a:xfrm>
          <a:prstGeom prst="rect">
            <a:avLst/>
          </a:prstGeom>
        </p:spPr>
        <p:txBody>
          <a:bodyPr wrap="square" anchor="ctr">
            <a:noAutofit/>
          </a:bodyPr>
          <a:lstStyle/>
          <a:p>
            <a:pPr algn="just">
              <a:lnSpc>
                <a:spcPct val="150000"/>
              </a:lnSpc>
              <a:buClr>
                <a:srgbClr val="E24848"/>
              </a:buClr>
              <a:defRPr/>
            </a:pPr>
            <a:r>
              <a:rPr lang="en-US" sz="1200" noProof="1">
                <a:solidFill>
                  <a:schemeClr val="tx1">
                    <a:lumMod val="75000"/>
                    <a:lumOff val="25000"/>
                  </a:schemeClr>
                </a:solidFill>
                <a:ea typeface="Open Sans Light" panose="020B0306030504020204" pitchFamily="34" charset="0"/>
                <a:cs typeface="Open Sans Light" panose="020B0306030504020204" pitchFamily="34" charset="0"/>
              </a:rPr>
              <a:t>Lorem ipsum dolor sit amet, consectetur adipiscing elit. Nulla imperdiet volutpat dui at fermentum. </a:t>
            </a:r>
          </a:p>
        </p:txBody>
      </p:sp>
      <p:sp>
        <p:nvSpPr>
          <p:cNvPr id="51" name="Rectangle 50"/>
          <p:cNvSpPr/>
          <p:nvPr/>
        </p:nvSpPr>
        <p:spPr>
          <a:xfrm>
            <a:off x="7808269" y="2284168"/>
            <a:ext cx="3300373" cy="792483"/>
          </a:xfrm>
          <a:prstGeom prst="rect">
            <a:avLst/>
          </a:prstGeom>
        </p:spPr>
        <p:txBody>
          <a:bodyPr wrap="square" anchor="ctr">
            <a:noAutofit/>
          </a:bodyPr>
          <a:lstStyle/>
          <a:p>
            <a:pPr algn="just">
              <a:lnSpc>
                <a:spcPct val="150000"/>
              </a:lnSpc>
              <a:buClr>
                <a:srgbClr val="E24848"/>
              </a:buClr>
              <a:defRPr/>
            </a:pPr>
            <a:r>
              <a:rPr lang="en-US" sz="1200" noProof="1">
                <a:solidFill>
                  <a:schemeClr val="tx1">
                    <a:lumMod val="75000"/>
                    <a:lumOff val="25000"/>
                  </a:schemeClr>
                </a:solidFill>
                <a:ea typeface="Open Sans Light" panose="020B0306030504020204" pitchFamily="34" charset="0"/>
                <a:cs typeface="Open Sans Light" panose="020B0306030504020204" pitchFamily="34" charset="0"/>
              </a:rPr>
              <a:t>Lorem ipsum dolor sit amet, consectetur adipiscing elit. Nulla imperdiet volutpat dui at fermentum. </a:t>
            </a:r>
          </a:p>
        </p:txBody>
      </p:sp>
      <p:sp>
        <p:nvSpPr>
          <p:cNvPr id="52" name="Rectangle 51"/>
          <p:cNvSpPr/>
          <p:nvPr/>
        </p:nvSpPr>
        <p:spPr>
          <a:xfrm>
            <a:off x="6810500" y="964295"/>
            <a:ext cx="3300373" cy="792483"/>
          </a:xfrm>
          <a:prstGeom prst="rect">
            <a:avLst/>
          </a:prstGeom>
        </p:spPr>
        <p:txBody>
          <a:bodyPr wrap="square" anchor="ctr">
            <a:noAutofit/>
          </a:bodyPr>
          <a:lstStyle/>
          <a:p>
            <a:pPr algn="just">
              <a:lnSpc>
                <a:spcPct val="150000"/>
              </a:lnSpc>
              <a:buClr>
                <a:srgbClr val="E24848"/>
              </a:buClr>
              <a:defRPr/>
            </a:pPr>
            <a:r>
              <a:rPr lang="en-US" sz="1200" noProof="1">
                <a:solidFill>
                  <a:schemeClr val="tx1">
                    <a:lumMod val="75000"/>
                    <a:lumOff val="25000"/>
                  </a:schemeClr>
                </a:solidFill>
                <a:ea typeface="Open Sans Light" panose="020B0306030504020204" pitchFamily="34" charset="0"/>
                <a:cs typeface="Open Sans Light" panose="020B0306030504020204" pitchFamily="34" charset="0"/>
              </a:rPr>
              <a:t>Lorem ipsum dolor sit amet, consectetur adipiscing elit. Nulla imperdiet volutpat dui at fermentum. </a:t>
            </a:r>
          </a:p>
        </p:txBody>
      </p:sp>
    </p:spTree>
    <p:extLst>
      <p:ext uri="{BB962C8B-B14F-4D97-AF65-F5344CB8AC3E}">
        <p14:creationId xmlns:p14="http://schemas.microsoft.com/office/powerpoint/2010/main" val="2073396065"/>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B610DEB5-0ED6-49CC-89DD-2C95FF8E3414}"/>
              </a:ext>
            </a:extLst>
          </p:cNvPr>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t="37720" b="37720"/>
          <a:stretch>
            <a:fillRect/>
          </a:stretch>
        </p:blipFill>
        <p:spPr>
          <a:solidFill>
            <a:schemeClr val="bg1">
              <a:lumMod val="85000"/>
            </a:schemeClr>
          </a:solidFill>
        </p:spPr>
      </p:pic>
      <p:sp>
        <p:nvSpPr>
          <p:cNvPr id="4" name="Rectangle 3"/>
          <p:cNvSpPr/>
          <p:nvPr/>
        </p:nvSpPr>
        <p:spPr>
          <a:xfrm>
            <a:off x="6809935" y="1658757"/>
            <a:ext cx="4368800" cy="34088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custDataLst>
              <p:tags r:id="rId1"/>
            </p:custDataLst>
          </p:nvPr>
        </p:nvSpPr>
        <p:spPr>
          <a:xfrm>
            <a:off x="406318" y="890857"/>
            <a:ext cx="9271000"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spc="-150" dirty="0">
                <a:solidFill>
                  <a:schemeClr val="tx1">
                    <a:lumMod val="85000"/>
                    <a:lumOff val="15000"/>
                  </a:schemeClr>
                </a:solidFill>
                <a:ea typeface="Source Sans Pro" panose="020B0503030403020204" pitchFamily="34" charset="0"/>
                <a:cs typeface="Open Sans Light" panose="020B0306030504020204" pitchFamily="34" charset="0"/>
              </a:rPr>
              <a:t>Our Company </a:t>
            </a:r>
            <a:r>
              <a:rPr lang="en-US" sz="3200" b="1" spc="-150" dirty="0">
                <a:solidFill>
                  <a:schemeClr val="tx1">
                    <a:lumMod val="85000"/>
                    <a:lumOff val="15000"/>
                  </a:schemeClr>
                </a:solidFill>
                <a:ea typeface="Source Sans Pro" panose="020B0503030403020204" pitchFamily="34" charset="0"/>
                <a:cs typeface="Open Sans Light" panose="020B0306030504020204" pitchFamily="34" charset="0"/>
              </a:rPr>
              <a:t>Profile</a:t>
            </a:r>
          </a:p>
        </p:txBody>
      </p:sp>
      <p:sp>
        <p:nvSpPr>
          <p:cNvPr id="6" name="Rectangle 5"/>
          <p:cNvSpPr/>
          <p:nvPr>
            <p:custDataLst>
              <p:tags r:id="rId2"/>
            </p:custDataLst>
          </p:nvPr>
        </p:nvSpPr>
        <p:spPr>
          <a:xfrm>
            <a:off x="465988" y="1404480"/>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lumMod val="85000"/>
                    <a:lumOff val="15000"/>
                  </a:schemeClr>
                </a:solidFill>
                <a:ea typeface="Open Sans" panose="020B0606030504020204" pitchFamily="34" charset="0"/>
                <a:cs typeface="Open Sans" panose="020B0606030504020204" pitchFamily="34" charset="0"/>
              </a:rPr>
              <a:t>Put Your Great Subtitle Here</a:t>
            </a:r>
          </a:p>
        </p:txBody>
      </p:sp>
      <p:sp>
        <p:nvSpPr>
          <p:cNvPr id="7" name="Rectangle 6"/>
          <p:cNvSpPr/>
          <p:nvPr/>
        </p:nvSpPr>
        <p:spPr>
          <a:xfrm>
            <a:off x="7094725" y="1610304"/>
            <a:ext cx="2977744" cy="3017348"/>
          </a:xfrm>
          <a:prstGeom prst="rect">
            <a:avLst/>
          </a:prstGeom>
          <a:noFill/>
        </p:spPr>
        <p:txBody>
          <a:bodyPr vert="horz" wrap="square" lIns="91416" tIns="45708" rIns="91416" bIns="45708" rtlCol="0" anchor="ctr">
            <a:noAutofit/>
          </a:bodyPr>
          <a:lstStyle/>
          <a:p>
            <a:pPr>
              <a:spcBef>
                <a:spcPct val="0"/>
              </a:spcBef>
            </a:pPr>
            <a:r>
              <a:rPr lang="en-US" sz="3200" b="1" spc="-150" noProof="1">
                <a:solidFill>
                  <a:schemeClr val="accent2"/>
                </a:solidFill>
                <a:ea typeface="Roboto" panose="02000000000000000000" pitchFamily="2" charset="0"/>
                <a:cs typeface="Times New Roman" panose="02020603050405020304" pitchFamily="18" charset="0"/>
              </a:rPr>
              <a:t>Definiteness Of </a:t>
            </a:r>
          </a:p>
          <a:p>
            <a:pPr>
              <a:spcBef>
                <a:spcPct val="0"/>
              </a:spcBef>
            </a:pPr>
            <a:r>
              <a:rPr lang="en-US" sz="3200" b="1" spc="-150" noProof="1">
                <a:solidFill>
                  <a:schemeClr val="accent2"/>
                </a:solidFill>
                <a:ea typeface="Roboto" panose="02000000000000000000" pitchFamily="2" charset="0"/>
                <a:cs typeface="Times New Roman" panose="02020603050405020304" pitchFamily="18" charset="0"/>
              </a:rPr>
              <a:t>Purpose </a:t>
            </a:r>
          </a:p>
          <a:p>
            <a:pPr>
              <a:spcBef>
                <a:spcPct val="0"/>
              </a:spcBef>
            </a:pPr>
            <a:r>
              <a:rPr lang="en-US" sz="3200" spc="-150" noProof="1">
                <a:solidFill>
                  <a:schemeClr val="accent2"/>
                </a:solidFill>
                <a:ea typeface="Roboto" panose="02000000000000000000" pitchFamily="2" charset="0"/>
                <a:cs typeface="Times New Roman" panose="02020603050405020304" pitchFamily="18" charset="0"/>
              </a:rPr>
              <a:t>Is The Starting  </a:t>
            </a:r>
          </a:p>
          <a:p>
            <a:pPr>
              <a:spcBef>
                <a:spcPct val="0"/>
              </a:spcBef>
            </a:pPr>
            <a:r>
              <a:rPr lang="en-US" sz="3200" spc="-150" noProof="1">
                <a:solidFill>
                  <a:schemeClr val="accent2"/>
                </a:solidFill>
                <a:ea typeface="Roboto" panose="02000000000000000000" pitchFamily="2" charset="0"/>
                <a:cs typeface="Times New Roman" panose="02020603050405020304" pitchFamily="18" charset="0"/>
              </a:rPr>
              <a:t>Point Of All </a:t>
            </a:r>
          </a:p>
          <a:p>
            <a:pPr>
              <a:spcBef>
                <a:spcPct val="0"/>
              </a:spcBef>
            </a:pPr>
            <a:r>
              <a:rPr lang="en-US" sz="3200" spc="-150" noProof="1">
                <a:solidFill>
                  <a:schemeClr val="accent2"/>
                </a:solidFill>
                <a:ea typeface="Roboto" panose="02000000000000000000" pitchFamily="2" charset="0"/>
                <a:cs typeface="Times New Roman" panose="02020603050405020304" pitchFamily="18" charset="0"/>
              </a:rPr>
              <a:t>Achievement</a:t>
            </a:r>
          </a:p>
        </p:txBody>
      </p:sp>
      <p:sp>
        <p:nvSpPr>
          <p:cNvPr id="8" name="Rectangle 7"/>
          <p:cNvSpPr/>
          <p:nvPr/>
        </p:nvSpPr>
        <p:spPr>
          <a:xfrm>
            <a:off x="465988" y="4462206"/>
            <a:ext cx="6023712" cy="1887312"/>
          </a:xfrm>
          <a:prstGeom prst="rect">
            <a:avLst/>
          </a:prstGeom>
        </p:spPr>
        <p:txBody>
          <a:bodyPr wrap="square">
            <a:spAutoFit/>
          </a:bodyPr>
          <a:lstStyle/>
          <a:p>
            <a:pPr algn="just">
              <a:lnSpc>
                <a:spcPct val="200000"/>
              </a:lnSpc>
              <a:buClr>
                <a:srgbClr val="E24848"/>
              </a:buClr>
            </a:pPr>
            <a:r>
              <a:rPr lang="en-US" sz="1200" noProof="1">
                <a:solidFill>
                  <a:schemeClr val="tx1">
                    <a:lumMod val="75000"/>
                    <a:lumOff val="25000"/>
                  </a:schemeClr>
                </a:solidFill>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Lorem ipsum dolor sit amet, consectetur adipiscing elit. Nulla imperdiet volutpat dui at fermentum. Aliquam erat volutpat. Aenean lacinia lacus aliquet ante mollis, sollicitudin tempor tortor aliquam. Nulla facilisi. </a:t>
            </a:r>
          </a:p>
        </p:txBody>
      </p:sp>
    </p:spTree>
    <p:extLst>
      <p:ext uri="{BB962C8B-B14F-4D97-AF65-F5344CB8AC3E}">
        <p14:creationId xmlns:p14="http://schemas.microsoft.com/office/powerpoint/2010/main" val="3602699481"/>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81E94F98-272B-492B-9134-0018433A87A7}"/>
              </a:ext>
            </a:extLst>
          </p:cNvPr>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l="19537" r="19537"/>
          <a:stretch>
            <a:fillRect/>
          </a:stretch>
        </p:blipFill>
        <p:spPr/>
      </p:pic>
      <p:sp>
        <p:nvSpPr>
          <p:cNvPr id="5" name="Rectangle 4"/>
          <p:cNvSpPr/>
          <p:nvPr>
            <p:custDataLst>
              <p:tags r:id="rId1"/>
            </p:custDataLst>
          </p:nvPr>
        </p:nvSpPr>
        <p:spPr>
          <a:xfrm>
            <a:off x="787318" y="1088116"/>
            <a:ext cx="5003882" cy="197027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6000" spc="-150" dirty="0">
                <a:solidFill>
                  <a:schemeClr val="tx1">
                    <a:lumMod val="85000"/>
                    <a:lumOff val="15000"/>
                  </a:schemeClr>
                </a:solidFill>
                <a:ea typeface="Source Sans Pro" panose="020B0503030403020204" pitchFamily="34" charset="0"/>
                <a:cs typeface="Open Sans Light" panose="020B0306030504020204" pitchFamily="34" charset="0"/>
              </a:rPr>
              <a:t>The About</a:t>
            </a:r>
          </a:p>
          <a:p>
            <a:r>
              <a:rPr lang="en-US" sz="6000" b="1" spc="-150" dirty="0">
                <a:solidFill>
                  <a:schemeClr val="accent2"/>
                </a:solidFill>
                <a:ea typeface="Source Sans Pro" panose="020B0503030403020204" pitchFamily="34" charset="0"/>
                <a:cs typeface="Open Sans Light" panose="020B0306030504020204" pitchFamily="34" charset="0"/>
              </a:rPr>
              <a:t>Slides</a:t>
            </a:r>
          </a:p>
        </p:txBody>
      </p:sp>
      <p:sp>
        <p:nvSpPr>
          <p:cNvPr id="6" name="Rectangle 5"/>
          <p:cNvSpPr/>
          <p:nvPr>
            <p:custDataLst>
              <p:tags r:id="rId2"/>
            </p:custDataLst>
          </p:nvPr>
        </p:nvSpPr>
        <p:spPr>
          <a:xfrm>
            <a:off x="921374" y="3058387"/>
            <a:ext cx="2215526"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lumMod val="85000"/>
                    <a:lumOff val="15000"/>
                  </a:schemeClr>
                </a:solidFill>
                <a:ea typeface="Open Sans" panose="020B0606030504020204" pitchFamily="34" charset="0"/>
                <a:cs typeface="Open Sans" panose="020B0606030504020204" pitchFamily="34" charset="0"/>
              </a:rPr>
              <a:t>Put Your Great Subtitle Here</a:t>
            </a:r>
          </a:p>
        </p:txBody>
      </p:sp>
      <p:sp>
        <p:nvSpPr>
          <p:cNvPr id="20" name="Rectangle 19"/>
          <p:cNvSpPr/>
          <p:nvPr/>
        </p:nvSpPr>
        <p:spPr>
          <a:xfrm>
            <a:off x="787318" y="3429000"/>
            <a:ext cx="4323726" cy="2097434"/>
          </a:xfrm>
          <a:prstGeom prst="rect">
            <a:avLst/>
          </a:prstGeom>
        </p:spPr>
        <p:txBody>
          <a:bodyPr wrap="square">
            <a:spAutoFit/>
          </a:bodyPr>
          <a:lstStyle/>
          <a:p>
            <a:pPr algn="just">
              <a:lnSpc>
                <a:spcPct val="150000"/>
              </a:lnSpc>
              <a:buClr>
                <a:srgbClr val="E24848"/>
              </a:buClr>
              <a:defRPr/>
            </a:pPr>
            <a:r>
              <a:rPr lang="en-US" sz="1100" noProof="1">
                <a:solidFill>
                  <a:schemeClr val="tx1">
                    <a:lumMod val="75000"/>
                    <a:lumOff val="25000"/>
                  </a:schemeClr>
                </a:solidFill>
                <a:ea typeface="Roboto Light" panose="02000000000000000000" pitchFamily="2" charset="0"/>
                <a:cs typeface="Arial" charset="0"/>
              </a:rPr>
              <a:t>Phenomenon whereby something new and somehow valuable is formed the created item may be intangible such as an idea or a physical object such as an invention, a literary work or a painting scholarly interest in creativity involves many definitions and concepts pertaining to a number of disciplines in a summary.</a:t>
            </a:r>
          </a:p>
          <a:p>
            <a:pPr algn="just">
              <a:lnSpc>
                <a:spcPct val="150000"/>
              </a:lnSpc>
              <a:buClr>
                <a:srgbClr val="E24848"/>
              </a:buClr>
              <a:defRPr/>
            </a:pPr>
            <a:endParaRPr lang="en-US" sz="1100" noProof="1">
              <a:solidFill>
                <a:schemeClr val="tx1">
                  <a:lumMod val="75000"/>
                  <a:lumOff val="25000"/>
                </a:schemeClr>
              </a:solidFill>
              <a:ea typeface="Roboto Light" panose="02000000000000000000" pitchFamily="2" charset="0"/>
              <a:cs typeface="Arial" charset="0"/>
            </a:endParaRPr>
          </a:p>
          <a:p>
            <a:pPr algn="just">
              <a:lnSpc>
                <a:spcPct val="150000"/>
              </a:lnSpc>
              <a:buClr>
                <a:srgbClr val="E24848"/>
              </a:buClr>
              <a:defRPr/>
            </a:pPr>
            <a:r>
              <a:rPr lang="en-US" sz="1100" noProof="1">
                <a:solidFill>
                  <a:schemeClr val="tx1">
                    <a:lumMod val="75000"/>
                    <a:lumOff val="25000"/>
                  </a:schemeClr>
                </a:solidFill>
                <a:ea typeface="Roboto Light" panose="02000000000000000000" pitchFamily="2" charset="0"/>
                <a:cs typeface="Arial" charset="0"/>
              </a:rPr>
              <a:t>Scientific research into creativity over the course of the last decade, however, we seem to have reached a general agreement that creativity</a:t>
            </a:r>
          </a:p>
        </p:txBody>
      </p:sp>
    </p:spTree>
    <p:extLst>
      <p:ext uri="{BB962C8B-B14F-4D97-AF65-F5344CB8AC3E}">
        <p14:creationId xmlns:p14="http://schemas.microsoft.com/office/powerpoint/2010/main" val="1500166221"/>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7DEDCE11-1EB7-42F8-A7FD-8CD338CEF7B4}"/>
              </a:ext>
            </a:extLst>
          </p:cNvPr>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l="20881" r="20881"/>
          <a:stretch>
            <a:fillRect/>
          </a:stretch>
        </p:blipFill>
        <p:spPr>
          <a:solidFill>
            <a:schemeClr val="bg1">
              <a:lumMod val="85000"/>
            </a:schemeClr>
          </a:solidFill>
        </p:spPr>
      </p:pic>
      <p:sp>
        <p:nvSpPr>
          <p:cNvPr id="5" name="Rectangle 4"/>
          <p:cNvSpPr/>
          <p:nvPr>
            <p:custDataLst>
              <p:tags r:id="rId1"/>
            </p:custDataLst>
          </p:nvPr>
        </p:nvSpPr>
        <p:spPr>
          <a:xfrm>
            <a:off x="4483100" y="1161478"/>
            <a:ext cx="5549900" cy="186151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500" b="1" spc="-150" dirty="0">
                <a:solidFill>
                  <a:schemeClr val="accent2"/>
                </a:solidFill>
                <a:ea typeface="Source Sans Pro" panose="020B0503030403020204" pitchFamily="34" charset="0"/>
                <a:cs typeface="Open Sans Light" panose="020B0306030504020204" pitchFamily="34" charset="0"/>
              </a:rPr>
              <a:t>History</a:t>
            </a:r>
          </a:p>
        </p:txBody>
      </p:sp>
      <p:sp>
        <p:nvSpPr>
          <p:cNvPr id="6" name="Rectangle 5"/>
          <p:cNvSpPr/>
          <p:nvPr>
            <p:custDataLst>
              <p:tags r:id="rId2"/>
            </p:custDataLst>
          </p:nvPr>
        </p:nvSpPr>
        <p:spPr>
          <a:xfrm>
            <a:off x="4569460" y="2762029"/>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lumMod val="85000"/>
                    <a:lumOff val="15000"/>
                  </a:schemeClr>
                </a:solidFill>
                <a:ea typeface="Open Sans" panose="020B0606030504020204" pitchFamily="34" charset="0"/>
                <a:cs typeface="Open Sans" panose="020B0606030504020204" pitchFamily="34" charset="0"/>
              </a:rPr>
              <a:t>Put Your Great Subtitle Here</a:t>
            </a:r>
          </a:p>
        </p:txBody>
      </p:sp>
      <p:sp>
        <p:nvSpPr>
          <p:cNvPr id="27" name="Rectangle 26"/>
          <p:cNvSpPr/>
          <p:nvPr/>
        </p:nvSpPr>
        <p:spPr>
          <a:xfrm>
            <a:off x="5407883" y="3460101"/>
            <a:ext cx="6023712" cy="1887312"/>
          </a:xfrm>
          <a:prstGeom prst="rect">
            <a:avLst/>
          </a:prstGeom>
        </p:spPr>
        <p:txBody>
          <a:bodyPr wrap="square">
            <a:spAutoFit/>
          </a:bodyPr>
          <a:lstStyle/>
          <a:p>
            <a:pPr algn="just">
              <a:lnSpc>
                <a:spcPct val="200000"/>
              </a:lnSpc>
              <a:buClr>
                <a:srgbClr val="E24848"/>
              </a:buClr>
            </a:pPr>
            <a:r>
              <a:rPr lang="en-US" sz="1200" noProof="1">
                <a:solidFill>
                  <a:schemeClr val="tx1">
                    <a:lumMod val="75000"/>
                    <a:lumOff val="25000"/>
                  </a:schemeClr>
                </a:solidFill>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Lorem ipsum dolor sit amet, consectetur adipiscing elit. Nulla imperdiet volutpat dui at fermentum. Aliquam erat volutpat. Aenean lacinia lacus aliquet ante mollis, sollicitudin tempor tortor aliquam. Nulla facilisi. </a:t>
            </a:r>
          </a:p>
        </p:txBody>
      </p:sp>
    </p:spTree>
    <p:extLst>
      <p:ext uri="{BB962C8B-B14F-4D97-AF65-F5344CB8AC3E}">
        <p14:creationId xmlns:p14="http://schemas.microsoft.com/office/powerpoint/2010/main" val="2881470927"/>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4" name="Freeform 39"/>
          <p:cNvSpPr>
            <a:spLocks noEditPoints="1"/>
          </p:cNvSpPr>
          <p:nvPr/>
        </p:nvSpPr>
        <p:spPr bwMode="auto">
          <a:xfrm>
            <a:off x="1854636" y="4219952"/>
            <a:ext cx="2662137" cy="849190"/>
          </a:xfrm>
          <a:custGeom>
            <a:avLst/>
            <a:gdLst>
              <a:gd name="T0" fmla="*/ 4450 w 4566"/>
              <a:gd name="T1" fmla="*/ 308 h 1298"/>
              <a:gd name="T2" fmla="*/ 4000 w 4566"/>
              <a:gd name="T3" fmla="*/ 56 h 1298"/>
              <a:gd name="T4" fmla="*/ 3598 w 4566"/>
              <a:gd name="T5" fmla="*/ 168 h 1298"/>
              <a:gd name="T6" fmla="*/ 3486 w 4566"/>
              <a:gd name="T7" fmla="*/ 234 h 1298"/>
              <a:gd name="T8" fmla="*/ 2992 w 4566"/>
              <a:gd name="T9" fmla="*/ 160 h 1298"/>
              <a:gd name="T10" fmla="*/ 2670 w 4566"/>
              <a:gd name="T11" fmla="*/ 98 h 1298"/>
              <a:gd name="T12" fmla="*/ 1792 w 4566"/>
              <a:gd name="T13" fmla="*/ 104 h 1298"/>
              <a:gd name="T14" fmla="*/ 876 w 4566"/>
              <a:gd name="T15" fmla="*/ 306 h 1298"/>
              <a:gd name="T16" fmla="*/ 370 w 4566"/>
              <a:gd name="T17" fmla="*/ 256 h 1298"/>
              <a:gd name="T18" fmla="*/ 62 w 4566"/>
              <a:gd name="T19" fmla="*/ 396 h 1298"/>
              <a:gd name="T20" fmla="*/ 336 w 4566"/>
              <a:gd name="T21" fmla="*/ 992 h 1298"/>
              <a:gd name="T22" fmla="*/ 740 w 4566"/>
              <a:gd name="T23" fmla="*/ 1050 h 1298"/>
              <a:gd name="T24" fmla="*/ 730 w 4566"/>
              <a:gd name="T25" fmla="*/ 1102 h 1298"/>
              <a:gd name="T26" fmla="*/ 1024 w 4566"/>
              <a:gd name="T27" fmla="*/ 1144 h 1298"/>
              <a:gd name="T28" fmla="*/ 952 w 4566"/>
              <a:gd name="T29" fmla="*/ 978 h 1298"/>
              <a:gd name="T30" fmla="*/ 1148 w 4566"/>
              <a:gd name="T31" fmla="*/ 1070 h 1298"/>
              <a:gd name="T32" fmla="*/ 1388 w 4566"/>
              <a:gd name="T33" fmla="*/ 1008 h 1298"/>
              <a:gd name="T34" fmla="*/ 1654 w 4566"/>
              <a:gd name="T35" fmla="*/ 1158 h 1298"/>
              <a:gd name="T36" fmla="*/ 1802 w 4566"/>
              <a:gd name="T37" fmla="*/ 1222 h 1298"/>
              <a:gd name="T38" fmla="*/ 2318 w 4566"/>
              <a:gd name="T39" fmla="*/ 1198 h 1298"/>
              <a:gd name="T40" fmla="*/ 2576 w 4566"/>
              <a:gd name="T41" fmla="*/ 1290 h 1298"/>
              <a:gd name="T42" fmla="*/ 3076 w 4566"/>
              <a:gd name="T43" fmla="*/ 1116 h 1298"/>
              <a:gd name="T44" fmla="*/ 3422 w 4566"/>
              <a:gd name="T45" fmla="*/ 1132 h 1298"/>
              <a:gd name="T46" fmla="*/ 3278 w 4566"/>
              <a:gd name="T47" fmla="*/ 1080 h 1298"/>
              <a:gd name="T48" fmla="*/ 3344 w 4566"/>
              <a:gd name="T49" fmla="*/ 1082 h 1298"/>
              <a:gd name="T50" fmla="*/ 3612 w 4566"/>
              <a:gd name="T51" fmla="*/ 1042 h 1298"/>
              <a:gd name="T52" fmla="*/ 3692 w 4566"/>
              <a:gd name="T53" fmla="*/ 1052 h 1298"/>
              <a:gd name="T54" fmla="*/ 3818 w 4566"/>
              <a:gd name="T55" fmla="*/ 1024 h 1298"/>
              <a:gd name="T56" fmla="*/ 4382 w 4566"/>
              <a:gd name="T57" fmla="*/ 966 h 1298"/>
              <a:gd name="T58" fmla="*/ 500 w 4566"/>
              <a:gd name="T59" fmla="*/ 926 h 1298"/>
              <a:gd name="T60" fmla="*/ 396 w 4566"/>
              <a:gd name="T61" fmla="*/ 844 h 1298"/>
              <a:gd name="T62" fmla="*/ 182 w 4566"/>
              <a:gd name="T63" fmla="*/ 876 h 1298"/>
              <a:gd name="T64" fmla="*/ 376 w 4566"/>
              <a:gd name="T65" fmla="*/ 972 h 1298"/>
              <a:gd name="T66" fmla="*/ 486 w 4566"/>
              <a:gd name="T67" fmla="*/ 936 h 1298"/>
              <a:gd name="T68" fmla="*/ 940 w 4566"/>
              <a:gd name="T69" fmla="*/ 1054 h 1298"/>
              <a:gd name="T70" fmla="*/ 858 w 4566"/>
              <a:gd name="T71" fmla="*/ 972 h 1298"/>
              <a:gd name="T72" fmla="*/ 816 w 4566"/>
              <a:gd name="T73" fmla="*/ 1114 h 1298"/>
              <a:gd name="T74" fmla="*/ 990 w 4566"/>
              <a:gd name="T75" fmla="*/ 994 h 1298"/>
              <a:gd name="T76" fmla="*/ 1010 w 4566"/>
              <a:gd name="T77" fmla="*/ 956 h 1298"/>
              <a:gd name="T78" fmla="*/ 1096 w 4566"/>
              <a:gd name="T79" fmla="*/ 946 h 1298"/>
              <a:gd name="T80" fmla="*/ 1356 w 4566"/>
              <a:gd name="T81" fmla="*/ 938 h 1298"/>
              <a:gd name="T82" fmla="*/ 1466 w 4566"/>
              <a:gd name="T83" fmla="*/ 966 h 1298"/>
              <a:gd name="T84" fmla="*/ 1556 w 4566"/>
              <a:gd name="T85" fmla="*/ 1020 h 1298"/>
              <a:gd name="T86" fmla="*/ 1964 w 4566"/>
              <a:gd name="T87" fmla="*/ 1048 h 1298"/>
              <a:gd name="T88" fmla="*/ 1822 w 4566"/>
              <a:gd name="T89" fmla="*/ 1144 h 1298"/>
              <a:gd name="T90" fmla="*/ 1796 w 4566"/>
              <a:gd name="T91" fmla="*/ 1080 h 1298"/>
              <a:gd name="T92" fmla="*/ 1976 w 4566"/>
              <a:gd name="T93" fmla="*/ 1070 h 1298"/>
              <a:gd name="T94" fmla="*/ 2278 w 4566"/>
              <a:gd name="T95" fmla="*/ 1132 h 1298"/>
              <a:gd name="T96" fmla="*/ 2440 w 4566"/>
              <a:gd name="T97" fmla="*/ 1168 h 1298"/>
              <a:gd name="T98" fmla="*/ 2570 w 4566"/>
              <a:gd name="T99" fmla="*/ 1170 h 1298"/>
              <a:gd name="T100" fmla="*/ 2756 w 4566"/>
              <a:gd name="T101" fmla="*/ 1236 h 1298"/>
              <a:gd name="T102" fmla="*/ 3002 w 4566"/>
              <a:gd name="T103" fmla="*/ 168 h 1298"/>
              <a:gd name="T104" fmla="*/ 3128 w 4566"/>
              <a:gd name="T105" fmla="*/ 1126 h 1298"/>
              <a:gd name="T106" fmla="*/ 3312 w 4566"/>
              <a:gd name="T107" fmla="*/ 1070 h 1298"/>
              <a:gd name="T108" fmla="*/ 3736 w 4566"/>
              <a:gd name="T109" fmla="*/ 224 h 1298"/>
              <a:gd name="T110" fmla="*/ 3670 w 4566"/>
              <a:gd name="T111" fmla="*/ 266 h 1298"/>
              <a:gd name="T112" fmla="*/ 3538 w 4566"/>
              <a:gd name="T113" fmla="*/ 980 h 1298"/>
              <a:gd name="T114" fmla="*/ 3426 w 4566"/>
              <a:gd name="T115" fmla="*/ 842 h 1298"/>
              <a:gd name="T116" fmla="*/ 3552 w 4566"/>
              <a:gd name="T117" fmla="*/ 1010 h 1298"/>
              <a:gd name="T118" fmla="*/ 3566 w 4566"/>
              <a:gd name="T119" fmla="*/ 986 h 1298"/>
              <a:gd name="T120" fmla="*/ 3812 w 4566"/>
              <a:gd name="T121" fmla="*/ 310 h 1298"/>
              <a:gd name="T122" fmla="*/ 3934 w 4566"/>
              <a:gd name="T123" fmla="*/ 338 h 1298"/>
              <a:gd name="T124" fmla="*/ 4186 w 4566"/>
              <a:gd name="T125" fmla="*/ 232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66" h="1298">
                <a:moveTo>
                  <a:pt x="4564" y="746"/>
                </a:moveTo>
                <a:lnTo>
                  <a:pt x="4564" y="746"/>
                </a:lnTo>
                <a:lnTo>
                  <a:pt x="4560" y="744"/>
                </a:lnTo>
                <a:lnTo>
                  <a:pt x="4560" y="744"/>
                </a:lnTo>
                <a:lnTo>
                  <a:pt x="4558" y="738"/>
                </a:lnTo>
                <a:lnTo>
                  <a:pt x="4558" y="734"/>
                </a:lnTo>
                <a:lnTo>
                  <a:pt x="4558" y="732"/>
                </a:lnTo>
                <a:lnTo>
                  <a:pt x="4558" y="732"/>
                </a:lnTo>
                <a:lnTo>
                  <a:pt x="4558" y="722"/>
                </a:lnTo>
                <a:lnTo>
                  <a:pt x="4552" y="702"/>
                </a:lnTo>
                <a:lnTo>
                  <a:pt x="4536" y="638"/>
                </a:lnTo>
                <a:lnTo>
                  <a:pt x="4510" y="544"/>
                </a:lnTo>
                <a:lnTo>
                  <a:pt x="4510" y="544"/>
                </a:lnTo>
                <a:lnTo>
                  <a:pt x="4508" y="538"/>
                </a:lnTo>
                <a:lnTo>
                  <a:pt x="4508" y="536"/>
                </a:lnTo>
                <a:lnTo>
                  <a:pt x="4512" y="534"/>
                </a:lnTo>
                <a:lnTo>
                  <a:pt x="4522" y="532"/>
                </a:lnTo>
                <a:lnTo>
                  <a:pt x="4522" y="532"/>
                </a:lnTo>
                <a:lnTo>
                  <a:pt x="4522" y="532"/>
                </a:lnTo>
                <a:lnTo>
                  <a:pt x="4522" y="532"/>
                </a:lnTo>
                <a:lnTo>
                  <a:pt x="4504" y="528"/>
                </a:lnTo>
                <a:lnTo>
                  <a:pt x="4496" y="526"/>
                </a:lnTo>
                <a:lnTo>
                  <a:pt x="4492" y="522"/>
                </a:lnTo>
                <a:lnTo>
                  <a:pt x="4490" y="520"/>
                </a:lnTo>
                <a:lnTo>
                  <a:pt x="4490" y="520"/>
                </a:lnTo>
                <a:lnTo>
                  <a:pt x="4496" y="514"/>
                </a:lnTo>
                <a:lnTo>
                  <a:pt x="4496" y="514"/>
                </a:lnTo>
                <a:lnTo>
                  <a:pt x="4484" y="506"/>
                </a:lnTo>
                <a:lnTo>
                  <a:pt x="4472" y="500"/>
                </a:lnTo>
                <a:lnTo>
                  <a:pt x="4472" y="500"/>
                </a:lnTo>
                <a:lnTo>
                  <a:pt x="4446" y="488"/>
                </a:lnTo>
                <a:lnTo>
                  <a:pt x="4446" y="488"/>
                </a:lnTo>
                <a:lnTo>
                  <a:pt x="4438" y="484"/>
                </a:lnTo>
                <a:lnTo>
                  <a:pt x="4430" y="480"/>
                </a:lnTo>
                <a:lnTo>
                  <a:pt x="4420" y="466"/>
                </a:lnTo>
                <a:lnTo>
                  <a:pt x="4430" y="466"/>
                </a:lnTo>
                <a:lnTo>
                  <a:pt x="4430" y="466"/>
                </a:lnTo>
                <a:lnTo>
                  <a:pt x="4432" y="464"/>
                </a:lnTo>
                <a:lnTo>
                  <a:pt x="4432" y="464"/>
                </a:lnTo>
                <a:lnTo>
                  <a:pt x="4434" y="460"/>
                </a:lnTo>
                <a:lnTo>
                  <a:pt x="4436" y="458"/>
                </a:lnTo>
                <a:lnTo>
                  <a:pt x="4440" y="456"/>
                </a:lnTo>
                <a:lnTo>
                  <a:pt x="4446" y="454"/>
                </a:lnTo>
                <a:lnTo>
                  <a:pt x="4446" y="454"/>
                </a:lnTo>
                <a:lnTo>
                  <a:pt x="4456" y="452"/>
                </a:lnTo>
                <a:lnTo>
                  <a:pt x="4456" y="452"/>
                </a:lnTo>
                <a:lnTo>
                  <a:pt x="4430" y="448"/>
                </a:lnTo>
                <a:lnTo>
                  <a:pt x="4430" y="448"/>
                </a:lnTo>
                <a:lnTo>
                  <a:pt x="4430" y="446"/>
                </a:lnTo>
                <a:lnTo>
                  <a:pt x="4432" y="446"/>
                </a:lnTo>
                <a:lnTo>
                  <a:pt x="4434" y="442"/>
                </a:lnTo>
                <a:lnTo>
                  <a:pt x="4436" y="438"/>
                </a:lnTo>
                <a:lnTo>
                  <a:pt x="4434" y="436"/>
                </a:lnTo>
                <a:lnTo>
                  <a:pt x="4432" y="436"/>
                </a:lnTo>
                <a:lnTo>
                  <a:pt x="4432" y="436"/>
                </a:lnTo>
                <a:lnTo>
                  <a:pt x="4428" y="436"/>
                </a:lnTo>
                <a:lnTo>
                  <a:pt x="4424" y="438"/>
                </a:lnTo>
                <a:lnTo>
                  <a:pt x="4420" y="438"/>
                </a:lnTo>
                <a:lnTo>
                  <a:pt x="4416" y="438"/>
                </a:lnTo>
                <a:lnTo>
                  <a:pt x="4416" y="438"/>
                </a:lnTo>
                <a:lnTo>
                  <a:pt x="4418" y="434"/>
                </a:lnTo>
                <a:lnTo>
                  <a:pt x="4418" y="428"/>
                </a:lnTo>
                <a:lnTo>
                  <a:pt x="4420" y="424"/>
                </a:lnTo>
                <a:lnTo>
                  <a:pt x="4428" y="422"/>
                </a:lnTo>
                <a:lnTo>
                  <a:pt x="4428" y="422"/>
                </a:lnTo>
                <a:lnTo>
                  <a:pt x="4428" y="416"/>
                </a:lnTo>
                <a:lnTo>
                  <a:pt x="4426" y="414"/>
                </a:lnTo>
                <a:lnTo>
                  <a:pt x="4422" y="414"/>
                </a:lnTo>
                <a:lnTo>
                  <a:pt x="4414" y="416"/>
                </a:lnTo>
                <a:lnTo>
                  <a:pt x="4414" y="416"/>
                </a:lnTo>
                <a:lnTo>
                  <a:pt x="4412" y="414"/>
                </a:lnTo>
                <a:lnTo>
                  <a:pt x="4412" y="414"/>
                </a:lnTo>
                <a:lnTo>
                  <a:pt x="4408" y="412"/>
                </a:lnTo>
                <a:lnTo>
                  <a:pt x="4408" y="408"/>
                </a:lnTo>
                <a:lnTo>
                  <a:pt x="4408" y="408"/>
                </a:lnTo>
                <a:lnTo>
                  <a:pt x="4408" y="402"/>
                </a:lnTo>
                <a:lnTo>
                  <a:pt x="4404" y="398"/>
                </a:lnTo>
                <a:lnTo>
                  <a:pt x="4400" y="396"/>
                </a:lnTo>
                <a:lnTo>
                  <a:pt x="4394" y="392"/>
                </a:lnTo>
                <a:lnTo>
                  <a:pt x="4394" y="392"/>
                </a:lnTo>
                <a:lnTo>
                  <a:pt x="4400" y="376"/>
                </a:lnTo>
                <a:lnTo>
                  <a:pt x="4400" y="376"/>
                </a:lnTo>
                <a:lnTo>
                  <a:pt x="4396" y="372"/>
                </a:lnTo>
                <a:lnTo>
                  <a:pt x="4394" y="370"/>
                </a:lnTo>
                <a:lnTo>
                  <a:pt x="4394" y="368"/>
                </a:lnTo>
                <a:lnTo>
                  <a:pt x="4394" y="368"/>
                </a:lnTo>
                <a:lnTo>
                  <a:pt x="4394" y="360"/>
                </a:lnTo>
                <a:lnTo>
                  <a:pt x="4392" y="354"/>
                </a:lnTo>
                <a:lnTo>
                  <a:pt x="4392" y="354"/>
                </a:lnTo>
                <a:lnTo>
                  <a:pt x="4372" y="344"/>
                </a:lnTo>
                <a:lnTo>
                  <a:pt x="4372" y="344"/>
                </a:lnTo>
                <a:lnTo>
                  <a:pt x="4370" y="342"/>
                </a:lnTo>
                <a:lnTo>
                  <a:pt x="4370" y="338"/>
                </a:lnTo>
                <a:lnTo>
                  <a:pt x="4370" y="338"/>
                </a:lnTo>
                <a:lnTo>
                  <a:pt x="4368" y="334"/>
                </a:lnTo>
                <a:lnTo>
                  <a:pt x="4366" y="332"/>
                </a:lnTo>
                <a:lnTo>
                  <a:pt x="4358" y="330"/>
                </a:lnTo>
                <a:lnTo>
                  <a:pt x="4358" y="330"/>
                </a:lnTo>
                <a:lnTo>
                  <a:pt x="4348" y="330"/>
                </a:lnTo>
                <a:lnTo>
                  <a:pt x="4348" y="330"/>
                </a:lnTo>
                <a:lnTo>
                  <a:pt x="4348" y="328"/>
                </a:lnTo>
                <a:lnTo>
                  <a:pt x="4348" y="328"/>
                </a:lnTo>
                <a:lnTo>
                  <a:pt x="4360" y="326"/>
                </a:lnTo>
                <a:lnTo>
                  <a:pt x="4364" y="326"/>
                </a:lnTo>
                <a:lnTo>
                  <a:pt x="4370" y="328"/>
                </a:lnTo>
                <a:lnTo>
                  <a:pt x="4370" y="328"/>
                </a:lnTo>
                <a:lnTo>
                  <a:pt x="4374" y="328"/>
                </a:lnTo>
                <a:lnTo>
                  <a:pt x="4374" y="328"/>
                </a:lnTo>
                <a:lnTo>
                  <a:pt x="4398" y="326"/>
                </a:lnTo>
                <a:lnTo>
                  <a:pt x="4398" y="326"/>
                </a:lnTo>
                <a:lnTo>
                  <a:pt x="4406" y="328"/>
                </a:lnTo>
                <a:lnTo>
                  <a:pt x="4414" y="332"/>
                </a:lnTo>
                <a:lnTo>
                  <a:pt x="4414" y="332"/>
                </a:lnTo>
                <a:lnTo>
                  <a:pt x="4424" y="340"/>
                </a:lnTo>
                <a:lnTo>
                  <a:pt x="4424" y="340"/>
                </a:lnTo>
                <a:lnTo>
                  <a:pt x="4430" y="344"/>
                </a:lnTo>
                <a:lnTo>
                  <a:pt x="4434" y="348"/>
                </a:lnTo>
                <a:lnTo>
                  <a:pt x="4434" y="348"/>
                </a:lnTo>
                <a:lnTo>
                  <a:pt x="4438" y="354"/>
                </a:lnTo>
                <a:lnTo>
                  <a:pt x="4446" y="356"/>
                </a:lnTo>
                <a:lnTo>
                  <a:pt x="4446" y="356"/>
                </a:lnTo>
                <a:lnTo>
                  <a:pt x="4474" y="362"/>
                </a:lnTo>
                <a:lnTo>
                  <a:pt x="4474" y="362"/>
                </a:lnTo>
                <a:lnTo>
                  <a:pt x="4482" y="362"/>
                </a:lnTo>
                <a:lnTo>
                  <a:pt x="4490" y="362"/>
                </a:lnTo>
                <a:lnTo>
                  <a:pt x="4490" y="362"/>
                </a:lnTo>
                <a:lnTo>
                  <a:pt x="4498" y="362"/>
                </a:lnTo>
                <a:lnTo>
                  <a:pt x="4508" y="364"/>
                </a:lnTo>
                <a:lnTo>
                  <a:pt x="4508" y="364"/>
                </a:lnTo>
                <a:lnTo>
                  <a:pt x="4506" y="370"/>
                </a:lnTo>
                <a:lnTo>
                  <a:pt x="4506" y="372"/>
                </a:lnTo>
                <a:lnTo>
                  <a:pt x="4502" y="372"/>
                </a:lnTo>
                <a:lnTo>
                  <a:pt x="4502" y="372"/>
                </a:lnTo>
                <a:lnTo>
                  <a:pt x="4490" y="374"/>
                </a:lnTo>
                <a:lnTo>
                  <a:pt x="4484" y="374"/>
                </a:lnTo>
                <a:lnTo>
                  <a:pt x="4480" y="372"/>
                </a:lnTo>
                <a:lnTo>
                  <a:pt x="4480" y="372"/>
                </a:lnTo>
                <a:lnTo>
                  <a:pt x="4476" y="374"/>
                </a:lnTo>
                <a:lnTo>
                  <a:pt x="4476" y="374"/>
                </a:lnTo>
                <a:lnTo>
                  <a:pt x="4488" y="378"/>
                </a:lnTo>
                <a:lnTo>
                  <a:pt x="4488" y="378"/>
                </a:lnTo>
                <a:lnTo>
                  <a:pt x="4496" y="380"/>
                </a:lnTo>
                <a:lnTo>
                  <a:pt x="4506" y="380"/>
                </a:lnTo>
                <a:lnTo>
                  <a:pt x="4506" y="380"/>
                </a:lnTo>
                <a:lnTo>
                  <a:pt x="4510" y="380"/>
                </a:lnTo>
                <a:lnTo>
                  <a:pt x="4514" y="380"/>
                </a:lnTo>
                <a:lnTo>
                  <a:pt x="4514" y="380"/>
                </a:lnTo>
                <a:lnTo>
                  <a:pt x="4524" y="382"/>
                </a:lnTo>
                <a:lnTo>
                  <a:pt x="4530" y="382"/>
                </a:lnTo>
                <a:lnTo>
                  <a:pt x="4534" y="380"/>
                </a:lnTo>
                <a:lnTo>
                  <a:pt x="4534" y="380"/>
                </a:lnTo>
                <a:lnTo>
                  <a:pt x="4538" y="378"/>
                </a:lnTo>
                <a:lnTo>
                  <a:pt x="4544" y="378"/>
                </a:lnTo>
                <a:lnTo>
                  <a:pt x="4544" y="378"/>
                </a:lnTo>
                <a:lnTo>
                  <a:pt x="4548" y="386"/>
                </a:lnTo>
                <a:lnTo>
                  <a:pt x="4548" y="386"/>
                </a:lnTo>
                <a:lnTo>
                  <a:pt x="4548" y="376"/>
                </a:lnTo>
                <a:lnTo>
                  <a:pt x="4548" y="372"/>
                </a:lnTo>
                <a:lnTo>
                  <a:pt x="4548" y="366"/>
                </a:lnTo>
                <a:lnTo>
                  <a:pt x="4548" y="366"/>
                </a:lnTo>
                <a:lnTo>
                  <a:pt x="4544" y="360"/>
                </a:lnTo>
                <a:lnTo>
                  <a:pt x="4536" y="356"/>
                </a:lnTo>
                <a:lnTo>
                  <a:pt x="4536" y="356"/>
                </a:lnTo>
                <a:lnTo>
                  <a:pt x="4522" y="354"/>
                </a:lnTo>
                <a:lnTo>
                  <a:pt x="4510" y="356"/>
                </a:lnTo>
                <a:lnTo>
                  <a:pt x="4510" y="356"/>
                </a:lnTo>
                <a:lnTo>
                  <a:pt x="4496" y="352"/>
                </a:lnTo>
                <a:lnTo>
                  <a:pt x="4488" y="350"/>
                </a:lnTo>
                <a:lnTo>
                  <a:pt x="4478" y="352"/>
                </a:lnTo>
                <a:lnTo>
                  <a:pt x="4478" y="352"/>
                </a:lnTo>
                <a:lnTo>
                  <a:pt x="4474" y="352"/>
                </a:lnTo>
                <a:lnTo>
                  <a:pt x="4470" y="348"/>
                </a:lnTo>
                <a:lnTo>
                  <a:pt x="4470" y="348"/>
                </a:lnTo>
                <a:lnTo>
                  <a:pt x="4468" y="346"/>
                </a:lnTo>
                <a:lnTo>
                  <a:pt x="4466" y="344"/>
                </a:lnTo>
                <a:lnTo>
                  <a:pt x="4458" y="342"/>
                </a:lnTo>
                <a:lnTo>
                  <a:pt x="4458" y="342"/>
                </a:lnTo>
                <a:lnTo>
                  <a:pt x="4452" y="340"/>
                </a:lnTo>
                <a:lnTo>
                  <a:pt x="4452" y="340"/>
                </a:lnTo>
                <a:lnTo>
                  <a:pt x="4450" y="330"/>
                </a:lnTo>
                <a:lnTo>
                  <a:pt x="4450" y="330"/>
                </a:lnTo>
                <a:lnTo>
                  <a:pt x="4450" y="328"/>
                </a:lnTo>
                <a:lnTo>
                  <a:pt x="4450" y="328"/>
                </a:lnTo>
                <a:lnTo>
                  <a:pt x="4450" y="324"/>
                </a:lnTo>
                <a:lnTo>
                  <a:pt x="4450" y="322"/>
                </a:lnTo>
                <a:lnTo>
                  <a:pt x="4446" y="320"/>
                </a:lnTo>
                <a:lnTo>
                  <a:pt x="4440" y="320"/>
                </a:lnTo>
                <a:lnTo>
                  <a:pt x="4440" y="320"/>
                </a:lnTo>
                <a:lnTo>
                  <a:pt x="4430" y="320"/>
                </a:lnTo>
                <a:lnTo>
                  <a:pt x="4422" y="318"/>
                </a:lnTo>
                <a:lnTo>
                  <a:pt x="4422" y="318"/>
                </a:lnTo>
                <a:lnTo>
                  <a:pt x="4416" y="314"/>
                </a:lnTo>
                <a:lnTo>
                  <a:pt x="4412" y="314"/>
                </a:lnTo>
                <a:lnTo>
                  <a:pt x="4400" y="318"/>
                </a:lnTo>
                <a:lnTo>
                  <a:pt x="4400" y="318"/>
                </a:lnTo>
                <a:lnTo>
                  <a:pt x="4390" y="320"/>
                </a:lnTo>
                <a:lnTo>
                  <a:pt x="4390" y="320"/>
                </a:lnTo>
                <a:lnTo>
                  <a:pt x="4394" y="312"/>
                </a:lnTo>
                <a:lnTo>
                  <a:pt x="4394" y="312"/>
                </a:lnTo>
                <a:lnTo>
                  <a:pt x="4382" y="306"/>
                </a:lnTo>
                <a:lnTo>
                  <a:pt x="4370" y="306"/>
                </a:lnTo>
                <a:lnTo>
                  <a:pt x="4370" y="306"/>
                </a:lnTo>
                <a:lnTo>
                  <a:pt x="4362" y="306"/>
                </a:lnTo>
                <a:lnTo>
                  <a:pt x="4358" y="302"/>
                </a:lnTo>
                <a:lnTo>
                  <a:pt x="4358" y="302"/>
                </a:lnTo>
                <a:lnTo>
                  <a:pt x="4356" y="300"/>
                </a:lnTo>
                <a:lnTo>
                  <a:pt x="4356" y="296"/>
                </a:lnTo>
                <a:lnTo>
                  <a:pt x="4356" y="296"/>
                </a:lnTo>
                <a:lnTo>
                  <a:pt x="4388" y="296"/>
                </a:lnTo>
                <a:lnTo>
                  <a:pt x="4388" y="296"/>
                </a:lnTo>
                <a:lnTo>
                  <a:pt x="4394" y="294"/>
                </a:lnTo>
                <a:lnTo>
                  <a:pt x="4394" y="294"/>
                </a:lnTo>
                <a:lnTo>
                  <a:pt x="4402" y="292"/>
                </a:lnTo>
                <a:lnTo>
                  <a:pt x="4410" y="294"/>
                </a:lnTo>
                <a:lnTo>
                  <a:pt x="4416" y="296"/>
                </a:lnTo>
                <a:lnTo>
                  <a:pt x="4422" y="300"/>
                </a:lnTo>
                <a:lnTo>
                  <a:pt x="4422" y="300"/>
                </a:lnTo>
                <a:lnTo>
                  <a:pt x="4416" y="308"/>
                </a:lnTo>
                <a:lnTo>
                  <a:pt x="4416" y="308"/>
                </a:lnTo>
                <a:lnTo>
                  <a:pt x="4420" y="310"/>
                </a:lnTo>
                <a:lnTo>
                  <a:pt x="4422" y="310"/>
                </a:lnTo>
                <a:lnTo>
                  <a:pt x="4426" y="306"/>
                </a:lnTo>
                <a:lnTo>
                  <a:pt x="4426" y="306"/>
                </a:lnTo>
                <a:lnTo>
                  <a:pt x="4436" y="304"/>
                </a:lnTo>
                <a:lnTo>
                  <a:pt x="4444" y="304"/>
                </a:lnTo>
                <a:lnTo>
                  <a:pt x="4450" y="308"/>
                </a:lnTo>
                <a:lnTo>
                  <a:pt x="4454" y="312"/>
                </a:lnTo>
                <a:lnTo>
                  <a:pt x="4454" y="312"/>
                </a:lnTo>
                <a:lnTo>
                  <a:pt x="4458" y="318"/>
                </a:lnTo>
                <a:lnTo>
                  <a:pt x="4458" y="318"/>
                </a:lnTo>
                <a:lnTo>
                  <a:pt x="4462" y="314"/>
                </a:lnTo>
                <a:lnTo>
                  <a:pt x="4468" y="314"/>
                </a:lnTo>
                <a:lnTo>
                  <a:pt x="4478" y="314"/>
                </a:lnTo>
                <a:lnTo>
                  <a:pt x="4478" y="314"/>
                </a:lnTo>
                <a:lnTo>
                  <a:pt x="4514" y="320"/>
                </a:lnTo>
                <a:lnTo>
                  <a:pt x="4514" y="320"/>
                </a:lnTo>
                <a:lnTo>
                  <a:pt x="4520" y="320"/>
                </a:lnTo>
                <a:lnTo>
                  <a:pt x="4524" y="316"/>
                </a:lnTo>
                <a:lnTo>
                  <a:pt x="4524" y="316"/>
                </a:lnTo>
                <a:lnTo>
                  <a:pt x="4520" y="314"/>
                </a:lnTo>
                <a:lnTo>
                  <a:pt x="4520" y="314"/>
                </a:lnTo>
                <a:lnTo>
                  <a:pt x="4512" y="312"/>
                </a:lnTo>
                <a:lnTo>
                  <a:pt x="4504" y="310"/>
                </a:lnTo>
                <a:lnTo>
                  <a:pt x="4492" y="302"/>
                </a:lnTo>
                <a:lnTo>
                  <a:pt x="4492" y="302"/>
                </a:lnTo>
                <a:lnTo>
                  <a:pt x="4492" y="300"/>
                </a:lnTo>
                <a:lnTo>
                  <a:pt x="4492" y="298"/>
                </a:lnTo>
                <a:lnTo>
                  <a:pt x="4492" y="296"/>
                </a:lnTo>
                <a:lnTo>
                  <a:pt x="4490" y="294"/>
                </a:lnTo>
                <a:lnTo>
                  <a:pt x="4490" y="294"/>
                </a:lnTo>
                <a:lnTo>
                  <a:pt x="4456" y="280"/>
                </a:lnTo>
                <a:lnTo>
                  <a:pt x="4456" y="280"/>
                </a:lnTo>
                <a:lnTo>
                  <a:pt x="4448" y="274"/>
                </a:lnTo>
                <a:lnTo>
                  <a:pt x="4442" y="272"/>
                </a:lnTo>
                <a:lnTo>
                  <a:pt x="4438" y="270"/>
                </a:lnTo>
                <a:lnTo>
                  <a:pt x="4438" y="270"/>
                </a:lnTo>
                <a:lnTo>
                  <a:pt x="4434" y="268"/>
                </a:lnTo>
                <a:lnTo>
                  <a:pt x="4430" y="264"/>
                </a:lnTo>
                <a:lnTo>
                  <a:pt x="4430" y="264"/>
                </a:lnTo>
                <a:lnTo>
                  <a:pt x="4438" y="260"/>
                </a:lnTo>
                <a:lnTo>
                  <a:pt x="4442" y="260"/>
                </a:lnTo>
                <a:lnTo>
                  <a:pt x="4448" y="260"/>
                </a:lnTo>
                <a:lnTo>
                  <a:pt x="4454" y="262"/>
                </a:lnTo>
                <a:lnTo>
                  <a:pt x="4454" y="262"/>
                </a:lnTo>
                <a:lnTo>
                  <a:pt x="4460" y="264"/>
                </a:lnTo>
                <a:lnTo>
                  <a:pt x="4460" y="264"/>
                </a:lnTo>
                <a:lnTo>
                  <a:pt x="4466" y="256"/>
                </a:lnTo>
                <a:lnTo>
                  <a:pt x="4472" y="248"/>
                </a:lnTo>
                <a:lnTo>
                  <a:pt x="4482" y="242"/>
                </a:lnTo>
                <a:lnTo>
                  <a:pt x="4494" y="240"/>
                </a:lnTo>
                <a:lnTo>
                  <a:pt x="4494" y="240"/>
                </a:lnTo>
                <a:lnTo>
                  <a:pt x="4494" y="234"/>
                </a:lnTo>
                <a:lnTo>
                  <a:pt x="4488" y="232"/>
                </a:lnTo>
                <a:lnTo>
                  <a:pt x="4478" y="228"/>
                </a:lnTo>
                <a:lnTo>
                  <a:pt x="4478" y="228"/>
                </a:lnTo>
                <a:lnTo>
                  <a:pt x="4446" y="232"/>
                </a:lnTo>
                <a:lnTo>
                  <a:pt x="4446" y="232"/>
                </a:lnTo>
                <a:lnTo>
                  <a:pt x="4442" y="226"/>
                </a:lnTo>
                <a:lnTo>
                  <a:pt x="4442" y="226"/>
                </a:lnTo>
                <a:lnTo>
                  <a:pt x="4434" y="232"/>
                </a:lnTo>
                <a:lnTo>
                  <a:pt x="4434" y="232"/>
                </a:lnTo>
                <a:lnTo>
                  <a:pt x="4430" y="228"/>
                </a:lnTo>
                <a:lnTo>
                  <a:pt x="4430" y="224"/>
                </a:lnTo>
                <a:lnTo>
                  <a:pt x="4432" y="220"/>
                </a:lnTo>
                <a:lnTo>
                  <a:pt x="4438" y="218"/>
                </a:lnTo>
                <a:lnTo>
                  <a:pt x="4438" y="218"/>
                </a:lnTo>
                <a:lnTo>
                  <a:pt x="4444" y="216"/>
                </a:lnTo>
                <a:lnTo>
                  <a:pt x="4450" y="214"/>
                </a:lnTo>
                <a:lnTo>
                  <a:pt x="4450" y="214"/>
                </a:lnTo>
                <a:lnTo>
                  <a:pt x="4454" y="212"/>
                </a:lnTo>
                <a:lnTo>
                  <a:pt x="4460" y="210"/>
                </a:lnTo>
                <a:lnTo>
                  <a:pt x="4460" y="210"/>
                </a:lnTo>
                <a:lnTo>
                  <a:pt x="4466" y="208"/>
                </a:lnTo>
                <a:lnTo>
                  <a:pt x="4468" y="204"/>
                </a:lnTo>
                <a:lnTo>
                  <a:pt x="4468" y="204"/>
                </a:lnTo>
                <a:lnTo>
                  <a:pt x="4460" y="198"/>
                </a:lnTo>
                <a:lnTo>
                  <a:pt x="4452" y="192"/>
                </a:lnTo>
                <a:lnTo>
                  <a:pt x="4452" y="192"/>
                </a:lnTo>
                <a:lnTo>
                  <a:pt x="4448" y="188"/>
                </a:lnTo>
                <a:lnTo>
                  <a:pt x="4442" y="184"/>
                </a:lnTo>
                <a:lnTo>
                  <a:pt x="4436" y="184"/>
                </a:lnTo>
                <a:lnTo>
                  <a:pt x="4426" y="184"/>
                </a:lnTo>
                <a:lnTo>
                  <a:pt x="4426" y="184"/>
                </a:lnTo>
                <a:lnTo>
                  <a:pt x="4414" y="184"/>
                </a:lnTo>
                <a:lnTo>
                  <a:pt x="4402" y="182"/>
                </a:lnTo>
                <a:lnTo>
                  <a:pt x="4402" y="182"/>
                </a:lnTo>
                <a:lnTo>
                  <a:pt x="4400" y="182"/>
                </a:lnTo>
                <a:lnTo>
                  <a:pt x="4400" y="182"/>
                </a:lnTo>
                <a:lnTo>
                  <a:pt x="4394" y="178"/>
                </a:lnTo>
                <a:lnTo>
                  <a:pt x="4390" y="172"/>
                </a:lnTo>
                <a:lnTo>
                  <a:pt x="4390" y="172"/>
                </a:lnTo>
                <a:lnTo>
                  <a:pt x="4386" y="166"/>
                </a:lnTo>
                <a:lnTo>
                  <a:pt x="4382" y="160"/>
                </a:lnTo>
                <a:lnTo>
                  <a:pt x="4382" y="160"/>
                </a:lnTo>
                <a:lnTo>
                  <a:pt x="4380" y="160"/>
                </a:lnTo>
                <a:lnTo>
                  <a:pt x="4380" y="160"/>
                </a:lnTo>
                <a:lnTo>
                  <a:pt x="4372" y="160"/>
                </a:lnTo>
                <a:lnTo>
                  <a:pt x="4366" y="158"/>
                </a:lnTo>
                <a:lnTo>
                  <a:pt x="4360" y="156"/>
                </a:lnTo>
                <a:lnTo>
                  <a:pt x="4358" y="150"/>
                </a:lnTo>
                <a:lnTo>
                  <a:pt x="4358" y="150"/>
                </a:lnTo>
                <a:lnTo>
                  <a:pt x="4356" y="148"/>
                </a:lnTo>
                <a:lnTo>
                  <a:pt x="4352" y="146"/>
                </a:lnTo>
                <a:lnTo>
                  <a:pt x="4352" y="146"/>
                </a:lnTo>
                <a:lnTo>
                  <a:pt x="4346" y="150"/>
                </a:lnTo>
                <a:lnTo>
                  <a:pt x="4346" y="150"/>
                </a:lnTo>
                <a:lnTo>
                  <a:pt x="4350" y="154"/>
                </a:lnTo>
                <a:lnTo>
                  <a:pt x="4352" y="156"/>
                </a:lnTo>
                <a:lnTo>
                  <a:pt x="4350" y="158"/>
                </a:lnTo>
                <a:lnTo>
                  <a:pt x="4350" y="158"/>
                </a:lnTo>
                <a:lnTo>
                  <a:pt x="4340" y="160"/>
                </a:lnTo>
                <a:lnTo>
                  <a:pt x="4332" y="158"/>
                </a:lnTo>
                <a:lnTo>
                  <a:pt x="4320" y="152"/>
                </a:lnTo>
                <a:lnTo>
                  <a:pt x="4320" y="152"/>
                </a:lnTo>
                <a:lnTo>
                  <a:pt x="4328" y="150"/>
                </a:lnTo>
                <a:lnTo>
                  <a:pt x="4332" y="146"/>
                </a:lnTo>
                <a:lnTo>
                  <a:pt x="4334" y="140"/>
                </a:lnTo>
                <a:lnTo>
                  <a:pt x="4338" y="136"/>
                </a:lnTo>
                <a:lnTo>
                  <a:pt x="4338" y="136"/>
                </a:lnTo>
                <a:lnTo>
                  <a:pt x="4322" y="124"/>
                </a:lnTo>
                <a:lnTo>
                  <a:pt x="4322" y="124"/>
                </a:lnTo>
                <a:lnTo>
                  <a:pt x="4302" y="116"/>
                </a:lnTo>
                <a:lnTo>
                  <a:pt x="4302" y="116"/>
                </a:lnTo>
                <a:lnTo>
                  <a:pt x="4298" y="122"/>
                </a:lnTo>
                <a:lnTo>
                  <a:pt x="4294" y="124"/>
                </a:lnTo>
                <a:lnTo>
                  <a:pt x="4290" y="124"/>
                </a:lnTo>
                <a:lnTo>
                  <a:pt x="4284" y="120"/>
                </a:lnTo>
                <a:lnTo>
                  <a:pt x="4284" y="120"/>
                </a:lnTo>
                <a:lnTo>
                  <a:pt x="4292" y="116"/>
                </a:lnTo>
                <a:lnTo>
                  <a:pt x="4292" y="116"/>
                </a:lnTo>
                <a:lnTo>
                  <a:pt x="4284" y="112"/>
                </a:lnTo>
                <a:lnTo>
                  <a:pt x="4282" y="110"/>
                </a:lnTo>
                <a:lnTo>
                  <a:pt x="4278" y="110"/>
                </a:lnTo>
                <a:lnTo>
                  <a:pt x="4278" y="110"/>
                </a:lnTo>
                <a:lnTo>
                  <a:pt x="4274" y="110"/>
                </a:lnTo>
                <a:lnTo>
                  <a:pt x="4272" y="108"/>
                </a:lnTo>
                <a:lnTo>
                  <a:pt x="4272" y="108"/>
                </a:lnTo>
                <a:lnTo>
                  <a:pt x="4266" y="100"/>
                </a:lnTo>
                <a:lnTo>
                  <a:pt x="4266" y="100"/>
                </a:lnTo>
                <a:lnTo>
                  <a:pt x="4282" y="98"/>
                </a:lnTo>
                <a:lnTo>
                  <a:pt x="4282" y="98"/>
                </a:lnTo>
                <a:lnTo>
                  <a:pt x="4288" y="100"/>
                </a:lnTo>
                <a:lnTo>
                  <a:pt x="4288" y="100"/>
                </a:lnTo>
                <a:lnTo>
                  <a:pt x="4308" y="110"/>
                </a:lnTo>
                <a:lnTo>
                  <a:pt x="4330" y="118"/>
                </a:lnTo>
                <a:lnTo>
                  <a:pt x="4330" y="118"/>
                </a:lnTo>
                <a:lnTo>
                  <a:pt x="4336" y="120"/>
                </a:lnTo>
                <a:lnTo>
                  <a:pt x="4340" y="120"/>
                </a:lnTo>
                <a:lnTo>
                  <a:pt x="4340" y="120"/>
                </a:lnTo>
                <a:lnTo>
                  <a:pt x="4328" y="110"/>
                </a:lnTo>
                <a:lnTo>
                  <a:pt x="4328" y="110"/>
                </a:lnTo>
                <a:lnTo>
                  <a:pt x="4334" y="106"/>
                </a:lnTo>
                <a:lnTo>
                  <a:pt x="4336" y="106"/>
                </a:lnTo>
                <a:lnTo>
                  <a:pt x="4338" y="108"/>
                </a:lnTo>
                <a:lnTo>
                  <a:pt x="4338" y="108"/>
                </a:lnTo>
                <a:lnTo>
                  <a:pt x="4342" y="110"/>
                </a:lnTo>
                <a:lnTo>
                  <a:pt x="4348" y="112"/>
                </a:lnTo>
                <a:lnTo>
                  <a:pt x="4354" y="112"/>
                </a:lnTo>
                <a:lnTo>
                  <a:pt x="4358" y="114"/>
                </a:lnTo>
                <a:lnTo>
                  <a:pt x="4358" y="114"/>
                </a:lnTo>
                <a:lnTo>
                  <a:pt x="4362" y="116"/>
                </a:lnTo>
                <a:lnTo>
                  <a:pt x="4366" y="114"/>
                </a:lnTo>
                <a:lnTo>
                  <a:pt x="4366" y="114"/>
                </a:lnTo>
                <a:lnTo>
                  <a:pt x="4366" y="112"/>
                </a:lnTo>
                <a:lnTo>
                  <a:pt x="4366" y="110"/>
                </a:lnTo>
                <a:lnTo>
                  <a:pt x="4366" y="110"/>
                </a:lnTo>
                <a:lnTo>
                  <a:pt x="4352" y="108"/>
                </a:lnTo>
                <a:lnTo>
                  <a:pt x="4352" y="108"/>
                </a:lnTo>
                <a:lnTo>
                  <a:pt x="4340" y="104"/>
                </a:lnTo>
                <a:lnTo>
                  <a:pt x="4334" y="102"/>
                </a:lnTo>
                <a:lnTo>
                  <a:pt x="4328" y="102"/>
                </a:lnTo>
                <a:lnTo>
                  <a:pt x="4328" y="102"/>
                </a:lnTo>
                <a:lnTo>
                  <a:pt x="4326" y="104"/>
                </a:lnTo>
                <a:lnTo>
                  <a:pt x="4326" y="104"/>
                </a:lnTo>
                <a:lnTo>
                  <a:pt x="4320" y="102"/>
                </a:lnTo>
                <a:lnTo>
                  <a:pt x="4314" y="102"/>
                </a:lnTo>
                <a:lnTo>
                  <a:pt x="4302" y="100"/>
                </a:lnTo>
                <a:lnTo>
                  <a:pt x="4302" y="98"/>
                </a:lnTo>
                <a:lnTo>
                  <a:pt x="4302" y="98"/>
                </a:lnTo>
                <a:lnTo>
                  <a:pt x="4294" y="96"/>
                </a:lnTo>
                <a:lnTo>
                  <a:pt x="4294" y="96"/>
                </a:lnTo>
                <a:lnTo>
                  <a:pt x="4294" y="96"/>
                </a:lnTo>
                <a:lnTo>
                  <a:pt x="4294" y="96"/>
                </a:lnTo>
                <a:lnTo>
                  <a:pt x="4314" y="94"/>
                </a:lnTo>
                <a:lnTo>
                  <a:pt x="4314" y="94"/>
                </a:lnTo>
                <a:lnTo>
                  <a:pt x="4306" y="90"/>
                </a:lnTo>
                <a:lnTo>
                  <a:pt x="4306" y="90"/>
                </a:lnTo>
                <a:lnTo>
                  <a:pt x="4282" y="82"/>
                </a:lnTo>
                <a:lnTo>
                  <a:pt x="4282" y="82"/>
                </a:lnTo>
                <a:lnTo>
                  <a:pt x="4258" y="76"/>
                </a:lnTo>
                <a:lnTo>
                  <a:pt x="4234" y="72"/>
                </a:lnTo>
                <a:lnTo>
                  <a:pt x="4234" y="72"/>
                </a:lnTo>
                <a:lnTo>
                  <a:pt x="4222" y="72"/>
                </a:lnTo>
                <a:lnTo>
                  <a:pt x="4216" y="70"/>
                </a:lnTo>
                <a:lnTo>
                  <a:pt x="4212" y="66"/>
                </a:lnTo>
                <a:lnTo>
                  <a:pt x="4212" y="66"/>
                </a:lnTo>
                <a:lnTo>
                  <a:pt x="4210" y="66"/>
                </a:lnTo>
                <a:lnTo>
                  <a:pt x="4210" y="66"/>
                </a:lnTo>
                <a:lnTo>
                  <a:pt x="4174" y="62"/>
                </a:lnTo>
                <a:lnTo>
                  <a:pt x="4174" y="62"/>
                </a:lnTo>
                <a:lnTo>
                  <a:pt x="4162" y="62"/>
                </a:lnTo>
                <a:lnTo>
                  <a:pt x="4156" y="62"/>
                </a:lnTo>
                <a:lnTo>
                  <a:pt x="4150" y="58"/>
                </a:lnTo>
                <a:lnTo>
                  <a:pt x="4150" y="58"/>
                </a:lnTo>
                <a:lnTo>
                  <a:pt x="4150" y="58"/>
                </a:lnTo>
                <a:lnTo>
                  <a:pt x="4150" y="58"/>
                </a:lnTo>
                <a:lnTo>
                  <a:pt x="4128" y="56"/>
                </a:lnTo>
                <a:lnTo>
                  <a:pt x="4104" y="56"/>
                </a:lnTo>
                <a:lnTo>
                  <a:pt x="4104" y="56"/>
                </a:lnTo>
                <a:lnTo>
                  <a:pt x="4100" y="56"/>
                </a:lnTo>
                <a:lnTo>
                  <a:pt x="4096" y="54"/>
                </a:lnTo>
                <a:lnTo>
                  <a:pt x="4094" y="52"/>
                </a:lnTo>
                <a:lnTo>
                  <a:pt x="4092" y="48"/>
                </a:lnTo>
                <a:lnTo>
                  <a:pt x="4092" y="48"/>
                </a:lnTo>
                <a:lnTo>
                  <a:pt x="4086" y="52"/>
                </a:lnTo>
                <a:lnTo>
                  <a:pt x="4078" y="52"/>
                </a:lnTo>
                <a:lnTo>
                  <a:pt x="4072" y="52"/>
                </a:lnTo>
                <a:lnTo>
                  <a:pt x="4066" y="48"/>
                </a:lnTo>
                <a:lnTo>
                  <a:pt x="4066" y="48"/>
                </a:lnTo>
                <a:lnTo>
                  <a:pt x="4060" y="42"/>
                </a:lnTo>
                <a:lnTo>
                  <a:pt x="4054" y="40"/>
                </a:lnTo>
                <a:lnTo>
                  <a:pt x="4048" y="42"/>
                </a:lnTo>
                <a:lnTo>
                  <a:pt x="4038" y="44"/>
                </a:lnTo>
                <a:lnTo>
                  <a:pt x="4038" y="44"/>
                </a:lnTo>
                <a:lnTo>
                  <a:pt x="4020" y="40"/>
                </a:lnTo>
                <a:lnTo>
                  <a:pt x="4020" y="40"/>
                </a:lnTo>
                <a:lnTo>
                  <a:pt x="4014" y="40"/>
                </a:lnTo>
                <a:lnTo>
                  <a:pt x="4014" y="40"/>
                </a:lnTo>
                <a:lnTo>
                  <a:pt x="3998" y="48"/>
                </a:lnTo>
                <a:lnTo>
                  <a:pt x="3998" y="48"/>
                </a:lnTo>
                <a:lnTo>
                  <a:pt x="4000" y="54"/>
                </a:lnTo>
                <a:lnTo>
                  <a:pt x="4000" y="56"/>
                </a:lnTo>
                <a:lnTo>
                  <a:pt x="3996" y="60"/>
                </a:lnTo>
                <a:lnTo>
                  <a:pt x="3990" y="60"/>
                </a:lnTo>
                <a:lnTo>
                  <a:pt x="3990" y="60"/>
                </a:lnTo>
                <a:lnTo>
                  <a:pt x="3986" y="56"/>
                </a:lnTo>
                <a:lnTo>
                  <a:pt x="3982" y="54"/>
                </a:lnTo>
                <a:lnTo>
                  <a:pt x="3978" y="54"/>
                </a:lnTo>
                <a:lnTo>
                  <a:pt x="3978" y="54"/>
                </a:lnTo>
                <a:lnTo>
                  <a:pt x="3956" y="56"/>
                </a:lnTo>
                <a:lnTo>
                  <a:pt x="3946" y="58"/>
                </a:lnTo>
                <a:lnTo>
                  <a:pt x="3938" y="62"/>
                </a:lnTo>
                <a:lnTo>
                  <a:pt x="3938" y="62"/>
                </a:lnTo>
                <a:lnTo>
                  <a:pt x="3932" y="66"/>
                </a:lnTo>
                <a:lnTo>
                  <a:pt x="3932" y="68"/>
                </a:lnTo>
                <a:lnTo>
                  <a:pt x="3932" y="70"/>
                </a:lnTo>
                <a:lnTo>
                  <a:pt x="3932" y="70"/>
                </a:lnTo>
                <a:lnTo>
                  <a:pt x="3940" y="84"/>
                </a:lnTo>
                <a:lnTo>
                  <a:pt x="3940" y="84"/>
                </a:lnTo>
                <a:lnTo>
                  <a:pt x="3934" y="88"/>
                </a:lnTo>
                <a:lnTo>
                  <a:pt x="3928" y="94"/>
                </a:lnTo>
                <a:lnTo>
                  <a:pt x="3928" y="94"/>
                </a:lnTo>
                <a:lnTo>
                  <a:pt x="3926" y="98"/>
                </a:lnTo>
                <a:lnTo>
                  <a:pt x="3926" y="106"/>
                </a:lnTo>
                <a:lnTo>
                  <a:pt x="3926" y="106"/>
                </a:lnTo>
                <a:lnTo>
                  <a:pt x="3934" y="106"/>
                </a:lnTo>
                <a:lnTo>
                  <a:pt x="3934" y="106"/>
                </a:lnTo>
                <a:lnTo>
                  <a:pt x="3936" y="102"/>
                </a:lnTo>
                <a:lnTo>
                  <a:pt x="3936" y="102"/>
                </a:lnTo>
                <a:lnTo>
                  <a:pt x="3946" y="102"/>
                </a:lnTo>
                <a:lnTo>
                  <a:pt x="3950" y="102"/>
                </a:lnTo>
                <a:lnTo>
                  <a:pt x="3954" y="106"/>
                </a:lnTo>
                <a:lnTo>
                  <a:pt x="3954" y="106"/>
                </a:lnTo>
                <a:lnTo>
                  <a:pt x="3962" y="110"/>
                </a:lnTo>
                <a:lnTo>
                  <a:pt x="3970" y="114"/>
                </a:lnTo>
                <a:lnTo>
                  <a:pt x="3970" y="114"/>
                </a:lnTo>
                <a:lnTo>
                  <a:pt x="3966" y="118"/>
                </a:lnTo>
                <a:lnTo>
                  <a:pt x="3960" y="122"/>
                </a:lnTo>
                <a:lnTo>
                  <a:pt x="3954" y="124"/>
                </a:lnTo>
                <a:lnTo>
                  <a:pt x="3946" y="124"/>
                </a:lnTo>
                <a:lnTo>
                  <a:pt x="3946" y="124"/>
                </a:lnTo>
                <a:lnTo>
                  <a:pt x="3938" y="122"/>
                </a:lnTo>
                <a:lnTo>
                  <a:pt x="3930" y="122"/>
                </a:lnTo>
                <a:lnTo>
                  <a:pt x="3930" y="122"/>
                </a:lnTo>
                <a:lnTo>
                  <a:pt x="3922" y="124"/>
                </a:lnTo>
                <a:lnTo>
                  <a:pt x="3916" y="128"/>
                </a:lnTo>
                <a:lnTo>
                  <a:pt x="3916" y="128"/>
                </a:lnTo>
                <a:lnTo>
                  <a:pt x="3914" y="130"/>
                </a:lnTo>
                <a:lnTo>
                  <a:pt x="3914" y="132"/>
                </a:lnTo>
                <a:lnTo>
                  <a:pt x="3914" y="132"/>
                </a:lnTo>
                <a:lnTo>
                  <a:pt x="3906" y="132"/>
                </a:lnTo>
                <a:lnTo>
                  <a:pt x="3902" y="132"/>
                </a:lnTo>
                <a:lnTo>
                  <a:pt x="3898" y="134"/>
                </a:lnTo>
                <a:lnTo>
                  <a:pt x="3898" y="134"/>
                </a:lnTo>
                <a:lnTo>
                  <a:pt x="3904" y="136"/>
                </a:lnTo>
                <a:lnTo>
                  <a:pt x="3908" y="138"/>
                </a:lnTo>
                <a:lnTo>
                  <a:pt x="3916" y="144"/>
                </a:lnTo>
                <a:lnTo>
                  <a:pt x="3916" y="144"/>
                </a:lnTo>
                <a:lnTo>
                  <a:pt x="3904" y="150"/>
                </a:lnTo>
                <a:lnTo>
                  <a:pt x="3904" y="150"/>
                </a:lnTo>
                <a:lnTo>
                  <a:pt x="3898" y="148"/>
                </a:lnTo>
                <a:lnTo>
                  <a:pt x="3896" y="144"/>
                </a:lnTo>
                <a:lnTo>
                  <a:pt x="3894" y="140"/>
                </a:lnTo>
                <a:lnTo>
                  <a:pt x="3896" y="136"/>
                </a:lnTo>
                <a:lnTo>
                  <a:pt x="3896" y="136"/>
                </a:lnTo>
                <a:lnTo>
                  <a:pt x="3878" y="136"/>
                </a:lnTo>
                <a:lnTo>
                  <a:pt x="3878" y="136"/>
                </a:lnTo>
                <a:lnTo>
                  <a:pt x="3868" y="136"/>
                </a:lnTo>
                <a:lnTo>
                  <a:pt x="3862" y="136"/>
                </a:lnTo>
                <a:lnTo>
                  <a:pt x="3858" y="134"/>
                </a:lnTo>
                <a:lnTo>
                  <a:pt x="3858" y="134"/>
                </a:lnTo>
                <a:lnTo>
                  <a:pt x="3848" y="130"/>
                </a:lnTo>
                <a:lnTo>
                  <a:pt x="3838" y="128"/>
                </a:lnTo>
                <a:lnTo>
                  <a:pt x="3838" y="128"/>
                </a:lnTo>
                <a:lnTo>
                  <a:pt x="3834" y="134"/>
                </a:lnTo>
                <a:lnTo>
                  <a:pt x="3828" y="136"/>
                </a:lnTo>
                <a:lnTo>
                  <a:pt x="3822" y="138"/>
                </a:lnTo>
                <a:lnTo>
                  <a:pt x="3812" y="140"/>
                </a:lnTo>
                <a:lnTo>
                  <a:pt x="3812" y="140"/>
                </a:lnTo>
                <a:lnTo>
                  <a:pt x="3802" y="138"/>
                </a:lnTo>
                <a:lnTo>
                  <a:pt x="3794" y="136"/>
                </a:lnTo>
                <a:lnTo>
                  <a:pt x="3776" y="130"/>
                </a:lnTo>
                <a:lnTo>
                  <a:pt x="3776" y="130"/>
                </a:lnTo>
                <a:lnTo>
                  <a:pt x="3770" y="128"/>
                </a:lnTo>
                <a:lnTo>
                  <a:pt x="3770" y="128"/>
                </a:lnTo>
                <a:lnTo>
                  <a:pt x="3762" y="126"/>
                </a:lnTo>
                <a:lnTo>
                  <a:pt x="3756" y="124"/>
                </a:lnTo>
                <a:lnTo>
                  <a:pt x="3746" y="114"/>
                </a:lnTo>
                <a:lnTo>
                  <a:pt x="3746" y="114"/>
                </a:lnTo>
                <a:lnTo>
                  <a:pt x="3758" y="112"/>
                </a:lnTo>
                <a:lnTo>
                  <a:pt x="3762" y="110"/>
                </a:lnTo>
                <a:lnTo>
                  <a:pt x="3766" y="106"/>
                </a:lnTo>
                <a:lnTo>
                  <a:pt x="3766" y="106"/>
                </a:lnTo>
                <a:lnTo>
                  <a:pt x="3770" y="100"/>
                </a:lnTo>
                <a:lnTo>
                  <a:pt x="3772" y="96"/>
                </a:lnTo>
                <a:lnTo>
                  <a:pt x="3772" y="92"/>
                </a:lnTo>
                <a:lnTo>
                  <a:pt x="3772" y="92"/>
                </a:lnTo>
                <a:lnTo>
                  <a:pt x="3760" y="90"/>
                </a:lnTo>
                <a:lnTo>
                  <a:pt x="3746" y="88"/>
                </a:lnTo>
                <a:lnTo>
                  <a:pt x="3732" y="88"/>
                </a:lnTo>
                <a:lnTo>
                  <a:pt x="3720" y="88"/>
                </a:lnTo>
                <a:lnTo>
                  <a:pt x="3720" y="88"/>
                </a:lnTo>
                <a:lnTo>
                  <a:pt x="3728" y="86"/>
                </a:lnTo>
                <a:lnTo>
                  <a:pt x="3736" y="84"/>
                </a:lnTo>
                <a:lnTo>
                  <a:pt x="3744" y="82"/>
                </a:lnTo>
                <a:lnTo>
                  <a:pt x="3746" y="80"/>
                </a:lnTo>
                <a:lnTo>
                  <a:pt x="3748" y="76"/>
                </a:lnTo>
                <a:lnTo>
                  <a:pt x="3748" y="76"/>
                </a:lnTo>
                <a:lnTo>
                  <a:pt x="3748" y="72"/>
                </a:lnTo>
                <a:lnTo>
                  <a:pt x="3748" y="68"/>
                </a:lnTo>
                <a:lnTo>
                  <a:pt x="3748" y="68"/>
                </a:lnTo>
                <a:lnTo>
                  <a:pt x="3756" y="60"/>
                </a:lnTo>
                <a:lnTo>
                  <a:pt x="3758" y="56"/>
                </a:lnTo>
                <a:lnTo>
                  <a:pt x="3764" y="52"/>
                </a:lnTo>
                <a:lnTo>
                  <a:pt x="3764" y="52"/>
                </a:lnTo>
                <a:lnTo>
                  <a:pt x="3764" y="52"/>
                </a:lnTo>
                <a:lnTo>
                  <a:pt x="3764" y="52"/>
                </a:lnTo>
                <a:lnTo>
                  <a:pt x="3760" y="50"/>
                </a:lnTo>
                <a:lnTo>
                  <a:pt x="3758" y="48"/>
                </a:lnTo>
                <a:lnTo>
                  <a:pt x="3758" y="48"/>
                </a:lnTo>
                <a:lnTo>
                  <a:pt x="3758" y="44"/>
                </a:lnTo>
                <a:lnTo>
                  <a:pt x="3754" y="40"/>
                </a:lnTo>
                <a:lnTo>
                  <a:pt x="3748" y="34"/>
                </a:lnTo>
                <a:lnTo>
                  <a:pt x="3748" y="34"/>
                </a:lnTo>
                <a:lnTo>
                  <a:pt x="3744" y="30"/>
                </a:lnTo>
                <a:lnTo>
                  <a:pt x="3738" y="28"/>
                </a:lnTo>
                <a:lnTo>
                  <a:pt x="3738" y="28"/>
                </a:lnTo>
                <a:lnTo>
                  <a:pt x="3730" y="26"/>
                </a:lnTo>
                <a:lnTo>
                  <a:pt x="3724" y="28"/>
                </a:lnTo>
                <a:lnTo>
                  <a:pt x="3716" y="30"/>
                </a:lnTo>
                <a:lnTo>
                  <a:pt x="3708" y="32"/>
                </a:lnTo>
                <a:lnTo>
                  <a:pt x="3708" y="32"/>
                </a:lnTo>
                <a:lnTo>
                  <a:pt x="3704" y="36"/>
                </a:lnTo>
                <a:lnTo>
                  <a:pt x="3700" y="38"/>
                </a:lnTo>
                <a:lnTo>
                  <a:pt x="3686" y="44"/>
                </a:lnTo>
                <a:lnTo>
                  <a:pt x="3686" y="44"/>
                </a:lnTo>
                <a:lnTo>
                  <a:pt x="3692" y="60"/>
                </a:lnTo>
                <a:lnTo>
                  <a:pt x="3692" y="60"/>
                </a:lnTo>
                <a:lnTo>
                  <a:pt x="3688" y="66"/>
                </a:lnTo>
                <a:lnTo>
                  <a:pt x="3688" y="66"/>
                </a:lnTo>
                <a:lnTo>
                  <a:pt x="3676" y="66"/>
                </a:lnTo>
                <a:lnTo>
                  <a:pt x="3668" y="66"/>
                </a:lnTo>
                <a:lnTo>
                  <a:pt x="3668" y="66"/>
                </a:lnTo>
                <a:lnTo>
                  <a:pt x="3660" y="62"/>
                </a:lnTo>
                <a:lnTo>
                  <a:pt x="3654" y="62"/>
                </a:lnTo>
                <a:lnTo>
                  <a:pt x="3646" y="64"/>
                </a:lnTo>
                <a:lnTo>
                  <a:pt x="3638" y="66"/>
                </a:lnTo>
                <a:lnTo>
                  <a:pt x="3638" y="66"/>
                </a:lnTo>
                <a:lnTo>
                  <a:pt x="3632" y="68"/>
                </a:lnTo>
                <a:lnTo>
                  <a:pt x="3632" y="68"/>
                </a:lnTo>
                <a:lnTo>
                  <a:pt x="3622" y="72"/>
                </a:lnTo>
                <a:lnTo>
                  <a:pt x="3620" y="74"/>
                </a:lnTo>
                <a:lnTo>
                  <a:pt x="3618" y="78"/>
                </a:lnTo>
                <a:lnTo>
                  <a:pt x="3618" y="78"/>
                </a:lnTo>
                <a:lnTo>
                  <a:pt x="3616" y="84"/>
                </a:lnTo>
                <a:lnTo>
                  <a:pt x="3618" y="88"/>
                </a:lnTo>
                <a:lnTo>
                  <a:pt x="3622" y="90"/>
                </a:lnTo>
                <a:lnTo>
                  <a:pt x="3622" y="90"/>
                </a:lnTo>
                <a:lnTo>
                  <a:pt x="3624" y="94"/>
                </a:lnTo>
                <a:lnTo>
                  <a:pt x="3624" y="96"/>
                </a:lnTo>
                <a:lnTo>
                  <a:pt x="3624" y="96"/>
                </a:lnTo>
                <a:lnTo>
                  <a:pt x="3620" y="100"/>
                </a:lnTo>
                <a:lnTo>
                  <a:pt x="3618" y="104"/>
                </a:lnTo>
                <a:lnTo>
                  <a:pt x="3618" y="104"/>
                </a:lnTo>
                <a:lnTo>
                  <a:pt x="3618" y="110"/>
                </a:lnTo>
                <a:lnTo>
                  <a:pt x="3618" y="118"/>
                </a:lnTo>
                <a:lnTo>
                  <a:pt x="3618" y="118"/>
                </a:lnTo>
                <a:lnTo>
                  <a:pt x="3612" y="118"/>
                </a:lnTo>
                <a:lnTo>
                  <a:pt x="3606" y="116"/>
                </a:lnTo>
                <a:lnTo>
                  <a:pt x="3606" y="116"/>
                </a:lnTo>
                <a:lnTo>
                  <a:pt x="3598" y="114"/>
                </a:lnTo>
                <a:lnTo>
                  <a:pt x="3590" y="116"/>
                </a:lnTo>
                <a:lnTo>
                  <a:pt x="3590" y="116"/>
                </a:lnTo>
                <a:lnTo>
                  <a:pt x="3578" y="114"/>
                </a:lnTo>
                <a:lnTo>
                  <a:pt x="3578" y="114"/>
                </a:lnTo>
                <a:lnTo>
                  <a:pt x="3552" y="106"/>
                </a:lnTo>
                <a:lnTo>
                  <a:pt x="3552" y="106"/>
                </a:lnTo>
                <a:lnTo>
                  <a:pt x="3546" y="106"/>
                </a:lnTo>
                <a:lnTo>
                  <a:pt x="3546" y="106"/>
                </a:lnTo>
                <a:lnTo>
                  <a:pt x="3522" y="108"/>
                </a:lnTo>
                <a:lnTo>
                  <a:pt x="3522" y="108"/>
                </a:lnTo>
                <a:lnTo>
                  <a:pt x="3516" y="108"/>
                </a:lnTo>
                <a:lnTo>
                  <a:pt x="3516" y="108"/>
                </a:lnTo>
                <a:lnTo>
                  <a:pt x="3510" y="112"/>
                </a:lnTo>
                <a:lnTo>
                  <a:pt x="3504" y="112"/>
                </a:lnTo>
                <a:lnTo>
                  <a:pt x="3490" y="112"/>
                </a:lnTo>
                <a:lnTo>
                  <a:pt x="3490" y="112"/>
                </a:lnTo>
                <a:lnTo>
                  <a:pt x="3484" y="112"/>
                </a:lnTo>
                <a:lnTo>
                  <a:pt x="3480" y="112"/>
                </a:lnTo>
                <a:lnTo>
                  <a:pt x="3476" y="114"/>
                </a:lnTo>
                <a:lnTo>
                  <a:pt x="3476" y="114"/>
                </a:lnTo>
                <a:lnTo>
                  <a:pt x="3482" y="114"/>
                </a:lnTo>
                <a:lnTo>
                  <a:pt x="3486" y="116"/>
                </a:lnTo>
                <a:lnTo>
                  <a:pt x="3492" y="116"/>
                </a:lnTo>
                <a:lnTo>
                  <a:pt x="3496" y="118"/>
                </a:lnTo>
                <a:lnTo>
                  <a:pt x="3496" y="118"/>
                </a:lnTo>
                <a:lnTo>
                  <a:pt x="3500" y="122"/>
                </a:lnTo>
                <a:lnTo>
                  <a:pt x="3500" y="124"/>
                </a:lnTo>
                <a:lnTo>
                  <a:pt x="3500" y="132"/>
                </a:lnTo>
                <a:lnTo>
                  <a:pt x="3500" y="132"/>
                </a:lnTo>
                <a:lnTo>
                  <a:pt x="3510" y="136"/>
                </a:lnTo>
                <a:lnTo>
                  <a:pt x="3520" y="138"/>
                </a:lnTo>
                <a:lnTo>
                  <a:pt x="3520" y="138"/>
                </a:lnTo>
                <a:lnTo>
                  <a:pt x="3530" y="136"/>
                </a:lnTo>
                <a:lnTo>
                  <a:pt x="3538" y="134"/>
                </a:lnTo>
                <a:lnTo>
                  <a:pt x="3538" y="134"/>
                </a:lnTo>
                <a:lnTo>
                  <a:pt x="3550" y="130"/>
                </a:lnTo>
                <a:lnTo>
                  <a:pt x="3550" y="130"/>
                </a:lnTo>
                <a:lnTo>
                  <a:pt x="3558" y="128"/>
                </a:lnTo>
                <a:lnTo>
                  <a:pt x="3564" y="130"/>
                </a:lnTo>
                <a:lnTo>
                  <a:pt x="3568" y="134"/>
                </a:lnTo>
                <a:lnTo>
                  <a:pt x="3568" y="138"/>
                </a:lnTo>
                <a:lnTo>
                  <a:pt x="3568" y="138"/>
                </a:lnTo>
                <a:lnTo>
                  <a:pt x="3570" y="142"/>
                </a:lnTo>
                <a:lnTo>
                  <a:pt x="3570" y="142"/>
                </a:lnTo>
                <a:lnTo>
                  <a:pt x="3582" y="146"/>
                </a:lnTo>
                <a:lnTo>
                  <a:pt x="3596" y="148"/>
                </a:lnTo>
                <a:lnTo>
                  <a:pt x="3624" y="154"/>
                </a:lnTo>
                <a:lnTo>
                  <a:pt x="3624" y="154"/>
                </a:lnTo>
                <a:lnTo>
                  <a:pt x="3618" y="154"/>
                </a:lnTo>
                <a:lnTo>
                  <a:pt x="3618" y="158"/>
                </a:lnTo>
                <a:lnTo>
                  <a:pt x="3618" y="162"/>
                </a:lnTo>
                <a:lnTo>
                  <a:pt x="3618" y="162"/>
                </a:lnTo>
                <a:lnTo>
                  <a:pt x="3618" y="166"/>
                </a:lnTo>
                <a:lnTo>
                  <a:pt x="3618" y="166"/>
                </a:lnTo>
                <a:lnTo>
                  <a:pt x="3612" y="168"/>
                </a:lnTo>
                <a:lnTo>
                  <a:pt x="3612" y="168"/>
                </a:lnTo>
                <a:lnTo>
                  <a:pt x="3598" y="168"/>
                </a:lnTo>
                <a:lnTo>
                  <a:pt x="3598" y="168"/>
                </a:lnTo>
                <a:lnTo>
                  <a:pt x="3596" y="172"/>
                </a:lnTo>
                <a:lnTo>
                  <a:pt x="3592" y="174"/>
                </a:lnTo>
                <a:lnTo>
                  <a:pt x="3592" y="174"/>
                </a:lnTo>
                <a:lnTo>
                  <a:pt x="3576" y="178"/>
                </a:lnTo>
                <a:lnTo>
                  <a:pt x="3558" y="178"/>
                </a:lnTo>
                <a:lnTo>
                  <a:pt x="3558" y="178"/>
                </a:lnTo>
                <a:lnTo>
                  <a:pt x="3550" y="164"/>
                </a:lnTo>
                <a:lnTo>
                  <a:pt x="3550" y="164"/>
                </a:lnTo>
                <a:lnTo>
                  <a:pt x="3546" y="162"/>
                </a:lnTo>
                <a:lnTo>
                  <a:pt x="3546" y="162"/>
                </a:lnTo>
                <a:lnTo>
                  <a:pt x="3534" y="162"/>
                </a:lnTo>
                <a:lnTo>
                  <a:pt x="3522" y="158"/>
                </a:lnTo>
                <a:lnTo>
                  <a:pt x="3522" y="158"/>
                </a:lnTo>
                <a:lnTo>
                  <a:pt x="3518" y="158"/>
                </a:lnTo>
                <a:lnTo>
                  <a:pt x="3512" y="158"/>
                </a:lnTo>
                <a:lnTo>
                  <a:pt x="3512" y="158"/>
                </a:lnTo>
                <a:lnTo>
                  <a:pt x="3504" y="160"/>
                </a:lnTo>
                <a:lnTo>
                  <a:pt x="3498" y="160"/>
                </a:lnTo>
                <a:lnTo>
                  <a:pt x="3492" y="160"/>
                </a:lnTo>
                <a:lnTo>
                  <a:pt x="3492" y="160"/>
                </a:lnTo>
                <a:lnTo>
                  <a:pt x="3488" y="160"/>
                </a:lnTo>
                <a:lnTo>
                  <a:pt x="3482" y="162"/>
                </a:lnTo>
                <a:lnTo>
                  <a:pt x="3482" y="162"/>
                </a:lnTo>
                <a:lnTo>
                  <a:pt x="3470" y="164"/>
                </a:lnTo>
                <a:lnTo>
                  <a:pt x="3470" y="164"/>
                </a:lnTo>
                <a:lnTo>
                  <a:pt x="3462" y="166"/>
                </a:lnTo>
                <a:lnTo>
                  <a:pt x="3458" y="168"/>
                </a:lnTo>
                <a:lnTo>
                  <a:pt x="3456" y="170"/>
                </a:lnTo>
                <a:lnTo>
                  <a:pt x="3456" y="170"/>
                </a:lnTo>
                <a:lnTo>
                  <a:pt x="3452" y="172"/>
                </a:lnTo>
                <a:lnTo>
                  <a:pt x="3446" y="174"/>
                </a:lnTo>
                <a:lnTo>
                  <a:pt x="3446" y="174"/>
                </a:lnTo>
                <a:lnTo>
                  <a:pt x="3440" y="176"/>
                </a:lnTo>
                <a:lnTo>
                  <a:pt x="3436" y="172"/>
                </a:lnTo>
                <a:lnTo>
                  <a:pt x="3436" y="172"/>
                </a:lnTo>
                <a:lnTo>
                  <a:pt x="3430" y="170"/>
                </a:lnTo>
                <a:lnTo>
                  <a:pt x="3426" y="168"/>
                </a:lnTo>
                <a:lnTo>
                  <a:pt x="3420" y="168"/>
                </a:lnTo>
                <a:lnTo>
                  <a:pt x="3414" y="172"/>
                </a:lnTo>
                <a:lnTo>
                  <a:pt x="3414" y="172"/>
                </a:lnTo>
                <a:lnTo>
                  <a:pt x="3420" y="176"/>
                </a:lnTo>
                <a:lnTo>
                  <a:pt x="3424" y="178"/>
                </a:lnTo>
                <a:lnTo>
                  <a:pt x="3428" y="180"/>
                </a:lnTo>
                <a:lnTo>
                  <a:pt x="3428" y="180"/>
                </a:lnTo>
                <a:lnTo>
                  <a:pt x="3450" y="180"/>
                </a:lnTo>
                <a:lnTo>
                  <a:pt x="3450" y="180"/>
                </a:lnTo>
                <a:lnTo>
                  <a:pt x="3456" y="182"/>
                </a:lnTo>
                <a:lnTo>
                  <a:pt x="3464" y="186"/>
                </a:lnTo>
                <a:lnTo>
                  <a:pt x="3468" y="190"/>
                </a:lnTo>
                <a:lnTo>
                  <a:pt x="3470" y="194"/>
                </a:lnTo>
                <a:lnTo>
                  <a:pt x="3470" y="194"/>
                </a:lnTo>
                <a:lnTo>
                  <a:pt x="3470" y="200"/>
                </a:lnTo>
                <a:lnTo>
                  <a:pt x="3472" y="202"/>
                </a:lnTo>
                <a:lnTo>
                  <a:pt x="3476" y="204"/>
                </a:lnTo>
                <a:lnTo>
                  <a:pt x="3476" y="204"/>
                </a:lnTo>
                <a:lnTo>
                  <a:pt x="3478" y="206"/>
                </a:lnTo>
                <a:lnTo>
                  <a:pt x="3478" y="206"/>
                </a:lnTo>
                <a:lnTo>
                  <a:pt x="3476" y="210"/>
                </a:lnTo>
                <a:lnTo>
                  <a:pt x="3478" y="212"/>
                </a:lnTo>
                <a:lnTo>
                  <a:pt x="3480" y="216"/>
                </a:lnTo>
                <a:lnTo>
                  <a:pt x="3480" y="218"/>
                </a:lnTo>
                <a:lnTo>
                  <a:pt x="3480" y="218"/>
                </a:lnTo>
                <a:lnTo>
                  <a:pt x="3488" y="222"/>
                </a:lnTo>
                <a:lnTo>
                  <a:pt x="3498" y="222"/>
                </a:lnTo>
                <a:lnTo>
                  <a:pt x="3518" y="222"/>
                </a:lnTo>
                <a:lnTo>
                  <a:pt x="3518" y="222"/>
                </a:lnTo>
                <a:lnTo>
                  <a:pt x="3522" y="220"/>
                </a:lnTo>
                <a:lnTo>
                  <a:pt x="3522" y="220"/>
                </a:lnTo>
                <a:lnTo>
                  <a:pt x="3528" y="214"/>
                </a:lnTo>
                <a:lnTo>
                  <a:pt x="3528" y="212"/>
                </a:lnTo>
                <a:lnTo>
                  <a:pt x="3528" y="208"/>
                </a:lnTo>
                <a:lnTo>
                  <a:pt x="3528" y="208"/>
                </a:lnTo>
                <a:lnTo>
                  <a:pt x="3526" y="206"/>
                </a:lnTo>
                <a:lnTo>
                  <a:pt x="3528" y="204"/>
                </a:lnTo>
                <a:lnTo>
                  <a:pt x="3530" y="202"/>
                </a:lnTo>
                <a:lnTo>
                  <a:pt x="3530" y="202"/>
                </a:lnTo>
                <a:lnTo>
                  <a:pt x="3534" y="204"/>
                </a:lnTo>
                <a:lnTo>
                  <a:pt x="3538" y="206"/>
                </a:lnTo>
                <a:lnTo>
                  <a:pt x="3542" y="206"/>
                </a:lnTo>
                <a:lnTo>
                  <a:pt x="3546" y="204"/>
                </a:lnTo>
                <a:lnTo>
                  <a:pt x="3546" y="204"/>
                </a:lnTo>
                <a:lnTo>
                  <a:pt x="3538" y="198"/>
                </a:lnTo>
                <a:lnTo>
                  <a:pt x="3538" y="198"/>
                </a:lnTo>
                <a:lnTo>
                  <a:pt x="3542" y="194"/>
                </a:lnTo>
                <a:lnTo>
                  <a:pt x="3542" y="194"/>
                </a:lnTo>
                <a:lnTo>
                  <a:pt x="3548" y="192"/>
                </a:lnTo>
                <a:lnTo>
                  <a:pt x="3554" y="190"/>
                </a:lnTo>
                <a:lnTo>
                  <a:pt x="3560" y="192"/>
                </a:lnTo>
                <a:lnTo>
                  <a:pt x="3568" y="194"/>
                </a:lnTo>
                <a:lnTo>
                  <a:pt x="3568" y="194"/>
                </a:lnTo>
                <a:lnTo>
                  <a:pt x="3578" y="198"/>
                </a:lnTo>
                <a:lnTo>
                  <a:pt x="3582" y="200"/>
                </a:lnTo>
                <a:lnTo>
                  <a:pt x="3590" y="198"/>
                </a:lnTo>
                <a:lnTo>
                  <a:pt x="3590" y="198"/>
                </a:lnTo>
                <a:lnTo>
                  <a:pt x="3592" y="200"/>
                </a:lnTo>
                <a:lnTo>
                  <a:pt x="3594" y="200"/>
                </a:lnTo>
                <a:lnTo>
                  <a:pt x="3594" y="202"/>
                </a:lnTo>
                <a:lnTo>
                  <a:pt x="3594" y="206"/>
                </a:lnTo>
                <a:lnTo>
                  <a:pt x="3594" y="206"/>
                </a:lnTo>
                <a:lnTo>
                  <a:pt x="3622" y="202"/>
                </a:lnTo>
                <a:lnTo>
                  <a:pt x="3622" y="202"/>
                </a:lnTo>
                <a:lnTo>
                  <a:pt x="3618" y="208"/>
                </a:lnTo>
                <a:lnTo>
                  <a:pt x="3618" y="208"/>
                </a:lnTo>
                <a:lnTo>
                  <a:pt x="3628" y="222"/>
                </a:lnTo>
                <a:lnTo>
                  <a:pt x="3628" y="222"/>
                </a:lnTo>
                <a:lnTo>
                  <a:pt x="3618" y="224"/>
                </a:lnTo>
                <a:lnTo>
                  <a:pt x="3614" y="228"/>
                </a:lnTo>
                <a:lnTo>
                  <a:pt x="3614" y="230"/>
                </a:lnTo>
                <a:lnTo>
                  <a:pt x="3614" y="230"/>
                </a:lnTo>
                <a:lnTo>
                  <a:pt x="3632" y="234"/>
                </a:lnTo>
                <a:lnTo>
                  <a:pt x="3632" y="234"/>
                </a:lnTo>
                <a:lnTo>
                  <a:pt x="3636" y="230"/>
                </a:lnTo>
                <a:lnTo>
                  <a:pt x="3636" y="226"/>
                </a:lnTo>
                <a:lnTo>
                  <a:pt x="3636" y="226"/>
                </a:lnTo>
                <a:lnTo>
                  <a:pt x="3638" y="224"/>
                </a:lnTo>
                <a:lnTo>
                  <a:pt x="3640" y="222"/>
                </a:lnTo>
                <a:lnTo>
                  <a:pt x="3646" y="222"/>
                </a:lnTo>
                <a:lnTo>
                  <a:pt x="3646" y="222"/>
                </a:lnTo>
                <a:lnTo>
                  <a:pt x="3654" y="218"/>
                </a:lnTo>
                <a:lnTo>
                  <a:pt x="3662" y="214"/>
                </a:lnTo>
                <a:lnTo>
                  <a:pt x="3662" y="214"/>
                </a:lnTo>
                <a:lnTo>
                  <a:pt x="3672" y="208"/>
                </a:lnTo>
                <a:lnTo>
                  <a:pt x="3672" y="208"/>
                </a:lnTo>
                <a:lnTo>
                  <a:pt x="3676" y="212"/>
                </a:lnTo>
                <a:lnTo>
                  <a:pt x="3674" y="216"/>
                </a:lnTo>
                <a:lnTo>
                  <a:pt x="3666" y="218"/>
                </a:lnTo>
                <a:lnTo>
                  <a:pt x="3666" y="218"/>
                </a:lnTo>
                <a:lnTo>
                  <a:pt x="3682" y="232"/>
                </a:lnTo>
                <a:lnTo>
                  <a:pt x="3682" y="232"/>
                </a:lnTo>
                <a:lnTo>
                  <a:pt x="3670" y="234"/>
                </a:lnTo>
                <a:lnTo>
                  <a:pt x="3670" y="234"/>
                </a:lnTo>
                <a:lnTo>
                  <a:pt x="3670" y="238"/>
                </a:lnTo>
                <a:lnTo>
                  <a:pt x="3670" y="240"/>
                </a:lnTo>
                <a:lnTo>
                  <a:pt x="3670" y="240"/>
                </a:lnTo>
                <a:lnTo>
                  <a:pt x="3666" y="244"/>
                </a:lnTo>
                <a:lnTo>
                  <a:pt x="3662" y="244"/>
                </a:lnTo>
                <a:lnTo>
                  <a:pt x="3662" y="244"/>
                </a:lnTo>
                <a:lnTo>
                  <a:pt x="3662" y="248"/>
                </a:lnTo>
                <a:lnTo>
                  <a:pt x="3662" y="252"/>
                </a:lnTo>
                <a:lnTo>
                  <a:pt x="3660" y="254"/>
                </a:lnTo>
                <a:lnTo>
                  <a:pt x="3654" y="256"/>
                </a:lnTo>
                <a:lnTo>
                  <a:pt x="3654" y="256"/>
                </a:lnTo>
                <a:lnTo>
                  <a:pt x="3648" y="256"/>
                </a:lnTo>
                <a:lnTo>
                  <a:pt x="3646" y="258"/>
                </a:lnTo>
                <a:lnTo>
                  <a:pt x="3644" y="260"/>
                </a:lnTo>
                <a:lnTo>
                  <a:pt x="3644" y="260"/>
                </a:lnTo>
                <a:lnTo>
                  <a:pt x="3642" y="264"/>
                </a:lnTo>
                <a:lnTo>
                  <a:pt x="3638" y="268"/>
                </a:lnTo>
                <a:lnTo>
                  <a:pt x="3638" y="268"/>
                </a:lnTo>
                <a:lnTo>
                  <a:pt x="3630" y="266"/>
                </a:lnTo>
                <a:lnTo>
                  <a:pt x="3630" y="266"/>
                </a:lnTo>
                <a:lnTo>
                  <a:pt x="3634" y="262"/>
                </a:lnTo>
                <a:lnTo>
                  <a:pt x="3634" y="262"/>
                </a:lnTo>
                <a:lnTo>
                  <a:pt x="3622" y="252"/>
                </a:lnTo>
                <a:lnTo>
                  <a:pt x="3622" y="252"/>
                </a:lnTo>
                <a:lnTo>
                  <a:pt x="3612" y="256"/>
                </a:lnTo>
                <a:lnTo>
                  <a:pt x="3604" y="260"/>
                </a:lnTo>
                <a:lnTo>
                  <a:pt x="3604" y="260"/>
                </a:lnTo>
                <a:lnTo>
                  <a:pt x="3600" y="262"/>
                </a:lnTo>
                <a:lnTo>
                  <a:pt x="3598" y="262"/>
                </a:lnTo>
                <a:lnTo>
                  <a:pt x="3590" y="260"/>
                </a:lnTo>
                <a:lnTo>
                  <a:pt x="3590" y="260"/>
                </a:lnTo>
                <a:lnTo>
                  <a:pt x="3590" y="258"/>
                </a:lnTo>
                <a:lnTo>
                  <a:pt x="3590" y="256"/>
                </a:lnTo>
                <a:lnTo>
                  <a:pt x="3596" y="254"/>
                </a:lnTo>
                <a:lnTo>
                  <a:pt x="3600" y="252"/>
                </a:lnTo>
                <a:lnTo>
                  <a:pt x="3602" y="250"/>
                </a:lnTo>
                <a:lnTo>
                  <a:pt x="3602" y="248"/>
                </a:lnTo>
                <a:lnTo>
                  <a:pt x="3602" y="248"/>
                </a:lnTo>
                <a:lnTo>
                  <a:pt x="3592" y="248"/>
                </a:lnTo>
                <a:lnTo>
                  <a:pt x="3586" y="250"/>
                </a:lnTo>
                <a:lnTo>
                  <a:pt x="3582" y="252"/>
                </a:lnTo>
                <a:lnTo>
                  <a:pt x="3582" y="252"/>
                </a:lnTo>
                <a:lnTo>
                  <a:pt x="3576" y="256"/>
                </a:lnTo>
                <a:lnTo>
                  <a:pt x="3576" y="256"/>
                </a:lnTo>
                <a:lnTo>
                  <a:pt x="3548" y="264"/>
                </a:lnTo>
                <a:lnTo>
                  <a:pt x="3548" y="264"/>
                </a:lnTo>
                <a:lnTo>
                  <a:pt x="3540" y="266"/>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26" y="264"/>
                </a:lnTo>
                <a:lnTo>
                  <a:pt x="3526" y="264"/>
                </a:lnTo>
                <a:lnTo>
                  <a:pt x="3526" y="260"/>
                </a:lnTo>
                <a:lnTo>
                  <a:pt x="3524" y="256"/>
                </a:lnTo>
                <a:lnTo>
                  <a:pt x="3516" y="254"/>
                </a:lnTo>
                <a:lnTo>
                  <a:pt x="3516" y="254"/>
                </a:lnTo>
                <a:lnTo>
                  <a:pt x="3506" y="250"/>
                </a:lnTo>
                <a:lnTo>
                  <a:pt x="3506" y="250"/>
                </a:lnTo>
                <a:lnTo>
                  <a:pt x="3508" y="248"/>
                </a:lnTo>
                <a:lnTo>
                  <a:pt x="3508" y="248"/>
                </a:lnTo>
                <a:lnTo>
                  <a:pt x="3544" y="244"/>
                </a:lnTo>
                <a:lnTo>
                  <a:pt x="3544" y="244"/>
                </a:lnTo>
                <a:lnTo>
                  <a:pt x="3548" y="238"/>
                </a:lnTo>
                <a:lnTo>
                  <a:pt x="3548" y="238"/>
                </a:lnTo>
                <a:lnTo>
                  <a:pt x="3532" y="236"/>
                </a:lnTo>
                <a:lnTo>
                  <a:pt x="3532" y="236"/>
                </a:lnTo>
                <a:lnTo>
                  <a:pt x="3526" y="234"/>
                </a:lnTo>
                <a:lnTo>
                  <a:pt x="3524" y="234"/>
                </a:lnTo>
                <a:lnTo>
                  <a:pt x="3522" y="232"/>
                </a:lnTo>
                <a:lnTo>
                  <a:pt x="3522" y="232"/>
                </a:lnTo>
                <a:lnTo>
                  <a:pt x="3518" y="228"/>
                </a:lnTo>
                <a:lnTo>
                  <a:pt x="3514" y="226"/>
                </a:lnTo>
                <a:lnTo>
                  <a:pt x="3502" y="226"/>
                </a:lnTo>
                <a:lnTo>
                  <a:pt x="3502" y="226"/>
                </a:lnTo>
                <a:lnTo>
                  <a:pt x="3502" y="230"/>
                </a:lnTo>
                <a:lnTo>
                  <a:pt x="3498" y="232"/>
                </a:lnTo>
                <a:lnTo>
                  <a:pt x="3492" y="234"/>
                </a:lnTo>
                <a:lnTo>
                  <a:pt x="3486" y="234"/>
                </a:lnTo>
                <a:lnTo>
                  <a:pt x="3486" y="234"/>
                </a:lnTo>
                <a:lnTo>
                  <a:pt x="3474" y="234"/>
                </a:lnTo>
                <a:lnTo>
                  <a:pt x="3474" y="234"/>
                </a:lnTo>
                <a:lnTo>
                  <a:pt x="3476" y="242"/>
                </a:lnTo>
                <a:lnTo>
                  <a:pt x="3476" y="242"/>
                </a:lnTo>
                <a:lnTo>
                  <a:pt x="3472" y="244"/>
                </a:lnTo>
                <a:lnTo>
                  <a:pt x="3472" y="244"/>
                </a:lnTo>
                <a:lnTo>
                  <a:pt x="3466" y="244"/>
                </a:lnTo>
                <a:lnTo>
                  <a:pt x="3466" y="244"/>
                </a:lnTo>
                <a:lnTo>
                  <a:pt x="3468" y="248"/>
                </a:lnTo>
                <a:lnTo>
                  <a:pt x="3472" y="252"/>
                </a:lnTo>
                <a:lnTo>
                  <a:pt x="3476" y="256"/>
                </a:lnTo>
                <a:lnTo>
                  <a:pt x="3476" y="260"/>
                </a:lnTo>
                <a:lnTo>
                  <a:pt x="3476" y="260"/>
                </a:lnTo>
                <a:lnTo>
                  <a:pt x="3488" y="262"/>
                </a:lnTo>
                <a:lnTo>
                  <a:pt x="3488" y="262"/>
                </a:lnTo>
                <a:lnTo>
                  <a:pt x="3472" y="266"/>
                </a:lnTo>
                <a:lnTo>
                  <a:pt x="3460" y="266"/>
                </a:lnTo>
                <a:lnTo>
                  <a:pt x="3452" y="264"/>
                </a:lnTo>
                <a:lnTo>
                  <a:pt x="3446" y="260"/>
                </a:lnTo>
                <a:lnTo>
                  <a:pt x="3446" y="260"/>
                </a:lnTo>
                <a:lnTo>
                  <a:pt x="3456" y="258"/>
                </a:lnTo>
                <a:lnTo>
                  <a:pt x="3456" y="258"/>
                </a:lnTo>
                <a:lnTo>
                  <a:pt x="3430" y="258"/>
                </a:lnTo>
                <a:lnTo>
                  <a:pt x="3430" y="258"/>
                </a:lnTo>
                <a:lnTo>
                  <a:pt x="3406" y="262"/>
                </a:lnTo>
                <a:lnTo>
                  <a:pt x="3406" y="262"/>
                </a:lnTo>
                <a:lnTo>
                  <a:pt x="3404" y="264"/>
                </a:lnTo>
                <a:lnTo>
                  <a:pt x="3402" y="266"/>
                </a:lnTo>
                <a:lnTo>
                  <a:pt x="3402" y="266"/>
                </a:lnTo>
                <a:lnTo>
                  <a:pt x="3412" y="272"/>
                </a:lnTo>
                <a:lnTo>
                  <a:pt x="3412" y="272"/>
                </a:lnTo>
                <a:lnTo>
                  <a:pt x="3422" y="270"/>
                </a:lnTo>
                <a:lnTo>
                  <a:pt x="3422" y="270"/>
                </a:lnTo>
                <a:lnTo>
                  <a:pt x="3428" y="270"/>
                </a:lnTo>
                <a:lnTo>
                  <a:pt x="3432" y="272"/>
                </a:lnTo>
                <a:lnTo>
                  <a:pt x="3432" y="272"/>
                </a:lnTo>
                <a:lnTo>
                  <a:pt x="3436" y="270"/>
                </a:lnTo>
                <a:lnTo>
                  <a:pt x="3440" y="266"/>
                </a:lnTo>
                <a:lnTo>
                  <a:pt x="3440" y="266"/>
                </a:lnTo>
                <a:lnTo>
                  <a:pt x="3446" y="268"/>
                </a:lnTo>
                <a:lnTo>
                  <a:pt x="3448" y="270"/>
                </a:lnTo>
                <a:lnTo>
                  <a:pt x="3450" y="272"/>
                </a:lnTo>
                <a:lnTo>
                  <a:pt x="3450" y="272"/>
                </a:lnTo>
                <a:lnTo>
                  <a:pt x="3432" y="278"/>
                </a:lnTo>
                <a:lnTo>
                  <a:pt x="3422" y="280"/>
                </a:lnTo>
                <a:lnTo>
                  <a:pt x="3412" y="280"/>
                </a:lnTo>
                <a:lnTo>
                  <a:pt x="3412" y="280"/>
                </a:lnTo>
                <a:lnTo>
                  <a:pt x="3406" y="282"/>
                </a:lnTo>
                <a:lnTo>
                  <a:pt x="3402" y="282"/>
                </a:lnTo>
                <a:lnTo>
                  <a:pt x="3398" y="286"/>
                </a:lnTo>
                <a:lnTo>
                  <a:pt x="3396" y="288"/>
                </a:lnTo>
                <a:lnTo>
                  <a:pt x="3396" y="288"/>
                </a:lnTo>
                <a:lnTo>
                  <a:pt x="3394" y="292"/>
                </a:lnTo>
                <a:lnTo>
                  <a:pt x="3394" y="292"/>
                </a:lnTo>
                <a:lnTo>
                  <a:pt x="3394" y="294"/>
                </a:lnTo>
                <a:lnTo>
                  <a:pt x="3394" y="294"/>
                </a:lnTo>
                <a:lnTo>
                  <a:pt x="3380" y="296"/>
                </a:lnTo>
                <a:lnTo>
                  <a:pt x="3374" y="298"/>
                </a:lnTo>
                <a:lnTo>
                  <a:pt x="3370" y="304"/>
                </a:lnTo>
                <a:lnTo>
                  <a:pt x="3370" y="304"/>
                </a:lnTo>
                <a:lnTo>
                  <a:pt x="3368" y="304"/>
                </a:lnTo>
                <a:lnTo>
                  <a:pt x="3364" y="306"/>
                </a:lnTo>
                <a:lnTo>
                  <a:pt x="3364" y="306"/>
                </a:lnTo>
                <a:lnTo>
                  <a:pt x="3342" y="302"/>
                </a:lnTo>
                <a:lnTo>
                  <a:pt x="3342" y="302"/>
                </a:lnTo>
                <a:lnTo>
                  <a:pt x="3336" y="300"/>
                </a:lnTo>
                <a:lnTo>
                  <a:pt x="3336" y="296"/>
                </a:lnTo>
                <a:lnTo>
                  <a:pt x="3336" y="294"/>
                </a:lnTo>
                <a:lnTo>
                  <a:pt x="3336" y="294"/>
                </a:lnTo>
                <a:lnTo>
                  <a:pt x="3362" y="296"/>
                </a:lnTo>
                <a:lnTo>
                  <a:pt x="3362" y="296"/>
                </a:lnTo>
                <a:lnTo>
                  <a:pt x="3362" y="294"/>
                </a:lnTo>
                <a:lnTo>
                  <a:pt x="3362" y="294"/>
                </a:lnTo>
                <a:lnTo>
                  <a:pt x="3332" y="284"/>
                </a:lnTo>
                <a:lnTo>
                  <a:pt x="3332" y="284"/>
                </a:lnTo>
                <a:lnTo>
                  <a:pt x="3332" y="284"/>
                </a:lnTo>
                <a:lnTo>
                  <a:pt x="3332" y="284"/>
                </a:lnTo>
                <a:lnTo>
                  <a:pt x="3338" y="282"/>
                </a:lnTo>
                <a:lnTo>
                  <a:pt x="3338" y="282"/>
                </a:lnTo>
                <a:lnTo>
                  <a:pt x="3340" y="280"/>
                </a:lnTo>
                <a:lnTo>
                  <a:pt x="3338" y="276"/>
                </a:lnTo>
                <a:lnTo>
                  <a:pt x="3338" y="276"/>
                </a:lnTo>
                <a:lnTo>
                  <a:pt x="3326" y="268"/>
                </a:lnTo>
                <a:lnTo>
                  <a:pt x="3326" y="268"/>
                </a:lnTo>
                <a:lnTo>
                  <a:pt x="3324" y="268"/>
                </a:lnTo>
                <a:lnTo>
                  <a:pt x="3324" y="268"/>
                </a:lnTo>
                <a:lnTo>
                  <a:pt x="3318" y="270"/>
                </a:lnTo>
                <a:lnTo>
                  <a:pt x="3318" y="270"/>
                </a:lnTo>
                <a:lnTo>
                  <a:pt x="3292" y="262"/>
                </a:lnTo>
                <a:lnTo>
                  <a:pt x="3292" y="262"/>
                </a:lnTo>
                <a:lnTo>
                  <a:pt x="3294" y="252"/>
                </a:lnTo>
                <a:lnTo>
                  <a:pt x="3294" y="252"/>
                </a:lnTo>
                <a:lnTo>
                  <a:pt x="3274" y="250"/>
                </a:lnTo>
                <a:lnTo>
                  <a:pt x="3274" y="250"/>
                </a:lnTo>
                <a:lnTo>
                  <a:pt x="3274" y="244"/>
                </a:lnTo>
                <a:lnTo>
                  <a:pt x="3272" y="240"/>
                </a:lnTo>
                <a:lnTo>
                  <a:pt x="3268" y="236"/>
                </a:lnTo>
                <a:lnTo>
                  <a:pt x="3260" y="232"/>
                </a:lnTo>
                <a:lnTo>
                  <a:pt x="3260" y="232"/>
                </a:lnTo>
                <a:lnTo>
                  <a:pt x="3254" y="230"/>
                </a:lnTo>
                <a:lnTo>
                  <a:pt x="3254" y="230"/>
                </a:lnTo>
                <a:lnTo>
                  <a:pt x="3258" y="226"/>
                </a:lnTo>
                <a:lnTo>
                  <a:pt x="3262" y="224"/>
                </a:lnTo>
                <a:lnTo>
                  <a:pt x="3262" y="224"/>
                </a:lnTo>
                <a:lnTo>
                  <a:pt x="3268" y="226"/>
                </a:lnTo>
                <a:lnTo>
                  <a:pt x="3274" y="226"/>
                </a:lnTo>
                <a:lnTo>
                  <a:pt x="3284" y="224"/>
                </a:lnTo>
                <a:lnTo>
                  <a:pt x="3284" y="224"/>
                </a:lnTo>
                <a:lnTo>
                  <a:pt x="3274" y="220"/>
                </a:lnTo>
                <a:lnTo>
                  <a:pt x="3270" y="220"/>
                </a:lnTo>
                <a:lnTo>
                  <a:pt x="3266" y="222"/>
                </a:lnTo>
                <a:lnTo>
                  <a:pt x="3266" y="222"/>
                </a:lnTo>
                <a:lnTo>
                  <a:pt x="3258" y="222"/>
                </a:lnTo>
                <a:lnTo>
                  <a:pt x="3258" y="222"/>
                </a:lnTo>
                <a:lnTo>
                  <a:pt x="3214" y="220"/>
                </a:lnTo>
                <a:lnTo>
                  <a:pt x="3214" y="220"/>
                </a:lnTo>
                <a:lnTo>
                  <a:pt x="3206" y="220"/>
                </a:lnTo>
                <a:lnTo>
                  <a:pt x="3198" y="216"/>
                </a:lnTo>
                <a:lnTo>
                  <a:pt x="3198" y="216"/>
                </a:lnTo>
                <a:lnTo>
                  <a:pt x="3206" y="208"/>
                </a:lnTo>
                <a:lnTo>
                  <a:pt x="3206" y="208"/>
                </a:lnTo>
                <a:lnTo>
                  <a:pt x="3194" y="206"/>
                </a:lnTo>
                <a:lnTo>
                  <a:pt x="3194" y="206"/>
                </a:lnTo>
                <a:lnTo>
                  <a:pt x="3188" y="206"/>
                </a:lnTo>
                <a:lnTo>
                  <a:pt x="3184" y="202"/>
                </a:lnTo>
                <a:lnTo>
                  <a:pt x="3184" y="202"/>
                </a:lnTo>
                <a:lnTo>
                  <a:pt x="3180" y="200"/>
                </a:lnTo>
                <a:lnTo>
                  <a:pt x="3174" y="198"/>
                </a:lnTo>
                <a:lnTo>
                  <a:pt x="3174" y="198"/>
                </a:lnTo>
                <a:lnTo>
                  <a:pt x="3160" y="196"/>
                </a:lnTo>
                <a:lnTo>
                  <a:pt x="3160" y="196"/>
                </a:lnTo>
                <a:lnTo>
                  <a:pt x="3156" y="198"/>
                </a:lnTo>
                <a:lnTo>
                  <a:pt x="3154" y="202"/>
                </a:lnTo>
                <a:lnTo>
                  <a:pt x="3154" y="202"/>
                </a:lnTo>
                <a:lnTo>
                  <a:pt x="3162" y="200"/>
                </a:lnTo>
                <a:lnTo>
                  <a:pt x="3168" y="200"/>
                </a:lnTo>
                <a:lnTo>
                  <a:pt x="3180" y="204"/>
                </a:lnTo>
                <a:lnTo>
                  <a:pt x="3180" y="204"/>
                </a:lnTo>
                <a:lnTo>
                  <a:pt x="3176" y="206"/>
                </a:lnTo>
                <a:lnTo>
                  <a:pt x="3170" y="206"/>
                </a:lnTo>
                <a:lnTo>
                  <a:pt x="3170" y="206"/>
                </a:lnTo>
                <a:lnTo>
                  <a:pt x="3164" y="204"/>
                </a:lnTo>
                <a:lnTo>
                  <a:pt x="3156" y="206"/>
                </a:lnTo>
                <a:lnTo>
                  <a:pt x="3146" y="210"/>
                </a:lnTo>
                <a:lnTo>
                  <a:pt x="3146" y="210"/>
                </a:lnTo>
                <a:lnTo>
                  <a:pt x="3138" y="212"/>
                </a:lnTo>
                <a:lnTo>
                  <a:pt x="3130" y="214"/>
                </a:lnTo>
                <a:lnTo>
                  <a:pt x="3124" y="212"/>
                </a:lnTo>
                <a:lnTo>
                  <a:pt x="3116" y="208"/>
                </a:lnTo>
                <a:lnTo>
                  <a:pt x="3116" y="208"/>
                </a:lnTo>
                <a:lnTo>
                  <a:pt x="3120" y="204"/>
                </a:lnTo>
                <a:lnTo>
                  <a:pt x="3126" y="202"/>
                </a:lnTo>
                <a:lnTo>
                  <a:pt x="3130" y="200"/>
                </a:lnTo>
                <a:lnTo>
                  <a:pt x="3134" y="198"/>
                </a:lnTo>
                <a:lnTo>
                  <a:pt x="3134" y="198"/>
                </a:lnTo>
                <a:lnTo>
                  <a:pt x="3130" y="194"/>
                </a:lnTo>
                <a:lnTo>
                  <a:pt x="3126" y="190"/>
                </a:lnTo>
                <a:lnTo>
                  <a:pt x="3120" y="188"/>
                </a:lnTo>
                <a:lnTo>
                  <a:pt x="3116" y="186"/>
                </a:lnTo>
                <a:lnTo>
                  <a:pt x="3116" y="186"/>
                </a:lnTo>
                <a:lnTo>
                  <a:pt x="3112" y="184"/>
                </a:lnTo>
                <a:lnTo>
                  <a:pt x="3108" y="184"/>
                </a:lnTo>
                <a:lnTo>
                  <a:pt x="3108" y="184"/>
                </a:lnTo>
                <a:lnTo>
                  <a:pt x="3104" y="180"/>
                </a:lnTo>
                <a:lnTo>
                  <a:pt x="3104" y="180"/>
                </a:lnTo>
                <a:lnTo>
                  <a:pt x="3094" y="184"/>
                </a:lnTo>
                <a:lnTo>
                  <a:pt x="3094" y="184"/>
                </a:lnTo>
                <a:lnTo>
                  <a:pt x="3090" y="184"/>
                </a:lnTo>
                <a:lnTo>
                  <a:pt x="3090" y="184"/>
                </a:lnTo>
                <a:lnTo>
                  <a:pt x="3088" y="182"/>
                </a:lnTo>
                <a:lnTo>
                  <a:pt x="3090" y="182"/>
                </a:lnTo>
                <a:lnTo>
                  <a:pt x="3090" y="182"/>
                </a:lnTo>
                <a:lnTo>
                  <a:pt x="3092" y="180"/>
                </a:lnTo>
                <a:lnTo>
                  <a:pt x="3094" y="176"/>
                </a:lnTo>
                <a:lnTo>
                  <a:pt x="3094" y="172"/>
                </a:lnTo>
                <a:lnTo>
                  <a:pt x="3094" y="172"/>
                </a:lnTo>
                <a:lnTo>
                  <a:pt x="3096" y="168"/>
                </a:lnTo>
                <a:lnTo>
                  <a:pt x="3098" y="164"/>
                </a:lnTo>
                <a:lnTo>
                  <a:pt x="3104" y="162"/>
                </a:lnTo>
                <a:lnTo>
                  <a:pt x="3110" y="162"/>
                </a:lnTo>
                <a:lnTo>
                  <a:pt x="3110" y="162"/>
                </a:lnTo>
                <a:lnTo>
                  <a:pt x="3118" y="162"/>
                </a:lnTo>
                <a:lnTo>
                  <a:pt x="3118" y="162"/>
                </a:lnTo>
                <a:lnTo>
                  <a:pt x="3130" y="162"/>
                </a:lnTo>
                <a:lnTo>
                  <a:pt x="3134" y="160"/>
                </a:lnTo>
                <a:lnTo>
                  <a:pt x="3138" y="156"/>
                </a:lnTo>
                <a:lnTo>
                  <a:pt x="3138" y="156"/>
                </a:lnTo>
                <a:lnTo>
                  <a:pt x="3132" y="154"/>
                </a:lnTo>
                <a:lnTo>
                  <a:pt x="3132" y="154"/>
                </a:lnTo>
                <a:lnTo>
                  <a:pt x="3122" y="152"/>
                </a:lnTo>
                <a:lnTo>
                  <a:pt x="3114" y="148"/>
                </a:lnTo>
                <a:lnTo>
                  <a:pt x="3114" y="148"/>
                </a:lnTo>
                <a:lnTo>
                  <a:pt x="3108" y="148"/>
                </a:lnTo>
                <a:lnTo>
                  <a:pt x="3108" y="148"/>
                </a:lnTo>
                <a:lnTo>
                  <a:pt x="3088" y="152"/>
                </a:lnTo>
                <a:lnTo>
                  <a:pt x="3088" y="152"/>
                </a:lnTo>
                <a:lnTo>
                  <a:pt x="3082" y="152"/>
                </a:lnTo>
                <a:lnTo>
                  <a:pt x="3082" y="152"/>
                </a:lnTo>
                <a:lnTo>
                  <a:pt x="3052" y="146"/>
                </a:lnTo>
                <a:lnTo>
                  <a:pt x="3052" y="146"/>
                </a:lnTo>
                <a:lnTo>
                  <a:pt x="3046" y="144"/>
                </a:lnTo>
                <a:lnTo>
                  <a:pt x="3042" y="142"/>
                </a:lnTo>
                <a:lnTo>
                  <a:pt x="3042" y="142"/>
                </a:lnTo>
                <a:lnTo>
                  <a:pt x="3042" y="138"/>
                </a:lnTo>
                <a:lnTo>
                  <a:pt x="3042" y="136"/>
                </a:lnTo>
                <a:lnTo>
                  <a:pt x="3042" y="136"/>
                </a:lnTo>
                <a:lnTo>
                  <a:pt x="3036" y="134"/>
                </a:lnTo>
                <a:lnTo>
                  <a:pt x="3034" y="134"/>
                </a:lnTo>
                <a:lnTo>
                  <a:pt x="3032" y="136"/>
                </a:lnTo>
                <a:lnTo>
                  <a:pt x="3030" y="140"/>
                </a:lnTo>
                <a:lnTo>
                  <a:pt x="3030" y="140"/>
                </a:lnTo>
                <a:lnTo>
                  <a:pt x="3028" y="148"/>
                </a:lnTo>
                <a:lnTo>
                  <a:pt x="3028" y="148"/>
                </a:lnTo>
                <a:lnTo>
                  <a:pt x="3014" y="148"/>
                </a:lnTo>
                <a:lnTo>
                  <a:pt x="3014" y="148"/>
                </a:lnTo>
                <a:lnTo>
                  <a:pt x="2998" y="150"/>
                </a:lnTo>
                <a:lnTo>
                  <a:pt x="2998" y="150"/>
                </a:lnTo>
                <a:lnTo>
                  <a:pt x="2998" y="150"/>
                </a:lnTo>
                <a:lnTo>
                  <a:pt x="2998" y="150"/>
                </a:lnTo>
                <a:lnTo>
                  <a:pt x="2998" y="166"/>
                </a:lnTo>
                <a:lnTo>
                  <a:pt x="2998" y="166"/>
                </a:lnTo>
                <a:lnTo>
                  <a:pt x="2994" y="166"/>
                </a:lnTo>
                <a:lnTo>
                  <a:pt x="2994" y="166"/>
                </a:lnTo>
                <a:lnTo>
                  <a:pt x="2992" y="160"/>
                </a:lnTo>
                <a:lnTo>
                  <a:pt x="2992" y="160"/>
                </a:lnTo>
                <a:lnTo>
                  <a:pt x="2994" y="166"/>
                </a:lnTo>
                <a:lnTo>
                  <a:pt x="2994" y="166"/>
                </a:lnTo>
                <a:lnTo>
                  <a:pt x="2988" y="164"/>
                </a:lnTo>
                <a:lnTo>
                  <a:pt x="2984" y="158"/>
                </a:lnTo>
                <a:lnTo>
                  <a:pt x="2978" y="144"/>
                </a:lnTo>
                <a:lnTo>
                  <a:pt x="2972" y="124"/>
                </a:lnTo>
                <a:lnTo>
                  <a:pt x="2968" y="104"/>
                </a:lnTo>
                <a:lnTo>
                  <a:pt x="2968" y="104"/>
                </a:lnTo>
                <a:lnTo>
                  <a:pt x="2962" y="104"/>
                </a:lnTo>
                <a:lnTo>
                  <a:pt x="2956" y="102"/>
                </a:lnTo>
                <a:lnTo>
                  <a:pt x="2956" y="102"/>
                </a:lnTo>
                <a:lnTo>
                  <a:pt x="2952" y="102"/>
                </a:lnTo>
                <a:lnTo>
                  <a:pt x="2952" y="102"/>
                </a:lnTo>
                <a:lnTo>
                  <a:pt x="2938" y="104"/>
                </a:lnTo>
                <a:lnTo>
                  <a:pt x="2932" y="106"/>
                </a:lnTo>
                <a:lnTo>
                  <a:pt x="2926" y="110"/>
                </a:lnTo>
                <a:lnTo>
                  <a:pt x="2926" y="110"/>
                </a:lnTo>
                <a:lnTo>
                  <a:pt x="2924" y="110"/>
                </a:lnTo>
                <a:lnTo>
                  <a:pt x="2918" y="112"/>
                </a:lnTo>
                <a:lnTo>
                  <a:pt x="2918" y="112"/>
                </a:lnTo>
                <a:lnTo>
                  <a:pt x="2910" y="114"/>
                </a:lnTo>
                <a:lnTo>
                  <a:pt x="2910" y="114"/>
                </a:lnTo>
                <a:lnTo>
                  <a:pt x="2916" y="116"/>
                </a:lnTo>
                <a:lnTo>
                  <a:pt x="2916" y="116"/>
                </a:lnTo>
                <a:lnTo>
                  <a:pt x="2930" y="116"/>
                </a:lnTo>
                <a:lnTo>
                  <a:pt x="2930" y="116"/>
                </a:lnTo>
                <a:lnTo>
                  <a:pt x="2938" y="116"/>
                </a:lnTo>
                <a:lnTo>
                  <a:pt x="2938" y="118"/>
                </a:lnTo>
                <a:lnTo>
                  <a:pt x="2940" y="122"/>
                </a:lnTo>
                <a:lnTo>
                  <a:pt x="2940" y="122"/>
                </a:lnTo>
                <a:lnTo>
                  <a:pt x="2942" y="126"/>
                </a:lnTo>
                <a:lnTo>
                  <a:pt x="2942" y="126"/>
                </a:lnTo>
                <a:lnTo>
                  <a:pt x="2950" y="134"/>
                </a:lnTo>
                <a:lnTo>
                  <a:pt x="2950" y="134"/>
                </a:lnTo>
                <a:lnTo>
                  <a:pt x="2934" y="140"/>
                </a:lnTo>
                <a:lnTo>
                  <a:pt x="2918" y="142"/>
                </a:lnTo>
                <a:lnTo>
                  <a:pt x="2918" y="142"/>
                </a:lnTo>
                <a:lnTo>
                  <a:pt x="2910" y="142"/>
                </a:lnTo>
                <a:lnTo>
                  <a:pt x="2910" y="142"/>
                </a:lnTo>
                <a:lnTo>
                  <a:pt x="2890" y="146"/>
                </a:lnTo>
                <a:lnTo>
                  <a:pt x="2880" y="148"/>
                </a:lnTo>
                <a:lnTo>
                  <a:pt x="2868" y="146"/>
                </a:lnTo>
                <a:lnTo>
                  <a:pt x="2868" y="146"/>
                </a:lnTo>
                <a:lnTo>
                  <a:pt x="2862" y="144"/>
                </a:lnTo>
                <a:lnTo>
                  <a:pt x="2854" y="146"/>
                </a:lnTo>
                <a:lnTo>
                  <a:pt x="2854" y="146"/>
                </a:lnTo>
                <a:lnTo>
                  <a:pt x="2830" y="148"/>
                </a:lnTo>
                <a:lnTo>
                  <a:pt x="2830" y="148"/>
                </a:lnTo>
                <a:lnTo>
                  <a:pt x="2834" y="152"/>
                </a:lnTo>
                <a:lnTo>
                  <a:pt x="2840" y="154"/>
                </a:lnTo>
                <a:lnTo>
                  <a:pt x="2840" y="154"/>
                </a:lnTo>
                <a:lnTo>
                  <a:pt x="2856" y="158"/>
                </a:lnTo>
                <a:lnTo>
                  <a:pt x="2866" y="158"/>
                </a:lnTo>
                <a:lnTo>
                  <a:pt x="2874" y="156"/>
                </a:lnTo>
                <a:lnTo>
                  <a:pt x="2874" y="156"/>
                </a:lnTo>
                <a:lnTo>
                  <a:pt x="2880" y="154"/>
                </a:lnTo>
                <a:lnTo>
                  <a:pt x="2884" y="154"/>
                </a:lnTo>
                <a:lnTo>
                  <a:pt x="2888" y="156"/>
                </a:lnTo>
                <a:lnTo>
                  <a:pt x="2892" y="160"/>
                </a:lnTo>
                <a:lnTo>
                  <a:pt x="2892" y="160"/>
                </a:lnTo>
                <a:lnTo>
                  <a:pt x="2886" y="162"/>
                </a:lnTo>
                <a:lnTo>
                  <a:pt x="2882" y="166"/>
                </a:lnTo>
                <a:lnTo>
                  <a:pt x="2882" y="166"/>
                </a:lnTo>
                <a:lnTo>
                  <a:pt x="2878" y="170"/>
                </a:lnTo>
                <a:lnTo>
                  <a:pt x="2872" y="170"/>
                </a:lnTo>
                <a:lnTo>
                  <a:pt x="2872" y="170"/>
                </a:lnTo>
                <a:lnTo>
                  <a:pt x="2864" y="172"/>
                </a:lnTo>
                <a:lnTo>
                  <a:pt x="2864" y="172"/>
                </a:lnTo>
                <a:lnTo>
                  <a:pt x="2876" y="178"/>
                </a:lnTo>
                <a:lnTo>
                  <a:pt x="2876" y="178"/>
                </a:lnTo>
                <a:lnTo>
                  <a:pt x="2876" y="178"/>
                </a:lnTo>
                <a:lnTo>
                  <a:pt x="2876" y="178"/>
                </a:lnTo>
                <a:lnTo>
                  <a:pt x="2876" y="178"/>
                </a:lnTo>
                <a:lnTo>
                  <a:pt x="2876" y="178"/>
                </a:lnTo>
                <a:lnTo>
                  <a:pt x="2862" y="182"/>
                </a:lnTo>
                <a:lnTo>
                  <a:pt x="2862" y="182"/>
                </a:lnTo>
                <a:lnTo>
                  <a:pt x="2860" y="184"/>
                </a:lnTo>
                <a:lnTo>
                  <a:pt x="2860" y="188"/>
                </a:lnTo>
                <a:lnTo>
                  <a:pt x="2862" y="194"/>
                </a:lnTo>
                <a:lnTo>
                  <a:pt x="2868" y="206"/>
                </a:lnTo>
                <a:lnTo>
                  <a:pt x="2868" y="206"/>
                </a:lnTo>
                <a:lnTo>
                  <a:pt x="2858" y="208"/>
                </a:lnTo>
                <a:lnTo>
                  <a:pt x="2848" y="208"/>
                </a:lnTo>
                <a:lnTo>
                  <a:pt x="2848" y="208"/>
                </a:lnTo>
                <a:lnTo>
                  <a:pt x="2842" y="208"/>
                </a:lnTo>
                <a:lnTo>
                  <a:pt x="2838" y="204"/>
                </a:lnTo>
                <a:lnTo>
                  <a:pt x="2832" y="198"/>
                </a:lnTo>
                <a:lnTo>
                  <a:pt x="2832" y="198"/>
                </a:lnTo>
                <a:lnTo>
                  <a:pt x="2826" y="200"/>
                </a:lnTo>
                <a:lnTo>
                  <a:pt x="2822" y="202"/>
                </a:lnTo>
                <a:lnTo>
                  <a:pt x="2818" y="206"/>
                </a:lnTo>
                <a:lnTo>
                  <a:pt x="2816" y="212"/>
                </a:lnTo>
                <a:lnTo>
                  <a:pt x="2816" y="212"/>
                </a:lnTo>
                <a:lnTo>
                  <a:pt x="2830" y="218"/>
                </a:lnTo>
                <a:lnTo>
                  <a:pt x="2830" y="218"/>
                </a:lnTo>
                <a:lnTo>
                  <a:pt x="2818" y="226"/>
                </a:lnTo>
                <a:lnTo>
                  <a:pt x="2818" y="226"/>
                </a:lnTo>
                <a:lnTo>
                  <a:pt x="2824" y="228"/>
                </a:lnTo>
                <a:lnTo>
                  <a:pt x="2828" y="230"/>
                </a:lnTo>
                <a:lnTo>
                  <a:pt x="2830" y="232"/>
                </a:lnTo>
                <a:lnTo>
                  <a:pt x="2832" y="236"/>
                </a:lnTo>
                <a:lnTo>
                  <a:pt x="2832" y="236"/>
                </a:lnTo>
                <a:lnTo>
                  <a:pt x="2830" y="240"/>
                </a:lnTo>
                <a:lnTo>
                  <a:pt x="2828" y="242"/>
                </a:lnTo>
                <a:lnTo>
                  <a:pt x="2820" y="246"/>
                </a:lnTo>
                <a:lnTo>
                  <a:pt x="2820" y="246"/>
                </a:lnTo>
                <a:lnTo>
                  <a:pt x="2824" y="248"/>
                </a:lnTo>
                <a:lnTo>
                  <a:pt x="2826" y="252"/>
                </a:lnTo>
                <a:lnTo>
                  <a:pt x="2826" y="252"/>
                </a:lnTo>
                <a:lnTo>
                  <a:pt x="2826" y="254"/>
                </a:lnTo>
                <a:lnTo>
                  <a:pt x="2824" y="256"/>
                </a:lnTo>
                <a:lnTo>
                  <a:pt x="2824" y="256"/>
                </a:lnTo>
                <a:lnTo>
                  <a:pt x="2812" y="260"/>
                </a:lnTo>
                <a:lnTo>
                  <a:pt x="2802" y="266"/>
                </a:lnTo>
                <a:lnTo>
                  <a:pt x="2802" y="266"/>
                </a:lnTo>
                <a:lnTo>
                  <a:pt x="2800" y="268"/>
                </a:lnTo>
                <a:lnTo>
                  <a:pt x="2796" y="268"/>
                </a:lnTo>
                <a:lnTo>
                  <a:pt x="2792" y="266"/>
                </a:lnTo>
                <a:lnTo>
                  <a:pt x="2790" y="264"/>
                </a:lnTo>
                <a:lnTo>
                  <a:pt x="2790" y="264"/>
                </a:lnTo>
                <a:lnTo>
                  <a:pt x="2796" y="258"/>
                </a:lnTo>
                <a:lnTo>
                  <a:pt x="2796" y="258"/>
                </a:lnTo>
                <a:lnTo>
                  <a:pt x="2788" y="252"/>
                </a:lnTo>
                <a:lnTo>
                  <a:pt x="2788" y="252"/>
                </a:lnTo>
                <a:lnTo>
                  <a:pt x="2782" y="248"/>
                </a:lnTo>
                <a:lnTo>
                  <a:pt x="2780" y="244"/>
                </a:lnTo>
                <a:lnTo>
                  <a:pt x="2784" y="242"/>
                </a:lnTo>
                <a:lnTo>
                  <a:pt x="2790" y="238"/>
                </a:lnTo>
                <a:lnTo>
                  <a:pt x="2790" y="238"/>
                </a:lnTo>
                <a:lnTo>
                  <a:pt x="2786" y="234"/>
                </a:lnTo>
                <a:lnTo>
                  <a:pt x="2782" y="234"/>
                </a:lnTo>
                <a:lnTo>
                  <a:pt x="2778" y="234"/>
                </a:lnTo>
                <a:lnTo>
                  <a:pt x="2774" y="234"/>
                </a:lnTo>
                <a:lnTo>
                  <a:pt x="2774" y="234"/>
                </a:lnTo>
                <a:lnTo>
                  <a:pt x="2772" y="228"/>
                </a:lnTo>
                <a:lnTo>
                  <a:pt x="2768" y="222"/>
                </a:lnTo>
                <a:lnTo>
                  <a:pt x="2764" y="216"/>
                </a:lnTo>
                <a:lnTo>
                  <a:pt x="2756" y="214"/>
                </a:lnTo>
                <a:lnTo>
                  <a:pt x="2756" y="214"/>
                </a:lnTo>
                <a:lnTo>
                  <a:pt x="2752" y="212"/>
                </a:lnTo>
                <a:lnTo>
                  <a:pt x="2752" y="212"/>
                </a:lnTo>
                <a:lnTo>
                  <a:pt x="2750" y="208"/>
                </a:lnTo>
                <a:lnTo>
                  <a:pt x="2748" y="206"/>
                </a:lnTo>
                <a:lnTo>
                  <a:pt x="2742" y="204"/>
                </a:lnTo>
                <a:lnTo>
                  <a:pt x="2742" y="204"/>
                </a:lnTo>
                <a:lnTo>
                  <a:pt x="2732" y="200"/>
                </a:lnTo>
                <a:lnTo>
                  <a:pt x="2728" y="196"/>
                </a:lnTo>
                <a:lnTo>
                  <a:pt x="2724" y="194"/>
                </a:lnTo>
                <a:lnTo>
                  <a:pt x="2724" y="194"/>
                </a:lnTo>
                <a:lnTo>
                  <a:pt x="2718" y="192"/>
                </a:lnTo>
                <a:lnTo>
                  <a:pt x="2718" y="192"/>
                </a:lnTo>
                <a:lnTo>
                  <a:pt x="2702" y="194"/>
                </a:lnTo>
                <a:lnTo>
                  <a:pt x="2702" y="194"/>
                </a:lnTo>
                <a:lnTo>
                  <a:pt x="2686" y="200"/>
                </a:lnTo>
                <a:lnTo>
                  <a:pt x="2686" y="200"/>
                </a:lnTo>
                <a:lnTo>
                  <a:pt x="2688" y="196"/>
                </a:lnTo>
                <a:lnTo>
                  <a:pt x="2688" y="192"/>
                </a:lnTo>
                <a:lnTo>
                  <a:pt x="2688" y="188"/>
                </a:lnTo>
                <a:lnTo>
                  <a:pt x="2692" y="184"/>
                </a:lnTo>
                <a:lnTo>
                  <a:pt x="2692" y="184"/>
                </a:lnTo>
                <a:lnTo>
                  <a:pt x="2698" y="178"/>
                </a:lnTo>
                <a:lnTo>
                  <a:pt x="2698" y="174"/>
                </a:lnTo>
                <a:lnTo>
                  <a:pt x="2700" y="170"/>
                </a:lnTo>
                <a:lnTo>
                  <a:pt x="2700" y="170"/>
                </a:lnTo>
                <a:lnTo>
                  <a:pt x="2700" y="170"/>
                </a:lnTo>
                <a:lnTo>
                  <a:pt x="2700" y="170"/>
                </a:lnTo>
                <a:lnTo>
                  <a:pt x="2700" y="170"/>
                </a:lnTo>
                <a:lnTo>
                  <a:pt x="2700" y="170"/>
                </a:lnTo>
                <a:lnTo>
                  <a:pt x="2700" y="170"/>
                </a:lnTo>
                <a:lnTo>
                  <a:pt x="2700" y="170"/>
                </a:lnTo>
                <a:lnTo>
                  <a:pt x="2700" y="170"/>
                </a:lnTo>
                <a:lnTo>
                  <a:pt x="2700" y="170"/>
                </a:lnTo>
                <a:lnTo>
                  <a:pt x="2700" y="170"/>
                </a:lnTo>
                <a:lnTo>
                  <a:pt x="2700" y="170"/>
                </a:lnTo>
                <a:lnTo>
                  <a:pt x="2700" y="170"/>
                </a:lnTo>
                <a:lnTo>
                  <a:pt x="2700" y="170"/>
                </a:lnTo>
                <a:lnTo>
                  <a:pt x="2714" y="178"/>
                </a:lnTo>
                <a:lnTo>
                  <a:pt x="2714" y="178"/>
                </a:lnTo>
                <a:lnTo>
                  <a:pt x="2716" y="174"/>
                </a:lnTo>
                <a:lnTo>
                  <a:pt x="2716" y="172"/>
                </a:lnTo>
                <a:lnTo>
                  <a:pt x="2714" y="170"/>
                </a:lnTo>
                <a:lnTo>
                  <a:pt x="2714" y="166"/>
                </a:lnTo>
                <a:lnTo>
                  <a:pt x="2696" y="166"/>
                </a:lnTo>
                <a:lnTo>
                  <a:pt x="2696" y="166"/>
                </a:lnTo>
                <a:lnTo>
                  <a:pt x="2696" y="166"/>
                </a:lnTo>
                <a:lnTo>
                  <a:pt x="2696" y="166"/>
                </a:lnTo>
                <a:lnTo>
                  <a:pt x="2696" y="166"/>
                </a:lnTo>
                <a:lnTo>
                  <a:pt x="2696" y="166"/>
                </a:lnTo>
                <a:lnTo>
                  <a:pt x="2696" y="166"/>
                </a:lnTo>
                <a:lnTo>
                  <a:pt x="2696" y="166"/>
                </a:lnTo>
                <a:lnTo>
                  <a:pt x="2696" y="166"/>
                </a:lnTo>
                <a:lnTo>
                  <a:pt x="2696" y="166"/>
                </a:lnTo>
                <a:lnTo>
                  <a:pt x="2696" y="166"/>
                </a:lnTo>
                <a:lnTo>
                  <a:pt x="2696" y="164"/>
                </a:lnTo>
                <a:lnTo>
                  <a:pt x="2696" y="164"/>
                </a:lnTo>
                <a:lnTo>
                  <a:pt x="2692" y="160"/>
                </a:lnTo>
                <a:lnTo>
                  <a:pt x="2692" y="158"/>
                </a:lnTo>
                <a:lnTo>
                  <a:pt x="2698" y="154"/>
                </a:lnTo>
                <a:lnTo>
                  <a:pt x="2698" y="154"/>
                </a:lnTo>
                <a:lnTo>
                  <a:pt x="2706" y="150"/>
                </a:lnTo>
                <a:lnTo>
                  <a:pt x="2714" y="144"/>
                </a:lnTo>
                <a:lnTo>
                  <a:pt x="2714" y="144"/>
                </a:lnTo>
                <a:lnTo>
                  <a:pt x="2706" y="144"/>
                </a:lnTo>
                <a:lnTo>
                  <a:pt x="2700" y="148"/>
                </a:lnTo>
                <a:lnTo>
                  <a:pt x="2700" y="148"/>
                </a:lnTo>
                <a:lnTo>
                  <a:pt x="2696" y="148"/>
                </a:lnTo>
                <a:lnTo>
                  <a:pt x="2692" y="146"/>
                </a:lnTo>
                <a:lnTo>
                  <a:pt x="2692" y="146"/>
                </a:lnTo>
                <a:lnTo>
                  <a:pt x="2698" y="140"/>
                </a:lnTo>
                <a:lnTo>
                  <a:pt x="2698" y="140"/>
                </a:lnTo>
                <a:lnTo>
                  <a:pt x="2694" y="138"/>
                </a:lnTo>
                <a:lnTo>
                  <a:pt x="2690" y="136"/>
                </a:lnTo>
                <a:lnTo>
                  <a:pt x="2690" y="136"/>
                </a:lnTo>
                <a:lnTo>
                  <a:pt x="2678" y="132"/>
                </a:lnTo>
                <a:lnTo>
                  <a:pt x="2670" y="128"/>
                </a:lnTo>
                <a:lnTo>
                  <a:pt x="2670" y="128"/>
                </a:lnTo>
                <a:lnTo>
                  <a:pt x="2664" y="124"/>
                </a:lnTo>
                <a:lnTo>
                  <a:pt x="2662" y="118"/>
                </a:lnTo>
                <a:lnTo>
                  <a:pt x="2662" y="114"/>
                </a:lnTo>
                <a:lnTo>
                  <a:pt x="2670" y="110"/>
                </a:lnTo>
                <a:lnTo>
                  <a:pt x="2670" y="110"/>
                </a:lnTo>
                <a:lnTo>
                  <a:pt x="2680" y="102"/>
                </a:lnTo>
                <a:lnTo>
                  <a:pt x="2680" y="102"/>
                </a:lnTo>
                <a:lnTo>
                  <a:pt x="2674" y="100"/>
                </a:lnTo>
                <a:lnTo>
                  <a:pt x="2670" y="98"/>
                </a:lnTo>
                <a:lnTo>
                  <a:pt x="2670" y="98"/>
                </a:lnTo>
                <a:lnTo>
                  <a:pt x="2650" y="96"/>
                </a:lnTo>
                <a:lnTo>
                  <a:pt x="2640" y="96"/>
                </a:lnTo>
                <a:lnTo>
                  <a:pt x="2630" y="98"/>
                </a:lnTo>
                <a:lnTo>
                  <a:pt x="2630" y="98"/>
                </a:lnTo>
                <a:lnTo>
                  <a:pt x="2622" y="94"/>
                </a:lnTo>
                <a:lnTo>
                  <a:pt x="2612" y="90"/>
                </a:lnTo>
                <a:lnTo>
                  <a:pt x="2612" y="90"/>
                </a:lnTo>
                <a:lnTo>
                  <a:pt x="2592" y="84"/>
                </a:lnTo>
                <a:lnTo>
                  <a:pt x="2576" y="76"/>
                </a:lnTo>
                <a:lnTo>
                  <a:pt x="2576" y="76"/>
                </a:lnTo>
                <a:lnTo>
                  <a:pt x="2572" y="74"/>
                </a:lnTo>
                <a:lnTo>
                  <a:pt x="2568" y="72"/>
                </a:lnTo>
                <a:lnTo>
                  <a:pt x="2568" y="72"/>
                </a:lnTo>
                <a:lnTo>
                  <a:pt x="2568" y="72"/>
                </a:lnTo>
                <a:lnTo>
                  <a:pt x="2566" y="82"/>
                </a:lnTo>
                <a:lnTo>
                  <a:pt x="2564" y="110"/>
                </a:lnTo>
                <a:lnTo>
                  <a:pt x="2558" y="138"/>
                </a:lnTo>
                <a:lnTo>
                  <a:pt x="2556" y="148"/>
                </a:lnTo>
                <a:lnTo>
                  <a:pt x="2554" y="150"/>
                </a:lnTo>
                <a:lnTo>
                  <a:pt x="2554" y="150"/>
                </a:lnTo>
                <a:lnTo>
                  <a:pt x="2554" y="150"/>
                </a:lnTo>
                <a:lnTo>
                  <a:pt x="2550" y="142"/>
                </a:lnTo>
                <a:lnTo>
                  <a:pt x="2550" y="142"/>
                </a:lnTo>
                <a:lnTo>
                  <a:pt x="2554" y="122"/>
                </a:lnTo>
                <a:lnTo>
                  <a:pt x="2562" y="86"/>
                </a:lnTo>
                <a:lnTo>
                  <a:pt x="2570" y="52"/>
                </a:lnTo>
                <a:lnTo>
                  <a:pt x="2574" y="40"/>
                </a:lnTo>
                <a:lnTo>
                  <a:pt x="2576" y="36"/>
                </a:lnTo>
                <a:lnTo>
                  <a:pt x="2578" y="36"/>
                </a:lnTo>
                <a:lnTo>
                  <a:pt x="2578" y="36"/>
                </a:lnTo>
                <a:lnTo>
                  <a:pt x="2572" y="30"/>
                </a:lnTo>
                <a:lnTo>
                  <a:pt x="2568" y="30"/>
                </a:lnTo>
                <a:lnTo>
                  <a:pt x="2564" y="30"/>
                </a:lnTo>
                <a:lnTo>
                  <a:pt x="2564" y="30"/>
                </a:lnTo>
                <a:lnTo>
                  <a:pt x="2568" y="10"/>
                </a:lnTo>
                <a:lnTo>
                  <a:pt x="2570" y="2"/>
                </a:lnTo>
                <a:lnTo>
                  <a:pt x="2572" y="0"/>
                </a:lnTo>
                <a:lnTo>
                  <a:pt x="2572" y="0"/>
                </a:lnTo>
                <a:lnTo>
                  <a:pt x="2570" y="0"/>
                </a:lnTo>
                <a:lnTo>
                  <a:pt x="2570" y="2"/>
                </a:lnTo>
                <a:lnTo>
                  <a:pt x="2568" y="8"/>
                </a:lnTo>
                <a:lnTo>
                  <a:pt x="2564" y="30"/>
                </a:lnTo>
                <a:lnTo>
                  <a:pt x="2564" y="30"/>
                </a:lnTo>
                <a:lnTo>
                  <a:pt x="2560" y="34"/>
                </a:lnTo>
                <a:lnTo>
                  <a:pt x="2556" y="44"/>
                </a:lnTo>
                <a:lnTo>
                  <a:pt x="2556" y="44"/>
                </a:lnTo>
                <a:lnTo>
                  <a:pt x="2558" y="6"/>
                </a:lnTo>
                <a:lnTo>
                  <a:pt x="2558" y="6"/>
                </a:lnTo>
                <a:lnTo>
                  <a:pt x="2556" y="46"/>
                </a:lnTo>
                <a:lnTo>
                  <a:pt x="2556" y="46"/>
                </a:lnTo>
                <a:lnTo>
                  <a:pt x="2552" y="68"/>
                </a:lnTo>
                <a:lnTo>
                  <a:pt x="2548" y="92"/>
                </a:lnTo>
                <a:lnTo>
                  <a:pt x="2544" y="110"/>
                </a:lnTo>
                <a:lnTo>
                  <a:pt x="2542" y="114"/>
                </a:lnTo>
                <a:lnTo>
                  <a:pt x="2540" y="116"/>
                </a:lnTo>
                <a:lnTo>
                  <a:pt x="2540" y="116"/>
                </a:lnTo>
                <a:lnTo>
                  <a:pt x="2536" y="112"/>
                </a:lnTo>
                <a:lnTo>
                  <a:pt x="2532" y="110"/>
                </a:lnTo>
                <a:lnTo>
                  <a:pt x="2526" y="108"/>
                </a:lnTo>
                <a:lnTo>
                  <a:pt x="2520" y="108"/>
                </a:lnTo>
                <a:lnTo>
                  <a:pt x="2520" y="108"/>
                </a:lnTo>
                <a:lnTo>
                  <a:pt x="2510" y="108"/>
                </a:lnTo>
                <a:lnTo>
                  <a:pt x="2510" y="108"/>
                </a:lnTo>
                <a:lnTo>
                  <a:pt x="2510" y="106"/>
                </a:lnTo>
                <a:lnTo>
                  <a:pt x="2510" y="106"/>
                </a:lnTo>
                <a:lnTo>
                  <a:pt x="2526" y="98"/>
                </a:lnTo>
                <a:lnTo>
                  <a:pt x="2526" y="98"/>
                </a:lnTo>
                <a:lnTo>
                  <a:pt x="2526" y="96"/>
                </a:lnTo>
                <a:lnTo>
                  <a:pt x="2526" y="94"/>
                </a:lnTo>
                <a:lnTo>
                  <a:pt x="2532" y="94"/>
                </a:lnTo>
                <a:lnTo>
                  <a:pt x="2536" y="92"/>
                </a:lnTo>
                <a:lnTo>
                  <a:pt x="2538" y="92"/>
                </a:lnTo>
                <a:lnTo>
                  <a:pt x="2538" y="90"/>
                </a:lnTo>
                <a:lnTo>
                  <a:pt x="2538" y="90"/>
                </a:lnTo>
                <a:lnTo>
                  <a:pt x="2530" y="86"/>
                </a:lnTo>
                <a:lnTo>
                  <a:pt x="2530" y="86"/>
                </a:lnTo>
                <a:lnTo>
                  <a:pt x="2522" y="82"/>
                </a:lnTo>
                <a:lnTo>
                  <a:pt x="2512" y="82"/>
                </a:lnTo>
                <a:lnTo>
                  <a:pt x="2512" y="82"/>
                </a:lnTo>
                <a:lnTo>
                  <a:pt x="2502" y="82"/>
                </a:lnTo>
                <a:lnTo>
                  <a:pt x="2502" y="82"/>
                </a:lnTo>
                <a:lnTo>
                  <a:pt x="2476" y="76"/>
                </a:lnTo>
                <a:lnTo>
                  <a:pt x="2476" y="76"/>
                </a:lnTo>
                <a:lnTo>
                  <a:pt x="2466" y="66"/>
                </a:lnTo>
                <a:lnTo>
                  <a:pt x="2466" y="66"/>
                </a:lnTo>
                <a:lnTo>
                  <a:pt x="2450" y="64"/>
                </a:lnTo>
                <a:lnTo>
                  <a:pt x="2450" y="64"/>
                </a:lnTo>
                <a:lnTo>
                  <a:pt x="2438" y="66"/>
                </a:lnTo>
                <a:lnTo>
                  <a:pt x="2438" y="66"/>
                </a:lnTo>
                <a:lnTo>
                  <a:pt x="2422" y="70"/>
                </a:lnTo>
                <a:lnTo>
                  <a:pt x="2422" y="70"/>
                </a:lnTo>
                <a:lnTo>
                  <a:pt x="2418" y="72"/>
                </a:lnTo>
                <a:lnTo>
                  <a:pt x="2414" y="72"/>
                </a:lnTo>
                <a:lnTo>
                  <a:pt x="2404" y="72"/>
                </a:lnTo>
                <a:lnTo>
                  <a:pt x="2404" y="72"/>
                </a:lnTo>
                <a:lnTo>
                  <a:pt x="2406" y="68"/>
                </a:lnTo>
                <a:lnTo>
                  <a:pt x="2410" y="64"/>
                </a:lnTo>
                <a:lnTo>
                  <a:pt x="2422" y="58"/>
                </a:lnTo>
                <a:lnTo>
                  <a:pt x="2422" y="58"/>
                </a:lnTo>
                <a:lnTo>
                  <a:pt x="2414" y="60"/>
                </a:lnTo>
                <a:lnTo>
                  <a:pt x="2406" y="60"/>
                </a:lnTo>
                <a:lnTo>
                  <a:pt x="2398" y="58"/>
                </a:lnTo>
                <a:lnTo>
                  <a:pt x="2390" y="54"/>
                </a:lnTo>
                <a:lnTo>
                  <a:pt x="2390" y="54"/>
                </a:lnTo>
                <a:lnTo>
                  <a:pt x="2404" y="44"/>
                </a:lnTo>
                <a:lnTo>
                  <a:pt x="2404" y="44"/>
                </a:lnTo>
                <a:lnTo>
                  <a:pt x="2384" y="42"/>
                </a:lnTo>
                <a:lnTo>
                  <a:pt x="2376" y="42"/>
                </a:lnTo>
                <a:lnTo>
                  <a:pt x="2366" y="44"/>
                </a:lnTo>
                <a:lnTo>
                  <a:pt x="2366" y="44"/>
                </a:lnTo>
                <a:lnTo>
                  <a:pt x="2366" y="46"/>
                </a:lnTo>
                <a:lnTo>
                  <a:pt x="2366" y="46"/>
                </a:lnTo>
                <a:lnTo>
                  <a:pt x="2364" y="52"/>
                </a:lnTo>
                <a:lnTo>
                  <a:pt x="2360" y="56"/>
                </a:lnTo>
                <a:lnTo>
                  <a:pt x="2354" y="58"/>
                </a:lnTo>
                <a:lnTo>
                  <a:pt x="2344" y="58"/>
                </a:lnTo>
                <a:lnTo>
                  <a:pt x="2344" y="58"/>
                </a:lnTo>
                <a:lnTo>
                  <a:pt x="2336" y="58"/>
                </a:lnTo>
                <a:lnTo>
                  <a:pt x="2336" y="58"/>
                </a:lnTo>
                <a:lnTo>
                  <a:pt x="2326" y="56"/>
                </a:lnTo>
                <a:lnTo>
                  <a:pt x="2316" y="56"/>
                </a:lnTo>
                <a:lnTo>
                  <a:pt x="2316" y="56"/>
                </a:lnTo>
                <a:lnTo>
                  <a:pt x="2306" y="54"/>
                </a:lnTo>
                <a:lnTo>
                  <a:pt x="2296" y="56"/>
                </a:lnTo>
                <a:lnTo>
                  <a:pt x="2296" y="56"/>
                </a:lnTo>
                <a:lnTo>
                  <a:pt x="2284" y="58"/>
                </a:lnTo>
                <a:lnTo>
                  <a:pt x="2278" y="58"/>
                </a:lnTo>
                <a:lnTo>
                  <a:pt x="2272" y="56"/>
                </a:lnTo>
                <a:lnTo>
                  <a:pt x="2272" y="56"/>
                </a:lnTo>
                <a:lnTo>
                  <a:pt x="2270" y="54"/>
                </a:lnTo>
                <a:lnTo>
                  <a:pt x="2270" y="54"/>
                </a:lnTo>
                <a:lnTo>
                  <a:pt x="2250" y="60"/>
                </a:lnTo>
                <a:lnTo>
                  <a:pt x="2250" y="60"/>
                </a:lnTo>
                <a:lnTo>
                  <a:pt x="2250" y="56"/>
                </a:lnTo>
                <a:lnTo>
                  <a:pt x="2250" y="56"/>
                </a:lnTo>
                <a:lnTo>
                  <a:pt x="2226" y="54"/>
                </a:lnTo>
                <a:lnTo>
                  <a:pt x="2226" y="54"/>
                </a:lnTo>
                <a:lnTo>
                  <a:pt x="2202" y="52"/>
                </a:lnTo>
                <a:lnTo>
                  <a:pt x="2202" y="52"/>
                </a:lnTo>
                <a:lnTo>
                  <a:pt x="2210" y="44"/>
                </a:lnTo>
                <a:lnTo>
                  <a:pt x="2210" y="44"/>
                </a:lnTo>
                <a:lnTo>
                  <a:pt x="2212" y="40"/>
                </a:lnTo>
                <a:lnTo>
                  <a:pt x="2212" y="38"/>
                </a:lnTo>
                <a:lnTo>
                  <a:pt x="2208" y="36"/>
                </a:lnTo>
                <a:lnTo>
                  <a:pt x="2204" y="34"/>
                </a:lnTo>
                <a:lnTo>
                  <a:pt x="2204" y="34"/>
                </a:lnTo>
                <a:lnTo>
                  <a:pt x="2188" y="34"/>
                </a:lnTo>
                <a:lnTo>
                  <a:pt x="2180" y="34"/>
                </a:lnTo>
                <a:lnTo>
                  <a:pt x="2174" y="36"/>
                </a:lnTo>
                <a:lnTo>
                  <a:pt x="2174" y="36"/>
                </a:lnTo>
                <a:lnTo>
                  <a:pt x="2160" y="40"/>
                </a:lnTo>
                <a:lnTo>
                  <a:pt x="2154" y="42"/>
                </a:lnTo>
                <a:lnTo>
                  <a:pt x="2152" y="48"/>
                </a:lnTo>
                <a:lnTo>
                  <a:pt x="2152" y="48"/>
                </a:lnTo>
                <a:lnTo>
                  <a:pt x="2150" y="50"/>
                </a:lnTo>
                <a:lnTo>
                  <a:pt x="2146" y="52"/>
                </a:lnTo>
                <a:lnTo>
                  <a:pt x="2146" y="52"/>
                </a:lnTo>
                <a:lnTo>
                  <a:pt x="2138" y="54"/>
                </a:lnTo>
                <a:lnTo>
                  <a:pt x="2138" y="54"/>
                </a:lnTo>
                <a:lnTo>
                  <a:pt x="2140" y="60"/>
                </a:lnTo>
                <a:lnTo>
                  <a:pt x="2140" y="60"/>
                </a:lnTo>
                <a:lnTo>
                  <a:pt x="2114" y="62"/>
                </a:lnTo>
                <a:lnTo>
                  <a:pt x="2114" y="62"/>
                </a:lnTo>
                <a:lnTo>
                  <a:pt x="2112" y="58"/>
                </a:lnTo>
                <a:lnTo>
                  <a:pt x="2112" y="58"/>
                </a:lnTo>
                <a:lnTo>
                  <a:pt x="2100" y="60"/>
                </a:lnTo>
                <a:lnTo>
                  <a:pt x="2086" y="60"/>
                </a:lnTo>
                <a:lnTo>
                  <a:pt x="2086" y="60"/>
                </a:lnTo>
                <a:lnTo>
                  <a:pt x="2068" y="60"/>
                </a:lnTo>
                <a:lnTo>
                  <a:pt x="2052" y="60"/>
                </a:lnTo>
                <a:lnTo>
                  <a:pt x="2052" y="60"/>
                </a:lnTo>
                <a:lnTo>
                  <a:pt x="2050" y="62"/>
                </a:lnTo>
                <a:lnTo>
                  <a:pt x="2050" y="62"/>
                </a:lnTo>
                <a:lnTo>
                  <a:pt x="2032" y="64"/>
                </a:lnTo>
                <a:lnTo>
                  <a:pt x="2014" y="66"/>
                </a:lnTo>
                <a:lnTo>
                  <a:pt x="2014" y="66"/>
                </a:lnTo>
                <a:lnTo>
                  <a:pt x="2002" y="66"/>
                </a:lnTo>
                <a:lnTo>
                  <a:pt x="2002" y="66"/>
                </a:lnTo>
                <a:lnTo>
                  <a:pt x="1986" y="70"/>
                </a:lnTo>
                <a:lnTo>
                  <a:pt x="1972" y="70"/>
                </a:lnTo>
                <a:lnTo>
                  <a:pt x="1972" y="70"/>
                </a:lnTo>
                <a:lnTo>
                  <a:pt x="1964" y="70"/>
                </a:lnTo>
                <a:lnTo>
                  <a:pt x="1964" y="70"/>
                </a:lnTo>
                <a:lnTo>
                  <a:pt x="1952" y="74"/>
                </a:lnTo>
                <a:lnTo>
                  <a:pt x="1938" y="74"/>
                </a:lnTo>
                <a:lnTo>
                  <a:pt x="1938" y="74"/>
                </a:lnTo>
                <a:lnTo>
                  <a:pt x="1934" y="76"/>
                </a:lnTo>
                <a:lnTo>
                  <a:pt x="1932" y="78"/>
                </a:lnTo>
                <a:lnTo>
                  <a:pt x="1932" y="78"/>
                </a:lnTo>
                <a:lnTo>
                  <a:pt x="1930" y="80"/>
                </a:lnTo>
                <a:lnTo>
                  <a:pt x="1928" y="82"/>
                </a:lnTo>
                <a:lnTo>
                  <a:pt x="1920" y="80"/>
                </a:lnTo>
                <a:lnTo>
                  <a:pt x="1920" y="80"/>
                </a:lnTo>
                <a:lnTo>
                  <a:pt x="1908" y="78"/>
                </a:lnTo>
                <a:lnTo>
                  <a:pt x="1900" y="80"/>
                </a:lnTo>
                <a:lnTo>
                  <a:pt x="1894" y="82"/>
                </a:lnTo>
                <a:lnTo>
                  <a:pt x="1894" y="82"/>
                </a:lnTo>
                <a:lnTo>
                  <a:pt x="1888" y="86"/>
                </a:lnTo>
                <a:lnTo>
                  <a:pt x="1880" y="88"/>
                </a:lnTo>
                <a:lnTo>
                  <a:pt x="1880" y="88"/>
                </a:lnTo>
                <a:lnTo>
                  <a:pt x="1870" y="90"/>
                </a:lnTo>
                <a:lnTo>
                  <a:pt x="1870" y="90"/>
                </a:lnTo>
                <a:lnTo>
                  <a:pt x="1862" y="86"/>
                </a:lnTo>
                <a:lnTo>
                  <a:pt x="1858" y="86"/>
                </a:lnTo>
                <a:lnTo>
                  <a:pt x="1854" y="86"/>
                </a:lnTo>
                <a:lnTo>
                  <a:pt x="1854" y="86"/>
                </a:lnTo>
                <a:lnTo>
                  <a:pt x="1844" y="90"/>
                </a:lnTo>
                <a:lnTo>
                  <a:pt x="1844" y="90"/>
                </a:lnTo>
                <a:lnTo>
                  <a:pt x="1850" y="96"/>
                </a:lnTo>
                <a:lnTo>
                  <a:pt x="1850" y="96"/>
                </a:lnTo>
                <a:lnTo>
                  <a:pt x="1846" y="98"/>
                </a:lnTo>
                <a:lnTo>
                  <a:pt x="1842" y="98"/>
                </a:lnTo>
                <a:lnTo>
                  <a:pt x="1840" y="98"/>
                </a:lnTo>
                <a:lnTo>
                  <a:pt x="1836" y="98"/>
                </a:lnTo>
                <a:lnTo>
                  <a:pt x="1836" y="98"/>
                </a:lnTo>
                <a:lnTo>
                  <a:pt x="1832" y="98"/>
                </a:lnTo>
                <a:lnTo>
                  <a:pt x="1830" y="96"/>
                </a:lnTo>
                <a:lnTo>
                  <a:pt x="1826" y="92"/>
                </a:lnTo>
                <a:lnTo>
                  <a:pt x="1826" y="92"/>
                </a:lnTo>
                <a:lnTo>
                  <a:pt x="1818" y="96"/>
                </a:lnTo>
                <a:lnTo>
                  <a:pt x="1808" y="98"/>
                </a:lnTo>
                <a:lnTo>
                  <a:pt x="1800" y="100"/>
                </a:lnTo>
                <a:lnTo>
                  <a:pt x="1792" y="104"/>
                </a:lnTo>
                <a:lnTo>
                  <a:pt x="1792" y="104"/>
                </a:lnTo>
                <a:lnTo>
                  <a:pt x="1792" y="104"/>
                </a:lnTo>
                <a:lnTo>
                  <a:pt x="1792" y="104"/>
                </a:lnTo>
                <a:lnTo>
                  <a:pt x="1774" y="106"/>
                </a:lnTo>
                <a:lnTo>
                  <a:pt x="1764" y="106"/>
                </a:lnTo>
                <a:lnTo>
                  <a:pt x="1756" y="104"/>
                </a:lnTo>
                <a:lnTo>
                  <a:pt x="1756" y="104"/>
                </a:lnTo>
                <a:lnTo>
                  <a:pt x="1744" y="100"/>
                </a:lnTo>
                <a:lnTo>
                  <a:pt x="1730" y="96"/>
                </a:lnTo>
                <a:lnTo>
                  <a:pt x="1730" y="96"/>
                </a:lnTo>
                <a:lnTo>
                  <a:pt x="1724" y="94"/>
                </a:lnTo>
                <a:lnTo>
                  <a:pt x="1724" y="94"/>
                </a:lnTo>
                <a:lnTo>
                  <a:pt x="1712" y="88"/>
                </a:lnTo>
                <a:lnTo>
                  <a:pt x="1712" y="88"/>
                </a:lnTo>
                <a:lnTo>
                  <a:pt x="1706" y="88"/>
                </a:lnTo>
                <a:lnTo>
                  <a:pt x="1700" y="88"/>
                </a:lnTo>
                <a:lnTo>
                  <a:pt x="1700" y="88"/>
                </a:lnTo>
                <a:lnTo>
                  <a:pt x="1686" y="94"/>
                </a:lnTo>
                <a:lnTo>
                  <a:pt x="1686" y="94"/>
                </a:lnTo>
                <a:lnTo>
                  <a:pt x="1690" y="102"/>
                </a:lnTo>
                <a:lnTo>
                  <a:pt x="1690" y="102"/>
                </a:lnTo>
                <a:lnTo>
                  <a:pt x="1684" y="104"/>
                </a:lnTo>
                <a:lnTo>
                  <a:pt x="1678" y="106"/>
                </a:lnTo>
                <a:lnTo>
                  <a:pt x="1678" y="106"/>
                </a:lnTo>
                <a:lnTo>
                  <a:pt x="1664" y="110"/>
                </a:lnTo>
                <a:lnTo>
                  <a:pt x="1650" y="114"/>
                </a:lnTo>
                <a:lnTo>
                  <a:pt x="1636" y="118"/>
                </a:lnTo>
                <a:lnTo>
                  <a:pt x="1622" y="120"/>
                </a:lnTo>
                <a:lnTo>
                  <a:pt x="1622" y="120"/>
                </a:lnTo>
                <a:lnTo>
                  <a:pt x="1614" y="122"/>
                </a:lnTo>
                <a:lnTo>
                  <a:pt x="1614" y="122"/>
                </a:lnTo>
                <a:lnTo>
                  <a:pt x="1600" y="128"/>
                </a:lnTo>
                <a:lnTo>
                  <a:pt x="1600" y="128"/>
                </a:lnTo>
                <a:lnTo>
                  <a:pt x="1598" y="132"/>
                </a:lnTo>
                <a:lnTo>
                  <a:pt x="1596" y="134"/>
                </a:lnTo>
                <a:lnTo>
                  <a:pt x="1588" y="134"/>
                </a:lnTo>
                <a:lnTo>
                  <a:pt x="1588" y="134"/>
                </a:lnTo>
                <a:lnTo>
                  <a:pt x="1582" y="134"/>
                </a:lnTo>
                <a:lnTo>
                  <a:pt x="1582" y="134"/>
                </a:lnTo>
                <a:lnTo>
                  <a:pt x="1576" y="136"/>
                </a:lnTo>
                <a:lnTo>
                  <a:pt x="1570" y="138"/>
                </a:lnTo>
                <a:lnTo>
                  <a:pt x="1570" y="138"/>
                </a:lnTo>
                <a:lnTo>
                  <a:pt x="1562" y="136"/>
                </a:lnTo>
                <a:lnTo>
                  <a:pt x="1558" y="130"/>
                </a:lnTo>
                <a:lnTo>
                  <a:pt x="1558" y="130"/>
                </a:lnTo>
                <a:lnTo>
                  <a:pt x="1554" y="130"/>
                </a:lnTo>
                <a:lnTo>
                  <a:pt x="1554" y="130"/>
                </a:lnTo>
                <a:lnTo>
                  <a:pt x="1556" y="138"/>
                </a:lnTo>
                <a:lnTo>
                  <a:pt x="1556" y="138"/>
                </a:lnTo>
                <a:lnTo>
                  <a:pt x="1546" y="140"/>
                </a:lnTo>
                <a:lnTo>
                  <a:pt x="1538" y="144"/>
                </a:lnTo>
                <a:lnTo>
                  <a:pt x="1538" y="144"/>
                </a:lnTo>
                <a:lnTo>
                  <a:pt x="1534" y="148"/>
                </a:lnTo>
                <a:lnTo>
                  <a:pt x="1528" y="150"/>
                </a:lnTo>
                <a:lnTo>
                  <a:pt x="1518" y="150"/>
                </a:lnTo>
                <a:lnTo>
                  <a:pt x="1518" y="150"/>
                </a:lnTo>
                <a:lnTo>
                  <a:pt x="1506" y="152"/>
                </a:lnTo>
                <a:lnTo>
                  <a:pt x="1500" y="150"/>
                </a:lnTo>
                <a:lnTo>
                  <a:pt x="1494" y="148"/>
                </a:lnTo>
                <a:lnTo>
                  <a:pt x="1494" y="148"/>
                </a:lnTo>
                <a:lnTo>
                  <a:pt x="1492" y="148"/>
                </a:lnTo>
                <a:lnTo>
                  <a:pt x="1492" y="148"/>
                </a:lnTo>
                <a:lnTo>
                  <a:pt x="1492" y="154"/>
                </a:lnTo>
                <a:lnTo>
                  <a:pt x="1492" y="154"/>
                </a:lnTo>
                <a:lnTo>
                  <a:pt x="1500" y="154"/>
                </a:lnTo>
                <a:lnTo>
                  <a:pt x="1506" y="154"/>
                </a:lnTo>
                <a:lnTo>
                  <a:pt x="1514" y="160"/>
                </a:lnTo>
                <a:lnTo>
                  <a:pt x="1514" y="160"/>
                </a:lnTo>
                <a:lnTo>
                  <a:pt x="1504" y="160"/>
                </a:lnTo>
                <a:lnTo>
                  <a:pt x="1496" y="160"/>
                </a:lnTo>
                <a:lnTo>
                  <a:pt x="1496" y="160"/>
                </a:lnTo>
                <a:lnTo>
                  <a:pt x="1486" y="158"/>
                </a:lnTo>
                <a:lnTo>
                  <a:pt x="1476" y="160"/>
                </a:lnTo>
                <a:lnTo>
                  <a:pt x="1476" y="160"/>
                </a:lnTo>
                <a:lnTo>
                  <a:pt x="1462" y="162"/>
                </a:lnTo>
                <a:lnTo>
                  <a:pt x="1456" y="162"/>
                </a:lnTo>
                <a:lnTo>
                  <a:pt x="1452" y="158"/>
                </a:lnTo>
                <a:lnTo>
                  <a:pt x="1452" y="158"/>
                </a:lnTo>
                <a:lnTo>
                  <a:pt x="1444" y="160"/>
                </a:lnTo>
                <a:lnTo>
                  <a:pt x="1438" y="160"/>
                </a:lnTo>
                <a:lnTo>
                  <a:pt x="1438" y="160"/>
                </a:lnTo>
                <a:lnTo>
                  <a:pt x="1430" y="160"/>
                </a:lnTo>
                <a:lnTo>
                  <a:pt x="1424" y="164"/>
                </a:lnTo>
                <a:lnTo>
                  <a:pt x="1424" y="164"/>
                </a:lnTo>
                <a:lnTo>
                  <a:pt x="1420" y="164"/>
                </a:lnTo>
                <a:lnTo>
                  <a:pt x="1420" y="164"/>
                </a:lnTo>
                <a:lnTo>
                  <a:pt x="1420" y="158"/>
                </a:lnTo>
                <a:lnTo>
                  <a:pt x="1420" y="158"/>
                </a:lnTo>
                <a:lnTo>
                  <a:pt x="1410" y="158"/>
                </a:lnTo>
                <a:lnTo>
                  <a:pt x="1410" y="158"/>
                </a:lnTo>
                <a:lnTo>
                  <a:pt x="1402" y="164"/>
                </a:lnTo>
                <a:lnTo>
                  <a:pt x="1394" y="168"/>
                </a:lnTo>
                <a:lnTo>
                  <a:pt x="1384" y="168"/>
                </a:lnTo>
                <a:lnTo>
                  <a:pt x="1372" y="168"/>
                </a:lnTo>
                <a:lnTo>
                  <a:pt x="1372" y="168"/>
                </a:lnTo>
                <a:lnTo>
                  <a:pt x="1368" y="166"/>
                </a:lnTo>
                <a:lnTo>
                  <a:pt x="1364" y="166"/>
                </a:lnTo>
                <a:lnTo>
                  <a:pt x="1360" y="166"/>
                </a:lnTo>
                <a:lnTo>
                  <a:pt x="1356" y="166"/>
                </a:lnTo>
                <a:lnTo>
                  <a:pt x="1356" y="166"/>
                </a:lnTo>
                <a:lnTo>
                  <a:pt x="1352" y="164"/>
                </a:lnTo>
                <a:lnTo>
                  <a:pt x="1348" y="166"/>
                </a:lnTo>
                <a:lnTo>
                  <a:pt x="1340" y="168"/>
                </a:lnTo>
                <a:lnTo>
                  <a:pt x="1340" y="168"/>
                </a:lnTo>
                <a:lnTo>
                  <a:pt x="1330" y="168"/>
                </a:lnTo>
                <a:lnTo>
                  <a:pt x="1330" y="168"/>
                </a:lnTo>
                <a:lnTo>
                  <a:pt x="1314" y="172"/>
                </a:lnTo>
                <a:lnTo>
                  <a:pt x="1314" y="172"/>
                </a:lnTo>
                <a:lnTo>
                  <a:pt x="1300" y="174"/>
                </a:lnTo>
                <a:lnTo>
                  <a:pt x="1294" y="174"/>
                </a:lnTo>
                <a:lnTo>
                  <a:pt x="1286" y="170"/>
                </a:lnTo>
                <a:lnTo>
                  <a:pt x="1286" y="170"/>
                </a:lnTo>
                <a:lnTo>
                  <a:pt x="1282" y="168"/>
                </a:lnTo>
                <a:lnTo>
                  <a:pt x="1282" y="168"/>
                </a:lnTo>
                <a:lnTo>
                  <a:pt x="1276" y="170"/>
                </a:lnTo>
                <a:lnTo>
                  <a:pt x="1270" y="170"/>
                </a:lnTo>
                <a:lnTo>
                  <a:pt x="1258" y="170"/>
                </a:lnTo>
                <a:lnTo>
                  <a:pt x="1258" y="170"/>
                </a:lnTo>
                <a:lnTo>
                  <a:pt x="1242" y="170"/>
                </a:lnTo>
                <a:lnTo>
                  <a:pt x="1242" y="170"/>
                </a:lnTo>
                <a:lnTo>
                  <a:pt x="1232" y="170"/>
                </a:lnTo>
                <a:lnTo>
                  <a:pt x="1232" y="170"/>
                </a:lnTo>
                <a:lnTo>
                  <a:pt x="1210" y="176"/>
                </a:lnTo>
                <a:lnTo>
                  <a:pt x="1210" y="176"/>
                </a:lnTo>
                <a:lnTo>
                  <a:pt x="1206" y="178"/>
                </a:lnTo>
                <a:lnTo>
                  <a:pt x="1198" y="180"/>
                </a:lnTo>
                <a:lnTo>
                  <a:pt x="1198" y="180"/>
                </a:lnTo>
                <a:lnTo>
                  <a:pt x="1186" y="182"/>
                </a:lnTo>
                <a:lnTo>
                  <a:pt x="1174" y="182"/>
                </a:lnTo>
                <a:lnTo>
                  <a:pt x="1174" y="182"/>
                </a:lnTo>
                <a:lnTo>
                  <a:pt x="1166" y="184"/>
                </a:lnTo>
                <a:lnTo>
                  <a:pt x="1154" y="184"/>
                </a:lnTo>
                <a:lnTo>
                  <a:pt x="1122" y="182"/>
                </a:lnTo>
                <a:lnTo>
                  <a:pt x="1090" y="180"/>
                </a:lnTo>
                <a:lnTo>
                  <a:pt x="1072" y="180"/>
                </a:lnTo>
                <a:lnTo>
                  <a:pt x="1072" y="180"/>
                </a:lnTo>
                <a:lnTo>
                  <a:pt x="1060" y="180"/>
                </a:lnTo>
                <a:lnTo>
                  <a:pt x="1054" y="182"/>
                </a:lnTo>
                <a:lnTo>
                  <a:pt x="1050" y="184"/>
                </a:lnTo>
                <a:lnTo>
                  <a:pt x="1050" y="184"/>
                </a:lnTo>
                <a:lnTo>
                  <a:pt x="1044" y="186"/>
                </a:lnTo>
                <a:lnTo>
                  <a:pt x="1044" y="186"/>
                </a:lnTo>
                <a:lnTo>
                  <a:pt x="1036" y="186"/>
                </a:lnTo>
                <a:lnTo>
                  <a:pt x="1028" y="188"/>
                </a:lnTo>
                <a:lnTo>
                  <a:pt x="1028" y="188"/>
                </a:lnTo>
                <a:lnTo>
                  <a:pt x="1018" y="192"/>
                </a:lnTo>
                <a:lnTo>
                  <a:pt x="1012" y="194"/>
                </a:lnTo>
                <a:lnTo>
                  <a:pt x="1006" y="194"/>
                </a:lnTo>
                <a:lnTo>
                  <a:pt x="1006" y="194"/>
                </a:lnTo>
                <a:lnTo>
                  <a:pt x="998" y="196"/>
                </a:lnTo>
                <a:lnTo>
                  <a:pt x="990" y="198"/>
                </a:lnTo>
                <a:lnTo>
                  <a:pt x="984" y="202"/>
                </a:lnTo>
                <a:lnTo>
                  <a:pt x="980" y="206"/>
                </a:lnTo>
                <a:lnTo>
                  <a:pt x="980" y="206"/>
                </a:lnTo>
                <a:lnTo>
                  <a:pt x="964" y="210"/>
                </a:lnTo>
                <a:lnTo>
                  <a:pt x="964" y="210"/>
                </a:lnTo>
                <a:lnTo>
                  <a:pt x="946" y="216"/>
                </a:lnTo>
                <a:lnTo>
                  <a:pt x="946" y="216"/>
                </a:lnTo>
                <a:lnTo>
                  <a:pt x="946" y="220"/>
                </a:lnTo>
                <a:lnTo>
                  <a:pt x="944" y="222"/>
                </a:lnTo>
                <a:lnTo>
                  <a:pt x="940" y="224"/>
                </a:lnTo>
                <a:lnTo>
                  <a:pt x="926" y="224"/>
                </a:lnTo>
                <a:lnTo>
                  <a:pt x="926" y="224"/>
                </a:lnTo>
                <a:lnTo>
                  <a:pt x="930" y="228"/>
                </a:lnTo>
                <a:lnTo>
                  <a:pt x="930" y="228"/>
                </a:lnTo>
                <a:lnTo>
                  <a:pt x="926" y="240"/>
                </a:lnTo>
                <a:lnTo>
                  <a:pt x="926" y="240"/>
                </a:lnTo>
                <a:lnTo>
                  <a:pt x="916" y="242"/>
                </a:lnTo>
                <a:lnTo>
                  <a:pt x="908" y="248"/>
                </a:lnTo>
                <a:lnTo>
                  <a:pt x="908" y="248"/>
                </a:lnTo>
                <a:lnTo>
                  <a:pt x="912" y="250"/>
                </a:lnTo>
                <a:lnTo>
                  <a:pt x="912" y="250"/>
                </a:lnTo>
                <a:lnTo>
                  <a:pt x="906" y="254"/>
                </a:lnTo>
                <a:lnTo>
                  <a:pt x="906" y="254"/>
                </a:lnTo>
                <a:lnTo>
                  <a:pt x="912" y="264"/>
                </a:lnTo>
                <a:lnTo>
                  <a:pt x="912" y="264"/>
                </a:lnTo>
                <a:lnTo>
                  <a:pt x="914" y="266"/>
                </a:lnTo>
                <a:lnTo>
                  <a:pt x="916" y="270"/>
                </a:lnTo>
                <a:lnTo>
                  <a:pt x="916" y="270"/>
                </a:lnTo>
                <a:lnTo>
                  <a:pt x="914" y="274"/>
                </a:lnTo>
                <a:lnTo>
                  <a:pt x="912" y="276"/>
                </a:lnTo>
                <a:lnTo>
                  <a:pt x="906" y="282"/>
                </a:lnTo>
                <a:lnTo>
                  <a:pt x="906" y="282"/>
                </a:lnTo>
                <a:lnTo>
                  <a:pt x="904" y="284"/>
                </a:lnTo>
                <a:lnTo>
                  <a:pt x="904" y="284"/>
                </a:lnTo>
                <a:lnTo>
                  <a:pt x="906" y="288"/>
                </a:lnTo>
                <a:lnTo>
                  <a:pt x="904" y="290"/>
                </a:lnTo>
                <a:lnTo>
                  <a:pt x="898" y="292"/>
                </a:lnTo>
                <a:lnTo>
                  <a:pt x="898" y="292"/>
                </a:lnTo>
                <a:lnTo>
                  <a:pt x="896" y="290"/>
                </a:lnTo>
                <a:lnTo>
                  <a:pt x="896" y="290"/>
                </a:lnTo>
                <a:lnTo>
                  <a:pt x="896" y="288"/>
                </a:lnTo>
                <a:lnTo>
                  <a:pt x="896" y="288"/>
                </a:lnTo>
                <a:lnTo>
                  <a:pt x="894" y="288"/>
                </a:lnTo>
                <a:lnTo>
                  <a:pt x="894" y="288"/>
                </a:lnTo>
                <a:lnTo>
                  <a:pt x="892" y="288"/>
                </a:lnTo>
                <a:lnTo>
                  <a:pt x="892" y="288"/>
                </a:lnTo>
                <a:lnTo>
                  <a:pt x="888" y="288"/>
                </a:lnTo>
                <a:lnTo>
                  <a:pt x="888" y="288"/>
                </a:lnTo>
                <a:lnTo>
                  <a:pt x="886" y="286"/>
                </a:lnTo>
                <a:lnTo>
                  <a:pt x="886" y="286"/>
                </a:lnTo>
                <a:lnTo>
                  <a:pt x="890" y="278"/>
                </a:lnTo>
                <a:lnTo>
                  <a:pt x="890" y="278"/>
                </a:lnTo>
                <a:lnTo>
                  <a:pt x="884" y="278"/>
                </a:lnTo>
                <a:lnTo>
                  <a:pt x="884" y="278"/>
                </a:lnTo>
                <a:lnTo>
                  <a:pt x="880" y="282"/>
                </a:lnTo>
                <a:lnTo>
                  <a:pt x="876" y="284"/>
                </a:lnTo>
                <a:lnTo>
                  <a:pt x="868" y="282"/>
                </a:lnTo>
                <a:lnTo>
                  <a:pt x="868" y="282"/>
                </a:lnTo>
                <a:lnTo>
                  <a:pt x="860" y="284"/>
                </a:lnTo>
                <a:lnTo>
                  <a:pt x="854" y="286"/>
                </a:lnTo>
                <a:lnTo>
                  <a:pt x="854" y="286"/>
                </a:lnTo>
                <a:lnTo>
                  <a:pt x="878" y="292"/>
                </a:lnTo>
                <a:lnTo>
                  <a:pt x="878" y="292"/>
                </a:lnTo>
                <a:lnTo>
                  <a:pt x="876" y="296"/>
                </a:lnTo>
                <a:lnTo>
                  <a:pt x="876" y="296"/>
                </a:lnTo>
                <a:lnTo>
                  <a:pt x="874" y="298"/>
                </a:lnTo>
                <a:lnTo>
                  <a:pt x="874" y="298"/>
                </a:lnTo>
                <a:lnTo>
                  <a:pt x="884" y="296"/>
                </a:lnTo>
                <a:lnTo>
                  <a:pt x="884" y="296"/>
                </a:lnTo>
                <a:lnTo>
                  <a:pt x="888" y="296"/>
                </a:lnTo>
                <a:lnTo>
                  <a:pt x="888" y="296"/>
                </a:lnTo>
                <a:lnTo>
                  <a:pt x="884" y="300"/>
                </a:lnTo>
                <a:lnTo>
                  <a:pt x="884" y="302"/>
                </a:lnTo>
                <a:lnTo>
                  <a:pt x="884" y="304"/>
                </a:lnTo>
                <a:lnTo>
                  <a:pt x="884" y="304"/>
                </a:lnTo>
                <a:lnTo>
                  <a:pt x="882" y="306"/>
                </a:lnTo>
                <a:lnTo>
                  <a:pt x="882" y="306"/>
                </a:lnTo>
                <a:lnTo>
                  <a:pt x="876" y="306"/>
                </a:lnTo>
                <a:lnTo>
                  <a:pt x="868" y="302"/>
                </a:lnTo>
                <a:lnTo>
                  <a:pt x="868" y="302"/>
                </a:lnTo>
                <a:lnTo>
                  <a:pt x="854" y="294"/>
                </a:lnTo>
                <a:lnTo>
                  <a:pt x="854" y="294"/>
                </a:lnTo>
                <a:lnTo>
                  <a:pt x="848" y="298"/>
                </a:lnTo>
                <a:lnTo>
                  <a:pt x="840" y="300"/>
                </a:lnTo>
                <a:lnTo>
                  <a:pt x="832" y="300"/>
                </a:lnTo>
                <a:lnTo>
                  <a:pt x="828" y="300"/>
                </a:lnTo>
                <a:lnTo>
                  <a:pt x="828" y="292"/>
                </a:lnTo>
                <a:lnTo>
                  <a:pt x="828" y="292"/>
                </a:lnTo>
                <a:lnTo>
                  <a:pt x="816" y="300"/>
                </a:lnTo>
                <a:lnTo>
                  <a:pt x="804" y="304"/>
                </a:lnTo>
                <a:lnTo>
                  <a:pt x="790" y="306"/>
                </a:lnTo>
                <a:lnTo>
                  <a:pt x="774" y="304"/>
                </a:lnTo>
                <a:lnTo>
                  <a:pt x="774" y="304"/>
                </a:lnTo>
                <a:lnTo>
                  <a:pt x="772" y="308"/>
                </a:lnTo>
                <a:lnTo>
                  <a:pt x="770" y="310"/>
                </a:lnTo>
                <a:lnTo>
                  <a:pt x="760" y="310"/>
                </a:lnTo>
                <a:lnTo>
                  <a:pt x="760" y="310"/>
                </a:lnTo>
                <a:lnTo>
                  <a:pt x="754" y="310"/>
                </a:lnTo>
                <a:lnTo>
                  <a:pt x="754" y="310"/>
                </a:lnTo>
                <a:lnTo>
                  <a:pt x="748" y="300"/>
                </a:lnTo>
                <a:lnTo>
                  <a:pt x="748" y="300"/>
                </a:lnTo>
                <a:lnTo>
                  <a:pt x="740" y="306"/>
                </a:lnTo>
                <a:lnTo>
                  <a:pt x="740" y="310"/>
                </a:lnTo>
                <a:lnTo>
                  <a:pt x="740" y="310"/>
                </a:lnTo>
                <a:lnTo>
                  <a:pt x="736" y="310"/>
                </a:lnTo>
                <a:lnTo>
                  <a:pt x="736" y="310"/>
                </a:lnTo>
                <a:lnTo>
                  <a:pt x="734" y="308"/>
                </a:lnTo>
                <a:lnTo>
                  <a:pt x="734" y="308"/>
                </a:lnTo>
                <a:lnTo>
                  <a:pt x="730" y="304"/>
                </a:lnTo>
                <a:lnTo>
                  <a:pt x="722" y="304"/>
                </a:lnTo>
                <a:lnTo>
                  <a:pt x="722" y="304"/>
                </a:lnTo>
                <a:lnTo>
                  <a:pt x="730" y="310"/>
                </a:lnTo>
                <a:lnTo>
                  <a:pt x="730" y="310"/>
                </a:lnTo>
                <a:lnTo>
                  <a:pt x="730" y="310"/>
                </a:lnTo>
                <a:lnTo>
                  <a:pt x="730" y="310"/>
                </a:lnTo>
                <a:lnTo>
                  <a:pt x="724" y="312"/>
                </a:lnTo>
                <a:lnTo>
                  <a:pt x="724" y="312"/>
                </a:lnTo>
                <a:lnTo>
                  <a:pt x="720" y="314"/>
                </a:lnTo>
                <a:lnTo>
                  <a:pt x="714" y="316"/>
                </a:lnTo>
                <a:lnTo>
                  <a:pt x="708" y="316"/>
                </a:lnTo>
                <a:lnTo>
                  <a:pt x="704" y="320"/>
                </a:lnTo>
                <a:lnTo>
                  <a:pt x="704" y="320"/>
                </a:lnTo>
                <a:lnTo>
                  <a:pt x="702" y="320"/>
                </a:lnTo>
                <a:lnTo>
                  <a:pt x="702" y="320"/>
                </a:lnTo>
                <a:lnTo>
                  <a:pt x="700" y="320"/>
                </a:lnTo>
                <a:lnTo>
                  <a:pt x="702" y="320"/>
                </a:lnTo>
                <a:lnTo>
                  <a:pt x="702" y="320"/>
                </a:lnTo>
                <a:lnTo>
                  <a:pt x="696" y="320"/>
                </a:lnTo>
                <a:lnTo>
                  <a:pt x="696" y="320"/>
                </a:lnTo>
                <a:lnTo>
                  <a:pt x="706" y="322"/>
                </a:lnTo>
                <a:lnTo>
                  <a:pt x="716" y="322"/>
                </a:lnTo>
                <a:lnTo>
                  <a:pt x="716" y="322"/>
                </a:lnTo>
                <a:lnTo>
                  <a:pt x="726" y="324"/>
                </a:lnTo>
                <a:lnTo>
                  <a:pt x="726" y="324"/>
                </a:lnTo>
                <a:lnTo>
                  <a:pt x="730" y="324"/>
                </a:lnTo>
                <a:lnTo>
                  <a:pt x="730" y="324"/>
                </a:lnTo>
                <a:lnTo>
                  <a:pt x="740" y="326"/>
                </a:lnTo>
                <a:lnTo>
                  <a:pt x="740" y="326"/>
                </a:lnTo>
                <a:lnTo>
                  <a:pt x="738" y="328"/>
                </a:lnTo>
                <a:lnTo>
                  <a:pt x="734" y="330"/>
                </a:lnTo>
                <a:lnTo>
                  <a:pt x="734" y="330"/>
                </a:lnTo>
                <a:lnTo>
                  <a:pt x="732" y="332"/>
                </a:lnTo>
                <a:lnTo>
                  <a:pt x="732" y="332"/>
                </a:lnTo>
                <a:lnTo>
                  <a:pt x="732" y="332"/>
                </a:lnTo>
                <a:lnTo>
                  <a:pt x="732" y="332"/>
                </a:lnTo>
                <a:lnTo>
                  <a:pt x="734" y="330"/>
                </a:lnTo>
                <a:lnTo>
                  <a:pt x="734" y="330"/>
                </a:lnTo>
                <a:lnTo>
                  <a:pt x="730" y="334"/>
                </a:lnTo>
                <a:lnTo>
                  <a:pt x="730" y="336"/>
                </a:lnTo>
                <a:lnTo>
                  <a:pt x="732" y="338"/>
                </a:lnTo>
                <a:lnTo>
                  <a:pt x="732" y="338"/>
                </a:lnTo>
                <a:lnTo>
                  <a:pt x="738" y="340"/>
                </a:lnTo>
                <a:lnTo>
                  <a:pt x="742" y="344"/>
                </a:lnTo>
                <a:lnTo>
                  <a:pt x="742" y="348"/>
                </a:lnTo>
                <a:lnTo>
                  <a:pt x="744" y="352"/>
                </a:lnTo>
                <a:lnTo>
                  <a:pt x="744" y="352"/>
                </a:lnTo>
                <a:lnTo>
                  <a:pt x="734" y="352"/>
                </a:lnTo>
                <a:lnTo>
                  <a:pt x="726" y="354"/>
                </a:lnTo>
                <a:lnTo>
                  <a:pt x="726" y="354"/>
                </a:lnTo>
                <a:lnTo>
                  <a:pt x="722" y="354"/>
                </a:lnTo>
                <a:lnTo>
                  <a:pt x="716" y="354"/>
                </a:lnTo>
                <a:lnTo>
                  <a:pt x="708" y="350"/>
                </a:lnTo>
                <a:lnTo>
                  <a:pt x="708" y="350"/>
                </a:lnTo>
                <a:lnTo>
                  <a:pt x="706" y="344"/>
                </a:lnTo>
                <a:lnTo>
                  <a:pt x="706" y="344"/>
                </a:lnTo>
                <a:lnTo>
                  <a:pt x="700" y="344"/>
                </a:lnTo>
                <a:lnTo>
                  <a:pt x="700" y="344"/>
                </a:lnTo>
                <a:lnTo>
                  <a:pt x="684" y="346"/>
                </a:lnTo>
                <a:lnTo>
                  <a:pt x="678" y="344"/>
                </a:lnTo>
                <a:lnTo>
                  <a:pt x="670" y="342"/>
                </a:lnTo>
                <a:lnTo>
                  <a:pt x="670" y="342"/>
                </a:lnTo>
                <a:lnTo>
                  <a:pt x="666" y="342"/>
                </a:lnTo>
                <a:lnTo>
                  <a:pt x="662" y="344"/>
                </a:lnTo>
                <a:lnTo>
                  <a:pt x="662" y="344"/>
                </a:lnTo>
                <a:lnTo>
                  <a:pt x="664" y="350"/>
                </a:lnTo>
                <a:lnTo>
                  <a:pt x="664" y="350"/>
                </a:lnTo>
                <a:lnTo>
                  <a:pt x="626" y="360"/>
                </a:lnTo>
                <a:lnTo>
                  <a:pt x="626" y="360"/>
                </a:lnTo>
                <a:lnTo>
                  <a:pt x="616" y="350"/>
                </a:lnTo>
                <a:lnTo>
                  <a:pt x="616" y="350"/>
                </a:lnTo>
                <a:lnTo>
                  <a:pt x="652" y="346"/>
                </a:lnTo>
                <a:lnTo>
                  <a:pt x="652" y="346"/>
                </a:lnTo>
                <a:lnTo>
                  <a:pt x="634" y="336"/>
                </a:lnTo>
                <a:lnTo>
                  <a:pt x="634" y="336"/>
                </a:lnTo>
                <a:lnTo>
                  <a:pt x="640" y="330"/>
                </a:lnTo>
                <a:lnTo>
                  <a:pt x="640" y="330"/>
                </a:lnTo>
                <a:lnTo>
                  <a:pt x="634" y="330"/>
                </a:lnTo>
                <a:lnTo>
                  <a:pt x="630" y="330"/>
                </a:lnTo>
                <a:lnTo>
                  <a:pt x="628" y="332"/>
                </a:lnTo>
                <a:lnTo>
                  <a:pt x="628" y="332"/>
                </a:lnTo>
                <a:lnTo>
                  <a:pt x="624" y="332"/>
                </a:lnTo>
                <a:lnTo>
                  <a:pt x="620" y="332"/>
                </a:lnTo>
                <a:lnTo>
                  <a:pt x="614" y="332"/>
                </a:lnTo>
                <a:lnTo>
                  <a:pt x="610" y="330"/>
                </a:lnTo>
                <a:lnTo>
                  <a:pt x="610" y="330"/>
                </a:lnTo>
                <a:lnTo>
                  <a:pt x="610" y="328"/>
                </a:lnTo>
                <a:lnTo>
                  <a:pt x="610" y="326"/>
                </a:lnTo>
                <a:lnTo>
                  <a:pt x="614" y="324"/>
                </a:lnTo>
                <a:lnTo>
                  <a:pt x="614" y="324"/>
                </a:lnTo>
                <a:lnTo>
                  <a:pt x="626" y="324"/>
                </a:lnTo>
                <a:lnTo>
                  <a:pt x="626" y="324"/>
                </a:lnTo>
                <a:lnTo>
                  <a:pt x="632" y="322"/>
                </a:lnTo>
                <a:lnTo>
                  <a:pt x="636" y="320"/>
                </a:lnTo>
                <a:lnTo>
                  <a:pt x="636" y="320"/>
                </a:lnTo>
                <a:lnTo>
                  <a:pt x="624" y="320"/>
                </a:lnTo>
                <a:lnTo>
                  <a:pt x="616" y="322"/>
                </a:lnTo>
                <a:lnTo>
                  <a:pt x="616" y="322"/>
                </a:lnTo>
                <a:lnTo>
                  <a:pt x="606" y="324"/>
                </a:lnTo>
                <a:lnTo>
                  <a:pt x="600" y="322"/>
                </a:lnTo>
                <a:lnTo>
                  <a:pt x="600" y="322"/>
                </a:lnTo>
                <a:lnTo>
                  <a:pt x="596" y="320"/>
                </a:lnTo>
                <a:lnTo>
                  <a:pt x="592" y="320"/>
                </a:lnTo>
                <a:lnTo>
                  <a:pt x="586" y="320"/>
                </a:lnTo>
                <a:lnTo>
                  <a:pt x="586" y="320"/>
                </a:lnTo>
                <a:lnTo>
                  <a:pt x="564" y="318"/>
                </a:lnTo>
                <a:lnTo>
                  <a:pt x="556" y="316"/>
                </a:lnTo>
                <a:lnTo>
                  <a:pt x="546" y="310"/>
                </a:lnTo>
                <a:lnTo>
                  <a:pt x="546" y="310"/>
                </a:lnTo>
                <a:lnTo>
                  <a:pt x="542" y="308"/>
                </a:lnTo>
                <a:lnTo>
                  <a:pt x="542" y="308"/>
                </a:lnTo>
                <a:lnTo>
                  <a:pt x="526" y="306"/>
                </a:lnTo>
                <a:lnTo>
                  <a:pt x="526" y="306"/>
                </a:lnTo>
                <a:lnTo>
                  <a:pt x="526" y="304"/>
                </a:lnTo>
                <a:lnTo>
                  <a:pt x="524" y="302"/>
                </a:lnTo>
                <a:lnTo>
                  <a:pt x="520" y="302"/>
                </a:lnTo>
                <a:lnTo>
                  <a:pt x="520" y="302"/>
                </a:lnTo>
                <a:lnTo>
                  <a:pt x="494" y="306"/>
                </a:lnTo>
                <a:lnTo>
                  <a:pt x="494" y="306"/>
                </a:lnTo>
                <a:lnTo>
                  <a:pt x="506" y="322"/>
                </a:lnTo>
                <a:lnTo>
                  <a:pt x="506" y="322"/>
                </a:lnTo>
                <a:lnTo>
                  <a:pt x="492" y="322"/>
                </a:lnTo>
                <a:lnTo>
                  <a:pt x="492" y="322"/>
                </a:lnTo>
                <a:lnTo>
                  <a:pt x="478" y="326"/>
                </a:lnTo>
                <a:lnTo>
                  <a:pt x="478" y="326"/>
                </a:lnTo>
                <a:lnTo>
                  <a:pt x="472" y="324"/>
                </a:lnTo>
                <a:lnTo>
                  <a:pt x="472" y="324"/>
                </a:lnTo>
                <a:lnTo>
                  <a:pt x="484" y="316"/>
                </a:lnTo>
                <a:lnTo>
                  <a:pt x="484" y="314"/>
                </a:lnTo>
                <a:lnTo>
                  <a:pt x="484" y="312"/>
                </a:lnTo>
                <a:lnTo>
                  <a:pt x="484" y="312"/>
                </a:lnTo>
                <a:lnTo>
                  <a:pt x="478" y="312"/>
                </a:lnTo>
                <a:lnTo>
                  <a:pt x="474" y="316"/>
                </a:lnTo>
                <a:lnTo>
                  <a:pt x="468" y="322"/>
                </a:lnTo>
                <a:lnTo>
                  <a:pt x="468" y="322"/>
                </a:lnTo>
                <a:lnTo>
                  <a:pt x="466" y="326"/>
                </a:lnTo>
                <a:lnTo>
                  <a:pt x="462" y="328"/>
                </a:lnTo>
                <a:lnTo>
                  <a:pt x="458" y="328"/>
                </a:lnTo>
                <a:lnTo>
                  <a:pt x="450" y="328"/>
                </a:lnTo>
                <a:lnTo>
                  <a:pt x="450" y="328"/>
                </a:lnTo>
                <a:lnTo>
                  <a:pt x="454" y="324"/>
                </a:lnTo>
                <a:lnTo>
                  <a:pt x="454" y="324"/>
                </a:lnTo>
                <a:lnTo>
                  <a:pt x="444" y="320"/>
                </a:lnTo>
                <a:lnTo>
                  <a:pt x="444" y="320"/>
                </a:lnTo>
                <a:lnTo>
                  <a:pt x="448" y="316"/>
                </a:lnTo>
                <a:lnTo>
                  <a:pt x="454" y="314"/>
                </a:lnTo>
                <a:lnTo>
                  <a:pt x="454" y="314"/>
                </a:lnTo>
                <a:lnTo>
                  <a:pt x="458" y="312"/>
                </a:lnTo>
                <a:lnTo>
                  <a:pt x="462" y="310"/>
                </a:lnTo>
                <a:lnTo>
                  <a:pt x="466" y="304"/>
                </a:lnTo>
                <a:lnTo>
                  <a:pt x="466" y="304"/>
                </a:lnTo>
                <a:lnTo>
                  <a:pt x="472" y="298"/>
                </a:lnTo>
                <a:lnTo>
                  <a:pt x="480" y="294"/>
                </a:lnTo>
                <a:lnTo>
                  <a:pt x="480" y="294"/>
                </a:lnTo>
                <a:lnTo>
                  <a:pt x="488" y="298"/>
                </a:lnTo>
                <a:lnTo>
                  <a:pt x="488" y="298"/>
                </a:lnTo>
                <a:lnTo>
                  <a:pt x="500" y="296"/>
                </a:lnTo>
                <a:lnTo>
                  <a:pt x="500" y="296"/>
                </a:lnTo>
                <a:lnTo>
                  <a:pt x="492" y="288"/>
                </a:lnTo>
                <a:lnTo>
                  <a:pt x="492" y="288"/>
                </a:lnTo>
                <a:lnTo>
                  <a:pt x="476" y="292"/>
                </a:lnTo>
                <a:lnTo>
                  <a:pt x="476" y="292"/>
                </a:lnTo>
                <a:lnTo>
                  <a:pt x="484" y="284"/>
                </a:lnTo>
                <a:lnTo>
                  <a:pt x="484" y="284"/>
                </a:lnTo>
                <a:lnTo>
                  <a:pt x="478" y="282"/>
                </a:lnTo>
                <a:lnTo>
                  <a:pt x="476" y="280"/>
                </a:lnTo>
                <a:lnTo>
                  <a:pt x="474" y="278"/>
                </a:lnTo>
                <a:lnTo>
                  <a:pt x="474" y="278"/>
                </a:lnTo>
                <a:lnTo>
                  <a:pt x="472" y="274"/>
                </a:lnTo>
                <a:lnTo>
                  <a:pt x="468" y="272"/>
                </a:lnTo>
                <a:lnTo>
                  <a:pt x="462" y="272"/>
                </a:lnTo>
                <a:lnTo>
                  <a:pt x="454" y="274"/>
                </a:lnTo>
                <a:lnTo>
                  <a:pt x="454" y="274"/>
                </a:lnTo>
                <a:lnTo>
                  <a:pt x="464" y="282"/>
                </a:lnTo>
                <a:lnTo>
                  <a:pt x="464" y="282"/>
                </a:lnTo>
                <a:lnTo>
                  <a:pt x="438" y="284"/>
                </a:lnTo>
                <a:lnTo>
                  <a:pt x="438" y="284"/>
                </a:lnTo>
                <a:lnTo>
                  <a:pt x="430" y="278"/>
                </a:lnTo>
                <a:lnTo>
                  <a:pt x="430" y="278"/>
                </a:lnTo>
                <a:lnTo>
                  <a:pt x="428" y="278"/>
                </a:lnTo>
                <a:lnTo>
                  <a:pt x="428" y="278"/>
                </a:lnTo>
                <a:lnTo>
                  <a:pt x="420" y="280"/>
                </a:lnTo>
                <a:lnTo>
                  <a:pt x="414" y="280"/>
                </a:lnTo>
                <a:lnTo>
                  <a:pt x="412" y="278"/>
                </a:lnTo>
                <a:lnTo>
                  <a:pt x="408" y="272"/>
                </a:lnTo>
                <a:lnTo>
                  <a:pt x="408" y="272"/>
                </a:lnTo>
                <a:lnTo>
                  <a:pt x="406" y="270"/>
                </a:lnTo>
                <a:lnTo>
                  <a:pt x="404" y="268"/>
                </a:lnTo>
                <a:lnTo>
                  <a:pt x="404" y="268"/>
                </a:lnTo>
                <a:lnTo>
                  <a:pt x="398" y="266"/>
                </a:lnTo>
                <a:lnTo>
                  <a:pt x="394" y="264"/>
                </a:lnTo>
                <a:lnTo>
                  <a:pt x="388" y="258"/>
                </a:lnTo>
                <a:lnTo>
                  <a:pt x="388" y="258"/>
                </a:lnTo>
                <a:lnTo>
                  <a:pt x="370" y="256"/>
                </a:lnTo>
                <a:lnTo>
                  <a:pt x="370" y="256"/>
                </a:lnTo>
                <a:lnTo>
                  <a:pt x="368" y="248"/>
                </a:lnTo>
                <a:lnTo>
                  <a:pt x="368" y="248"/>
                </a:lnTo>
                <a:lnTo>
                  <a:pt x="358" y="248"/>
                </a:lnTo>
                <a:lnTo>
                  <a:pt x="358" y="248"/>
                </a:lnTo>
                <a:lnTo>
                  <a:pt x="380" y="268"/>
                </a:lnTo>
                <a:lnTo>
                  <a:pt x="380" y="268"/>
                </a:lnTo>
                <a:lnTo>
                  <a:pt x="382" y="270"/>
                </a:lnTo>
                <a:lnTo>
                  <a:pt x="382" y="270"/>
                </a:lnTo>
                <a:lnTo>
                  <a:pt x="404" y="278"/>
                </a:lnTo>
                <a:lnTo>
                  <a:pt x="404" y="278"/>
                </a:lnTo>
                <a:lnTo>
                  <a:pt x="414" y="284"/>
                </a:lnTo>
                <a:lnTo>
                  <a:pt x="422" y="290"/>
                </a:lnTo>
                <a:lnTo>
                  <a:pt x="422" y="290"/>
                </a:lnTo>
                <a:lnTo>
                  <a:pt x="428" y="294"/>
                </a:lnTo>
                <a:lnTo>
                  <a:pt x="432" y="302"/>
                </a:lnTo>
                <a:lnTo>
                  <a:pt x="432" y="302"/>
                </a:lnTo>
                <a:lnTo>
                  <a:pt x="434" y="302"/>
                </a:lnTo>
                <a:lnTo>
                  <a:pt x="434" y="302"/>
                </a:lnTo>
                <a:lnTo>
                  <a:pt x="442" y="302"/>
                </a:lnTo>
                <a:lnTo>
                  <a:pt x="444" y="304"/>
                </a:lnTo>
                <a:lnTo>
                  <a:pt x="446" y="306"/>
                </a:lnTo>
                <a:lnTo>
                  <a:pt x="446" y="306"/>
                </a:lnTo>
                <a:lnTo>
                  <a:pt x="444" y="308"/>
                </a:lnTo>
                <a:lnTo>
                  <a:pt x="442" y="310"/>
                </a:lnTo>
                <a:lnTo>
                  <a:pt x="436" y="312"/>
                </a:lnTo>
                <a:lnTo>
                  <a:pt x="436" y="312"/>
                </a:lnTo>
                <a:lnTo>
                  <a:pt x="426" y="312"/>
                </a:lnTo>
                <a:lnTo>
                  <a:pt x="416" y="316"/>
                </a:lnTo>
                <a:lnTo>
                  <a:pt x="416" y="316"/>
                </a:lnTo>
                <a:lnTo>
                  <a:pt x="412" y="314"/>
                </a:lnTo>
                <a:lnTo>
                  <a:pt x="408" y="312"/>
                </a:lnTo>
                <a:lnTo>
                  <a:pt x="408" y="312"/>
                </a:lnTo>
                <a:lnTo>
                  <a:pt x="400" y="308"/>
                </a:lnTo>
                <a:lnTo>
                  <a:pt x="390" y="308"/>
                </a:lnTo>
                <a:lnTo>
                  <a:pt x="390" y="308"/>
                </a:lnTo>
                <a:lnTo>
                  <a:pt x="382" y="308"/>
                </a:lnTo>
                <a:lnTo>
                  <a:pt x="376" y="306"/>
                </a:lnTo>
                <a:lnTo>
                  <a:pt x="362" y="302"/>
                </a:lnTo>
                <a:lnTo>
                  <a:pt x="362" y="302"/>
                </a:lnTo>
                <a:lnTo>
                  <a:pt x="354" y="304"/>
                </a:lnTo>
                <a:lnTo>
                  <a:pt x="344" y="302"/>
                </a:lnTo>
                <a:lnTo>
                  <a:pt x="344" y="302"/>
                </a:lnTo>
                <a:lnTo>
                  <a:pt x="338" y="304"/>
                </a:lnTo>
                <a:lnTo>
                  <a:pt x="330" y="306"/>
                </a:lnTo>
                <a:lnTo>
                  <a:pt x="330" y="306"/>
                </a:lnTo>
                <a:lnTo>
                  <a:pt x="322" y="310"/>
                </a:lnTo>
                <a:lnTo>
                  <a:pt x="314" y="312"/>
                </a:lnTo>
                <a:lnTo>
                  <a:pt x="306" y="312"/>
                </a:lnTo>
                <a:lnTo>
                  <a:pt x="296" y="310"/>
                </a:lnTo>
                <a:lnTo>
                  <a:pt x="296" y="310"/>
                </a:lnTo>
                <a:lnTo>
                  <a:pt x="290" y="308"/>
                </a:lnTo>
                <a:lnTo>
                  <a:pt x="290" y="308"/>
                </a:lnTo>
                <a:lnTo>
                  <a:pt x="284" y="306"/>
                </a:lnTo>
                <a:lnTo>
                  <a:pt x="280" y="304"/>
                </a:lnTo>
                <a:lnTo>
                  <a:pt x="280" y="302"/>
                </a:lnTo>
                <a:lnTo>
                  <a:pt x="280" y="298"/>
                </a:lnTo>
                <a:lnTo>
                  <a:pt x="280" y="298"/>
                </a:lnTo>
                <a:lnTo>
                  <a:pt x="278" y="292"/>
                </a:lnTo>
                <a:lnTo>
                  <a:pt x="278" y="292"/>
                </a:lnTo>
                <a:lnTo>
                  <a:pt x="276" y="290"/>
                </a:lnTo>
                <a:lnTo>
                  <a:pt x="274" y="288"/>
                </a:lnTo>
                <a:lnTo>
                  <a:pt x="272" y="284"/>
                </a:lnTo>
                <a:lnTo>
                  <a:pt x="272" y="284"/>
                </a:lnTo>
                <a:lnTo>
                  <a:pt x="264" y="286"/>
                </a:lnTo>
                <a:lnTo>
                  <a:pt x="258" y="288"/>
                </a:lnTo>
                <a:lnTo>
                  <a:pt x="254" y="286"/>
                </a:lnTo>
                <a:lnTo>
                  <a:pt x="248" y="282"/>
                </a:lnTo>
                <a:lnTo>
                  <a:pt x="248" y="282"/>
                </a:lnTo>
                <a:lnTo>
                  <a:pt x="262" y="270"/>
                </a:lnTo>
                <a:lnTo>
                  <a:pt x="262" y="270"/>
                </a:lnTo>
                <a:lnTo>
                  <a:pt x="254" y="268"/>
                </a:lnTo>
                <a:lnTo>
                  <a:pt x="254" y="268"/>
                </a:lnTo>
                <a:lnTo>
                  <a:pt x="248" y="270"/>
                </a:lnTo>
                <a:lnTo>
                  <a:pt x="242" y="270"/>
                </a:lnTo>
                <a:lnTo>
                  <a:pt x="230" y="266"/>
                </a:lnTo>
                <a:lnTo>
                  <a:pt x="230" y="266"/>
                </a:lnTo>
                <a:lnTo>
                  <a:pt x="220" y="266"/>
                </a:lnTo>
                <a:lnTo>
                  <a:pt x="220" y="266"/>
                </a:lnTo>
                <a:lnTo>
                  <a:pt x="212" y="264"/>
                </a:lnTo>
                <a:lnTo>
                  <a:pt x="206" y="260"/>
                </a:lnTo>
                <a:lnTo>
                  <a:pt x="206" y="260"/>
                </a:lnTo>
                <a:lnTo>
                  <a:pt x="202" y="258"/>
                </a:lnTo>
                <a:lnTo>
                  <a:pt x="198" y="256"/>
                </a:lnTo>
                <a:lnTo>
                  <a:pt x="196" y="258"/>
                </a:lnTo>
                <a:lnTo>
                  <a:pt x="192" y="260"/>
                </a:lnTo>
                <a:lnTo>
                  <a:pt x="192" y="260"/>
                </a:lnTo>
                <a:lnTo>
                  <a:pt x="196" y="262"/>
                </a:lnTo>
                <a:lnTo>
                  <a:pt x="200" y="266"/>
                </a:lnTo>
                <a:lnTo>
                  <a:pt x="204" y="268"/>
                </a:lnTo>
                <a:lnTo>
                  <a:pt x="208" y="272"/>
                </a:lnTo>
                <a:lnTo>
                  <a:pt x="208" y="272"/>
                </a:lnTo>
                <a:lnTo>
                  <a:pt x="208" y="274"/>
                </a:lnTo>
                <a:lnTo>
                  <a:pt x="208" y="274"/>
                </a:lnTo>
                <a:lnTo>
                  <a:pt x="214" y="276"/>
                </a:lnTo>
                <a:lnTo>
                  <a:pt x="218" y="280"/>
                </a:lnTo>
                <a:lnTo>
                  <a:pt x="222" y="288"/>
                </a:lnTo>
                <a:lnTo>
                  <a:pt x="222" y="288"/>
                </a:lnTo>
                <a:lnTo>
                  <a:pt x="224" y="290"/>
                </a:lnTo>
                <a:lnTo>
                  <a:pt x="226" y="294"/>
                </a:lnTo>
                <a:lnTo>
                  <a:pt x="232" y="296"/>
                </a:lnTo>
                <a:lnTo>
                  <a:pt x="236" y="296"/>
                </a:lnTo>
                <a:lnTo>
                  <a:pt x="236" y="296"/>
                </a:lnTo>
                <a:lnTo>
                  <a:pt x="242" y="298"/>
                </a:lnTo>
                <a:lnTo>
                  <a:pt x="242" y="298"/>
                </a:lnTo>
                <a:lnTo>
                  <a:pt x="248" y="302"/>
                </a:lnTo>
                <a:lnTo>
                  <a:pt x="256" y="306"/>
                </a:lnTo>
                <a:lnTo>
                  <a:pt x="270" y="312"/>
                </a:lnTo>
                <a:lnTo>
                  <a:pt x="270" y="312"/>
                </a:lnTo>
                <a:lnTo>
                  <a:pt x="276" y="316"/>
                </a:lnTo>
                <a:lnTo>
                  <a:pt x="278" y="318"/>
                </a:lnTo>
                <a:lnTo>
                  <a:pt x="280" y="322"/>
                </a:lnTo>
                <a:lnTo>
                  <a:pt x="280" y="322"/>
                </a:lnTo>
                <a:lnTo>
                  <a:pt x="272" y="322"/>
                </a:lnTo>
                <a:lnTo>
                  <a:pt x="264" y="322"/>
                </a:lnTo>
                <a:lnTo>
                  <a:pt x="248" y="326"/>
                </a:lnTo>
                <a:lnTo>
                  <a:pt x="248" y="326"/>
                </a:lnTo>
                <a:lnTo>
                  <a:pt x="272" y="328"/>
                </a:lnTo>
                <a:lnTo>
                  <a:pt x="272" y="328"/>
                </a:lnTo>
                <a:lnTo>
                  <a:pt x="278" y="330"/>
                </a:lnTo>
                <a:lnTo>
                  <a:pt x="278" y="334"/>
                </a:lnTo>
                <a:lnTo>
                  <a:pt x="278" y="334"/>
                </a:lnTo>
                <a:lnTo>
                  <a:pt x="262" y="334"/>
                </a:lnTo>
                <a:lnTo>
                  <a:pt x="256" y="334"/>
                </a:lnTo>
                <a:lnTo>
                  <a:pt x="252" y="338"/>
                </a:lnTo>
                <a:lnTo>
                  <a:pt x="252" y="338"/>
                </a:lnTo>
                <a:lnTo>
                  <a:pt x="274" y="342"/>
                </a:lnTo>
                <a:lnTo>
                  <a:pt x="274" y="342"/>
                </a:lnTo>
                <a:lnTo>
                  <a:pt x="280" y="342"/>
                </a:lnTo>
                <a:lnTo>
                  <a:pt x="286" y="340"/>
                </a:lnTo>
                <a:lnTo>
                  <a:pt x="286" y="340"/>
                </a:lnTo>
                <a:lnTo>
                  <a:pt x="282" y="334"/>
                </a:lnTo>
                <a:lnTo>
                  <a:pt x="282" y="334"/>
                </a:lnTo>
                <a:lnTo>
                  <a:pt x="288" y="332"/>
                </a:lnTo>
                <a:lnTo>
                  <a:pt x="288" y="332"/>
                </a:lnTo>
                <a:lnTo>
                  <a:pt x="302" y="336"/>
                </a:lnTo>
                <a:lnTo>
                  <a:pt x="302" y="336"/>
                </a:lnTo>
                <a:lnTo>
                  <a:pt x="308" y="338"/>
                </a:lnTo>
                <a:lnTo>
                  <a:pt x="310" y="340"/>
                </a:lnTo>
                <a:lnTo>
                  <a:pt x="310" y="342"/>
                </a:lnTo>
                <a:lnTo>
                  <a:pt x="310" y="342"/>
                </a:lnTo>
                <a:lnTo>
                  <a:pt x="310" y="346"/>
                </a:lnTo>
                <a:lnTo>
                  <a:pt x="310" y="346"/>
                </a:lnTo>
                <a:lnTo>
                  <a:pt x="324" y="348"/>
                </a:lnTo>
                <a:lnTo>
                  <a:pt x="324" y="348"/>
                </a:lnTo>
                <a:lnTo>
                  <a:pt x="322" y="352"/>
                </a:lnTo>
                <a:lnTo>
                  <a:pt x="320" y="356"/>
                </a:lnTo>
                <a:lnTo>
                  <a:pt x="314" y="358"/>
                </a:lnTo>
                <a:lnTo>
                  <a:pt x="308" y="360"/>
                </a:lnTo>
                <a:lnTo>
                  <a:pt x="308" y="360"/>
                </a:lnTo>
                <a:lnTo>
                  <a:pt x="304" y="360"/>
                </a:lnTo>
                <a:lnTo>
                  <a:pt x="302" y="362"/>
                </a:lnTo>
                <a:lnTo>
                  <a:pt x="300" y="366"/>
                </a:lnTo>
                <a:lnTo>
                  <a:pt x="300" y="366"/>
                </a:lnTo>
                <a:lnTo>
                  <a:pt x="288" y="366"/>
                </a:lnTo>
                <a:lnTo>
                  <a:pt x="280" y="366"/>
                </a:lnTo>
                <a:lnTo>
                  <a:pt x="272" y="364"/>
                </a:lnTo>
                <a:lnTo>
                  <a:pt x="262" y="360"/>
                </a:lnTo>
                <a:lnTo>
                  <a:pt x="262" y="360"/>
                </a:lnTo>
                <a:lnTo>
                  <a:pt x="268" y="356"/>
                </a:lnTo>
                <a:lnTo>
                  <a:pt x="268" y="356"/>
                </a:lnTo>
                <a:lnTo>
                  <a:pt x="266" y="354"/>
                </a:lnTo>
                <a:lnTo>
                  <a:pt x="266" y="354"/>
                </a:lnTo>
                <a:lnTo>
                  <a:pt x="260" y="356"/>
                </a:lnTo>
                <a:lnTo>
                  <a:pt x="256" y="358"/>
                </a:lnTo>
                <a:lnTo>
                  <a:pt x="244" y="356"/>
                </a:lnTo>
                <a:lnTo>
                  <a:pt x="244" y="356"/>
                </a:lnTo>
                <a:lnTo>
                  <a:pt x="250" y="352"/>
                </a:lnTo>
                <a:lnTo>
                  <a:pt x="250" y="352"/>
                </a:lnTo>
                <a:lnTo>
                  <a:pt x="242" y="348"/>
                </a:lnTo>
                <a:lnTo>
                  <a:pt x="242" y="348"/>
                </a:lnTo>
                <a:lnTo>
                  <a:pt x="236" y="348"/>
                </a:lnTo>
                <a:lnTo>
                  <a:pt x="236" y="348"/>
                </a:lnTo>
                <a:lnTo>
                  <a:pt x="228" y="348"/>
                </a:lnTo>
                <a:lnTo>
                  <a:pt x="220" y="346"/>
                </a:lnTo>
                <a:lnTo>
                  <a:pt x="220" y="346"/>
                </a:lnTo>
                <a:lnTo>
                  <a:pt x="214" y="346"/>
                </a:lnTo>
                <a:lnTo>
                  <a:pt x="208" y="348"/>
                </a:lnTo>
                <a:lnTo>
                  <a:pt x="208" y="348"/>
                </a:lnTo>
                <a:lnTo>
                  <a:pt x="202" y="348"/>
                </a:lnTo>
                <a:lnTo>
                  <a:pt x="202" y="348"/>
                </a:lnTo>
                <a:lnTo>
                  <a:pt x="194" y="350"/>
                </a:lnTo>
                <a:lnTo>
                  <a:pt x="194" y="350"/>
                </a:lnTo>
                <a:lnTo>
                  <a:pt x="196" y="352"/>
                </a:lnTo>
                <a:lnTo>
                  <a:pt x="200" y="352"/>
                </a:lnTo>
                <a:lnTo>
                  <a:pt x="200" y="354"/>
                </a:lnTo>
                <a:lnTo>
                  <a:pt x="200" y="356"/>
                </a:lnTo>
                <a:lnTo>
                  <a:pt x="200" y="356"/>
                </a:lnTo>
                <a:lnTo>
                  <a:pt x="194" y="358"/>
                </a:lnTo>
                <a:lnTo>
                  <a:pt x="194" y="358"/>
                </a:lnTo>
                <a:lnTo>
                  <a:pt x="184" y="354"/>
                </a:lnTo>
                <a:lnTo>
                  <a:pt x="184" y="354"/>
                </a:lnTo>
                <a:lnTo>
                  <a:pt x="178" y="358"/>
                </a:lnTo>
                <a:lnTo>
                  <a:pt x="172" y="360"/>
                </a:lnTo>
                <a:lnTo>
                  <a:pt x="172" y="360"/>
                </a:lnTo>
                <a:lnTo>
                  <a:pt x="166" y="360"/>
                </a:lnTo>
                <a:lnTo>
                  <a:pt x="160" y="362"/>
                </a:lnTo>
                <a:lnTo>
                  <a:pt x="154" y="364"/>
                </a:lnTo>
                <a:lnTo>
                  <a:pt x="148" y="366"/>
                </a:lnTo>
                <a:lnTo>
                  <a:pt x="148" y="366"/>
                </a:lnTo>
                <a:lnTo>
                  <a:pt x="144" y="370"/>
                </a:lnTo>
                <a:lnTo>
                  <a:pt x="138" y="374"/>
                </a:lnTo>
                <a:lnTo>
                  <a:pt x="132" y="376"/>
                </a:lnTo>
                <a:lnTo>
                  <a:pt x="126" y="380"/>
                </a:lnTo>
                <a:lnTo>
                  <a:pt x="126" y="380"/>
                </a:lnTo>
                <a:lnTo>
                  <a:pt x="122" y="382"/>
                </a:lnTo>
                <a:lnTo>
                  <a:pt x="116" y="382"/>
                </a:lnTo>
                <a:lnTo>
                  <a:pt x="116" y="382"/>
                </a:lnTo>
                <a:lnTo>
                  <a:pt x="114" y="380"/>
                </a:lnTo>
                <a:lnTo>
                  <a:pt x="114" y="378"/>
                </a:lnTo>
                <a:lnTo>
                  <a:pt x="116" y="376"/>
                </a:lnTo>
                <a:lnTo>
                  <a:pt x="116" y="376"/>
                </a:lnTo>
                <a:lnTo>
                  <a:pt x="114" y="374"/>
                </a:lnTo>
                <a:lnTo>
                  <a:pt x="114" y="374"/>
                </a:lnTo>
                <a:lnTo>
                  <a:pt x="110" y="374"/>
                </a:lnTo>
                <a:lnTo>
                  <a:pt x="108" y="376"/>
                </a:lnTo>
                <a:lnTo>
                  <a:pt x="104" y="380"/>
                </a:lnTo>
                <a:lnTo>
                  <a:pt x="104" y="380"/>
                </a:lnTo>
                <a:lnTo>
                  <a:pt x="98" y="384"/>
                </a:lnTo>
                <a:lnTo>
                  <a:pt x="90" y="386"/>
                </a:lnTo>
                <a:lnTo>
                  <a:pt x="90" y="386"/>
                </a:lnTo>
                <a:lnTo>
                  <a:pt x="78" y="388"/>
                </a:lnTo>
                <a:lnTo>
                  <a:pt x="72" y="390"/>
                </a:lnTo>
                <a:lnTo>
                  <a:pt x="66" y="394"/>
                </a:lnTo>
                <a:lnTo>
                  <a:pt x="66" y="394"/>
                </a:lnTo>
                <a:lnTo>
                  <a:pt x="62" y="396"/>
                </a:lnTo>
                <a:lnTo>
                  <a:pt x="62" y="396"/>
                </a:lnTo>
                <a:lnTo>
                  <a:pt x="38" y="410"/>
                </a:lnTo>
                <a:lnTo>
                  <a:pt x="38" y="410"/>
                </a:lnTo>
                <a:lnTo>
                  <a:pt x="32" y="412"/>
                </a:lnTo>
                <a:lnTo>
                  <a:pt x="30" y="414"/>
                </a:lnTo>
                <a:lnTo>
                  <a:pt x="30" y="414"/>
                </a:lnTo>
                <a:lnTo>
                  <a:pt x="28" y="420"/>
                </a:lnTo>
                <a:lnTo>
                  <a:pt x="24" y="422"/>
                </a:lnTo>
                <a:lnTo>
                  <a:pt x="18" y="430"/>
                </a:lnTo>
                <a:lnTo>
                  <a:pt x="18" y="430"/>
                </a:lnTo>
                <a:lnTo>
                  <a:pt x="24" y="432"/>
                </a:lnTo>
                <a:lnTo>
                  <a:pt x="28" y="432"/>
                </a:lnTo>
                <a:lnTo>
                  <a:pt x="28" y="432"/>
                </a:lnTo>
                <a:lnTo>
                  <a:pt x="34" y="436"/>
                </a:lnTo>
                <a:lnTo>
                  <a:pt x="42" y="438"/>
                </a:lnTo>
                <a:lnTo>
                  <a:pt x="42" y="438"/>
                </a:lnTo>
                <a:lnTo>
                  <a:pt x="46" y="438"/>
                </a:lnTo>
                <a:lnTo>
                  <a:pt x="48" y="440"/>
                </a:lnTo>
                <a:lnTo>
                  <a:pt x="48" y="442"/>
                </a:lnTo>
                <a:lnTo>
                  <a:pt x="44" y="446"/>
                </a:lnTo>
                <a:lnTo>
                  <a:pt x="44" y="446"/>
                </a:lnTo>
                <a:lnTo>
                  <a:pt x="42" y="450"/>
                </a:lnTo>
                <a:lnTo>
                  <a:pt x="42" y="450"/>
                </a:lnTo>
                <a:lnTo>
                  <a:pt x="42" y="458"/>
                </a:lnTo>
                <a:lnTo>
                  <a:pt x="42" y="460"/>
                </a:lnTo>
                <a:lnTo>
                  <a:pt x="38" y="464"/>
                </a:lnTo>
                <a:lnTo>
                  <a:pt x="38" y="464"/>
                </a:lnTo>
                <a:lnTo>
                  <a:pt x="38" y="468"/>
                </a:lnTo>
                <a:lnTo>
                  <a:pt x="40" y="472"/>
                </a:lnTo>
                <a:lnTo>
                  <a:pt x="40" y="472"/>
                </a:lnTo>
                <a:lnTo>
                  <a:pt x="40" y="476"/>
                </a:lnTo>
                <a:lnTo>
                  <a:pt x="36" y="488"/>
                </a:lnTo>
                <a:lnTo>
                  <a:pt x="22" y="522"/>
                </a:lnTo>
                <a:lnTo>
                  <a:pt x="0" y="574"/>
                </a:lnTo>
                <a:lnTo>
                  <a:pt x="0" y="574"/>
                </a:lnTo>
                <a:lnTo>
                  <a:pt x="0" y="578"/>
                </a:lnTo>
                <a:lnTo>
                  <a:pt x="0" y="584"/>
                </a:lnTo>
                <a:lnTo>
                  <a:pt x="4" y="594"/>
                </a:lnTo>
                <a:lnTo>
                  <a:pt x="4" y="594"/>
                </a:lnTo>
                <a:lnTo>
                  <a:pt x="6" y="598"/>
                </a:lnTo>
                <a:lnTo>
                  <a:pt x="10" y="602"/>
                </a:lnTo>
                <a:lnTo>
                  <a:pt x="10" y="602"/>
                </a:lnTo>
                <a:lnTo>
                  <a:pt x="16" y="606"/>
                </a:lnTo>
                <a:lnTo>
                  <a:pt x="16" y="610"/>
                </a:lnTo>
                <a:lnTo>
                  <a:pt x="16" y="614"/>
                </a:lnTo>
                <a:lnTo>
                  <a:pt x="16" y="614"/>
                </a:lnTo>
                <a:lnTo>
                  <a:pt x="10" y="618"/>
                </a:lnTo>
                <a:lnTo>
                  <a:pt x="10" y="618"/>
                </a:lnTo>
                <a:lnTo>
                  <a:pt x="6" y="622"/>
                </a:lnTo>
                <a:lnTo>
                  <a:pt x="6" y="624"/>
                </a:lnTo>
                <a:lnTo>
                  <a:pt x="10" y="626"/>
                </a:lnTo>
                <a:lnTo>
                  <a:pt x="10" y="626"/>
                </a:lnTo>
                <a:lnTo>
                  <a:pt x="14" y="628"/>
                </a:lnTo>
                <a:lnTo>
                  <a:pt x="14" y="628"/>
                </a:lnTo>
                <a:lnTo>
                  <a:pt x="12" y="658"/>
                </a:lnTo>
                <a:lnTo>
                  <a:pt x="10" y="718"/>
                </a:lnTo>
                <a:lnTo>
                  <a:pt x="10" y="778"/>
                </a:lnTo>
                <a:lnTo>
                  <a:pt x="8" y="806"/>
                </a:lnTo>
                <a:lnTo>
                  <a:pt x="8" y="806"/>
                </a:lnTo>
                <a:lnTo>
                  <a:pt x="20" y="808"/>
                </a:lnTo>
                <a:lnTo>
                  <a:pt x="28" y="814"/>
                </a:lnTo>
                <a:lnTo>
                  <a:pt x="28" y="814"/>
                </a:lnTo>
                <a:lnTo>
                  <a:pt x="34" y="818"/>
                </a:lnTo>
                <a:lnTo>
                  <a:pt x="42" y="816"/>
                </a:lnTo>
                <a:lnTo>
                  <a:pt x="42" y="816"/>
                </a:lnTo>
                <a:lnTo>
                  <a:pt x="52" y="816"/>
                </a:lnTo>
                <a:lnTo>
                  <a:pt x="52" y="816"/>
                </a:lnTo>
                <a:lnTo>
                  <a:pt x="52" y="818"/>
                </a:lnTo>
                <a:lnTo>
                  <a:pt x="52" y="818"/>
                </a:lnTo>
                <a:lnTo>
                  <a:pt x="40" y="820"/>
                </a:lnTo>
                <a:lnTo>
                  <a:pt x="40" y="820"/>
                </a:lnTo>
                <a:lnTo>
                  <a:pt x="34" y="822"/>
                </a:lnTo>
                <a:lnTo>
                  <a:pt x="32" y="828"/>
                </a:lnTo>
                <a:lnTo>
                  <a:pt x="32" y="828"/>
                </a:lnTo>
                <a:lnTo>
                  <a:pt x="32" y="834"/>
                </a:lnTo>
                <a:lnTo>
                  <a:pt x="32" y="834"/>
                </a:lnTo>
                <a:lnTo>
                  <a:pt x="6" y="838"/>
                </a:lnTo>
                <a:lnTo>
                  <a:pt x="6" y="838"/>
                </a:lnTo>
                <a:lnTo>
                  <a:pt x="20" y="842"/>
                </a:lnTo>
                <a:lnTo>
                  <a:pt x="20" y="842"/>
                </a:lnTo>
                <a:lnTo>
                  <a:pt x="10" y="846"/>
                </a:lnTo>
                <a:lnTo>
                  <a:pt x="10" y="846"/>
                </a:lnTo>
                <a:lnTo>
                  <a:pt x="34" y="856"/>
                </a:lnTo>
                <a:lnTo>
                  <a:pt x="34" y="856"/>
                </a:lnTo>
                <a:lnTo>
                  <a:pt x="20" y="858"/>
                </a:lnTo>
                <a:lnTo>
                  <a:pt x="20" y="858"/>
                </a:lnTo>
                <a:lnTo>
                  <a:pt x="22" y="862"/>
                </a:lnTo>
                <a:lnTo>
                  <a:pt x="26" y="862"/>
                </a:lnTo>
                <a:lnTo>
                  <a:pt x="32" y="862"/>
                </a:lnTo>
                <a:lnTo>
                  <a:pt x="32" y="862"/>
                </a:lnTo>
                <a:lnTo>
                  <a:pt x="48" y="862"/>
                </a:lnTo>
                <a:lnTo>
                  <a:pt x="48" y="862"/>
                </a:lnTo>
                <a:lnTo>
                  <a:pt x="44" y="868"/>
                </a:lnTo>
                <a:lnTo>
                  <a:pt x="44" y="868"/>
                </a:lnTo>
                <a:lnTo>
                  <a:pt x="38" y="868"/>
                </a:lnTo>
                <a:lnTo>
                  <a:pt x="38" y="868"/>
                </a:lnTo>
                <a:lnTo>
                  <a:pt x="32" y="868"/>
                </a:lnTo>
                <a:lnTo>
                  <a:pt x="28" y="870"/>
                </a:lnTo>
                <a:lnTo>
                  <a:pt x="26" y="872"/>
                </a:lnTo>
                <a:lnTo>
                  <a:pt x="26" y="872"/>
                </a:lnTo>
                <a:lnTo>
                  <a:pt x="26" y="874"/>
                </a:lnTo>
                <a:lnTo>
                  <a:pt x="28" y="876"/>
                </a:lnTo>
                <a:lnTo>
                  <a:pt x="34" y="878"/>
                </a:lnTo>
                <a:lnTo>
                  <a:pt x="34" y="878"/>
                </a:lnTo>
                <a:lnTo>
                  <a:pt x="52" y="880"/>
                </a:lnTo>
                <a:lnTo>
                  <a:pt x="52" y="880"/>
                </a:lnTo>
                <a:lnTo>
                  <a:pt x="50" y="882"/>
                </a:lnTo>
                <a:lnTo>
                  <a:pt x="50" y="882"/>
                </a:lnTo>
                <a:lnTo>
                  <a:pt x="46" y="882"/>
                </a:lnTo>
                <a:lnTo>
                  <a:pt x="46" y="882"/>
                </a:lnTo>
                <a:lnTo>
                  <a:pt x="56" y="884"/>
                </a:lnTo>
                <a:lnTo>
                  <a:pt x="60" y="888"/>
                </a:lnTo>
                <a:lnTo>
                  <a:pt x="60" y="888"/>
                </a:lnTo>
                <a:lnTo>
                  <a:pt x="44" y="896"/>
                </a:lnTo>
                <a:lnTo>
                  <a:pt x="44" y="896"/>
                </a:lnTo>
                <a:lnTo>
                  <a:pt x="58" y="894"/>
                </a:lnTo>
                <a:lnTo>
                  <a:pt x="64" y="896"/>
                </a:lnTo>
                <a:lnTo>
                  <a:pt x="70" y="898"/>
                </a:lnTo>
                <a:lnTo>
                  <a:pt x="70" y="898"/>
                </a:lnTo>
                <a:lnTo>
                  <a:pt x="64" y="900"/>
                </a:lnTo>
                <a:lnTo>
                  <a:pt x="64" y="900"/>
                </a:lnTo>
                <a:lnTo>
                  <a:pt x="64" y="904"/>
                </a:lnTo>
                <a:lnTo>
                  <a:pt x="62" y="906"/>
                </a:lnTo>
                <a:lnTo>
                  <a:pt x="58" y="908"/>
                </a:lnTo>
                <a:lnTo>
                  <a:pt x="58" y="908"/>
                </a:lnTo>
                <a:lnTo>
                  <a:pt x="54" y="914"/>
                </a:lnTo>
                <a:lnTo>
                  <a:pt x="52" y="916"/>
                </a:lnTo>
                <a:lnTo>
                  <a:pt x="52" y="918"/>
                </a:lnTo>
                <a:lnTo>
                  <a:pt x="52" y="918"/>
                </a:lnTo>
                <a:lnTo>
                  <a:pt x="76" y="922"/>
                </a:lnTo>
                <a:lnTo>
                  <a:pt x="76" y="922"/>
                </a:lnTo>
                <a:lnTo>
                  <a:pt x="78" y="932"/>
                </a:lnTo>
                <a:lnTo>
                  <a:pt x="78" y="932"/>
                </a:lnTo>
                <a:lnTo>
                  <a:pt x="100" y="936"/>
                </a:lnTo>
                <a:lnTo>
                  <a:pt x="100" y="936"/>
                </a:lnTo>
                <a:lnTo>
                  <a:pt x="92" y="940"/>
                </a:lnTo>
                <a:lnTo>
                  <a:pt x="92" y="940"/>
                </a:lnTo>
                <a:lnTo>
                  <a:pt x="96" y="948"/>
                </a:lnTo>
                <a:lnTo>
                  <a:pt x="96" y="948"/>
                </a:lnTo>
                <a:lnTo>
                  <a:pt x="86" y="946"/>
                </a:lnTo>
                <a:lnTo>
                  <a:pt x="86" y="946"/>
                </a:lnTo>
                <a:lnTo>
                  <a:pt x="84" y="948"/>
                </a:lnTo>
                <a:lnTo>
                  <a:pt x="84" y="948"/>
                </a:lnTo>
                <a:lnTo>
                  <a:pt x="94" y="956"/>
                </a:lnTo>
                <a:lnTo>
                  <a:pt x="100" y="960"/>
                </a:lnTo>
                <a:lnTo>
                  <a:pt x="108" y="962"/>
                </a:lnTo>
                <a:lnTo>
                  <a:pt x="108" y="962"/>
                </a:lnTo>
                <a:lnTo>
                  <a:pt x="112" y="964"/>
                </a:lnTo>
                <a:lnTo>
                  <a:pt x="116" y="968"/>
                </a:lnTo>
                <a:lnTo>
                  <a:pt x="116" y="968"/>
                </a:lnTo>
                <a:lnTo>
                  <a:pt x="120" y="972"/>
                </a:lnTo>
                <a:lnTo>
                  <a:pt x="124" y="974"/>
                </a:lnTo>
                <a:lnTo>
                  <a:pt x="130" y="974"/>
                </a:lnTo>
                <a:lnTo>
                  <a:pt x="130" y="974"/>
                </a:lnTo>
                <a:lnTo>
                  <a:pt x="136" y="976"/>
                </a:lnTo>
                <a:lnTo>
                  <a:pt x="142" y="978"/>
                </a:lnTo>
                <a:lnTo>
                  <a:pt x="142" y="978"/>
                </a:lnTo>
                <a:lnTo>
                  <a:pt x="148" y="980"/>
                </a:lnTo>
                <a:lnTo>
                  <a:pt x="156" y="982"/>
                </a:lnTo>
                <a:lnTo>
                  <a:pt x="170" y="980"/>
                </a:lnTo>
                <a:lnTo>
                  <a:pt x="170" y="980"/>
                </a:lnTo>
                <a:lnTo>
                  <a:pt x="182" y="978"/>
                </a:lnTo>
                <a:lnTo>
                  <a:pt x="188" y="980"/>
                </a:lnTo>
                <a:lnTo>
                  <a:pt x="196" y="982"/>
                </a:lnTo>
                <a:lnTo>
                  <a:pt x="196" y="982"/>
                </a:lnTo>
                <a:lnTo>
                  <a:pt x="192" y="990"/>
                </a:lnTo>
                <a:lnTo>
                  <a:pt x="192" y="990"/>
                </a:lnTo>
                <a:lnTo>
                  <a:pt x="204" y="994"/>
                </a:lnTo>
                <a:lnTo>
                  <a:pt x="204" y="994"/>
                </a:lnTo>
                <a:lnTo>
                  <a:pt x="228" y="986"/>
                </a:lnTo>
                <a:lnTo>
                  <a:pt x="228" y="986"/>
                </a:lnTo>
                <a:lnTo>
                  <a:pt x="222" y="982"/>
                </a:lnTo>
                <a:lnTo>
                  <a:pt x="222" y="982"/>
                </a:lnTo>
                <a:lnTo>
                  <a:pt x="236" y="980"/>
                </a:lnTo>
                <a:lnTo>
                  <a:pt x="236" y="980"/>
                </a:lnTo>
                <a:lnTo>
                  <a:pt x="236" y="978"/>
                </a:lnTo>
                <a:lnTo>
                  <a:pt x="236" y="978"/>
                </a:lnTo>
                <a:lnTo>
                  <a:pt x="222" y="974"/>
                </a:lnTo>
                <a:lnTo>
                  <a:pt x="222" y="974"/>
                </a:lnTo>
                <a:lnTo>
                  <a:pt x="236" y="968"/>
                </a:lnTo>
                <a:lnTo>
                  <a:pt x="236" y="968"/>
                </a:lnTo>
                <a:lnTo>
                  <a:pt x="236" y="964"/>
                </a:lnTo>
                <a:lnTo>
                  <a:pt x="240" y="960"/>
                </a:lnTo>
                <a:lnTo>
                  <a:pt x="240" y="960"/>
                </a:lnTo>
                <a:lnTo>
                  <a:pt x="236" y="956"/>
                </a:lnTo>
                <a:lnTo>
                  <a:pt x="236" y="956"/>
                </a:lnTo>
                <a:lnTo>
                  <a:pt x="256" y="956"/>
                </a:lnTo>
                <a:lnTo>
                  <a:pt x="266" y="956"/>
                </a:lnTo>
                <a:lnTo>
                  <a:pt x="274" y="952"/>
                </a:lnTo>
                <a:lnTo>
                  <a:pt x="274" y="952"/>
                </a:lnTo>
                <a:lnTo>
                  <a:pt x="278" y="952"/>
                </a:lnTo>
                <a:lnTo>
                  <a:pt x="282" y="956"/>
                </a:lnTo>
                <a:lnTo>
                  <a:pt x="282" y="956"/>
                </a:lnTo>
                <a:lnTo>
                  <a:pt x="286" y="956"/>
                </a:lnTo>
                <a:lnTo>
                  <a:pt x="286" y="956"/>
                </a:lnTo>
                <a:lnTo>
                  <a:pt x="288" y="950"/>
                </a:lnTo>
                <a:lnTo>
                  <a:pt x="288" y="950"/>
                </a:lnTo>
                <a:lnTo>
                  <a:pt x="308" y="956"/>
                </a:lnTo>
                <a:lnTo>
                  <a:pt x="308" y="956"/>
                </a:lnTo>
                <a:lnTo>
                  <a:pt x="306" y="958"/>
                </a:lnTo>
                <a:lnTo>
                  <a:pt x="306" y="958"/>
                </a:lnTo>
                <a:lnTo>
                  <a:pt x="302" y="962"/>
                </a:lnTo>
                <a:lnTo>
                  <a:pt x="300" y="966"/>
                </a:lnTo>
                <a:lnTo>
                  <a:pt x="300" y="968"/>
                </a:lnTo>
                <a:lnTo>
                  <a:pt x="300" y="972"/>
                </a:lnTo>
                <a:lnTo>
                  <a:pt x="300" y="972"/>
                </a:lnTo>
                <a:lnTo>
                  <a:pt x="322" y="978"/>
                </a:lnTo>
                <a:lnTo>
                  <a:pt x="322" y="978"/>
                </a:lnTo>
                <a:lnTo>
                  <a:pt x="332" y="978"/>
                </a:lnTo>
                <a:lnTo>
                  <a:pt x="338" y="976"/>
                </a:lnTo>
                <a:lnTo>
                  <a:pt x="342" y="974"/>
                </a:lnTo>
                <a:lnTo>
                  <a:pt x="342" y="974"/>
                </a:lnTo>
                <a:lnTo>
                  <a:pt x="346" y="972"/>
                </a:lnTo>
                <a:lnTo>
                  <a:pt x="350" y="974"/>
                </a:lnTo>
                <a:lnTo>
                  <a:pt x="350" y="974"/>
                </a:lnTo>
                <a:lnTo>
                  <a:pt x="360" y="980"/>
                </a:lnTo>
                <a:lnTo>
                  <a:pt x="360" y="980"/>
                </a:lnTo>
                <a:lnTo>
                  <a:pt x="350" y="984"/>
                </a:lnTo>
                <a:lnTo>
                  <a:pt x="350" y="984"/>
                </a:lnTo>
                <a:lnTo>
                  <a:pt x="346" y="980"/>
                </a:lnTo>
                <a:lnTo>
                  <a:pt x="346" y="980"/>
                </a:lnTo>
                <a:lnTo>
                  <a:pt x="342" y="980"/>
                </a:lnTo>
                <a:lnTo>
                  <a:pt x="340" y="982"/>
                </a:lnTo>
                <a:lnTo>
                  <a:pt x="340" y="982"/>
                </a:lnTo>
                <a:lnTo>
                  <a:pt x="334" y="990"/>
                </a:lnTo>
                <a:lnTo>
                  <a:pt x="334" y="990"/>
                </a:lnTo>
                <a:lnTo>
                  <a:pt x="336" y="992"/>
                </a:lnTo>
                <a:lnTo>
                  <a:pt x="338" y="994"/>
                </a:lnTo>
                <a:lnTo>
                  <a:pt x="338" y="994"/>
                </a:lnTo>
                <a:lnTo>
                  <a:pt x="356" y="1002"/>
                </a:lnTo>
                <a:lnTo>
                  <a:pt x="356" y="1002"/>
                </a:lnTo>
                <a:lnTo>
                  <a:pt x="356" y="1006"/>
                </a:lnTo>
                <a:lnTo>
                  <a:pt x="358" y="1010"/>
                </a:lnTo>
                <a:lnTo>
                  <a:pt x="362" y="1010"/>
                </a:lnTo>
                <a:lnTo>
                  <a:pt x="370" y="1012"/>
                </a:lnTo>
                <a:lnTo>
                  <a:pt x="370" y="1012"/>
                </a:lnTo>
                <a:lnTo>
                  <a:pt x="376" y="1012"/>
                </a:lnTo>
                <a:lnTo>
                  <a:pt x="376" y="1012"/>
                </a:lnTo>
                <a:lnTo>
                  <a:pt x="382" y="1014"/>
                </a:lnTo>
                <a:lnTo>
                  <a:pt x="382" y="1014"/>
                </a:lnTo>
                <a:lnTo>
                  <a:pt x="382" y="1018"/>
                </a:lnTo>
                <a:lnTo>
                  <a:pt x="382" y="1018"/>
                </a:lnTo>
                <a:lnTo>
                  <a:pt x="370" y="1020"/>
                </a:lnTo>
                <a:lnTo>
                  <a:pt x="370" y="1020"/>
                </a:lnTo>
                <a:lnTo>
                  <a:pt x="384" y="1022"/>
                </a:lnTo>
                <a:lnTo>
                  <a:pt x="390" y="1024"/>
                </a:lnTo>
                <a:lnTo>
                  <a:pt x="392" y="1028"/>
                </a:lnTo>
                <a:lnTo>
                  <a:pt x="392" y="1028"/>
                </a:lnTo>
                <a:lnTo>
                  <a:pt x="402" y="1026"/>
                </a:lnTo>
                <a:lnTo>
                  <a:pt x="406" y="1028"/>
                </a:lnTo>
                <a:lnTo>
                  <a:pt x="408" y="1030"/>
                </a:lnTo>
                <a:lnTo>
                  <a:pt x="408" y="1030"/>
                </a:lnTo>
                <a:lnTo>
                  <a:pt x="404" y="1034"/>
                </a:lnTo>
                <a:lnTo>
                  <a:pt x="400" y="1038"/>
                </a:lnTo>
                <a:lnTo>
                  <a:pt x="400" y="1038"/>
                </a:lnTo>
                <a:lnTo>
                  <a:pt x="412" y="1040"/>
                </a:lnTo>
                <a:lnTo>
                  <a:pt x="412" y="1040"/>
                </a:lnTo>
                <a:lnTo>
                  <a:pt x="420" y="1040"/>
                </a:lnTo>
                <a:lnTo>
                  <a:pt x="420" y="1040"/>
                </a:lnTo>
                <a:lnTo>
                  <a:pt x="424" y="1040"/>
                </a:lnTo>
                <a:lnTo>
                  <a:pt x="426" y="1036"/>
                </a:lnTo>
                <a:lnTo>
                  <a:pt x="432" y="1022"/>
                </a:lnTo>
                <a:lnTo>
                  <a:pt x="440" y="984"/>
                </a:lnTo>
                <a:lnTo>
                  <a:pt x="440" y="984"/>
                </a:lnTo>
                <a:lnTo>
                  <a:pt x="448" y="980"/>
                </a:lnTo>
                <a:lnTo>
                  <a:pt x="448" y="980"/>
                </a:lnTo>
                <a:lnTo>
                  <a:pt x="456" y="980"/>
                </a:lnTo>
                <a:lnTo>
                  <a:pt x="462" y="980"/>
                </a:lnTo>
                <a:lnTo>
                  <a:pt x="478" y="982"/>
                </a:lnTo>
                <a:lnTo>
                  <a:pt x="478" y="982"/>
                </a:lnTo>
                <a:lnTo>
                  <a:pt x="480" y="984"/>
                </a:lnTo>
                <a:lnTo>
                  <a:pt x="482" y="986"/>
                </a:lnTo>
                <a:lnTo>
                  <a:pt x="480" y="990"/>
                </a:lnTo>
                <a:lnTo>
                  <a:pt x="480" y="990"/>
                </a:lnTo>
                <a:lnTo>
                  <a:pt x="474" y="992"/>
                </a:lnTo>
                <a:lnTo>
                  <a:pt x="474" y="992"/>
                </a:lnTo>
                <a:lnTo>
                  <a:pt x="482" y="998"/>
                </a:lnTo>
                <a:lnTo>
                  <a:pt x="482" y="998"/>
                </a:lnTo>
                <a:lnTo>
                  <a:pt x="494" y="990"/>
                </a:lnTo>
                <a:lnTo>
                  <a:pt x="502" y="988"/>
                </a:lnTo>
                <a:lnTo>
                  <a:pt x="512" y="986"/>
                </a:lnTo>
                <a:lnTo>
                  <a:pt x="524" y="984"/>
                </a:lnTo>
                <a:lnTo>
                  <a:pt x="524" y="984"/>
                </a:lnTo>
                <a:lnTo>
                  <a:pt x="524" y="990"/>
                </a:lnTo>
                <a:lnTo>
                  <a:pt x="518" y="992"/>
                </a:lnTo>
                <a:lnTo>
                  <a:pt x="518" y="992"/>
                </a:lnTo>
                <a:lnTo>
                  <a:pt x="502" y="994"/>
                </a:lnTo>
                <a:lnTo>
                  <a:pt x="502" y="994"/>
                </a:lnTo>
                <a:lnTo>
                  <a:pt x="514" y="1004"/>
                </a:lnTo>
                <a:lnTo>
                  <a:pt x="514" y="1004"/>
                </a:lnTo>
                <a:lnTo>
                  <a:pt x="506" y="1010"/>
                </a:lnTo>
                <a:lnTo>
                  <a:pt x="506" y="1010"/>
                </a:lnTo>
                <a:lnTo>
                  <a:pt x="516" y="1014"/>
                </a:lnTo>
                <a:lnTo>
                  <a:pt x="516" y="1014"/>
                </a:lnTo>
                <a:lnTo>
                  <a:pt x="522" y="1014"/>
                </a:lnTo>
                <a:lnTo>
                  <a:pt x="526" y="1016"/>
                </a:lnTo>
                <a:lnTo>
                  <a:pt x="528" y="1018"/>
                </a:lnTo>
                <a:lnTo>
                  <a:pt x="528" y="1018"/>
                </a:lnTo>
                <a:lnTo>
                  <a:pt x="518" y="1022"/>
                </a:lnTo>
                <a:lnTo>
                  <a:pt x="518" y="1022"/>
                </a:lnTo>
                <a:lnTo>
                  <a:pt x="512" y="1024"/>
                </a:lnTo>
                <a:lnTo>
                  <a:pt x="508" y="1024"/>
                </a:lnTo>
                <a:lnTo>
                  <a:pt x="504" y="1024"/>
                </a:lnTo>
                <a:lnTo>
                  <a:pt x="496" y="1022"/>
                </a:lnTo>
                <a:lnTo>
                  <a:pt x="496" y="1022"/>
                </a:lnTo>
                <a:lnTo>
                  <a:pt x="484" y="1026"/>
                </a:lnTo>
                <a:lnTo>
                  <a:pt x="484" y="1026"/>
                </a:lnTo>
                <a:lnTo>
                  <a:pt x="480" y="1024"/>
                </a:lnTo>
                <a:lnTo>
                  <a:pt x="476" y="1024"/>
                </a:lnTo>
                <a:lnTo>
                  <a:pt x="470" y="1024"/>
                </a:lnTo>
                <a:lnTo>
                  <a:pt x="466" y="1026"/>
                </a:lnTo>
                <a:lnTo>
                  <a:pt x="466" y="1026"/>
                </a:lnTo>
                <a:lnTo>
                  <a:pt x="456" y="1022"/>
                </a:lnTo>
                <a:lnTo>
                  <a:pt x="452" y="1024"/>
                </a:lnTo>
                <a:lnTo>
                  <a:pt x="450" y="1026"/>
                </a:lnTo>
                <a:lnTo>
                  <a:pt x="450" y="1026"/>
                </a:lnTo>
                <a:lnTo>
                  <a:pt x="454" y="1030"/>
                </a:lnTo>
                <a:lnTo>
                  <a:pt x="454" y="1030"/>
                </a:lnTo>
                <a:lnTo>
                  <a:pt x="452" y="1034"/>
                </a:lnTo>
                <a:lnTo>
                  <a:pt x="452" y="1034"/>
                </a:lnTo>
                <a:lnTo>
                  <a:pt x="464" y="1036"/>
                </a:lnTo>
                <a:lnTo>
                  <a:pt x="470" y="1038"/>
                </a:lnTo>
                <a:lnTo>
                  <a:pt x="470" y="1038"/>
                </a:lnTo>
                <a:lnTo>
                  <a:pt x="466" y="1040"/>
                </a:lnTo>
                <a:lnTo>
                  <a:pt x="460" y="1042"/>
                </a:lnTo>
                <a:lnTo>
                  <a:pt x="454" y="1044"/>
                </a:lnTo>
                <a:lnTo>
                  <a:pt x="450" y="1048"/>
                </a:lnTo>
                <a:lnTo>
                  <a:pt x="450" y="1048"/>
                </a:lnTo>
                <a:lnTo>
                  <a:pt x="458" y="1046"/>
                </a:lnTo>
                <a:lnTo>
                  <a:pt x="464" y="1044"/>
                </a:lnTo>
                <a:lnTo>
                  <a:pt x="464" y="1044"/>
                </a:lnTo>
                <a:lnTo>
                  <a:pt x="472" y="1046"/>
                </a:lnTo>
                <a:lnTo>
                  <a:pt x="480" y="1046"/>
                </a:lnTo>
                <a:lnTo>
                  <a:pt x="492" y="1040"/>
                </a:lnTo>
                <a:lnTo>
                  <a:pt x="492" y="1040"/>
                </a:lnTo>
                <a:lnTo>
                  <a:pt x="490" y="1036"/>
                </a:lnTo>
                <a:lnTo>
                  <a:pt x="492" y="1032"/>
                </a:lnTo>
                <a:lnTo>
                  <a:pt x="492" y="1032"/>
                </a:lnTo>
                <a:lnTo>
                  <a:pt x="496" y="1034"/>
                </a:lnTo>
                <a:lnTo>
                  <a:pt x="498" y="1036"/>
                </a:lnTo>
                <a:lnTo>
                  <a:pt x="498" y="1036"/>
                </a:lnTo>
                <a:lnTo>
                  <a:pt x="504" y="1038"/>
                </a:lnTo>
                <a:lnTo>
                  <a:pt x="510" y="1038"/>
                </a:lnTo>
                <a:lnTo>
                  <a:pt x="510" y="1038"/>
                </a:lnTo>
                <a:lnTo>
                  <a:pt x="510" y="1042"/>
                </a:lnTo>
                <a:lnTo>
                  <a:pt x="510" y="1042"/>
                </a:lnTo>
                <a:lnTo>
                  <a:pt x="516" y="1040"/>
                </a:lnTo>
                <a:lnTo>
                  <a:pt x="520" y="1038"/>
                </a:lnTo>
                <a:lnTo>
                  <a:pt x="520" y="1038"/>
                </a:lnTo>
                <a:lnTo>
                  <a:pt x="522" y="1034"/>
                </a:lnTo>
                <a:lnTo>
                  <a:pt x="526" y="1032"/>
                </a:lnTo>
                <a:lnTo>
                  <a:pt x="534" y="1032"/>
                </a:lnTo>
                <a:lnTo>
                  <a:pt x="534" y="1032"/>
                </a:lnTo>
                <a:lnTo>
                  <a:pt x="544" y="1032"/>
                </a:lnTo>
                <a:lnTo>
                  <a:pt x="544" y="1032"/>
                </a:lnTo>
                <a:lnTo>
                  <a:pt x="542" y="1028"/>
                </a:lnTo>
                <a:lnTo>
                  <a:pt x="540" y="1026"/>
                </a:lnTo>
                <a:lnTo>
                  <a:pt x="530" y="1024"/>
                </a:lnTo>
                <a:lnTo>
                  <a:pt x="530" y="1024"/>
                </a:lnTo>
                <a:lnTo>
                  <a:pt x="542" y="1016"/>
                </a:lnTo>
                <a:lnTo>
                  <a:pt x="542" y="1016"/>
                </a:lnTo>
                <a:lnTo>
                  <a:pt x="554" y="1026"/>
                </a:lnTo>
                <a:lnTo>
                  <a:pt x="554" y="1026"/>
                </a:lnTo>
                <a:lnTo>
                  <a:pt x="558" y="1016"/>
                </a:lnTo>
                <a:lnTo>
                  <a:pt x="558" y="1016"/>
                </a:lnTo>
                <a:lnTo>
                  <a:pt x="568" y="1020"/>
                </a:lnTo>
                <a:lnTo>
                  <a:pt x="568" y="1020"/>
                </a:lnTo>
                <a:lnTo>
                  <a:pt x="574" y="1024"/>
                </a:lnTo>
                <a:lnTo>
                  <a:pt x="580" y="1024"/>
                </a:lnTo>
                <a:lnTo>
                  <a:pt x="586" y="1022"/>
                </a:lnTo>
                <a:lnTo>
                  <a:pt x="594" y="1020"/>
                </a:lnTo>
                <a:lnTo>
                  <a:pt x="594" y="1020"/>
                </a:lnTo>
                <a:lnTo>
                  <a:pt x="592" y="1018"/>
                </a:lnTo>
                <a:lnTo>
                  <a:pt x="592" y="1018"/>
                </a:lnTo>
                <a:lnTo>
                  <a:pt x="588" y="1014"/>
                </a:lnTo>
                <a:lnTo>
                  <a:pt x="588" y="1014"/>
                </a:lnTo>
                <a:lnTo>
                  <a:pt x="600" y="1010"/>
                </a:lnTo>
                <a:lnTo>
                  <a:pt x="612" y="1010"/>
                </a:lnTo>
                <a:lnTo>
                  <a:pt x="624" y="1012"/>
                </a:lnTo>
                <a:lnTo>
                  <a:pt x="636" y="1010"/>
                </a:lnTo>
                <a:lnTo>
                  <a:pt x="636" y="1010"/>
                </a:lnTo>
                <a:lnTo>
                  <a:pt x="638" y="1008"/>
                </a:lnTo>
                <a:lnTo>
                  <a:pt x="644" y="1006"/>
                </a:lnTo>
                <a:lnTo>
                  <a:pt x="656" y="1004"/>
                </a:lnTo>
                <a:lnTo>
                  <a:pt x="656" y="1004"/>
                </a:lnTo>
                <a:lnTo>
                  <a:pt x="682" y="1006"/>
                </a:lnTo>
                <a:lnTo>
                  <a:pt x="682" y="1006"/>
                </a:lnTo>
                <a:lnTo>
                  <a:pt x="682" y="1010"/>
                </a:lnTo>
                <a:lnTo>
                  <a:pt x="684" y="1010"/>
                </a:lnTo>
                <a:lnTo>
                  <a:pt x="686" y="1012"/>
                </a:lnTo>
                <a:lnTo>
                  <a:pt x="690" y="1014"/>
                </a:lnTo>
                <a:lnTo>
                  <a:pt x="690" y="1014"/>
                </a:lnTo>
                <a:lnTo>
                  <a:pt x="682" y="1018"/>
                </a:lnTo>
                <a:lnTo>
                  <a:pt x="682" y="1018"/>
                </a:lnTo>
                <a:lnTo>
                  <a:pt x="676" y="1020"/>
                </a:lnTo>
                <a:lnTo>
                  <a:pt x="670" y="1020"/>
                </a:lnTo>
                <a:lnTo>
                  <a:pt x="670" y="1020"/>
                </a:lnTo>
                <a:lnTo>
                  <a:pt x="666" y="1018"/>
                </a:lnTo>
                <a:lnTo>
                  <a:pt x="660" y="1018"/>
                </a:lnTo>
                <a:lnTo>
                  <a:pt x="650" y="1018"/>
                </a:lnTo>
                <a:lnTo>
                  <a:pt x="650" y="1018"/>
                </a:lnTo>
                <a:lnTo>
                  <a:pt x="636" y="1022"/>
                </a:lnTo>
                <a:lnTo>
                  <a:pt x="636" y="1022"/>
                </a:lnTo>
                <a:lnTo>
                  <a:pt x="644" y="1024"/>
                </a:lnTo>
                <a:lnTo>
                  <a:pt x="650" y="1024"/>
                </a:lnTo>
                <a:lnTo>
                  <a:pt x="662" y="1022"/>
                </a:lnTo>
                <a:lnTo>
                  <a:pt x="662" y="1022"/>
                </a:lnTo>
                <a:lnTo>
                  <a:pt x="674" y="1022"/>
                </a:lnTo>
                <a:lnTo>
                  <a:pt x="674" y="1022"/>
                </a:lnTo>
                <a:lnTo>
                  <a:pt x="682" y="1026"/>
                </a:lnTo>
                <a:lnTo>
                  <a:pt x="690" y="1028"/>
                </a:lnTo>
                <a:lnTo>
                  <a:pt x="690" y="1028"/>
                </a:lnTo>
                <a:lnTo>
                  <a:pt x="696" y="1028"/>
                </a:lnTo>
                <a:lnTo>
                  <a:pt x="698" y="1030"/>
                </a:lnTo>
                <a:lnTo>
                  <a:pt x="704" y="1030"/>
                </a:lnTo>
                <a:lnTo>
                  <a:pt x="708" y="1030"/>
                </a:lnTo>
                <a:lnTo>
                  <a:pt x="708" y="1030"/>
                </a:lnTo>
                <a:lnTo>
                  <a:pt x="700" y="1036"/>
                </a:lnTo>
                <a:lnTo>
                  <a:pt x="690" y="1038"/>
                </a:lnTo>
                <a:lnTo>
                  <a:pt x="690" y="1038"/>
                </a:lnTo>
                <a:lnTo>
                  <a:pt x="686" y="1038"/>
                </a:lnTo>
                <a:lnTo>
                  <a:pt x="682" y="1040"/>
                </a:lnTo>
                <a:lnTo>
                  <a:pt x="680" y="1042"/>
                </a:lnTo>
                <a:lnTo>
                  <a:pt x="680" y="1046"/>
                </a:lnTo>
                <a:lnTo>
                  <a:pt x="680" y="1046"/>
                </a:lnTo>
                <a:lnTo>
                  <a:pt x="694" y="1046"/>
                </a:lnTo>
                <a:lnTo>
                  <a:pt x="694" y="1046"/>
                </a:lnTo>
                <a:lnTo>
                  <a:pt x="652" y="1070"/>
                </a:lnTo>
                <a:lnTo>
                  <a:pt x="652" y="1070"/>
                </a:lnTo>
                <a:lnTo>
                  <a:pt x="658" y="1070"/>
                </a:lnTo>
                <a:lnTo>
                  <a:pt x="668" y="1074"/>
                </a:lnTo>
                <a:lnTo>
                  <a:pt x="668" y="1074"/>
                </a:lnTo>
                <a:lnTo>
                  <a:pt x="712" y="1044"/>
                </a:lnTo>
                <a:lnTo>
                  <a:pt x="712" y="1044"/>
                </a:lnTo>
                <a:lnTo>
                  <a:pt x="708" y="1044"/>
                </a:lnTo>
                <a:lnTo>
                  <a:pt x="704" y="1042"/>
                </a:lnTo>
                <a:lnTo>
                  <a:pt x="704" y="1042"/>
                </a:lnTo>
                <a:lnTo>
                  <a:pt x="702" y="1042"/>
                </a:lnTo>
                <a:lnTo>
                  <a:pt x="702" y="1042"/>
                </a:lnTo>
                <a:lnTo>
                  <a:pt x="704" y="1038"/>
                </a:lnTo>
                <a:lnTo>
                  <a:pt x="708" y="1036"/>
                </a:lnTo>
                <a:lnTo>
                  <a:pt x="708" y="1036"/>
                </a:lnTo>
                <a:lnTo>
                  <a:pt x="714" y="1036"/>
                </a:lnTo>
                <a:lnTo>
                  <a:pt x="718" y="1040"/>
                </a:lnTo>
                <a:lnTo>
                  <a:pt x="718" y="1040"/>
                </a:lnTo>
                <a:lnTo>
                  <a:pt x="722" y="1042"/>
                </a:lnTo>
                <a:lnTo>
                  <a:pt x="726" y="1044"/>
                </a:lnTo>
                <a:lnTo>
                  <a:pt x="732" y="1046"/>
                </a:lnTo>
                <a:lnTo>
                  <a:pt x="738" y="1046"/>
                </a:lnTo>
                <a:lnTo>
                  <a:pt x="738" y="1046"/>
                </a:lnTo>
                <a:lnTo>
                  <a:pt x="740" y="1048"/>
                </a:lnTo>
                <a:lnTo>
                  <a:pt x="740" y="1048"/>
                </a:lnTo>
                <a:lnTo>
                  <a:pt x="740" y="1050"/>
                </a:lnTo>
                <a:lnTo>
                  <a:pt x="740" y="1050"/>
                </a:lnTo>
                <a:lnTo>
                  <a:pt x="750" y="1042"/>
                </a:lnTo>
                <a:lnTo>
                  <a:pt x="754" y="1042"/>
                </a:lnTo>
                <a:lnTo>
                  <a:pt x="756" y="1044"/>
                </a:lnTo>
                <a:lnTo>
                  <a:pt x="756" y="1044"/>
                </a:lnTo>
                <a:lnTo>
                  <a:pt x="768" y="1042"/>
                </a:lnTo>
                <a:lnTo>
                  <a:pt x="768" y="1042"/>
                </a:lnTo>
                <a:lnTo>
                  <a:pt x="766" y="1050"/>
                </a:lnTo>
                <a:lnTo>
                  <a:pt x="766" y="1050"/>
                </a:lnTo>
                <a:lnTo>
                  <a:pt x="780" y="1048"/>
                </a:lnTo>
                <a:lnTo>
                  <a:pt x="784" y="1048"/>
                </a:lnTo>
                <a:lnTo>
                  <a:pt x="786" y="1050"/>
                </a:lnTo>
                <a:lnTo>
                  <a:pt x="786" y="1050"/>
                </a:lnTo>
                <a:lnTo>
                  <a:pt x="782" y="1054"/>
                </a:lnTo>
                <a:lnTo>
                  <a:pt x="782" y="1054"/>
                </a:lnTo>
                <a:lnTo>
                  <a:pt x="782" y="1056"/>
                </a:lnTo>
                <a:lnTo>
                  <a:pt x="782" y="1056"/>
                </a:lnTo>
                <a:lnTo>
                  <a:pt x="778" y="1058"/>
                </a:lnTo>
                <a:lnTo>
                  <a:pt x="778" y="1058"/>
                </a:lnTo>
                <a:lnTo>
                  <a:pt x="786" y="1058"/>
                </a:lnTo>
                <a:lnTo>
                  <a:pt x="786" y="1058"/>
                </a:lnTo>
                <a:lnTo>
                  <a:pt x="790" y="1060"/>
                </a:lnTo>
                <a:lnTo>
                  <a:pt x="796" y="1062"/>
                </a:lnTo>
                <a:lnTo>
                  <a:pt x="796" y="1062"/>
                </a:lnTo>
                <a:lnTo>
                  <a:pt x="810" y="1064"/>
                </a:lnTo>
                <a:lnTo>
                  <a:pt x="810" y="1064"/>
                </a:lnTo>
                <a:lnTo>
                  <a:pt x="808" y="1074"/>
                </a:lnTo>
                <a:lnTo>
                  <a:pt x="808" y="1074"/>
                </a:lnTo>
                <a:lnTo>
                  <a:pt x="814" y="1072"/>
                </a:lnTo>
                <a:lnTo>
                  <a:pt x="814" y="1072"/>
                </a:lnTo>
                <a:lnTo>
                  <a:pt x="812" y="1064"/>
                </a:lnTo>
                <a:lnTo>
                  <a:pt x="812" y="1064"/>
                </a:lnTo>
                <a:lnTo>
                  <a:pt x="816" y="1062"/>
                </a:lnTo>
                <a:lnTo>
                  <a:pt x="820" y="1060"/>
                </a:lnTo>
                <a:lnTo>
                  <a:pt x="820" y="1060"/>
                </a:lnTo>
                <a:lnTo>
                  <a:pt x="822" y="1060"/>
                </a:lnTo>
                <a:lnTo>
                  <a:pt x="822" y="1060"/>
                </a:lnTo>
                <a:lnTo>
                  <a:pt x="814" y="1080"/>
                </a:lnTo>
                <a:lnTo>
                  <a:pt x="814" y="1080"/>
                </a:lnTo>
                <a:lnTo>
                  <a:pt x="814" y="1080"/>
                </a:lnTo>
                <a:lnTo>
                  <a:pt x="814" y="1080"/>
                </a:lnTo>
                <a:lnTo>
                  <a:pt x="814" y="1080"/>
                </a:lnTo>
                <a:lnTo>
                  <a:pt x="814" y="1080"/>
                </a:lnTo>
                <a:lnTo>
                  <a:pt x="812" y="1088"/>
                </a:lnTo>
                <a:lnTo>
                  <a:pt x="812" y="1088"/>
                </a:lnTo>
                <a:lnTo>
                  <a:pt x="808" y="1086"/>
                </a:lnTo>
                <a:lnTo>
                  <a:pt x="806" y="1084"/>
                </a:lnTo>
                <a:lnTo>
                  <a:pt x="802" y="1086"/>
                </a:lnTo>
                <a:lnTo>
                  <a:pt x="802" y="1086"/>
                </a:lnTo>
                <a:lnTo>
                  <a:pt x="796" y="1084"/>
                </a:lnTo>
                <a:lnTo>
                  <a:pt x="796" y="1084"/>
                </a:lnTo>
                <a:lnTo>
                  <a:pt x="788" y="1080"/>
                </a:lnTo>
                <a:lnTo>
                  <a:pt x="786" y="1078"/>
                </a:lnTo>
                <a:lnTo>
                  <a:pt x="784" y="1074"/>
                </a:lnTo>
                <a:lnTo>
                  <a:pt x="784" y="1074"/>
                </a:lnTo>
                <a:lnTo>
                  <a:pt x="802" y="1072"/>
                </a:lnTo>
                <a:lnTo>
                  <a:pt x="802" y="1072"/>
                </a:lnTo>
                <a:lnTo>
                  <a:pt x="800" y="1068"/>
                </a:lnTo>
                <a:lnTo>
                  <a:pt x="798" y="1068"/>
                </a:lnTo>
                <a:lnTo>
                  <a:pt x="794" y="1068"/>
                </a:lnTo>
                <a:lnTo>
                  <a:pt x="794" y="1068"/>
                </a:lnTo>
                <a:lnTo>
                  <a:pt x="784" y="1070"/>
                </a:lnTo>
                <a:lnTo>
                  <a:pt x="776" y="1074"/>
                </a:lnTo>
                <a:lnTo>
                  <a:pt x="776" y="1074"/>
                </a:lnTo>
                <a:lnTo>
                  <a:pt x="770" y="1076"/>
                </a:lnTo>
                <a:lnTo>
                  <a:pt x="766" y="1078"/>
                </a:lnTo>
                <a:lnTo>
                  <a:pt x="764" y="1078"/>
                </a:lnTo>
                <a:lnTo>
                  <a:pt x="758" y="1074"/>
                </a:lnTo>
                <a:lnTo>
                  <a:pt x="758" y="1074"/>
                </a:lnTo>
                <a:lnTo>
                  <a:pt x="750" y="1072"/>
                </a:lnTo>
                <a:lnTo>
                  <a:pt x="750" y="1072"/>
                </a:lnTo>
                <a:lnTo>
                  <a:pt x="746" y="1072"/>
                </a:lnTo>
                <a:lnTo>
                  <a:pt x="746" y="1072"/>
                </a:lnTo>
                <a:lnTo>
                  <a:pt x="746" y="1072"/>
                </a:lnTo>
                <a:lnTo>
                  <a:pt x="746" y="1072"/>
                </a:lnTo>
                <a:lnTo>
                  <a:pt x="742" y="1074"/>
                </a:lnTo>
                <a:lnTo>
                  <a:pt x="740" y="1080"/>
                </a:lnTo>
                <a:lnTo>
                  <a:pt x="740" y="1080"/>
                </a:lnTo>
                <a:lnTo>
                  <a:pt x="734" y="1072"/>
                </a:lnTo>
                <a:lnTo>
                  <a:pt x="734" y="1072"/>
                </a:lnTo>
                <a:lnTo>
                  <a:pt x="728" y="1076"/>
                </a:lnTo>
                <a:lnTo>
                  <a:pt x="728" y="1076"/>
                </a:lnTo>
                <a:lnTo>
                  <a:pt x="732" y="1080"/>
                </a:lnTo>
                <a:lnTo>
                  <a:pt x="732" y="1080"/>
                </a:lnTo>
                <a:lnTo>
                  <a:pt x="712" y="1080"/>
                </a:lnTo>
                <a:lnTo>
                  <a:pt x="712" y="1080"/>
                </a:lnTo>
                <a:lnTo>
                  <a:pt x="718" y="1088"/>
                </a:lnTo>
                <a:lnTo>
                  <a:pt x="718" y="1088"/>
                </a:lnTo>
                <a:lnTo>
                  <a:pt x="708" y="1090"/>
                </a:lnTo>
                <a:lnTo>
                  <a:pt x="708" y="1090"/>
                </a:lnTo>
                <a:lnTo>
                  <a:pt x="706" y="1090"/>
                </a:lnTo>
                <a:lnTo>
                  <a:pt x="706" y="1090"/>
                </a:lnTo>
                <a:lnTo>
                  <a:pt x="708" y="1090"/>
                </a:lnTo>
                <a:lnTo>
                  <a:pt x="708" y="1090"/>
                </a:lnTo>
                <a:lnTo>
                  <a:pt x="700" y="1088"/>
                </a:lnTo>
                <a:lnTo>
                  <a:pt x="700" y="1088"/>
                </a:lnTo>
                <a:lnTo>
                  <a:pt x="702" y="1086"/>
                </a:lnTo>
                <a:lnTo>
                  <a:pt x="704" y="1084"/>
                </a:lnTo>
                <a:lnTo>
                  <a:pt x="702" y="1082"/>
                </a:lnTo>
                <a:lnTo>
                  <a:pt x="700" y="1080"/>
                </a:lnTo>
                <a:lnTo>
                  <a:pt x="700" y="1080"/>
                </a:lnTo>
                <a:lnTo>
                  <a:pt x="684" y="1082"/>
                </a:lnTo>
                <a:lnTo>
                  <a:pt x="684" y="1082"/>
                </a:lnTo>
                <a:lnTo>
                  <a:pt x="678" y="1082"/>
                </a:lnTo>
                <a:lnTo>
                  <a:pt x="672" y="1082"/>
                </a:lnTo>
                <a:lnTo>
                  <a:pt x="672" y="1082"/>
                </a:lnTo>
                <a:lnTo>
                  <a:pt x="662" y="1086"/>
                </a:lnTo>
                <a:lnTo>
                  <a:pt x="654" y="1084"/>
                </a:lnTo>
                <a:lnTo>
                  <a:pt x="654" y="1084"/>
                </a:lnTo>
                <a:lnTo>
                  <a:pt x="648" y="1090"/>
                </a:lnTo>
                <a:lnTo>
                  <a:pt x="648" y="1090"/>
                </a:lnTo>
                <a:lnTo>
                  <a:pt x="656" y="1090"/>
                </a:lnTo>
                <a:lnTo>
                  <a:pt x="662" y="1092"/>
                </a:lnTo>
                <a:lnTo>
                  <a:pt x="662" y="1092"/>
                </a:lnTo>
                <a:lnTo>
                  <a:pt x="664" y="1094"/>
                </a:lnTo>
                <a:lnTo>
                  <a:pt x="668" y="1096"/>
                </a:lnTo>
                <a:lnTo>
                  <a:pt x="676" y="1094"/>
                </a:lnTo>
                <a:lnTo>
                  <a:pt x="676" y="1094"/>
                </a:lnTo>
                <a:lnTo>
                  <a:pt x="670" y="1100"/>
                </a:lnTo>
                <a:lnTo>
                  <a:pt x="670" y="1100"/>
                </a:lnTo>
                <a:lnTo>
                  <a:pt x="666" y="1102"/>
                </a:lnTo>
                <a:lnTo>
                  <a:pt x="662" y="1100"/>
                </a:lnTo>
                <a:lnTo>
                  <a:pt x="662" y="1100"/>
                </a:lnTo>
                <a:lnTo>
                  <a:pt x="654" y="1096"/>
                </a:lnTo>
                <a:lnTo>
                  <a:pt x="648" y="1094"/>
                </a:lnTo>
                <a:lnTo>
                  <a:pt x="648" y="1094"/>
                </a:lnTo>
                <a:lnTo>
                  <a:pt x="644" y="1096"/>
                </a:lnTo>
                <a:lnTo>
                  <a:pt x="640" y="1098"/>
                </a:lnTo>
                <a:lnTo>
                  <a:pt x="640" y="1098"/>
                </a:lnTo>
                <a:lnTo>
                  <a:pt x="634" y="1100"/>
                </a:lnTo>
                <a:lnTo>
                  <a:pt x="634" y="1100"/>
                </a:lnTo>
                <a:lnTo>
                  <a:pt x="630" y="1100"/>
                </a:lnTo>
                <a:lnTo>
                  <a:pt x="626" y="1102"/>
                </a:lnTo>
                <a:lnTo>
                  <a:pt x="626" y="1102"/>
                </a:lnTo>
                <a:lnTo>
                  <a:pt x="622" y="1104"/>
                </a:lnTo>
                <a:lnTo>
                  <a:pt x="618" y="1106"/>
                </a:lnTo>
                <a:lnTo>
                  <a:pt x="608" y="1108"/>
                </a:lnTo>
                <a:lnTo>
                  <a:pt x="608" y="1108"/>
                </a:lnTo>
                <a:lnTo>
                  <a:pt x="602" y="1102"/>
                </a:lnTo>
                <a:lnTo>
                  <a:pt x="602" y="1102"/>
                </a:lnTo>
                <a:lnTo>
                  <a:pt x="598" y="1104"/>
                </a:lnTo>
                <a:lnTo>
                  <a:pt x="598" y="1104"/>
                </a:lnTo>
                <a:lnTo>
                  <a:pt x="600" y="1098"/>
                </a:lnTo>
                <a:lnTo>
                  <a:pt x="600" y="1098"/>
                </a:lnTo>
                <a:lnTo>
                  <a:pt x="590" y="1094"/>
                </a:lnTo>
                <a:lnTo>
                  <a:pt x="590" y="1094"/>
                </a:lnTo>
                <a:lnTo>
                  <a:pt x="582" y="1090"/>
                </a:lnTo>
                <a:lnTo>
                  <a:pt x="572" y="1090"/>
                </a:lnTo>
                <a:lnTo>
                  <a:pt x="572" y="1090"/>
                </a:lnTo>
                <a:lnTo>
                  <a:pt x="558" y="1094"/>
                </a:lnTo>
                <a:lnTo>
                  <a:pt x="558" y="1094"/>
                </a:lnTo>
                <a:lnTo>
                  <a:pt x="562" y="1114"/>
                </a:lnTo>
                <a:lnTo>
                  <a:pt x="568" y="1136"/>
                </a:lnTo>
                <a:lnTo>
                  <a:pt x="568" y="1136"/>
                </a:lnTo>
                <a:lnTo>
                  <a:pt x="584" y="1134"/>
                </a:lnTo>
                <a:lnTo>
                  <a:pt x="584" y="1134"/>
                </a:lnTo>
                <a:lnTo>
                  <a:pt x="588" y="1134"/>
                </a:lnTo>
                <a:lnTo>
                  <a:pt x="588" y="1134"/>
                </a:lnTo>
                <a:lnTo>
                  <a:pt x="596" y="1110"/>
                </a:lnTo>
                <a:lnTo>
                  <a:pt x="596" y="1110"/>
                </a:lnTo>
                <a:lnTo>
                  <a:pt x="598" y="1112"/>
                </a:lnTo>
                <a:lnTo>
                  <a:pt x="598" y="1112"/>
                </a:lnTo>
                <a:lnTo>
                  <a:pt x="604" y="1110"/>
                </a:lnTo>
                <a:lnTo>
                  <a:pt x="604" y="1110"/>
                </a:lnTo>
                <a:lnTo>
                  <a:pt x="622" y="1114"/>
                </a:lnTo>
                <a:lnTo>
                  <a:pt x="622" y="1118"/>
                </a:lnTo>
                <a:lnTo>
                  <a:pt x="622" y="1118"/>
                </a:lnTo>
                <a:lnTo>
                  <a:pt x="628" y="1118"/>
                </a:lnTo>
                <a:lnTo>
                  <a:pt x="628" y="1118"/>
                </a:lnTo>
                <a:lnTo>
                  <a:pt x="628" y="1112"/>
                </a:lnTo>
                <a:lnTo>
                  <a:pt x="628" y="1110"/>
                </a:lnTo>
                <a:lnTo>
                  <a:pt x="628" y="1110"/>
                </a:lnTo>
                <a:lnTo>
                  <a:pt x="632" y="1110"/>
                </a:lnTo>
                <a:lnTo>
                  <a:pt x="636" y="1110"/>
                </a:lnTo>
                <a:lnTo>
                  <a:pt x="640" y="1112"/>
                </a:lnTo>
                <a:lnTo>
                  <a:pt x="640" y="1112"/>
                </a:lnTo>
                <a:lnTo>
                  <a:pt x="638" y="1118"/>
                </a:lnTo>
                <a:lnTo>
                  <a:pt x="636" y="1122"/>
                </a:lnTo>
                <a:lnTo>
                  <a:pt x="636" y="1122"/>
                </a:lnTo>
                <a:lnTo>
                  <a:pt x="640" y="1124"/>
                </a:lnTo>
                <a:lnTo>
                  <a:pt x="644" y="1126"/>
                </a:lnTo>
                <a:lnTo>
                  <a:pt x="652" y="1128"/>
                </a:lnTo>
                <a:lnTo>
                  <a:pt x="656" y="1126"/>
                </a:lnTo>
                <a:lnTo>
                  <a:pt x="656" y="1126"/>
                </a:lnTo>
                <a:lnTo>
                  <a:pt x="664" y="1120"/>
                </a:lnTo>
                <a:lnTo>
                  <a:pt x="664" y="1120"/>
                </a:lnTo>
                <a:lnTo>
                  <a:pt x="672" y="1118"/>
                </a:lnTo>
                <a:lnTo>
                  <a:pt x="672" y="1124"/>
                </a:lnTo>
                <a:lnTo>
                  <a:pt x="672" y="1124"/>
                </a:lnTo>
                <a:lnTo>
                  <a:pt x="680" y="1124"/>
                </a:lnTo>
                <a:lnTo>
                  <a:pt x="680" y="1124"/>
                </a:lnTo>
                <a:lnTo>
                  <a:pt x="684" y="1116"/>
                </a:lnTo>
                <a:lnTo>
                  <a:pt x="684" y="1116"/>
                </a:lnTo>
                <a:lnTo>
                  <a:pt x="684" y="1106"/>
                </a:lnTo>
                <a:lnTo>
                  <a:pt x="684" y="1106"/>
                </a:lnTo>
                <a:lnTo>
                  <a:pt x="682" y="1106"/>
                </a:lnTo>
                <a:lnTo>
                  <a:pt x="682" y="1106"/>
                </a:lnTo>
                <a:lnTo>
                  <a:pt x="678" y="1110"/>
                </a:lnTo>
                <a:lnTo>
                  <a:pt x="678" y="1110"/>
                </a:lnTo>
                <a:lnTo>
                  <a:pt x="678" y="1112"/>
                </a:lnTo>
                <a:lnTo>
                  <a:pt x="678" y="1112"/>
                </a:lnTo>
                <a:lnTo>
                  <a:pt x="678" y="1110"/>
                </a:lnTo>
                <a:lnTo>
                  <a:pt x="678" y="1110"/>
                </a:lnTo>
                <a:lnTo>
                  <a:pt x="682" y="1106"/>
                </a:lnTo>
                <a:lnTo>
                  <a:pt x="682" y="1106"/>
                </a:lnTo>
                <a:lnTo>
                  <a:pt x="684" y="1106"/>
                </a:lnTo>
                <a:lnTo>
                  <a:pt x="684" y="1106"/>
                </a:lnTo>
                <a:lnTo>
                  <a:pt x="684" y="1098"/>
                </a:lnTo>
                <a:lnTo>
                  <a:pt x="684" y="1098"/>
                </a:lnTo>
                <a:lnTo>
                  <a:pt x="702" y="1100"/>
                </a:lnTo>
                <a:lnTo>
                  <a:pt x="702" y="1100"/>
                </a:lnTo>
                <a:lnTo>
                  <a:pt x="704" y="1096"/>
                </a:lnTo>
                <a:lnTo>
                  <a:pt x="708" y="1094"/>
                </a:lnTo>
                <a:lnTo>
                  <a:pt x="708" y="1094"/>
                </a:lnTo>
                <a:lnTo>
                  <a:pt x="710" y="1094"/>
                </a:lnTo>
                <a:lnTo>
                  <a:pt x="710" y="1094"/>
                </a:lnTo>
                <a:lnTo>
                  <a:pt x="712" y="1100"/>
                </a:lnTo>
                <a:lnTo>
                  <a:pt x="712" y="1100"/>
                </a:lnTo>
                <a:lnTo>
                  <a:pt x="710" y="1094"/>
                </a:lnTo>
                <a:lnTo>
                  <a:pt x="710" y="1094"/>
                </a:lnTo>
                <a:lnTo>
                  <a:pt x="726" y="1094"/>
                </a:lnTo>
                <a:lnTo>
                  <a:pt x="726" y="1094"/>
                </a:lnTo>
                <a:lnTo>
                  <a:pt x="730" y="1096"/>
                </a:lnTo>
                <a:lnTo>
                  <a:pt x="730" y="1096"/>
                </a:lnTo>
                <a:lnTo>
                  <a:pt x="730" y="1098"/>
                </a:lnTo>
                <a:lnTo>
                  <a:pt x="730" y="1102"/>
                </a:lnTo>
                <a:lnTo>
                  <a:pt x="730" y="1102"/>
                </a:lnTo>
                <a:lnTo>
                  <a:pt x="722" y="1104"/>
                </a:lnTo>
                <a:lnTo>
                  <a:pt x="722" y="1104"/>
                </a:lnTo>
                <a:lnTo>
                  <a:pt x="732" y="1108"/>
                </a:lnTo>
                <a:lnTo>
                  <a:pt x="732" y="1108"/>
                </a:lnTo>
                <a:lnTo>
                  <a:pt x="722" y="1122"/>
                </a:lnTo>
                <a:lnTo>
                  <a:pt x="722" y="1122"/>
                </a:lnTo>
                <a:lnTo>
                  <a:pt x="724" y="1124"/>
                </a:lnTo>
                <a:lnTo>
                  <a:pt x="726" y="1124"/>
                </a:lnTo>
                <a:lnTo>
                  <a:pt x="730" y="1124"/>
                </a:lnTo>
                <a:lnTo>
                  <a:pt x="736" y="1122"/>
                </a:lnTo>
                <a:lnTo>
                  <a:pt x="738" y="1124"/>
                </a:lnTo>
                <a:lnTo>
                  <a:pt x="740" y="1126"/>
                </a:lnTo>
                <a:lnTo>
                  <a:pt x="740" y="1126"/>
                </a:lnTo>
                <a:lnTo>
                  <a:pt x="734" y="1126"/>
                </a:lnTo>
                <a:lnTo>
                  <a:pt x="734" y="1126"/>
                </a:lnTo>
                <a:lnTo>
                  <a:pt x="726" y="1130"/>
                </a:lnTo>
                <a:lnTo>
                  <a:pt x="726" y="1130"/>
                </a:lnTo>
                <a:lnTo>
                  <a:pt x="718" y="1114"/>
                </a:lnTo>
                <a:lnTo>
                  <a:pt x="718" y="1114"/>
                </a:lnTo>
                <a:lnTo>
                  <a:pt x="716" y="1116"/>
                </a:lnTo>
                <a:lnTo>
                  <a:pt x="716" y="1116"/>
                </a:lnTo>
                <a:lnTo>
                  <a:pt x="702" y="1124"/>
                </a:lnTo>
                <a:lnTo>
                  <a:pt x="702" y="1124"/>
                </a:lnTo>
                <a:lnTo>
                  <a:pt x="684" y="1116"/>
                </a:lnTo>
                <a:lnTo>
                  <a:pt x="684" y="1116"/>
                </a:lnTo>
                <a:lnTo>
                  <a:pt x="684" y="1116"/>
                </a:lnTo>
                <a:lnTo>
                  <a:pt x="684" y="1116"/>
                </a:lnTo>
                <a:lnTo>
                  <a:pt x="684" y="1142"/>
                </a:lnTo>
                <a:lnTo>
                  <a:pt x="684" y="1142"/>
                </a:lnTo>
                <a:lnTo>
                  <a:pt x="692" y="1144"/>
                </a:lnTo>
                <a:lnTo>
                  <a:pt x="692" y="1144"/>
                </a:lnTo>
                <a:lnTo>
                  <a:pt x="714" y="1138"/>
                </a:lnTo>
                <a:lnTo>
                  <a:pt x="714" y="1138"/>
                </a:lnTo>
                <a:lnTo>
                  <a:pt x="720" y="1136"/>
                </a:lnTo>
                <a:lnTo>
                  <a:pt x="724" y="1138"/>
                </a:lnTo>
                <a:lnTo>
                  <a:pt x="724" y="1138"/>
                </a:lnTo>
                <a:lnTo>
                  <a:pt x="724" y="1140"/>
                </a:lnTo>
                <a:lnTo>
                  <a:pt x="728" y="1142"/>
                </a:lnTo>
                <a:lnTo>
                  <a:pt x="734" y="1144"/>
                </a:lnTo>
                <a:lnTo>
                  <a:pt x="734" y="1144"/>
                </a:lnTo>
                <a:lnTo>
                  <a:pt x="734" y="1142"/>
                </a:lnTo>
                <a:lnTo>
                  <a:pt x="734" y="1142"/>
                </a:lnTo>
                <a:lnTo>
                  <a:pt x="744" y="1144"/>
                </a:lnTo>
                <a:lnTo>
                  <a:pt x="744" y="1144"/>
                </a:lnTo>
                <a:lnTo>
                  <a:pt x="762" y="1142"/>
                </a:lnTo>
                <a:lnTo>
                  <a:pt x="772" y="1138"/>
                </a:lnTo>
                <a:lnTo>
                  <a:pt x="772" y="1138"/>
                </a:lnTo>
                <a:lnTo>
                  <a:pt x="772" y="1146"/>
                </a:lnTo>
                <a:lnTo>
                  <a:pt x="772" y="1146"/>
                </a:lnTo>
                <a:lnTo>
                  <a:pt x="766" y="1150"/>
                </a:lnTo>
                <a:lnTo>
                  <a:pt x="766" y="1150"/>
                </a:lnTo>
                <a:lnTo>
                  <a:pt x="770" y="1150"/>
                </a:lnTo>
                <a:lnTo>
                  <a:pt x="770" y="1150"/>
                </a:lnTo>
                <a:lnTo>
                  <a:pt x="768" y="1154"/>
                </a:lnTo>
                <a:lnTo>
                  <a:pt x="768" y="1154"/>
                </a:lnTo>
                <a:lnTo>
                  <a:pt x="772" y="1160"/>
                </a:lnTo>
                <a:lnTo>
                  <a:pt x="772" y="1160"/>
                </a:lnTo>
                <a:lnTo>
                  <a:pt x="776" y="1160"/>
                </a:lnTo>
                <a:lnTo>
                  <a:pt x="776" y="1160"/>
                </a:lnTo>
                <a:lnTo>
                  <a:pt x="782" y="1156"/>
                </a:lnTo>
                <a:lnTo>
                  <a:pt x="782" y="1156"/>
                </a:lnTo>
                <a:lnTo>
                  <a:pt x="792" y="1152"/>
                </a:lnTo>
                <a:lnTo>
                  <a:pt x="792" y="1152"/>
                </a:lnTo>
                <a:lnTo>
                  <a:pt x="778" y="1148"/>
                </a:lnTo>
                <a:lnTo>
                  <a:pt x="778" y="1148"/>
                </a:lnTo>
                <a:lnTo>
                  <a:pt x="776" y="1146"/>
                </a:lnTo>
                <a:lnTo>
                  <a:pt x="776" y="1144"/>
                </a:lnTo>
                <a:lnTo>
                  <a:pt x="776" y="1144"/>
                </a:lnTo>
                <a:lnTo>
                  <a:pt x="782" y="1142"/>
                </a:lnTo>
                <a:lnTo>
                  <a:pt x="782" y="1142"/>
                </a:lnTo>
                <a:lnTo>
                  <a:pt x="784" y="1144"/>
                </a:lnTo>
                <a:lnTo>
                  <a:pt x="784" y="1144"/>
                </a:lnTo>
                <a:lnTo>
                  <a:pt x="786" y="1148"/>
                </a:lnTo>
                <a:lnTo>
                  <a:pt x="786" y="1148"/>
                </a:lnTo>
                <a:lnTo>
                  <a:pt x="794" y="1140"/>
                </a:lnTo>
                <a:lnTo>
                  <a:pt x="794" y="1140"/>
                </a:lnTo>
                <a:lnTo>
                  <a:pt x="802" y="1142"/>
                </a:lnTo>
                <a:lnTo>
                  <a:pt x="802" y="1142"/>
                </a:lnTo>
                <a:lnTo>
                  <a:pt x="804" y="1128"/>
                </a:lnTo>
                <a:lnTo>
                  <a:pt x="804" y="1128"/>
                </a:lnTo>
                <a:lnTo>
                  <a:pt x="804" y="1128"/>
                </a:lnTo>
                <a:lnTo>
                  <a:pt x="804" y="1128"/>
                </a:lnTo>
                <a:lnTo>
                  <a:pt x="804" y="1128"/>
                </a:lnTo>
                <a:lnTo>
                  <a:pt x="804" y="1128"/>
                </a:lnTo>
                <a:lnTo>
                  <a:pt x="804" y="1128"/>
                </a:lnTo>
                <a:lnTo>
                  <a:pt x="804" y="1128"/>
                </a:lnTo>
                <a:lnTo>
                  <a:pt x="804" y="1128"/>
                </a:lnTo>
                <a:lnTo>
                  <a:pt x="804" y="1128"/>
                </a:lnTo>
                <a:lnTo>
                  <a:pt x="808" y="1124"/>
                </a:lnTo>
                <a:lnTo>
                  <a:pt x="808" y="1124"/>
                </a:lnTo>
                <a:lnTo>
                  <a:pt x="814" y="1126"/>
                </a:lnTo>
                <a:lnTo>
                  <a:pt x="820" y="1126"/>
                </a:lnTo>
                <a:lnTo>
                  <a:pt x="820" y="1126"/>
                </a:lnTo>
                <a:lnTo>
                  <a:pt x="820" y="1128"/>
                </a:lnTo>
                <a:lnTo>
                  <a:pt x="820" y="1128"/>
                </a:lnTo>
                <a:lnTo>
                  <a:pt x="820" y="1126"/>
                </a:lnTo>
                <a:lnTo>
                  <a:pt x="820" y="1126"/>
                </a:lnTo>
                <a:lnTo>
                  <a:pt x="820" y="1126"/>
                </a:lnTo>
                <a:lnTo>
                  <a:pt x="820" y="1126"/>
                </a:lnTo>
                <a:lnTo>
                  <a:pt x="822" y="1128"/>
                </a:lnTo>
                <a:lnTo>
                  <a:pt x="822" y="1128"/>
                </a:lnTo>
                <a:lnTo>
                  <a:pt x="818" y="1134"/>
                </a:lnTo>
                <a:lnTo>
                  <a:pt x="818" y="1134"/>
                </a:lnTo>
                <a:lnTo>
                  <a:pt x="816" y="1134"/>
                </a:lnTo>
                <a:lnTo>
                  <a:pt x="816" y="1134"/>
                </a:lnTo>
                <a:lnTo>
                  <a:pt x="814" y="1138"/>
                </a:lnTo>
                <a:lnTo>
                  <a:pt x="814" y="1138"/>
                </a:lnTo>
                <a:lnTo>
                  <a:pt x="816" y="1138"/>
                </a:lnTo>
                <a:lnTo>
                  <a:pt x="816" y="1138"/>
                </a:lnTo>
                <a:lnTo>
                  <a:pt x="816" y="1140"/>
                </a:lnTo>
                <a:lnTo>
                  <a:pt x="816" y="1140"/>
                </a:lnTo>
                <a:lnTo>
                  <a:pt x="816" y="1140"/>
                </a:lnTo>
                <a:lnTo>
                  <a:pt x="816" y="1140"/>
                </a:lnTo>
                <a:lnTo>
                  <a:pt x="818" y="1138"/>
                </a:lnTo>
                <a:lnTo>
                  <a:pt x="818" y="1138"/>
                </a:lnTo>
                <a:lnTo>
                  <a:pt x="818" y="1138"/>
                </a:lnTo>
                <a:lnTo>
                  <a:pt x="818" y="1138"/>
                </a:lnTo>
                <a:lnTo>
                  <a:pt x="818" y="1140"/>
                </a:lnTo>
                <a:lnTo>
                  <a:pt x="818" y="1140"/>
                </a:lnTo>
                <a:lnTo>
                  <a:pt x="818" y="1138"/>
                </a:lnTo>
                <a:lnTo>
                  <a:pt x="818" y="1138"/>
                </a:lnTo>
                <a:lnTo>
                  <a:pt x="818" y="1138"/>
                </a:lnTo>
                <a:lnTo>
                  <a:pt x="818" y="1138"/>
                </a:lnTo>
                <a:lnTo>
                  <a:pt x="816" y="1142"/>
                </a:lnTo>
                <a:lnTo>
                  <a:pt x="816" y="1142"/>
                </a:lnTo>
                <a:lnTo>
                  <a:pt x="816" y="1146"/>
                </a:lnTo>
                <a:lnTo>
                  <a:pt x="816" y="1146"/>
                </a:lnTo>
                <a:lnTo>
                  <a:pt x="822" y="1146"/>
                </a:lnTo>
                <a:lnTo>
                  <a:pt x="826" y="1142"/>
                </a:lnTo>
                <a:lnTo>
                  <a:pt x="836" y="1130"/>
                </a:lnTo>
                <a:lnTo>
                  <a:pt x="846" y="1116"/>
                </a:lnTo>
                <a:lnTo>
                  <a:pt x="850" y="1110"/>
                </a:lnTo>
                <a:lnTo>
                  <a:pt x="854" y="1106"/>
                </a:lnTo>
                <a:lnTo>
                  <a:pt x="854" y="1106"/>
                </a:lnTo>
                <a:lnTo>
                  <a:pt x="844" y="1104"/>
                </a:lnTo>
                <a:lnTo>
                  <a:pt x="844" y="1104"/>
                </a:lnTo>
                <a:lnTo>
                  <a:pt x="846" y="1094"/>
                </a:lnTo>
                <a:lnTo>
                  <a:pt x="846" y="1094"/>
                </a:lnTo>
                <a:lnTo>
                  <a:pt x="852" y="1096"/>
                </a:lnTo>
                <a:lnTo>
                  <a:pt x="852" y="1096"/>
                </a:lnTo>
                <a:lnTo>
                  <a:pt x="852" y="1094"/>
                </a:lnTo>
                <a:lnTo>
                  <a:pt x="852" y="1094"/>
                </a:lnTo>
                <a:lnTo>
                  <a:pt x="864" y="1100"/>
                </a:lnTo>
                <a:lnTo>
                  <a:pt x="864" y="1100"/>
                </a:lnTo>
                <a:lnTo>
                  <a:pt x="864" y="1108"/>
                </a:lnTo>
                <a:lnTo>
                  <a:pt x="864" y="1108"/>
                </a:lnTo>
                <a:lnTo>
                  <a:pt x="860" y="1106"/>
                </a:lnTo>
                <a:lnTo>
                  <a:pt x="860" y="1106"/>
                </a:lnTo>
                <a:lnTo>
                  <a:pt x="864" y="1110"/>
                </a:lnTo>
                <a:lnTo>
                  <a:pt x="864" y="1110"/>
                </a:lnTo>
                <a:lnTo>
                  <a:pt x="872" y="1110"/>
                </a:lnTo>
                <a:lnTo>
                  <a:pt x="882" y="1112"/>
                </a:lnTo>
                <a:lnTo>
                  <a:pt x="890" y="1112"/>
                </a:lnTo>
                <a:lnTo>
                  <a:pt x="900" y="1112"/>
                </a:lnTo>
                <a:lnTo>
                  <a:pt x="900" y="1112"/>
                </a:lnTo>
                <a:lnTo>
                  <a:pt x="896" y="1106"/>
                </a:lnTo>
                <a:lnTo>
                  <a:pt x="896" y="1106"/>
                </a:lnTo>
                <a:lnTo>
                  <a:pt x="890" y="1106"/>
                </a:lnTo>
                <a:lnTo>
                  <a:pt x="886" y="1106"/>
                </a:lnTo>
                <a:lnTo>
                  <a:pt x="886" y="1106"/>
                </a:lnTo>
                <a:lnTo>
                  <a:pt x="898" y="1106"/>
                </a:lnTo>
                <a:lnTo>
                  <a:pt x="898" y="1106"/>
                </a:lnTo>
                <a:lnTo>
                  <a:pt x="912" y="1110"/>
                </a:lnTo>
                <a:lnTo>
                  <a:pt x="912" y="1110"/>
                </a:lnTo>
                <a:lnTo>
                  <a:pt x="912" y="1110"/>
                </a:lnTo>
                <a:lnTo>
                  <a:pt x="912" y="1110"/>
                </a:lnTo>
                <a:lnTo>
                  <a:pt x="912" y="1110"/>
                </a:lnTo>
                <a:lnTo>
                  <a:pt x="912" y="1110"/>
                </a:lnTo>
                <a:lnTo>
                  <a:pt x="912" y="1110"/>
                </a:lnTo>
                <a:lnTo>
                  <a:pt x="920" y="1108"/>
                </a:lnTo>
                <a:lnTo>
                  <a:pt x="920" y="1108"/>
                </a:lnTo>
                <a:lnTo>
                  <a:pt x="922" y="1110"/>
                </a:lnTo>
                <a:lnTo>
                  <a:pt x="924" y="1110"/>
                </a:lnTo>
                <a:lnTo>
                  <a:pt x="924" y="1110"/>
                </a:lnTo>
                <a:lnTo>
                  <a:pt x="932" y="1110"/>
                </a:lnTo>
                <a:lnTo>
                  <a:pt x="934" y="1108"/>
                </a:lnTo>
                <a:lnTo>
                  <a:pt x="936" y="1106"/>
                </a:lnTo>
                <a:lnTo>
                  <a:pt x="936" y="1106"/>
                </a:lnTo>
                <a:lnTo>
                  <a:pt x="938" y="1104"/>
                </a:lnTo>
                <a:lnTo>
                  <a:pt x="940" y="1104"/>
                </a:lnTo>
                <a:lnTo>
                  <a:pt x="940" y="1104"/>
                </a:lnTo>
                <a:lnTo>
                  <a:pt x="948" y="1104"/>
                </a:lnTo>
                <a:lnTo>
                  <a:pt x="956" y="1102"/>
                </a:lnTo>
                <a:lnTo>
                  <a:pt x="964" y="1100"/>
                </a:lnTo>
                <a:lnTo>
                  <a:pt x="974" y="1100"/>
                </a:lnTo>
                <a:lnTo>
                  <a:pt x="974" y="1100"/>
                </a:lnTo>
                <a:lnTo>
                  <a:pt x="980" y="1098"/>
                </a:lnTo>
                <a:lnTo>
                  <a:pt x="990" y="1094"/>
                </a:lnTo>
                <a:lnTo>
                  <a:pt x="990" y="1094"/>
                </a:lnTo>
                <a:lnTo>
                  <a:pt x="990" y="1092"/>
                </a:lnTo>
                <a:lnTo>
                  <a:pt x="990" y="1092"/>
                </a:lnTo>
                <a:lnTo>
                  <a:pt x="986" y="1092"/>
                </a:lnTo>
                <a:lnTo>
                  <a:pt x="984" y="1092"/>
                </a:lnTo>
                <a:lnTo>
                  <a:pt x="978" y="1092"/>
                </a:lnTo>
                <a:lnTo>
                  <a:pt x="978" y="1092"/>
                </a:lnTo>
                <a:lnTo>
                  <a:pt x="972" y="1092"/>
                </a:lnTo>
                <a:lnTo>
                  <a:pt x="970" y="1090"/>
                </a:lnTo>
                <a:lnTo>
                  <a:pt x="970" y="1088"/>
                </a:lnTo>
                <a:lnTo>
                  <a:pt x="970" y="1088"/>
                </a:lnTo>
                <a:lnTo>
                  <a:pt x="970" y="1088"/>
                </a:lnTo>
                <a:lnTo>
                  <a:pt x="972" y="1088"/>
                </a:lnTo>
                <a:lnTo>
                  <a:pt x="972" y="1088"/>
                </a:lnTo>
                <a:lnTo>
                  <a:pt x="976" y="1084"/>
                </a:lnTo>
                <a:lnTo>
                  <a:pt x="982" y="1082"/>
                </a:lnTo>
                <a:lnTo>
                  <a:pt x="994" y="1078"/>
                </a:lnTo>
                <a:lnTo>
                  <a:pt x="994" y="1078"/>
                </a:lnTo>
                <a:lnTo>
                  <a:pt x="988" y="1074"/>
                </a:lnTo>
                <a:lnTo>
                  <a:pt x="988" y="1074"/>
                </a:lnTo>
                <a:lnTo>
                  <a:pt x="992" y="1074"/>
                </a:lnTo>
                <a:lnTo>
                  <a:pt x="992" y="1074"/>
                </a:lnTo>
                <a:lnTo>
                  <a:pt x="1000" y="1076"/>
                </a:lnTo>
                <a:lnTo>
                  <a:pt x="1006" y="1076"/>
                </a:lnTo>
                <a:lnTo>
                  <a:pt x="1012" y="1074"/>
                </a:lnTo>
                <a:lnTo>
                  <a:pt x="1012" y="1074"/>
                </a:lnTo>
                <a:lnTo>
                  <a:pt x="1008" y="1082"/>
                </a:lnTo>
                <a:lnTo>
                  <a:pt x="1008" y="1082"/>
                </a:lnTo>
                <a:lnTo>
                  <a:pt x="1022" y="1082"/>
                </a:lnTo>
                <a:lnTo>
                  <a:pt x="1022" y="1082"/>
                </a:lnTo>
                <a:lnTo>
                  <a:pt x="1020" y="1094"/>
                </a:lnTo>
                <a:lnTo>
                  <a:pt x="1016" y="1114"/>
                </a:lnTo>
                <a:lnTo>
                  <a:pt x="1012" y="1132"/>
                </a:lnTo>
                <a:lnTo>
                  <a:pt x="1010" y="1144"/>
                </a:lnTo>
                <a:lnTo>
                  <a:pt x="1010" y="1144"/>
                </a:lnTo>
                <a:lnTo>
                  <a:pt x="1018" y="1142"/>
                </a:lnTo>
                <a:lnTo>
                  <a:pt x="1024" y="1144"/>
                </a:lnTo>
                <a:lnTo>
                  <a:pt x="1024" y="1144"/>
                </a:lnTo>
                <a:lnTo>
                  <a:pt x="1026" y="1144"/>
                </a:lnTo>
                <a:lnTo>
                  <a:pt x="1026" y="1140"/>
                </a:lnTo>
                <a:lnTo>
                  <a:pt x="1028" y="1126"/>
                </a:lnTo>
                <a:lnTo>
                  <a:pt x="1034" y="1090"/>
                </a:lnTo>
                <a:lnTo>
                  <a:pt x="1034" y="1090"/>
                </a:lnTo>
                <a:lnTo>
                  <a:pt x="1034" y="1092"/>
                </a:lnTo>
                <a:lnTo>
                  <a:pt x="1034" y="1092"/>
                </a:lnTo>
                <a:lnTo>
                  <a:pt x="1034" y="1102"/>
                </a:lnTo>
                <a:lnTo>
                  <a:pt x="1034" y="1102"/>
                </a:lnTo>
                <a:lnTo>
                  <a:pt x="1038" y="1102"/>
                </a:lnTo>
                <a:lnTo>
                  <a:pt x="1038" y="1102"/>
                </a:lnTo>
                <a:lnTo>
                  <a:pt x="1044" y="1116"/>
                </a:lnTo>
                <a:lnTo>
                  <a:pt x="1044" y="1116"/>
                </a:lnTo>
                <a:lnTo>
                  <a:pt x="1040" y="1116"/>
                </a:lnTo>
                <a:lnTo>
                  <a:pt x="1040" y="1116"/>
                </a:lnTo>
                <a:lnTo>
                  <a:pt x="1040" y="1118"/>
                </a:lnTo>
                <a:lnTo>
                  <a:pt x="1040" y="1118"/>
                </a:lnTo>
                <a:lnTo>
                  <a:pt x="1044" y="1118"/>
                </a:lnTo>
                <a:lnTo>
                  <a:pt x="1044" y="1118"/>
                </a:lnTo>
                <a:lnTo>
                  <a:pt x="1046" y="1120"/>
                </a:lnTo>
                <a:lnTo>
                  <a:pt x="1046" y="1120"/>
                </a:lnTo>
                <a:lnTo>
                  <a:pt x="1048" y="1132"/>
                </a:lnTo>
                <a:lnTo>
                  <a:pt x="1050" y="1136"/>
                </a:lnTo>
                <a:lnTo>
                  <a:pt x="1050" y="1136"/>
                </a:lnTo>
                <a:lnTo>
                  <a:pt x="1058" y="1138"/>
                </a:lnTo>
                <a:lnTo>
                  <a:pt x="1062" y="1138"/>
                </a:lnTo>
                <a:lnTo>
                  <a:pt x="1066" y="1136"/>
                </a:lnTo>
                <a:lnTo>
                  <a:pt x="1066" y="1136"/>
                </a:lnTo>
                <a:lnTo>
                  <a:pt x="1060" y="1114"/>
                </a:lnTo>
                <a:lnTo>
                  <a:pt x="1060" y="1114"/>
                </a:lnTo>
                <a:lnTo>
                  <a:pt x="1064" y="1114"/>
                </a:lnTo>
                <a:lnTo>
                  <a:pt x="1068" y="1114"/>
                </a:lnTo>
                <a:lnTo>
                  <a:pt x="1068" y="1114"/>
                </a:lnTo>
                <a:lnTo>
                  <a:pt x="1066" y="1116"/>
                </a:lnTo>
                <a:lnTo>
                  <a:pt x="1064" y="1118"/>
                </a:lnTo>
                <a:lnTo>
                  <a:pt x="1062" y="1118"/>
                </a:lnTo>
                <a:lnTo>
                  <a:pt x="1062" y="1122"/>
                </a:lnTo>
                <a:lnTo>
                  <a:pt x="1062" y="1122"/>
                </a:lnTo>
                <a:lnTo>
                  <a:pt x="1076" y="1120"/>
                </a:lnTo>
                <a:lnTo>
                  <a:pt x="1090" y="1122"/>
                </a:lnTo>
                <a:lnTo>
                  <a:pt x="1090" y="1122"/>
                </a:lnTo>
                <a:lnTo>
                  <a:pt x="1084" y="1126"/>
                </a:lnTo>
                <a:lnTo>
                  <a:pt x="1084" y="1126"/>
                </a:lnTo>
                <a:lnTo>
                  <a:pt x="1100" y="1130"/>
                </a:lnTo>
                <a:lnTo>
                  <a:pt x="1100" y="1130"/>
                </a:lnTo>
                <a:lnTo>
                  <a:pt x="1094" y="1134"/>
                </a:lnTo>
                <a:lnTo>
                  <a:pt x="1094" y="1134"/>
                </a:lnTo>
                <a:lnTo>
                  <a:pt x="1106" y="1138"/>
                </a:lnTo>
                <a:lnTo>
                  <a:pt x="1116" y="1140"/>
                </a:lnTo>
                <a:lnTo>
                  <a:pt x="1116" y="1140"/>
                </a:lnTo>
                <a:lnTo>
                  <a:pt x="1122" y="1138"/>
                </a:lnTo>
                <a:lnTo>
                  <a:pt x="1122" y="1138"/>
                </a:lnTo>
                <a:lnTo>
                  <a:pt x="1120" y="1138"/>
                </a:lnTo>
                <a:lnTo>
                  <a:pt x="1120" y="1138"/>
                </a:lnTo>
                <a:lnTo>
                  <a:pt x="1130" y="1138"/>
                </a:lnTo>
                <a:lnTo>
                  <a:pt x="1130" y="1138"/>
                </a:lnTo>
                <a:lnTo>
                  <a:pt x="1136" y="1140"/>
                </a:lnTo>
                <a:lnTo>
                  <a:pt x="1140" y="1140"/>
                </a:lnTo>
                <a:lnTo>
                  <a:pt x="1144" y="1140"/>
                </a:lnTo>
                <a:lnTo>
                  <a:pt x="1144" y="1140"/>
                </a:lnTo>
                <a:lnTo>
                  <a:pt x="1134" y="1134"/>
                </a:lnTo>
                <a:lnTo>
                  <a:pt x="1134" y="1134"/>
                </a:lnTo>
                <a:lnTo>
                  <a:pt x="1138" y="1130"/>
                </a:lnTo>
                <a:lnTo>
                  <a:pt x="1138" y="1130"/>
                </a:lnTo>
                <a:lnTo>
                  <a:pt x="1138" y="1126"/>
                </a:lnTo>
                <a:lnTo>
                  <a:pt x="1134" y="1122"/>
                </a:lnTo>
                <a:lnTo>
                  <a:pt x="1134" y="1122"/>
                </a:lnTo>
                <a:lnTo>
                  <a:pt x="1134" y="1122"/>
                </a:lnTo>
                <a:lnTo>
                  <a:pt x="1134" y="1122"/>
                </a:lnTo>
                <a:lnTo>
                  <a:pt x="1130" y="1122"/>
                </a:lnTo>
                <a:lnTo>
                  <a:pt x="1130" y="1122"/>
                </a:lnTo>
                <a:lnTo>
                  <a:pt x="1128" y="1122"/>
                </a:lnTo>
                <a:lnTo>
                  <a:pt x="1128" y="1122"/>
                </a:lnTo>
                <a:lnTo>
                  <a:pt x="1122" y="1120"/>
                </a:lnTo>
                <a:lnTo>
                  <a:pt x="1122" y="1120"/>
                </a:lnTo>
                <a:lnTo>
                  <a:pt x="1122" y="1118"/>
                </a:lnTo>
                <a:lnTo>
                  <a:pt x="1122" y="1118"/>
                </a:lnTo>
                <a:lnTo>
                  <a:pt x="1120" y="1116"/>
                </a:lnTo>
                <a:lnTo>
                  <a:pt x="1120" y="1116"/>
                </a:lnTo>
                <a:lnTo>
                  <a:pt x="1118" y="1118"/>
                </a:lnTo>
                <a:lnTo>
                  <a:pt x="1118" y="1118"/>
                </a:lnTo>
                <a:lnTo>
                  <a:pt x="1088" y="1106"/>
                </a:lnTo>
                <a:lnTo>
                  <a:pt x="1088" y="1106"/>
                </a:lnTo>
                <a:lnTo>
                  <a:pt x="1080" y="1104"/>
                </a:lnTo>
                <a:lnTo>
                  <a:pt x="1080" y="1104"/>
                </a:lnTo>
                <a:lnTo>
                  <a:pt x="1064" y="1104"/>
                </a:lnTo>
                <a:lnTo>
                  <a:pt x="1064" y="1104"/>
                </a:lnTo>
                <a:lnTo>
                  <a:pt x="1058" y="1106"/>
                </a:lnTo>
                <a:lnTo>
                  <a:pt x="1058" y="1106"/>
                </a:lnTo>
                <a:lnTo>
                  <a:pt x="1054" y="1094"/>
                </a:lnTo>
                <a:lnTo>
                  <a:pt x="1054" y="1094"/>
                </a:lnTo>
                <a:lnTo>
                  <a:pt x="1058" y="1092"/>
                </a:lnTo>
                <a:lnTo>
                  <a:pt x="1060" y="1090"/>
                </a:lnTo>
                <a:lnTo>
                  <a:pt x="1062" y="1088"/>
                </a:lnTo>
                <a:lnTo>
                  <a:pt x="1062" y="1088"/>
                </a:lnTo>
                <a:lnTo>
                  <a:pt x="1052" y="1088"/>
                </a:lnTo>
                <a:lnTo>
                  <a:pt x="1052" y="1088"/>
                </a:lnTo>
                <a:lnTo>
                  <a:pt x="1050" y="1086"/>
                </a:lnTo>
                <a:lnTo>
                  <a:pt x="1050" y="1086"/>
                </a:lnTo>
                <a:lnTo>
                  <a:pt x="1050" y="1086"/>
                </a:lnTo>
                <a:lnTo>
                  <a:pt x="1050" y="1086"/>
                </a:lnTo>
                <a:lnTo>
                  <a:pt x="1046" y="1082"/>
                </a:lnTo>
                <a:lnTo>
                  <a:pt x="1046" y="1082"/>
                </a:lnTo>
                <a:lnTo>
                  <a:pt x="1046" y="1082"/>
                </a:lnTo>
                <a:lnTo>
                  <a:pt x="1046" y="1082"/>
                </a:lnTo>
                <a:lnTo>
                  <a:pt x="1054" y="1078"/>
                </a:lnTo>
                <a:lnTo>
                  <a:pt x="1054" y="1078"/>
                </a:lnTo>
                <a:lnTo>
                  <a:pt x="1062" y="1080"/>
                </a:lnTo>
                <a:lnTo>
                  <a:pt x="1066" y="1082"/>
                </a:lnTo>
                <a:lnTo>
                  <a:pt x="1066" y="1082"/>
                </a:lnTo>
                <a:lnTo>
                  <a:pt x="1072" y="1088"/>
                </a:lnTo>
                <a:lnTo>
                  <a:pt x="1080" y="1090"/>
                </a:lnTo>
                <a:lnTo>
                  <a:pt x="1080" y="1090"/>
                </a:lnTo>
                <a:lnTo>
                  <a:pt x="1094" y="1092"/>
                </a:lnTo>
                <a:lnTo>
                  <a:pt x="1108" y="1092"/>
                </a:lnTo>
                <a:lnTo>
                  <a:pt x="1108" y="1092"/>
                </a:lnTo>
                <a:lnTo>
                  <a:pt x="1118" y="1090"/>
                </a:lnTo>
                <a:lnTo>
                  <a:pt x="1118" y="1090"/>
                </a:lnTo>
                <a:lnTo>
                  <a:pt x="1108" y="1086"/>
                </a:lnTo>
                <a:lnTo>
                  <a:pt x="1108" y="1086"/>
                </a:lnTo>
                <a:lnTo>
                  <a:pt x="1084" y="1086"/>
                </a:lnTo>
                <a:lnTo>
                  <a:pt x="1084" y="1086"/>
                </a:lnTo>
                <a:lnTo>
                  <a:pt x="1074" y="1086"/>
                </a:lnTo>
                <a:lnTo>
                  <a:pt x="1074" y="1086"/>
                </a:lnTo>
                <a:lnTo>
                  <a:pt x="1082" y="1080"/>
                </a:lnTo>
                <a:lnTo>
                  <a:pt x="1082" y="1080"/>
                </a:lnTo>
                <a:lnTo>
                  <a:pt x="1070" y="1080"/>
                </a:lnTo>
                <a:lnTo>
                  <a:pt x="1070" y="1080"/>
                </a:lnTo>
                <a:lnTo>
                  <a:pt x="1068" y="1080"/>
                </a:lnTo>
                <a:lnTo>
                  <a:pt x="1068" y="1080"/>
                </a:lnTo>
                <a:lnTo>
                  <a:pt x="1062" y="1074"/>
                </a:lnTo>
                <a:lnTo>
                  <a:pt x="1058" y="1072"/>
                </a:lnTo>
                <a:lnTo>
                  <a:pt x="1052" y="1072"/>
                </a:lnTo>
                <a:lnTo>
                  <a:pt x="1046" y="1076"/>
                </a:lnTo>
                <a:lnTo>
                  <a:pt x="1046" y="1076"/>
                </a:lnTo>
                <a:lnTo>
                  <a:pt x="1044" y="1064"/>
                </a:lnTo>
                <a:lnTo>
                  <a:pt x="1044" y="1064"/>
                </a:lnTo>
                <a:lnTo>
                  <a:pt x="1048" y="1064"/>
                </a:lnTo>
                <a:lnTo>
                  <a:pt x="1048" y="1064"/>
                </a:lnTo>
                <a:lnTo>
                  <a:pt x="1058" y="1068"/>
                </a:lnTo>
                <a:lnTo>
                  <a:pt x="1068" y="1068"/>
                </a:lnTo>
                <a:lnTo>
                  <a:pt x="1068" y="1068"/>
                </a:lnTo>
                <a:lnTo>
                  <a:pt x="1072" y="1074"/>
                </a:lnTo>
                <a:lnTo>
                  <a:pt x="1080" y="1076"/>
                </a:lnTo>
                <a:lnTo>
                  <a:pt x="1080" y="1076"/>
                </a:lnTo>
                <a:lnTo>
                  <a:pt x="1076" y="1070"/>
                </a:lnTo>
                <a:lnTo>
                  <a:pt x="1076" y="1070"/>
                </a:lnTo>
                <a:lnTo>
                  <a:pt x="1086" y="1064"/>
                </a:lnTo>
                <a:lnTo>
                  <a:pt x="1088" y="1062"/>
                </a:lnTo>
                <a:lnTo>
                  <a:pt x="1086" y="1056"/>
                </a:lnTo>
                <a:lnTo>
                  <a:pt x="1086" y="1056"/>
                </a:lnTo>
                <a:lnTo>
                  <a:pt x="1080" y="1056"/>
                </a:lnTo>
                <a:lnTo>
                  <a:pt x="1080" y="1056"/>
                </a:lnTo>
                <a:lnTo>
                  <a:pt x="1072" y="1054"/>
                </a:lnTo>
                <a:lnTo>
                  <a:pt x="1064" y="1054"/>
                </a:lnTo>
                <a:lnTo>
                  <a:pt x="1058" y="1056"/>
                </a:lnTo>
                <a:lnTo>
                  <a:pt x="1052" y="1058"/>
                </a:lnTo>
                <a:lnTo>
                  <a:pt x="1052" y="1058"/>
                </a:lnTo>
                <a:lnTo>
                  <a:pt x="1048" y="1060"/>
                </a:lnTo>
                <a:lnTo>
                  <a:pt x="1044" y="1060"/>
                </a:lnTo>
                <a:lnTo>
                  <a:pt x="1044" y="1060"/>
                </a:lnTo>
                <a:lnTo>
                  <a:pt x="1042" y="1056"/>
                </a:lnTo>
                <a:lnTo>
                  <a:pt x="1042" y="1056"/>
                </a:lnTo>
                <a:lnTo>
                  <a:pt x="1044" y="1054"/>
                </a:lnTo>
                <a:lnTo>
                  <a:pt x="1044" y="1054"/>
                </a:lnTo>
                <a:lnTo>
                  <a:pt x="1038" y="1054"/>
                </a:lnTo>
                <a:lnTo>
                  <a:pt x="1038" y="1054"/>
                </a:lnTo>
                <a:lnTo>
                  <a:pt x="1036" y="1052"/>
                </a:lnTo>
                <a:lnTo>
                  <a:pt x="1036" y="1052"/>
                </a:lnTo>
                <a:lnTo>
                  <a:pt x="1036" y="1054"/>
                </a:lnTo>
                <a:lnTo>
                  <a:pt x="1036" y="1054"/>
                </a:lnTo>
                <a:lnTo>
                  <a:pt x="1030" y="1056"/>
                </a:lnTo>
                <a:lnTo>
                  <a:pt x="1030" y="1056"/>
                </a:lnTo>
                <a:lnTo>
                  <a:pt x="1024" y="1056"/>
                </a:lnTo>
                <a:lnTo>
                  <a:pt x="1020" y="1052"/>
                </a:lnTo>
                <a:lnTo>
                  <a:pt x="1020" y="1052"/>
                </a:lnTo>
                <a:lnTo>
                  <a:pt x="1016" y="1048"/>
                </a:lnTo>
                <a:lnTo>
                  <a:pt x="1016" y="1048"/>
                </a:lnTo>
                <a:lnTo>
                  <a:pt x="1012" y="1046"/>
                </a:lnTo>
                <a:lnTo>
                  <a:pt x="1012" y="1046"/>
                </a:lnTo>
                <a:lnTo>
                  <a:pt x="1008" y="1046"/>
                </a:lnTo>
                <a:lnTo>
                  <a:pt x="1004" y="1046"/>
                </a:lnTo>
                <a:lnTo>
                  <a:pt x="1000" y="1042"/>
                </a:lnTo>
                <a:lnTo>
                  <a:pt x="1000" y="1042"/>
                </a:lnTo>
                <a:lnTo>
                  <a:pt x="984" y="1044"/>
                </a:lnTo>
                <a:lnTo>
                  <a:pt x="984" y="1044"/>
                </a:lnTo>
                <a:lnTo>
                  <a:pt x="968" y="1046"/>
                </a:lnTo>
                <a:lnTo>
                  <a:pt x="968" y="1046"/>
                </a:lnTo>
                <a:lnTo>
                  <a:pt x="972" y="1040"/>
                </a:lnTo>
                <a:lnTo>
                  <a:pt x="972" y="1040"/>
                </a:lnTo>
                <a:lnTo>
                  <a:pt x="966" y="1038"/>
                </a:lnTo>
                <a:lnTo>
                  <a:pt x="964" y="1036"/>
                </a:lnTo>
                <a:lnTo>
                  <a:pt x="964" y="1032"/>
                </a:lnTo>
                <a:lnTo>
                  <a:pt x="964" y="1030"/>
                </a:lnTo>
                <a:lnTo>
                  <a:pt x="964" y="1030"/>
                </a:lnTo>
                <a:lnTo>
                  <a:pt x="960" y="1026"/>
                </a:lnTo>
                <a:lnTo>
                  <a:pt x="956" y="1026"/>
                </a:lnTo>
                <a:lnTo>
                  <a:pt x="952" y="1024"/>
                </a:lnTo>
                <a:lnTo>
                  <a:pt x="950" y="1022"/>
                </a:lnTo>
                <a:lnTo>
                  <a:pt x="950" y="1022"/>
                </a:lnTo>
                <a:lnTo>
                  <a:pt x="990" y="1020"/>
                </a:lnTo>
                <a:lnTo>
                  <a:pt x="990" y="1020"/>
                </a:lnTo>
                <a:lnTo>
                  <a:pt x="988" y="1012"/>
                </a:lnTo>
                <a:lnTo>
                  <a:pt x="988" y="1012"/>
                </a:lnTo>
                <a:lnTo>
                  <a:pt x="1002" y="1016"/>
                </a:lnTo>
                <a:lnTo>
                  <a:pt x="1002" y="1016"/>
                </a:lnTo>
                <a:lnTo>
                  <a:pt x="1018" y="1008"/>
                </a:lnTo>
                <a:lnTo>
                  <a:pt x="1018" y="1008"/>
                </a:lnTo>
                <a:lnTo>
                  <a:pt x="1014" y="1002"/>
                </a:lnTo>
                <a:lnTo>
                  <a:pt x="1008" y="1000"/>
                </a:lnTo>
                <a:lnTo>
                  <a:pt x="1000" y="996"/>
                </a:lnTo>
                <a:lnTo>
                  <a:pt x="990" y="994"/>
                </a:lnTo>
                <a:lnTo>
                  <a:pt x="990" y="994"/>
                </a:lnTo>
                <a:lnTo>
                  <a:pt x="990" y="994"/>
                </a:lnTo>
                <a:lnTo>
                  <a:pt x="990" y="994"/>
                </a:lnTo>
                <a:lnTo>
                  <a:pt x="990" y="994"/>
                </a:lnTo>
                <a:lnTo>
                  <a:pt x="990" y="994"/>
                </a:lnTo>
                <a:lnTo>
                  <a:pt x="990" y="994"/>
                </a:lnTo>
                <a:lnTo>
                  <a:pt x="962" y="984"/>
                </a:lnTo>
                <a:lnTo>
                  <a:pt x="962" y="984"/>
                </a:lnTo>
                <a:lnTo>
                  <a:pt x="964" y="990"/>
                </a:lnTo>
                <a:lnTo>
                  <a:pt x="936" y="990"/>
                </a:lnTo>
                <a:lnTo>
                  <a:pt x="936" y="990"/>
                </a:lnTo>
                <a:lnTo>
                  <a:pt x="952" y="978"/>
                </a:lnTo>
                <a:lnTo>
                  <a:pt x="952" y="978"/>
                </a:lnTo>
                <a:lnTo>
                  <a:pt x="970" y="976"/>
                </a:lnTo>
                <a:lnTo>
                  <a:pt x="970" y="976"/>
                </a:lnTo>
                <a:lnTo>
                  <a:pt x="982" y="976"/>
                </a:lnTo>
                <a:lnTo>
                  <a:pt x="982" y="976"/>
                </a:lnTo>
                <a:lnTo>
                  <a:pt x="980" y="972"/>
                </a:lnTo>
                <a:lnTo>
                  <a:pt x="980" y="968"/>
                </a:lnTo>
                <a:lnTo>
                  <a:pt x="978" y="966"/>
                </a:lnTo>
                <a:lnTo>
                  <a:pt x="972" y="964"/>
                </a:lnTo>
                <a:lnTo>
                  <a:pt x="972" y="964"/>
                </a:lnTo>
                <a:lnTo>
                  <a:pt x="988" y="960"/>
                </a:lnTo>
                <a:lnTo>
                  <a:pt x="988" y="960"/>
                </a:lnTo>
                <a:lnTo>
                  <a:pt x="992" y="964"/>
                </a:lnTo>
                <a:lnTo>
                  <a:pt x="992" y="968"/>
                </a:lnTo>
                <a:lnTo>
                  <a:pt x="990" y="970"/>
                </a:lnTo>
                <a:lnTo>
                  <a:pt x="990" y="974"/>
                </a:lnTo>
                <a:lnTo>
                  <a:pt x="990" y="974"/>
                </a:lnTo>
                <a:lnTo>
                  <a:pt x="1006" y="980"/>
                </a:lnTo>
                <a:lnTo>
                  <a:pt x="1006" y="980"/>
                </a:lnTo>
                <a:lnTo>
                  <a:pt x="1002" y="968"/>
                </a:lnTo>
                <a:lnTo>
                  <a:pt x="1002" y="968"/>
                </a:lnTo>
                <a:lnTo>
                  <a:pt x="1018" y="964"/>
                </a:lnTo>
                <a:lnTo>
                  <a:pt x="1018" y="964"/>
                </a:lnTo>
                <a:lnTo>
                  <a:pt x="1024" y="970"/>
                </a:lnTo>
                <a:lnTo>
                  <a:pt x="1024" y="970"/>
                </a:lnTo>
                <a:lnTo>
                  <a:pt x="1026" y="964"/>
                </a:lnTo>
                <a:lnTo>
                  <a:pt x="1026" y="964"/>
                </a:lnTo>
                <a:lnTo>
                  <a:pt x="1032" y="962"/>
                </a:lnTo>
                <a:lnTo>
                  <a:pt x="1040" y="962"/>
                </a:lnTo>
                <a:lnTo>
                  <a:pt x="1046" y="964"/>
                </a:lnTo>
                <a:lnTo>
                  <a:pt x="1054" y="964"/>
                </a:lnTo>
                <a:lnTo>
                  <a:pt x="1054" y="964"/>
                </a:lnTo>
                <a:lnTo>
                  <a:pt x="1042" y="954"/>
                </a:lnTo>
                <a:lnTo>
                  <a:pt x="1042" y="954"/>
                </a:lnTo>
                <a:lnTo>
                  <a:pt x="1054" y="954"/>
                </a:lnTo>
                <a:lnTo>
                  <a:pt x="1056" y="956"/>
                </a:lnTo>
                <a:lnTo>
                  <a:pt x="1058" y="958"/>
                </a:lnTo>
                <a:lnTo>
                  <a:pt x="1058" y="958"/>
                </a:lnTo>
                <a:lnTo>
                  <a:pt x="1076" y="958"/>
                </a:lnTo>
                <a:lnTo>
                  <a:pt x="1084" y="954"/>
                </a:lnTo>
                <a:lnTo>
                  <a:pt x="1088" y="950"/>
                </a:lnTo>
                <a:lnTo>
                  <a:pt x="1088" y="950"/>
                </a:lnTo>
                <a:lnTo>
                  <a:pt x="1106" y="954"/>
                </a:lnTo>
                <a:lnTo>
                  <a:pt x="1106" y="954"/>
                </a:lnTo>
                <a:lnTo>
                  <a:pt x="1106" y="956"/>
                </a:lnTo>
                <a:lnTo>
                  <a:pt x="1106" y="956"/>
                </a:lnTo>
                <a:lnTo>
                  <a:pt x="1100" y="956"/>
                </a:lnTo>
                <a:lnTo>
                  <a:pt x="1100" y="956"/>
                </a:lnTo>
                <a:lnTo>
                  <a:pt x="1090" y="958"/>
                </a:lnTo>
                <a:lnTo>
                  <a:pt x="1090" y="958"/>
                </a:lnTo>
                <a:lnTo>
                  <a:pt x="1096" y="962"/>
                </a:lnTo>
                <a:lnTo>
                  <a:pt x="1096" y="962"/>
                </a:lnTo>
                <a:lnTo>
                  <a:pt x="1098" y="964"/>
                </a:lnTo>
                <a:lnTo>
                  <a:pt x="1098" y="968"/>
                </a:lnTo>
                <a:lnTo>
                  <a:pt x="1098" y="968"/>
                </a:lnTo>
                <a:lnTo>
                  <a:pt x="1106" y="964"/>
                </a:lnTo>
                <a:lnTo>
                  <a:pt x="1106" y="964"/>
                </a:lnTo>
                <a:lnTo>
                  <a:pt x="1108" y="964"/>
                </a:lnTo>
                <a:lnTo>
                  <a:pt x="1108" y="964"/>
                </a:lnTo>
                <a:lnTo>
                  <a:pt x="1116" y="966"/>
                </a:lnTo>
                <a:lnTo>
                  <a:pt x="1124" y="966"/>
                </a:lnTo>
                <a:lnTo>
                  <a:pt x="1124" y="966"/>
                </a:lnTo>
                <a:lnTo>
                  <a:pt x="1130" y="966"/>
                </a:lnTo>
                <a:lnTo>
                  <a:pt x="1136" y="966"/>
                </a:lnTo>
                <a:lnTo>
                  <a:pt x="1136" y="966"/>
                </a:lnTo>
                <a:lnTo>
                  <a:pt x="1138" y="976"/>
                </a:lnTo>
                <a:lnTo>
                  <a:pt x="1138" y="976"/>
                </a:lnTo>
                <a:lnTo>
                  <a:pt x="1150" y="978"/>
                </a:lnTo>
                <a:lnTo>
                  <a:pt x="1150" y="978"/>
                </a:lnTo>
                <a:lnTo>
                  <a:pt x="1140" y="980"/>
                </a:lnTo>
                <a:lnTo>
                  <a:pt x="1134" y="980"/>
                </a:lnTo>
                <a:lnTo>
                  <a:pt x="1130" y="978"/>
                </a:lnTo>
                <a:lnTo>
                  <a:pt x="1130" y="978"/>
                </a:lnTo>
                <a:lnTo>
                  <a:pt x="1130" y="984"/>
                </a:lnTo>
                <a:lnTo>
                  <a:pt x="1130" y="984"/>
                </a:lnTo>
                <a:lnTo>
                  <a:pt x="1126" y="990"/>
                </a:lnTo>
                <a:lnTo>
                  <a:pt x="1126" y="990"/>
                </a:lnTo>
                <a:lnTo>
                  <a:pt x="1136" y="988"/>
                </a:lnTo>
                <a:lnTo>
                  <a:pt x="1146" y="986"/>
                </a:lnTo>
                <a:lnTo>
                  <a:pt x="1154" y="986"/>
                </a:lnTo>
                <a:lnTo>
                  <a:pt x="1162" y="990"/>
                </a:lnTo>
                <a:lnTo>
                  <a:pt x="1162" y="990"/>
                </a:lnTo>
                <a:lnTo>
                  <a:pt x="1168" y="984"/>
                </a:lnTo>
                <a:lnTo>
                  <a:pt x="1168" y="984"/>
                </a:lnTo>
                <a:lnTo>
                  <a:pt x="1172" y="984"/>
                </a:lnTo>
                <a:lnTo>
                  <a:pt x="1176" y="984"/>
                </a:lnTo>
                <a:lnTo>
                  <a:pt x="1186" y="984"/>
                </a:lnTo>
                <a:lnTo>
                  <a:pt x="1186" y="984"/>
                </a:lnTo>
                <a:lnTo>
                  <a:pt x="1206" y="986"/>
                </a:lnTo>
                <a:lnTo>
                  <a:pt x="1206" y="986"/>
                </a:lnTo>
                <a:lnTo>
                  <a:pt x="1188" y="1000"/>
                </a:lnTo>
                <a:lnTo>
                  <a:pt x="1188" y="1000"/>
                </a:lnTo>
                <a:lnTo>
                  <a:pt x="1184" y="1002"/>
                </a:lnTo>
                <a:lnTo>
                  <a:pt x="1178" y="1002"/>
                </a:lnTo>
                <a:lnTo>
                  <a:pt x="1178" y="1002"/>
                </a:lnTo>
                <a:lnTo>
                  <a:pt x="1172" y="1000"/>
                </a:lnTo>
                <a:lnTo>
                  <a:pt x="1164" y="1002"/>
                </a:lnTo>
                <a:lnTo>
                  <a:pt x="1164" y="1002"/>
                </a:lnTo>
                <a:lnTo>
                  <a:pt x="1166" y="1008"/>
                </a:lnTo>
                <a:lnTo>
                  <a:pt x="1166" y="1008"/>
                </a:lnTo>
                <a:lnTo>
                  <a:pt x="1148" y="1012"/>
                </a:lnTo>
                <a:lnTo>
                  <a:pt x="1140" y="1014"/>
                </a:lnTo>
                <a:lnTo>
                  <a:pt x="1130" y="1014"/>
                </a:lnTo>
                <a:lnTo>
                  <a:pt x="1130" y="1014"/>
                </a:lnTo>
                <a:lnTo>
                  <a:pt x="1130" y="1012"/>
                </a:lnTo>
                <a:lnTo>
                  <a:pt x="1130" y="1012"/>
                </a:lnTo>
                <a:lnTo>
                  <a:pt x="1138" y="1010"/>
                </a:lnTo>
                <a:lnTo>
                  <a:pt x="1138" y="1010"/>
                </a:lnTo>
                <a:lnTo>
                  <a:pt x="1126" y="1004"/>
                </a:lnTo>
                <a:lnTo>
                  <a:pt x="1126" y="1004"/>
                </a:lnTo>
                <a:lnTo>
                  <a:pt x="1114" y="1004"/>
                </a:lnTo>
                <a:lnTo>
                  <a:pt x="1114" y="1004"/>
                </a:lnTo>
                <a:lnTo>
                  <a:pt x="1114" y="1008"/>
                </a:lnTo>
                <a:lnTo>
                  <a:pt x="1112" y="1010"/>
                </a:lnTo>
                <a:lnTo>
                  <a:pt x="1112" y="1010"/>
                </a:lnTo>
                <a:lnTo>
                  <a:pt x="1108" y="1012"/>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096" y="1020"/>
                </a:lnTo>
                <a:lnTo>
                  <a:pt x="1096" y="1020"/>
                </a:lnTo>
                <a:lnTo>
                  <a:pt x="1088" y="1018"/>
                </a:lnTo>
                <a:lnTo>
                  <a:pt x="1080" y="1016"/>
                </a:lnTo>
                <a:lnTo>
                  <a:pt x="1072" y="1014"/>
                </a:lnTo>
                <a:lnTo>
                  <a:pt x="1064" y="1010"/>
                </a:lnTo>
                <a:lnTo>
                  <a:pt x="1064" y="1010"/>
                </a:lnTo>
                <a:lnTo>
                  <a:pt x="1056" y="1004"/>
                </a:lnTo>
                <a:lnTo>
                  <a:pt x="1056" y="1004"/>
                </a:lnTo>
                <a:lnTo>
                  <a:pt x="1050" y="1008"/>
                </a:lnTo>
                <a:lnTo>
                  <a:pt x="1050" y="1008"/>
                </a:lnTo>
                <a:lnTo>
                  <a:pt x="1032" y="1008"/>
                </a:lnTo>
                <a:lnTo>
                  <a:pt x="1032" y="1008"/>
                </a:lnTo>
                <a:lnTo>
                  <a:pt x="1028" y="1012"/>
                </a:lnTo>
                <a:lnTo>
                  <a:pt x="1026" y="1014"/>
                </a:lnTo>
                <a:lnTo>
                  <a:pt x="1026" y="1014"/>
                </a:lnTo>
                <a:lnTo>
                  <a:pt x="1056" y="1014"/>
                </a:lnTo>
                <a:lnTo>
                  <a:pt x="1056" y="1014"/>
                </a:lnTo>
                <a:lnTo>
                  <a:pt x="1064" y="1016"/>
                </a:lnTo>
                <a:lnTo>
                  <a:pt x="1064" y="1016"/>
                </a:lnTo>
                <a:lnTo>
                  <a:pt x="1086" y="1024"/>
                </a:lnTo>
                <a:lnTo>
                  <a:pt x="1086" y="1024"/>
                </a:lnTo>
                <a:lnTo>
                  <a:pt x="1080" y="1028"/>
                </a:lnTo>
                <a:lnTo>
                  <a:pt x="1080" y="1028"/>
                </a:lnTo>
                <a:lnTo>
                  <a:pt x="1072" y="1030"/>
                </a:lnTo>
                <a:lnTo>
                  <a:pt x="1072" y="1030"/>
                </a:lnTo>
                <a:lnTo>
                  <a:pt x="1064" y="1032"/>
                </a:lnTo>
                <a:lnTo>
                  <a:pt x="1062" y="1030"/>
                </a:lnTo>
                <a:lnTo>
                  <a:pt x="1058" y="1026"/>
                </a:lnTo>
                <a:lnTo>
                  <a:pt x="1058" y="1026"/>
                </a:lnTo>
                <a:lnTo>
                  <a:pt x="1050" y="1026"/>
                </a:lnTo>
                <a:lnTo>
                  <a:pt x="1050" y="1026"/>
                </a:lnTo>
                <a:lnTo>
                  <a:pt x="1052" y="1032"/>
                </a:lnTo>
                <a:lnTo>
                  <a:pt x="1052" y="1032"/>
                </a:lnTo>
                <a:lnTo>
                  <a:pt x="1046" y="1038"/>
                </a:lnTo>
                <a:lnTo>
                  <a:pt x="1046" y="1038"/>
                </a:lnTo>
                <a:lnTo>
                  <a:pt x="1050" y="1038"/>
                </a:lnTo>
                <a:lnTo>
                  <a:pt x="1054" y="1036"/>
                </a:lnTo>
                <a:lnTo>
                  <a:pt x="1054" y="1036"/>
                </a:lnTo>
                <a:lnTo>
                  <a:pt x="1060" y="1034"/>
                </a:lnTo>
                <a:lnTo>
                  <a:pt x="1066" y="1034"/>
                </a:lnTo>
                <a:lnTo>
                  <a:pt x="1076" y="1034"/>
                </a:lnTo>
                <a:lnTo>
                  <a:pt x="1076" y="1034"/>
                </a:lnTo>
                <a:lnTo>
                  <a:pt x="1082" y="1034"/>
                </a:lnTo>
                <a:lnTo>
                  <a:pt x="1088" y="1032"/>
                </a:lnTo>
                <a:lnTo>
                  <a:pt x="1088" y="1032"/>
                </a:lnTo>
                <a:lnTo>
                  <a:pt x="1100" y="1024"/>
                </a:lnTo>
                <a:lnTo>
                  <a:pt x="1100" y="1024"/>
                </a:lnTo>
                <a:lnTo>
                  <a:pt x="1114" y="1026"/>
                </a:lnTo>
                <a:lnTo>
                  <a:pt x="1120" y="1024"/>
                </a:lnTo>
                <a:lnTo>
                  <a:pt x="1126" y="1020"/>
                </a:lnTo>
                <a:lnTo>
                  <a:pt x="1126" y="1020"/>
                </a:lnTo>
                <a:lnTo>
                  <a:pt x="1144" y="1030"/>
                </a:lnTo>
                <a:lnTo>
                  <a:pt x="1144" y="1030"/>
                </a:lnTo>
                <a:lnTo>
                  <a:pt x="1150" y="1024"/>
                </a:lnTo>
                <a:lnTo>
                  <a:pt x="1150" y="1024"/>
                </a:lnTo>
                <a:lnTo>
                  <a:pt x="1158" y="1022"/>
                </a:lnTo>
                <a:lnTo>
                  <a:pt x="1158" y="1022"/>
                </a:lnTo>
                <a:lnTo>
                  <a:pt x="1162" y="1024"/>
                </a:lnTo>
                <a:lnTo>
                  <a:pt x="1162" y="1024"/>
                </a:lnTo>
                <a:lnTo>
                  <a:pt x="1156" y="1028"/>
                </a:lnTo>
                <a:lnTo>
                  <a:pt x="1156" y="1028"/>
                </a:lnTo>
                <a:lnTo>
                  <a:pt x="1154" y="1030"/>
                </a:lnTo>
                <a:lnTo>
                  <a:pt x="1154" y="1030"/>
                </a:lnTo>
                <a:lnTo>
                  <a:pt x="1156" y="1036"/>
                </a:lnTo>
                <a:lnTo>
                  <a:pt x="1156" y="1036"/>
                </a:lnTo>
                <a:lnTo>
                  <a:pt x="1132" y="1042"/>
                </a:lnTo>
                <a:lnTo>
                  <a:pt x="1132" y="1042"/>
                </a:lnTo>
                <a:lnTo>
                  <a:pt x="1118" y="1038"/>
                </a:lnTo>
                <a:lnTo>
                  <a:pt x="1104" y="1040"/>
                </a:lnTo>
                <a:lnTo>
                  <a:pt x="1104" y="1040"/>
                </a:lnTo>
                <a:lnTo>
                  <a:pt x="1112" y="1046"/>
                </a:lnTo>
                <a:lnTo>
                  <a:pt x="1112" y="1046"/>
                </a:lnTo>
                <a:lnTo>
                  <a:pt x="1118" y="1042"/>
                </a:lnTo>
                <a:lnTo>
                  <a:pt x="1122" y="1040"/>
                </a:lnTo>
                <a:lnTo>
                  <a:pt x="1126" y="1042"/>
                </a:lnTo>
                <a:lnTo>
                  <a:pt x="1126" y="1042"/>
                </a:lnTo>
                <a:lnTo>
                  <a:pt x="1134" y="1046"/>
                </a:lnTo>
                <a:lnTo>
                  <a:pt x="1142" y="1048"/>
                </a:lnTo>
                <a:lnTo>
                  <a:pt x="1142" y="1048"/>
                </a:lnTo>
                <a:lnTo>
                  <a:pt x="1146" y="1052"/>
                </a:lnTo>
                <a:lnTo>
                  <a:pt x="1146" y="1052"/>
                </a:lnTo>
                <a:lnTo>
                  <a:pt x="1140" y="1054"/>
                </a:lnTo>
                <a:lnTo>
                  <a:pt x="1136" y="1058"/>
                </a:lnTo>
                <a:lnTo>
                  <a:pt x="1136" y="1058"/>
                </a:lnTo>
                <a:lnTo>
                  <a:pt x="1132" y="1064"/>
                </a:lnTo>
                <a:lnTo>
                  <a:pt x="1124" y="1068"/>
                </a:lnTo>
                <a:lnTo>
                  <a:pt x="1124" y="1068"/>
                </a:lnTo>
                <a:lnTo>
                  <a:pt x="1122" y="1070"/>
                </a:lnTo>
                <a:lnTo>
                  <a:pt x="1124" y="1072"/>
                </a:lnTo>
                <a:lnTo>
                  <a:pt x="1124" y="1072"/>
                </a:lnTo>
                <a:lnTo>
                  <a:pt x="1148" y="1070"/>
                </a:lnTo>
                <a:lnTo>
                  <a:pt x="1148" y="1070"/>
                </a:lnTo>
                <a:lnTo>
                  <a:pt x="1166" y="1066"/>
                </a:lnTo>
                <a:lnTo>
                  <a:pt x="1184" y="1064"/>
                </a:lnTo>
                <a:lnTo>
                  <a:pt x="1184" y="1064"/>
                </a:lnTo>
                <a:lnTo>
                  <a:pt x="1194" y="1062"/>
                </a:lnTo>
                <a:lnTo>
                  <a:pt x="1204" y="1064"/>
                </a:lnTo>
                <a:lnTo>
                  <a:pt x="1204" y="1064"/>
                </a:lnTo>
                <a:lnTo>
                  <a:pt x="1204" y="1062"/>
                </a:lnTo>
                <a:lnTo>
                  <a:pt x="1206" y="1060"/>
                </a:lnTo>
                <a:lnTo>
                  <a:pt x="1210" y="1058"/>
                </a:lnTo>
                <a:lnTo>
                  <a:pt x="1216" y="1058"/>
                </a:lnTo>
                <a:lnTo>
                  <a:pt x="1220" y="1056"/>
                </a:lnTo>
                <a:lnTo>
                  <a:pt x="1220" y="1056"/>
                </a:lnTo>
                <a:lnTo>
                  <a:pt x="1214" y="1050"/>
                </a:lnTo>
                <a:lnTo>
                  <a:pt x="1202" y="1050"/>
                </a:lnTo>
                <a:lnTo>
                  <a:pt x="1202" y="1050"/>
                </a:lnTo>
                <a:lnTo>
                  <a:pt x="1210" y="1044"/>
                </a:lnTo>
                <a:lnTo>
                  <a:pt x="1210" y="1044"/>
                </a:lnTo>
                <a:lnTo>
                  <a:pt x="1196" y="1040"/>
                </a:lnTo>
                <a:lnTo>
                  <a:pt x="1196" y="1040"/>
                </a:lnTo>
                <a:lnTo>
                  <a:pt x="1192" y="1044"/>
                </a:lnTo>
                <a:lnTo>
                  <a:pt x="1190" y="1046"/>
                </a:lnTo>
                <a:lnTo>
                  <a:pt x="1186" y="1050"/>
                </a:lnTo>
                <a:lnTo>
                  <a:pt x="1180" y="1050"/>
                </a:lnTo>
                <a:lnTo>
                  <a:pt x="1180" y="1050"/>
                </a:lnTo>
                <a:lnTo>
                  <a:pt x="1176" y="1046"/>
                </a:lnTo>
                <a:lnTo>
                  <a:pt x="1170" y="1044"/>
                </a:lnTo>
                <a:lnTo>
                  <a:pt x="1170" y="1044"/>
                </a:lnTo>
                <a:lnTo>
                  <a:pt x="1156" y="1040"/>
                </a:lnTo>
                <a:lnTo>
                  <a:pt x="1156" y="1040"/>
                </a:lnTo>
                <a:lnTo>
                  <a:pt x="1162" y="1034"/>
                </a:lnTo>
                <a:lnTo>
                  <a:pt x="1168" y="1030"/>
                </a:lnTo>
                <a:lnTo>
                  <a:pt x="1178" y="1018"/>
                </a:lnTo>
                <a:lnTo>
                  <a:pt x="1178" y="1018"/>
                </a:lnTo>
                <a:lnTo>
                  <a:pt x="1186" y="1014"/>
                </a:lnTo>
                <a:lnTo>
                  <a:pt x="1196" y="1012"/>
                </a:lnTo>
                <a:lnTo>
                  <a:pt x="1196" y="1012"/>
                </a:lnTo>
                <a:lnTo>
                  <a:pt x="1204" y="1012"/>
                </a:lnTo>
                <a:lnTo>
                  <a:pt x="1204" y="1012"/>
                </a:lnTo>
                <a:lnTo>
                  <a:pt x="1204" y="1012"/>
                </a:lnTo>
                <a:lnTo>
                  <a:pt x="1204" y="1012"/>
                </a:lnTo>
                <a:lnTo>
                  <a:pt x="1192" y="1004"/>
                </a:lnTo>
                <a:lnTo>
                  <a:pt x="1192" y="1004"/>
                </a:lnTo>
                <a:lnTo>
                  <a:pt x="1198" y="1002"/>
                </a:lnTo>
                <a:lnTo>
                  <a:pt x="1198" y="1002"/>
                </a:lnTo>
                <a:lnTo>
                  <a:pt x="1214" y="998"/>
                </a:lnTo>
                <a:lnTo>
                  <a:pt x="1214" y="998"/>
                </a:lnTo>
                <a:lnTo>
                  <a:pt x="1214" y="994"/>
                </a:lnTo>
                <a:lnTo>
                  <a:pt x="1214" y="990"/>
                </a:lnTo>
                <a:lnTo>
                  <a:pt x="1214" y="990"/>
                </a:lnTo>
                <a:lnTo>
                  <a:pt x="1220" y="988"/>
                </a:lnTo>
                <a:lnTo>
                  <a:pt x="1226" y="986"/>
                </a:lnTo>
                <a:lnTo>
                  <a:pt x="1226" y="986"/>
                </a:lnTo>
                <a:lnTo>
                  <a:pt x="1226" y="978"/>
                </a:lnTo>
                <a:lnTo>
                  <a:pt x="1226" y="974"/>
                </a:lnTo>
                <a:lnTo>
                  <a:pt x="1220" y="970"/>
                </a:lnTo>
                <a:lnTo>
                  <a:pt x="1214" y="968"/>
                </a:lnTo>
                <a:lnTo>
                  <a:pt x="1214" y="968"/>
                </a:lnTo>
                <a:lnTo>
                  <a:pt x="1214" y="966"/>
                </a:lnTo>
                <a:lnTo>
                  <a:pt x="1218" y="966"/>
                </a:lnTo>
                <a:lnTo>
                  <a:pt x="1224" y="966"/>
                </a:lnTo>
                <a:lnTo>
                  <a:pt x="1224" y="966"/>
                </a:lnTo>
                <a:lnTo>
                  <a:pt x="1230" y="970"/>
                </a:lnTo>
                <a:lnTo>
                  <a:pt x="1230" y="970"/>
                </a:lnTo>
                <a:lnTo>
                  <a:pt x="1238" y="972"/>
                </a:lnTo>
                <a:lnTo>
                  <a:pt x="1244" y="970"/>
                </a:lnTo>
                <a:lnTo>
                  <a:pt x="1244" y="970"/>
                </a:lnTo>
                <a:lnTo>
                  <a:pt x="1258" y="968"/>
                </a:lnTo>
                <a:lnTo>
                  <a:pt x="1270" y="970"/>
                </a:lnTo>
                <a:lnTo>
                  <a:pt x="1270" y="970"/>
                </a:lnTo>
                <a:lnTo>
                  <a:pt x="1278" y="970"/>
                </a:lnTo>
                <a:lnTo>
                  <a:pt x="1278" y="970"/>
                </a:lnTo>
                <a:lnTo>
                  <a:pt x="1268" y="964"/>
                </a:lnTo>
                <a:lnTo>
                  <a:pt x="1264" y="962"/>
                </a:lnTo>
                <a:lnTo>
                  <a:pt x="1256" y="962"/>
                </a:lnTo>
                <a:lnTo>
                  <a:pt x="1256" y="962"/>
                </a:lnTo>
                <a:lnTo>
                  <a:pt x="1250" y="960"/>
                </a:lnTo>
                <a:lnTo>
                  <a:pt x="1250" y="960"/>
                </a:lnTo>
                <a:lnTo>
                  <a:pt x="1256" y="954"/>
                </a:lnTo>
                <a:lnTo>
                  <a:pt x="1256" y="954"/>
                </a:lnTo>
                <a:lnTo>
                  <a:pt x="1260" y="948"/>
                </a:lnTo>
                <a:lnTo>
                  <a:pt x="1260" y="948"/>
                </a:lnTo>
                <a:lnTo>
                  <a:pt x="1256" y="938"/>
                </a:lnTo>
                <a:lnTo>
                  <a:pt x="1256" y="938"/>
                </a:lnTo>
                <a:lnTo>
                  <a:pt x="1252" y="942"/>
                </a:lnTo>
                <a:lnTo>
                  <a:pt x="1248" y="944"/>
                </a:lnTo>
                <a:lnTo>
                  <a:pt x="1244" y="944"/>
                </a:lnTo>
                <a:lnTo>
                  <a:pt x="1238" y="944"/>
                </a:lnTo>
                <a:lnTo>
                  <a:pt x="1238" y="944"/>
                </a:lnTo>
                <a:lnTo>
                  <a:pt x="1234" y="942"/>
                </a:lnTo>
                <a:lnTo>
                  <a:pt x="1228" y="944"/>
                </a:lnTo>
                <a:lnTo>
                  <a:pt x="1222" y="942"/>
                </a:lnTo>
                <a:lnTo>
                  <a:pt x="1218" y="940"/>
                </a:lnTo>
                <a:lnTo>
                  <a:pt x="1218" y="940"/>
                </a:lnTo>
                <a:lnTo>
                  <a:pt x="1224" y="940"/>
                </a:lnTo>
                <a:lnTo>
                  <a:pt x="1224" y="940"/>
                </a:lnTo>
                <a:lnTo>
                  <a:pt x="1232" y="938"/>
                </a:lnTo>
                <a:lnTo>
                  <a:pt x="1236" y="936"/>
                </a:lnTo>
                <a:lnTo>
                  <a:pt x="1238" y="932"/>
                </a:lnTo>
                <a:lnTo>
                  <a:pt x="1238" y="932"/>
                </a:lnTo>
                <a:lnTo>
                  <a:pt x="1240" y="930"/>
                </a:lnTo>
                <a:lnTo>
                  <a:pt x="1242" y="928"/>
                </a:lnTo>
                <a:lnTo>
                  <a:pt x="1250" y="928"/>
                </a:lnTo>
                <a:lnTo>
                  <a:pt x="1250" y="928"/>
                </a:lnTo>
                <a:lnTo>
                  <a:pt x="1274" y="934"/>
                </a:lnTo>
                <a:lnTo>
                  <a:pt x="1274" y="934"/>
                </a:lnTo>
                <a:lnTo>
                  <a:pt x="1270" y="930"/>
                </a:lnTo>
                <a:lnTo>
                  <a:pt x="1270" y="930"/>
                </a:lnTo>
                <a:lnTo>
                  <a:pt x="1270" y="928"/>
                </a:lnTo>
                <a:lnTo>
                  <a:pt x="1270" y="928"/>
                </a:lnTo>
                <a:lnTo>
                  <a:pt x="1274" y="926"/>
                </a:lnTo>
                <a:lnTo>
                  <a:pt x="1274" y="926"/>
                </a:lnTo>
                <a:lnTo>
                  <a:pt x="1292" y="932"/>
                </a:lnTo>
                <a:lnTo>
                  <a:pt x="1292" y="932"/>
                </a:lnTo>
                <a:lnTo>
                  <a:pt x="1282" y="938"/>
                </a:lnTo>
                <a:lnTo>
                  <a:pt x="1282" y="938"/>
                </a:lnTo>
                <a:lnTo>
                  <a:pt x="1284" y="940"/>
                </a:lnTo>
                <a:lnTo>
                  <a:pt x="1284" y="942"/>
                </a:lnTo>
                <a:lnTo>
                  <a:pt x="1282" y="946"/>
                </a:lnTo>
                <a:lnTo>
                  <a:pt x="1276" y="950"/>
                </a:lnTo>
                <a:lnTo>
                  <a:pt x="1272" y="952"/>
                </a:lnTo>
                <a:lnTo>
                  <a:pt x="1272" y="952"/>
                </a:lnTo>
                <a:lnTo>
                  <a:pt x="1280" y="952"/>
                </a:lnTo>
                <a:lnTo>
                  <a:pt x="1280" y="952"/>
                </a:lnTo>
                <a:lnTo>
                  <a:pt x="1286" y="950"/>
                </a:lnTo>
                <a:lnTo>
                  <a:pt x="1290" y="950"/>
                </a:lnTo>
                <a:lnTo>
                  <a:pt x="1292" y="952"/>
                </a:lnTo>
                <a:lnTo>
                  <a:pt x="1294" y="954"/>
                </a:lnTo>
                <a:lnTo>
                  <a:pt x="1294" y="954"/>
                </a:lnTo>
                <a:lnTo>
                  <a:pt x="1292" y="960"/>
                </a:lnTo>
                <a:lnTo>
                  <a:pt x="1290" y="964"/>
                </a:lnTo>
                <a:lnTo>
                  <a:pt x="1290" y="964"/>
                </a:lnTo>
                <a:lnTo>
                  <a:pt x="1286" y="966"/>
                </a:lnTo>
                <a:lnTo>
                  <a:pt x="1286" y="968"/>
                </a:lnTo>
                <a:lnTo>
                  <a:pt x="1286" y="972"/>
                </a:lnTo>
                <a:lnTo>
                  <a:pt x="1286" y="972"/>
                </a:lnTo>
                <a:lnTo>
                  <a:pt x="1298" y="974"/>
                </a:lnTo>
                <a:lnTo>
                  <a:pt x="1298" y="974"/>
                </a:lnTo>
                <a:lnTo>
                  <a:pt x="1298" y="972"/>
                </a:lnTo>
                <a:lnTo>
                  <a:pt x="1300" y="968"/>
                </a:lnTo>
                <a:lnTo>
                  <a:pt x="1310" y="966"/>
                </a:lnTo>
                <a:lnTo>
                  <a:pt x="1310" y="966"/>
                </a:lnTo>
                <a:lnTo>
                  <a:pt x="1318" y="964"/>
                </a:lnTo>
                <a:lnTo>
                  <a:pt x="1324" y="964"/>
                </a:lnTo>
                <a:lnTo>
                  <a:pt x="1324" y="964"/>
                </a:lnTo>
                <a:lnTo>
                  <a:pt x="1328" y="962"/>
                </a:lnTo>
                <a:lnTo>
                  <a:pt x="1332" y="962"/>
                </a:lnTo>
                <a:lnTo>
                  <a:pt x="1342" y="962"/>
                </a:lnTo>
                <a:lnTo>
                  <a:pt x="1342" y="962"/>
                </a:lnTo>
                <a:lnTo>
                  <a:pt x="1364" y="952"/>
                </a:lnTo>
                <a:lnTo>
                  <a:pt x="1364" y="952"/>
                </a:lnTo>
                <a:lnTo>
                  <a:pt x="1350" y="946"/>
                </a:lnTo>
                <a:lnTo>
                  <a:pt x="1350" y="946"/>
                </a:lnTo>
                <a:lnTo>
                  <a:pt x="1356" y="944"/>
                </a:lnTo>
                <a:lnTo>
                  <a:pt x="1362" y="942"/>
                </a:lnTo>
                <a:lnTo>
                  <a:pt x="1362" y="942"/>
                </a:lnTo>
                <a:lnTo>
                  <a:pt x="1364" y="938"/>
                </a:lnTo>
                <a:lnTo>
                  <a:pt x="1368" y="938"/>
                </a:lnTo>
                <a:lnTo>
                  <a:pt x="1378" y="936"/>
                </a:lnTo>
                <a:lnTo>
                  <a:pt x="1378" y="936"/>
                </a:lnTo>
                <a:lnTo>
                  <a:pt x="1384" y="938"/>
                </a:lnTo>
                <a:lnTo>
                  <a:pt x="1386" y="942"/>
                </a:lnTo>
                <a:lnTo>
                  <a:pt x="1386" y="942"/>
                </a:lnTo>
                <a:lnTo>
                  <a:pt x="1384" y="950"/>
                </a:lnTo>
                <a:lnTo>
                  <a:pt x="1384" y="950"/>
                </a:lnTo>
                <a:lnTo>
                  <a:pt x="1394" y="948"/>
                </a:lnTo>
                <a:lnTo>
                  <a:pt x="1394" y="948"/>
                </a:lnTo>
                <a:lnTo>
                  <a:pt x="1388" y="944"/>
                </a:lnTo>
                <a:lnTo>
                  <a:pt x="1388" y="944"/>
                </a:lnTo>
                <a:lnTo>
                  <a:pt x="1392" y="942"/>
                </a:lnTo>
                <a:lnTo>
                  <a:pt x="1396" y="940"/>
                </a:lnTo>
                <a:lnTo>
                  <a:pt x="1406" y="940"/>
                </a:lnTo>
                <a:lnTo>
                  <a:pt x="1406" y="940"/>
                </a:lnTo>
                <a:lnTo>
                  <a:pt x="1406" y="946"/>
                </a:lnTo>
                <a:lnTo>
                  <a:pt x="1408" y="954"/>
                </a:lnTo>
                <a:lnTo>
                  <a:pt x="1414" y="960"/>
                </a:lnTo>
                <a:lnTo>
                  <a:pt x="1420" y="966"/>
                </a:lnTo>
                <a:lnTo>
                  <a:pt x="1420" y="966"/>
                </a:lnTo>
                <a:lnTo>
                  <a:pt x="1412" y="966"/>
                </a:lnTo>
                <a:lnTo>
                  <a:pt x="1412" y="966"/>
                </a:lnTo>
                <a:lnTo>
                  <a:pt x="1402" y="964"/>
                </a:lnTo>
                <a:lnTo>
                  <a:pt x="1396" y="960"/>
                </a:lnTo>
                <a:lnTo>
                  <a:pt x="1396" y="960"/>
                </a:lnTo>
                <a:lnTo>
                  <a:pt x="1392" y="956"/>
                </a:lnTo>
                <a:lnTo>
                  <a:pt x="1388" y="956"/>
                </a:lnTo>
                <a:lnTo>
                  <a:pt x="1384" y="956"/>
                </a:lnTo>
                <a:lnTo>
                  <a:pt x="1380" y="960"/>
                </a:lnTo>
                <a:lnTo>
                  <a:pt x="1380" y="960"/>
                </a:lnTo>
                <a:lnTo>
                  <a:pt x="1376" y="964"/>
                </a:lnTo>
                <a:lnTo>
                  <a:pt x="1376" y="964"/>
                </a:lnTo>
                <a:lnTo>
                  <a:pt x="1352" y="970"/>
                </a:lnTo>
                <a:lnTo>
                  <a:pt x="1352" y="970"/>
                </a:lnTo>
                <a:lnTo>
                  <a:pt x="1354" y="972"/>
                </a:lnTo>
                <a:lnTo>
                  <a:pt x="1352" y="974"/>
                </a:lnTo>
                <a:lnTo>
                  <a:pt x="1342" y="976"/>
                </a:lnTo>
                <a:lnTo>
                  <a:pt x="1342" y="976"/>
                </a:lnTo>
                <a:lnTo>
                  <a:pt x="1348" y="978"/>
                </a:lnTo>
                <a:lnTo>
                  <a:pt x="1352" y="978"/>
                </a:lnTo>
                <a:lnTo>
                  <a:pt x="1358" y="976"/>
                </a:lnTo>
                <a:lnTo>
                  <a:pt x="1358" y="976"/>
                </a:lnTo>
                <a:lnTo>
                  <a:pt x="1364" y="976"/>
                </a:lnTo>
                <a:lnTo>
                  <a:pt x="1366" y="978"/>
                </a:lnTo>
                <a:lnTo>
                  <a:pt x="1366" y="980"/>
                </a:lnTo>
                <a:lnTo>
                  <a:pt x="1366" y="980"/>
                </a:lnTo>
                <a:lnTo>
                  <a:pt x="1386" y="982"/>
                </a:lnTo>
                <a:lnTo>
                  <a:pt x="1386" y="982"/>
                </a:lnTo>
                <a:lnTo>
                  <a:pt x="1380" y="984"/>
                </a:lnTo>
                <a:lnTo>
                  <a:pt x="1380" y="984"/>
                </a:lnTo>
                <a:lnTo>
                  <a:pt x="1394" y="996"/>
                </a:lnTo>
                <a:lnTo>
                  <a:pt x="1394" y="996"/>
                </a:lnTo>
                <a:lnTo>
                  <a:pt x="1398" y="998"/>
                </a:lnTo>
                <a:lnTo>
                  <a:pt x="1402" y="998"/>
                </a:lnTo>
                <a:lnTo>
                  <a:pt x="1408" y="1000"/>
                </a:lnTo>
                <a:lnTo>
                  <a:pt x="1412" y="1004"/>
                </a:lnTo>
                <a:lnTo>
                  <a:pt x="1412" y="1004"/>
                </a:lnTo>
                <a:lnTo>
                  <a:pt x="1400" y="1004"/>
                </a:lnTo>
                <a:lnTo>
                  <a:pt x="1394" y="1004"/>
                </a:lnTo>
                <a:lnTo>
                  <a:pt x="1388" y="1002"/>
                </a:lnTo>
                <a:lnTo>
                  <a:pt x="1388" y="1002"/>
                </a:lnTo>
                <a:lnTo>
                  <a:pt x="1380" y="1002"/>
                </a:lnTo>
                <a:lnTo>
                  <a:pt x="1380" y="1002"/>
                </a:lnTo>
                <a:lnTo>
                  <a:pt x="1378" y="1004"/>
                </a:lnTo>
                <a:lnTo>
                  <a:pt x="1376" y="1006"/>
                </a:lnTo>
                <a:lnTo>
                  <a:pt x="1376" y="1006"/>
                </a:lnTo>
                <a:lnTo>
                  <a:pt x="1380" y="1006"/>
                </a:lnTo>
                <a:lnTo>
                  <a:pt x="1380" y="1006"/>
                </a:lnTo>
                <a:lnTo>
                  <a:pt x="1388" y="1008"/>
                </a:lnTo>
                <a:lnTo>
                  <a:pt x="1388" y="1008"/>
                </a:lnTo>
                <a:lnTo>
                  <a:pt x="1388" y="1010"/>
                </a:lnTo>
                <a:lnTo>
                  <a:pt x="1388" y="1010"/>
                </a:lnTo>
                <a:lnTo>
                  <a:pt x="1376" y="1010"/>
                </a:lnTo>
                <a:lnTo>
                  <a:pt x="1376" y="1010"/>
                </a:lnTo>
                <a:lnTo>
                  <a:pt x="1364" y="1016"/>
                </a:lnTo>
                <a:lnTo>
                  <a:pt x="1364" y="1016"/>
                </a:lnTo>
                <a:lnTo>
                  <a:pt x="1380" y="1022"/>
                </a:lnTo>
                <a:lnTo>
                  <a:pt x="1380" y="1022"/>
                </a:lnTo>
                <a:lnTo>
                  <a:pt x="1390" y="1020"/>
                </a:lnTo>
                <a:lnTo>
                  <a:pt x="1390" y="1020"/>
                </a:lnTo>
                <a:lnTo>
                  <a:pt x="1398" y="1020"/>
                </a:lnTo>
                <a:lnTo>
                  <a:pt x="1400" y="1020"/>
                </a:lnTo>
                <a:lnTo>
                  <a:pt x="1402" y="1024"/>
                </a:lnTo>
                <a:lnTo>
                  <a:pt x="1402" y="1024"/>
                </a:lnTo>
                <a:lnTo>
                  <a:pt x="1406" y="1026"/>
                </a:lnTo>
                <a:lnTo>
                  <a:pt x="1410" y="1026"/>
                </a:lnTo>
                <a:lnTo>
                  <a:pt x="1410" y="1026"/>
                </a:lnTo>
                <a:lnTo>
                  <a:pt x="1410" y="1028"/>
                </a:lnTo>
                <a:lnTo>
                  <a:pt x="1406" y="1030"/>
                </a:lnTo>
                <a:lnTo>
                  <a:pt x="1400" y="1032"/>
                </a:lnTo>
                <a:lnTo>
                  <a:pt x="1400" y="1032"/>
                </a:lnTo>
                <a:lnTo>
                  <a:pt x="1384" y="1036"/>
                </a:lnTo>
                <a:lnTo>
                  <a:pt x="1384" y="1036"/>
                </a:lnTo>
                <a:lnTo>
                  <a:pt x="1386" y="1038"/>
                </a:lnTo>
                <a:lnTo>
                  <a:pt x="1386" y="1040"/>
                </a:lnTo>
                <a:lnTo>
                  <a:pt x="1380" y="1044"/>
                </a:lnTo>
                <a:lnTo>
                  <a:pt x="1380" y="1044"/>
                </a:lnTo>
                <a:lnTo>
                  <a:pt x="1380" y="1044"/>
                </a:lnTo>
                <a:lnTo>
                  <a:pt x="1380" y="1044"/>
                </a:lnTo>
                <a:lnTo>
                  <a:pt x="1380" y="1044"/>
                </a:lnTo>
                <a:lnTo>
                  <a:pt x="1380" y="1044"/>
                </a:lnTo>
                <a:lnTo>
                  <a:pt x="1380" y="1044"/>
                </a:lnTo>
                <a:lnTo>
                  <a:pt x="1380" y="1044"/>
                </a:lnTo>
                <a:lnTo>
                  <a:pt x="1380" y="1044"/>
                </a:lnTo>
                <a:lnTo>
                  <a:pt x="1368" y="1048"/>
                </a:lnTo>
                <a:lnTo>
                  <a:pt x="1368" y="1048"/>
                </a:lnTo>
                <a:lnTo>
                  <a:pt x="1374" y="1054"/>
                </a:lnTo>
                <a:lnTo>
                  <a:pt x="1374" y="1054"/>
                </a:lnTo>
                <a:lnTo>
                  <a:pt x="1364" y="1062"/>
                </a:lnTo>
                <a:lnTo>
                  <a:pt x="1364" y="1062"/>
                </a:lnTo>
                <a:lnTo>
                  <a:pt x="1366" y="1070"/>
                </a:lnTo>
                <a:lnTo>
                  <a:pt x="1366" y="1074"/>
                </a:lnTo>
                <a:lnTo>
                  <a:pt x="1364" y="1080"/>
                </a:lnTo>
                <a:lnTo>
                  <a:pt x="1358" y="1086"/>
                </a:lnTo>
                <a:lnTo>
                  <a:pt x="1358" y="1086"/>
                </a:lnTo>
                <a:lnTo>
                  <a:pt x="1350" y="1092"/>
                </a:lnTo>
                <a:lnTo>
                  <a:pt x="1350" y="1092"/>
                </a:lnTo>
                <a:lnTo>
                  <a:pt x="1350" y="1094"/>
                </a:lnTo>
                <a:lnTo>
                  <a:pt x="1350" y="1098"/>
                </a:lnTo>
                <a:lnTo>
                  <a:pt x="1350" y="1098"/>
                </a:lnTo>
                <a:lnTo>
                  <a:pt x="1354" y="1094"/>
                </a:lnTo>
                <a:lnTo>
                  <a:pt x="1354" y="1094"/>
                </a:lnTo>
                <a:lnTo>
                  <a:pt x="1360" y="1090"/>
                </a:lnTo>
                <a:lnTo>
                  <a:pt x="1366" y="1088"/>
                </a:lnTo>
                <a:lnTo>
                  <a:pt x="1374" y="1088"/>
                </a:lnTo>
                <a:lnTo>
                  <a:pt x="1382" y="1090"/>
                </a:lnTo>
                <a:lnTo>
                  <a:pt x="1382" y="1090"/>
                </a:lnTo>
                <a:lnTo>
                  <a:pt x="1392" y="1092"/>
                </a:lnTo>
                <a:lnTo>
                  <a:pt x="1400" y="1088"/>
                </a:lnTo>
                <a:lnTo>
                  <a:pt x="1400" y="1088"/>
                </a:lnTo>
                <a:lnTo>
                  <a:pt x="1408" y="1084"/>
                </a:lnTo>
                <a:lnTo>
                  <a:pt x="1408" y="1084"/>
                </a:lnTo>
                <a:lnTo>
                  <a:pt x="1408" y="1076"/>
                </a:lnTo>
                <a:lnTo>
                  <a:pt x="1408" y="1076"/>
                </a:lnTo>
                <a:lnTo>
                  <a:pt x="1394" y="1074"/>
                </a:lnTo>
                <a:lnTo>
                  <a:pt x="1394" y="1074"/>
                </a:lnTo>
                <a:lnTo>
                  <a:pt x="1402" y="1070"/>
                </a:lnTo>
                <a:lnTo>
                  <a:pt x="1402" y="1070"/>
                </a:lnTo>
                <a:lnTo>
                  <a:pt x="1394" y="1070"/>
                </a:lnTo>
                <a:lnTo>
                  <a:pt x="1386" y="1070"/>
                </a:lnTo>
                <a:lnTo>
                  <a:pt x="1380" y="1072"/>
                </a:lnTo>
                <a:lnTo>
                  <a:pt x="1372" y="1070"/>
                </a:lnTo>
                <a:lnTo>
                  <a:pt x="1372" y="1070"/>
                </a:lnTo>
                <a:lnTo>
                  <a:pt x="1374" y="1066"/>
                </a:lnTo>
                <a:lnTo>
                  <a:pt x="1374" y="1066"/>
                </a:lnTo>
                <a:lnTo>
                  <a:pt x="1374" y="1062"/>
                </a:lnTo>
                <a:lnTo>
                  <a:pt x="1376" y="1058"/>
                </a:lnTo>
                <a:lnTo>
                  <a:pt x="1382" y="1056"/>
                </a:lnTo>
                <a:lnTo>
                  <a:pt x="1388" y="1056"/>
                </a:lnTo>
                <a:lnTo>
                  <a:pt x="1388" y="1056"/>
                </a:lnTo>
                <a:lnTo>
                  <a:pt x="1394" y="1054"/>
                </a:lnTo>
                <a:lnTo>
                  <a:pt x="1400" y="1052"/>
                </a:lnTo>
                <a:lnTo>
                  <a:pt x="1400" y="1052"/>
                </a:lnTo>
                <a:lnTo>
                  <a:pt x="1404" y="1048"/>
                </a:lnTo>
                <a:lnTo>
                  <a:pt x="1410" y="1046"/>
                </a:lnTo>
                <a:lnTo>
                  <a:pt x="1422" y="1046"/>
                </a:lnTo>
                <a:lnTo>
                  <a:pt x="1422" y="1046"/>
                </a:lnTo>
                <a:lnTo>
                  <a:pt x="1432" y="1046"/>
                </a:lnTo>
                <a:lnTo>
                  <a:pt x="1440" y="1044"/>
                </a:lnTo>
                <a:lnTo>
                  <a:pt x="1440" y="1044"/>
                </a:lnTo>
                <a:lnTo>
                  <a:pt x="1446" y="1046"/>
                </a:lnTo>
                <a:lnTo>
                  <a:pt x="1446" y="1046"/>
                </a:lnTo>
                <a:lnTo>
                  <a:pt x="1448" y="1046"/>
                </a:lnTo>
                <a:lnTo>
                  <a:pt x="1448" y="1046"/>
                </a:lnTo>
                <a:lnTo>
                  <a:pt x="1442" y="1038"/>
                </a:lnTo>
                <a:lnTo>
                  <a:pt x="1442" y="1038"/>
                </a:lnTo>
                <a:lnTo>
                  <a:pt x="1450" y="1032"/>
                </a:lnTo>
                <a:lnTo>
                  <a:pt x="1450" y="1032"/>
                </a:lnTo>
                <a:lnTo>
                  <a:pt x="1454" y="1034"/>
                </a:lnTo>
                <a:lnTo>
                  <a:pt x="1454" y="1034"/>
                </a:lnTo>
                <a:lnTo>
                  <a:pt x="1464" y="1030"/>
                </a:lnTo>
                <a:lnTo>
                  <a:pt x="1464" y="1030"/>
                </a:lnTo>
                <a:lnTo>
                  <a:pt x="1468" y="1034"/>
                </a:lnTo>
                <a:lnTo>
                  <a:pt x="1472" y="1036"/>
                </a:lnTo>
                <a:lnTo>
                  <a:pt x="1480" y="1036"/>
                </a:lnTo>
                <a:lnTo>
                  <a:pt x="1488" y="1034"/>
                </a:lnTo>
                <a:lnTo>
                  <a:pt x="1496" y="1032"/>
                </a:lnTo>
                <a:lnTo>
                  <a:pt x="1496" y="1032"/>
                </a:lnTo>
                <a:lnTo>
                  <a:pt x="1496" y="1030"/>
                </a:lnTo>
                <a:lnTo>
                  <a:pt x="1496" y="1028"/>
                </a:lnTo>
                <a:lnTo>
                  <a:pt x="1502" y="1026"/>
                </a:lnTo>
                <a:lnTo>
                  <a:pt x="1502" y="1026"/>
                </a:lnTo>
                <a:lnTo>
                  <a:pt x="1506" y="1026"/>
                </a:lnTo>
                <a:lnTo>
                  <a:pt x="1510" y="1028"/>
                </a:lnTo>
                <a:lnTo>
                  <a:pt x="1510" y="1028"/>
                </a:lnTo>
                <a:lnTo>
                  <a:pt x="1512" y="1030"/>
                </a:lnTo>
                <a:lnTo>
                  <a:pt x="1512" y="1034"/>
                </a:lnTo>
                <a:lnTo>
                  <a:pt x="1506" y="1040"/>
                </a:lnTo>
                <a:lnTo>
                  <a:pt x="1506" y="1040"/>
                </a:lnTo>
                <a:lnTo>
                  <a:pt x="1512" y="1044"/>
                </a:lnTo>
                <a:lnTo>
                  <a:pt x="1518" y="1048"/>
                </a:lnTo>
                <a:lnTo>
                  <a:pt x="1518" y="1048"/>
                </a:lnTo>
                <a:lnTo>
                  <a:pt x="1528" y="1048"/>
                </a:lnTo>
                <a:lnTo>
                  <a:pt x="1538" y="1048"/>
                </a:lnTo>
                <a:lnTo>
                  <a:pt x="1546" y="1046"/>
                </a:lnTo>
                <a:lnTo>
                  <a:pt x="1554" y="1040"/>
                </a:lnTo>
                <a:lnTo>
                  <a:pt x="1554" y="1040"/>
                </a:lnTo>
                <a:lnTo>
                  <a:pt x="1560" y="1040"/>
                </a:lnTo>
                <a:lnTo>
                  <a:pt x="1560" y="1040"/>
                </a:lnTo>
                <a:lnTo>
                  <a:pt x="1570" y="1038"/>
                </a:lnTo>
                <a:lnTo>
                  <a:pt x="1578" y="1038"/>
                </a:lnTo>
                <a:lnTo>
                  <a:pt x="1578" y="1038"/>
                </a:lnTo>
                <a:lnTo>
                  <a:pt x="1592" y="1040"/>
                </a:lnTo>
                <a:lnTo>
                  <a:pt x="1600" y="1038"/>
                </a:lnTo>
                <a:lnTo>
                  <a:pt x="1606" y="1036"/>
                </a:lnTo>
                <a:lnTo>
                  <a:pt x="1606" y="1036"/>
                </a:lnTo>
                <a:lnTo>
                  <a:pt x="1614" y="1042"/>
                </a:lnTo>
                <a:lnTo>
                  <a:pt x="1614" y="1042"/>
                </a:lnTo>
                <a:lnTo>
                  <a:pt x="1620" y="1042"/>
                </a:lnTo>
                <a:lnTo>
                  <a:pt x="1626" y="1044"/>
                </a:lnTo>
                <a:lnTo>
                  <a:pt x="1638" y="1050"/>
                </a:lnTo>
                <a:lnTo>
                  <a:pt x="1628" y="1050"/>
                </a:lnTo>
                <a:lnTo>
                  <a:pt x="1628" y="1050"/>
                </a:lnTo>
                <a:lnTo>
                  <a:pt x="1632" y="1054"/>
                </a:lnTo>
                <a:lnTo>
                  <a:pt x="1636" y="1054"/>
                </a:lnTo>
                <a:lnTo>
                  <a:pt x="1642" y="1054"/>
                </a:lnTo>
                <a:lnTo>
                  <a:pt x="1646" y="1056"/>
                </a:lnTo>
                <a:lnTo>
                  <a:pt x="1646" y="1056"/>
                </a:lnTo>
                <a:lnTo>
                  <a:pt x="1632" y="1062"/>
                </a:lnTo>
                <a:lnTo>
                  <a:pt x="1632" y="1062"/>
                </a:lnTo>
                <a:lnTo>
                  <a:pt x="1646" y="1068"/>
                </a:lnTo>
                <a:lnTo>
                  <a:pt x="1646" y="1068"/>
                </a:lnTo>
                <a:lnTo>
                  <a:pt x="1648" y="1078"/>
                </a:lnTo>
                <a:lnTo>
                  <a:pt x="1648" y="1078"/>
                </a:lnTo>
                <a:lnTo>
                  <a:pt x="1656" y="1074"/>
                </a:lnTo>
                <a:lnTo>
                  <a:pt x="1656" y="1074"/>
                </a:lnTo>
                <a:lnTo>
                  <a:pt x="1662" y="1070"/>
                </a:lnTo>
                <a:lnTo>
                  <a:pt x="1662" y="1070"/>
                </a:lnTo>
                <a:lnTo>
                  <a:pt x="1666" y="1068"/>
                </a:lnTo>
                <a:lnTo>
                  <a:pt x="1672" y="1068"/>
                </a:lnTo>
                <a:lnTo>
                  <a:pt x="1682" y="1068"/>
                </a:lnTo>
                <a:lnTo>
                  <a:pt x="1682" y="1068"/>
                </a:lnTo>
                <a:lnTo>
                  <a:pt x="1696" y="1072"/>
                </a:lnTo>
                <a:lnTo>
                  <a:pt x="1700" y="1074"/>
                </a:lnTo>
                <a:lnTo>
                  <a:pt x="1704" y="1078"/>
                </a:lnTo>
                <a:lnTo>
                  <a:pt x="1704" y="1078"/>
                </a:lnTo>
                <a:lnTo>
                  <a:pt x="1710" y="1074"/>
                </a:lnTo>
                <a:lnTo>
                  <a:pt x="1716" y="1074"/>
                </a:lnTo>
                <a:lnTo>
                  <a:pt x="1728" y="1074"/>
                </a:lnTo>
                <a:lnTo>
                  <a:pt x="1728" y="1074"/>
                </a:lnTo>
                <a:lnTo>
                  <a:pt x="1724" y="1080"/>
                </a:lnTo>
                <a:lnTo>
                  <a:pt x="1724" y="1080"/>
                </a:lnTo>
                <a:lnTo>
                  <a:pt x="1758" y="1084"/>
                </a:lnTo>
                <a:lnTo>
                  <a:pt x="1758" y="1084"/>
                </a:lnTo>
                <a:lnTo>
                  <a:pt x="1742" y="1090"/>
                </a:lnTo>
                <a:lnTo>
                  <a:pt x="1742" y="1090"/>
                </a:lnTo>
                <a:lnTo>
                  <a:pt x="1746" y="1102"/>
                </a:lnTo>
                <a:lnTo>
                  <a:pt x="1746" y="1102"/>
                </a:lnTo>
                <a:lnTo>
                  <a:pt x="1758" y="1114"/>
                </a:lnTo>
                <a:lnTo>
                  <a:pt x="1758" y="1114"/>
                </a:lnTo>
                <a:lnTo>
                  <a:pt x="1748" y="1116"/>
                </a:lnTo>
                <a:lnTo>
                  <a:pt x="1748" y="1116"/>
                </a:lnTo>
                <a:lnTo>
                  <a:pt x="1752" y="1120"/>
                </a:lnTo>
                <a:lnTo>
                  <a:pt x="1752" y="1120"/>
                </a:lnTo>
                <a:lnTo>
                  <a:pt x="1738" y="1120"/>
                </a:lnTo>
                <a:lnTo>
                  <a:pt x="1726" y="1124"/>
                </a:lnTo>
                <a:lnTo>
                  <a:pt x="1726" y="1124"/>
                </a:lnTo>
                <a:lnTo>
                  <a:pt x="1726" y="1124"/>
                </a:lnTo>
                <a:lnTo>
                  <a:pt x="1726" y="1124"/>
                </a:lnTo>
                <a:lnTo>
                  <a:pt x="1720" y="1124"/>
                </a:lnTo>
                <a:lnTo>
                  <a:pt x="1716" y="1124"/>
                </a:lnTo>
                <a:lnTo>
                  <a:pt x="1708" y="1128"/>
                </a:lnTo>
                <a:lnTo>
                  <a:pt x="1708" y="1128"/>
                </a:lnTo>
                <a:lnTo>
                  <a:pt x="1706" y="1126"/>
                </a:lnTo>
                <a:lnTo>
                  <a:pt x="1704" y="1124"/>
                </a:lnTo>
                <a:lnTo>
                  <a:pt x="1700" y="1124"/>
                </a:lnTo>
                <a:lnTo>
                  <a:pt x="1694" y="1124"/>
                </a:lnTo>
                <a:lnTo>
                  <a:pt x="1688" y="1124"/>
                </a:lnTo>
                <a:lnTo>
                  <a:pt x="1688" y="1124"/>
                </a:lnTo>
                <a:lnTo>
                  <a:pt x="1692" y="1126"/>
                </a:lnTo>
                <a:lnTo>
                  <a:pt x="1694" y="1130"/>
                </a:lnTo>
                <a:lnTo>
                  <a:pt x="1692" y="1132"/>
                </a:lnTo>
                <a:lnTo>
                  <a:pt x="1688" y="1134"/>
                </a:lnTo>
                <a:lnTo>
                  <a:pt x="1688" y="1134"/>
                </a:lnTo>
                <a:lnTo>
                  <a:pt x="1686" y="1138"/>
                </a:lnTo>
                <a:lnTo>
                  <a:pt x="1684" y="1140"/>
                </a:lnTo>
                <a:lnTo>
                  <a:pt x="1684" y="1140"/>
                </a:lnTo>
                <a:lnTo>
                  <a:pt x="1684" y="1144"/>
                </a:lnTo>
                <a:lnTo>
                  <a:pt x="1686" y="1148"/>
                </a:lnTo>
                <a:lnTo>
                  <a:pt x="1686" y="1148"/>
                </a:lnTo>
                <a:lnTo>
                  <a:pt x="1678" y="1150"/>
                </a:lnTo>
                <a:lnTo>
                  <a:pt x="1670" y="1152"/>
                </a:lnTo>
                <a:lnTo>
                  <a:pt x="1670" y="1152"/>
                </a:lnTo>
                <a:lnTo>
                  <a:pt x="1662" y="1152"/>
                </a:lnTo>
                <a:lnTo>
                  <a:pt x="1656" y="1152"/>
                </a:lnTo>
                <a:lnTo>
                  <a:pt x="1656" y="1152"/>
                </a:lnTo>
                <a:lnTo>
                  <a:pt x="1648" y="1150"/>
                </a:lnTo>
                <a:lnTo>
                  <a:pt x="1642" y="1154"/>
                </a:lnTo>
                <a:lnTo>
                  <a:pt x="1642" y="1154"/>
                </a:lnTo>
                <a:lnTo>
                  <a:pt x="1636" y="1156"/>
                </a:lnTo>
                <a:lnTo>
                  <a:pt x="1636" y="1156"/>
                </a:lnTo>
                <a:lnTo>
                  <a:pt x="1640" y="1160"/>
                </a:lnTo>
                <a:lnTo>
                  <a:pt x="1644" y="1160"/>
                </a:lnTo>
                <a:lnTo>
                  <a:pt x="1654" y="1158"/>
                </a:lnTo>
                <a:lnTo>
                  <a:pt x="1654" y="1158"/>
                </a:lnTo>
                <a:lnTo>
                  <a:pt x="1664" y="1158"/>
                </a:lnTo>
                <a:lnTo>
                  <a:pt x="1664" y="1158"/>
                </a:lnTo>
                <a:lnTo>
                  <a:pt x="1666" y="1160"/>
                </a:lnTo>
                <a:lnTo>
                  <a:pt x="1666" y="1160"/>
                </a:lnTo>
                <a:lnTo>
                  <a:pt x="1660" y="1162"/>
                </a:lnTo>
                <a:lnTo>
                  <a:pt x="1660" y="1162"/>
                </a:lnTo>
                <a:lnTo>
                  <a:pt x="1662" y="1164"/>
                </a:lnTo>
                <a:lnTo>
                  <a:pt x="1684" y="1164"/>
                </a:lnTo>
                <a:lnTo>
                  <a:pt x="1684" y="1164"/>
                </a:lnTo>
                <a:lnTo>
                  <a:pt x="1684" y="1168"/>
                </a:lnTo>
                <a:lnTo>
                  <a:pt x="1686" y="1170"/>
                </a:lnTo>
                <a:lnTo>
                  <a:pt x="1694" y="1172"/>
                </a:lnTo>
                <a:lnTo>
                  <a:pt x="1694" y="1172"/>
                </a:lnTo>
                <a:lnTo>
                  <a:pt x="1700" y="1174"/>
                </a:lnTo>
                <a:lnTo>
                  <a:pt x="1704" y="1176"/>
                </a:lnTo>
                <a:lnTo>
                  <a:pt x="1706" y="1178"/>
                </a:lnTo>
                <a:lnTo>
                  <a:pt x="1706" y="1178"/>
                </a:lnTo>
                <a:lnTo>
                  <a:pt x="1696" y="1182"/>
                </a:lnTo>
                <a:lnTo>
                  <a:pt x="1696" y="1182"/>
                </a:lnTo>
                <a:lnTo>
                  <a:pt x="1696" y="1184"/>
                </a:lnTo>
                <a:lnTo>
                  <a:pt x="1696" y="1186"/>
                </a:lnTo>
                <a:lnTo>
                  <a:pt x="1696" y="1186"/>
                </a:lnTo>
                <a:lnTo>
                  <a:pt x="1694" y="1188"/>
                </a:lnTo>
                <a:lnTo>
                  <a:pt x="1688" y="1190"/>
                </a:lnTo>
                <a:lnTo>
                  <a:pt x="1678" y="1190"/>
                </a:lnTo>
                <a:lnTo>
                  <a:pt x="1678" y="1190"/>
                </a:lnTo>
                <a:lnTo>
                  <a:pt x="1686" y="1194"/>
                </a:lnTo>
                <a:lnTo>
                  <a:pt x="1686" y="1194"/>
                </a:lnTo>
                <a:lnTo>
                  <a:pt x="1690" y="1198"/>
                </a:lnTo>
                <a:lnTo>
                  <a:pt x="1690" y="1198"/>
                </a:lnTo>
                <a:lnTo>
                  <a:pt x="1708" y="1202"/>
                </a:lnTo>
                <a:lnTo>
                  <a:pt x="1708" y="1202"/>
                </a:lnTo>
                <a:lnTo>
                  <a:pt x="1714" y="1196"/>
                </a:lnTo>
                <a:lnTo>
                  <a:pt x="1714" y="1196"/>
                </a:lnTo>
                <a:lnTo>
                  <a:pt x="1718" y="1196"/>
                </a:lnTo>
                <a:lnTo>
                  <a:pt x="1718" y="1196"/>
                </a:lnTo>
                <a:lnTo>
                  <a:pt x="1720" y="1196"/>
                </a:lnTo>
                <a:lnTo>
                  <a:pt x="1720" y="1196"/>
                </a:lnTo>
                <a:lnTo>
                  <a:pt x="1724" y="1196"/>
                </a:lnTo>
                <a:lnTo>
                  <a:pt x="1728" y="1200"/>
                </a:lnTo>
                <a:lnTo>
                  <a:pt x="1728" y="1200"/>
                </a:lnTo>
                <a:lnTo>
                  <a:pt x="1732" y="1202"/>
                </a:lnTo>
                <a:lnTo>
                  <a:pt x="1736" y="1204"/>
                </a:lnTo>
                <a:lnTo>
                  <a:pt x="1736" y="1204"/>
                </a:lnTo>
                <a:lnTo>
                  <a:pt x="1748" y="1206"/>
                </a:lnTo>
                <a:lnTo>
                  <a:pt x="1748" y="1206"/>
                </a:lnTo>
                <a:lnTo>
                  <a:pt x="1754" y="1206"/>
                </a:lnTo>
                <a:lnTo>
                  <a:pt x="1754" y="1206"/>
                </a:lnTo>
                <a:lnTo>
                  <a:pt x="1758" y="1202"/>
                </a:lnTo>
                <a:lnTo>
                  <a:pt x="1758" y="1202"/>
                </a:lnTo>
                <a:lnTo>
                  <a:pt x="1764" y="1204"/>
                </a:lnTo>
                <a:lnTo>
                  <a:pt x="1764" y="1204"/>
                </a:lnTo>
                <a:lnTo>
                  <a:pt x="1766" y="1204"/>
                </a:lnTo>
                <a:lnTo>
                  <a:pt x="1766" y="1204"/>
                </a:lnTo>
                <a:lnTo>
                  <a:pt x="1764" y="1206"/>
                </a:lnTo>
                <a:lnTo>
                  <a:pt x="1764" y="1206"/>
                </a:lnTo>
                <a:lnTo>
                  <a:pt x="1766" y="1208"/>
                </a:lnTo>
                <a:lnTo>
                  <a:pt x="1766" y="1208"/>
                </a:lnTo>
                <a:lnTo>
                  <a:pt x="1736" y="1206"/>
                </a:lnTo>
                <a:lnTo>
                  <a:pt x="1736" y="1206"/>
                </a:lnTo>
                <a:lnTo>
                  <a:pt x="1744" y="1210"/>
                </a:lnTo>
                <a:lnTo>
                  <a:pt x="1744" y="1210"/>
                </a:lnTo>
                <a:lnTo>
                  <a:pt x="1732" y="1216"/>
                </a:lnTo>
                <a:lnTo>
                  <a:pt x="1732" y="1216"/>
                </a:lnTo>
                <a:lnTo>
                  <a:pt x="1736" y="1218"/>
                </a:lnTo>
                <a:lnTo>
                  <a:pt x="1738" y="1220"/>
                </a:lnTo>
                <a:lnTo>
                  <a:pt x="1738" y="1220"/>
                </a:lnTo>
                <a:lnTo>
                  <a:pt x="1738" y="1224"/>
                </a:lnTo>
                <a:lnTo>
                  <a:pt x="1740" y="1226"/>
                </a:lnTo>
                <a:lnTo>
                  <a:pt x="1746" y="1226"/>
                </a:lnTo>
                <a:lnTo>
                  <a:pt x="1746" y="1226"/>
                </a:lnTo>
                <a:lnTo>
                  <a:pt x="1746" y="1232"/>
                </a:lnTo>
                <a:lnTo>
                  <a:pt x="1752" y="1232"/>
                </a:lnTo>
                <a:lnTo>
                  <a:pt x="1752" y="1232"/>
                </a:lnTo>
                <a:lnTo>
                  <a:pt x="1750" y="1230"/>
                </a:lnTo>
                <a:lnTo>
                  <a:pt x="1748" y="1228"/>
                </a:lnTo>
                <a:lnTo>
                  <a:pt x="1750" y="1226"/>
                </a:lnTo>
                <a:lnTo>
                  <a:pt x="1752" y="1224"/>
                </a:lnTo>
                <a:lnTo>
                  <a:pt x="1752" y="1224"/>
                </a:lnTo>
                <a:lnTo>
                  <a:pt x="1750" y="1222"/>
                </a:lnTo>
                <a:lnTo>
                  <a:pt x="1748" y="1220"/>
                </a:lnTo>
                <a:lnTo>
                  <a:pt x="1748" y="1220"/>
                </a:lnTo>
                <a:lnTo>
                  <a:pt x="1750" y="1218"/>
                </a:lnTo>
                <a:lnTo>
                  <a:pt x="1754" y="1216"/>
                </a:lnTo>
                <a:lnTo>
                  <a:pt x="1754" y="1216"/>
                </a:lnTo>
                <a:lnTo>
                  <a:pt x="1766" y="1216"/>
                </a:lnTo>
                <a:lnTo>
                  <a:pt x="1780" y="1218"/>
                </a:lnTo>
                <a:lnTo>
                  <a:pt x="1780" y="1218"/>
                </a:lnTo>
                <a:lnTo>
                  <a:pt x="1780" y="1210"/>
                </a:lnTo>
                <a:lnTo>
                  <a:pt x="1780" y="1210"/>
                </a:lnTo>
                <a:lnTo>
                  <a:pt x="1780" y="1210"/>
                </a:lnTo>
                <a:lnTo>
                  <a:pt x="1780" y="1210"/>
                </a:lnTo>
                <a:lnTo>
                  <a:pt x="1772" y="1210"/>
                </a:lnTo>
                <a:lnTo>
                  <a:pt x="1768" y="1208"/>
                </a:lnTo>
                <a:lnTo>
                  <a:pt x="1768" y="1208"/>
                </a:lnTo>
                <a:lnTo>
                  <a:pt x="1766" y="1208"/>
                </a:lnTo>
                <a:lnTo>
                  <a:pt x="1766" y="1208"/>
                </a:lnTo>
                <a:lnTo>
                  <a:pt x="1770" y="1206"/>
                </a:lnTo>
                <a:lnTo>
                  <a:pt x="1770" y="1206"/>
                </a:lnTo>
                <a:lnTo>
                  <a:pt x="1780" y="1206"/>
                </a:lnTo>
                <a:lnTo>
                  <a:pt x="1780" y="1206"/>
                </a:lnTo>
                <a:lnTo>
                  <a:pt x="1782" y="1204"/>
                </a:lnTo>
                <a:lnTo>
                  <a:pt x="1782" y="1204"/>
                </a:lnTo>
                <a:lnTo>
                  <a:pt x="1778" y="1206"/>
                </a:lnTo>
                <a:lnTo>
                  <a:pt x="1778" y="1200"/>
                </a:lnTo>
                <a:lnTo>
                  <a:pt x="1778" y="1200"/>
                </a:lnTo>
                <a:lnTo>
                  <a:pt x="1782" y="1200"/>
                </a:lnTo>
                <a:lnTo>
                  <a:pt x="1782" y="1200"/>
                </a:lnTo>
                <a:lnTo>
                  <a:pt x="1784" y="1174"/>
                </a:lnTo>
                <a:lnTo>
                  <a:pt x="1784" y="1174"/>
                </a:lnTo>
                <a:lnTo>
                  <a:pt x="1788" y="1176"/>
                </a:lnTo>
                <a:lnTo>
                  <a:pt x="1792" y="1178"/>
                </a:lnTo>
                <a:lnTo>
                  <a:pt x="1792" y="1178"/>
                </a:lnTo>
                <a:lnTo>
                  <a:pt x="1792" y="1184"/>
                </a:lnTo>
                <a:lnTo>
                  <a:pt x="1792" y="1190"/>
                </a:lnTo>
                <a:lnTo>
                  <a:pt x="1792" y="1190"/>
                </a:lnTo>
                <a:lnTo>
                  <a:pt x="1790" y="1190"/>
                </a:lnTo>
                <a:lnTo>
                  <a:pt x="1786" y="1192"/>
                </a:lnTo>
                <a:lnTo>
                  <a:pt x="1786" y="1192"/>
                </a:lnTo>
                <a:lnTo>
                  <a:pt x="1796" y="1194"/>
                </a:lnTo>
                <a:lnTo>
                  <a:pt x="1796" y="1194"/>
                </a:lnTo>
                <a:lnTo>
                  <a:pt x="1802" y="1200"/>
                </a:lnTo>
                <a:lnTo>
                  <a:pt x="1802" y="1200"/>
                </a:lnTo>
                <a:lnTo>
                  <a:pt x="1794" y="1200"/>
                </a:lnTo>
                <a:lnTo>
                  <a:pt x="1794" y="1200"/>
                </a:lnTo>
                <a:lnTo>
                  <a:pt x="1782" y="1204"/>
                </a:lnTo>
                <a:lnTo>
                  <a:pt x="1782" y="1204"/>
                </a:lnTo>
                <a:lnTo>
                  <a:pt x="1782" y="1206"/>
                </a:lnTo>
                <a:lnTo>
                  <a:pt x="1782" y="1206"/>
                </a:lnTo>
                <a:lnTo>
                  <a:pt x="1786" y="1208"/>
                </a:lnTo>
                <a:lnTo>
                  <a:pt x="1786" y="1208"/>
                </a:lnTo>
                <a:lnTo>
                  <a:pt x="1786" y="1208"/>
                </a:lnTo>
                <a:lnTo>
                  <a:pt x="1786" y="1208"/>
                </a:lnTo>
                <a:lnTo>
                  <a:pt x="1802" y="1212"/>
                </a:lnTo>
                <a:lnTo>
                  <a:pt x="1802" y="1212"/>
                </a:lnTo>
                <a:lnTo>
                  <a:pt x="1798" y="1214"/>
                </a:lnTo>
                <a:lnTo>
                  <a:pt x="1794" y="1214"/>
                </a:lnTo>
                <a:lnTo>
                  <a:pt x="1794" y="1214"/>
                </a:lnTo>
                <a:lnTo>
                  <a:pt x="1790" y="1212"/>
                </a:lnTo>
                <a:lnTo>
                  <a:pt x="1784" y="1210"/>
                </a:lnTo>
                <a:lnTo>
                  <a:pt x="1784" y="1210"/>
                </a:lnTo>
                <a:lnTo>
                  <a:pt x="1780" y="1218"/>
                </a:lnTo>
                <a:lnTo>
                  <a:pt x="1780" y="1218"/>
                </a:lnTo>
                <a:lnTo>
                  <a:pt x="1782" y="1218"/>
                </a:lnTo>
                <a:lnTo>
                  <a:pt x="1782" y="1218"/>
                </a:lnTo>
                <a:lnTo>
                  <a:pt x="1778" y="1224"/>
                </a:lnTo>
                <a:lnTo>
                  <a:pt x="1778" y="1224"/>
                </a:lnTo>
                <a:lnTo>
                  <a:pt x="1786" y="1230"/>
                </a:lnTo>
                <a:lnTo>
                  <a:pt x="1786" y="1230"/>
                </a:lnTo>
                <a:lnTo>
                  <a:pt x="1776" y="1234"/>
                </a:lnTo>
                <a:lnTo>
                  <a:pt x="1776" y="1234"/>
                </a:lnTo>
                <a:lnTo>
                  <a:pt x="1788" y="1240"/>
                </a:lnTo>
                <a:lnTo>
                  <a:pt x="1788" y="1240"/>
                </a:lnTo>
                <a:lnTo>
                  <a:pt x="1782" y="1246"/>
                </a:lnTo>
                <a:lnTo>
                  <a:pt x="1782" y="1246"/>
                </a:lnTo>
                <a:lnTo>
                  <a:pt x="1774" y="1246"/>
                </a:lnTo>
                <a:lnTo>
                  <a:pt x="1770" y="1248"/>
                </a:lnTo>
                <a:lnTo>
                  <a:pt x="1768" y="1250"/>
                </a:lnTo>
                <a:lnTo>
                  <a:pt x="1766" y="1254"/>
                </a:lnTo>
                <a:lnTo>
                  <a:pt x="1748" y="1254"/>
                </a:lnTo>
                <a:lnTo>
                  <a:pt x="1748" y="1254"/>
                </a:lnTo>
                <a:lnTo>
                  <a:pt x="1760" y="1258"/>
                </a:lnTo>
                <a:lnTo>
                  <a:pt x="1764" y="1262"/>
                </a:lnTo>
                <a:lnTo>
                  <a:pt x="1766" y="1264"/>
                </a:lnTo>
                <a:lnTo>
                  <a:pt x="1764" y="1268"/>
                </a:lnTo>
                <a:lnTo>
                  <a:pt x="1764" y="1268"/>
                </a:lnTo>
                <a:lnTo>
                  <a:pt x="1756" y="1262"/>
                </a:lnTo>
                <a:lnTo>
                  <a:pt x="1756" y="1262"/>
                </a:lnTo>
                <a:lnTo>
                  <a:pt x="1754" y="1266"/>
                </a:lnTo>
                <a:lnTo>
                  <a:pt x="1752" y="1268"/>
                </a:lnTo>
                <a:lnTo>
                  <a:pt x="1746" y="1268"/>
                </a:lnTo>
                <a:lnTo>
                  <a:pt x="1738" y="1270"/>
                </a:lnTo>
                <a:lnTo>
                  <a:pt x="1732" y="1270"/>
                </a:lnTo>
                <a:lnTo>
                  <a:pt x="1732" y="1270"/>
                </a:lnTo>
                <a:lnTo>
                  <a:pt x="1734" y="1274"/>
                </a:lnTo>
                <a:lnTo>
                  <a:pt x="1732" y="1276"/>
                </a:lnTo>
                <a:lnTo>
                  <a:pt x="1732" y="1276"/>
                </a:lnTo>
                <a:lnTo>
                  <a:pt x="1728" y="1280"/>
                </a:lnTo>
                <a:lnTo>
                  <a:pt x="1726" y="1282"/>
                </a:lnTo>
                <a:lnTo>
                  <a:pt x="1726" y="1288"/>
                </a:lnTo>
                <a:lnTo>
                  <a:pt x="1726" y="1288"/>
                </a:lnTo>
                <a:lnTo>
                  <a:pt x="1722" y="1292"/>
                </a:lnTo>
                <a:lnTo>
                  <a:pt x="1722" y="1292"/>
                </a:lnTo>
                <a:lnTo>
                  <a:pt x="1720" y="1296"/>
                </a:lnTo>
                <a:lnTo>
                  <a:pt x="1720" y="1296"/>
                </a:lnTo>
                <a:lnTo>
                  <a:pt x="1728" y="1298"/>
                </a:lnTo>
                <a:lnTo>
                  <a:pt x="1728" y="1298"/>
                </a:lnTo>
                <a:lnTo>
                  <a:pt x="1734" y="1296"/>
                </a:lnTo>
                <a:lnTo>
                  <a:pt x="1734" y="1296"/>
                </a:lnTo>
                <a:lnTo>
                  <a:pt x="1734" y="1294"/>
                </a:lnTo>
                <a:lnTo>
                  <a:pt x="1734" y="1292"/>
                </a:lnTo>
                <a:lnTo>
                  <a:pt x="1738" y="1286"/>
                </a:lnTo>
                <a:lnTo>
                  <a:pt x="1744" y="1284"/>
                </a:lnTo>
                <a:lnTo>
                  <a:pt x="1748" y="1280"/>
                </a:lnTo>
                <a:lnTo>
                  <a:pt x="1748" y="1280"/>
                </a:lnTo>
                <a:lnTo>
                  <a:pt x="1758" y="1278"/>
                </a:lnTo>
                <a:lnTo>
                  <a:pt x="1768" y="1280"/>
                </a:lnTo>
                <a:lnTo>
                  <a:pt x="1788" y="1286"/>
                </a:lnTo>
                <a:lnTo>
                  <a:pt x="1788" y="1286"/>
                </a:lnTo>
                <a:lnTo>
                  <a:pt x="1788" y="1278"/>
                </a:lnTo>
                <a:lnTo>
                  <a:pt x="1792" y="1276"/>
                </a:lnTo>
                <a:lnTo>
                  <a:pt x="1796" y="1274"/>
                </a:lnTo>
                <a:lnTo>
                  <a:pt x="1796" y="1274"/>
                </a:lnTo>
                <a:lnTo>
                  <a:pt x="1798" y="1272"/>
                </a:lnTo>
                <a:lnTo>
                  <a:pt x="1798" y="1272"/>
                </a:lnTo>
                <a:lnTo>
                  <a:pt x="1798" y="1268"/>
                </a:lnTo>
                <a:lnTo>
                  <a:pt x="1800" y="1266"/>
                </a:lnTo>
                <a:lnTo>
                  <a:pt x="1808" y="1262"/>
                </a:lnTo>
                <a:lnTo>
                  <a:pt x="1808" y="1262"/>
                </a:lnTo>
                <a:lnTo>
                  <a:pt x="1818" y="1266"/>
                </a:lnTo>
                <a:lnTo>
                  <a:pt x="1820" y="1266"/>
                </a:lnTo>
                <a:lnTo>
                  <a:pt x="1824" y="1264"/>
                </a:lnTo>
                <a:lnTo>
                  <a:pt x="1824" y="1264"/>
                </a:lnTo>
                <a:lnTo>
                  <a:pt x="1790" y="1248"/>
                </a:lnTo>
                <a:lnTo>
                  <a:pt x="1790" y="1248"/>
                </a:lnTo>
                <a:lnTo>
                  <a:pt x="1796" y="1242"/>
                </a:lnTo>
                <a:lnTo>
                  <a:pt x="1796" y="1242"/>
                </a:lnTo>
                <a:lnTo>
                  <a:pt x="1796" y="1240"/>
                </a:lnTo>
                <a:lnTo>
                  <a:pt x="1796" y="1240"/>
                </a:lnTo>
                <a:lnTo>
                  <a:pt x="1796" y="1240"/>
                </a:lnTo>
                <a:lnTo>
                  <a:pt x="1794" y="1236"/>
                </a:lnTo>
                <a:lnTo>
                  <a:pt x="1794" y="1232"/>
                </a:lnTo>
                <a:lnTo>
                  <a:pt x="1796" y="1224"/>
                </a:lnTo>
                <a:lnTo>
                  <a:pt x="1796" y="1224"/>
                </a:lnTo>
                <a:lnTo>
                  <a:pt x="1802" y="1222"/>
                </a:lnTo>
                <a:lnTo>
                  <a:pt x="1802" y="1222"/>
                </a:lnTo>
                <a:lnTo>
                  <a:pt x="1808" y="1218"/>
                </a:lnTo>
                <a:lnTo>
                  <a:pt x="1816" y="1220"/>
                </a:lnTo>
                <a:lnTo>
                  <a:pt x="1816" y="1220"/>
                </a:lnTo>
                <a:lnTo>
                  <a:pt x="1816" y="1222"/>
                </a:lnTo>
                <a:lnTo>
                  <a:pt x="1816" y="1222"/>
                </a:lnTo>
                <a:lnTo>
                  <a:pt x="1816" y="1224"/>
                </a:lnTo>
                <a:lnTo>
                  <a:pt x="1818" y="1226"/>
                </a:lnTo>
                <a:lnTo>
                  <a:pt x="1822" y="1230"/>
                </a:lnTo>
                <a:lnTo>
                  <a:pt x="1822" y="1230"/>
                </a:lnTo>
                <a:lnTo>
                  <a:pt x="1830" y="1228"/>
                </a:lnTo>
                <a:lnTo>
                  <a:pt x="1834" y="1226"/>
                </a:lnTo>
                <a:lnTo>
                  <a:pt x="1834" y="1226"/>
                </a:lnTo>
                <a:lnTo>
                  <a:pt x="1840" y="1220"/>
                </a:lnTo>
                <a:lnTo>
                  <a:pt x="1846" y="1218"/>
                </a:lnTo>
                <a:lnTo>
                  <a:pt x="1846" y="1218"/>
                </a:lnTo>
                <a:lnTo>
                  <a:pt x="1850" y="1220"/>
                </a:lnTo>
                <a:lnTo>
                  <a:pt x="1850" y="1220"/>
                </a:lnTo>
                <a:lnTo>
                  <a:pt x="1854" y="1216"/>
                </a:lnTo>
                <a:lnTo>
                  <a:pt x="1854" y="1216"/>
                </a:lnTo>
                <a:lnTo>
                  <a:pt x="1862" y="1218"/>
                </a:lnTo>
                <a:lnTo>
                  <a:pt x="1862" y="1218"/>
                </a:lnTo>
                <a:lnTo>
                  <a:pt x="1860" y="1216"/>
                </a:lnTo>
                <a:lnTo>
                  <a:pt x="1860" y="1216"/>
                </a:lnTo>
                <a:lnTo>
                  <a:pt x="1860" y="1216"/>
                </a:lnTo>
                <a:lnTo>
                  <a:pt x="1860" y="1216"/>
                </a:lnTo>
                <a:lnTo>
                  <a:pt x="1860" y="1214"/>
                </a:lnTo>
                <a:lnTo>
                  <a:pt x="1860" y="1214"/>
                </a:lnTo>
                <a:lnTo>
                  <a:pt x="1858" y="1214"/>
                </a:lnTo>
                <a:lnTo>
                  <a:pt x="1858" y="1214"/>
                </a:lnTo>
                <a:lnTo>
                  <a:pt x="1868" y="1210"/>
                </a:lnTo>
                <a:lnTo>
                  <a:pt x="1880" y="1210"/>
                </a:lnTo>
                <a:lnTo>
                  <a:pt x="1880" y="1210"/>
                </a:lnTo>
                <a:lnTo>
                  <a:pt x="1884" y="1208"/>
                </a:lnTo>
                <a:lnTo>
                  <a:pt x="1884" y="1208"/>
                </a:lnTo>
                <a:lnTo>
                  <a:pt x="1884" y="1216"/>
                </a:lnTo>
                <a:lnTo>
                  <a:pt x="1884" y="1216"/>
                </a:lnTo>
                <a:lnTo>
                  <a:pt x="1886" y="1214"/>
                </a:lnTo>
                <a:lnTo>
                  <a:pt x="1886" y="1206"/>
                </a:lnTo>
                <a:lnTo>
                  <a:pt x="1886" y="1206"/>
                </a:lnTo>
                <a:lnTo>
                  <a:pt x="1910" y="1192"/>
                </a:lnTo>
                <a:lnTo>
                  <a:pt x="1928" y="1178"/>
                </a:lnTo>
                <a:lnTo>
                  <a:pt x="1928" y="1178"/>
                </a:lnTo>
                <a:lnTo>
                  <a:pt x="1938" y="1180"/>
                </a:lnTo>
                <a:lnTo>
                  <a:pt x="1938" y="1180"/>
                </a:lnTo>
                <a:lnTo>
                  <a:pt x="1938" y="1178"/>
                </a:lnTo>
                <a:lnTo>
                  <a:pt x="1940" y="1176"/>
                </a:lnTo>
                <a:lnTo>
                  <a:pt x="1946" y="1174"/>
                </a:lnTo>
                <a:lnTo>
                  <a:pt x="1952" y="1174"/>
                </a:lnTo>
                <a:lnTo>
                  <a:pt x="1958" y="1172"/>
                </a:lnTo>
                <a:lnTo>
                  <a:pt x="1958" y="1172"/>
                </a:lnTo>
                <a:lnTo>
                  <a:pt x="1940" y="1166"/>
                </a:lnTo>
                <a:lnTo>
                  <a:pt x="1940" y="1166"/>
                </a:lnTo>
                <a:lnTo>
                  <a:pt x="1950" y="1156"/>
                </a:lnTo>
                <a:lnTo>
                  <a:pt x="1952" y="1148"/>
                </a:lnTo>
                <a:lnTo>
                  <a:pt x="1952" y="1142"/>
                </a:lnTo>
                <a:lnTo>
                  <a:pt x="1948" y="1136"/>
                </a:lnTo>
                <a:lnTo>
                  <a:pt x="1948" y="1136"/>
                </a:lnTo>
                <a:lnTo>
                  <a:pt x="1952" y="1138"/>
                </a:lnTo>
                <a:lnTo>
                  <a:pt x="1956" y="1140"/>
                </a:lnTo>
                <a:lnTo>
                  <a:pt x="1956" y="1140"/>
                </a:lnTo>
                <a:lnTo>
                  <a:pt x="1958" y="1142"/>
                </a:lnTo>
                <a:lnTo>
                  <a:pt x="1962" y="1140"/>
                </a:lnTo>
                <a:lnTo>
                  <a:pt x="1962" y="1140"/>
                </a:lnTo>
                <a:lnTo>
                  <a:pt x="1956" y="1132"/>
                </a:lnTo>
                <a:lnTo>
                  <a:pt x="1956" y="1132"/>
                </a:lnTo>
                <a:lnTo>
                  <a:pt x="1980" y="1132"/>
                </a:lnTo>
                <a:lnTo>
                  <a:pt x="1992" y="1134"/>
                </a:lnTo>
                <a:lnTo>
                  <a:pt x="2002" y="1138"/>
                </a:lnTo>
                <a:lnTo>
                  <a:pt x="2002" y="1138"/>
                </a:lnTo>
                <a:lnTo>
                  <a:pt x="2004" y="1138"/>
                </a:lnTo>
                <a:lnTo>
                  <a:pt x="2008" y="1140"/>
                </a:lnTo>
                <a:lnTo>
                  <a:pt x="2008" y="1140"/>
                </a:lnTo>
                <a:lnTo>
                  <a:pt x="2012" y="1140"/>
                </a:lnTo>
                <a:lnTo>
                  <a:pt x="2016" y="1140"/>
                </a:lnTo>
                <a:lnTo>
                  <a:pt x="2018" y="1144"/>
                </a:lnTo>
                <a:lnTo>
                  <a:pt x="2018" y="1144"/>
                </a:lnTo>
                <a:lnTo>
                  <a:pt x="2020" y="1148"/>
                </a:lnTo>
                <a:lnTo>
                  <a:pt x="2024" y="1152"/>
                </a:lnTo>
                <a:lnTo>
                  <a:pt x="2024" y="1152"/>
                </a:lnTo>
                <a:lnTo>
                  <a:pt x="2028" y="1152"/>
                </a:lnTo>
                <a:lnTo>
                  <a:pt x="2032" y="1156"/>
                </a:lnTo>
                <a:lnTo>
                  <a:pt x="2034" y="1160"/>
                </a:lnTo>
                <a:lnTo>
                  <a:pt x="2034" y="1160"/>
                </a:lnTo>
                <a:lnTo>
                  <a:pt x="2046" y="1162"/>
                </a:lnTo>
                <a:lnTo>
                  <a:pt x="2056" y="1162"/>
                </a:lnTo>
                <a:lnTo>
                  <a:pt x="2076" y="1156"/>
                </a:lnTo>
                <a:lnTo>
                  <a:pt x="2076" y="1156"/>
                </a:lnTo>
                <a:lnTo>
                  <a:pt x="2080" y="1150"/>
                </a:lnTo>
                <a:lnTo>
                  <a:pt x="2080" y="1150"/>
                </a:lnTo>
                <a:lnTo>
                  <a:pt x="2084" y="1150"/>
                </a:lnTo>
                <a:lnTo>
                  <a:pt x="2086" y="1150"/>
                </a:lnTo>
                <a:lnTo>
                  <a:pt x="2094" y="1148"/>
                </a:lnTo>
                <a:lnTo>
                  <a:pt x="2094" y="1148"/>
                </a:lnTo>
                <a:lnTo>
                  <a:pt x="2096" y="1140"/>
                </a:lnTo>
                <a:lnTo>
                  <a:pt x="2096" y="1140"/>
                </a:lnTo>
                <a:lnTo>
                  <a:pt x="2092" y="1136"/>
                </a:lnTo>
                <a:lnTo>
                  <a:pt x="2092" y="1136"/>
                </a:lnTo>
                <a:lnTo>
                  <a:pt x="2084" y="1138"/>
                </a:lnTo>
                <a:lnTo>
                  <a:pt x="2084" y="1138"/>
                </a:lnTo>
                <a:lnTo>
                  <a:pt x="2092" y="1136"/>
                </a:lnTo>
                <a:lnTo>
                  <a:pt x="2092" y="1136"/>
                </a:lnTo>
                <a:lnTo>
                  <a:pt x="2092" y="1136"/>
                </a:lnTo>
                <a:lnTo>
                  <a:pt x="2092" y="1136"/>
                </a:lnTo>
                <a:lnTo>
                  <a:pt x="2092" y="1136"/>
                </a:lnTo>
                <a:lnTo>
                  <a:pt x="2092" y="1136"/>
                </a:lnTo>
                <a:lnTo>
                  <a:pt x="2092" y="1136"/>
                </a:lnTo>
                <a:lnTo>
                  <a:pt x="2092" y="1136"/>
                </a:lnTo>
                <a:lnTo>
                  <a:pt x="2092" y="1136"/>
                </a:lnTo>
                <a:lnTo>
                  <a:pt x="2092" y="1136"/>
                </a:lnTo>
                <a:lnTo>
                  <a:pt x="2096" y="1140"/>
                </a:lnTo>
                <a:lnTo>
                  <a:pt x="2096" y="1140"/>
                </a:lnTo>
                <a:lnTo>
                  <a:pt x="2104" y="1118"/>
                </a:lnTo>
                <a:lnTo>
                  <a:pt x="2108" y="1108"/>
                </a:lnTo>
                <a:lnTo>
                  <a:pt x="2110" y="1102"/>
                </a:lnTo>
                <a:lnTo>
                  <a:pt x="2110" y="1102"/>
                </a:lnTo>
                <a:lnTo>
                  <a:pt x="2106" y="1120"/>
                </a:lnTo>
                <a:lnTo>
                  <a:pt x="2100" y="1142"/>
                </a:lnTo>
                <a:lnTo>
                  <a:pt x="2100" y="1142"/>
                </a:lnTo>
                <a:lnTo>
                  <a:pt x="2100" y="1142"/>
                </a:lnTo>
                <a:lnTo>
                  <a:pt x="2100" y="1142"/>
                </a:lnTo>
                <a:lnTo>
                  <a:pt x="2106" y="1122"/>
                </a:lnTo>
                <a:lnTo>
                  <a:pt x="2112" y="1102"/>
                </a:lnTo>
                <a:lnTo>
                  <a:pt x="2112" y="1102"/>
                </a:lnTo>
                <a:lnTo>
                  <a:pt x="2112" y="1102"/>
                </a:lnTo>
                <a:lnTo>
                  <a:pt x="2112" y="1102"/>
                </a:lnTo>
                <a:lnTo>
                  <a:pt x="2116" y="1104"/>
                </a:lnTo>
                <a:lnTo>
                  <a:pt x="2118" y="1106"/>
                </a:lnTo>
                <a:lnTo>
                  <a:pt x="2122" y="1106"/>
                </a:lnTo>
                <a:lnTo>
                  <a:pt x="2128" y="1104"/>
                </a:lnTo>
                <a:lnTo>
                  <a:pt x="2128" y="1104"/>
                </a:lnTo>
                <a:lnTo>
                  <a:pt x="2136" y="1100"/>
                </a:lnTo>
                <a:lnTo>
                  <a:pt x="2142" y="1100"/>
                </a:lnTo>
                <a:lnTo>
                  <a:pt x="2150" y="1100"/>
                </a:lnTo>
                <a:lnTo>
                  <a:pt x="2158" y="1102"/>
                </a:lnTo>
                <a:lnTo>
                  <a:pt x="2158" y="1102"/>
                </a:lnTo>
                <a:lnTo>
                  <a:pt x="2164" y="1104"/>
                </a:lnTo>
                <a:lnTo>
                  <a:pt x="2170" y="1102"/>
                </a:lnTo>
                <a:lnTo>
                  <a:pt x="2170" y="1102"/>
                </a:lnTo>
                <a:lnTo>
                  <a:pt x="2180" y="1098"/>
                </a:lnTo>
                <a:lnTo>
                  <a:pt x="2180" y="1098"/>
                </a:lnTo>
                <a:lnTo>
                  <a:pt x="2186" y="1102"/>
                </a:lnTo>
                <a:lnTo>
                  <a:pt x="2196" y="1104"/>
                </a:lnTo>
                <a:lnTo>
                  <a:pt x="2204" y="1104"/>
                </a:lnTo>
                <a:lnTo>
                  <a:pt x="2212" y="1108"/>
                </a:lnTo>
                <a:lnTo>
                  <a:pt x="2212" y="1108"/>
                </a:lnTo>
                <a:lnTo>
                  <a:pt x="2212" y="1112"/>
                </a:lnTo>
                <a:lnTo>
                  <a:pt x="2214" y="1114"/>
                </a:lnTo>
                <a:lnTo>
                  <a:pt x="2222" y="1118"/>
                </a:lnTo>
                <a:lnTo>
                  <a:pt x="2222" y="1118"/>
                </a:lnTo>
                <a:lnTo>
                  <a:pt x="2206" y="1130"/>
                </a:lnTo>
                <a:lnTo>
                  <a:pt x="2206" y="1130"/>
                </a:lnTo>
                <a:lnTo>
                  <a:pt x="2198" y="1122"/>
                </a:lnTo>
                <a:lnTo>
                  <a:pt x="2198" y="1122"/>
                </a:lnTo>
                <a:lnTo>
                  <a:pt x="2190" y="1126"/>
                </a:lnTo>
                <a:lnTo>
                  <a:pt x="2190" y="1126"/>
                </a:lnTo>
                <a:lnTo>
                  <a:pt x="2186" y="1124"/>
                </a:lnTo>
                <a:lnTo>
                  <a:pt x="2186" y="1124"/>
                </a:lnTo>
                <a:lnTo>
                  <a:pt x="2188" y="1120"/>
                </a:lnTo>
                <a:lnTo>
                  <a:pt x="2188" y="1120"/>
                </a:lnTo>
                <a:lnTo>
                  <a:pt x="2182" y="1118"/>
                </a:lnTo>
                <a:lnTo>
                  <a:pt x="2176" y="1116"/>
                </a:lnTo>
                <a:lnTo>
                  <a:pt x="2162" y="1118"/>
                </a:lnTo>
                <a:lnTo>
                  <a:pt x="2162" y="1118"/>
                </a:lnTo>
                <a:lnTo>
                  <a:pt x="2172" y="1122"/>
                </a:lnTo>
                <a:lnTo>
                  <a:pt x="2172" y="1122"/>
                </a:lnTo>
                <a:lnTo>
                  <a:pt x="2184" y="1132"/>
                </a:lnTo>
                <a:lnTo>
                  <a:pt x="2192" y="1134"/>
                </a:lnTo>
                <a:lnTo>
                  <a:pt x="2202" y="1134"/>
                </a:lnTo>
                <a:lnTo>
                  <a:pt x="2202" y="1134"/>
                </a:lnTo>
                <a:lnTo>
                  <a:pt x="2202" y="1134"/>
                </a:lnTo>
                <a:lnTo>
                  <a:pt x="2202" y="1134"/>
                </a:lnTo>
                <a:lnTo>
                  <a:pt x="2216" y="1136"/>
                </a:lnTo>
                <a:lnTo>
                  <a:pt x="2226" y="1134"/>
                </a:lnTo>
                <a:lnTo>
                  <a:pt x="2226" y="1134"/>
                </a:lnTo>
                <a:lnTo>
                  <a:pt x="2244" y="1144"/>
                </a:lnTo>
                <a:lnTo>
                  <a:pt x="2244" y="1144"/>
                </a:lnTo>
                <a:lnTo>
                  <a:pt x="2228" y="1148"/>
                </a:lnTo>
                <a:lnTo>
                  <a:pt x="2228" y="1148"/>
                </a:lnTo>
                <a:lnTo>
                  <a:pt x="2228" y="1150"/>
                </a:lnTo>
                <a:lnTo>
                  <a:pt x="2228" y="1150"/>
                </a:lnTo>
                <a:lnTo>
                  <a:pt x="2240" y="1150"/>
                </a:lnTo>
                <a:lnTo>
                  <a:pt x="2240" y="1150"/>
                </a:lnTo>
                <a:lnTo>
                  <a:pt x="2240" y="1152"/>
                </a:lnTo>
                <a:lnTo>
                  <a:pt x="2240" y="1152"/>
                </a:lnTo>
                <a:lnTo>
                  <a:pt x="2230" y="1156"/>
                </a:lnTo>
                <a:lnTo>
                  <a:pt x="2230" y="1156"/>
                </a:lnTo>
                <a:lnTo>
                  <a:pt x="2240" y="1160"/>
                </a:lnTo>
                <a:lnTo>
                  <a:pt x="2240" y="1160"/>
                </a:lnTo>
                <a:lnTo>
                  <a:pt x="2250" y="1156"/>
                </a:lnTo>
                <a:lnTo>
                  <a:pt x="2250" y="1156"/>
                </a:lnTo>
                <a:lnTo>
                  <a:pt x="2256" y="1168"/>
                </a:lnTo>
                <a:lnTo>
                  <a:pt x="2256" y="1168"/>
                </a:lnTo>
                <a:lnTo>
                  <a:pt x="2258" y="1168"/>
                </a:lnTo>
                <a:lnTo>
                  <a:pt x="2258" y="1168"/>
                </a:lnTo>
                <a:lnTo>
                  <a:pt x="2262" y="1164"/>
                </a:lnTo>
                <a:lnTo>
                  <a:pt x="2262" y="1164"/>
                </a:lnTo>
                <a:lnTo>
                  <a:pt x="2270" y="1168"/>
                </a:lnTo>
                <a:lnTo>
                  <a:pt x="2270" y="1168"/>
                </a:lnTo>
                <a:lnTo>
                  <a:pt x="2252" y="1176"/>
                </a:lnTo>
                <a:lnTo>
                  <a:pt x="2252" y="1176"/>
                </a:lnTo>
                <a:lnTo>
                  <a:pt x="2258" y="1184"/>
                </a:lnTo>
                <a:lnTo>
                  <a:pt x="2258" y="1184"/>
                </a:lnTo>
                <a:lnTo>
                  <a:pt x="2268" y="1180"/>
                </a:lnTo>
                <a:lnTo>
                  <a:pt x="2268" y="1180"/>
                </a:lnTo>
                <a:lnTo>
                  <a:pt x="2276" y="1178"/>
                </a:lnTo>
                <a:lnTo>
                  <a:pt x="2286" y="1180"/>
                </a:lnTo>
                <a:lnTo>
                  <a:pt x="2286" y="1180"/>
                </a:lnTo>
                <a:lnTo>
                  <a:pt x="2278" y="1180"/>
                </a:lnTo>
                <a:lnTo>
                  <a:pt x="2274" y="1182"/>
                </a:lnTo>
                <a:lnTo>
                  <a:pt x="2272" y="1184"/>
                </a:lnTo>
                <a:lnTo>
                  <a:pt x="2272" y="1184"/>
                </a:lnTo>
                <a:lnTo>
                  <a:pt x="2276" y="1186"/>
                </a:lnTo>
                <a:lnTo>
                  <a:pt x="2278" y="1186"/>
                </a:lnTo>
                <a:lnTo>
                  <a:pt x="2286" y="1184"/>
                </a:lnTo>
                <a:lnTo>
                  <a:pt x="2286" y="1184"/>
                </a:lnTo>
                <a:lnTo>
                  <a:pt x="2292" y="1182"/>
                </a:lnTo>
                <a:lnTo>
                  <a:pt x="2298" y="1184"/>
                </a:lnTo>
                <a:lnTo>
                  <a:pt x="2298" y="1184"/>
                </a:lnTo>
                <a:lnTo>
                  <a:pt x="2302" y="1190"/>
                </a:lnTo>
                <a:lnTo>
                  <a:pt x="2302" y="1190"/>
                </a:lnTo>
                <a:lnTo>
                  <a:pt x="2306" y="1196"/>
                </a:lnTo>
                <a:lnTo>
                  <a:pt x="2306" y="1196"/>
                </a:lnTo>
                <a:lnTo>
                  <a:pt x="2308" y="1198"/>
                </a:lnTo>
                <a:lnTo>
                  <a:pt x="2310" y="1200"/>
                </a:lnTo>
                <a:lnTo>
                  <a:pt x="2318" y="1198"/>
                </a:lnTo>
                <a:lnTo>
                  <a:pt x="2318" y="1198"/>
                </a:lnTo>
                <a:lnTo>
                  <a:pt x="2306" y="1188"/>
                </a:lnTo>
                <a:lnTo>
                  <a:pt x="2306" y="1188"/>
                </a:lnTo>
                <a:lnTo>
                  <a:pt x="2322" y="1186"/>
                </a:lnTo>
                <a:lnTo>
                  <a:pt x="2322" y="1186"/>
                </a:lnTo>
                <a:lnTo>
                  <a:pt x="2340" y="1182"/>
                </a:lnTo>
                <a:lnTo>
                  <a:pt x="2340" y="1182"/>
                </a:lnTo>
                <a:lnTo>
                  <a:pt x="2344" y="1178"/>
                </a:lnTo>
                <a:lnTo>
                  <a:pt x="2348" y="1176"/>
                </a:lnTo>
                <a:lnTo>
                  <a:pt x="2348" y="1176"/>
                </a:lnTo>
                <a:lnTo>
                  <a:pt x="2358" y="1174"/>
                </a:lnTo>
                <a:lnTo>
                  <a:pt x="2364" y="1174"/>
                </a:lnTo>
                <a:lnTo>
                  <a:pt x="2370" y="1174"/>
                </a:lnTo>
                <a:lnTo>
                  <a:pt x="2370" y="1174"/>
                </a:lnTo>
                <a:lnTo>
                  <a:pt x="2374" y="1180"/>
                </a:lnTo>
                <a:lnTo>
                  <a:pt x="2382" y="1180"/>
                </a:lnTo>
                <a:lnTo>
                  <a:pt x="2382" y="1180"/>
                </a:lnTo>
                <a:lnTo>
                  <a:pt x="2384" y="1178"/>
                </a:lnTo>
                <a:lnTo>
                  <a:pt x="2386" y="1176"/>
                </a:lnTo>
                <a:lnTo>
                  <a:pt x="2386" y="1176"/>
                </a:lnTo>
                <a:lnTo>
                  <a:pt x="2374" y="1172"/>
                </a:lnTo>
                <a:lnTo>
                  <a:pt x="2374" y="1172"/>
                </a:lnTo>
                <a:lnTo>
                  <a:pt x="2374" y="1170"/>
                </a:lnTo>
                <a:lnTo>
                  <a:pt x="2374" y="1170"/>
                </a:lnTo>
                <a:lnTo>
                  <a:pt x="2394" y="1170"/>
                </a:lnTo>
                <a:lnTo>
                  <a:pt x="2394" y="1170"/>
                </a:lnTo>
                <a:lnTo>
                  <a:pt x="2396" y="1162"/>
                </a:lnTo>
                <a:lnTo>
                  <a:pt x="2396" y="1162"/>
                </a:lnTo>
                <a:lnTo>
                  <a:pt x="2402" y="1170"/>
                </a:lnTo>
                <a:lnTo>
                  <a:pt x="2402" y="1170"/>
                </a:lnTo>
                <a:lnTo>
                  <a:pt x="2404" y="1172"/>
                </a:lnTo>
                <a:lnTo>
                  <a:pt x="2402" y="1176"/>
                </a:lnTo>
                <a:lnTo>
                  <a:pt x="2402" y="1176"/>
                </a:lnTo>
                <a:lnTo>
                  <a:pt x="2400" y="1180"/>
                </a:lnTo>
                <a:lnTo>
                  <a:pt x="2398" y="1182"/>
                </a:lnTo>
                <a:lnTo>
                  <a:pt x="2402" y="1184"/>
                </a:lnTo>
                <a:lnTo>
                  <a:pt x="2406" y="1186"/>
                </a:lnTo>
                <a:lnTo>
                  <a:pt x="2406" y="1186"/>
                </a:lnTo>
                <a:lnTo>
                  <a:pt x="2426" y="1186"/>
                </a:lnTo>
                <a:lnTo>
                  <a:pt x="2426" y="1186"/>
                </a:lnTo>
                <a:lnTo>
                  <a:pt x="2444" y="1184"/>
                </a:lnTo>
                <a:lnTo>
                  <a:pt x="2444" y="1184"/>
                </a:lnTo>
                <a:lnTo>
                  <a:pt x="2446" y="1184"/>
                </a:lnTo>
                <a:lnTo>
                  <a:pt x="2446" y="1184"/>
                </a:lnTo>
                <a:lnTo>
                  <a:pt x="2440" y="1190"/>
                </a:lnTo>
                <a:lnTo>
                  <a:pt x="2440" y="1190"/>
                </a:lnTo>
                <a:lnTo>
                  <a:pt x="2454" y="1190"/>
                </a:lnTo>
                <a:lnTo>
                  <a:pt x="2454" y="1190"/>
                </a:lnTo>
                <a:lnTo>
                  <a:pt x="2472" y="1188"/>
                </a:lnTo>
                <a:lnTo>
                  <a:pt x="2472" y="1188"/>
                </a:lnTo>
                <a:lnTo>
                  <a:pt x="2476" y="1188"/>
                </a:lnTo>
                <a:lnTo>
                  <a:pt x="2478" y="1190"/>
                </a:lnTo>
                <a:lnTo>
                  <a:pt x="2476" y="1196"/>
                </a:lnTo>
                <a:lnTo>
                  <a:pt x="2476" y="1196"/>
                </a:lnTo>
                <a:lnTo>
                  <a:pt x="2470" y="1192"/>
                </a:lnTo>
                <a:lnTo>
                  <a:pt x="2470" y="1192"/>
                </a:lnTo>
                <a:lnTo>
                  <a:pt x="2458" y="1196"/>
                </a:lnTo>
                <a:lnTo>
                  <a:pt x="2458" y="1196"/>
                </a:lnTo>
                <a:lnTo>
                  <a:pt x="2462" y="1198"/>
                </a:lnTo>
                <a:lnTo>
                  <a:pt x="2464" y="1200"/>
                </a:lnTo>
                <a:lnTo>
                  <a:pt x="2468" y="1200"/>
                </a:lnTo>
                <a:lnTo>
                  <a:pt x="2472" y="1198"/>
                </a:lnTo>
                <a:lnTo>
                  <a:pt x="2472" y="1198"/>
                </a:lnTo>
                <a:lnTo>
                  <a:pt x="2478" y="1198"/>
                </a:lnTo>
                <a:lnTo>
                  <a:pt x="2484" y="1198"/>
                </a:lnTo>
                <a:lnTo>
                  <a:pt x="2484" y="1198"/>
                </a:lnTo>
                <a:lnTo>
                  <a:pt x="2480" y="1202"/>
                </a:lnTo>
                <a:lnTo>
                  <a:pt x="2474" y="1204"/>
                </a:lnTo>
                <a:lnTo>
                  <a:pt x="2468" y="1206"/>
                </a:lnTo>
                <a:lnTo>
                  <a:pt x="2462" y="1210"/>
                </a:lnTo>
                <a:lnTo>
                  <a:pt x="2462" y="1210"/>
                </a:lnTo>
                <a:lnTo>
                  <a:pt x="2474" y="1208"/>
                </a:lnTo>
                <a:lnTo>
                  <a:pt x="2484" y="1208"/>
                </a:lnTo>
                <a:lnTo>
                  <a:pt x="2502" y="1214"/>
                </a:lnTo>
                <a:lnTo>
                  <a:pt x="2502" y="1214"/>
                </a:lnTo>
                <a:lnTo>
                  <a:pt x="2494" y="1220"/>
                </a:lnTo>
                <a:lnTo>
                  <a:pt x="2494" y="1220"/>
                </a:lnTo>
                <a:lnTo>
                  <a:pt x="2496" y="1222"/>
                </a:lnTo>
                <a:lnTo>
                  <a:pt x="2500" y="1220"/>
                </a:lnTo>
                <a:lnTo>
                  <a:pt x="2504" y="1218"/>
                </a:lnTo>
                <a:lnTo>
                  <a:pt x="2504" y="1218"/>
                </a:lnTo>
                <a:lnTo>
                  <a:pt x="2516" y="1218"/>
                </a:lnTo>
                <a:lnTo>
                  <a:pt x="2516" y="1218"/>
                </a:lnTo>
                <a:lnTo>
                  <a:pt x="2510" y="1230"/>
                </a:lnTo>
                <a:lnTo>
                  <a:pt x="2510" y="1230"/>
                </a:lnTo>
                <a:lnTo>
                  <a:pt x="2524" y="1224"/>
                </a:lnTo>
                <a:lnTo>
                  <a:pt x="2524" y="1224"/>
                </a:lnTo>
                <a:lnTo>
                  <a:pt x="2520" y="1214"/>
                </a:lnTo>
                <a:lnTo>
                  <a:pt x="2520" y="1214"/>
                </a:lnTo>
                <a:lnTo>
                  <a:pt x="2506" y="1216"/>
                </a:lnTo>
                <a:lnTo>
                  <a:pt x="2506" y="1216"/>
                </a:lnTo>
                <a:lnTo>
                  <a:pt x="2506" y="1214"/>
                </a:lnTo>
                <a:lnTo>
                  <a:pt x="2506" y="1212"/>
                </a:lnTo>
                <a:lnTo>
                  <a:pt x="2512" y="1210"/>
                </a:lnTo>
                <a:lnTo>
                  <a:pt x="2512" y="1210"/>
                </a:lnTo>
                <a:lnTo>
                  <a:pt x="2524" y="1212"/>
                </a:lnTo>
                <a:lnTo>
                  <a:pt x="2534" y="1214"/>
                </a:lnTo>
                <a:lnTo>
                  <a:pt x="2534" y="1214"/>
                </a:lnTo>
                <a:lnTo>
                  <a:pt x="2536" y="1218"/>
                </a:lnTo>
                <a:lnTo>
                  <a:pt x="2538" y="1220"/>
                </a:lnTo>
                <a:lnTo>
                  <a:pt x="2538" y="1224"/>
                </a:lnTo>
                <a:lnTo>
                  <a:pt x="2542" y="1226"/>
                </a:lnTo>
                <a:lnTo>
                  <a:pt x="2528" y="1226"/>
                </a:lnTo>
                <a:lnTo>
                  <a:pt x="2528" y="1226"/>
                </a:lnTo>
                <a:lnTo>
                  <a:pt x="2532" y="1228"/>
                </a:lnTo>
                <a:lnTo>
                  <a:pt x="2538" y="1230"/>
                </a:lnTo>
                <a:lnTo>
                  <a:pt x="2548" y="1228"/>
                </a:lnTo>
                <a:lnTo>
                  <a:pt x="2548" y="1228"/>
                </a:lnTo>
                <a:lnTo>
                  <a:pt x="2554" y="1226"/>
                </a:lnTo>
                <a:lnTo>
                  <a:pt x="2560" y="1228"/>
                </a:lnTo>
                <a:lnTo>
                  <a:pt x="2566" y="1228"/>
                </a:lnTo>
                <a:lnTo>
                  <a:pt x="2570" y="1230"/>
                </a:lnTo>
                <a:lnTo>
                  <a:pt x="2570" y="1230"/>
                </a:lnTo>
                <a:lnTo>
                  <a:pt x="2578" y="1234"/>
                </a:lnTo>
                <a:lnTo>
                  <a:pt x="2584" y="1232"/>
                </a:lnTo>
                <a:lnTo>
                  <a:pt x="2590" y="1230"/>
                </a:lnTo>
                <a:lnTo>
                  <a:pt x="2596" y="1230"/>
                </a:lnTo>
                <a:lnTo>
                  <a:pt x="2596" y="1230"/>
                </a:lnTo>
                <a:lnTo>
                  <a:pt x="2596" y="1234"/>
                </a:lnTo>
                <a:lnTo>
                  <a:pt x="2596" y="1236"/>
                </a:lnTo>
                <a:lnTo>
                  <a:pt x="2604" y="1238"/>
                </a:lnTo>
                <a:lnTo>
                  <a:pt x="2604" y="1238"/>
                </a:lnTo>
                <a:lnTo>
                  <a:pt x="2610" y="1240"/>
                </a:lnTo>
                <a:lnTo>
                  <a:pt x="2612" y="1244"/>
                </a:lnTo>
                <a:lnTo>
                  <a:pt x="2612" y="1244"/>
                </a:lnTo>
                <a:lnTo>
                  <a:pt x="2600" y="1244"/>
                </a:lnTo>
                <a:lnTo>
                  <a:pt x="2594" y="1244"/>
                </a:lnTo>
                <a:lnTo>
                  <a:pt x="2590" y="1242"/>
                </a:lnTo>
                <a:lnTo>
                  <a:pt x="2590" y="1242"/>
                </a:lnTo>
                <a:lnTo>
                  <a:pt x="2586" y="1240"/>
                </a:lnTo>
                <a:lnTo>
                  <a:pt x="2586" y="1240"/>
                </a:lnTo>
                <a:lnTo>
                  <a:pt x="2578" y="1242"/>
                </a:lnTo>
                <a:lnTo>
                  <a:pt x="2570" y="1240"/>
                </a:lnTo>
                <a:lnTo>
                  <a:pt x="2556" y="1234"/>
                </a:lnTo>
                <a:lnTo>
                  <a:pt x="2556" y="1234"/>
                </a:lnTo>
                <a:lnTo>
                  <a:pt x="2552" y="1234"/>
                </a:lnTo>
                <a:lnTo>
                  <a:pt x="2548" y="1232"/>
                </a:lnTo>
                <a:lnTo>
                  <a:pt x="2540" y="1234"/>
                </a:lnTo>
                <a:lnTo>
                  <a:pt x="2540" y="1234"/>
                </a:lnTo>
                <a:lnTo>
                  <a:pt x="2538" y="1236"/>
                </a:lnTo>
                <a:lnTo>
                  <a:pt x="2538" y="1236"/>
                </a:lnTo>
                <a:lnTo>
                  <a:pt x="2534" y="1238"/>
                </a:lnTo>
                <a:lnTo>
                  <a:pt x="2534" y="1238"/>
                </a:lnTo>
                <a:lnTo>
                  <a:pt x="2548" y="1240"/>
                </a:lnTo>
                <a:lnTo>
                  <a:pt x="2548" y="1240"/>
                </a:lnTo>
                <a:lnTo>
                  <a:pt x="2534" y="1244"/>
                </a:lnTo>
                <a:lnTo>
                  <a:pt x="2534" y="1244"/>
                </a:lnTo>
                <a:lnTo>
                  <a:pt x="2538" y="1246"/>
                </a:lnTo>
                <a:lnTo>
                  <a:pt x="2540" y="1246"/>
                </a:lnTo>
                <a:lnTo>
                  <a:pt x="2546" y="1246"/>
                </a:lnTo>
                <a:lnTo>
                  <a:pt x="2546" y="1246"/>
                </a:lnTo>
                <a:lnTo>
                  <a:pt x="2554" y="1246"/>
                </a:lnTo>
                <a:lnTo>
                  <a:pt x="2556" y="1248"/>
                </a:lnTo>
                <a:lnTo>
                  <a:pt x="2558" y="1250"/>
                </a:lnTo>
                <a:lnTo>
                  <a:pt x="2558" y="1250"/>
                </a:lnTo>
                <a:lnTo>
                  <a:pt x="2560" y="1252"/>
                </a:lnTo>
                <a:lnTo>
                  <a:pt x="2560" y="1252"/>
                </a:lnTo>
                <a:lnTo>
                  <a:pt x="2576" y="1252"/>
                </a:lnTo>
                <a:lnTo>
                  <a:pt x="2576" y="1252"/>
                </a:lnTo>
                <a:lnTo>
                  <a:pt x="2572" y="1260"/>
                </a:lnTo>
                <a:lnTo>
                  <a:pt x="2572" y="1260"/>
                </a:lnTo>
                <a:lnTo>
                  <a:pt x="2562" y="1260"/>
                </a:lnTo>
                <a:lnTo>
                  <a:pt x="2552" y="1266"/>
                </a:lnTo>
                <a:lnTo>
                  <a:pt x="2552" y="1266"/>
                </a:lnTo>
                <a:lnTo>
                  <a:pt x="2544" y="1268"/>
                </a:lnTo>
                <a:lnTo>
                  <a:pt x="2536" y="1268"/>
                </a:lnTo>
                <a:lnTo>
                  <a:pt x="2536" y="1268"/>
                </a:lnTo>
                <a:lnTo>
                  <a:pt x="2538" y="1260"/>
                </a:lnTo>
                <a:lnTo>
                  <a:pt x="2514" y="1260"/>
                </a:lnTo>
                <a:lnTo>
                  <a:pt x="2514" y="1260"/>
                </a:lnTo>
                <a:lnTo>
                  <a:pt x="2516" y="1256"/>
                </a:lnTo>
                <a:lnTo>
                  <a:pt x="2514" y="1252"/>
                </a:lnTo>
                <a:lnTo>
                  <a:pt x="2512" y="1248"/>
                </a:lnTo>
                <a:lnTo>
                  <a:pt x="2508" y="1246"/>
                </a:lnTo>
                <a:lnTo>
                  <a:pt x="2508" y="1246"/>
                </a:lnTo>
                <a:lnTo>
                  <a:pt x="2490" y="1246"/>
                </a:lnTo>
                <a:lnTo>
                  <a:pt x="2490" y="1246"/>
                </a:lnTo>
                <a:lnTo>
                  <a:pt x="2492" y="1252"/>
                </a:lnTo>
                <a:lnTo>
                  <a:pt x="2496" y="1258"/>
                </a:lnTo>
                <a:lnTo>
                  <a:pt x="2502" y="1260"/>
                </a:lnTo>
                <a:lnTo>
                  <a:pt x="2514" y="1260"/>
                </a:lnTo>
                <a:lnTo>
                  <a:pt x="2514" y="1260"/>
                </a:lnTo>
                <a:lnTo>
                  <a:pt x="2502" y="1264"/>
                </a:lnTo>
                <a:lnTo>
                  <a:pt x="2502" y="1264"/>
                </a:lnTo>
                <a:lnTo>
                  <a:pt x="2512" y="1272"/>
                </a:lnTo>
                <a:lnTo>
                  <a:pt x="2512" y="1272"/>
                </a:lnTo>
                <a:lnTo>
                  <a:pt x="2506" y="1276"/>
                </a:lnTo>
                <a:lnTo>
                  <a:pt x="2502" y="1278"/>
                </a:lnTo>
                <a:lnTo>
                  <a:pt x="2502" y="1282"/>
                </a:lnTo>
                <a:lnTo>
                  <a:pt x="2502" y="1282"/>
                </a:lnTo>
                <a:lnTo>
                  <a:pt x="2496" y="1284"/>
                </a:lnTo>
                <a:lnTo>
                  <a:pt x="2496" y="1284"/>
                </a:lnTo>
                <a:lnTo>
                  <a:pt x="2488" y="1284"/>
                </a:lnTo>
                <a:lnTo>
                  <a:pt x="2488" y="1284"/>
                </a:lnTo>
                <a:lnTo>
                  <a:pt x="2486" y="1286"/>
                </a:lnTo>
                <a:lnTo>
                  <a:pt x="2486" y="1288"/>
                </a:lnTo>
                <a:lnTo>
                  <a:pt x="2486" y="1288"/>
                </a:lnTo>
                <a:lnTo>
                  <a:pt x="2488" y="1290"/>
                </a:lnTo>
                <a:lnTo>
                  <a:pt x="2490" y="1290"/>
                </a:lnTo>
                <a:lnTo>
                  <a:pt x="2490" y="1290"/>
                </a:lnTo>
                <a:lnTo>
                  <a:pt x="2498" y="1288"/>
                </a:lnTo>
                <a:lnTo>
                  <a:pt x="2498" y="1288"/>
                </a:lnTo>
                <a:lnTo>
                  <a:pt x="2508" y="1282"/>
                </a:lnTo>
                <a:lnTo>
                  <a:pt x="2508" y="1282"/>
                </a:lnTo>
                <a:lnTo>
                  <a:pt x="2510" y="1280"/>
                </a:lnTo>
                <a:lnTo>
                  <a:pt x="2514" y="1280"/>
                </a:lnTo>
                <a:lnTo>
                  <a:pt x="2516" y="1280"/>
                </a:lnTo>
                <a:lnTo>
                  <a:pt x="2516" y="1284"/>
                </a:lnTo>
                <a:lnTo>
                  <a:pt x="2516" y="1284"/>
                </a:lnTo>
                <a:lnTo>
                  <a:pt x="2528" y="1282"/>
                </a:lnTo>
                <a:lnTo>
                  <a:pt x="2528" y="1282"/>
                </a:lnTo>
                <a:lnTo>
                  <a:pt x="2536" y="1280"/>
                </a:lnTo>
                <a:lnTo>
                  <a:pt x="2544" y="1282"/>
                </a:lnTo>
                <a:lnTo>
                  <a:pt x="2556" y="1286"/>
                </a:lnTo>
                <a:lnTo>
                  <a:pt x="2556" y="1286"/>
                </a:lnTo>
                <a:lnTo>
                  <a:pt x="2560" y="1288"/>
                </a:lnTo>
                <a:lnTo>
                  <a:pt x="2562" y="1290"/>
                </a:lnTo>
                <a:lnTo>
                  <a:pt x="2562" y="1292"/>
                </a:lnTo>
                <a:lnTo>
                  <a:pt x="2560" y="1296"/>
                </a:lnTo>
                <a:lnTo>
                  <a:pt x="2560" y="1296"/>
                </a:lnTo>
                <a:lnTo>
                  <a:pt x="2568" y="1298"/>
                </a:lnTo>
                <a:lnTo>
                  <a:pt x="2568" y="1298"/>
                </a:lnTo>
                <a:lnTo>
                  <a:pt x="2572" y="1298"/>
                </a:lnTo>
                <a:lnTo>
                  <a:pt x="2576" y="1296"/>
                </a:lnTo>
                <a:lnTo>
                  <a:pt x="2576" y="1296"/>
                </a:lnTo>
                <a:lnTo>
                  <a:pt x="2578" y="1294"/>
                </a:lnTo>
                <a:lnTo>
                  <a:pt x="2576" y="1290"/>
                </a:lnTo>
                <a:lnTo>
                  <a:pt x="2576" y="1290"/>
                </a:lnTo>
                <a:lnTo>
                  <a:pt x="2570" y="1284"/>
                </a:lnTo>
                <a:lnTo>
                  <a:pt x="2564" y="1280"/>
                </a:lnTo>
                <a:lnTo>
                  <a:pt x="2564" y="1280"/>
                </a:lnTo>
                <a:lnTo>
                  <a:pt x="2560" y="1276"/>
                </a:lnTo>
                <a:lnTo>
                  <a:pt x="2558" y="1276"/>
                </a:lnTo>
                <a:lnTo>
                  <a:pt x="2550" y="1278"/>
                </a:lnTo>
                <a:lnTo>
                  <a:pt x="2550" y="1278"/>
                </a:lnTo>
                <a:lnTo>
                  <a:pt x="2550" y="1278"/>
                </a:lnTo>
                <a:lnTo>
                  <a:pt x="2550" y="1278"/>
                </a:lnTo>
                <a:lnTo>
                  <a:pt x="2546" y="1274"/>
                </a:lnTo>
                <a:lnTo>
                  <a:pt x="2546" y="1272"/>
                </a:lnTo>
                <a:lnTo>
                  <a:pt x="2552" y="1270"/>
                </a:lnTo>
                <a:lnTo>
                  <a:pt x="2562" y="1270"/>
                </a:lnTo>
                <a:lnTo>
                  <a:pt x="2562" y="1270"/>
                </a:lnTo>
                <a:lnTo>
                  <a:pt x="2562" y="1264"/>
                </a:lnTo>
                <a:lnTo>
                  <a:pt x="2562" y="1264"/>
                </a:lnTo>
                <a:lnTo>
                  <a:pt x="2578" y="1262"/>
                </a:lnTo>
                <a:lnTo>
                  <a:pt x="2586" y="1262"/>
                </a:lnTo>
                <a:lnTo>
                  <a:pt x="2594" y="1264"/>
                </a:lnTo>
                <a:lnTo>
                  <a:pt x="2594" y="1264"/>
                </a:lnTo>
                <a:lnTo>
                  <a:pt x="2602" y="1262"/>
                </a:lnTo>
                <a:lnTo>
                  <a:pt x="2602" y="1262"/>
                </a:lnTo>
                <a:lnTo>
                  <a:pt x="2594" y="1258"/>
                </a:lnTo>
                <a:lnTo>
                  <a:pt x="2594" y="1258"/>
                </a:lnTo>
                <a:lnTo>
                  <a:pt x="2588" y="1256"/>
                </a:lnTo>
                <a:lnTo>
                  <a:pt x="2588" y="1256"/>
                </a:lnTo>
                <a:lnTo>
                  <a:pt x="2588" y="1254"/>
                </a:lnTo>
                <a:lnTo>
                  <a:pt x="2588" y="1254"/>
                </a:lnTo>
                <a:lnTo>
                  <a:pt x="2606" y="1256"/>
                </a:lnTo>
                <a:lnTo>
                  <a:pt x="2606" y="1256"/>
                </a:lnTo>
                <a:lnTo>
                  <a:pt x="2604" y="1262"/>
                </a:lnTo>
                <a:lnTo>
                  <a:pt x="2604" y="1262"/>
                </a:lnTo>
                <a:lnTo>
                  <a:pt x="2620" y="1264"/>
                </a:lnTo>
                <a:lnTo>
                  <a:pt x="2628" y="1266"/>
                </a:lnTo>
                <a:lnTo>
                  <a:pt x="2636" y="1264"/>
                </a:lnTo>
                <a:lnTo>
                  <a:pt x="2636" y="1264"/>
                </a:lnTo>
                <a:lnTo>
                  <a:pt x="2640" y="1264"/>
                </a:lnTo>
                <a:lnTo>
                  <a:pt x="2640" y="1264"/>
                </a:lnTo>
                <a:lnTo>
                  <a:pt x="2644" y="1266"/>
                </a:lnTo>
                <a:lnTo>
                  <a:pt x="2648" y="1264"/>
                </a:lnTo>
                <a:lnTo>
                  <a:pt x="2648" y="1264"/>
                </a:lnTo>
                <a:lnTo>
                  <a:pt x="2654" y="1262"/>
                </a:lnTo>
                <a:lnTo>
                  <a:pt x="2654" y="1262"/>
                </a:lnTo>
                <a:lnTo>
                  <a:pt x="2678" y="1262"/>
                </a:lnTo>
                <a:lnTo>
                  <a:pt x="2678" y="1262"/>
                </a:lnTo>
                <a:lnTo>
                  <a:pt x="2690" y="1262"/>
                </a:lnTo>
                <a:lnTo>
                  <a:pt x="2694" y="1262"/>
                </a:lnTo>
                <a:lnTo>
                  <a:pt x="2700" y="1264"/>
                </a:lnTo>
                <a:lnTo>
                  <a:pt x="2700" y="1264"/>
                </a:lnTo>
                <a:lnTo>
                  <a:pt x="2686" y="1274"/>
                </a:lnTo>
                <a:lnTo>
                  <a:pt x="2686" y="1274"/>
                </a:lnTo>
                <a:lnTo>
                  <a:pt x="2682" y="1270"/>
                </a:lnTo>
                <a:lnTo>
                  <a:pt x="2676" y="1270"/>
                </a:lnTo>
                <a:lnTo>
                  <a:pt x="2670" y="1268"/>
                </a:lnTo>
                <a:lnTo>
                  <a:pt x="2666" y="1266"/>
                </a:lnTo>
                <a:lnTo>
                  <a:pt x="2666" y="1266"/>
                </a:lnTo>
                <a:lnTo>
                  <a:pt x="2660" y="1266"/>
                </a:lnTo>
                <a:lnTo>
                  <a:pt x="2658" y="1268"/>
                </a:lnTo>
                <a:lnTo>
                  <a:pt x="2656" y="1270"/>
                </a:lnTo>
                <a:lnTo>
                  <a:pt x="2656" y="1270"/>
                </a:lnTo>
                <a:lnTo>
                  <a:pt x="2664" y="1272"/>
                </a:lnTo>
                <a:lnTo>
                  <a:pt x="2670" y="1274"/>
                </a:lnTo>
                <a:lnTo>
                  <a:pt x="2670" y="1274"/>
                </a:lnTo>
                <a:lnTo>
                  <a:pt x="2674" y="1280"/>
                </a:lnTo>
                <a:lnTo>
                  <a:pt x="2678" y="1282"/>
                </a:lnTo>
                <a:lnTo>
                  <a:pt x="2686" y="1282"/>
                </a:lnTo>
                <a:lnTo>
                  <a:pt x="2692" y="1282"/>
                </a:lnTo>
                <a:lnTo>
                  <a:pt x="2692" y="1282"/>
                </a:lnTo>
                <a:lnTo>
                  <a:pt x="2712" y="1280"/>
                </a:lnTo>
                <a:lnTo>
                  <a:pt x="2732" y="1280"/>
                </a:lnTo>
                <a:lnTo>
                  <a:pt x="2732" y="1280"/>
                </a:lnTo>
                <a:lnTo>
                  <a:pt x="2740" y="1280"/>
                </a:lnTo>
                <a:lnTo>
                  <a:pt x="2744" y="1278"/>
                </a:lnTo>
                <a:lnTo>
                  <a:pt x="2744" y="1278"/>
                </a:lnTo>
                <a:lnTo>
                  <a:pt x="2746" y="1274"/>
                </a:lnTo>
                <a:lnTo>
                  <a:pt x="2748" y="1272"/>
                </a:lnTo>
                <a:lnTo>
                  <a:pt x="2758" y="1272"/>
                </a:lnTo>
                <a:lnTo>
                  <a:pt x="2758" y="1272"/>
                </a:lnTo>
                <a:lnTo>
                  <a:pt x="2778" y="1272"/>
                </a:lnTo>
                <a:lnTo>
                  <a:pt x="2778" y="1272"/>
                </a:lnTo>
                <a:lnTo>
                  <a:pt x="2780" y="1272"/>
                </a:lnTo>
                <a:lnTo>
                  <a:pt x="2780" y="1272"/>
                </a:lnTo>
                <a:lnTo>
                  <a:pt x="2788" y="1274"/>
                </a:lnTo>
                <a:lnTo>
                  <a:pt x="2794" y="1274"/>
                </a:lnTo>
                <a:lnTo>
                  <a:pt x="2800" y="1272"/>
                </a:lnTo>
                <a:lnTo>
                  <a:pt x="2806" y="1272"/>
                </a:lnTo>
                <a:lnTo>
                  <a:pt x="2806" y="1272"/>
                </a:lnTo>
                <a:lnTo>
                  <a:pt x="2804" y="1268"/>
                </a:lnTo>
                <a:lnTo>
                  <a:pt x="2804" y="1268"/>
                </a:lnTo>
                <a:lnTo>
                  <a:pt x="2812" y="1266"/>
                </a:lnTo>
                <a:lnTo>
                  <a:pt x="2818" y="1264"/>
                </a:lnTo>
                <a:lnTo>
                  <a:pt x="2822" y="1260"/>
                </a:lnTo>
                <a:lnTo>
                  <a:pt x="2824" y="1256"/>
                </a:lnTo>
                <a:lnTo>
                  <a:pt x="2824" y="1256"/>
                </a:lnTo>
                <a:lnTo>
                  <a:pt x="2812" y="1252"/>
                </a:lnTo>
                <a:lnTo>
                  <a:pt x="2812" y="1252"/>
                </a:lnTo>
                <a:lnTo>
                  <a:pt x="2814" y="1242"/>
                </a:lnTo>
                <a:lnTo>
                  <a:pt x="2814" y="1242"/>
                </a:lnTo>
                <a:lnTo>
                  <a:pt x="2844" y="1232"/>
                </a:lnTo>
                <a:lnTo>
                  <a:pt x="2844" y="1232"/>
                </a:lnTo>
                <a:lnTo>
                  <a:pt x="2858" y="1230"/>
                </a:lnTo>
                <a:lnTo>
                  <a:pt x="2858" y="1230"/>
                </a:lnTo>
                <a:lnTo>
                  <a:pt x="2874" y="1230"/>
                </a:lnTo>
                <a:lnTo>
                  <a:pt x="2874" y="1230"/>
                </a:lnTo>
                <a:lnTo>
                  <a:pt x="2868" y="1218"/>
                </a:lnTo>
                <a:lnTo>
                  <a:pt x="2868" y="1218"/>
                </a:lnTo>
                <a:lnTo>
                  <a:pt x="2894" y="1216"/>
                </a:lnTo>
                <a:lnTo>
                  <a:pt x="2894" y="1216"/>
                </a:lnTo>
                <a:lnTo>
                  <a:pt x="2898" y="1210"/>
                </a:lnTo>
                <a:lnTo>
                  <a:pt x="2898" y="1210"/>
                </a:lnTo>
                <a:lnTo>
                  <a:pt x="2892" y="1208"/>
                </a:lnTo>
                <a:lnTo>
                  <a:pt x="2892" y="1208"/>
                </a:lnTo>
                <a:lnTo>
                  <a:pt x="2904" y="1208"/>
                </a:lnTo>
                <a:lnTo>
                  <a:pt x="2908" y="1210"/>
                </a:lnTo>
                <a:lnTo>
                  <a:pt x="2912" y="1212"/>
                </a:lnTo>
                <a:lnTo>
                  <a:pt x="2912" y="1212"/>
                </a:lnTo>
                <a:lnTo>
                  <a:pt x="2914" y="1214"/>
                </a:lnTo>
                <a:lnTo>
                  <a:pt x="2920" y="1216"/>
                </a:lnTo>
                <a:lnTo>
                  <a:pt x="2920" y="1216"/>
                </a:lnTo>
                <a:lnTo>
                  <a:pt x="2928" y="1216"/>
                </a:lnTo>
                <a:lnTo>
                  <a:pt x="2936" y="1216"/>
                </a:lnTo>
                <a:lnTo>
                  <a:pt x="2944" y="1216"/>
                </a:lnTo>
                <a:lnTo>
                  <a:pt x="2952" y="1216"/>
                </a:lnTo>
                <a:lnTo>
                  <a:pt x="2952" y="1216"/>
                </a:lnTo>
                <a:lnTo>
                  <a:pt x="2952" y="1210"/>
                </a:lnTo>
                <a:lnTo>
                  <a:pt x="2952" y="1206"/>
                </a:lnTo>
                <a:lnTo>
                  <a:pt x="2956" y="1204"/>
                </a:lnTo>
                <a:lnTo>
                  <a:pt x="2964" y="1202"/>
                </a:lnTo>
                <a:lnTo>
                  <a:pt x="2964" y="1202"/>
                </a:lnTo>
                <a:lnTo>
                  <a:pt x="2964" y="1196"/>
                </a:lnTo>
                <a:lnTo>
                  <a:pt x="2992" y="1196"/>
                </a:lnTo>
                <a:lnTo>
                  <a:pt x="2992" y="1196"/>
                </a:lnTo>
                <a:lnTo>
                  <a:pt x="2990" y="1192"/>
                </a:lnTo>
                <a:lnTo>
                  <a:pt x="2990" y="1192"/>
                </a:lnTo>
                <a:lnTo>
                  <a:pt x="2986" y="1188"/>
                </a:lnTo>
                <a:lnTo>
                  <a:pt x="2986" y="1188"/>
                </a:lnTo>
                <a:lnTo>
                  <a:pt x="2980" y="1188"/>
                </a:lnTo>
                <a:lnTo>
                  <a:pt x="2972" y="1188"/>
                </a:lnTo>
                <a:lnTo>
                  <a:pt x="2966" y="1188"/>
                </a:lnTo>
                <a:lnTo>
                  <a:pt x="2962" y="1190"/>
                </a:lnTo>
                <a:lnTo>
                  <a:pt x="2962" y="1190"/>
                </a:lnTo>
                <a:lnTo>
                  <a:pt x="2958" y="1194"/>
                </a:lnTo>
                <a:lnTo>
                  <a:pt x="2952" y="1196"/>
                </a:lnTo>
                <a:lnTo>
                  <a:pt x="2942" y="1198"/>
                </a:lnTo>
                <a:lnTo>
                  <a:pt x="2942" y="1198"/>
                </a:lnTo>
                <a:lnTo>
                  <a:pt x="2922" y="1200"/>
                </a:lnTo>
                <a:lnTo>
                  <a:pt x="2922" y="1200"/>
                </a:lnTo>
                <a:lnTo>
                  <a:pt x="2920" y="1198"/>
                </a:lnTo>
                <a:lnTo>
                  <a:pt x="2918" y="1196"/>
                </a:lnTo>
                <a:lnTo>
                  <a:pt x="2910" y="1194"/>
                </a:lnTo>
                <a:lnTo>
                  <a:pt x="2910" y="1194"/>
                </a:lnTo>
                <a:lnTo>
                  <a:pt x="2912" y="1190"/>
                </a:lnTo>
                <a:lnTo>
                  <a:pt x="2916" y="1188"/>
                </a:lnTo>
                <a:lnTo>
                  <a:pt x="2926" y="1182"/>
                </a:lnTo>
                <a:lnTo>
                  <a:pt x="2926" y="1182"/>
                </a:lnTo>
                <a:lnTo>
                  <a:pt x="2922" y="1178"/>
                </a:lnTo>
                <a:lnTo>
                  <a:pt x="2922" y="1178"/>
                </a:lnTo>
                <a:lnTo>
                  <a:pt x="2936" y="1174"/>
                </a:lnTo>
                <a:lnTo>
                  <a:pt x="2936" y="1174"/>
                </a:lnTo>
                <a:lnTo>
                  <a:pt x="2934" y="1172"/>
                </a:lnTo>
                <a:lnTo>
                  <a:pt x="2934" y="1172"/>
                </a:lnTo>
                <a:lnTo>
                  <a:pt x="2934" y="1168"/>
                </a:lnTo>
                <a:lnTo>
                  <a:pt x="2934" y="1166"/>
                </a:lnTo>
                <a:lnTo>
                  <a:pt x="2942" y="1166"/>
                </a:lnTo>
                <a:lnTo>
                  <a:pt x="2942" y="1166"/>
                </a:lnTo>
                <a:lnTo>
                  <a:pt x="2950" y="1166"/>
                </a:lnTo>
                <a:lnTo>
                  <a:pt x="2950" y="1166"/>
                </a:lnTo>
                <a:lnTo>
                  <a:pt x="2954" y="1162"/>
                </a:lnTo>
                <a:lnTo>
                  <a:pt x="2954" y="1162"/>
                </a:lnTo>
                <a:lnTo>
                  <a:pt x="2962" y="1164"/>
                </a:lnTo>
                <a:lnTo>
                  <a:pt x="2964" y="1166"/>
                </a:lnTo>
                <a:lnTo>
                  <a:pt x="2968" y="1164"/>
                </a:lnTo>
                <a:lnTo>
                  <a:pt x="2968" y="1164"/>
                </a:lnTo>
                <a:lnTo>
                  <a:pt x="2972" y="1164"/>
                </a:lnTo>
                <a:lnTo>
                  <a:pt x="2976" y="1164"/>
                </a:lnTo>
                <a:lnTo>
                  <a:pt x="2982" y="1168"/>
                </a:lnTo>
                <a:lnTo>
                  <a:pt x="2982" y="1168"/>
                </a:lnTo>
                <a:lnTo>
                  <a:pt x="2990" y="1158"/>
                </a:lnTo>
                <a:lnTo>
                  <a:pt x="2990" y="1158"/>
                </a:lnTo>
                <a:lnTo>
                  <a:pt x="2998" y="1158"/>
                </a:lnTo>
                <a:lnTo>
                  <a:pt x="3006" y="1158"/>
                </a:lnTo>
                <a:lnTo>
                  <a:pt x="3014" y="1160"/>
                </a:lnTo>
                <a:lnTo>
                  <a:pt x="3020" y="1164"/>
                </a:lnTo>
                <a:lnTo>
                  <a:pt x="3020" y="1164"/>
                </a:lnTo>
                <a:lnTo>
                  <a:pt x="3026" y="1166"/>
                </a:lnTo>
                <a:lnTo>
                  <a:pt x="3032" y="1166"/>
                </a:lnTo>
                <a:lnTo>
                  <a:pt x="3032" y="1166"/>
                </a:lnTo>
                <a:lnTo>
                  <a:pt x="3038" y="1166"/>
                </a:lnTo>
                <a:lnTo>
                  <a:pt x="3042" y="1166"/>
                </a:lnTo>
                <a:lnTo>
                  <a:pt x="3042" y="1166"/>
                </a:lnTo>
                <a:lnTo>
                  <a:pt x="3048" y="1168"/>
                </a:lnTo>
                <a:lnTo>
                  <a:pt x="3056" y="1170"/>
                </a:lnTo>
                <a:lnTo>
                  <a:pt x="3068" y="1166"/>
                </a:lnTo>
                <a:lnTo>
                  <a:pt x="3068" y="1166"/>
                </a:lnTo>
                <a:lnTo>
                  <a:pt x="3072" y="1164"/>
                </a:lnTo>
                <a:lnTo>
                  <a:pt x="3074" y="1158"/>
                </a:lnTo>
                <a:lnTo>
                  <a:pt x="3080" y="1140"/>
                </a:lnTo>
                <a:lnTo>
                  <a:pt x="3080" y="1140"/>
                </a:lnTo>
                <a:lnTo>
                  <a:pt x="3070" y="1142"/>
                </a:lnTo>
                <a:lnTo>
                  <a:pt x="3070" y="1142"/>
                </a:lnTo>
                <a:lnTo>
                  <a:pt x="3070" y="1140"/>
                </a:lnTo>
                <a:lnTo>
                  <a:pt x="3068" y="1138"/>
                </a:lnTo>
                <a:lnTo>
                  <a:pt x="3064" y="1138"/>
                </a:lnTo>
                <a:lnTo>
                  <a:pt x="3058" y="1136"/>
                </a:lnTo>
                <a:lnTo>
                  <a:pt x="3054" y="1134"/>
                </a:lnTo>
                <a:lnTo>
                  <a:pt x="3054" y="1134"/>
                </a:lnTo>
                <a:lnTo>
                  <a:pt x="3048" y="1126"/>
                </a:lnTo>
                <a:lnTo>
                  <a:pt x="3040" y="1120"/>
                </a:lnTo>
                <a:lnTo>
                  <a:pt x="3040" y="1120"/>
                </a:lnTo>
                <a:lnTo>
                  <a:pt x="3044" y="1118"/>
                </a:lnTo>
                <a:lnTo>
                  <a:pt x="3044" y="1114"/>
                </a:lnTo>
                <a:lnTo>
                  <a:pt x="3046" y="1110"/>
                </a:lnTo>
                <a:lnTo>
                  <a:pt x="3054" y="1108"/>
                </a:lnTo>
                <a:lnTo>
                  <a:pt x="3054" y="1108"/>
                </a:lnTo>
                <a:lnTo>
                  <a:pt x="3052" y="1122"/>
                </a:lnTo>
                <a:lnTo>
                  <a:pt x="3052" y="1122"/>
                </a:lnTo>
                <a:lnTo>
                  <a:pt x="3060" y="1122"/>
                </a:lnTo>
                <a:lnTo>
                  <a:pt x="3066" y="1120"/>
                </a:lnTo>
                <a:lnTo>
                  <a:pt x="3066" y="1120"/>
                </a:lnTo>
                <a:lnTo>
                  <a:pt x="3076" y="1116"/>
                </a:lnTo>
                <a:lnTo>
                  <a:pt x="3076" y="1116"/>
                </a:lnTo>
                <a:lnTo>
                  <a:pt x="3076" y="1116"/>
                </a:lnTo>
                <a:lnTo>
                  <a:pt x="3076" y="1116"/>
                </a:lnTo>
                <a:lnTo>
                  <a:pt x="3076" y="1116"/>
                </a:lnTo>
                <a:lnTo>
                  <a:pt x="3076" y="1116"/>
                </a:lnTo>
                <a:lnTo>
                  <a:pt x="3076" y="1116"/>
                </a:lnTo>
                <a:lnTo>
                  <a:pt x="3076" y="1116"/>
                </a:lnTo>
                <a:lnTo>
                  <a:pt x="3076" y="1116"/>
                </a:lnTo>
                <a:lnTo>
                  <a:pt x="3078" y="1116"/>
                </a:lnTo>
                <a:lnTo>
                  <a:pt x="3078" y="1116"/>
                </a:lnTo>
                <a:lnTo>
                  <a:pt x="3078" y="1120"/>
                </a:lnTo>
                <a:lnTo>
                  <a:pt x="3078" y="1122"/>
                </a:lnTo>
                <a:lnTo>
                  <a:pt x="3084" y="1124"/>
                </a:lnTo>
                <a:lnTo>
                  <a:pt x="3084" y="1124"/>
                </a:lnTo>
                <a:lnTo>
                  <a:pt x="3086" y="1124"/>
                </a:lnTo>
                <a:lnTo>
                  <a:pt x="3086" y="1124"/>
                </a:lnTo>
                <a:lnTo>
                  <a:pt x="3088" y="1116"/>
                </a:lnTo>
                <a:lnTo>
                  <a:pt x="3088" y="1116"/>
                </a:lnTo>
                <a:lnTo>
                  <a:pt x="3084" y="1116"/>
                </a:lnTo>
                <a:lnTo>
                  <a:pt x="3084" y="1116"/>
                </a:lnTo>
                <a:lnTo>
                  <a:pt x="3084" y="1116"/>
                </a:lnTo>
                <a:lnTo>
                  <a:pt x="3084" y="1116"/>
                </a:lnTo>
                <a:lnTo>
                  <a:pt x="3084" y="1116"/>
                </a:lnTo>
                <a:lnTo>
                  <a:pt x="3084" y="1116"/>
                </a:lnTo>
                <a:lnTo>
                  <a:pt x="3088" y="1116"/>
                </a:lnTo>
                <a:lnTo>
                  <a:pt x="3088" y="1116"/>
                </a:lnTo>
                <a:lnTo>
                  <a:pt x="3088" y="1114"/>
                </a:lnTo>
                <a:lnTo>
                  <a:pt x="3074" y="1114"/>
                </a:lnTo>
                <a:lnTo>
                  <a:pt x="3074" y="1114"/>
                </a:lnTo>
                <a:lnTo>
                  <a:pt x="3074" y="1114"/>
                </a:lnTo>
                <a:lnTo>
                  <a:pt x="3088" y="1114"/>
                </a:lnTo>
                <a:lnTo>
                  <a:pt x="3088" y="1114"/>
                </a:lnTo>
                <a:lnTo>
                  <a:pt x="3090" y="1102"/>
                </a:lnTo>
                <a:lnTo>
                  <a:pt x="3090" y="1102"/>
                </a:lnTo>
                <a:lnTo>
                  <a:pt x="3088" y="1100"/>
                </a:lnTo>
                <a:lnTo>
                  <a:pt x="3088" y="1100"/>
                </a:lnTo>
                <a:lnTo>
                  <a:pt x="3092" y="1100"/>
                </a:lnTo>
                <a:lnTo>
                  <a:pt x="3092" y="1100"/>
                </a:lnTo>
                <a:lnTo>
                  <a:pt x="3094" y="1088"/>
                </a:lnTo>
                <a:lnTo>
                  <a:pt x="3094" y="1088"/>
                </a:lnTo>
                <a:lnTo>
                  <a:pt x="3084" y="1090"/>
                </a:lnTo>
                <a:lnTo>
                  <a:pt x="3084" y="1090"/>
                </a:lnTo>
                <a:lnTo>
                  <a:pt x="3084" y="1090"/>
                </a:lnTo>
                <a:lnTo>
                  <a:pt x="3084" y="1090"/>
                </a:lnTo>
                <a:lnTo>
                  <a:pt x="3094" y="1088"/>
                </a:lnTo>
                <a:lnTo>
                  <a:pt x="3094" y="1088"/>
                </a:lnTo>
                <a:lnTo>
                  <a:pt x="3102" y="1066"/>
                </a:lnTo>
                <a:lnTo>
                  <a:pt x="3106" y="1060"/>
                </a:lnTo>
                <a:lnTo>
                  <a:pt x="3108" y="1058"/>
                </a:lnTo>
                <a:lnTo>
                  <a:pt x="3108" y="1058"/>
                </a:lnTo>
                <a:lnTo>
                  <a:pt x="3108" y="1058"/>
                </a:lnTo>
                <a:lnTo>
                  <a:pt x="3110" y="1056"/>
                </a:lnTo>
                <a:lnTo>
                  <a:pt x="3110" y="1056"/>
                </a:lnTo>
                <a:lnTo>
                  <a:pt x="3106" y="1058"/>
                </a:lnTo>
                <a:lnTo>
                  <a:pt x="3106" y="1058"/>
                </a:lnTo>
                <a:lnTo>
                  <a:pt x="3102" y="1058"/>
                </a:lnTo>
                <a:lnTo>
                  <a:pt x="3102" y="1058"/>
                </a:lnTo>
                <a:lnTo>
                  <a:pt x="3106" y="1054"/>
                </a:lnTo>
                <a:lnTo>
                  <a:pt x="3110" y="1052"/>
                </a:lnTo>
                <a:lnTo>
                  <a:pt x="3110" y="1052"/>
                </a:lnTo>
                <a:lnTo>
                  <a:pt x="3112" y="1054"/>
                </a:lnTo>
                <a:lnTo>
                  <a:pt x="3112" y="1054"/>
                </a:lnTo>
                <a:lnTo>
                  <a:pt x="3114" y="1052"/>
                </a:lnTo>
                <a:lnTo>
                  <a:pt x="3114" y="1052"/>
                </a:lnTo>
                <a:lnTo>
                  <a:pt x="3114" y="1056"/>
                </a:lnTo>
                <a:lnTo>
                  <a:pt x="3114" y="1056"/>
                </a:lnTo>
                <a:lnTo>
                  <a:pt x="3114" y="1056"/>
                </a:lnTo>
                <a:lnTo>
                  <a:pt x="3114" y="1056"/>
                </a:lnTo>
                <a:lnTo>
                  <a:pt x="3114" y="1056"/>
                </a:lnTo>
                <a:lnTo>
                  <a:pt x="3114" y="1056"/>
                </a:lnTo>
                <a:lnTo>
                  <a:pt x="3108" y="1090"/>
                </a:lnTo>
                <a:lnTo>
                  <a:pt x="3108" y="1090"/>
                </a:lnTo>
                <a:lnTo>
                  <a:pt x="3108" y="1090"/>
                </a:lnTo>
                <a:lnTo>
                  <a:pt x="3108" y="1090"/>
                </a:lnTo>
                <a:lnTo>
                  <a:pt x="3108" y="1090"/>
                </a:lnTo>
                <a:lnTo>
                  <a:pt x="3108" y="1090"/>
                </a:lnTo>
                <a:lnTo>
                  <a:pt x="3108" y="1090"/>
                </a:lnTo>
                <a:lnTo>
                  <a:pt x="3108" y="1090"/>
                </a:lnTo>
                <a:lnTo>
                  <a:pt x="3106" y="1104"/>
                </a:lnTo>
                <a:lnTo>
                  <a:pt x="3106" y="1104"/>
                </a:lnTo>
                <a:lnTo>
                  <a:pt x="3108" y="1104"/>
                </a:lnTo>
                <a:lnTo>
                  <a:pt x="3108" y="1104"/>
                </a:lnTo>
                <a:lnTo>
                  <a:pt x="3118" y="1104"/>
                </a:lnTo>
                <a:lnTo>
                  <a:pt x="3118" y="1104"/>
                </a:lnTo>
                <a:lnTo>
                  <a:pt x="3122" y="1142"/>
                </a:lnTo>
                <a:lnTo>
                  <a:pt x="3122" y="1142"/>
                </a:lnTo>
                <a:lnTo>
                  <a:pt x="3120" y="1142"/>
                </a:lnTo>
                <a:lnTo>
                  <a:pt x="3120" y="1142"/>
                </a:lnTo>
                <a:lnTo>
                  <a:pt x="3112" y="1142"/>
                </a:lnTo>
                <a:lnTo>
                  <a:pt x="3104" y="1140"/>
                </a:lnTo>
                <a:lnTo>
                  <a:pt x="3104" y="1140"/>
                </a:lnTo>
                <a:lnTo>
                  <a:pt x="3100" y="1138"/>
                </a:lnTo>
                <a:lnTo>
                  <a:pt x="3100" y="1138"/>
                </a:lnTo>
                <a:lnTo>
                  <a:pt x="3096" y="1148"/>
                </a:lnTo>
                <a:lnTo>
                  <a:pt x="3094" y="1152"/>
                </a:lnTo>
                <a:lnTo>
                  <a:pt x="3094" y="1152"/>
                </a:lnTo>
                <a:lnTo>
                  <a:pt x="3102" y="1150"/>
                </a:lnTo>
                <a:lnTo>
                  <a:pt x="3102" y="1150"/>
                </a:lnTo>
                <a:lnTo>
                  <a:pt x="3102" y="1150"/>
                </a:lnTo>
                <a:lnTo>
                  <a:pt x="3102" y="1150"/>
                </a:lnTo>
                <a:lnTo>
                  <a:pt x="3106" y="1146"/>
                </a:lnTo>
                <a:lnTo>
                  <a:pt x="3106" y="1146"/>
                </a:lnTo>
                <a:lnTo>
                  <a:pt x="3102" y="1144"/>
                </a:lnTo>
                <a:lnTo>
                  <a:pt x="3102" y="1144"/>
                </a:lnTo>
                <a:lnTo>
                  <a:pt x="3102" y="1144"/>
                </a:lnTo>
                <a:lnTo>
                  <a:pt x="3102" y="1144"/>
                </a:lnTo>
                <a:lnTo>
                  <a:pt x="3106" y="1146"/>
                </a:lnTo>
                <a:lnTo>
                  <a:pt x="3106" y="1146"/>
                </a:lnTo>
                <a:lnTo>
                  <a:pt x="3102" y="1150"/>
                </a:lnTo>
                <a:lnTo>
                  <a:pt x="3102" y="1150"/>
                </a:lnTo>
                <a:lnTo>
                  <a:pt x="3118" y="1146"/>
                </a:lnTo>
                <a:lnTo>
                  <a:pt x="3118" y="1146"/>
                </a:lnTo>
                <a:lnTo>
                  <a:pt x="3122" y="1146"/>
                </a:lnTo>
                <a:lnTo>
                  <a:pt x="3122" y="1146"/>
                </a:lnTo>
                <a:lnTo>
                  <a:pt x="3124" y="1166"/>
                </a:lnTo>
                <a:lnTo>
                  <a:pt x="3126" y="1172"/>
                </a:lnTo>
                <a:lnTo>
                  <a:pt x="3128" y="1174"/>
                </a:lnTo>
                <a:lnTo>
                  <a:pt x="3128" y="1174"/>
                </a:lnTo>
                <a:lnTo>
                  <a:pt x="3136" y="1172"/>
                </a:lnTo>
                <a:lnTo>
                  <a:pt x="3146" y="1172"/>
                </a:lnTo>
                <a:lnTo>
                  <a:pt x="3146" y="1172"/>
                </a:lnTo>
                <a:lnTo>
                  <a:pt x="3164" y="1172"/>
                </a:lnTo>
                <a:lnTo>
                  <a:pt x="3180" y="1168"/>
                </a:lnTo>
                <a:lnTo>
                  <a:pt x="3180" y="1168"/>
                </a:lnTo>
                <a:lnTo>
                  <a:pt x="3196" y="1166"/>
                </a:lnTo>
                <a:lnTo>
                  <a:pt x="3212" y="1170"/>
                </a:lnTo>
                <a:lnTo>
                  <a:pt x="3212" y="1170"/>
                </a:lnTo>
                <a:lnTo>
                  <a:pt x="3222" y="1174"/>
                </a:lnTo>
                <a:lnTo>
                  <a:pt x="3232" y="1178"/>
                </a:lnTo>
                <a:lnTo>
                  <a:pt x="3232" y="1178"/>
                </a:lnTo>
                <a:lnTo>
                  <a:pt x="3236" y="1180"/>
                </a:lnTo>
                <a:lnTo>
                  <a:pt x="3242" y="1180"/>
                </a:lnTo>
                <a:lnTo>
                  <a:pt x="3246" y="1182"/>
                </a:lnTo>
                <a:lnTo>
                  <a:pt x="3250" y="1184"/>
                </a:lnTo>
                <a:lnTo>
                  <a:pt x="3250" y="1184"/>
                </a:lnTo>
                <a:lnTo>
                  <a:pt x="3268" y="1176"/>
                </a:lnTo>
                <a:lnTo>
                  <a:pt x="3268" y="1176"/>
                </a:lnTo>
                <a:lnTo>
                  <a:pt x="3254" y="1170"/>
                </a:lnTo>
                <a:lnTo>
                  <a:pt x="3240" y="1168"/>
                </a:lnTo>
                <a:lnTo>
                  <a:pt x="3240" y="1168"/>
                </a:lnTo>
                <a:lnTo>
                  <a:pt x="3232" y="1170"/>
                </a:lnTo>
                <a:lnTo>
                  <a:pt x="3230" y="1168"/>
                </a:lnTo>
                <a:lnTo>
                  <a:pt x="3226" y="1166"/>
                </a:lnTo>
                <a:lnTo>
                  <a:pt x="3226" y="1166"/>
                </a:lnTo>
                <a:lnTo>
                  <a:pt x="3250" y="1160"/>
                </a:lnTo>
                <a:lnTo>
                  <a:pt x="3250" y="1160"/>
                </a:lnTo>
                <a:lnTo>
                  <a:pt x="3258" y="1156"/>
                </a:lnTo>
                <a:lnTo>
                  <a:pt x="3250" y="1156"/>
                </a:lnTo>
                <a:lnTo>
                  <a:pt x="3250" y="1156"/>
                </a:lnTo>
                <a:lnTo>
                  <a:pt x="3250" y="1152"/>
                </a:lnTo>
                <a:lnTo>
                  <a:pt x="3250" y="1150"/>
                </a:lnTo>
                <a:lnTo>
                  <a:pt x="3254" y="1148"/>
                </a:lnTo>
                <a:lnTo>
                  <a:pt x="3260" y="1146"/>
                </a:lnTo>
                <a:lnTo>
                  <a:pt x="3262" y="1144"/>
                </a:lnTo>
                <a:lnTo>
                  <a:pt x="3262" y="1144"/>
                </a:lnTo>
                <a:lnTo>
                  <a:pt x="3252" y="1136"/>
                </a:lnTo>
                <a:lnTo>
                  <a:pt x="3252" y="1136"/>
                </a:lnTo>
                <a:lnTo>
                  <a:pt x="3258" y="1136"/>
                </a:lnTo>
                <a:lnTo>
                  <a:pt x="3264" y="1130"/>
                </a:lnTo>
                <a:lnTo>
                  <a:pt x="3264" y="1130"/>
                </a:lnTo>
                <a:lnTo>
                  <a:pt x="3248" y="1130"/>
                </a:lnTo>
                <a:lnTo>
                  <a:pt x="3248" y="1130"/>
                </a:lnTo>
                <a:lnTo>
                  <a:pt x="3270" y="1128"/>
                </a:lnTo>
                <a:lnTo>
                  <a:pt x="3270" y="1128"/>
                </a:lnTo>
                <a:lnTo>
                  <a:pt x="3270" y="1134"/>
                </a:lnTo>
                <a:lnTo>
                  <a:pt x="3270" y="1134"/>
                </a:lnTo>
                <a:lnTo>
                  <a:pt x="3268" y="1134"/>
                </a:lnTo>
                <a:lnTo>
                  <a:pt x="3268" y="1134"/>
                </a:lnTo>
                <a:lnTo>
                  <a:pt x="3270" y="1136"/>
                </a:lnTo>
                <a:lnTo>
                  <a:pt x="3270" y="1136"/>
                </a:lnTo>
                <a:lnTo>
                  <a:pt x="3266" y="1138"/>
                </a:lnTo>
                <a:lnTo>
                  <a:pt x="3266" y="1138"/>
                </a:lnTo>
                <a:lnTo>
                  <a:pt x="3266" y="1140"/>
                </a:lnTo>
                <a:lnTo>
                  <a:pt x="3266" y="1142"/>
                </a:lnTo>
                <a:lnTo>
                  <a:pt x="3266" y="1142"/>
                </a:lnTo>
                <a:lnTo>
                  <a:pt x="3264" y="1150"/>
                </a:lnTo>
                <a:lnTo>
                  <a:pt x="3258" y="1156"/>
                </a:lnTo>
                <a:lnTo>
                  <a:pt x="3272" y="1156"/>
                </a:lnTo>
                <a:lnTo>
                  <a:pt x="3272" y="1156"/>
                </a:lnTo>
                <a:lnTo>
                  <a:pt x="3270" y="1136"/>
                </a:lnTo>
                <a:lnTo>
                  <a:pt x="3270" y="1136"/>
                </a:lnTo>
                <a:lnTo>
                  <a:pt x="3280" y="1138"/>
                </a:lnTo>
                <a:lnTo>
                  <a:pt x="3284" y="1138"/>
                </a:lnTo>
                <a:lnTo>
                  <a:pt x="3286" y="1136"/>
                </a:lnTo>
                <a:lnTo>
                  <a:pt x="3286" y="1136"/>
                </a:lnTo>
                <a:lnTo>
                  <a:pt x="3290" y="1134"/>
                </a:lnTo>
                <a:lnTo>
                  <a:pt x="3294" y="1134"/>
                </a:lnTo>
                <a:lnTo>
                  <a:pt x="3304" y="1136"/>
                </a:lnTo>
                <a:lnTo>
                  <a:pt x="3304" y="1136"/>
                </a:lnTo>
                <a:lnTo>
                  <a:pt x="3302" y="1132"/>
                </a:lnTo>
                <a:lnTo>
                  <a:pt x="3302" y="1132"/>
                </a:lnTo>
                <a:lnTo>
                  <a:pt x="3314" y="1134"/>
                </a:lnTo>
                <a:lnTo>
                  <a:pt x="3314" y="1134"/>
                </a:lnTo>
                <a:lnTo>
                  <a:pt x="3310" y="1126"/>
                </a:lnTo>
                <a:lnTo>
                  <a:pt x="3310" y="1126"/>
                </a:lnTo>
                <a:lnTo>
                  <a:pt x="3310" y="1126"/>
                </a:lnTo>
                <a:lnTo>
                  <a:pt x="3310" y="1126"/>
                </a:lnTo>
                <a:lnTo>
                  <a:pt x="3322" y="1126"/>
                </a:lnTo>
                <a:lnTo>
                  <a:pt x="3322" y="1126"/>
                </a:lnTo>
                <a:lnTo>
                  <a:pt x="3332" y="1126"/>
                </a:lnTo>
                <a:lnTo>
                  <a:pt x="3338" y="1130"/>
                </a:lnTo>
                <a:lnTo>
                  <a:pt x="3338" y="1130"/>
                </a:lnTo>
                <a:lnTo>
                  <a:pt x="3338" y="1130"/>
                </a:lnTo>
                <a:lnTo>
                  <a:pt x="3338" y="1130"/>
                </a:lnTo>
                <a:lnTo>
                  <a:pt x="3336" y="1132"/>
                </a:lnTo>
                <a:lnTo>
                  <a:pt x="3336" y="1132"/>
                </a:lnTo>
                <a:lnTo>
                  <a:pt x="3334" y="1136"/>
                </a:lnTo>
                <a:lnTo>
                  <a:pt x="3336" y="1140"/>
                </a:lnTo>
                <a:lnTo>
                  <a:pt x="3342" y="1142"/>
                </a:lnTo>
                <a:lnTo>
                  <a:pt x="3348" y="1144"/>
                </a:lnTo>
                <a:lnTo>
                  <a:pt x="3348" y="1144"/>
                </a:lnTo>
                <a:lnTo>
                  <a:pt x="3368" y="1148"/>
                </a:lnTo>
                <a:lnTo>
                  <a:pt x="3378" y="1148"/>
                </a:lnTo>
                <a:lnTo>
                  <a:pt x="3388" y="1148"/>
                </a:lnTo>
                <a:lnTo>
                  <a:pt x="3388" y="1148"/>
                </a:lnTo>
                <a:lnTo>
                  <a:pt x="3400" y="1144"/>
                </a:lnTo>
                <a:lnTo>
                  <a:pt x="3404" y="1140"/>
                </a:lnTo>
                <a:lnTo>
                  <a:pt x="3406" y="1136"/>
                </a:lnTo>
                <a:lnTo>
                  <a:pt x="3406" y="1136"/>
                </a:lnTo>
                <a:lnTo>
                  <a:pt x="3396" y="1132"/>
                </a:lnTo>
                <a:lnTo>
                  <a:pt x="3396" y="1132"/>
                </a:lnTo>
                <a:lnTo>
                  <a:pt x="3408" y="1126"/>
                </a:lnTo>
                <a:lnTo>
                  <a:pt x="3408" y="1126"/>
                </a:lnTo>
                <a:lnTo>
                  <a:pt x="3412" y="1130"/>
                </a:lnTo>
                <a:lnTo>
                  <a:pt x="3412" y="1130"/>
                </a:lnTo>
                <a:lnTo>
                  <a:pt x="3420" y="1130"/>
                </a:lnTo>
                <a:lnTo>
                  <a:pt x="3420" y="1130"/>
                </a:lnTo>
                <a:lnTo>
                  <a:pt x="3422" y="1130"/>
                </a:lnTo>
                <a:lnTo>
                  <a:pt x="3422" y="1130"/>
                </a:lnTo>
                <a:lnTo>
                  <a:pt x="3422" y="1132"/>
                </a:lnTo>
                <a:lnTo>
                  <a:pt x="3422" y="1132"/>
                </a:lnTo>
                <a:lnTo>
                  <a:pt x="3420" y="1136"/>
                </a:lnTo>
                <a:lnTo>
                  <a:pt x="3420" y="1136"/>
                </a:lnTo>
                <a:lnTo>
                  <a:pt x="3422" y="1136"/>
                </a:lnTo>
                <a:lnTo>
                  <a:pt x="3422" y="1136"/>
                </a:lnTo>
                <a:lnTo>
                  <a:pt x="3422" y="1156"/>
                </a:lnTo>
                <a:lnTo>
                  <a:pt x="3422" y="1156"/>
                </a:lnTo>
                <a:lnTo>
                  <a:pt x="3414" y="1158"/>
                </a:lnTo>
                <a:lnTo>
                  <a:pt x="3414" y="1158"/>
                </a:lnTo>
                <a:lnTo>
                  <a:pt x="3408" y="1160"/>
                </a:lnTo>
                <a:lnTo>
                  <a:pt x="3406" y="1164"/>
                </a:lnTo>
                <a:lnTo>
                  <a:pt x="3406" y="1164"/>
                </a:lnTo>
                <a:lnTo>
                  <a:pt x="3422" y="1168"/>
                </a:lnTo>
                <a:lnTo>
                  <a:pt x="3422" y="1168"/>
                </a:lnTo>
                <a:lnTo>
                  <a:pt x="3422" y="1168"/>
                </a:lnTo>
                <a:lnTo>
                  <a:pt x="3424" y="1166"/>
                </a:lnTo>
                <a:lnTo>
                  <a:pt x="3424" y="1166"/>
                </a:lnTo>
                <a:lnTo>
                  <a:pt x="3424" y="1178"/>
                </a:lnTo>
                <a:lnTo>
                  <a:pt x="3426" y="1184"/>
                </a:lnTo>
                <a:lnTo>
                  <a:pt x="3426" y="1184"/>
                </a:lnTo>
                <a:lnTo>
                  <a:pt x="3434" y="1178"/>
                </a:lnTo>
                <a:lnTo>
                  <a:pt x="3436" y="1176"/>
                </a:lnTo>
                <a:lnTo>
                  <a:pt x="3436" y="1172"/>
                </a:lnTo>
                <a:lnTo>
                  <a:pt x="3446" y="1172"/>
                </a:lnTo>
                <a:lnTo>
                  <a:pt x="3446" y="1172"/>
                </a:lnTo>
                <a:lnTo>
                  <a:pt x="3450" y="1176"/>
                </a:lnTo>
                <a:lnTo>
                  <a:pt x="3450" y="1176"/>
                </a:lnTo>
                <a:lnTo>
                  <a:pt x="3452" y="1132"/>
                </a:lnTo>
                <a:lnTo>
                  <a:pt x="3452" y="1132"/>
                </a:lnTo>
                <a:lnTo>
                  <a:pt x="3454" y="1130"/>
                </a:lnTo>
                <a:lnTo>
                  <a:pt x="3454" y="1130"/>
                </a:lnTo>
                <a:lnTo>
                  <a:pt x="3452" y="1130"/>
                </a:lnTo>
                <a:lnTo>
                  <a:pt x="3452" y="1130"/>
                </a:lnTo>
                <a:lnTo>
                  <a:pt x="3452" y="1120"/>
                </a:lnTo>
                <a:lnTo>
                  <a:pt x="3452" y="1120"/>
                </a:lnTo>
                <a:lnTo>
                  <a:pt x="3444" y="1124"/>
                </a:lnTo>
                <a:lnTo>
                  <a:pt x="3444" y="1124"/>
                </a:lnTo>
                <a:lnTo>
                  <a:pt x="3442" y="1124"/>
                </a:lnTo>
                <a:lnTo>
                  <a:pt x="3442" y="1124"/>
                </a:lnTo>
                <a:lnTo>
                  <a:pt x="3428" y="1118"/>
                </a:lnTo>
                <a:lnTo>
                  <a:pt x="3428" y="1118"/>
                </a:lnTo>
                <a:lnTo>
                  <a:pt x="3446" y="1114"/>
                </a:lnTo>
                <a:lnTo>
                  <a:pt x="3446" y="1114"/>
                </a:lnTo>
                <a:lnTo>
                  <a:pt x="3446" y="1114"/>
                </a:lnTo>
                <a:lnTo>
                  <a:pt x="3440" y="1110"/>
                </a:lnTo>
                <a:lnTo>
                  <a:pt x="3438" y="1108"/>
                </a:lnTo>
                <a:lnTo>
                  <a:pt x="3434" y="1108"/>
                </a:lnTo>
                <a:lnTo>
                  <a:pt x="3428" y="1112"/>
                </a:lnTo>
                <a:lnTo>
                  <a:pt x="3428" y="1112"/>
                </a:lnTo>
                <a:lnTo>
                  <a:pt x="3422" y="1116"/>
                </a:lnTo>
                <a:lnTo>
                  <a:pt x="3422" y="1116"/>
                </a:lnTo>
                <a:lnTo>
                  <a:pt x="3422" y="1116"/>
                </a:lnTo>
                <a:lnTo>
                  <a:pt x="3422" y="1116"/>
                </a:lnTo>
                <a:lnTo>
                  <a:pt x="3422" y="1100"/>
                </a:lnTo>
                <a:lnTo>
                  <a:pt x="3422" y="1100"/>
                </a:lnTo>
                <a:lnTo>
                  <a:pt x="3408" y="1102"/>
                </a:lnTo>
                <a:lnTo>
                  <a:pt x="3396" y="1102"/>
                </a:lnTo>
                <a:lnTo>
                  <a:pt x="3396" y="1102"/>
                </a:lnTo>
                <a:lnTo>
                  <a:pt x="3390" y="1102"/>
                </a:lnTo>
                <a:lnTo>
                  <a:pt x="3384" y="1102"/>
                </a:lnTo>
                <a:lnTo>
                  <a:pt x="3384" y="1102"/>
                </a:lnTo>
                <a:lnTo>
                  <a:pt x="3380" y="1102"/>
                </a:lnTo>
                <a:lnTo>
                  <a:pt x="3380" y="1102"/>
                </a:lnTo>
                <a:lnTo>
                  <a:pt x="3346" y="1104"/>
                </a:lnTo>
                <a:lnTo>
                  <a:pt x="3346" y="1104"/>
                </a:lnTo>
                <a:lnTo>
                  <a:pt x="3346" y="1102"/>
                </a:lnTo>
                <a:lnTo>
                  <a:pt x="3346" y="1102"/>
                </a:lnTo>
                <a:lnTo>
                  <a:pt x="3340" y="1102"/>
                </a:lnTo>
                <a:lnTo>
                  <a:pt x="3336" y="1104"/>
                </a:lnTo>
                <a:lnTo>
                  <a:pt x="3336" y="1104"/>
                </a:lnTo>
                <a:lnTo>
                  <a:pt x="3336" y="1104"/>
                </a:lnTo>
                <a:lnTo>
                  <a:pt x="3336" y="1104"/>
                </a:lnTo>
                <a:lnTo>
                  <a:pt x="3336" y="1104"/>
                </a:lnTo>
                <a:lnTo>
                  <a:pt x="3336" y="1104"/>
                </a:lnTo>
                <a:lnTo>
                  <a:pt x="3334" y="1106"/>
                </a:lnTo>
                <a:lnTo>
                  <a:pt x="3334" y="1106"/>
                </a:lnTo>
                <a:lnTo>
                  <a:pt x="3338" y="1106"/>
                </a:lnTo>
                <a:lnTo>
                  <a:pt x="3338" y="1106"/>
                </a:lnTo>
                <a:lnTo>
                  <a:pt x="3336" y="1108"/>
                </a:lnTo>
                <a:lnTo>
                  <a:pt x="3334" y="1110"/>
                </a:lnTo>
                <a:lnTo>
                  <a:pt x="3328" y="1114"/>
                </a:lnTo>
                <a:lnTo>
                  <a:pt x="3340" y="1114"/>
                </a:lnTo>
                <a:lnTo>
                  <a:pt x="3340" y="1114"/>
                </a:lnTo>
                <a:lnTo>
                  <a:pt x="3344" y="1120"/>
                </a:lnTo>
                <a:lnTo>
                  <a:pt x="3346" y="1124"/>
                </a:lnTo>
                <a:lnTo>
                  <a:pt x="3344" y="1128"/>
                </a:lnTo>
                <a:lnTo>
                  <a:pt x="3344" y="1128"/>
                </a:lnTo>
                <a:lnTo>
                  <a:pt x="3336" y="1124"/>
                </a:lnTo>
                <a:lnTo>
                  <a:pt x="3330" y="1122"/>
                </a:lnTo>
                <a:lnTo>
                  <a:pt x="3330" y="1122"/>
                </a:lnTo>
                <a:lnTo>
                  <a:pt x="3320" y="1120"/>
                </a:lnTo>
                <a:lnTo>
                  <a:pt x="3320" y="1120"/>
                </a:lnTo>
                <a:lnTo>
                  <a:pt x="3312" y="1116"/>
                </a:lnTo>
                <a:lnTo>
                  <a:pt x="3312" y="1116"/>
                </a:lnTo>
                <a:lnTo>
                  <a:pt x="3302" y="1122"/>
                </a:lnTo>
                <a:lnTo>
                  <a:pt x="3302" y="1122"/>
                </a:lnTo>
                <a:lnTo>
                  <a:pt x="3306" y="1124"/>
                </a:lnTo>
                <a:lnTo>
                  <a:pt x="3306" y="1124"/>
                </a:lnTo>
                <a:lnTo>
                  <a:pt x="3306" y="1124"/>
                </a:lnTo>
                <a:lnTo>
                  <a:pt x="3306" y="1124"/>
                </a:lnTo>
                <a:lnTo>
                  <a:pt x="3300" y="1124"/>
                </a:lnTo>
                <a:lnTo>
                  <a:pt x="3292" y="1124"/>
                </a:lnTo>
                <a:lnTo>
                  <a:pt x="3292" y="1124"/>
                </a:lnTo>
                <a:lnTo>
                  <a:pt x="3288" y="1124"/>
                </a:lnTo>
                <a:lnTo>
                  <a:pt x="3288" y="1124"/>
                </a:lnTo>
                <a:lnTo>
                  <a:pt x="3282" y="1120"/>
                </a:lnTo>
                <a:lnTo>
                  <a:pt x="3282" y="1120"/>
                </a:lnTo>
                <a:lnTo>
                  <a:pt x="3286" y="1120"/>
                </a:lnTo>
                <a:lnTo>
                  <a:pt x="3286" y="1120"/>
                </a:lnTo>
                <a:lnTo>
                  <a:pt x="3290" y="1118"/>
                </a:lnTo>
                <a:lnTo>
                  <a:pt x="3294" y="1114"/>
                </a:lnTo>
                <a:lnTo>
                  <a:pt x="3294" y="1114"/>
                </a:lnTo>
                <a:lnTo>
                  <a:pt x="3282" y="1114"/>
                </a:lnTo>
                <a:lnTo>
                  <a:pt x="3282" y="1114"/>
                </a:lnTo>
                <a:lnTo>
                  <a:pt x="3278" y="1116"/>
                </a:lnTo>
                <a:lnTo>
                  <a:pt x="3278" y="1118"/>
                </a:lnTo>
                <a:lnTo>
                  <a:pt x="3278" y="1120"/>
                </a:lnTo>
                <a:lnTo>
                  <a:pt x="3270" y="1120"/>
                </a:lnTo>
                <a:lnTo>
                  <a:pt x="3270" y="1120"/>
                </a:lnTo>
                <a:lnTo>
                  <a:pt x="3270" y="1126"/>
                </a:lnTo>
                <a:lnTo>
                  <a:pt x="3270" y="1126"/>
                </a:lnTo>
                <a:lnTo>
                  <a:pt x="3250" y="1124"/>
                </a:lnTo>
                <a:lnTo>
                  <a:pt x="3250" y="1124"/>
                </a:lnTo>
                <a:lnTo>
                  <a:pt x="3246" y="1122"/>
                </a:lnTo>
                <a:lnTo>
                  <a:pt x="3246" y="1122"/>
                </a:lnTo>
                <a:lnTo>
                  <a:pt x="3242" y="1128"/>
                </a:lnTo>
                <a:lnTo>
                  <a:pt x="3242" y="1128"/>
                </a:lnTo>
                <a:lnTo>
                  <a:pt x="3242" y="1128"/>
                </a:lnTo>
                <a:lnTo>
                  <a:pt x="3242" y="1128"/>
                </a:lnTo>
                <a:lnTo>
                  <a:pt x="3246" y="1122"/>
                </a:lnTo>
                <a:lnTo>
                  <a:pt x="3246" y="1122"/>
                </a:lnTo>
                <a:lnTo>
                  <a:pt x="3242" y="1122"/>
                </a:lnTo>
                <a:lnTo>
                  <a:pt x="3242" y="1122"/>
                </a:lnTo>
                <a:lnTo>
                  <a:pt x="3244" y="1122"/>
                </a:lnTo>
                <a:lnTo>
                  <a:pt x="3244" y="1122"/>
                </a:lnTo>
                <a:lnTo>
                  <a:pt x="3246" y="1122"/>
                </a:lnTo>
                <a:lnTo>
                  <a:pt x="3246" y="1122"/>
                </a:lnTo>
                <a:lnTo>
                  <a:pt x="3246" y="1122"/>
                </a:lnTo>
                <a:lnTo>
                  <a:pt x="3246" y="1122"/>
                </a:lnTo>
                <a:lnTo>
                  <a:pt x="3246" y="1122"/>
                </a:lnTo>
                <a:lnTo>
                  <a:pt x="3246" y="1122"/>
                </a:lnTo>
                <a:lnTo>
                  <a:pt x="3246" y="1122"/>
                </a:lnTo>
                <a:lnTo>
                  <a:pt x="3246" y="1122"/>
                </a:lnTo>
                <a:lnTo>
                  <a:pt x="3244" y="1122"/>
                </a:lnTo>
                <a:lnTo>
                  <a:pt x="3244" y="1122"/>
                </a:lnTo>
                <a:lnTo>
                  <a:pt x="3244" y="1122"/>
                </a:lnTo>
                <a:lnTo>
                  <a:pt x="3244" y="1122"/>
                </a:lnTo>
                <a:lnTo>
                  <a:pt x="3242" y="1120"/>
                </a:lnTo>
                <a:lnTo>
                  <a:pt x="3242" y="1120"/>
                </a:lnTo>
                <a:lnTo>
                  <a:pt x="3238" y="1122"/>
                </a:lnTo>
                <a:lnTo>
                  <a:pt x="3238" y="1122"/>
                </a:lnTo>
                <a:lnTo>
                  <a:pt x="3238" y="1122"/>
                </a:lnTo>
                <a:lnTo>
                  <a:pt x="3238" y="1122"/>
                </a:lnTo>
                <a:lnTo>
                  <a:pt x="3232" y="1122"/>
                </a:lnTo>
                <a:lnTo>
                  <a:pt x="3232" y="1122"/>
                </a:lnTo>
                <a:lnTo>
                  <a:pt x="3232" y="1122"/>
                </a:lnTo>
                <a:lnTo>
                  <a:pt x="3232" y="1122"/>
                </a:lnTo>
                <a:lnTo>
                  <a:pt x="3238" y="1122"/>
                </a:lnTo>
                <a:lnTo>
                  <a:pt x="3238" y="1122"/>
                </a:lnTo>
                <a:lnTo>
                  <a:pt x="3238" y="1122"/>
                </a:lnTo>
                <a:lnTo>
                  <a:pt x="3238" y="1122"/>
                </a:lnTo>
                <a:lnTo>
                  <a:pt x="3224" y="1122"/>
                </a:lnTo>
                <a:lnTo>
                  <a:pt x="3208" y="1124"/>
                </a:lnTo>
                <a:lnTo>
                  <a:pt x="3208" y="1124"/>
                </a:lnTo>
                <a:lnTo>
                  <a:pt x="3218" y="1128"/>
                </a:lnTo>
                <a:lnTo>
                  <a:pt x="3218" y="1128"/>
                </a:lnTo>
                <a:lnTo>
                  <a:pt x="3208" y="1128"/>
                </a:lnTo>
                <a:lnTo>
                  <a:pt x="3202" y="1130"/>
                </a:lnTo>
                <a:lnTo>
                  <a:pt x="3198" y="1132"/>
                </a:lnTo>
                <a:lnTo>
                  <a:pt x="3198" y="1132"/>
                </a:lnTo>
                <a:lnTo>
                  <a:pt x="3198" y="1132"/>
                </a:lnTo>
                <a:lnTo>
                  <a:pt x="3198" y="1132"/>
                </a:lnTo>
                <a:lnTo>
                  <a:pt x="3198" y="1130"/>
                </a:lnTo>
                <a:lnTo>
                  <a:pt x="3198" y="1130"/>
                </a:lnTo>
                <a:lnTo>
                  <a:pt x="3202" y="1126"/>
                </a:lnTo>
                <a:lnTo>
                  <a:pt x="3204" y="1124"/>
                </a:lnTo>
                <a:lnTo>
                  <a:pt x="3204" y="1124"/>
                </a:lnTo>
                <a:lnTo>
                  <a:pt x="3196" y="1122"/>
                </a:lnTo>
                <a:lnTo>
                  <a:pt x="3196" y="1122"/>
                </a:lnTo>
                <a:lnTo>
                  <a:pt x="3196" y="1116"/>
                </a:lnTo>
                <a:lnTo>
                  <a:pt x="3196" y="1116"/>
                </a:lnTo>
                <a:lnTo>
                  <a:pt x="3202" y="1116"/>
                </a:lnTo>
                <a:lnTo>
                  <a:pt x="3202" y="1116"/>
                </a:lnTo>
                <a:lnTo>
                  <a:pt x="3210" y="1116"/>
                </a:lnTo>
                <a:lnTo>
                  <a:pt x="3218" y="1118"/>
                </a:lnTo>
                <a:lnTo>
                  <a:pt x="3218" y="1118"/>
                </a:lnTo>
                <a:lnTo>
                  <a:pt x="3214" y="1116"/>
                </a:lnTo>
                <a:lnTo>
                  <a:pt x="3210" y="1114"/>
                </a:lnTo>
                <a:lnTo>
                  <a:pt x="3202" y="1112"/>
                </a:lnTo>
                <a:lnTo>
                  <a:pt x="3202" y="1112"/>
                </a:lnTo>
                <a:lnTo>
                  <a:pt x="3196" y="1112"/>
                </a:lnTo>
                <a:lnTo>
                  <a:pt x="3196" y="1112"/>
                </a:lnTo>
                <a:lnTo>
                  <a:pt x="3196" y="1104"/>
                </a:lnTo>
                <a:lnTo>
                  <a:pt x="3196" y="1104"/>
                </a:lnTo>
                <a:lnTo>
                  <a:pt x="3202" y="1104"/>
                </a:lnTo>
                <a:lnTo>
                  <a:pt x="3202" y="1104"/>
                </a:lnTo>
                <a:lnTo>
                  <a:pt x="3200" y="1104"/>
                </a:lnTo>
                <a:lnTo>
                  <a:pt x="3196" y="1102"/>
                </a:lnTo>
                <a:lnTo>
                  <a:pt x="3196" y="1102"/>
                </a:lnTo>
                <a:lnTo>
                  <a:pt x="3196" y="1096"/>
                </a:lnTo>
                <a:lnTo>
                  <a:pt x="3196" y="1096"/>
                </a:lnTo>
                <a:lnTo>
                  <a:pt x="3204" y="1096"/>
                </a:lnTo>
                <a:lnTo>
                  <a:pt x="3204" y="1096"/>
                </a:lnTo>
                <a:lnTo>
                  <a:pt x="3208" y="1096"/>
                </a:lnTo>
                <a:lnTo>
                  <a:pt x="3212" y="1092"/>
                </a:lnTo>
                <a:lnTo>
                  <a:pt x="3214" y="1090"/>
                </a:lnTo>
                <a:lnTo>
                  <a:pt x="3214" y="1086"/>
                </a:lnTo>
                <a:lnTo>
                  <a:pt x="3214" y="1086"/>
                </a:lnTo>
                <a:lnTo>
                  <a:pt x="3210" y="1080"/>
                </a:lnTo>
                <a:lnTo>
                  <a:pt x="3210" y="1080"/>
                </a:lnTo>
                <a:lnTo>
                  <a:pt x="3222" y="1080"/>
                </a:lnTo>
                <a:lnTo>
                  <a:pt x="3222" y="1080"/>
                </a:lnTo>
                <a:lnTo>
                  <a:pt x="3224" y="1076"/>
                </a:lnTo>
                <a:lnTo>
                  <a:pt x="3228" y="1074"/>
                </a:lnTo>
                <a:lnTo>
                  <a:pt x="3228" y="1074"/>
                </a:lnTo>
                <a:lnTo>
                  <a:pt x="3230" y="1074"/>
                </a:lnTo>
                <a:lnTo>
                  <a:pt x="3230" y="1074"/>
                </a:lnTo>
                <a:lnTo>
                  <a:pt x="3240" y="1072"/>
                </a:lnTo>
                <a:lnTo>
                  <a:pt x="3252" y="1074"/>
                </a:lnTo>
                <a:lnTo>
                  <a:pt x="3252" y="1074"/>
                </a:lnTo>
                <a:lnTo>
                  <a:pt x="3268" y="1072"/>
                </a:lnTo>
                <a:lnTo>
                  <a:pt x="3268" y="1072"/>
                </a:lnTo>
                <a:lnTo>
                  <a:pt x="3268" y="1072"/>
                </a:lnTo>
                <a:lnTo>
                  <a:pt x="3268" y="1072"/>
                </a:lnTo>
                <a:lnTo>
                  <a:pt x="3270" y="1078"/>
                </a:lnTo>
                <a:lnTo>
                  <a:pt x="3270" y="1078"/>
                </a:lnTo>
                <a:lnTo>
                  <a:pt x="3278" y="1080"/>
                </a:lnTo>
                <a:lnTo>
                  <a:pt x="3278" y="1080"/>
                </a:lnTo>
                <a:lnTo>
                  <a:pt x="3288" y="1080"/>
                </a:lnTo>
                <a:lnTo>
                  <a:pt x="3290" y="1080"/>
                </a:lnTo>
                <a:lnTo>
                  <a:pt x="3292" y="1076"/>
                </a:lnTo>
                <a:lnTo>
                  <a:pt x="3292" y="1076"/>
                </a:lnTo>
                <a:lnTo>
                  <a:pt x="3294" y="1072"/>
                </a:lnTo>
                <a:lnTo>
                  <a:pt x="3294" y="1072"/>
                </a:lnTo>
                <a:lnTo>
                  <a:pt x="3298" y="1072"/>
                </a:lnTo>
                <a:lnTo>
                  <a:pt x="3298" y="1072"/>
                </a:lnTo>
                <a:lnTo>
                  <a:pt x="3302" y="1072"/>
                </a:lnTo>
                <a:lnTo>
                  <a:pt x="3304" y="1076"/>
                </a:lnTo>
                <a:lnTo>
                  <a:pt x="3304" y="1076"/>
                </a:lnTo>
                <a:lnTo>
                  <a:pt x="3306" y="1078"/>
                </a:lnTo>
                <a:lnTo>
                  <a:pt x="3306" y="1078"/>
                </a:lnTo>
                <a:lnTo>
                  <a:pt x="3312" y="1076"/>
                </a:lnTo>
                <a:lnTo>
                  <a:pt x="3318" y="1074"/>
                </a:lnTo>
                <a:lnTo>
                  <a:pt x="3318" y="1074"/>
                </a:lnTo>
                <a:lnTo>
                  <a:pt x="3326" y="1072"/>
                </a:lnTo>
                <a:lnTo>
                  <a:pt x="3330" y="1068"/>
                </a:lnTo>
                <a:lnTo>
                  <a:pt x="3330" y="1068"/>
                </a:lnTo>
                <a:lnTo>
                  <a:pt x="3334" y="1068"/>
                </a:lnTo>
                <a:lnTo>
                  <a:pt x="3334" y="1066"/>
                </a:lnTo>
                <a:lnTo>
                  <a:pt x="3336" y="1062"/>
                </a:lnTo>
                <a:lnTo>
                  <a:pt x="3336" y="1062"/>
                </a:lnTo>
                <a:lnTo>
                  <a:pt x="3326" y="1066"/>
                </a:lnTo>
                <a:lnTo>
                  <a:pt x="3326" y="1066"/>
                </a:lnTo>
                <a:lnTo>
                  <a:pt x="3324" y="1066"/>
                </a:lnTo>
                <a:lnTo>
                  <a:pt x="3324" y="1064"/>
                </a:lnTo>
                <a:lnTo>
                  <a:pt x="3326" y="1062"/>
                </a:lnTo>
                <a:lnTo>
                  <a:pt x="3326" y="1062"/>
                </a:lnTo>
                <a:lnTo>
                  <a:pt x="3342" y="1062"/>
                </a:lnTo>
                <a:lnTo>
                  <a:pt x="3342" y="1062"/>
                </a:lnTo>
                <a:lnTo>
                  <a:pt x="3354" y="1064"/>
                </a:lnTo>
                <a:lnTo>
                  <a:pt x="3354" y="1064"/>
                </a:lnTo>
                <a:lnTo>
                  <a:pt x="3354" y="1064"/>
                </a:lnTo>
                <a:lnTo>
                  <a:pt x="3354" y="1064"/>
                </a:lnTo>
                <a:lnTo>
                  <a:pt x="3342" y="1056"/>
                </a:lnTo>
                <a:lnTo>
                  <a:pt x="3330" y="1046"/>
                </a:lnTo>
                <a:lnTo>
                  <a:pt x="3330" y="1046"/>
                </a:lnTo>
                <a:lnTo>
                  <a:pt x="3324" y="1042"/>
                </a:lnTo>
                <a:lnTo>
                  <a:pt x="3316" y="1040"/>
                </a:lnTo>
                <a:lnTo>
                  <a:pt x="3316" y="1040"/>
                </a:lnTo>
                <a:lnTo>
                  <a:pt x="3314" y="1036"/>
                </a:lnTo>
                <a:lnTo>
                  <a:pt x="3310" y="1036"/>
                </a:lnTo>
                <a:lnTo>
                  <a:pt x="3302" y="1036"/>
                </a:lnTo>
                <a:lnTo>
                  <a:pt x="3302" y="1036"/>
                </a:lnTo>
                <a:lnTo>
                  <a:pt x="3276" y="1030"/>
                </a:lnTo>
                <a:lnTo>
                  <a:pt x="3276" y="1030"/>
                </a:lnTo>
                <a:lnTo>
                  <a:pt x="3274" y="1028"/>
                </a:lnTo>
                <a:lnTo>
                  <a:pt x="3270" y="1026"/>
                </a:lnTo>
                <a:lnTo>
                  <a:pt x="3270" y="1026"/>
                </a:lnTo>
                <a:lnTo>
                  <a:pt x="3284" y="1024"/>
                </a:lnTo>
                <a:lnTo>
                  <a:pt x="3284" y="1024"/>
                </a:lnTo>
                <a:lnTo>
                  <a:pt x="3288" y="1024"/>
                </a:lnTo>
                <a:lnTo>
                  <a:pt x="3290" y="1022"/>
                </a:lnTo>
                <a:lnTo>
                  <a:pt x="3290" y="1022"/>
                </a:lnTo>
                <a:lnTo>
                  <a:pt x="3342" y="1046"/>
                </a:lnTo>
                <a:lnTo>
                  <a:pt x="3360" y="1054"/>
                </a:lnTo>
                <a:lnTo>
                  <a:pt x="3370" y="1056"/>
                </a:lnTo>
                <a:lnTo>
                  <a:pt x="3370" y="1056"/>
                </a:lnTo>
                <a:lnTo>
                  <a:pt x="3370" y="1054"/>
                </a:lnTo>
                <a:lnTo>
                  <a:pt x="3372" y="1052"/>
                </a:lnTo>
                <a:lnTo>
                  <a:pt x="3380" y="1052"/>
                </a:lnTo>
                <a:lnTo>
                  <a:pt x="3380" y="1052"/>
                </a:lnTo>
                <a:lnTo>
                  <a:pt x="3376" y="1050"/>
                </a:lnTo>
                <a:lnTo>
                  <a:pt x="3374" y="1048"/>
                </a:lnTo>
                <a:lnTo>
                  <a:pt x="3374" y="1048"/>
                </a:lnTo>
                <a:lnTo>
                  <a:pt x="3378" y="1044"/>
                </a:lnTo>
                <a:lnTo>
                  <a:pt x="3378" y="1044"/>
                </a:lnTo>
                <a:lnTo>
                  <a:pt x="3364" y="1042"/>
                </a:lnTo>
                <a:lnTo>
                  <a:pt x="3364" y="1042"/>
                </a:lnTo>
                <a:lnTo>
                  <a:pt x="3364" y="1036"/>
                </a:lnTo>
                <a:lnTo>
                  <a:pt x="3364" y="1036"/>
                </a:lnTo>
                <a:lnTo>
                  <a:pt x="3332" y="1028"/>
                </a:lnTo>
                <a:lnTo>
                  <a:pt x="3332" y="1028"/>
                </a:lnTo>
                <a:lnTo>
                  <a:pt x="3330" y="1034"/>
                </a:lnTo>
                <a:lnTo>
                  <a:pt x="3328" y="1036"/>
                </a:lnTo>
                <a:lnTo>
                  <a:pt x="3328" y="1036"/>
                </a:lnTo>
                <a:lnTo>
                  <a:pt x="3326" y="1028"/>
                </a:lnTo>
                <a:lnTo>
                  <a:pt x="3326" y="1028"/>
                </a:lnTo>
                <a:lnTo>
                  <a:pt x="3314" y="1022"/>
                </a:lnTo>
                <a:lnTo>
                  <a:pt x="3314" y="1022"/>
                </a:lnTo>
                <a:lnTo>
                  <a:pt x="3324" y="1020"/>
                </a:lnTo>
                <a:lnTo>
                  <a:pt x="3324" y="1020"/>
                </a:lnTo>
                <a:lnTo>
                  <a:pt x="3326" y="1026"/>
                </a:lnTo>
                <a:lnTo>
                  <a:pt x="3326" y="1026"/>
                </a:lnTo>
                <a:lnTo>
                  <a:pt x="3326" y="1020"/>
                </a:lnTo>
                <a:lnTo>
                  <a:pt x="3326" y="1020"/>
                </a:lnTo>
                <a:lnTo>
                  <a:pt x="3334" y="1018"/>
                </a:lnTo>
                <a:lnTo>
                  <a:pt x="3334" y="1018"/>
                </a:lnTo>
                <a:lnTo>
                  <a:pt x="3332" y="1028"/>
                </a:lnTo>
                <a:lnTo>
                  <a:pt x="3332" y="1028"/>
                </a:lnTo>
                <a:lnTo>
                  <a:pt x="3356" y="1024"/>
                </a:lnTo>
                <a:lnTo>
                  <a:pt x="3356" y="1024"/>
                </a:lnTo>
                <a:lnTo>
                  <a:pt x="3356" y="1024"/>
                </a:lnTo>
                <a:lnTo>
                  <a:pt x="3356" y="1024"/>
                </a:lnTo>
                <a:lnTo>
                  <a:pt x="3356" y="1024"/>
                </a:lnTo>
                <a:lnTo>
                  <a:pt x="3356" y="1024"/>
                </a:lnTo>
                <a:lnTo>
                  <a:pt x="3358" y="1022"/>
                </a:lnTo>
                <a:lnTo>
                  <a:pt x="3358" y="1022"/>
                </a:lnTo>
                <a:lnTo>
                  <a:pt x="3366" y="1018"/>
                </a:lnTo>
                <a:lnTo>
                  <a:pt x="3366" y="1018"/>
                </a:lnTo>
                <a:lnTo>
                  <a:pt x="3382" y="1016"/>
                </a:lnTo>
                <a:lnTo>
                  <a:pt x="3398" y="1016"/>
                </a:lnTo>
                <a:lnTo>
                  <a:pt x="3398" y="1016"/>
                </a:lnTo>
                <a:lnTo>
                  <a:pt x="3404" y="1014"/>
                </a:lnTo>
                <a:lnTo>
                  <a:pt x="3404" y="1014"/>
                </a:lnTo>
                <a:lnTo>
                  <a:pt x="3394" y="1012"/>
                </a:lnTo>
                <a:lnTo>
                  <a:pt x="3386" y="1010"/>
                </a:lnTo>
                <a:lnTo>
                  <a:pt x="3386" y="1010"/>
                </a:lnTo>
                <a:lnTo>
                  <a:pt x="3380" y="1006"/>
                </a:lnTo>
                <a:lnTo>
                  <a:pt x="3374" y="1000"/>
                </a:lnTo>
                <a:lnTo>
                  <a:pt x="3374" y="1000"/>
                </a:lnTo>
                <a:lnTo>
                  <a:pt x="3378" y="998"/>
                </a:lnTo>
                <a:lnTo>
                  <a:pt x="3378" y="998"/>
                </a:lnTo>
                <a:lnTo>
                  <a:pt x="3378" y="998"/>
                </a:lnTo>
                <a:lnTo>
                  <a:pt x="3378" y="998"/>
                </a:lnTo>
                <a:lnTo>
                  <a:pt x="3378" y="998"/>
                </a:lnTo>
                <a:lnTo>
                  <a:pt x="3378" y="998"/>
                </a:lnTo>
                <a:lnTo>
                  <a:pt x="3386" y="996"/>
                </a:lnTo>
                <a:lnTo>
                  <a:pt x="3398" y="996"/>
                </a:lnTo>
                <a:lnTo>
                  <a:pt x="3398" y="996"/>
                </a:lnTo>
                <a:lnTo>
                  <a:pt x="3402" y="998"/>
                </a:lnTo>
                <a:lnTo>
                  <a:pt x="3402" y="998"/>
                </a:lnTo>
                <a:lnTo>
                  <a:pt x="3410" y="998"/>
                </a:lnTo>
                <a:lnTo>
                  <a:pt x="3412" y="1004"/>
                </a:lnTo>
                <a:lnTo>
                  <a:pt x="3412" y="1004"/>
                </a:lnTo>
                <a:lnTo>
                  <a:pt x="3422" y="1004"/>
                </a:lnTo>
                <a:lnTo>
                  <a:pt x="3422" y="1004"/>
                </a:lnTo>
                <a:lnTo>
                  <a:pt x="3424" y="1006"/>
                </a:lnTo>
                <a:lnTo>
                  <a:pt x="3424" y="1006"/>
                </a:lnTo>
                <a:lnTo>
                  <a:pt x="3406" y="1006"/>
                </a:lnTo>
                <a:lnTo>
                  <a:pt x="3406" y="1006"/>
                </a:lnTo>
                <a:lnTo>
                  <a:pt x="3420" y="1010"/>
                </a:lnTo>
                <a:lnTo>
                  <a:pt x="3420" y="1010"/>
                </a:lnTo>
                <a:lnTo>
                  <a:pt x="3416" y="1016"/>
                </a:lnTo>
                <a:lnTo>
                  <a:pt x="3416" y="1016"/>
                </a:lnTo>
                <a:lnTo>
                  <a:pt x="3422" y="1016"/>
                </a:lnTo>
                <a:lnTo>
                  <a:pt x="3422" y="1016"/>
                </a:lnTo>
                <a:lnTo>
                  <a:pt x="3420" y="1020"/>
                </a:lnTo>
                <a:lnTo>
                  <a:pt x="3420" y="1020"/>
                </a:lnTo>
                <a:lnTo>
                  <a:pt x="3400" y="1026"/>
                </a:lnTo>
                <a:lnTo>
                  <a:pt x="3396" y="1028"/>
                </a:lnTo>
                <a:lnTo>
                  <a:pt x="3394" y="1028"/>
                </a:lnTo>
                <a:lnTo>
                  <a:pt x="3394" y="1028"/>
                </a:lnTo>
                <a:lnTo>
                  <a:pt x="3404" y="1030"/>
                </a:lnTo>
                <a:lnTo>
                  <a:pt x="3408" y="1028"/>
                </a:lnTo>
                <a:lnTo>
                  <a:pt x="3412" y="1028"/>
                </a:lnTo>
                <a:lnTo>
                  <a:pt x="3412" y="1028"/>
                </a:lnTo>
                <a:lnTo>
                  <a:pt x="3418" y="1024"/>
                </a:lnTo>
                <a:lnTo>
                  <a:pt x="3418" y="1024"/>
                </a:lnTo>
                <a:lnTo>
                  <a:pt x="3416" y="1032"/>
                </a:lnTo>
                <a:lnTo>
                  <a:pt x="3416" y="1032"/>
                </a:lnTo>
                <a:lnTo>
                  <a:pt x="3424" y="1032"/>
                </a:lnTo>
                <a:lnTo>
                  <a:pt x="3426" y="1032"/>
                </a:lnTo>
                <a:lnTo>
                  <a:pt x="3428" y="1036"/>
                </a:lnTo>
                <a:lnTo>
                  <a:pt x="3428" y="1036"/>
                </a:lnTo>
                <a:lnTo>
                  <a:pt x="3410" y="1036"/>
                </a:lnTo>
                <a:lnTo>
                  <a:pt x="3410" y="1036"/>
                </a:lnTo>
                <a:lnTo>
                  <a:pt x="3412" y="1040"/>
                </a:lnTo>
                <a:lnTo>
                  <a:pt x="3416" y="1042"/>
                </a:lnTo>
                <a:lnTo>
                  <a:pt x="3424" y="1046"/>
                </a:lnTo>
                <a:lnTo>
                  <a:pt x="3424" y="1046"/>
                </a:lnTo>
                <a:lnTo>
                  <a:pt x="3442" y="1040"/>
                </a:lnTo>
                <a:lnTo>
                  <a:pt x="3442" y="1040"/>
                </a:lnTo>
                <a:lnTo>
                  <a:pt x="3440" y="1044"/>
                </a:lnTo>
                <a:lnTo>
                  <a:pt x="3440" y="1048"/>
                </a:lnTo>
                <a:lnTo>
                  <a:pt x="3440" y="1048"/>
                </a:lnTo>
                <a:lnTo>
                  <a:pt x="3436" y="1050"/>
                </a:lnTo>
                <a:lnTo>
                  <a:pt x="3436" y="1050"/>
                </a:lnTo>
                <a:lnTo>
                  <a:pt x="3434" y="1048"/>
                </a:lnTo>
                <a:lnTo>
                  <a:pt x="3434" y="1048"/>
                </a:lnTo>
                <a:lnTo>
                  <a:pt x="3430" y="1050"/>
                </a:lnTo>
                <a:lnTo>
                  <a:pt x="3430" y="1050"/>
                </a:lnTo>
                <a:lnTo>
                  <a:pt x="3426" y="1050"/>
                </a:lnTo>
                <a:lnTo>
                  <a:pt x="3426" y="1050"/>
                </a:lnTo>
                <a:lnTo>
                  <a:pt x="3424" y="1050"/>
                </a:lnTo>
                <a:lnTo>
                  <a:pt x="3424" y="1050"/>
                </a:lnTo>
                <a:lnTo>
                  <a:pt x="3418" y="1050"/>
                </a:lnTo>
                <a:lnTo>
                  <a:pt x="3418" y="1050"/>
                </a:lnTo>
                <a:lnTo>
                  <a:pt x="3410" y="1052"/>
                </a:lnTo>
                <a:lnTo>
                  <a:pt x="3410" y="1052"/>
                </a:lnTo>
                <a:lnTo>
                  <a:pt x="3386" y="1052"/>
                </a:lnTo>
                <a:lnTo>
                  <a:pt x="3386" y="1052"/>
                </a:lnTo>
                <a:lnTo>
                  <a:pt x="3386" y="1054"/>
                </a:lnTo>
                <a:lnTo>
                  <a:pt x="3386" y="1054"/>
                </a:lnTo>
                <a:lnTo>
                  <a:pt x="3408" y="1052"/>
                </a:lnTo>
                <a:lnTo>
                  <a:pt x="3408" y="1052"/>
                </a:lnTo>
                <a:lnTo>
                  <a:pt x="3404" y="1054"/>
                </a:lnTo>
                <a:lnTo>
                  <a:pt x="3404" y="1054"/>
                </a:lnTo>
                <a:lnTo>
                  <a:pt x="3404" y="1056"/>
                </a:lnTo>
                <a:lnTo>
                  <a:pt x="3406" y="1058"/>
                </a:lnTo>
                <a:lnTo>
                  <a:pt x="3408" y="1062"/>
                </a:lnTo>
                <a:lnTo>
                  <a:pt x="3408" y="1062"/>
                </a:lnTo>
                <a:lnTo>
                  <a:pt x="3414" y="1068"/>
                </a:lnTo>
                <a:lnTo>
                  <a:pt x="3424" y="1072"/>
                </a:lnTo>
                <a:lnTo>
                  <a:pt x="3424" y="1072"/>
                </a:lnTo>
                <a:lnTo>
                  <a:pt x="3420" y="1076"/>
                </a:lnTo>
                <a:lnTo>
                  <a:pt x="3414" y="1080"/>
                </a:lnTo>
                <a:lnTo>
                  <a:pt x="3408" y="1082"/>
                </a:lnTo>
                <a:lnTo>
                  <a:pt x="3402" y="1082"/>
                </a:lnTo>
                <a:lnTo>
                  <a:pt x="3402" y="1082"/>
                </a:lnTo>
                <a:lnTo>
                  <a:pt x="3390" y="1082"/>
                </a:lnTo>
                <a:lnTo>
                  <a:pt x="3378" y="1086"/>
                </a:lnTo>
                <a:lnTo>
                  <a:pt x="3378" y="1086"/>
                </a:lnTo>
                <a:lnTo>
                  <a:pt x="3370" y="1080"/>
                </a:lnTo>
                <a:lnTo>
                  <a:pt x="3370" y="1080"/>
                </a:lnTo>
                <a:lnTo>
                  <a:pt x="3374" y="1076"/>
                </a:lnTo>
                <a:lnTo>
                  <a:pt x="3376" y="1076"/>
                </a:lnTo>
                <a:lnTo>
                  <a:pt x="3384" y="1074"/>
                </a:lnTo>
                <a:lnTo>
                  <a:pt x="3392" y="1074"/>
                </a:lnTo>
                <a:lnTo>
                  <a:pt x="3398" y="1074"/>
                </a:lnTo>
                <a:lnTo>
                  <a:pt x="3398" y="1074"/>
                </a:lnTo>
                <a:lnTo>
                  <a:pt x="3394" y="1070"/>
                </a:lnTo>
                <a:lnTo>
                  <a:pt x="3388" y="1068"/>
                </a:lnTo>
                <a:lnTo>
                  <a:pt x="3376" y="1066"/>
                </a:lnTo>
                <a:lnTo>
                  <a:pt x="3376" y="1066"/>
                </a:lnTo>
                <a:lnTo>
                  <a:pt x="3372" y="1066"/>
                </a:lnTo>
                <a:lnTo>
                  <a:pt x="3368" y="1068"/>
                </a:lnTo>
                <a:lnTo>
                  <a:pt x="3368" y="1068"/>
                </a:lnTo>
                <a:lnTo>
                  <a:pt x="3372" y="1068"/>
                </a:lnTo>
                <a:lnTo>
                  <a:pt x="3372" y="1070"/>
                </a:lnTo>
                <a:lnTo>
                  <a:pt x="3372" y="1070"/>
                </a:lnTo>
                <a:lnTo>
                  <a:pt x="3364" y="1076"/>
                </a:lnTo>
                <a:lnTo>
                  <a:pt x="3354" y="1078"/>
                </a:lnTo>
                <a:lnTo>
                  <a:pt x="3344" y="1082"/>
                </a:lnTo>
                <a:lnTo>
                  <a:pt x="3336" y="1086"/>
                </a:lnTo>
                <a:lnTo>
                  <a:pt x="3336" y="1086"/>
                </a:lnTo>
                <a:lnTo>
                  <a:pt x="3334" y="1086"/>
                </a:lnTo>
                <a:lnTo>
                  <a:pt x="3334" y="1086"/>
                </a:lnTo>
                <a:lnTo>
                  <a:pt x="3326" y="1086"/>
                </a:lnTo>
                <a:lnTo>
                  <a:pt x="3320" y="1088"/>
                </a:lnTo>
                <a:lnTo>
                  <a:pt x="3320" y="1088"/>
                </a:lnTo>
                <a:lnTo>
                  <a:pt x="3306" y="1086"/>
                </a:lnTo>
                <a:lnTo>
                  <a:pt x="3292" y="1084"/>
                </a:lnTo>
                <a:lnTo>
                  <a:pt x="3292" y="1084"/>
                </a:lnTo>
                <a:lnTo>
                  <a:pt x="3280" y="1086"/>
                </a:lnTo>
                <a:lnTo>
                  <a:pt x="3270" y="1088"/>
                </a:lnTo>
                <a:lnTo>
                  <a:pt x="3270" y="1088"/>
                </a:lnTo>
                <a:lnTo>
                  <a:pt x="3270" y="1090"/>
                </a:lnTo>
                <a:lnTo>
                  <a:pt x="3270" y="1090"/>
                </a:lnTo>
                <a:lnTo>
                  <a:pt x="3264" y="1088"/>
                </a:lnTo>
                <a:lnTo>
                  <a:pt x="3264" y="1088"/>
                </a:lnTo>
                <a:lnTo>
                  <a:pt x="3270" y="1088"/>
                </a:lnTo>
                <a:lnTo>
                  <a:pt x="3270" y="1088"/>
                </a:lnTo>
                <a:lnTo>
                  <a:pt x="3270" y="1078"/>
                </a:lnTo>
                <a:lnTo>
                  <a:pt x="3270" y="1078"/>
                </a:lnTo>
                <a:lnTo>
                  <a:pt x="3264" y="1078"/>
                </a:lnTo>
                <a:lnTo>
                  <a:pt x="3264" y="1078"/>
                </a:lnTo>
                <a:lnTo>
                  <a:pt x="3260" y="1076"/>
                </a:lnTo>
                <a:lnTo>
                  <a:pt x="3252" y="1074"/>
                </a:lnTo>
                <a:lnTo>
                  <a:pt x="3252" y="1074"/>
                </a:lnTo>
                <a:lnTo>
                  <a:pt x="3236" y="1076"/>
                </a:lnTo>
                <a:lnTo>
                  <a:pt x="3236" y="1076"/>
                </a:lnTo>
                <a:lnTo>
                  <a:pt x="3230" y="1076"/>
                </a:lnTo>
                <a:lnTo>
                  <a:pt x="3226" y="1078"/>
                </a:lnTo>
                <a:lnTo>
                  <a:pt x="3222" y="1082"/>
                </a:lnTo>
                <a:lnTo>
                  <a:pt x="3222" y="1086"/>
                </a:lnTo>
                <a:lnTo>
                  <a:pt x="3222" y="1086"/>
                </a:lnTo>
                <a:lnTo>
                  <a:pt x="3236" y="1086"/>
                </a:lnTo>
                <a:lnTo>
                  <a:pt x="3236" y="1086"/>
                </a:lnTo>
                <a:lnTo>
                  <a:pt x="3238" y="1086"/>
                </a:lnTo>
                <a:lnTo>
                  <a:pt x="3238" y="1086"/>
                </a:lnTo>
                <a:lnTo>
                  <a:pt x="3226" y="1090"/>
                </a:lnTo>
                <a:lnTo>
                  <a:pt x="3226" y="1090"/>
                </a:lnTo>
                <a:lnTo>
                  <a:pt x="3222" y="1092"/>
                </a:lnTo>
                <a:lnTo>
                  <a:pt x="3222" y="1094"/>
                </a:lnTo>
                <a:lnTo>
                  <a:pt x="3222" y="1098"/>
                </a:lnTo>
                <a:lnTo>
                  <a:pt x="3224" y="1100"/>
                </a:lnTo>
                <a:lnTo>
                  <a:pt x="3224" y="1100"/>
                </a:lnTo>
                <a:lnTo>
                  <a:pt x="3228" y="1096"/>
                </a:lnTo>
                <a:lnTo>
                  <a:pt x="3232" y="1094"/>
                </a:lnTo>
                <a:lnTo>
                  <a:pt x="3232" y="1094"/>
                </a:lnTo>
                <a:lnTo>
                  <a:pt x="3236" y="1094"/>
                </a:lnTo>
                <a:lnTo>
                  <a:pt x="3240" y="1092"/>
                </a:lnTo>
                <a:lnTo>
                  <a:pt x="3242" y="1086"/>
                </a:lnTo>
                <a:lnTo>
                  <a:pt x="3242" y="1086"/>
                </a:lnTo>
                <a:lnTo>
                  <a:pt x="3244" y="1086"/>
                </a:lnTo>
                <a:lnTo>
                  <a:pt x="3244" y="1086"/>
                </a:lnTo>
                <a:lnTo>
                  <a:pt x="3254" y="1086"/>
                </a:lnTo>
                <a:lnTo>
                  <a:pt x="3262" y="1088"/>
                </a:lnTo>
                <a:lnTo>
                  <a:pt x="3262" y="1088"/>
                </a:lnTo>
                <a:lnTo>
                  <a:pt x="3258" y="1088"/>
                </a:lnTo>
                <a:lnTo>
                  <a:pt x="3258" y="1088"/>
                </a:lnTo>
                <a:lnTo>
                  <a:pt x="3264" y="1096"/>
                </a:lnTo>
                <a:lnTo>
                  <a:pt x="3264" y="1096"/>
                </a:lnTo>
                <a:lnTo>
                  <a:pt x="3270" y="1096"/>
                </a:lnTo>
                <a:lnTo>
                  <a:pt x="3270" y="1096"/>
                </a:lnTo>
                <a:lnTo>
                  <a:pt x="3270" y="1118"/>
                </a:lnTo>
                <a:lnTo>
                  <a:pt x="3270" y="1118"/>
                </a:lnTo>
                <a:lnTo>
                  <a:pt x="3276" y="1110"/>
                </a:lnTo>
                <a:lnTo>
                  <a:pt x="3276" y="1110"/>
                </a:lnTo>
                <a:lnTo>
                  <a:pt x="3278" y="1108"/>
                </a:lnTo>
                <a:lnTo>
                  <a:pt x="3282" y="1106"/>
                </a:lnTo>
                <a:lnTo>
                  <a:pt x="3282" y="1106"/>
                </a:lnTo>
                <a:lnTo>
                  <a:pt x="3298" y="1102"/>
                </a:lnTo>
                <a:lnTo>
                  <a:pt x="3314" y="1102"/>
                </a:lnTo>
                <a:lnTo>
                  <a:pt x="3314" y="1102"/>
                </a:lnTo>
                <a:lnTo>
                  <a:pt x="3320" y="1100"/>
                </a:lnTo>
                <a:lnTo>
                  <a:pt x="3324" y="1098"/>
                </a:lnTo>
                <a:lnTo>
                  <a:pt x="3324" y="1098"/>
                </a:lnTo>
                <a:lnTo>
                  <a:pt x="3332" y="1094"/>
                </a:lnTo>
                <a:lnTo>
                  <a:pt x="3340" y="1094"/>
                </a:lnTo>
                <a:lnTo>
                  <a:pt x="3348" y="1094"/>
                </a:lnTo>
                <a:lnTo>
                  <a:pt x="3356" y="1094"/>
                </a:lnTo>
                <a:lnTo>
                  <a:pt x="3356" y="1094"/>
                </a:lnTo>
                <a:lnTo>
                  <a:pt x="3368" y="1098"/>
                </a:lnTo>
                <a:lnTo>
                  <a:pt x="3368" y="1098"/>
                </a:lnTo>
                <a:lnTo>
                  <a:pt x="3374" y="1102"/>
                </a:lnTo>
                <a:lnTo>
                  <a:pt x="3378" y="1102"/>
                </a:lnTo>
                <a:lnTo>
                  <a:pt x="3382" y="1100"/>
                </a:lnTo>
                <a:lnTo>
                  <a:pt x="3388" y="1096"/>
                </a:lnTo>
                <a:lnTo>
                  <a:pt x="3388" y="1096"/>
                </a:lnTo>
                <a:lnTo>
                  <a:pt x="3390" y="1094"/>
                </a:lnTo>
                <a:lnTo>
                  <a:pt x="3390" y="1094"/>
                </a:lnTo>
                <a:lnTo>
                  <a:pt x="3378" y="1090"/>
                </a:lnTo>
                <a:lnTo>
                  <a:pt x="3378" y="1090"/>
                </a:lnTo>
                <a:lnTo>
                  <a:pt x="3390" y="1086"/>
                </a:lnTo>
                <a:lnTo>
                  <a:pt x="3390" y="1086"/>
                </a:lnTo>
                <a:lnTo>
                  <a:pt x="3398" y="1088"/>
                </a:lnTo>
                <a:lnTo>
                  <a:pt x="3398" y="1088"/>
                </a:lnTo>
                <a:lnTo>
                  <a:pt x="3404" y="1086"/>
                </a:lnTo>
                <a:lnTo>
                  <a:pt x="3406" y="1086"/>
                </a:lnTo>
                <a:lnTo>
                  <a:pt x="3408" y="1088"/>
                </a:lnTo>
                <a:lnTo>
                  <a:pt x="3408" y="1088"/>
                </a:lnTo>
                <a:lnTo>
                  <a:pt x="3408" y="1090"/>
                </a:lnTo>
                <a:lnTo>
                  <a:pt x="3408" y="1092"/>
                </a:lnTo>
                <a:lnTo>
                  <a:pt x="3404" y="1096"/>
                </a:lnTo>
                <a:lnTo>
                  <a:pt x="3404" y="1096"/>
                </a:lnTo>
                <a:lnTo>
                  <a:pt x="3404" y="1096"/>
                </a:lnTo>
                <a:lnTo>
                  <a:pt x="3404" y="1096"/>
                </a:lnTo>
                <a:lnTo>
                  <a:pt x="3424" y="1096"/>
                </a:lnTo>
                <a:lnTo>
                  <a:pt x="3424" y="1096"/>
                </a:lnTo>
                <a:lnTo>
                  <a:pt x="3434" y="1098"/>
                </a:lnTo>
                <a:lnTo>
                  <a:pt x="3446" y="1096"/>
                </a:lnTo>
                <a:lnTo>
                  <a:pt x="3446" y="1096"/>
                </a:lnTo>
                <a:lnTo>
                  <a:pt x="3424" y="1090"/>
                </a:lnTo>
                <a:lnTo>
                  <a:pt x="3424" y="1090"/>
                </a:lnTo>
                <a:lnTo>
                  <a:pt x="3434" y="1086"/>
                </a:lnTo>
                <a:lnTo>
                  <a:pt x="3434" y="1086"/>
                </a:lnTo>
                <a:lnTo>
                  <a:pt x="3426" y="1080"/>
                </a:lnTo>
                <a:lnTo>
                  <a:pt x="3426" y="1080"/>
                </a:lnTo>
                <a:lnTo>
                  <a:pt x="3430" y="1074"/>
                </a:lnTo>
                <a:lnTo>
                  <a:pt x="3432" y="1070"/>
                </a:lnTo>
                <a:lnTo>
                  <a:pt x="3432" y="1070"/>
                </a:lnTo>
                <a:lnTo>
                  <a:pt x="3434" y="1068"/>
                </a:lnTo>
                <a:lnTo>
                  <a:pt x="3436" y="1066"/>
                </a:lnTo>
                <a:lnTo>
                  <a:pt x="3440" y="1066"/>
                </a:lnTo>
                <a:lnTo>
                  <a:pt x="3440" y="1064"/>
                </a:lnTo>
                <a:lnTo>
                  <a:pt x="3440" y="1064"/>
                </a:lnTo>
                <a:lnTo>
                  <a:pt x="3438" y="1062"/>
                </a:lnTo>
                <a:lnTo>
                  <a:pt x="3434" y="1060"/>
                </a:lnTo>
                <a:lnTo>
                  <a:pt x="3426" y="1060"/>
                </a:lnTo>
                <a:lnTo>
                  <a:pt x="3426" y="1060"/>
                </a:lnTo>
                <a:lnTo>
                  <a:pt x="3436" y="1054"/>
                </a:lnTo>
                <a:lnTo>
                  <a:pt x="3436" y="1054"/>
                </a:lnTo>
                <a:lnTo>
                  <a:pt x="3438" y="1052"/>
                </a:lnTo>
                <a:lnTo>
                  <a:pt x="3438" y="1052"/>
                </a:lnTo>
                <a:lnTo>
                  <a:pt x="3454" y="1050"/>
                </a:lnTo>
                <a:lnTo>
                  <a:pt x="3454" y="1050"/>
                </a:lnTo>
                <a:lnTo>
                  <a:pt x="3454" y="1048"/>
                </a:lnTo>
                <a:lnTo>
                  <a:pt x="3450" y="1044"/>
                </a:lnTo>
                <a:lnTo>
                  <a:pt x="3450" y="1044"/>
                </a:lnTo>
                <a:lnTo>
                  <a:pt x="3444" y="1040"/>
                </a:lnTo>
                <a:lnTo>
                  <a:pt x="3444" y="1040"/>
                </a:lnTo>
                <a:lnTo>
                  <a:pt x="3452" y="1038"/>
                </a:lnTo>
                <a:lnTo>
                  <a:pt x="3456" y="1038"/>
                </a:lnTo>
                <a:lnTo>
                  <a:pt x="3456" y="1038"/>
                </a:lnTo>
                <a:lnTo>
                  <a:pt x="3458" y="1034"/>
                </a:lnTo>
                <a:lnTo>
                  <a:pt x="3460" y="1030"/>
                </a:lnTo>
                <a:lnTo>
                  <a:pt x="3462" y="1026"/>
                </a:lnTo>
                <a:lnTo>
                  <a:pt x="3472" y="1026"/>
                </a:lnTo>
                <a:lnTo>
                  <a:pt x="3472" y="1026"/>
                </a:lnTo>
                <a:lnTo>
                  <a:pt x="3464" y="1022"/>
                </a:lnTo>
                <a:lnTo>
                  <a:pt x="3464" y="1022"/>
                </a:lnTo>
                <a:lnTo>
                  <a:pt x="3464" y="1020"/>
                </a:lnTo>
                <a:lnTo>
                  <a:pt x="3464" y="1018"/>
                </a:lnTo>
                <a:lnTo>
                  <a:pt x="3464" y="1018"/>
                </a:lnTo>
                <a:lnTo>
                  <a:pt x="3470" y="1016"/>
                </a:lnTo>
                <a:lnTo>
                  <a:pt x="3470" y="1016"/>
                </a:lnTo>
                <a:lnTo>
                  <a:pt x="3472" y="1016"/>
                </a:lnTo>
                <a:lnTo>
                  <a:pt x="3472" y="1016"/>
                </a:lnTo>
                <a:lnTo>
                  <a:pt x="3474" y="1018"/>
                </a:lnTo>
                <a:lnTo>
                  <a:pt x="3474" y="1018"/>
                </a:lnTo>
                <a:lnTo>
                  <a:pt x="3478" y="1018"/>
                </a:lnTo>
                <a:lnTo>
                  <a:pt x="3478" y="1018"/>
                </a:lnTo>
                <a:lnTo>
                  <a:pt x="3480" y="1018"/>
                </a:lnTo>
                <a:lnTo>
                  <a:pt x="3480" y="1018"/>
                </a:lnTo>
                <a:lnTo>
                  <a:pt x="3482" y="1022"/>
                </a:lnTo>
                <a:lnTo>
                  <a:pt x="3482" y="1022"/>
                </a:lnTo>
                <a:lnTo>
                  <a:pt x="3476" y="1024"/>
                </a:lnTo>
                <a:lnTo>
                  <a:pt x="3476" y="1024"/>
                </a:lnTo>
                <a:lnTo>
                  <a:pt x="3482" y="1024"/>
                </a:lnTo>
                <a:lnTo>
                  <a:pt x="3482" y="1024"/>
                </a:lnTo>
                <a:lnTo>
                  <a:pt x="3484" y="1022"/>
                </a:lnTo>
                <a:lnTo>
                  <a:pt x="3484" y="1020"/>
                </a:lnTo>
                <a:lnTo>
                  <a:pt x="3484" y="1020"/>
                </a:lnTo>
                <a:lnTo>
                  <a:pt x="3486" y="1022"/>
                </a:lnTo>
                <a:lnTo>
                  <a:pt x="3486" y="1022"/>
                </a:lnTo>
                <a:lnTo>
                  <a:pt x="3488" y="1034"/>
                </a:lnTo>
                <a:lnTo>
                  <a:pt x="3490" y="1038"/>
                </a:lnTo>
                <a:lnTo>
                  <a:pt x="3490" y="1038"/>
                </a:lnTo>
                <a:lnTo>
                  <a:pt x="3488" y="1032"/>
                </a:lnTo>
                <a:lnTo>
                  <a:pt x="3488" y="1032"/>
                </a:lnTo>
                <a:lnTo>
                  <a:pt x="3506" y="1032"/>
                </a:lnTo>
                <a:lnTo>
                  <a:pt x="3506" y="1032"/>
                </a:lnTo>
                <a:lnTo>
                  <a:pt x="3506" y="1012"/>
                </a:lnTo>
                <a:lnTo>
                  <a:pt x="3506" y="1012"/>
                </a:lnTo>
                <a:lnTo>
                  <a:pt x="3510" y="1014"/>
                </a:lnTo>
                <a:lnTo>
                  <a:pt x="3510" y="1014"/>
                </a:lnTo>
                <a:lnTo>
                  <a:pt x="3512" y="1018"/>
                </a:lnTo>
                <a:lnTo>
                  <a:pt x="3510" y="1022"/>
                </a:lnTo>
                <a:lnTo>
                  <a:pt x="3510" y="1022"/>
                </a:lnTo>
                <a:lnTo>
                  <a:pt x="3508" y="1024"/>
                </a:lnTo>
                <a:lnTo>
                  <a:pt x="3508" y="1026"/>
                </a:lnTo>
                <a:lnTo>
                  <a:pt x="3512" y="1030"/>
                </a:lnTo>
                <a:lnTo>
                  <a:pt x="3512" y="1030"/>
                </a:lnTo>
                <a:lnTo>
                  <a:pt x="3526" y="1038"/>
                </a:lnTo>
                <a:lnTo>
                  <a:pt x="3526" y="1038"/>
                </a:lnTo>
                <a:lnTo>
                  <a:pt x="3520" y="1040"/>
                </a:lnTo>
                <a:lnTo>
                  <a:pt x="3516" y="1044"/>
                </a:lnTo>
                <a:lnTo>
                  <a:pt x="3514" y="1048"/>
                </a:lnTo>
                <a:lnTo>
                  <a:pt x="3512" y="1052"/>
                </a:lnTo>
                <a:lnTo>
                  <a:pt x="3512" y="1052"/>
                </a:lnTo>
                <a:lnTo>
                  <a:pt x="3520" y="1054"/>
                </a:lnTo>
                <a:lnTo>
                  <a:pt x="3524" y="1054"/>
                </a:lnTo>
                <a:lnTo>
                  <a:pt x="3526" y="1058"/>
                </a:lnTo>
                <a:lnTo>
                  <a:pt x="3526" y="1058"/>
                </a:lnTo>
                <a:lnTo>
                  <a:pt x="3514" y="1062"/>
                </a:lnTo>
                <a:lnTo>
                  <a:pt x="3514" y="1062"/>
                </a:lnTo>
                <a:lnTo>
                  <a:pt x="3520" y="1064"/>
                </a:lnTo>
                <a:lnTo>
                  <a:pt x="3526" y="1064"/>
                </a:lnTo>
                <a:lnTo>
                  <a:pt x="3526" y="1064"/>
                </a:lnTo>
                <a:lnTo>
                  <a:pt x="3540" y="1056"/>
                </a:lnTo>
                <a:lnTo>
                  <a:pt x="3552" y="1050"/>
                </a:lnTo>
                <a:lnTo>
                  <a:pt x="3552" y="1050"/>
                </a:lnTo>
                <a:lnTo>
                  <a:pt x="3556" y="1046"/>
                </a:lnTo>
                <a:lnTo>
                  <a:pt x="3560" y="1044"/>
                </a:lnTo>
                <a:lnTo>
                  <a:pt x="3566" y="1044"/>
                </a:lnTo>
                <a:lnTo>
                  <a:pt x="3572" y="1044"/>
                </a:lnTo>
                <a:lnTo>
                  <a:pt x="3572" y="1044"/>
                </a:lnTo>
                <a:lnTo>
                  <a:pt x="3582" y="1046"/>
                </a:lnTo>
                <a:lnTo>
                  <a:pt x="3592" y="1044"/>
                </a:lnTo>
                <a:lnTo>
                  <a:pt x="3592" y="1044"/>
                </a:lnTo>
                <a:lnTo>
                  <a:pt x="3602" y="1038"/>
                </a:lnTo>
                <a:lnTo>
                  <a:pt x="3602" y="1038"/>
                </a:lnTo>
                <a:lnTo>
                  <a:pt x="3608" y="1036"/>
                </a:lnTo>
                <a:lnTo>
                  <a:pt x="3614" y="1038"/>
                </a:lnTo>
                <a:lnTo>
                  <a:pt x="3614" y="1038"/>
                </a:lnTo>
                <a:lnTo>
                  <a:pt x="3614" y="1040"/>
                </a:lnTo>
                <a:lnTo>
                  <a:pt x="3612" y="1042"/>
                </a:lnTo>
                <a:lnTo>
                  <a:pt x="3612" y="1042"/>
                </a:lnTo>
                <a:lnTo>
                  <a:pt x="3616" y="1044"/>
                </a:lnTo>
                <a:lnTo>
                  <a:pt x="3616" y="1044"/>
                </a:lnTo>
                <a:lnTo>
                  <a:pt x="3618" y="1046"/>
                </a:lnTo>
                <a:lnTo>
                  <a:pt x="3618" y="1048"/>
                </a:lnTo>
                <a:lnTo>
                  <a:pt x="3614" y="1052"/>
                </a:lnTo>
                <a:lnTo>
                  <a:pt x="3614" y="1052"/>
                </a:lnTo>
                <a:lnTo>
                  <a:pt x="3608" y="1054"/>
                </a:lnTo>
                <a:lnTo>
                  <a:pt x="3608" y="1054"/>
                </a:lnTo>
                <a:lnTo>
                  <a:pt x="3602" y="1068"/>
                </a:lnTo>
                <a:lnTo>
                  <a:pt x="3602" y="1068"/>
                </a:lnTo>
                <a:lnTo>
                  <a:pt x="3590" y="1074"/>
                </a:lnTo>
                <a:lnTo>
                  <a:pt x="3590" y="1074"/>
                </a:lnTo>
                <a:lnTo>
                  <a:pt x="3584" y="1076"/>
                </a:lnTo>
                <a:lnTo>
                  <a:pt x="3582" y="1074"/>
                </a:lnTo>
                <a:lnTo>
                  <a:pt x="3582" y="1074"/>
                </a:lnTo>
                <a:lnTo>
                  <a:pt x="3578" y="1070"/>
                </a:lnTo>
                <a:lnTo>
                  <a:pt x="3576" y="1068"/>
                </a:lnTo>
                <a:lnTo>
                  <a:pt x="3572" y="1068"/>
                </a:lnTo>
                <a:lnTo>
                  <a:pt x="3566" y="1068"/>
                </a:lnTo>
                <a:lnTo>
                  <a:pt x="3566" y="1068"/>
                </a:lnTo>
                <a:lnTo>
                  <a:pt x="3554" y="1072"/>
                </a:lnTo>
                <a:lnTo>
                  <a:pt x="3554" y="1072"/>
                </a:lnTo>
                <a:lnTo>
                  <a:pt x="3574" y="1082"/>
                </a:lnTo>
                <a:lnTo>
                  <a:pt x="3574" y="1082"/>
                </a:lnTo>
                <a:lnTo>
                  <a:pt x="3572" y="1086"/>
                </a:lnTo>
                <a:lnTo>
                  <a:pt x="3572" y="1088"/>
                </a:lnTo>
                <a:lnTo>
                  <a:pt x="3576" y="1092"/>
                </a:lnTo>
                <a:lnTo>
                  <a:pt x="3576" y="1092"/>
                </a:lnTo>
                <a:lnTo>
                  <a:pt x="3576" y="1096"/>
                </a:lnTo>
                <a:lnTo>
                  <a:pt x="3576" y="1096"/>
                </a:lnTo>
                <a:lnTo>
                  <a:pt x="3566" y="1092"/>
                </a:lnTo>
                <a:lnTo>
                  <a:pt x="3566" y="1092"/>
                </a:lnTo>
                <a:lnTo>
                  <a:pt x="3560" y="1098"/>
                </a:lnTo>
                <a:lnTo>
                  <a:pt x="3560" y="1098"/>
                </a:lnTo>
                <a:lnTo>
                  <a:pt x="3566" y="1100"/>
                </a:lnTo>
                <a:lnTo>
                  <a:pt x="3566" y="1104"/>
                </a:lnTo>
                <a:lnTo>
                  <a:pt x="3568" y="1110"/>
                </a:lnTo>
                <a:lnTo>
                  <a:pt x="3570" y="1114"/>
                </a:lnTo>
                <a:lnTo>
                  <a:pt x="3570" y="1114"/>
                </a:lnTo>
                <a:lnTo>
                  <a:pt x="3556" y="1114"/>
                </a:lnTo>
                <a:lnTo>
                  <a:pt x="3556" y="1114"/>
                </a:lnTo>
                <a:lnTo>
                  <a:pt x="3548" y="1114"/>
                </a:lnTo>
                <a:lnTo>
                  <a:pt x="3538" y="1114"/>
                </a:lnTo>
                <a:lnTo>
                  <a:pt x="3530" y="1116"/>
                </a:lnTo>
                <a:lnTo>
                  <a:pt x="3524" y="1122"/>
                </a:lnTo>
                <a:lnTo>
                  <a:pt x="3524" y="1122"/>
                </a:lnTo>
                <a:lnTo>
                  <a:pt x="3518" y="1124"/>
                </a:lnTo>
                <a:lnTo>
                  <a:pt x="3518" y="1124"/>
                </a:lnTo>
                <a:lnTo>
                  <a:pt x="3522" y="1124"/>
                </a:lnTo>
                <a:lnTo>
                  <a:pt x="3526" y="1124"/>
                </a:lnTo>
                <a:lnTo>
                  <a:pt x="3532" y="1122"/>
                </a:lnTo>
                <a:lnTo>
                  <a:pt x="3532" y="1122"/>
                </a:lnTo>
                <a:lnTo>
                  <a:pt x="3536" y="1120"/>
                </a:lnTo>
                <a:lnTo>
                  <a:pt x="3544" y="1118"/>
                </a:lnTo>
                <a:lnTo>
                  <a:pt x="3550" y="1118"/>
                </a:lnTo>
                <a:lnTo>
                  <a:pt x="3556" y="1120"/>
                </a:lnTo>
                <a:lnTo>
                  <a:pt x="3556" y="1120"/>
                </a:lnTo>
                <a:lnTo>
                  <a:pt x="3560" y="1122"/>
                </a:lnTo>
                <a:lnTo>
                  <a:pt x="3564" y="1124"/>
                </a:lnTo>
                <a:lnTo>
                  <a:pt x="3576" y="1124"/>
                </a:lnTo>
                <a:lnTo>
                  <a:pt x="3576" y="1124"/>
                </a:lnTo>
                <a:lnTo>
                  <a:pt x="3580" y="1126"/>
                </a:lnTo>
                <a:lnTo>
                  <a:pt x="3580" y="1126"/>
                </a:lnTo>
                <a:lnTo>
                  <a:pt x="3586" y="1124"/>
                </a:lnTo>
                <a:lnTo>
                  <a:pt x="3590" y="1122"/>
                </a:lnTo>
                <a:lnTo>
                  <a:pt x="3592" y="1120"/>
                </a:lnTo>
                <a:lnTo>
                  <a:pt x="3592" y="1114"/>
                </a:lnTo>
                <a:lnTo>
                  <a:pt x="3592" y="1114"/>
                </a:lnTo>
                <a:lnTo>
                  <a:pt x="3578" y="1118"/>
                </a:lnTo>
                <a:lnTo>
                  <a:pt x="3578" y="1108"/>
                </a:lnTo>
                <a:lnTo>
                  <a:pt x="3578" y="1108"/>
                </a:lnTo>
                <a:lnTo>
                  <a:pt x="3586" y="1108"/>
                </a:lnTo>
                <a:lnTo>
                  <a:pt x="3586" y="1108"/>
                </a:lnTo>
                <a:lnTo>
                  <a:pt x="3582" y="1102"/>
                </a:lnTo>
                <a:lnTo>
                  <a:pt x="3582" y="1100"/>
                </a:lnTo>
                <a:lnTo>
                  <a:pt x="3584" y="1098"/>
                </a:lnTo>
                <a:lnTo>
                  <a:pt x="3584" y="1098"/>
                </a:lnTo>
                <a:lnTo>
                  <a:pt x="3596" y="1098"/>
                </a:lnTo>
                <a:lnTo>
                  <a:pt x="3596" y="1098"/>
                </a:lnTo>
                <a:lnTo>
                  <a:pt x="3604" y="1100"/>
                </a:lnTo>
                <a:lnTo>
                  <a:pt x="3608" y="1100"/>
                </a:lnTo>
                <a:lnTo>
                  <a:pt x="3612" y="1096"/>
                </a:lnTo>
                <a:lnTo>
                  <a:pt x="3612" y="1096"/>
                </a:lnTo>
                <a:lnTo>
                  <a:pt x="3616" y="1096"/>
                </a:lnTo>
                <a:lnTo>
                  <a:pt x="3620" y="1094"/>
                </a:lnTo>
                <a:lnTo>
                  <a:pt x="3620" y="1094"/>
                </a:lnTo>
                <a:lnTo>
                  <a:pt x="3624" y="1094"/>
                </a:lnTo>
                <a:lnTo>
                  <a:pt x="3628" y="1092"/>
                </a:lnTo>
                <a:lnTo>
                  <a:pt x="3628" y="1092"/>
                </a:lnTo>
                <a:lnTo>
                  <a:pt x="3632" y="1090"/>
                </a:lnTo>
                <a:lnTo>
                  <a:pt x="3634" y="1090"/>
                </a:lnTo>
                <a:lnTo>
                  <a:pt x="3642" y="1090"/>
                </a:lnTo>
                <a:lnTo>
                  <a:pt x="3642" y="1090"/>
                </a:lnTo>
                <a:lnTo>
                  <a:pt x="3648" y="1092"/>
                </a:lnTo>
                <a:lnTo>
                  <a:pt x="3656" y="1092"/>
                </a:lnTo>
                <a:lnTo>
                  <a:pt x="3656" y="1092"/>
                </a:lnTo>
                <a:lnTo>
                  <a:pt x="3662" y="1092"/>
                </a:lnTo>
                <a:lnTo>
                  <a:pt x="3662" y="1092"/>
                </a:lnTo>
                <a:lnTo>
                  <a:pt x="3666" y="1098"/>
                </a:lnTo>
                <a:lnTo>
                  <a:pt x="3666" y="1098"/>
                </a:lnTo>
                <a:lnTo>
                  <a:pt x="3670" y="1102"/>
                </a:lnTo>
                <a:lnTo>
                  <a:pt x="3670" y="1102"/>
                </a:lnTo>
                <a:lnTo>
                  <a:pt x="3668" y="1104"/>
                </a:lnTo>
                <a:lnTo>
                  <a:pt x="3668" y="1104"/>
                </a:lnTo>
                <a:lnTo>
                  <a:pt x="3664" y="1110"/>
                </a:lnTo>
                <a:lnTo>
                  <a:pt x="3662" y="1114"/>
                </a:lnTo>
                <a:lnTo>
                  <a:pt x="3664" y="1118"/>
                </a:lnTo>
                <a:lnTo>
                  <a:pt x="3670" y="1124"/>
                </a:lnTo>
                <a:lnTo>
                  <a:pt x="3670" y="1124"/>
                </a:lnTo>
                <a:lnTo>
                  <a:pt x="3672" y="1128"/>
                </a:lnTo>
                <a:lnTo>
                  <a:pt x="3674" y="1132"/>
                </a:lnTo>
                <a:lnTo>
                  <a:pt x="3674" y="1132"/>
                </a:lnTo>
                <a:lnTo>
                  <a:pt x="3684" y="1132"/>
                </a:lnTo>
                <a:lnTo>
                  <a:pt x="3694" y="1132"/>
                </a:lnTo>
                <a:lnTo>
                  <a:pt x="3704" y="1130"/>
                </a:lnTo>
                <a:lnTo>
                  <a:pt x="3714" y="1128"/>
                </a:lnTo>
                <a:lnTo>
                  <a:pt x="3714" y="1128"/>
                </a:lnTo>
                <a:lnTo>
                  <a:pt x="3706" y="1122"/>
                </a:lnTo>
                <a:lnTo>
                  <a:pt x="3706" y="1122"/>
                </a:lnTo>
                <a:lnTo>
                  <a:pt x="3716" y="1118"/>
                </a:lnTo>
                <a:lnTo>
                  <a:pt x="3716" y="1118"/>
                </a:lnTo>
                <a:lnTo>
                  <a:pt x="3724" y="1122"/>
                </a:lnTo>
                <a:lnTo>
                  <a:pt x="3730" y="1122"/>
                </a:lnTo>
                <a:lnTo>
                  <a:pt x="3734" y="1122"/>
                </a:lnTo>
                <a:lnTo>
                  <a:pt x="3734" y="1122"/>
                </a:lnTo>
                <a:lnTo>
                  <a:pt x="3726" y="1116"/>
                </a:lnTo>
                <a:lnTo>
                  <a:pt x="3716" y="1114"/>
                </a:lnTo>
                <a:lnTo>
                  <a:pt x="3716" y="1114"/>
                </a:lnTo>
                <a:lnTo>
                  <a:pt x="3706" y="1112"/>
                </a:lnTo>
                <a:lnTo>
                  <a:pt x="3706" y="1112"/>
                </a:lnTo>
                <a:lnTo>
                  <a:pt x="3706" y="1108"/>
                </a:lnTo>
                <a:lnTo>
                  <a:pt x="3708" y="1104"/>
                </a:lnTo>
                <a:lnTo>
                  <a:pt x="3716" y="1096"/>
                </a:lnTo>
                <a:lnTo>
                  <a:pt x="3716" y="1096"/>
                </a:lnTo>
                <a:lnTo>
                  <a:pt x="3718" y="1100"/>
                </a:lnTo>
                <a:lnTo>
                  <a:pt x="3718" y="1100"/>
                </a:lnTo>
                <a:lnTo>
                  <a:pt x="3720" y="1100"/>
                </a:lnTo>
                <a:lnTo>
                  <a:pt x="3720" y="1100"/>
                </a:lnTo>
                <a:lnTo>
                  <a:pt x="3720" y="1094"/>
                </a:lnTo>
                <a:lnTo>
                  <a:pt x="3720" y="1094"/>
                </a:lnTo>
                <a:lnTo>
                  <a:pt x="3726" y="1094"/>
                </a:lnTo>
                <a:lnTo>
                  <a:pt x="3730" y="1094"/>
                </a:lnTo>
                <a:lnTo>
                  <a:pt x="3732" y="1090"/>
                </a:lnTo>
                <a:lnTo>
                  <a:pt x="3732" y="1090"/>
                </a:lnTo>
                <a:lnTo>
                  <a:pt x="3720" y="1086"/>
                </a:lnTo>
                <a:lnTo>
                  <a:pt x="3720" y="1086"/>
                </a:lnTo>
                <a:lnTo>
                  <a:pt x="3718" y="1084"/>
                </a:lnTo>
                <a:lnTo>
                  <a:pt x="3716" y="1082"/>
                </a:lnTo>
                <a:lnTo>
                  <a:pt x="3716" y="1082"/>
                </a:lnTo>
                <a:lnTo>
                  <a:pt x="3718" y="1080"/>
                </a:lnTo>
                <a:lnTo>
                  <a:pt x="3720" y="1080"/>
                </a:lnTo>
                <a:lnTo>
                  <a:pt x="3724" y="1080"/>
                </a:lnTo>
                <a:lnTo>
                  <a:pt x="3724" y="1080"/>
                </a:lnTo>
                <a:lnTo>
                  <a:pt x="3736" y="1082"/>
                </a:lnTo>
                <a:lnTo>
                  <a:pt x="3748" y="1082"/>
                </a:lnTo>
                <a:lnTo>
                  <a:pt x="3748" y="1082"/>
                </a:lnTo>
                <a:lnTo>
                  <a:pt x="3756" y="1082"/>
                </a:lnTo>
                <a:lnTo>
                  <a:pt x="3764" y="1086"/>
                </a:lnTo>
                <a:lnTo>
                  <a:pt x="3764" y="1086"/>
                </a:lnTo>
                <a:lnTo>
                  <a:pt x="3762" y="1092"/>
                </a:lnTo>
                <a:lnTo>
                  <a:pt x="3762" y="1092"/>
                </a:lnTo>
                <a:lnTo>
                  <a:pt x="3772" y="1092"/>
                </a:lnTo>
                <a:lnTo>
                  <a:pt x="3772" y="1092"/>
                </a:lnTo>
                <a:lnTo>
                  <a:pt x="3770" y="1086"/>
                </a:lnTo>
                <a:lnTo>
                  <a:pt x="3770" y="1086"/>
                </a:lnTo>
                <a:lnTo>
                  <a:pt x="3784" y="1090"/>
                </a:lnTo>
                <a:lnTo>
                  <a:pt x="3784" y="1090"/>
                </a:lnTo>
                <a:lnTo>
                  <a:pt x="3804" y="1078"/>
                </a:lnTo>
                <a:lnTo>
                  <a:pt x="3804" y="1078"/>
                </a:lnTo>
                <a:lnTo>
                  <a:pt x="3788" y="1080"/>
                </a:lnTo>
                <a:lnTo>
                  <a:pt x="3780" y="1078"/>
                </a:lnTo>
                <a:lnTo>
                  <a:pt x="3772" y="1078"/>
                </a:lnTo>
                <a:lnTo>
                  <a:pt x="3772" y="1078"/>
                </a:lnTo>
                <a:lnTo>
                  <a:pt x="3752" y="1074"/>
                </a:lnTo>
                <a:lnTo>
                  <a:pt x="3732" y="1070"/>
                </a:lnTo>
                <a:lnTo>
                  <a:pt x="3732" y="1070"/>
                </a:lnTo>
                <a:lnTo>
                  <a:pt x="3722" y="1070"/>
                </a:lnTo>
                <a:lnTo>
                  <a:pt x="3716" y="1070"/>
                </a:lnTo>
                <a:lnTo>
                  <a:pt x="3712" y="1072"/>
                </a:lnTo>
                <a:lnTo>
                  <a:pt x="3712" y="1072"/>
                </a:lnTo>
                <a:lnTo>
                  <a:pt x="3706" y="1074"/>
                </a:lnTo>
                <a:lnTo>
                  <a:pt x="3702" y="1072"/>
                </a:lnTo>
                <a:lnTo>
                  <a:pt x="3700" y="1070"/>
                </a:lnTo>
                <a:lnTo>
                  <a:pt x="3700" y="1070"/>
                </a:lnTo>
                <a:lnTo>
                  <a:pt x="3706" y="1068"/>
                </a:lnTo>
                <a:lnTo>
                  <a:pt x="3706" y="1068"/>
                </a:lnTo>
                <a:lnTo>
                  <a:pt x="3710" y="1066"/>
                </a:lnTo>
                <a:lnTo>
                  <a:pt x="3712" y="1066"/>
                </a:lnTo>
                <a:lnTo>
                  <a:pt x="3710" y="1064"/>
                </a:lnTo>
                <a:lnTo>
                  <a:pt x="3708" y="1062"/>
                </a:lnTo>
                <a:lnTo>
                  <a:pt x="3708" y="1062"/>
                </a:lnTo>
                <a:lnTo>
                  <a:pt x="3704" y="1060"/>
                </a:lnTo>
                <a:lnTo>
                  <a:pt x="3698" y="1060"/>
                </a:lnTo>
                <a:lnTo>
                  <a:pt x="3698" y="1060"/>
                </a:lnTo>
                <a:lnTo>
                  <a:pt x="3694" y="1060"/>
                </a:lnTo>
                <a:lnTo>
                  <a:pt x="3690" y="1060"/>
                </a:lnTo>
                <a:lnTo>
                  <a:pt x="3690" y="1060"/>
                </a:lnTo>
                <a:lnTo>
                  <a:pt x="3690" y="1058"/>
                </a:lnTo>
                <a:lnTo>
                  <a:pt x="3690" y="1058"/>
                </a:lnTo>
                <a:lnTo>
                  <a:pt x="3696" y="1056"/>
                </a:lnTo>
                <a:lnTo>
                  <a:pt x="3702" y="1056"/>
                </a:lnTo>
                <a:lnTo>
                  <a:pt x="3702" y="1056"/>
                </a:lnTo>
                <a:lnTo>
                  <a:pt x="3708" y="1056"/>
                </a:lnTo>
                <a:lnTo>
                  <a:pt x="3712" y="1054"/>
                </a:lnTo>
                <a:lnTo>
                  <a:pt x="3720" y="1048"/>
                </a:lnTo>
                <a:lnTo>
                  <a:pt x="3720" y="1048"/>
                </a:lnTo>
                <a:lnTo>
                  <a:pt x="3724" y="1042"/>
                </a:lnTo>
                <a:lnTo>
                  <a:pt x="3732" y="1038"/>
                </a:lnTo>
                <a:lnTo>
                  <a:pt x="3732" y="1038"/>
                </a:lnTo>
                <a:lnTo>
                  <a:pt x="3714" y="1034"/>
                </a:lnTo>
                <a:lnTo>
                  <a:pt x="3714" y="1034"/>
                </a:lnTo>
                <a:lnTo>
                  <a:pt x="3714" y="1034"/>
                </a:lnTo>
                <a:lnTo>
                  <a:pt x="3712" y="1030"/>
                </a:lnTo>
                <a:lnTo>
                  <a:pt x="3712" y="1030"/>
                </a:lnTo>
                <a:lnTo>
                  <a:pt x="3712" y="1030"/>
                </a:lnTo>
                <a:lnTo>
                  <a:pt x="3712" y="1030"/>
                </a:lnTo>
                <a:lnTo>
                  <a:pt x="3706" y="1034"/>
                </a:lnTo>
                <a:lnTo>
                  <a:pt x="3704" y="1036"/>
                </a:lnTo>
                <a:lnTo>
                  <a:pt x="3704" y="1040"/>
                </a:lnTo>
                <a:lnTo>
                  <a:pt x="3704" y="1040"/>
                </a:lnTo>
                <a:lnTo>
                  <a:pt x="3702" y="1042"/>
                </a:lnTo>
                <a:lnTo>
                  <a:pt x="3698" y="1042"/>
                </a:lnTo>
                <a:lnTo>
                  <a:pt x="3698" y="1042"/>
                </a:lnTo>
                <a:lnTo>
                  <a:pt x="3690" y="1046"/>
                </a:lnTo>
                <a:lnTo>
                  <a:pt x="3690" y="1048"/>
                </a:lnTo>
                <a:lnTo>
                  <a:pt x="3692" y="1052"/>
                </a:lnTo>
                <a:lnTo>
                  <a:pt x="3692" y="1052"/>
                </a:lnTo>
                <a:lnTo>
                  <a:pt x="3674" y="1056"/>
                </a:lnTo>
                <a:lnTo>
                  <a:pt x="3674" y="1056"/>
                </a:lnTo>
                <a:lnTo>
                  <a:pt x="3656" y="1066"/>
                </a:lnTo>
                <a:lnTo>
                  <a:pt x="3656" y="1066"/>
                </a:lnTo>
                <a:lnTo>
                  <a:pt x="3652" y="1068"/>
                </a:lnTo>
                <a:lnTo>
                  <a:pt x="3652" y="1068"/>
                </a:lnTo>
                <a:lnTo>
                  <a:pt x="3646" y="1070"/>
                </a:lnTo>
                <a:lnTo>
                  <a:pt x="3644" y="1074"/>
                </a:lnTo>
                <a:lnTo>
                  <a:pt x="3642" y="1078"/>
                </a:lnTo>
                <a:lnTo>
                  <a:pt x="3644" y="1082"/>
                </a:lnTo>
                <a:lnTo>
                  <a:pt x="3644" y="1082"/>
                </a:lnTo>
                <a:lnTo>
                  <a:pt x="3640" y="1082"/>
                </a:lnTo>
                <a:lnTo>
                  <a:pt x="3636" y="1082"/>
                </a:lnTo>
                <a:lnTo>
                  <a:pt x="3634" y="1078"/>
                </a:lnTo>
                <a:lnTo>
                  <a:pt x="3632" y="1072"/>
                </a:lnTo>
                <a:lnTo>
                  <a:pt x="3632" y="1072"/>
                </a:lnTo>
                <a:lnTo>
                  <a:pt x="3646" y="1064"/>
                </a:lnTo>
                <a:lnTo>
                  <a:pt x="3646" y="1064"/>
                </a:lnTo>
                <a:lnTo>
                  <a:pt x="3634" y="1062"/>
                </a:lnTo>
                <a:lnTo>
                  <a:pt x="3634" y="1062"/>
                </a:lnTo>
                <a:lnTo>
                  <a:pt x="3634" y="1058"/>
                </a:lnTo>
                <a:lnTo>
                  <a:pt x="3638" y="1056"/>
                </a:lnTo>
                <a:lnTo>
                  <a:pt x="3646" y="1054"/>
                </a:lnTo>
                <a:lnTo>
                  <a:pt x="3646" y="1054"/>
                </a:lnTo>
                <a:lnTo>
                  <a:pt x="3642" y="1048"/>
                </a:lnTo>
                <a:lnTo>
                  <a:pt x="3640" y="1046"/>
                </a:lnTo>
                <a:lnTo>
                  <a:pt x="3640" y="1042"/>
                </a:lnTo>
                <a:lnTo>
                  <a:pt x="3640" y="1042"/>
                </a:lnTo>
                <a:lnTo>
                  <a:pt x="3646" y="1040"/>
                </a:lnTo>
                <a:lnTo>
                  <a:pt x="3652" y="1038"/>
                </a:lnTo>
                <a:lnTo>
                  <a:pt x="3666" y="1034"/>
                </a:lnTo>
                <a:lnTo>
                  <a:pt x="3666" y="1034"/>
                </a:lnTo>
                <a:lnTo>
                  <a:pt x="3678" y="1034"/>
                </a:lnTo>
                <a:lnTo>
                  <a:pt x="3684" y="1034"/>
                </a:lnTo>
                <a:lnTo>
                  <a:pt x="3688" y="1036"/>
                </a:lnTo>
                <a:lnTo>
                  <a:pt x="3688" y="1036"/>
                </a:lnTo>
                <a:lnTo>
                  <a:pt x="3696" y="1036"/>
                </a:lnTo>
                <a:lnTo>
                  <a:pt x="3696" y="1036"/>
                </a:lnTo>
                <a:lnTo>
                  <a:pt x="3684" y="1026"/>
                </a:lnTo>
                <a:lnTo>
                  <a:pt x="3684" y="1026"/>
                </a:lnTo>
                <a:lnTo>
                  <a:pt x="3696" y="1018"/>
                </a:lnTo>
                <a:lnTo>
                  <a:pt x="3696" y="1018"/>
                </a:lnTo>
                <a:lnTo>
                  <a:pt x="3690" y="1014"/>
                </a:lnTo>
                <a:lnTo>
                  <a:pt x="3690" y="1014"/>
                </a:lnTo>
                <a:lnTo>
                  <a:pt x="3692" y="1008"/>
                </a:lnTo>
                <a:lnTo>
                  <a:pt x="3694" y="1004"/>
                </a:lnTo>
                <a:lnTo>
                  <a:pt x="3698" y="1002"/>
                </a:lnTo>
                <a:lnTo>
                  <a:pt x="3698" y="1002"/>
                </a:lnTo>
                <a:lnTo>
                  <a:pt x="3696" y="998"/>
                </a:lnTo>
                <a:lnTo>
                  <a:pt x="3696" y="998"/>
                </a:lnTo>
                <a:lnTo>
                  <a:pt x="3700" y="1000"/>
                </a:lnTo>
                <a:lnTo>
                  <a:pt x="3700" y="1000"/>
                </a:lnTo>
                <a:lnTo>
                  <a:pt x="3702" y="994"/>
                </a:lnTo>
                <a:lnTo>
                  <a:pt x="3702" y="994"/>
                </a:lnTo>
                <a:lnTo>
                  <a:pt x="3704" y="994"/>
                </a:lnTo>
                <a:lnTo>
                  <a:pt x="3704" y="994"/>
                </a:lnTo>
                <a:lnTo>
                  <a:pt x="3704" y="1002"/>
                </a:lnTo>
                <a:lnTo>
                  <a:pt x="3704" y="1002"/>
                </a:lnTo>
                <a:lnTo>
                  <a:pt x="3706" y="1006"/>
                </a:lnTo>
                <a:lnTo>
                  <a:pt x="3710" y="1008"/>
                </a:lnTo>
                <a:lnTo>
                  <a:pt x="3710" y="1008"/>
                </a:lnTo>
                <a:lnTo>
                  <a:pt x="3708" y="994"/>
                </a:lnTo>
                <a:lnTo>
                  <a:pt x="3708" y="994"/>
                </a:lnTo>
                <a:lnTo>
                  <a:pt x="3718" y="994"/>
                </a:lnTo>
                <a:lnTo>
                  <a:pt x="3722" y="996"/>
                </a:lnTo>
                <a:lnTo>
                  <a:pt x="3724" y="998"/>
                </a:lnTo>
                <a:lnTo>
                  <a:pt x="3724" y="998"/>
                </a:lnTo>
                <a:lnTo>
                  <a:pt x="3724" y="1000"/>
                </a:lnTo>
                <a:lnTo>
                  <a:pt x="3722" y="1002"/>
                </a:lnTo>
                <a:lnTo>
                  <a:pt x="3716" y="1004"/>
                </a:lnTo>
                <a:lnTo>
                  <a:pt x="3716" y="1004"/>
                </a:lnTo>
                <a:lnTo>
                  <a:pt x="3718" y="1008"/>
                </a:lnTo>
                <a:lnTo>
                  <a:pt x="3718" y="1008"/>
                </a:lnTo>
                <a:lnTo>
                  <a:pt x="3722" y="1006"/>
                </a:lnTo>
                <a:lnTo>
                  <a:pt x="3722" y="1006"/>
                </a:lnTo>
                <a:lnTo>
                  <a:pt x="3738" y="1004"/>
                </a:lnTo>
                <a:lnTo>
                  <a:pt x="3738" y="1004"/>
                </a:lnTo>
                <a:lnTo>
                  <a:pt x="3732" y="1000"/>
                </a:lnTo>
                <a:lnTo>
                  <a:pt x="3732" y="1000"/>
                </a:lnTo>
                <a:lnTo>
                  <a:pt x="3730" y="1000"/>
                </a:lnTo>
                <a:lnTo>
                  <a:pt x="3730" y="1000"/>
                </a:lnTo>
                <a:lnTo>
                  <a:pt x="3732" y="1000"/>
                </a:lnTo>
                <a:lnTo>
                  <a:pt x="3732" y="1000"/>
                </a:lnTo>
                <a:lnTo>
                  <a:pt x="3724" y="998"/>
                </a:lnTo>
                <a:lnTo>
                  <a:pt x="3724" y="998"/>
                </a:lnTo>
                <a:lnTo>
                  <a:pt x="3724" y="994"/>
                </a:lnTo>
                <a:lnTo>
                  <a:pt x="3720" y="992"/>
                </a:lnTo>
                <a:lnTo>
                  <a:pt x="3720" y="992"/>
                </a:lnTo>
                <a:lnTo>
                  <a:pt x="3716" y="990"/>
                </a:lnTo>
                <a:lnTo>
                  <a:pt x="3714" y="988"/>
                </a:lnTo>
                <a:lnTo>
                  <a:pt x="3714" y="982"/>
                </a:lnTo>
                <a:lnTo>
                  <a:pt x="3714" y="982"/>
                </a:lnTo>
                <a:lnTo>
                  <a:pt x="3716" y="980"/>
                </a:lnTo>
                <a:lnTo>
                  <a:pt x="3718" y="978"/>
                </a:lnTo>
                <a:lnTo>
                  <a:pt x="3726" y="978"/>
                </a:lnTo>
                <a:lnTo>
                  <a:pt x="3726" y="978"/>
                </a:lnTo>
                <a:lnTo>
                  <a:pt x="3734" y="980"/>
                </a:lnTo>
                <a:lnTo>
                  <a:pt x="3734" y="980"/>
                </a:lnTo>
                <a:lnTo>
                  <a:pt x="3738" y="980"/>
                </a:lnTo>
                <a:lnTo>
                  <a:pt x="3738" y="980"/>
                </a:lnTo>
                <a:lnTo>
                  <a:pt x="3744" y="982"/>
                </a:lnTo>
                <a:lnTo>
                  <a:pt x="3744" y="982"/>
                </a:lnTo>
                <a:lnTo>
                  <a:pt x="3744" y="988"/>
                </a:lnTo>
                <a:lnTo>
                  <a:pt x="3744" y="988"/>
                </a:lnTo>
                <a:lnTo>
                  <a:pt x="3748" y="992"/>
                </a:lnTo>
                <a:lnTo>
                  <a:pt x="3748" y="992"/>
                </a:lnTo>
                <a:lnTo>
                  <a:pt x="3744" y="988"/>
                </a:lnTo>
                <a:lnTo>
                  <a:pt x="3744" y="988"/>
                </a:lnTo>
                <a:lnTo>
                  <a:pt x="3746" y="1004"/>
                </a:lnTo>
                <a:lnTo>
                  <a:pt x="3746" y="1004"/>
                </a:lnTo>
                <a:lnTo>
                  <a:pt x="3756" y="1004"/>
                </a:lnTo>
                <a:lnTo>
                  <a:pt x="3756" y="1004"/>
                </a:lnTo>
                <a:lnTo>
                  <a:pt x="3758" y="994"/>
                </a:lnTo>
                <a:lnTo>
                  <a:pt x="3758" y="994"/>
                </a:lnTo>
                <a:lnTo>
                  <a:pt x="3756" y="994"/>
                </a:lnTo>
                <a:lnTo>
                  <a:pt x="3756" y="994"/>
                </a:lnTo>
                <a:lnTo>
                  <a:pt x="3758" y="994"/>
                </a:lnTo>
                <a:lnTo>
                  <a:pt x="3758" y="994"/>
                </a:lnTo>
                <a:lnTo>
                  <a:pt x="3762" y="982"/>
                </a:lnTo>
                <a:lnTo>
                  <a:pt x="3762" y="982"/>
                </a:lnTo>
                <a:lnTo>
                  <a:pt x="3764" y="980"/>
                </a:lnTo>
                <a:lnTo>
                  <a:pt x="3764" y="980"/>
                </a:lnTo>
                <a:lnTo>
                  <a:pt x="3768" y="980"/>
                </a:lnTo>
                <a:lnTo>
                  <a:pt x="3770" y="982"/>
                </a:lnTo>
                <a:lnTo>
                  <a:pt x="3772" y="986"/>
                </a:lnTo>
                <a:lnTo>
                  <a:pt x="3772" y="986"/>
                </a:lnTo>
                <a:lnTo>
                  <a:pt x="3780" y="990"/>
                </a:lnTo>
                <a:lnTo>
                  <a:pt x="3780" y="990"/>
                </a:lnTo>
                <a:lnTo>
                  <a:pt x="3780" y="988"/>
                </a:lnTo>
                <a:lnTo>
                  <a:pt x="3780" y="988"/>
                </a:lnTo>
                <a:lnTo>
                  <a:pt x="3780" y="990"/>
                </a:lnTo>
                <a:lnTo>
                  <a:pt x="3780" y="990"/>
                </a:lnTo>
                <a:lnTo>
                  <a:pt x="3784" y="990"/>
                </a:lnTo>
                <a:lnTo>
                  <a:pt x="3784" y="990"/>
                </a:lnTo>
                <a:lnTo>
                  <a:pt x="3790" y="992"/>
                </a:lnTo>
                <a:lnTo>
                  <a:pt x="3790" y="992"/>
                </a:lnTo>
                <a:lnTo>
                  <a:pt x="3792" y="982"/>
                </a:lnTo>
                <a:lnTo>
                  <a:pt x="3792" y="982"/>
                </a:lnTo>
                <a:lnTo>
                  <a:pt x="3796" y="978"/>
                </a:lnTo>
                <a:lnTo>
                  <a:pt x="3796" y="978"/>
                </a:lnTo>
                <a:lnTo>
                  <a:pt x="3792" y="974"/>
                </a:lnTo>
                <a:lnTo>
                  <a:pt x="3792" y="974"/>
                </a:lnTo>
                <a:lnTo>
                  <a:pt x="3794" y="968"/>
                </a:lnTo>
                <a:lnTo>
                  <a:pt x="3796" y="968"/>
                </a:lnTo>
                <a:lnTo>
                  <a:pt x="3796" y="968"/>
                </a:lnTo>
                <a:lnTo>
                  <a:pt x="3800" y="972"/>
                </a:lnTo>
                <a:lnTo>
                  <a:pt x="3800" y="972"/>
                </a:lnTo>
                <a:lnTo>
                  <a:pt x="3802" y="986"/>
                </a:lnTo>
                <a:lnTo>
                  <a:pt x="3802" y="986"/>
                </a:lnTo>
                <a:lnTo>
                  <a:pt x="3806" y="986"/>
                </a:lnTo>
                <a:lnTo>
                  <a:pt x="3808" y="986"/>
                </a:lnTo>
                <a:lnTo>
                  <a:pt x="3808" y="986"/>
                </a:lnTo>
                <a:lnTo>
                  <a:pt x="3814" y="986"/>
                </a:lnTo>
                <a:lnTo>
                  <a:pt x="3814" y="986"/>
                </a:lnTo>
                <a:lnTo>
                  <a:pt x="3812" y="982"/>
                </a:lnTo>
                <a:lnTo>
                  <a:pt x="3812" y="982"/>
                </a:lnTo>
                <a:lnTo>
                  <a:pt x="3810" y="982"/>
                </a:lnTo>
                <a:lnTo>
                  <a:pt x="3810" y="982"/>
                </a:lnTo>
                <a:lnTo>
                  <a:pt x="3812" y="982"/>
                </a:lnTo>
                <a:lnTo>
                  <a:pt x="3812" y="982"/>
                </a:lnTo>
                <a:lnTo>
                  <a:pt x="3812" y="980"/>
                </a:lnTo>
                <a:lnTo>
                  <a:pt x="3812" y="980"/>
                </a:lnTo>
                <a:lnTo>
                  <a:pt x="3816" y="978"/>
                </a:lnTo>
                <a:lnTo>
                  <a:pt x="3816" y="978"/>
                </a:lnTo>
                <a:lnTo>
                  <a:pt x="3822" y="978"/>
                </a:lnTo>
                <a:lnTo>
                  <a:pt x="3826" y="978"/>
                </a:lnTo>
                <a:lnTo>
                  <a:pt x="3828" y="980"/>
                </a:lnTo>
                <a:lnTo>
                  <a:pt x="3828" y="980"/>
                </a:lnTo>
                <a:lnTo>
                  <a:pt x="3822" y="982"/>
                </a:lnTo>
                <a:lnTo>
                  <a:pt x="3822" y="982"/>
                </a:lnTo>
                <a:lnTo>
                  <a:pt x="3820" y="982"/>
                </a:lnTo>
                <a:lnTo>
                  <a:pt x="3818" y="982"/>
                </a:lnTo>
                <a:lnTo>
                  <a:pt x="3818" y="982"/>
                </a:lnTo>
                <a:lnTo>
                  <a:pt x="3820" y="986"/>
                </a:lnTo>
                <a:lnTo>
                  <a:pt x="3820" y="986"/>
                </a:lnTo>
                <a:lnTo>
                  <a:pt x="3824" y="984"/>
                </a:lnTo>
                <a:lnTo>
                  <a:pt x="3828" y="980"/>
                </a:lnTo>
                <a:lnTo>
                  <a:pt x="3828" y="980"/>
                </a:lnTo>
                <a:lnTo>
                  <a:pt x="3832" y="980"/>
                </a:lnTo>
                <a:lnTo>
                  <a:pt x="3832" y="980"/>
                </a:lnTo>
                <a:lnTo>
                  <a:pt x="3836" y="980"/>
                </a:lnTo>
                <a:lnTo>
                  <a:pt x="3836" y="980"/>
                </a:lnTo>
                <a:lnTo>
                  <a:pt x="3840" y="978"/>
                </a:lnTo>
                <a:lnTo>
                  <a:pt x="3840" y="978"/>
                </a:lnTo>
                <a:lnTo>
                  <a:pt x="3842" y="976"/>
                </a:lnTo>
                <a:lnTo>
                  <a:pt x="3840" y="972"/>
                </a:lnTo>
                <a:lnTo>
                  <a:pt x="3838" y="970"/>
                </a:lnTo>
                <a:lnTo>
                  <a:pt x="3836" y="968"/>
                </a:lnTo>
                <a:lnTo>
                  <a:pt x="3836" y="968"/>
                </a:lnTo>
                <a:lnTo>
                  <a:pt x="3854" y="968"/>
                </a:lnTo>
                <a:lnTo>
                  <a:pt x="3854" y="968"/>
                </a:lnTo>
                <a:lnTo>
                  <a:pt x="3862" y="968"/>
                </a:lnTo>
                <a:lnTo>
                  <a:pt x="3864" y="970"/>
                </a:lnTo>
                <a:lnTo>
                  <a:pt x="3868" y="974"/>
                </a:lnTo>
                <a:lnTo>
                  <a:pt x="3868" y="974"/>
                </a:lnTo>
                <a:lnTo>
                  <a:pt x="3860" y="980"/>
                </a:lnTo>
                <a:lnTo>
                  <a:pt x="3860" y="980"/>
                </a:lnTo>
                <a:lnTo>
                  <a:pt x="3872" y="986"/>
                </a:lnTo>
                <a:lnTo>
                  <a:pt x="3880" y="994"/>
                </a:lnTo>
                <a:lnTo>
                  <a:pt x="3880" y="994"/>
                </a:lnTo>
                <a:lnTo>
                  <a:pt x="3884" y="994"/>
                </a:lnTo>
                <a:lnTo>
                  <a:pt x="3884" y="994"/>
                </a:lnTo>
                <a:lnTo>
                  <a:pt x="3884" y="996"/>
                </a:lnTo>
                <a:lnTo>
                  <a:pt x="3884" y="996"/>
                </a:lnTo>
                <a:lnTo>
                  <a:pt x="3884" y="996"/>
                </a:lnTo>
                <a:lnTo>
                  <a:pt x="3882" y="996"/>
                </a:lnTo>
                <a:lnTo>
                  <a:pt x="3882" y="996"/>
                </a:lnTo>
                <a:lnTo>
                  <a:pt x="3884" y="1004"/>
                </a:lnTo>
                <a:lnTo>
                  <a:pt x="3884" y="1004"/>
                </a:lnTo>
                <a:lnTo>
                  <a:pt x="3890" y="1004"/>
                </a:lnTo>
                <a:lnTo>
                  <a:pt x="3892" y="1002"/>
                </a:lnTo>
                <a:lnTo>
                  <a:pt x="3896" y="998"/>
                </a:lnTo>
                <a:lnTo>
                  <a:pt x="3896" y="998"/>
                </a:lnTo>
                <a:lnTo>
                  <a:pt x="3896" y="1024"/>
                </a:lnTo>
                <a:lnTo>
                  <a:pt x="3896" y="1024"/>
                </a:lnTo>
                <a:lnTo>
                  <a:pt x="3888" y="1022"/>
                </a:lnTo>
                <a:lnTo>
                  <a:pt x="3878" y="1022"/>
                </a:lnTo>
                <a:lnTo>
                  <a:pt x="3878" y="1022"/>
                </a:lnTo>
                <a:lnTo>
                  <a:pt x="3862" y="1024"/>
                </a:lnTo>
                <a:lnTo>
                  <a:pt x="3856" y="1024"/>
                </a:lnTo>
                <a:lnTo>
                  <a:pt x="3848" y="1022"/>
                </a:lnTo>
                <a:lnTo>
                  <a:pt x="3848" y="1022"/>
                </a:lnTo>
                <a:lnTo>
                  <a:pt x="3840" y="1020"/>
                </a:lnTo>
                <a:lnTo>
                  <a:pt x="3832" y="1020"/>
                </a:lnTo>
                <a:lnTo>
                  <a:pt x="3818" y="1024"/>
                </a:lnTo>
                <a:lnTo>
                  <a:pt x="3818" y="1024"/>
                </a:lnTo>
                <a:lnTo>
                  <a:pt x="3816" y="1024"/>
                </a:lnTo>
                <a:lnTo>
                  <a:pt x="3816" y="1024"/>
                </a:lnTo>
                <a:lnTo>
                  <a:pt x="3816" y="1016"/>
                </a:lnTo>
                <a:lnTo>
                  <a:pt x="3816" y="1016"/>
                </a:lnTo>
                <a:lnTo>
                  <a:pt x="3810" y="1018"/>
                </a:lnTo>
                <a:lnTo>
                  <a:pt x="3810" y="1018"/>
                </a:lnTo>
                <a:lnTo>
                  <a:pt x="3814" y="1012"/>
                </a:lnTo>
                <a:lnTo>
                  <a:pt x="3814" y="1012"/>
                </a:lnTo>
                <a:lnTo>
                  <a:pt x="3814" y="1012"/>
                </a:lnTo>
                <a:lnTo>
                  <a:pt x="3814" y="1012"/>
                </a:lnTo>
                <a:lnTo>
                  <a:pt x="3816" y="1010"/>
                </a:lnTo>
                <a:lnTo>
                  <a:pt x="3816" y="1010"/>
                </a:lnTo>
                <a:lnTo>
                  <a:pt x="3814" y="990"/>
                </a:lnTo>
                <a:lnTo>
                  <a:pt x="3814" y="990"/>
                </a:lnTo>
                <a:lnTo>
                  <a:pt x="3810" y="992"/>
                </a:lnTo>
                <a:lnTo>
                  <a:pt x="3804" y="994"/>
                </a:lnTo>
                <a:lnTo>
                  <a:pt x="3804" y="994"/>
                </a:lnTo>
                <a:lnTo>
                  <a:pt x="3802" y="994"/>
                </a:lnTo>
                <a:lnTo>
                  <a:pt x="3802" y="994"/>
                </a:lnTo>
                <a:lnTo>
                  <a:pt x="3804" y="1004"/>
                </a:lnTo>
                <a:lnTo>
                  <a:pt x="3804" y="1004"/>
                </a:lnTo>
                <a:lnTo>
                  <a:pt x="3814" y="1012"/>
                </a:lnTo>
                <a:lnTo>
                  <a:pt x="3814" y="1012"/>
                </a:lnTo>
                <a:lnTo>
                  <a:pt x="3804" y="1012"/>
                </a:lnTo>
                <a:lnTo>
                  <a:pt x="3804" y="1012"/>
                </a:lnTo>
                <a:lnTo>
                  <a:pt x="3808" y="1030"/>
                </a:lnTo>
                <a:lnTo>
                  <a:pt x="3812" y="1034"/>
                </a:lnTo>
                <a:lnTo>
                  <a:pt x="3814" y="1038"/>
                </a:lnTo>
                <a:lnTo>
                  <a:pt x="3814" y="1038"/>
                </a:lnTo>
                <a:lnTo>
                  <a:pt x="3816" y="1030"/>
                </a:lnTo>
                <a:lnTo>
                  <a:pt x="3816" y="1030"/>
                </a:lnTo>
                <a:lnTo>
                  <a:pt x="3822" y="1030"/>
                </a:lnTo>
                <a:lnTo>
                  <a:pt x="3822" y="1030"/>
                </a:lnTo>
                <a:lnTo>
                  <a:pt x="3828" y="1030"/>
                </a:lnTo>
                <a:lnTo>
                  <a:pt x="3832" y="1030"/>
                </a:lnTo>
                <a:lnTo>
                  <a:pt x="3832" y="1030"/>
                </a:lnTo>
                <a:lnTo>
                  <a:pt x="3838" y="1036"/>
                </a:lnTo>
                <a:lnTo>
                  <a:pt x="3848" y="1038"/>
                </a:lnTo>
                <a:lnTo>
                  <a:pt x="3864" y="1036"/>
                </a:lnTo>
                <a:lnTo>
                  <a:pt x="3864" y="1036"/>
                </a:lnTo>
                <a:lnTo>
                  <a:pt x="3874" y="1036"/>
                </a:lnTo>
                <a:lnTo>
                  <a:pt x="3884" y="1038"/>
                </a:lnTo>
                <a:lnTo>
                  <a:pt x="3884" y="1038"/>
                </a:lnTo>
                <a:lnTo>
                  <a:pt x="3886" y="1044"/>
                </a:lnTo>
                <a:lnTo>
                  <a:pt x="3888" y="1048"/>
                </a:lnTo>
                <a:lnTo>
                  <a:pt x="3894" y="1052"/>
                </a:lnTo>
                <a:lnTo>
                  <a:pt x="3902" y="1054"/>
                </a:lnTo>
                <a:lnTo>
                  <a:pt x="3902" y="1054"/>
                </a:lnTo>
                <a:lnTo>
                  <a:pt x="3896" y="1042"/>
                </a:lnTo>
                <a:lnTo>
                  <a:pt x="3896" y="1042"/>
                </a:lnTo>
                <a:lnTo>
                  <a:pt x="3932" y="1040"/>
                </a:lnTo>
                <a:lnTo>
                  <a:pt x="3932" y="1040"/>
                </a:lnTo>
                <a:lnTo>
                  <a:pt x="3940" y="1040"/>
                </a:lnTo>
                <a:lnTo>
                  <a:pt x="3948" y="1034"/>
                </a:lnTo>
                <a:lnTo>
                  <a:pt x="3948" y="1034"/>
                </a:lnTo>
                <a:lnTo>
                  <a:pt x="3948" y="1034"/>
                </a:lnTo>
                <a:lnTo>
                  <a:pt x="3936" y="1028"/>
                </a:lnTo>
                <a:lnTo>
                  <a:pt x="3928" y="1028"/>
                </a:lnTo>
                <a:lnTo>
                  <a:pt x="3920" y="1028"/>
                </a:lnTo>
                <a:lnTo>
                  <a:pt x="3920" y="1028"/>
                </a:lnTo>
                <a:lnTo>
                  <a:pt x="3912" y="1028"/>
                </a:lnTo>
                <a:lnTo>
                  <a:pt x="3904" y="1026"/>
                </a:lnTo>
                <a:lnTo>
                  <a:pt x="3904" y="1026"/>
                </a:lnTo>
                <a:lnTo>
                  <a:pt x="3898" y="1024"/>
                </a:lnTo>
                <a:lnTo>
                  <a:pt x="3898" y="1024"/>
                </a:lnTo>
                <a:lnTo>
                  <a:pt x="3902" y="1020"/>
                </a:lnTo>
                <a:lnTo>
                  <a:pt x="3902" y="1020"/>
                </a:lnTo>
                <a:lnTo>
                  <a:pt x="3914" y="1018"/>
                </a:lnTo>
                <a:lnTo>
                  <a:pt x="3914" y="1018"/>
                </a:lnTo>
                <a:lnTo>
                  <a:pt x="3926" y="1012"/>
                </a:lnTo>
                <a:lnTo>
                  <a:pt x="3926" y="1012"/>
                </a:lnTo>
                <a:lnTo>
                  <a:pt x="3924" y="1002"/>
                </a:lnTo>
                <a:lnTo>
                  <a:pt x="3924" y="1002"/>
                </a:lnTo>
                <a:lnTo>
                  <a:pt x="3922" y="1002"/>
                </a:lnTo>
                <a:lnTo>
                  <a:pt x="3916" y="1000"/>
                </a:lnTo>
                <a:lnTo>
                  <a:pt x="3914" y="998"/>
                </a:lnTo>
                <a:lnTo>
                  <a:pt x="3914" y="994"/>
                </a:lnTo>
                <a:lnTo>
                  <a:pt x="3914" y="994"/>
                </a:lnTo>
                <a:lnTo>
                  <a:pt x="3922" y="992"/>
                </a:lnTo>
                <a:lnTo>
                  <a:pt x="3924" y="990"/>
                </a:lnTo>
                <a:lnTo>
                  <a:pt x="3924" y="986"/>
                </a:lnTo>
                <a:lnTo>
                  <a:pt x="3924" y="986"/>
                </a:lnTo>
                <a:lnTo>
                  <a:pt x="3914" y="982"/>
                </a:lnTo>
                <a:lnTo>
                  <a:pt x="3914" y="982"/>
                </a:lnTo>
                <a:lnTo>
                  <a:pt x="3924" y="976"/>
                </a:lnTo>
                <a:lnTo>
                  <a:pt x="3934" y="976"/>
                </a:lnTo>
                <a:lnTo>
                  <a:pt x="3934" y="976"/>
                </a:lnTo>
                <a:lnTo>
                  <a:pt x="3942" y="964"/>
                </a:lnTo>
                <a:lnTo>
                  <a:pt x="3942" y="964"/>
                </a:lnTo>
                <a:lnTo>
                  <a:pt x="3926" y="958"/>
                </a:lnTo>
                <a:lnTo>
                  <a:pt x="3926" y="958"/>
                </a:lnTo>
                <a:lnTo>
                  <a:pt x="3924" y="956"/>
                </a:lnTo>
                <a:lnTo>
                  <a:pt x="3924" y="954"/>
                </a:lnTo>
                <a:lnTo>
                  <a:pt x="3924" y="954"/>
                </a:lnTo>
                <a:lnTo>
                  <a:pt x="3930" y="952"/>
                </a:lnTo>
                <a:lnTo>
                  <a:pt x="3930" y="952"/>
                </a:lnTo>
                <a:lnTo>
                  <a:pt x="3970" y="950"/>
                </a:lnTo>
                <a:lnTo>
                  <a:pt x="3970" y="950"/>
                </a:lnTo>
                <a:lnTo>
                  <a:pt x="3966" y="946"/>
                </a:lnTo>
                <a:lnTo>
                  <a:pt x="3966" y="942"/>
                </a:lnTo>
                <a:lnTo>
                  <a:pt x="3966" y="936"/>
                </a:lnTo>
                <a:lnTo>
                  <a:pt x="3964" y="932"/>
                </a:lnTo>
                <a:lnTo>
                  <a:pt x="3964" y="932"/>
                </a:lnTo>
                <a:lnTo>
                  <a:pt x="3970" y="930"/>
                </a:lnTo>
                <a:lnTo>
                  <a:pt x="3976" y="928"/>
                </a:lnTo>
                <a:lnTo>
                  <a:pt x="3988" y="930"/>
                </a:lnTo>
                <a:lnTo>
                  <a:pt x="3988" y="930"/>
                </a:lnTo>
                <a:lnTo>
                  <a:pt x="4006" y="934"/>
                </a:lnTo>
                <a:lnTo>
                  <a:pt x="4006" y="934"/>
                </a:lnTo>
                <a:lnTo>
                  <a:pt x="4014" y="936"/>
                </a:lnTo>
                <a:lnTo>
                  <a:pt x="4024" y="934"/>
                </a:lnTo>
                <a:lnTo>
                  <a:pt x="4024" y="934"/>
                </a:lnTo>
                <a:lnTo>
                  <a:pt x="4018" y="922"/>
                </a:lnTo>
                <a:lnTo>
                  <a:pt x="4018" y="922"/>
                </a:lnTo>
                <a:lnTo>
                  <a:pt x="4022" y="922"/>
                </a:lnTo>
                <a:lnTo>
                  <a:pt x="4022" y="922"/>
                </a:lnTo>
                <a:lnTo>
                  <a:pt x="4034" y="920"/>
                </a:lnTo>
                <a:lnTo>
                  <a:pt x="4044" y="918"/>
                </a:lnTo>
                <a:lnTo>
                  <a:pt x="4044" y="918"/>
                </a:lnTo>
                <a:lnTo>
                  <a:pt x="4056" y="914"/>
                </a:lnTo>
                <a:lnTo>
                  <a:pt x="4066" y="914"/>
                </a:lnTo>
                <a:lnTo>
                  <a:pt x="4066" y="914"/>
                </a:lnTo>
                <a:lnTo>
                  <a:pt x="4076" y="914"/>
                </a:lnTo>
                <a:lnTo>
                  <a:pt x="4084" y="914"/>
                </a:lnTo>
                <a:lnTo>
                  <a:pt x="4094" y="914"/>
                </a:lnTo>
                <a:lnTo>
                  <a:pt x="4102" y="918"/>
                </a:lnTo>
                <a:lnTo>
                  <a:pt x="4102" y="918"/>
                </a:lnTo>
                <a:lnTo>
                  <a:pt x="4106" y="918"/>
                </a:lnTo>
                <a:lnTo>
                  <a:pt x="4106" y="918"/>
                </a:lnTo>
                <a:lnTo>
                  <a:pt x="4112" y="916"/>
                </a:lnTo>
                <a:lnTo>
                  <a:pt x="4118" y="918"/>
                </a:lnTo>
                <a:lnTo>
                  <a:pt x="4126" y="922"/>
                </a:lnTo>
                <a:lnTo>
                  <a:pt x="4126" y="922"/>
                </a:lnTo>
                <a:lnTo>
                  <a:pt x="4126" y="924"/>
                </a:lnTo>
                <a:lnTo>
                  <a:pt x="4126" y="924"/>
                </a:lnTo>
                <a:lnTo>
                  <a:pt x="4126" y="928"/>
                </a:lnTo>
                <a:lnTo>
                  <a:pt x="4126" y="928"/>
                </a:lnTo>
                <a:lnTo>
                  <a:pt x="4134" y="930"/>
                </a:lnTo>
                <a:lnTo>
                  <a:pt x="4134" y="930"/>
                </a:lnTo>
                <a:lnTo>
                  <a:pt x="4146" y="926"/>
                </a:lnTo>
                <a:lnTo>
                  <a:pt x="4146" y="926"/>
                </a:lnTo>
                <a:lnTo>
                  <a:pt x="4158" y="926"/>
                </a:lnTo>
                <a:lnTo>
                  <a:pt x="4164" y="926"/>
                </a:lnTo>
                <a:lnTo>
                  <a:pt x="4170" y="928"/>
                </a:lnTo>
                <a:lnTo>
                  <a:pt x="4170" y="928"/>
                </a:lnTo>
                <a:lnTo>
                  <a:pt x="4180" y="932"/>
                </a:lnTo>
                <a:lnTo>
                  <a:pt x="4190" y="934"/>
                </a:lnTo>
                <a:lnTo>
                  <a:pt x="4190" y="934"/>
                </a:lnTo>
                <a:lnTo>
                  <a:pt x="4214" y="934"/>
                </a:lnTo>
                <a:lnTo>
                  <a:pt x="4214" y="934"/>
                </a:lnTo>
                <a:lnTo>
                  <a:pt x="4226" y="936"/>
                </a:lnTo>
                <a:lnTo>
                  <a:pt x="4230" y="938"/>
                </a:lnTo>
                <a:lnTo>
                  <a:pt x="4234" y="942"/>
                </a:lnTo>
                <a:lnTo>
                  <a:pt x="4234" y="942"/>
                </a:lnTo>
                <a:lnTo>
                  <a:pt x="4242" y="950"/>
                </a:lnTo>
                <a:lnTo>
                  <a:pt x="4242" y="950"/>
                </a:lnTo>
                <a:lnTo>
                  <a:pt x="4258" y="942"/>
                </a:lnTo>
                <a:lnTo>
                  <a:pt x="4258" y="942"/>
                </a:lnTo>
                <a:lnTo>
                  <a:pt x="4258" y="946"/>
                </a:lnTo>
                <a:lnTo>
                  <a:pt x="4258" y="946"/>
                </a:lnTo>
                <a:lnTo>
                  <a:pt x="4262" y="948"/>
                </a:lnTo>
                <a:lnTo>
                  <a:pt x="4266" y="950"/>
                </a:lnTo>
                <a:lnTo>
                  <a:pt x="4270" y="956"/>
                </a:lnTo>
                <a:lnTo>
                  <a:pt x="4270" y="956"/>
                </a:lnTo>
                <a:lnTo>
                  <a:pt x="4278" y="956"/>
                </a:lnTo>
                <a:lnTo>
                  <a:pt x="4282" y="954"/>
                </a:lnTo>
                <a:lnTo>
                  <a:pt x="4286" y="952"/>
                </a:lnTo>
                <a:lnTo>
                  <a:pt x="4286" y="952"/>
                </a:lnTo>
                <a:lnTo>
                  <a:pt x="4292" y="950"/>
                </a:lnTo>
                <a:lnTo>
                  <a:pt x="4292" y="950"/>
                </a:lnTo>
                <a:lnTo>
                  <a:pt x="4296" y="956"/>
                </a:lnTo>
                <a:lnTo>
                  <a:pt x="4300" y="960"/>
                </a:lnTo>
                <a:lnTo>
                  <a:pt x="4306" y="966"/>
                </a:lnTo>
                <a:lnTo>
                  <a:pt x="4314" y="968"/>
                </a:lnTo>
                <a:lnTo>
                  <a:pt x="4314" y="968"/>
                </a:lnTo>
                <a:lnTo>
                  <a:pt x="4306" y="978"/>
                </a:lnTo>
                <a:lnTo>
                  <a:pt x="4306" y="978"/>
                </a:lnTo>
                <a:lnTo>
                  <a:pt x="4320" y="980"/>
                </a:lnTo>
                <a:lnTo>
                  <a:pt x="4320" y="980"/>
                </a:lnTo>
                <a:lnTo>
                  <a:pt x="4328" y="982"/>
                </a:lnTo>
                <a:lnTo>
                  <a:pt x="4330" y="984"/>
                </a:lnTo>
                <a:lnTo>
                  <a:pt x="4332" y="986"/>
                </a:lnTo>
                <a:lnTo>
                  <a:pt x="4332" y="986"/>
                </a:lnTo>
                <a:lnTo>
                  <a:pt x="4336" y="998"/>
                </a:lnTo>
                <a:lnTo>
                  <a:pt x="4336" y="998"/>
                </a:lnTo>
                <a:lnTo>
                  <a:pt x="4328" y="1004"/>
                </a:lnTo>
                <a:lnTo>
                  <a:pt x="4328" y="1004"/>
                </a:lnTo>
                <a:lnTo>
                  <a:pt x="4334" y="1006"/>
                </a:lnTo>
                <a:lnTo>
                  <a:pt x="4334" y="1006"/>
                </a:lnTo>
                <a:lnTo>
                  <a:pt x="4334" y="1012"/>
                </a:lnTo>
                <a:lnTo>
                  <a:pt x="4338" y="1014"/>
                </a:lnTo>
                <a:lnTo>
                  <a:pt x="4348" y="1018"/>
                </a:lnTo>
                <a:lnTo>
                  <a:pt x="4348" y="1018"/>
                </a:lnTo>
                <a:lnTo>
                  <a:pt x="4354" y="1020"/>
                </a:lnTo>
                <a:lnTo>
                  <a:pt x="4356" y="1024"/>
                </a:lnTo>
                <a:lnTo>
                  <a:pt x="4358" y="1028"/>
                </a:lnTo>
                <a:lnTo>
                  <a:pt x="4358" y="1032"/>
                </a:lnTo>
                <a:lnTo>
                  <a:pt x="4358" y="1032"/>
                </a:lnTo>
                <a:lnTo>
                  <a:pt x="4360" y="1034"/>
                </a:lnTo>
                <a:lnTo>
                  <a:pt x="4362" y="1036"/>
                </a:lnTo>
                <a:lnTo>
                  <a:pt x="4362" y="1036"/>
                </a:lnTo>
                <a:lnTo>
                  <a:pt x="4364" y="1028"/>
                </a:lnTo>
                <a:lnTo>
                  <a:pt x="4368" y="1022"/>
                </a:lnTo>
                <a:lnTo>
                  <a:pt x="4368" y="1022"/>
                </a:lnTo>
                <a:lnTo>
                  <a:pt x="4374" y="1016"/>
                </a:lnTo>
                <a:lnTo>
                  <a:pt x="4382" y="1010"/>
                </a:lnTo>
                <a:lnTo>
                  <a:pt x="4382" y="1010"/>
                </a:lnTo>
                <a:lnTo>
                  <a:pt x="4374" y="1004"/>
                </a:lnTo>
                <a:lnTo>
                  <a:pt x="4372" y="1000"/>
                </a:lnTo>
                <a:lnTo>
                  <a:pt x="4372" y="996"/>
                </a:lnTo>
                <a:lnTo>
                  <a:pt x="4372" y="996"/>
                </a:lnTo>
                <a:lnTo>
                  <a:pt x="4370" y="994"/>
                </a:lnTo>
                <a:lnTo>
                  <a:pt x="4368" y="992"/>
                </a:lnTo>
                <a:lnTo>
                  <a:pt x="4372" y="988"/>
                </a:lnTo>
                <a:lnTo>
                  <a:pt x="4372" y="988"/>
                </a:lnTo>
                <a:lnTo>
                  <a:pt x="4370" y="986"/>
                </a:lnTo>
                <a:lnTo>
                  <a:pt x="4370" y="982"/>
                </a:lnTo>
                <a:lnTo>
                  <a:pt x="4370" y="978"/>
                </a:lnTo>
                <a:lnTo>
                  <a:pt x="4368" y="976"/>
                </a:lnTo>
                <a:lnTo>
                  <a:pt x="4368" y="976"/>
                </a:lnTo>
                <a:lnTo>
                  <a:pt x="4382" y="974"/>
                </a:lnTo>
                <a:lnTo>
                  <a:pt x="4382" y="974"/>
                </a:lnTo>
                <a:lnTo>
                  <a:pt x="4380" y="970"/>
                </a:lnTo>
                <a:lnTo>
                  <a:pt x="4380" y="968"/>
                </a:lnTo>
                <a:lnTo>
                  <a:pt x="4382" y="966"/>
                </a:lnTo>
                <a:lnTo>
                  <a:pt x="4386" y="964"/>
                </a:lnTo>
                <a:lnTo>
                  <a:pt x="4386" y="964"/>
                </a:lnTo>
                <a:lnTo>
                  <a:pt x="4388" y="962"/>
                </a:lnTo>
                <a:lnTo>
                  <a:pt x="4386" y="960"/>
                </a:lnTo>
                <a:lnTo>
                  <a:pt x="4382" y="958"/>
                </a:lnTo>
                <a:lnTo>
                  <a:pt x="4382" y="958"/>
                </a:lnTo>
                <a:lnTo>
                  <a:pt x="4378" y="956"/>
                </a:lnTo>
                <a:lnTo>
                  <a:pt x="4376" y="952"/>
                </a:lnTo>
                <a:lnTo>
                  <a:pt x="4378" y="950"/>
                </a:lnTo>
                <a:lnTo>
                  <a:pt x="4382" y="946"/>
                </a:lnTo>
                <a:lnTo>
                  <a:pt x="4382" y="946"/>
                </a:lnTo>
                <a:lnTo>
                  <a:pt x="4384" y="942"/>
                </a:lnTo>
                <a:lnTo>
                  <a:pt x="4384" y="942"/>
                </a:lnTo>
                <a:lnTo>
                  <a:pt x="4372" y="940"/>
                </a:lnTo>
                <a:lnTo>
                  <a:pt x="4372" y="940"/>
                </a:lnTo>
                <a:lnTo>
                  <a:pt x="4366" y="940"/>
                </a:lnTo>
                <a:lnTo>
                  <a:pt x="4364" y="938"/>
                </a:lnTo>
                <a:lnTo>
                  <a:pt x="4364" y="938"/>
                </a:lnTo>
                <a:lnTo>
                  <a:pt x="4362" y="934"/>
                </a:lnTo>
                <a:lnTo>
                  <a:pt x="4360" y="932"/>
                </a:lnTo>
                <a:lnTo>
                  <a:pt x="4352" y="926"/>
                </a:lnTo>
                <a:lnTo>
                  <a:pt x="4352" y="926"/>
                </a:lnTo>
                <a:lnTo>
                  <a:pt x="4348" y="920"/>
                </a:lnTo>
                <a:lnTo>
                  <a:pt x="4348" y="920"/>
                </a:lnTo>
                <a:lnTo>
                  <a:pt x="4354" y="922"/>
                </a:lnTo>
                <a:lnTo>
                  <a:pt x="4354" y="922"/>
                </a:lnTo>
                <a:lnTo>
                  <a:pt x="4360" y="924"/>
                </a:lnTo>
                <a:lnTo>
                  <a:pt x="4364" y="924"/>
                </a:lnTo>
                <a:lnTo>
                  <a:pt x="4374" y="922"/>
                </a:lnTo>
                <a:lnTo>
                  <a:pt x="4374" y="922"/>
                </a:lnTo>
                <a:lnTo>
                  <a:pt x="4380" y="916"/>
                </a:lnTo>
                <a:lnTo>
                  <a:pt x="4380" y="916"/>
                </a:lnTo>
                <a:lnTo>
                  <a:pt x="4386" y="914"/>
                </a:lnTo>
                <a:lnTo>
                  <a:pt x="4388" y="910"/>
                </a:lnTo>
                <a:lnTo>
                  <a:pt x="4388" y="908"/>
                </a:lnTo>
                <a:lnTo>
                  <a:pt x="4386" y="904"/>
                </a:lnTo>
                <a:lnTo>
                  <a:pt x="4386" y="904"/>
                </a:lnTo>
                <a:lnTo>
                  <a:pt x="4388" y="900"/>
                </a:lnTo>
                <a:lnTo>
                  <a:pt x="4388" y="896"/>
                </a:lnTo>
                <a:lnTo>
                  <a:pt x="4386" y="894"/>
                </a:lnTo>
                <a:lnTo>
                  <a:pt x="4380" y="892"/>
                </a:lnTo>
                <a:lnTo>
                  <a:pt x="4380" y="892"/>
                </a:lnTo>
                <a:lnTo>
                  <a:pt x="4368" y="888"/>
                </a:lnTo>
                <a:lnTo>
                  <a:pt x="4368" y="888"/>
                </a:lnTo>
                <a:lnTo>
                  <a:pt x="4362" y="886"/>
                </a:lnTo>
                <a:lnTo>
                  <a:pt x="4364" y="884"/>
                </a:lnTo>
                <a:lnTo>
                  <a:pt x="4366" y="880"/>
                </a:lnTo>
                <a:lnTo>
                  <a:pt x="4366" y="880"/>
                </a:lnTo>
                <a:lnTo>
                  <a:pt x="4370" y="876"/>
                </a:lnTo>
                <a:lnTo>
                  <a:pt x="4378" y="872"/>
                </a:lnTo>
                <a:lnTo>
                  <a:pt x="4378" y="872"/>
                </a:lnTo>
                <a:lnTo>
                  <a:pt x="4382" y="870"/>
                </a:lnTo>
                <a:lnTo>
                  <a:pt x="4386" y="868"/>
                </a:lnTo>
                <a:lnTo>
                  <a:pt x="4386" y="868"/>
                </a:lnTo>
                <a:lnTo>
                  <a:pt x="4380" y="862"/>
                </a:lnTo>
                <a:lnTo>
                  <a:pt x="4380" y="862"/>
                </a:lnTo>
                <a:lnTo>
                  <a:pt x="4386" y="862"/>
                </a:lnTo>
                <a:lnTo>
                  <a:pt x="4392" y="864"/>
                </a:lnTo>
                <a:lnTo>
                  <a:pt x="4396" y="868"/>
                </a:lnTo>
                <a:lnTo>
                  <a:pt x="4402" y="870"/>
                </a:lnTo>
                <a:lnTo>
                  <a:pt x="4402" y="870"/>
                </a:lnTo>
                <a:lnTo>
                  <a:pt x="4418" y="882"/>
                </a:lnTo>
                <a:lnTo>
                  <a:pt x="4418" y="882"/>
                </a:lnTo>
                <a:lnTo>
                  <a:pt x="4444" y="880"/>
                </a:lnTo>
                <a:lnTo>
                  <a:pt x="4444" y="880"/>
                </a:lnTo>
                <a:lnTo>
                  <a:pt x="4450" y="884"/>
                </a:lnTo>
                <a:lnTo>
                  <a:pt x="4456" y="884"/>
                </a:lnTo>
                <a:lnTo>
                  <a:pt x="4458" y="884"/>
                </a:lnTo>
                <a:lnTo>
                  <a:pt x="4460" y="880"/>
                </a:lnTo>
                <a:lnTo>
                  <a:pt x="4460" y="880"/>
                </a:lnTo>
                <a:lnTo>
                  <a:pt x="4436" y="872"/>
                </a:lnTo>
                <a:lnTo>
                  <a:pt x="4436" y="872"/>
                </a:lnTo>
                <a:lnTo>
                  <a:pt x="4434" y="870"/>
                </a:lnTo>
                <a:lnTo>
                  <a:pt x="4436" y="868"/>
                </a:lnTo>
                <a:lnTo>
                  <a:pt x="4438" y="864"/>
                </a:lnTo>
                <a:lnTo>
                  <a:pt x="4444" y="862"/>
                </a:lnTo>
                <a:lnTo>
                  <a:pt x="4446" y="860"/>
                </a:lnTo>
                <a:lnTo>
                  <a:pt x="4446" y="860"/>
                </a:lnTo>
                <a:lnTo>
                  <a:pt x="4452" y="862"/>
                </a:lnTo>
                <a:lnTo>
                  <a:pt x="4452" y="862"/>
                </a:lnTo>
                <a:lnTo>
                  <a:pt x="4452" y="864"/>
                </a:lnTo>
                <a:lnTo>
                  <a:pt x="4450" y="868"/>
                </a:lnTo>
                <a:lnTo>
                  <a:pt x="4450" y="868"/>
                </a:lnTo>
                <a:lnTo>
                  <a:pt x="4464" y="870"/>
                </a:lnTo>
                <a:lnTo>
                  <a:pt x="4464" y="870"/>
                </a:lnTo>
                <a:lnTo>
                  <a:pt x="4464" y="872"/>
                </a:lnTo>
                <a:lnTo>
                  <a:pt x="4466" y="874"/>
                </a:lnTo>
                <a:lnTo>
                  <a:pt x="4466" y="874"/>
                </a:lnTo>
                <a:lnTo>
                  <a:pt x="4472" y="870"/>
                </a:lnTo>
                <a:lnTo>
                  <a:pt x="4486" y="860"/>
                </a:lnTo>
                <a:lnTo>
                  <a:pt x="4508" y="844"/>
                </a:lnTo>
                <a:lnTo>
                  <a:pt x="4508" y="844"/>
                </a:lnTo>
                <a:lnTo>
                  <a:pt x="4524" y="838"/>
                </a:lnTo>
                <a:lnTo>
                  <a:pt x="4524" y="838"/>
                </a:lnTo>
                <a:lnTo>
                  <a:pt x="4554" y="828"/>
                </a:lnTo>
                <a:lnTo>
                  <a:pt x="4554" y="828"/>
                </a:lnTo>
                <a:lnTo>
                  <a:pt x="4550" y="822"/>
                </a:lnTo>
                <a:lnTo>
                  <a:pt x="4550" y="822"/>
                </a:lnTo>
                <a:lnTo>
                  <a:pt x="4554" y="808"/>
                </a:lnTo>
                <a:lnTo>
                  <a:pt x="4562" y="784"/>
                </a:lnTo>
                <a:lnTo>
                  <a:pt x="4566" y="760"/>
                </a:lnTo>
                <a:lnTo>
                  <a:pt x="4566" y="752"/>
                </a:lnTo>
                <a:lnTo>
                  <a:pt x="4564" y="746"/>
                </a:lnTo>
                <a:lnTo>
                  <a:pt x="4564" y="746"/>
                </a:lnTo>
                <a:close/>
                <a:moveTo>
                  <a:pt x="3632" y="204"/>
                </a:moveTo>
                <a:lnTo>
                  <a:pt x="3632" y="204"/>
                </a:lnTo>
                <a:lnTo>
                  <a:pt x="3624" y="202"/>
                </a:lnTo>
                <a:lnTo>
                  <a:pt x="3624" y="202"/>
                </a:lnTo>
                <a:lnTo>
                  <a:pt x="3626" y="200"/>
                </a:lnTo>
                <a:lnTo>
                  <a:pt x="3632" y="198"/>
                </a:lnTo>
                <a:lnTo>
                  <a:pt x="3642" y="198"/>
                </a:lnTo>
                <a:lnTo>
                  <a:pt x="3642" y="198"/>
                </a:lnTo>
                <a:lnTo>
                  <a:pt x="3638" y="202"/>
                </a:lnTo>
                <a:lnTo>
                  <a:pt x="3632" y="204"/>
                </a:lnTo>
                <a:lnTo>
                  <a:pt x="3632" y="204"/>
                </a:lnTo>
                <a:close/>
                <a:moveTo>
                  <a:pt x="2520" y="96"/>
                </a:moveTo>
                <a:lnTo>
                  <a:pt x="2520" y="96"/>
                </a:lnTo>
                <a:lnTo>
                  <a:pt x="2524" y="88"/>
                </a:lnTo>
                <a:lnTo>
                  <a:pt x="2524" y="88"/>
                </a:lnTo>
                <a:lnTo>
                  <a:pt x="2524" y="88"/>
                </a:lnTo>
                <a:lnTo>
                  <a:pt x="2524" y="88"/>
                </a:lnTo>
                <a:lnTo>
                  <a:pt x="2522" y="96"/>
                </a:lnTo>
                <a:lnTo>
                  <a:pt x="2522" y="96"/>
                </a:lnTo>
                <a:lnTo>
                  <a:pt x="2518" y="96"/>
                </a:lnTo>
                <a:lnTo>
                  <a:pt x="2518" y="96"/>
                </a:lnTo>
                <a:lnTo>
                  <a:pt x="2520" y="96"/>
                </a:lnTo>
                <a:lnTo>
                  <a:pt x="2520" y="96"/>
                </a:lnTo>
                <a:close/>
                <a:moveTo>
                  <a:pt x="318" y="324"/>
                </a:moveTo>
                <a:lnTo>
                  <a:pt x="318" y="324"/>
                </a:lnTo>
                <a:lnTo>
                  <a:pt x="316" y="324"/>
                </a:lnTo>
                <a:lnTo>
                  <a:pt x="312" y="324"/>
                </a:lnTo>
                <a:lnTo>
                  <a:pt x="312" y="324"/>
                </a:lnTo>
                <a:lnTo>
                  <a:pt x="316" y="324"/>
                </a:lnTo>
                <a:lnTo>
                  <a:pt x="318" y="324"/>
                </a:lnTo>
                <a:lnTo>
                  <a:pt x="318" y="324"/>
                </a:lnTo>
                <a:lnTo>
                  <a:pt x="318" y="322"/>
                </a:lnTo>
                <a:lnTo>
                  <a:pt x="318" y="322"/>
                </a:lnTo>
                <a:lnTo>
                  <a:pt x="318" y="322"/>
                </a:lnTo>
                <a:lnTo>
                  <a:pt x="318" y="322"/>
                </a:lnTo>
                <a:lnTo>
                  <a:pt x="318" y="324"/>
                </a:lnTo>
                <a:lnTo>
                  <a:pt x="318" y="324"/>
                </a:lnTo>
                <a:close/>
                <a:moveTo>
                  <a:pt x="104" y="888"/>
                </a:moveTo>
                <a:lnTo>
                  <a:pt x="104" y="888"/>
                </a:lnTo>
                <a:lnTo>
                  <a:pt x="108" y="888"/>
                </a:lnTo>
                <a:lnTo>
                  <a:pt x="110" y="886"/>
                </a:lnTo>
                <a:lnTo>
                  <a:pt x="110" y="886"/>
                </a:lnTo>
                <a:lnTo>
                  <a:pt x="106" y="884"/>
                </a:lnTo>
                <a:lnTo>
                  <a:pt x="106" y="884"/>
                </a:lnTo>
                <a:lnTo>
                  <a:pt x="110" y="886"/>
                </a:lnTo>
                <a:lnTo>
                  <a:pt x="110" y="886"/>
                </a:lnTo>
                <a:lnTo>
                  <a:pt x="108" y="888"/>
                </a:lnTo>
                <a:lnTo>
                  <a:pt x="104" y="888"/>
                </a:lnTo>
                <a:lnTo>
                  <a:pt x="104" y="888"/>
                </a:lnTo>
                <a:close/>
                <a:moveTo>
                  <a:pt x="124" y="884"/>
                </a:moveTo>
                <a:lnTo>
                  <a:pt x="124" y="884"/>
                </a:lnTo>
                <a:lnTo>
                  <a:pt x="124" y="884"/>
                </a:lnTo>
                <a:lnTo>
                  <a:pt x="124" y="884"/>
                </a:lnTo>
                <a:lnTo>
                  <a:pt x="130" y="882"/>
                </a:lnTo>
                <a:lnTo>
                  <a:pt x="130" y="882"/>
                </a:lnTo>
                <a:lnTo>
                  <a:pt x="130" y="880"/>
                </a:lnTo>
                <a:lnTo>
                  <a:pt x="130" y="880"/>
                </a:lnTo>
                <a:lnTo>
                  <a:pt x="130" y="880"/>
                </a:lnTo>
                <a:lnTo>
                  <a:pt x="130" y="880"/>
                </a:lnTo>
                <a:lnTo>
                  <a:pt x="130" y="882"/>
                </a:lnTo>
                <a:lnTo>
                  <a:pt x="130" y="882"/>
                </a:lnTo>
                <a:lnTo>
                  <a:pt x="124" y="884"/>
                </a:lnTo>
                <a:lnTo>
                  <a:pt x="124" y="884"/>
                </a:lnTo>
                <a:close/>
                <a:moveTo>
                  <a:pt x="562" y="334"/>
                </a:moveTo>
                <a:lnTo>
                  <a:pt x="562" y="334"/>
                </a:lnTo>
                <a:lnTo>
                  <a:pt x="562" y="334"/>
                </a:lnTo>
                <a:lnTo>
                  <a:pt x="562" y="334"/>
                </a:lnTo>
                <a:lnTo>
                  <a:pt x="566" y="336"/>
                </a:lnTo>
                <a:lnTo>
                  <a:pt x="566" y="336"/>
                </a:lnTo>
                <a:lnTo>
                  <a:pt x="562" y="338"/>
                </a:lnTo>
                <a:lnTo>
                  <a:pt x="562" y="338"/>
                </a:lnTo>
                <a:lnTo>
                  <a:pt x="562" y="338"/>
                </a:lnTo>
                <a:lnTo>
                  <a:pt x="562" y="338"/>
                </a:lnTo>
                <a:lnTo>
                  <a:pt x="566" y="336"/>
                </a:lnTo>
                <a:lnTo>
                  <a:pt x="566" y="336"/>
                </a:lnTo>
                <a:lnTo>
                  <a:pt x="562" y="334"/>
                </a:lnTo>
                <a:lnTo>
                  <a:pt x="562" y="334"/>
                </a:lnTo>
                <a:close/>
                <a:moveTo>
                  <a:pt x="560" y="948"/>
                </a:moveTo>
                <a:lnTo>
                  <a:pt x="560" y="948"/>
                </a:lnTo>
                <a:lnTo>
                  <a:pt x="562" y="948"/>
                </a:lnTo>
                <a:lnTo>
                  <a:pt x="562" y="948"/>
                </a:lnTo>
                <a:lnTo>
                  <a:pt x="562" y="948"/>
                </a:lnTo>
                <a:lnTo>
                  <a:pt x="562" y="948"/>
                </a:lnTo>
                <a:lnTo>
                  <a:pt x="556" y="950"/>
                </a:lnTo>
                <a:lnTo>
                  <a:pt x="556" y="950"/>
                </a:lnTo>
                <a:lnTo>
                  <a:pt x="556" y="950"/>
                </a:lnTo>
                <a:lnTo>
                  <a:pt x="556" y="950"/>
                </a:lnTo>
                <a:lnTo>
                  <a:pt x="562" y="948"/>
                </a:lnTo>
                <a:lnTo>
                  <a:pt x="562" y="948"/>
                </a:lnTo>
                <a:lnTo>
                  <a:pt x="560" y="948"/>
                </a:lnTo>
                <a:lnTo>
                  <a:pt x="560" y="948"/>
                </a:lnTo>
                <a:close/>
                <a:moveTo>
                  <a:pt x="554" y="932"/>
                </a:moveTo>
                <a:lnTo>
                  <a:pt x="554" y="932"/>
                </a:lnTo>
                <a:lnTo>
                  <a:pt x="554" y="932"/>
                </a:lnTo>
                <a:lnTo>
                  <a:pt x="554" y="932"/>
                </a:lnTo>
                <a:lnTo>
                  <a:pt x="556" y="936"/>
                </a:lnTo>
                <a:lnTo>
                  <a:pt x="556" y="936"/>
                </a:lnTo>
                <a:lnTo>
                  <a:pt x="550" y="936"/>
                </a:lnTo>
                <a:lnTo>
                  <a:pt x="550" y="936"/>
                </a:lnTo>
                <a:lnTo>
                  <a:pt x="550" y="936"/>
                </a:lnTo>
                <a:lnTo>
                  <a:pt x="550" y="936"/>
                </a:lnTo>
                <a:lnTo>
                  <a:pt x="554" y="936"/>
                </a:lnTo>
                <a:lnTo>
                  <a:pt x="554" y="936"/>
                </a:lnTo>
                <a:lnTo>
                  <a:pt x="554" y="932"/>
                </a:lnTo>
                <a:lnTo>
                  <a:pt x="554" y="932"/>
                </a:lnTo>
                <a:close/>
                <a:moveTo>
                  <a:pt x="492" y="912"/>
                </a:moveTo>
                <a:lnTo>
                  <a:pt x="492" y="912"/>
                </a:lnTo>
                <a:lnTo>
                  <a:pt x="492" y="910"/>
                </a:lnTo>
                <a:lnTo>
                  <a:pt x="492" y="910"/>
                </a:lnTo>
                <a:lnTo>
                  <a:pt x="492" y="910"/>
                </a:lnTo>
                <a:lnTo>
                  <a:pt x="492" y="910"/>
                </a:lnTo>
                <a:lnTo>
                  <a:pt x="492" y="912"/>
                </a:lnTo>
                <a:lnTo>
                  <a:pt x="492" y="912"/>
                </a:lnTo>
                <a:lnTo>
                  <a:pt x="490" y="912"/>
                </a:lnTo>
                <a:lnTo>
                  <a:pt x="490" y="912"/>
                </a:lnTo>
                <a:lnTo>
                  <a:pt x="490" y="912"/>
                </a:lnTo>
                <a:lnTo>
                  <a:pt x="490" y="912"/>
                </a:lnTo>
                <a:lnTo>
                  <a:pt x="492" y="912"/>
                </a:lnTo>
                <a:lnTo>
                  <a:pt x="492" y="912"/>
                </a:lnTo>
                <a:close/>
                <a:moveTo>
                  <a:pt x="484" y="920"/>
                </a:moveTo>
                <a:lnTo>
                  <a:pt x="484" y="920"/>
                </a:lnTo>
                <a:lnTo>
                  <a:pt x="500" y="926"/>
                </a:lnTo>
                <a:lnTo>
                  <a:pt x="500" y="926"/>
                </a:lnTo>
                <a:lnTo>
                  <a:pt x="500" y="926"/>
                </a:lnTo>
                <a:lnTo>
                  <a:pt x="500" y="926"/>
                </a:lnTo>
                <a:lnTo>
                  <a:pt x="484" y="920"/>
                </a:lnTo>
                <a:lnTo>
                  <a:pt x="484" y="920"/>
                </a:lnTo>
                <a:lnTo>
                  <a:pt x="476" y="922"/>
                </a:lnTo>
                <a:lnTo>
                  <a:pt x="472" y="924"/>
                </a:lnTo>
                <a:lnTo>
                  <a:pt x="468" y="928"/>
                </a:lnTo>
                <a:lnTo>
                  <a:pt x="468" y="928"/>
                </a:lnTo>
                <a:lnTo>
                  <a:pt x="468" y="928"/>
                </a:lnTo>
                <a:lnTo>
                  <a:pt x="472" y="924"/>
                </a:lnTo>
                <a:lnTo>
                  <a:pt x="476" y="922"/>
                </a:lnTo>
                <a:lnTo>
                  <a:pt x="484" y="920"/>
                </a:lnTo>
                <a:lnTo>
                  <a:pt x="484" y="920"/>
                </a:lnTo>
                <a:close/>
                <a:moveTo>
                  <a:pt x="466" y="814"/>
                </a:moveTo>
                <a:lnTo>
                  <a:pt x="466" y="814"/>
                </a:lnTo>
                <a:lnTo>
                  <a:pt x="466" y="814"/>
                </a:lnTo>
                <a:lnTo>
                  <a:pt x="466" y="814"/>
                </a:lnTo>
                <a:lnTo>
                  <a:pt x="466" y="814"/>
                </a:lnTo>
                <a:lnTo>
                  <a:pt x="466" y="814"/>
                </a:lnTo>
                <a:lnTo>
                  <a:pt x="466" y="814"/>
                </a:lnTo>
                <a:lnTo>
                  <a:pt x="466" y="814"/>
                </a:lnTo>
                <a:lnTo>
                  <a:pt x="460" y="814"/>
                </a:lnTo>
                <a:lnTo>
                  <a:pt x="460" y="814"/>
                </a:lnTo>
                <a:lnTo>
                  <a:pt x="460" y="814"/>
                </a:lnTo>
                <a:lnTo>
                  <a:pt x="460" y="814"/>
                </a:lnTo>
                <a:lnTo>
                  <a:pt x="466" y="814"/>
                </a:lnTo>
                <a:lnTo>
                  <a:pt x="466" y="814"/>
                </a:lnTo>
                <a:close/>
                <a:moveTo>
                  <a:pt x="454" y="864"/>
                </a:moveTo>
                <a:lnTo>
                  <a:pt x="454" y="864"/>
                </a:lnTo>
                <a:lnTo>
                  <a:pt x="466" y="858"/>
                </a:lnTo>
                <a:lnTo>
                  <a:pt x="466" y="858"/>
                </a:lnTo>
                <a:lnTo>
                  <a:pt x="466" y="858"/>
                </a:lnTo>
                <a:lnTo>
                  <a:pt x="466" y="858"/>
                </a:lnTo>
                <a:lnTo>
                  <a:pt x="454" y="864"/>
                </a:lnTo>
                <a:lnTo>
                  <a:pt x="454" y="864"/>
                </a:lnTo>
                <a:lnTo>
                  <a:pt x="454" y="864"/>
                </a:lnTo>
                <a:lnTo>
                  <a:pt x="454" y="864"/>
                </a:lnTo>
                <a:close/>
                <a:moveTo>
                  <a:pt x="464" y="922"/>
                </a:moveTo>
                <a:lnTo>
                  <a:pt x="464" y="922"/>
                </a:lnTo>
                <a:lnTo>
                  <a:pt x="458" y="924"/>
                </a:lnTo>
                <a:lnTo>
                  <a:pt x="456" y="924"/>
                </a:lnTo>
                <a:lnTo>
                  <a:pt x="456" y="924"/>
                </a:lnTo>
                <a:lnTo>
                  <a:pt x="458" y="924"/>
                </a:lnTo>
                <a:lnTo>
                  <a:pt x="464" y="922"/>
                </a:lnTo>
                <a:lnTo>
                  <a:pt x="464" y="922"/>
                </a:lnTo>
                <a:lnTo>
                  <a:pt x="464" y="922"/>
                </a:lnTo>
                <a:lnTo>
                  <a:pt x="464" y="922"/>
                </a:lnTo>
                <a:close/>
                <a:moveTo>
                  <a:pt x="448" y="912"/>
                </a:moveTo>
                <a:lnTo>
                  <a:pt x="448" y="912"/>
                </a:lnTo>
                <a:lnTo>
                  <a:pt x="450" y="912"/>
                </a:lnTo>
                <a:lnTo>
                  <a:pt x="450" y="912"/>
                </a:lnTo>
                <a:lnTo>
                  <a:pt x="454" y="910"/>
                </a:lnTo>
                <a:lnTo>
                  <a:pt x="454" y="910"/>
                </a:lnTo>
                <a:lnTo>
                  <a:pt x="454" y="906"/>
                </a:lnTo>
                <a:lnTo>
                  <a:pt x="454" y="906"/>
                </a:lnTo>
                <a:lnTo>
                  <a:pt x="454" y="906"/>
                </a:lnTo>
                <a:lnTo>
                  <a:pt x="454" y="906"/>
                </a:lnTo>
                <a:lnTo>
                  <a:pt x="454" y="910"/>
                </a:lnTo>
                <a:lnTo>
                  <a:pt x="454" y="912"/>
                </a:lnTo>
                <a:lnTo>
                  <a:pt x="450" y="912"/>
                </a:lnTo>
                <a:lnTo>
                  <a:pt x="450" y="912"/>
                </a:lnTo>
                <a:lnTo>
                  <a:pt x="448" y="912"/>
                </a:lnTo>
                <a:lnTo>
                  <a:pt x="448" y="912"/>
                </a:lnTo>
                <a:lnTo>
                  <a:pt x="448" y="912"/>
                </a:lnTo>
                <a:lnTo>
                  <a:pt x="448" y="912"/>
                </a:lnTo>
                <a:close/>
                <a:moveTo>
                  <a:pt x="440" y="870"/>
                </a:moveTo>
                <a:lnTo>
                  <a:pt x="440" y="870"/>
                </a:lnTo>
                <a:lnTo>
                  <a:pt x="442" y="870"/>
                </a:lnTo>
                <a:lnTo>
                  <a:pt x="442" y="870"/>
                </a:lnTo>
                <a:lnTo>
                  <a:pt x="446" y="874"/>
                </a:lnTo>
                <a:lnTo>
                  <a:pt x="446" y="874"/>
                </a:lnTo>
                <a:lnTo>
                  <a:pt x="446" y="874"/>
                </a:lnTo>
                <a:lnTo>
                  <a:pt x="446" y="874"/>
                </a:lnTo>
                <a:lnTo>
                  <a:pt x="442" y="870"/>
                </a:lnTo>
                <a:lnTo>
                  <a:pt x="442" y="870"/>
                </a:lnTo>
                <a:lnTo>
                  <a:pt x="440" y="870"/>
                </a:lnTo>
                <a:lnTo>
                  <a:pt x="440" y="870"/>
                </a:lnTo>
                <a:lnTo>
                  <a:pt x="440" y="870"/>
                </a:lnTo>
                <a:lnTo>
                  <a:pt x="440" y="870"/>
                </a:lnTo>
                <a:close/>
                <a:moveTo>
                  <a:pt x="438" y="928"/>
                </a:moveTo>
                <a:lnTo>
                  <a:pt x="438" y="928"/>
                </a:lnTo>
                <a:lnTo>
                  <a:pt x="438" y="928"/>
                </a:lnTo>
                <a:lnTo>
                  <a:pt x="438" y="928"/>
                </a:lnTo>
                <a:lnTo>
                  <a:pt x="438" y="930"/>
                </a:lnTo>
                <a:lnTo>
                  <a:pt x="438" y="930"/>
                </a:lnTo>
                <a:lnTo>
                  <a:pt x="438" y="930"/>
                </a:lnTo>
                <a:lnTo>
                  <a:pt x="438" y="930"/>
                </a:lnTo>
                <a:lnTo>
                  <a:pt x="438" y="928"/>
                </a:lnTo>
                <a:lnTo>
                  <a:pt x="438" y="928"/>
                </a:lnTo>
                <a:close/>
                <a:moveTo>
                  <a:pt x="438" y="884"/>
                </a:moveTo>
                <a:lnTo>
                  <a:pt x="438" y="884"/>
                </a:lnTo>
                <a:lnTo>
                  <a:pt x="438" y="882"/>
                </a:lnTo>
                <a:lnTo>
                  <a:pt x="438" y="882"/>
                </a:lnTo>
                <a:lnTo>
                  <a:pt x="438" y="884"/>
                </a:lnTo>
                <a:lnTo>
                  <a:pt x="438" y="884"/>
                </a:lnTo>
                <a:close/>
                <a:moveTo>
                  <a:pt x="442" y="914"/>
                </a:moveTo>
                <a:lnTo>
                  <a:pt x="442" y="914"/>
                </a:lnTo>
                <a:lnTo>
                  <a:pt x="444" y="916"/>
                </a:lnTo>
                <a:lnTo>
                  <a:pt x="444" y="916"/>
                </a:lnTo>
                <a:lnTo>
                  <a:pt x="440" y="918"/>
                </a:lnTo>
                <a:lnTo>
                  <a:pt x="440" y="918"/>
                </a:lnTo>
                <a:lnTo>
                  <a:pt x="440" y="918"/>
                </a:lnTo>
                <a:lnTo>
                  <a:pt x="440" y="918"/>
                </a:lnTo>
                <a:lnTo>
                  <a:pt x="444" y="916"/>
                </a:lnTo>
                <a:lnTo>
                  <a:pt x="444" y="916"/>
                </a:lnTo>
                <a:lnTo>
                  <a:pt x="442" y="914"/>
                </a:lnTo>
                <a:lnTo>
                  <a:pt x="442" y="914"/>
                </a:lnTo>
                <a:close/>
                <a:moveTo>
                  <a:pt x="440" y="880"/>
                </a:moveTo>
                <a:lnTo>
                  <a:pt x="440" y="880"/>
                </a:lnTo>
                <a:lnTo>
                  <a:pt x="442" y="878"/>
                </a:lnTo>
                <a:lnTo>
                  <a:pt x="442" y="878"/>
                </a:lnTo>
                <a:lnTo>
                  <a:pt x="440" y="880"/>
                </a:lnTo>
                <a:lnTo>
                  <a:pt x="440" y="880"/>
                </a:lnTo>
                <a:close/>
                <a:moveTo>
                  <a:pt x="442" y="878"/>
                </a:moveTo>
                <a:lnTo>
                  <a:pt x="442" y="878"/>
                </a:lnTo>
                <a:lnTo>
                  <a:pt x="444" y="878"/>
                </a:lnTo>
                <a:lnTo>
                  <a:pt x="444" y="878"/>
                </a:lnTo>
                <a:lnTo>
                  <a:pt x="444" y="878"/>
                </a:lnTo>
                <a:lnTo>
                  <a:pt x="444" y="878"/>
                </a:lnTo>
                <a:lnTo>
                  <a:pt x="442" y="878"/>
                </a:lnTo>
                <a:lnTo>
                  <a:pt x="442" y="878"/>
                </a:lnTo>
                <a:close/>
                <a:moveTo>
                  <a:pt x="438" y="858"/>
                </a:moveTo>
                <a:lnTo>
                  <a:pt x="438" y="858"/>
                </a:lnTo>
                <a:lnTo>
                  <a:pt x="438" y="858"/>
                </a:lnTo>
                <a:lnTo>
                  <a:pt x="438" y="858"/>
                </a:lnTo>
                <a:lnTo>
                  <a:pt x="438" y="854"/>
                </a:lnTo>
                <a:lnTo>
                  <a:pt x="436" y="854"/>
                </a:lnTo>
                <a:lnTo>
                  <a:pt x="436" y="854"/>
                </a:lnTo>
                <a:lnTo>
                  <a:pt x="438" y="854"/>
                </a:lnTo>
                <a:lnTo>
                  <a:pt x="438" y="858"/>
                </a:lnTo>
                <a:lnTo>
                  <a:pt x="438" y="858"/>
                </a:lnTo>
                <a:close/>
                <a:moveTo>
                  <a:pt x="422" y="940"/>
                </a:moveTo>
                <a:lnTo>
                  <a:pt x="422" y="940"/>
                </a:lnTo>
                <a:lnTo>
                  <a:pt x="424" y="940"/>
                </a:lnTo>
                <a:lnTo>
                  <a:pt x="424" y="940"/>
                </a:lnTo>
                <a:lnTo>
                  <a:pt x="430" y="910"/>
                </a:lnTo>
                <a:lnTo>
                  <a:pt x="438" y="884"/>
                </a:lnTo>
                <a:lnTo>
                  <a:pt x="438" y="884"/>
                </a:lnTo>
                <a:lnTo>
                  <a:pt x="430" y="910"/>
                </a:lnTo>
                <a:lnTo>
                  <a:pt x="424" y="940"/>
                </a:lnTo>
                <a:lnTo>
                  <a:pt x="424" y="940"/>
                </a:lnTo>
                <a:lnTo>
                  <a:pt x="426" y="940"/>
                </a:lnTo>
                <a:lnTo>
                  <a:pt x="426" y="940"/>
                </a:lnTo>
                <a:lnTo>
                  <a:pt x="428" y="944"/>
                </a:lnTo>
                <a:lnTo>
                  <a:pt x="428" y="944"/>
                </a:lnTo>
                <a:lnTo>
                  <a:pt x="426" y="944"/>
                </a:lnTo>
                <a:lnTo>
                  <a:pt x="426" y="944"/>
                </a:lnTo>
                <a:lnTo>
                  <a:pt x="426" y="940"/>
                </a:lnTo>
                <a:lnTo>
                  <a:pt x="426" y="940"/>
                </a:lnTo>
                <a:lnTo>
                  <a:pt x="424" y="940"/>
                </a:lnTo>
                <a:lnTo>
                  <a:pt x="424" y="940"/>
                </a:lnTo>
                <a:lnTo>
                  <a:pt x="420" y="950"/>
                </a:lnTo>
                <a:lnTo>
                  <a:pt x="418" y="954"/>
                </a:lnTo>
                <a:lnTo>
                  <a:pt x="418" y="954"/>
                </a:lnTo>
                <a:lnTo>
                  <a:pt x="418" y="954"/>
                </a:lnTo>
                <a:lnTo>
                  <a:pt x="418" y="954"/>
                </a:lnTo>
                <a:lnTo>
                  <a:pt x="420" y="950"/>
                </a:lnTo>
                <a:lnTo>
                  <a:pt x="424" y="940"/>
                </a:lnTo>
                <a:lnTo>
                  <a:pt x="424" y="940"/>
                </a:lnTo>
                <a:lnTo>
                  <a:pt x="422" y="940"/>
                </a:lnTo>
                <a:lnTo>
                  <a:pt x="422" y="940"/>
                </a:lnTo>
                <a:lnTo>
                  <a:pt x="422" y="940"/>
                </a:lnTo>
                <a:lnTo>
                  <a:pt x="422" y="940"/>
                </a:lnTo>
                <a:close/>
                <a:moveTo>
                  <a:pt x="420" y="918"/>
                </a:moveTo>
                <a:lnTo>
                  <a:pt x="420" y="918"/>
                </a:lnTo>
                <a:lnTo>
                  <a:pt x="418" y="916"/>
                </a:lnTo>
                <a:lnTo>
                  <a:pt x="418" y="916"/>
                </a:lnTo>
                <a:lnTo>
                  <a:pt x="418" y="916"/>
                </a:lnTo>
                <a:lnTo>
                  <a:pt x="418" y="916"/>
                </a:lnTo>
                <a:lnTo>
                  <a:pt x="420" y="918"/>
                </a:lnTo>
                <a:lnTo>
                  <a:pt x="420" y="918"/>
                </a:lnTo>
                <a:lnTo>
                  <a:pt x="414" y="918"/>
                </a:lnTo>
                <a:lnTo>
                  <a:pt x="414" y="918"/>
                </a:lnTo>
                <a:lnTo>
                  <a:pt x="414" y="918"/>
                </a:lnTo>
                <a:lnTo>
                  <a:pt x="414" y="918"/>
                </a:lnTo>
                <a:lnTo>
                  <a:pt x="420" y="918"/>
                </a:lnTo>
                <a:lnTo>
                  <a:pt x="420" y="918"/>
                </a:lnTo>
                <a:close/>
                <a:moveTo>
                  <a:pt x="414" y="984"/>
                </a:moveTo>
                <a:lnTo>
                  <a:pt x="414" y="984"/>
                </a:lnTo>
                <a:lnTo>
                  <a:pt x="418" y="986"/>
                </a:lnTo>
                <a:lnTo>
                  <a:pt x="420" y="992"/>
                </a:lnTo>
                <a:lnTo>
                  <a:pt x="420" y="992"/>
                </a:lnTo>
                <a:lnTo>
                  <a:pt x="420" y="992"/>
                </a:lnTo>
                <a:lnTo>
                  <a:pt x="420" y="992"/>
                </a:lnTo>
                <a:lnTo>
                  <a:pt x="418" y="986"/>
                </a:lnTo>
                <a:lnTo>
                  <a:pt x="414" y="984"/>
                </a:lnTo>
                <a:lnTo>
                  <a:pt x="414" y="984"/>
                </a:lnTo>
                <a:lnTo>
                  <a:pt x="404" y="982"/>
                </a:lnTo>
                <a:lnTo>
                  <a:pt x="398" y="978"/>
                </a:lnTo>
                <a:lnTo>
                  <a:pt x="398" y="978"/>
                </a:lnTo>
                <a:lnTo>
                  <a:pt x="398" y="978"/>
                </a:lnTo>
                <a:lnTo>
                  <a:pt x="398" y="978"/>
                </a:lnTo>
                <a:lnTo>
                  <a:pt x="404" y="982"/>
                </a:lnTo>
                <a:lnTo>
                  <a:pt x="414" y="984"/>
                </a:lnTo>
                <a:lnTo>
                  <a:pt x="414" y="984"/>
                </a:lnTo>
                <a:close/>
                <a:moveTo>
                  <a:pt x="406" y="992"/>
                </a:moveTo>
                <a:lnTo>
                  <a:pt x="406" y="992"/>
                </a:lnTo>
                <a:lnTo>
                  <a:pt x="402" y="992"/>
                </a:lnTo>
                <a:lnTo>
                  <a:pt x="402" y="992"/>
                </a:lnTo>
                <a:lnTo>
                  <a:pt x="402" y="992"/>
                </a:lnTo>
                <a:lnTo>
                  <a:pt x="402" y="992"/>
                </a:lnTo>
                <a:lnTo>
                  <a:pt x="406" y="992"/>
                </a:lnTo>
                <a:lnTo>
                  <a:pt x="406" y="992"/>
                </a:lnTo>
                <a:close/>
                <a:moveTo>
                  <a:pt x="404" y="918"/>
                </a:moveTo>
                <a:lnTo>
                  <a:pt x="404" y="918"/>
                </a:lnTo>
                <a:lnTo>
                  <a:pt x="400" y="914"/>
                </a:lnTo>
                <a:lnTo>
                  <a:pt x="400" y="914"/>
                </a:lnTo>
                <a:lnTo>
                  <a:pt x="404" y="918"/>
                </a:lnTo>
                <a:lnTo>
                  <a:pt x="404" y="918"/>
                </a:lnTo>
                <a:lnTo>
                  <a:pt x="398" y="918"/>
                </a:lnTo>
                <a:lnTo>
                  <a:pt x="398" y="918"/>
                </a:lnTo>
                <a:lnTo>
                  <a:pt x="398" y="918"/>
                </a:lnTo>
                <a:lnTo>
                  <a:pt x="398" y="918"/>
                </a:lnTo>
                <a:lnTo>
                  <a:pt x="404" y="918"/>
                </a:lnTo>
                <a:lnTo>
                  <a:pt x="404" y="918"/>
                </a:lnTo>
                <a:close/>
                <a:moveTo>
                  <a:pt x="386" y="844"/>
                </a:moveTo>
                <a:lnTo>
                  <a:pt x="386" y="844"/>
                </a:lnTo>
                <a:lnTo>
                  <a:pt x="396" y="846"/>
                </a:lnTo>
                <a:lnTo>
                  <a:pt x="396" y="846"/>
                </a:lnTo>
                <a:lnTo>
                  <a:pt x="396" y="844"/>
                </a:lnTo>
                <a:lnTo>
                  <a:pt x="396" y="844"/>
                </a:lnTo>
                <a:lnTo>
                  <a:pt x="394" y="842"/>
                </a:lnTo>
                <a:lnTo>
                  <a:pt x="394" y="842"/>
                </a:lnTo>
                <a:lnTo>
                  <a:pt x="396" y="844"/>
                </a:lnTo>
                <a:lnTo>
                  <a:pt x="396" y="844"/>
                </a:lnTo>
                <a:lnTo>
                  <a:pt x="396" y="846"/>
                </a:lnTo>
                <a:lnTo>
                  <a:pt x="396" y="846"/>
                </a:lnTo>
                <a:lnTo>
                  <a:pt x="386" y="844"/>
                </a:lnTo>
                <a:lnTo>
                  <a:pt x="386" y="844"/>
                </a:lnTo>
                <a:lnTo>
                  <a:pt x="386" y="844"/>
                </a:lnTo>
                <a:lnTo>
                  <a:pt x="386" y="844"/>
                </a:lnTo>
                <a:close/>
                <a:moveTo>
                  <a:pt x="390" y="918"/>
                </a:moveTo>
                <a:lnTo>
                  <a:pt x="390" y="918"/>
                </a:lnTo>
                <a:lnTo>
                  <a:pt x="390" y="918"/>
                </a:lnTo>
                <a:lnTo>
                  <a:pt x="390" y="918"/>
                </a:lnTo>
                <a:lnTo>
                  <a:pt x="372" y="920"/>
                </a:lnTo>
                <a:lnTo>
                  <a:pt x="372" y="920"/>
                </a:lnTo>
                <a:lnTo>
                  <a:pt x="372" y="920"/>
                </a:lnTo>
                <a:lnTo>
                  <a:pt x="372" y="920"/>
                </a:lnTo>
                <a:lnTo>
                  <a:pt x="390" y="918"/>
                </a:lnTo>
                <a:lnTo>
                  <a:pt x="390" y="918"/>
                </a:lnTo>
                <a:close/>
                <a:moveTo>
                  <a:pt x="376" y="842"/>
                </a:moveTo>
                <a:lnTo>
                  <a:pt x="376" y="842"/>
                </a:lnTo>
                <a:lnTo>
                  <a:pt x="376" y="842"/>
                </a:lnTo>
                <a:lnTo>
                  <a:pt x="376" y="842"/>
                </a:lnTo>
                <a:lnTo>
                  <a:pt x="376" y="842"/>
                </a:lnTo>
                <a:lnTo>
                  <a:pt x="376" y="842"/>
                </a:lnTo>
                <a:lnTo>
                  <a:pt x="380" y="840"/>
                </a:lnTo>
                <a:lnTo>
                  <a:pt x="380" y="840"/>
                </a:lnTo>
                <a:lnTo>
                  <a:pt x="376" y="840"/>
                </a:lnTo>
                <a:lnTo>
                  <a:pt x="376" y="840"/>
                </a:lnTo>
                <a:lnTo>
                  <a:pt x="376" y="840"/>
                </a:lnTo>
                <a:lnTo>
                  <a:pt x="376" y="840"/>
                </a:lnTo>
                <a:lnTo>
                  <a:pt x="380" y="840"/>
                </a:lnTo>
                <a:lnTo>
                  <a:pt x="380" y="840"/>
                </a:lnTo>
                <a:lnTo>
                  <a:pt x="376" y="842"/>
                </a:lnTo>
                <a:lnTo>
                  <a:pt x="376" y="842"/>
                </a:lnTo>
                <a:close/>
                <a:moveTo>
                  <a:pt x="362" y="310"/>
                </a:moveTo>
                <a:lnTo>
                  <a:pt x="362" y="310"/>
                </a:lnTo>
                <a:lnTo>
                  <a:pt x="374" y="312"/>
                </a:lnTo>
                <a:lnTo>
                  <a:pt x="374" y="312"/>
                </a:lnTo>
                <a:lnTo>
                  <a:pt x="378" y="316"/>
                </a:lnTo>
                <a:lnTo>
                  <a:pt x="376" y="318"/>
                </a:lnTo>
                <a:lnTo>
                  <a:pt x="376" y="318"/>
                </a:lnTo>
                <a:lnTo>
                  <a:pt x="376" y="318"/>
                </a:lnTo>
                <a:lnTo>
                  <a:pt x="376" y="318"/>
                </a:lnTo>
                <a:lnTo>
                  <a:pt x="378" y="316"/>
                </a:lnTo>
                <a:lnTo>
                  <a:pt x="374" y="312"/>
                </a:lnTo>
                <a:lnTo>
                  <a:pt x="374" y="312"/>
                </a:lnTo>
                <a:lnTo>
                  <a:pt x="362" y="310"/>
                </a:lnTo>
                <a:lnTo>
                  <a:pt x="362" y="310"/>
                </a:lnTo>
                <a:lnTo>
                  <a:pt x="362" y="310"/>
                </a:lnTo>
                <a:lnTo>
                  <a:pt x="362" y="310"/>
                </a:lnTo>
                <a:close/>
                <a:moveTo>
                  <a:pt x="364" y="840"/>
                </a:moveTo>
                <a:lnTo>
                  <a:pt x="364" y="840"/>
                </a:lnTo>
                <a:lnTo>
                  <a:pt x="362" y="840"/>
                </a:lnTo>
                <a:lnTo>
                  <a:pt x="362" y="840"/>
                </a:lnTo>
                <a:lnTo>
                  <a:pt x="364" y="840"/>
                </a:lnTo>
                <a:lnTo>
                  <a:pt x="364" y="840"/>
                </a:lnTo>
                <a:lnTo>
                  <a:pt x="366" y="842"/>
                </a:lnTo>
                <a:lnTo>
                  <a:pt x="366" y="844"/>
                </a:lnTo>
                <a:lnTo>
                  <a:pt x="366" y="844"/>
                </a:lnTo>
                <a:lnTo>
                  <a:pt x="362" y="844"/>
                </a:lnTo>
                <a:lnTo>
                  <a:pt x="360" y="846"/>
                </a:lnTo>
                <a:lnTo>
                  <a:pt x="360" y="846"/>
                </a:lnTo>
                <a:lnTo>
                  <a:pt x="364" y="844"/>
                </a:lnTo>
                <a:lnTo>
                  <a:pt x="364" y="844"/>
                </a:lnTo>
                <a:lnTo>
                  <a:pt x="366" y="842"/>
                </a:lnTo>
                <a:lnTo>
                  <a:pt x="364" y="840"/>
                </a:lnTo>
                <a:lnTo>
                  <a:pt x="364" y="840"/>
                </a:lnTo>
                <a:close/>
                <a:moveTo>
                  <a:pt x="358" y="864"/>
                </a:moveTo>
                <a:lnTo>
                  <a:pt x="358" y="864"/>
                </a:lnTo>
                <a:lnTo>
                  <a:pt x="358" y="864"/>
                </a:lnTo>
                <a:lnTo>
                  <a:pt x="354" y="866"/>
                </a:lnTo>
                <a:lnTo>
                  <a:pt x="350" y="868"/>
                </a:lnTo>
                <a:lnTo>
                  <a:pt x="342" y="864"/>
                </a:lnTo>
                <a:lnTo>
                  <a:pt x="342" y="864"/>
                </a:lnTo>
                <a:lnTo>
                  <a:pt x="342" y="864"/>
                </a:lnTo>
                <a:lnTo>
                  <a:pt x="350" y="868"/>
                </a:lnTo>
                <a:lnTo>
                  <a:pt x="354" y="866"/>
                </a:lnTo>
                <a:lnTo>
                  <a:pt x="358" y="864"/>
                </a:lnTo>
                <a:lnTo>
                  <a:pt x="358" y="864"/>
                </a:lnTo>
                <a:close/>
                <a:moveTo>
                  <a:pt x="338" y="850"/>
                </a:moveTo>
                <a:lnTo>
                  <a:pt x="338" y="850"/>
                </a:lnTo>
                <a:lnTo>
                  <a:pt x="344" y="850"/>
                </a:lnTo>
                <a:lnTo>
                  <a:pt x="346" y="848"/>
                </a:lnTo>
                <a:lnTo>
                  <a:pt x="346" y="848"/>
                </a:lnTo>
                <a:lnTo>
                  <a:pt x="346" y="846"/>
                </a:lnTo>
                <a:lnTo>
                  <a:pt x="346" y="846"/>
                </a:lnTo>
                <a:lnTo>
                  <a:pt x="346" y="846"/>
                </a:lnTo>
                <a:lnTo>
                  <a:pt x="346" y="846"/>
                </a:lnTo>
                <a:lnTo>
                  <a:pt x="346" y="848"/>
                </a:lnTo>
                <a:lnTo>
                  <a:pt x="346" y="848"/>
                </a:lnTo>
                <a:lnTo>
                  <a:pt x="344" y="850"/>
                </a:lnTo>
                <a:lnTo>
                  <a:pt x="338" y="850"/>
                </a:lnTo>
                <a:lnTo>
                  <a:pt x="338" y="850"/>
                </a:lnTo>
                <a:lnTo>
                  <a:pt x="338" y="850"/>
                </a:lnTo>
                <a:lnTo>
                  <a:pt x="338" y="850"/>
                </a:lnTo>
                <a:lnTo>
                  <a:pt x="338" y="850"/>
                </a:lnTo>
                <a:lnTo>
                  <a:pt x="338" y="850"/>
                </a:lnTo>
                <a:close/>
                <a:moveTo>
                  <a:pt x="336" y="864"/>
                </a:moveTo>
                <a:lnTo>
                  <a:pt x="336" y="864"/>
                </a:lnTo>
                <a:lnTo>
                  <a:pt x="336" y="862"/>
                </a:lnTo>
                <a:lnTo>
                  <a:pt x="336" y="862"/>
                </a:lnTo>
                <a:lnTo>
                  <a:pt x="336" y="862"/>
                </a:lnTo>
                <a:lnTo>
                  <a:pt x="336" y="862"/>
                </a:lnTo>
                <a:lnTo>
                  <a:pt x="336" y="864"/>
                </a:lnTo>
                <a:lnTo>
                  <a:pt x="336" y="864"/>
                </a:lnTo>
                <a:lnTo>
                  <a:pt x="330" y="868"/>
                </a:lnTo>
                <a:lnTo>
                  <a:pt x="330" y="868"/>
                </a:lnTo>
                <a:lnTo>
                  <a:pt x="322" y="866"/>
                </a:lnTo>
                <a:lnTo>
                  <a:pt x="322" y="866"/>
                </a:lnTo>
                <a:lnTo>
                  <a:pt x="322" y="866"/>
                </a:lnTo>
                <a:lnTo>
                  <a:pt x="322" y="866"/>
                </a:lnTo>
                <a:lnTo>
                  <a:pt x="330" y="868"/>
                </a:lnTo>
                <a:lnTo>
                  <a:pt x="330" y="868"/>
                </a:lnTo>
                <a:lnTo>
                  <a:pt x="336" y="864"/>
                </a:lnTo>
                <a:lnTo>
                  <a:pt x="336" y="864"/>
                </a:lnTo>
                <a:close/>
                <a:moveTo>
                  <a:pt x="302" y="846"/>
                </a:moveTo>
                <a:lnTo>
                  <a:pt x="302" y="846"/>
                </a:lnTo>
                <a:lnTo>
                  <a:pt x="316" y="844"/>
                </a:lnTo>
                <a:lnTo>
                  <a:pt x="316" y="844"/>
                </a:lnTo>
                <a:lnTo>
                  <a:pt x="320" y="846"/>
                </a:lnTo>
                <a:lnTo>
                  <a:pt x="324" y="848"/>
                </a:lnTo>
                <a:lnTo>
                  <a:pt x="324" y="848"/>
                </a:lnTo>
                <a:lnTo>
                  <a:pt x="316" y="850"/>
                </a:lnTo>
                <a:lnTo>
                  <a:pt x="308" y="850"/>
                </a:lnTo>
                <a:lnTo>
                  <a:pt x="292" y="850"/>
                </a:lnTo>
                <a:lnTo>
                  <a:pt x="292" y="850"/>
                </a:lnTo>
                <a:lnTo>
                  <a:pt x="290" y="848"/>
                </a:lnTo>
                <a:lnTo>
                  <a:pt x="288" y="846"/>
                </a:lnTo>
                <a:lnTo>
                  <a:pt x="288" y="846"/>
                </a:lnTo>
                <a:lnTo>
                  <a:pt x="302" y="846"/>
                </a:lnTo>
                <a:lnTo>
                  <a:pt x="302" y="846"/>
                </a:lnTo>
                <a:close/>
                <a:moveTo>
                  <a:pt x="320" y="860"/>
                </a:moveTo>
                <a:lnTo>
                  <a:pt x="320" y="860"/>
                </a:lnTo>
                <a:lnTo>
                  <a:pt x="320" y="860"/>
                </a:lnTo>
                <a:lnTo>
                  <a:pt x="320" y="860"/>
                </a:lnTo>
                <a:lnTo>
                  <a:pt x="320" y="864"/>
                </a:lnTo>
                <a:lnTo>
                  <a:pt x="318" y="864"/>
                </a:lnTo>
                <a:lnTo>
                  <a:pt x="316" y="866"/>
                </a:lnTo>
                <a:lnTo>
                  <a:pt x="316" y="866"/>
                </a:lnTo>
                <a:lnTo>
                  <a:pt x="314" y="864"/>
                </a:lnTo>
                <a:lnTo>
                  <a:pt x="314" y="864"/>
                </a:lnTo>
                <a:lnTo>
                  <a:pt x="316" y="866"/>
                </a:lnTo>
                <a:lnTo>
                  <a:pt x="316" y="866"/>
                </a:lnTo>
                <a:lnTo>
                  <a:pt x="318" y="864"/>
                </a:lnTo>
                <a:lnTo>
                  <a:pt x="320" y="864"/>
                </a:lnTo>
                <a:lnTo>
                  <a:pt x="320" y="860"/>
                </a:lnTo>
                <a:lnTo>
                  <a:pt x="320" y="860"/>
                </a:lnTo>
                <a:close/>
                <a:moveTo>
                  <a:pt x="280" y="624"/>
                </a:moveTo>
                <a:lnTo>
                  <a:pt x="280" y="624"/>
                </a:lnTo>
                <a:lnTo>
                  <a:pt x="290" y="626"/>
                </a:lnTo>
                <a:lnTo>
                  <a:pt x="290" y="626"/>
                </a:lnTo>
                <a:lnTo>
                  <a:pt x="284" y="628"/>
                </a:lnTo>
                <a:lnTo>
                  <a:pt x="280" y="628"/>
                </a:lnTo>
                <a:lnTo>
                  <a:pt x="280" y="628"/>
                </a:lnTo>
                <a:lnTo>
                  <a:pt x="290" y="626"/>
                </a:lnTo>
                <a:lnTo>
                  <a:pt x="290" y="626"/>
                </a:lnTo>
                <a:lnTo>
                  <a:pt x="280" y="624"/>
                </a:lnTo>
                <a:lnTo>
                  <a:pt x="280" y="624"/>
                </a:lnTo>
                <a:close/>
                <a:moveTo>
                  <a:pt x="268" y="630"/>
                </a:moveTo>
                <a:lnTo>
                  <a:pt x="268" y="630"/>
                </a:lnTo>
                <a:lnTo>
                  <a:pt x="268" y="802"/>
                </a:lnTo>
                <a:lnTo>
                  <a:pt x="268" y="802"/>
                </a:lnTo>
                <a:lnTo>
                  <a:pt x="268" y="802"/>
                </a:lnTo>
                <a:lnTo>
                  <a:pt x="268" y="802"/>
                </a:lnTo>
                <a:lnTo>
                  <a:pt x="268" y="630"/>
                </a:lnTo>
                <a:lnTo>
                  <a:pt x="268" y="630"/>
                </a:lnTo>
                <a:close/>
                <a:moveTo>
                  <a:pt x="262" y="630"/>
                </a:moveTo>
                <a:lnTo>
                  <a:pt x="262" y="630"/>
                </a:lnTo>
                <a:lnTo>
                  <a:pt x="262" y="636"/>
                </a:lnTo>
                <a:lnTo>
                  <a:pt x="262" y="636"/>
                </a:lnTo>
                <a:lnTo>
                  <a:pt x="262" y="630"/>
                </a:lnTo>
                <a:lnTo>
                  <a:pt x="262" y="630"/>
                </a:lnTo>
                <a:close/>
                <a:moveTo>
                  <a:pt x="244" y="804"/>
                </a:moveTo>
                <a:lnTo>
                  <a:pt x="244" y="804"/>
                </a:lnTo>
                <a:lnTo>
                  <a:pt x="254" y="806"/>
                </a:lnTo>
                <a:lnTo>
                  <a:pt x="254" y="806"/>
                </a:lnTo>
                <a:lnTo>
                  <a:pt x="248" y="808"/>
                </a:lnTo>
                <a:lnTo>
                  <a:pt x="242" y="808"/>
                </a:lnTo>
                <a:lnTo>
                  <a:pt x="242" y="808"/>
                </a:lnTo>
                <a:lnTo>
                  <a:pt x="248" y="808"/>
                </a:lnTo>
                <a:lnTo>
                  <a:pt x="254" y="806"/>
                </a:lnTo>
                <a:lnTo>
                  <a:pt x="254" y="806"/>
                </a:lnTo>
                <a:lnTo>
                  <a:pt x="244" y="804"/>
                </a:lnTo>
                <a:lnTo>
                  <a:pt x="244" y="804"/>
                </a:lnTo>
                <a:close/>
                <a:moveTo>
                  <a:pt x="244" y="816"/>
                </a:moveTo>
                <a:lnTo>
                  <a:pt x="244" y="816"/>
                </a:lnTo>
                <a:lnTo>
                  <a:pt x="244" y="816"/>
                </a:lnTo>
                <a:lnTo>
                  <a:pt x="244" y="816"/>
                </a:lnTo>
                <a:lnTo>
                  <a:pt x="248" y="822"/>
                </a:lnTo>
                <a:lnTo>
                  <a:pt x="248" y="822"/>
                </a:lnTo>
                <a:lnTo>
                  <a:pt x="244" y="824"/>
                </a:lnTo>
                <a:lnTo>
                  <a:pt x="244" y="824"/>
                </a:lnTo>
                <a:lnTo>
                  <a:pt x="242" y="822"/>
                </a:lnTo>
                <a:lnTo>
                  <a:pt x="242" y="822"/>
                </a:lnTo>
                <a:lnTo>
                  <a:pt x="244" y="824"/>
                </a:lnTo>
                <a:lnTo>
                  <a:pt x="244" y="824"/>
                </a:lnTo>
                <a:lnTo>
                  <a:pt x="248" y="822"/>
                </a:lnTo>
                <a:lnTo>
                  <a:pt x="248" y="822"/>
                </a:lnTo>
                <a:lnTo>
                  <a:pt x="244" y="816"/>
                </a:lnTo>
                <a:lnTo>
                  <a:pt x="244" y="816"/>
                </a:lnTo>
                <a:close/>
                <a:moveTo>
                  <a:pt x="244" y="880"/>
                </a:moveTo>
                <a:lnTo>
                  <a:pt x="244" y="880"/>
                </a:lnTo>
                <a:lnTo>
                  <a:pt x="250" y="882"/>
                </a:lnTo>
                <a:lnTo>
                  <a:pt x="250" y="882"/>
                </a:lnTo>
                <a:lnTo>
                  <a:pt x="250" y="880"/>
                </a:lnTo>
                <a:lnTo>
                  <a:pt x="250" y="880"/>
                </a:lnTo>
                <a:lnTo>
                  <a:pt x="250" y="880"/>
                </a:lnTo>
                <a:lnTo>
                  <a:pt x="250" y="882"/>
                </a:lnTo>
                <a:lnTo>
                  <a:pt x="250" y="882"/>
                </a:lnTo>
                <a:lnTo>
                  <a:pt x="244" y="880"/>
                </a:lnTo>
                <a:lnTo>
                  <a:pt x="244" y="880"/>
                </a:lnTo>
                <a:lnTo>
                  <a:pt x="244" y="880"/>
                </a:lnTo>
                <a:lnTo>
                  <a:pt x="244" y="880"/>
                </a:lnTo>
                <a:close/>
                <a:moveTo>
                  <a:pt x="190" y="918"/>
                </a:moveTo>
                <a:lnTo>
                  <a:pt x="190" y="918"/>
                </a:lnTo>
                <a:lnTo>
                  <a:pt x="190" y="916"/>
                </a:lnTo>
                <a:lnTo>
                  <a:pt x="190" y="916"/>
                </a:lnTo>
                <a:lnTo>
                  <a:pt x="190" y="916"/>
                </a:lnTo>
                <a:lnTo>
                  <a:pt x="190" y="916"/>
                </a:lnTo>
                <a:lnTo>
                  <a:pt x="190" y="918"/>
                </a:lnTo>
                <a:lnTo>
                  <a:pt x="190" y="918"/>
                </a:lnTo>
                <a:lnTo>
                  <a:pt x="186" y="920"/>
                </a:lnTo>
                <a:lnTo>
                  <a:pt x="184" y="918"/>
                </a:lnTo>
                <a:lnTo>
                  <a:pt x="184" y="918"/>
                </a:lnTo>
                <a:lnTo>
                  <a:pt x="190" y="918"/>
                </a:lnTo>
                <a:lnTo>
                  <a:pt x="190" y="918"/>
                </a:lnTo>
                <a:close/>
                <a:moveTo>
                  <a:pt x="182" y="876"/>
                </a:moveTo>
                <a:lnTo>
                  <a:pt x="182" y="876"/>
                </a:lnTo>
                <a:lnTo>
                  <a:pt x="182" y="876"/>
                </a:lnTo>
                <a:lnTo>
                  <a:pt x="182" y="876"/>
                </a:lnTo>
                <a:lnTo>
                  <a:pt x="182" y="876"/>
                </a:lnTo>
                <a:lnTo>
                  <a:pt x="182" y="876"/>
                </a:lnTo>
                <a:lnTo>
                  <a:pt x="182" y="876"/>
                </a:lnTo>
                <a:lnTo>
                  <a:pt x="182" y="876"/>
                </a:lnTo>
                <a:lnTo>
                  <a:pt x="172" y="876"/>
                </a:lnTo>
                <a:lnTo>
                  <a:pt x="172" y="876"/>
                </a:lnTo>
                <a:lnTo>
                  <a:pt x="172" y="876"/>
                </a:lnTo>
                <a:lnTo>
                  <a:pt x="182" y="876"/>
                </a:lnTo>
                <a:close/>
                <a:moveTo>
                  <a:pt x="168" y="860"/>
                </a:moveTo>
                <a:lnTo>
                  <a:pt x="168" y="860"/>
                </a:lnTo>
                <a:lnTo>
                  <a:pt x="172" y="858"/>
                </a:lnTo>
                <a:lnTo>
                  <a:pt x="172" y="856"/>
                </a:lnTo>
                <a:lnTo>
                  <a:pt x="170" y="852"/>
                </a:lnTo>
                <a:lnTo>
                  <a:pt x="170" y="852"/>
                </a:lnTo>
                <a:lnTo>
                  <a:pt x="170" y="852"/>
                </a:lnTo>
                <a:lnTo>
                  <a:pt x="170" y="852"/>
                </a:lnTo>
                <a:lnTo>
                  <a:pt x="172" y="856"/>
                </a:lnTo>
                <a:lnTo>
                  <a:pt x="172" y="858"/>
                </a:lnTo>
                <a:lnTo>
                  <a:pt x="168" y="860"/>
                </a:lnTo>
                <a:lnTo>
                  <a:pt x="168" y="860"/>
                </a:lnTo>
                <a:lnTo>
                  <a:pt x="166" y="860"/>
                </a:lnTo>
                <a:lnTo>
                  <a:pt x="166" y="860"/>
                </a:lnTo>
                <a:lnTo>
                  <a:pt x="168" y="860"/>
                </a:lnTo>
                <a:lnTo>
                  <a:pt x="168" y="860"/>
                </a:lnTo>
                <a:close/>
                <a:moveTo>
                  <a:pt x="154" y="882"/>
                </a:moveTo>
                <a:lnTo>
                  <a:pt x="154" y="882"/>
                </a:lnTo>
                <a:lnTo>
                  <a:pt x="162" y="876"/>
                </a:lnTo>
                <a:lnTo>
                  <a:pt x="162" y="876"/>
                </a:lnTo>
                <a:lnTo>
                  <a:pt x="184" y="884"/>
                </a:lnTo>
                <a:lnTo>
                  <a:pt x="184" y="884"/>
                </a:lnTo>
                <a:lnTo>
                  <a:pt x="180" y="884"/>
                </a:lnTo>
                <a:lnTo>
                  <a:pt x="176" y="884"/>
                </a:lnTo>
                <a:lnTo>
                  <a:pt x="168" y="884"/>
                </a:lnTo>
                <a:lnTo>
                  <a:pt x="168" y="884"/>
                </a:lnTo>
                <a:lnTo>
                  <a:pt x="162" y="884"/>
                </a:lnTo>
                <a:lnTo>
                  <a:pt x="158" y="884"/>
                </a:lnTo>
                <a:lnTo>
                  <a:pt x="154" y="882"/>
                </a:lnTo>
                <a:lnTo>
                  <a:pt x="154" y="882"/>
                </a:lnTo>
                <a:close/>
                <a:moveTo>
                  <a:pt x="164" y="966"/>
                </a:moveTo>
                <a:lnTo>
                  <a:pt x="164" y="966"/>
                </a:lnTo>
                <a:lnTo>
                  <a:pt x="174" y="966"/>
                </a:lnTo>
                <a:lnTo>
                  <a:pt x="174" y="966"/>
                </a:lnTo>
                <a:lnTo>
                  <a:pt x="174" y="966"/>
                </a:lnTo>
                <a:lnTo>
                  <a:pt x="174" y="966"/>
                </a:lnTo>
                <a:lnTo>
                  <a:pt x="164" y="966"/>
                </a:lnTo>
                <a:lnTo>
                  <a:pt x="164" y="966"/>
                </a:lnTo>
                <a:close/>
                <a:moveTo>
                  <a:pt x="176" y="930"/>
                </a:moveTo>
                <a:lnTo>
                  <a:pt x="176" y="930"/>
                </a:lnTo>
                <a:lnTo>
                  <a:pt x="178" y="928"/>
                </a:lnTo>
                <a:lnTo>
                  <a:pt x="178" y="928"/>
                </a:lnTo>
                <a:lnTo>
                  <a:pt x="176" y="928"/>
                </a:lnTo>
                <a:lnTo>
                  <a:pt x="176" y="928"/>
                </a:lnTo>
                <a:lnTo>
                  <a:pt x="176" y="928"/>
                </a:lnTo>
                <a:lnTo>
                  <a:pt x="176" y="928"/>
                </a:lnTo>
                <a:lnTo>
                  <a:pt x="178" y="928"/>
                </a:lnTo>
                <a:lnTo>
                  <a:pt x="178" y="928"/>
                </a:lnTo>
                <a:lnTo>
                  <a:pt x="176" y="930"/>
                </a:lnTo>
                <a:lnTo>
                  <a:pt x="176" y="930"/>
                </a:lnTo>
                <a:lnTo>
                  <a:pt x="176" y="930"/>
                </a:lnTo>
                <a:lnTo>
                  <a:pt x="176" y="930"/>
                </a:lnTo>
                <a:close/>
                <a:moveTo>
                  <a:pt x="182" y="954"/>
                </a:moveTo>
                <a:lnTo>
                  <a:pt x="182" y="954"/>
                </a:lnTo>
                <a:lnTo>
                  <a:pt x="190" y="952"/>
                </a:lnTo>
                <a:lnTo>
                  <a:pt x="190" y="952"/>
                </a:lnTo>
                <a:lnTo>
                  <a:pt x="178" y="950"/>
                </a:lnTo>
                <a:lnTo>
                  <a:pt x="178" y="950"/>
                </a:lnTo>
                <a:lnTo>
                  <a:pt x="190" y="952"/>
                </a:lnTo>
                <a:lnTo>
                  <a:pt x="190" y="952"/>
                </a:lnTo>
                <a:lnTo>
                  <a:pt x="182" y="954"/>
                </a:lnTo>
                <a:lnTo>
                  <a:pt x="182" y="954"/>
                </a:lnTo>
                <a:close/>
                <a:moveTo>
                  <a:pt x="192" y="872"/>
                </a:moveTo>
                <a:lnTo>
                  <a:pt x="192" y="872"/>
                </a:lnTo>
                <a:lnTo>
                  <a:pt x="200" y="872"/>
                </a:lnTo>
                <a:lnTo>
                  <a:pt x="200" y="872"/>
                </a:lnTo>
                <a:lnTo>
                  <a:pt x="200" y="870"/>
                </a:lnTo>
                <a:lnTo>
                  <a:pt x="200" y="870"/>
                </a:lnTo>
                <a:lnTo>
                  <a:pt x="200" y="870"/>
                </a:lnTo>
                <a:lnTo>
                  <a:pt x="200" y="872"/>
                </a:lnTo>
                <a:lnTo>
                  <a:pt x="200" y="872"/>
                </a:lnTo>
                <a:lnTo>
                  <a:pt x="192" y="872"/>
                </a:lnTo>
                <a:lnTo>
                  <a:pt x="192" y="872"/>
                </a:lnTo>
                <a:lnTo>
                  <a:pt x="192" y="872"/>
                </a:lnTo>
                <a:lnTo>
                  <a:pt x="192" y="872"/>
                </a:lnTo>
                <a:close/>
                <a:moveTo>
                  <a:pt x="194" y="958"/>
                </a:moveTo>
                <a:lnTo>
                  <a:pt x="194" y="958"/>
                </a:lnTo>
                <a:lnTo>
                  <a:pt x="198" y="958"/>
                </a:lnTo>
                <a:lnTo>
                  <a:pt x="202" y="954"/>
                </a:lnTo>
                <a:lnTo>
                  <a:pt x="202" y="954"/>
                </a:lnTo>
                <a:lnTo>
                  <a:pt x="202" y="954"/>
                </a:lnTo>
                <a:lnTo>
                  <a:pt x="202" y="954"/>
                </a:lnTo>
                <a:lnTo>
                  <a:pt x="198" y="958"/>
                </a:lnTo>
                <a:lnTo>
                  <a:pt x="194" y="958"/>
                </a:lnTo>
                <a:lnTo>
                  <a:pt x="194" y="958"/>
                </a:lnTo>
                <a:close/>
                <a:moveTo>
                  <a:pt x="202" y="908"/>
                </a:moveTo>
                <a:lnTo>
                  <a:pt x="202" y="908"/>
                </a:lnTo>
                <a:lnTo>
                  <a:pt x="210" y="908"/>
                </a:lnTo>
                <a:lnTo>
                  <a:pt x="210" y="908"/>
                </a:lnTo>
                <a:lnTo>
                  <a:pt x="210" y="908"/>
                </a:lnTo>
                <a:lnTo>
                  <a:pt x="210" y="908"/>
                </a:lnTo>
                <a:lnTo>
                  <a:pt x="202" y="908"/>
                </a:lnTo>
                <a:lnTo>
                  <a:pt x="202" y="908"/>
                </a:lnTo>
                <a:close/>
                <a:moveTo>
                  <a:pt x="208" y="892"/>
                </a:moveTo>
                <a:lnTo>
                  <a:pt x="208" y="892"/>
                </a:lnTo>
                <a:lnTo>
                  <a:pt x="208" y="892"/>
                </a:lnTo>
                <a:lnTo>
                  <a:pt x="208" y="892"/>
                </a:lnTo>
                <a:lnTo>
                  <a:pt x="214" y="890"/>
                </a:lnTo>
                <a:lnTo>
                  <a:pt x="214" y="890"/>
                </a:lnTo>
                <a:lnTo>
                  <a:pt x="214" y="888"/>
                </a:lnTo>
                <a:lnTo>
                  <a:pt x="214" y="888"/>
                </a:lnTo>
                <a:lnTo>
                  <a:pt x="212" y="888"/>
                </a:lnTo>
                <a:lnTo>
                  <a:pt x="212" y="888"/>
                </a:lnTo>
                <a:lnTo>
                  <a:pt x="214" y="888"/>
                </a:lnTo>
                <a:lnTo>
                  <a:pt x="214" y="888"/>
                </a:lnTo>
                <a:lnTo>
                  <a:pt x="214" y="890"/>
                </a:lnTo>
                <a:lnTo>
                  <a:pt x="214" y="890"/>
                </a:lnTo>
                <a:lnTo>
                  <a:pt x="208" y="892"/>
                </a:lnTo>
                <a:lnTo>
                  <a:pt x="208" y="892"/>
                </a:lnTo>
                <a:close/>
                <a:moveTo>
                  <a:pt x="220" y="888"/>
                </a:moveTo>
                <a:lnTo>
                  <a:pt x="220" y="888"/>
                </a:lnTo>
                <a:lnTo>
                  <a:pt x="220" y="882"/>
                </a:lnTo>
                <a:lnTo>
                  <a:pt x="220" y="882"/>
                </a:lnTo>
                <a:lnTo>
                  <a:pt x="232" y="880"/>
                </a:lnTo>
                <a:lnTo>
                  <a:pt x="238" y="882"/>
                </a:lnTo>
                <a:lnTo>
                  <a:pt x="244" y="886"/>
                </a:lnTo>
                <a:lnTo>
                  <a:pt x="244" y="886"/>
                </a:lnTo>
                <a:lnTo>
                  <a:pt x="230" y="892"/>
                </a:lnTo>
                <a:lnTo>
                  <a:pt x="230" y="892"/>
                </a:lnTo>
                <a:lnTo>
                  <a:pt x="224" y="892"/>
                </a:lnTo>
                <a:lnTo>
                  <a:pt x="220" y="888"/>
                </a:lnTo>
                <a:lnTo>
                  <a:pt x="220" y="888"/>
                </a:lnTo>
                <a:close/>
                <a:moveTo>
                  <a:pt x="226" y="908"/>
                </a:moveTo>
                <a:lnTo>
                  <a:pt x="226" y="908"/>
                </a:lnTo>
                <a:lnTo>
                  <a:pt x="232" y="908"/>
                </a:lnTo>
                <a:lnTo>
                  <a:pt x="232" y="908"/>
                </a:lnTo>
                <a:lnTo>
                  <a:pt x="230" y="910"/>
                </a:lnTo>
                <a:lnTo>
                  <a:pt x="230" y="910"/>
                </a:lnTo>
                <a:lnTo>
                  <a:pt x="230" y="910"/>
                </a:lnTo>
                <a:lnTo>
                  <a:pt x="230" y="910"/>
                </a:lnTo>
                <a:lnTo>
                  <a:pt x="232" y="908"/>
                </a:lnTo>
                <a:lnTo>
                  <a:pt x="232" y="908"/>
                </a:lnTo>
                <a:lnTo>
                  <a:pt x="226" y="908"/>
                </a:lnTo>
                <a:lnTo>
                  <a:pt x="226" y="908"/>
                </a:lnTo>
                <a:lnTo>
                  <a:pt x="226" y="908"/>
                </a:lnTo>
                <a:lnTo>
                  <a:pt x="226" y="908"/>
                </a:lnTo>
                <a:close/>
                <a:moveTo>
                  <a:pt x="240" y="942"/>
                </a:moveTo>
                <a:lnTo>
                  <a:pt x="240" y="942"/>
                </a:lnTo>
                <a:lnTo>
                  <a:pt x="248" y="940"/>
                </a:lnTo>
                <a:lnTo>
                  <a:pt x="248" y="940"/>
                </a:lnTo>
                <a:lnTo>
                  <a:pt x="242" y="936"/>
                </a:lnTo>
                <a:lnTo>
                  <a:pt x="242" y="936"/>
                </a:lnTo>
                <a:lnTo>
                  <a:pt x="248" y="940"/>
                </a:lnTo>
                <a:lnTo>
                  <a:pt x="248" y="940"/>
                </a:lnTo>
                <a:lnTo>
                  <a:pt x="244" y="942"/>
                </a:lnTo>
                <a:lnTo>
                  <a:pt x="240" y="942"/>
                </a:lnTo>
                <a:lnTo>
                  <a:pt x="240" y="942"/>
                </a:lnTo>
                <a:close/>
                <a:moveTo>
                  <a:pt x="248" y="936"/>
                </a:moveTo>
                <a:lnTo>
                  <a:pt x="248" y="936"/>
                </a:lnTo>
                <a:lnTo>
                  <a:pt x="238" y="930"/>
                </a:lnTo>
                <a:lnTo>
                  <a:pt x="238" y="930"/>
                </a:lnTo>
                <a:lnTo>
                  <a:pt x="230" y="926"/>
                </a:lnTo>
                <a:lnTo>
                  <a:pt x="230" y="926"/>
                </a:lnTo>
                <a:lnTo>
                  <a:pt x="234" y="922"/>
                </a:lnTo>
                <a:lnTo>
                  <a:pt x="240" y="920"/>
                </a:lnTo>
                <a:lnTo>
                  <a:pt x="252" y="922"/>
                </a:lnTo>
                <a:lnTo>
                  <a:pt x="252" y="922"/>
                </a:lnTo>
                <a:lnTo>
                  <a:pt x="256" y="916"/>
                </a:lnTo>
                <a:lnTo>
                  <a:pt x="256" y="916"/>
                </a:lnTo>
                <a:lnTo>
                  <a:pt x="264" y="916"/>
                </a:lnTo>
                <a:lnTo>
                  <a:pt x="264" y="916"/>
                </a:lnTo>
                <a:lnTo>
                  <a:pt x="274" y="916"/>
                </a:lnTo>
                <a:lnTo>
                  <a:pt x="274" y="916"/>
                </a:lnTo>
                <a:lnTo>
                  <a:pt x="248" y="936"/>
                </a:lnTo>
                <a:lnTo>
                  <a:pt x="248" y="936"/>
                </a:lnTo>
                <a:close/>
                <a:moveTo>
                  <a:pt x="268" y="940"/>
                </a:moveTo>
                <a:lnTo>
                  <a:pt x="268" y="940"/>
                </a:lnTo>
                <a:lnTo>
                  <a:pt x="268" y="940"/>
                </a:lnTo>
                <a:lnTo>
                  <a:pt x="268" y="940"/>
                </a:lnTo>
                <a:lnTo>
                  <a:pt x="278" y="940"/>
                </a:lnTo>
                <a:lnTo>
                  <a:pt x="286" y="936"/>
                </a:lnTo>
                <a:lnTo>
                  <a:pt x="286" y="936"/>
                </a:lnTo>
                <a:lnTo>
                  <a:pt x="278" y="934"/>
                </a:lnTo>
                <a:lnTo>
                  <a:pt x="278" y="934"/>
                </a:lnTo>
                <a:lnTo>
                  <a:pt x="286" y="936"/>
                </a:lnTo>
                <a:lnTo>
                  <a:pt x="286" y="936"/>
                </a:lnTo>
                <a:lnTo>
                  <a:pt x="278" y="940"/>
                </a:lnTo>
                <a:lnTo>
                  <a:pt x="268" y="940"/>
                </a:lnTo>
                <a:lnTo>
                  <a:pt x="268" y="940"/>
                </a:lnTo>
                <a:close/>
                <a:moveTo>
                  <a:pt x="278" y="900"/>
                </a:moveTo>
                <a:lnTo>
                  <a:pt x="278" y="900"/>
                </a:lnTo>
                <a:lnTo>
                  <a:pt x="274" y="904"/>
                </a:lnTo>
                <a:lnTo>
                  <a:pt x="268" y="902"/>
                </a:lnTo>
                <a:lnTo>
                  <a:pt x="262" y="902"/>
                </a:lnTo>
                <a:lnTo>
                  <a:pt x="256" y="902"/>
                </a:lnTo>
                <a:lnTo>
                  <a:pt x="256" y="902"/>
                </a:lnTo>
                <a:lnTo>
                  <a:pt x="260" y="898"/>
                </a:lnTo>
                <a:lnTo>
                  <a:pt x="264" y="896"/>
                </a:lnTo>
                <a:lnTo>
                  <a:pt x="268" y="894"/>
                </a:lnTo>
                <a:lnTo>
                  <a:pt x="274" y="894"/>
                </a:lnTo>
                <a:lnTo>
                  <a:pt x="274" y="894"/>
                </a:lnTo>
                <a:lnTo>
                  <a:pt x="286" y="894"/>
                </a:lnTo>
                <a:lnTo>
                  <a:pt x="292" y="896"/>
                </a:lnTo>
                <a:lnTo>
                  <a:pt x="296" y="900"/>
                </a:lnTo>
                <a:lnTo>
                  <a:pt x="296" y="900"/>
                </a:lnTo>
                <a:lnTo>
                  <a:pt x="292" y="904"/>
                </a:lnTo>
                <a:lnTo>
                  <a:pt x="288" y="904"/>
                </a:lnTo>
                <a:lnTo>
                  <a:pt x="284" y="904"/>
                </a:lnTo>
                <a:lnTo>
                  <a:pt x="278" y="900"/>
                </a:lnTo>
                <a:lnTo>
                  <a:pt x="278" y="900"/>
                </a:lnTo>
                <a:close/>
                <a:moveTo>
                  <a:pt x="338" y="970"/>
                </a:moveTo>
                <a:lnTo>
                  <a:pt x="338" y="970"/>
                </a:lnTo>
                <a:lnTo>
                  <a:pt x="338" y="970"/>
                </a:lnTo>
                <a:lnTo>
                  <a:pt x="338" y="970"/>
                </a:lnTo>
                <a:lnTo>
                  <a:pt x="340" y="968"/>
                </a:lnTo>
                <a:lnTo>
                  <a:pt x="340" y="968"/>
                </a:lnTo>
                <a:lnTo>
                  <a:pt x="338" y="966"/>
                </a:lnTo>
                <a:lnTo>
                  <a:pt x="338" y="966"/>
                </a:lnTo>
                <a:lnTo>
                  <a:pt x="338" y="966"/>
                </a:lnTo>
                <a:lnTo>
                  <a:pt x="338" y="966"/>
                </a:lnTo>
                <a:lnTo>
                  <a:pt x="340" y="968"/>
                </a:lnTo>
                <a:lnTo>
                  <a:pt x="340" y="968"/>
                </a:lnTo>
                <a:lnTo>
                  <a:pt x="338" y="970"/>
                </a:lnTo>
                <a:lnTo>
                  <a:pt x="338" y="970"/>
                </a:lnTo>
                <a:close/>
                <a:moveTo>
                  <a:pt x="376" y="972"/>
                </a:moveTo>
                <a:lnTo>
                  <a:pt x="376" y="972"/>
                </a:lnTo>
                <a:lnTo>
                  <a:pt x="360" y="954"/>
                </a:lnTo>
                <a:lnTo>
                  <a:pt x="360" y="954"/>
                </a:lnTo>
                <a:lnTo>
                  <a:pt x="368" y="956"/>
                </a:lnTo>
                <a:lnTo>
                  <a:pt x="372" y="956"/>
                </a:lnTo>
                <a:lnTo>
                  <a:pt x="376" y="954"/>
                </a:lnTo>
                <a:lnTo>
                  <a:pt x="376" y="954"/>
                </a:lnTo>
                <a:lnTo>
                  <a:pt x="372" y="952"/>
                </a:lnTo>
                <a:lnTo>
                  <a:pt x="368" y="952"/>
                </a:lnTo>
                <a:lnTo>
                  <a:pt x="360" y="952"/>
                </a:lnTo>
                <a:lnTo>
                  <a:pt x="360" y="952"/>
                </a:lnTo>
                <a:lnTo>
                  <a:pt x="358" y="954"/>
                </a:lnTo>
                <a:lnTo>
                  <a:pt x="356" y="958"/>
                </a:lnTo>
                <a:lnTo>
                  <a:pt x="356" y="958"/>
                </a:lnTo>
                <a:lnTo>
                  <a:pt x="354" y="960"/>
                </a:lnTo>
                <a:lnTo>
                  <a:pt x="352" y="962"/>
                </a:lnTo>
                <a:lnTo>
                  <a:pt x="352" y="962"/>
                </a:lnTo>
                <a:lnTo>
                  <a:pt x="346" y="962"/>
                </a:lnTo>
                <a:lnTo>
                  <a:pt x="342" y="960"/>
                </a:lnTo>
                <a:lnTo>
                  <a:pt x="342" y="960"/>
                </a:lnTo>
                <a:lnTo>
                  <a:pt x="338" y="958"/>
                </a:lnTo>
                <a:lnTo>
                  <a:pt x="334" y="956"/>
                </a:lnTo>
                <a:lnTo>
                  <a:pt x="326" y="952"/>
                </a:lnTo>
                <a:lnTo>
                  <a:pt x="326" y="952"/>
                </a:lnTo>
                <a:lnTo>
                  <a:pt x="322" y="956"/>
                </a:lnTo>
                <a:lnTo>
                  <a:pt x="320" y="960"/>
                </a:lnTo>
                <a:lnTo>
                  <a:pt x="316" y="962"/>
                </a:lnTo>
                <a:lnTo>
                  <a:pt x="310" y="964"/>
                </a:lnTo>
                <a:lnTo>
                  <a:pt x="310" y="964"/>
                </a:lnTo>
                <a:lnTo>
                  <a:pt x="308" y="956"/>
                </a:lnTo>
                <a:lnTo>
                  <a:pt x="308" y="956"/>
                </a:lnTo>
                <a:lnTo>
                  <a:pt x="308" y="956"/>
                </a:lnTo>
                <a:lnTo>
                  <a:pt x="308" y="956"/>
                </a:lnTo>
                <a:lnTo>
                  <a:pt x="302" y="950"/>
                </a:lnTo>
                <a:lnTo>
                  <a:pt x="302" y="950"/>
                </a:lnTo>
                <a:lnTo>
                  <a:pt x="312" y="942"/>
                </a:lnTo>
                <a:lnTo>
                  <a:pt x="312" y="942"/>
                </a:lnTo>
                <a:lnTo>
                  <a:pt x="304" y="938"/>
                </a:lnTo>
                <a:lnTo>
                  <a:pt x="304" y="938"/>
                </a:lnTo>
                <a:lnTo>
                  <a:pt x="316" y="936"/>
                </a:lnTo>
                <a:lnTo>
                  <a:pt x="316" y="936"/>
                </a:lnTo>
                <a:lnTo>
                  <a:pt x="324" y="930"/>
                </a:lnTo>
                <a:lnTo>
                  <a:pt x="330" y="926"/>
                </a:lnTo>
                <a:lnTo>
                  <a:pt x="336" y="924"/>
                </a:lnTo>
                <a:lnTo>
                  <a:pt x="336" y="924"/>
                </a:lnTo>
                <a:lnTo>
                  <a:pt x="334" y="916"/>
                </a:lnTo>
                <a:lnTo>
                  <a:pt x="334" y="916"/>
                </a:lnTo>
                <a:lnTo>
                  <a:pt x="318" y="914"/>
                </a:lnTo>
                <a:lnTo>
                  <a:pt x="318" y="914"/>
                </a:lnTo>
                <a:lnTo>
                  <a:pt x="328" y="908"/>
                </a:lnTo>
                <a:lnTo>
                  <a:pt x="328" y="908"/>
                </a:lnTo>
                <a:lnTo>
                  <a:pt x="332" y="910"/>
                </a:lnTo>
                <a:lnTo>
                  <a:pt x="334" y="912"/>
                </a:lnTo>
                <a:lnTo>
                  <a:pt x="334" y="912"/>
                </a:lnTo>
                <a:lnTo>
                  <a:pt x="344" y="910"/>
                </a:lnTo>
                <a:lnTo>
                  <a:pt x="344" y="910"/>
                </a:lnTo>
                <a:lnTo>
                  <a:pt x="346" y="910"/>
                </a:lnTo>
                <a:lnTo>
                  <a:pt x="346" y="910"/>
                </a:lnTo>
                <a:lnTo>
                  <a:pt x="358" y="908"/>
                </a:lnTo>
                <a:lnTo>
                  <a:pt x="362" y="910"/>
                </a:lnTo>
                <a:lnTo>
                  <a:pt x="366" y="910"/>
                </a:lnTo>
                <a:lnTo>
                  <a:pt x="366" y="910"/>
                </a:lnTo>
                <a:lnTo>
                  <a:pt x="368" y="914"/>
                </a:lnTo>
                <a:lnTo>
                  <a:pt x="368" y="916"/>
                </a:lnTo>
                <a:lnTo>
                  <a:pt x="366" y="920"/>
                </a:lnTo>
                <a:lnTo>
                  <a:pt x="362" y="924"/>
                </a:lnTo>
                <a:lnTo>
                  <a:pt x="362" y="924"/>
                </a:lnTo>
                <a:lnTo>
                  <a:pt x="358" y="922"/>
                </a:lnTo>
                <a:lnTo>
                  <a:pt x="354" y="920"/>
                </a:lnTo>
                <a:lnTo>
                  <a:pt x="350" y="920"/>
                </a:lnTo>
                <a:lnTo>
                  <a:pt x="344" y="922"/>
                </a:lnTo>
                <a:lnTo>
                  <a:pt x="344" y="922"/>
                </a:lnTo>
                <a:lnTo>
                  <a:pt x="358" y="924"/>
                </a:lnTo>
                <a:lnTo>
                  <a:pt x="358" y="924"/>
                </a:lnTo>
                <a:lnTo>
                  <a:pt x="374" y="930"/>
                </a:lnTo>
                <a:lnTo>
                  <a:pt x="374" y="930"/>
                </a:lnTo>
                <a:lnTo>
                  <a:pt x="362" y="936"/>
                </a:lnTo>
                <a:lnTo>
                  <a:pt x="356" y="938"/>
                </a:lnTo>
                <a:lnTo>
                  <a:pt x="348" y="938"/>
                </a:lnTo>
                <a:lnTo>
                  <a:pt x="348" y="938"/>
                </a:lnTo>
                <a:lnTo>
                  <a:pt x="354" y="942"/>
                </a:lnTo>
                <a:lnTo>
                  <a:pt x="354" y="942"/>
                </a:lnTo>
                <a:lnTo>
                  <a:pt x="356" y="944"/>
                </a:lnTo>
                <a:lnTo>
                  <a:pt x="356" y="948"/>
                </a:lnTo>
                <a:lnTo>
                  <a:pt x="356" y="948"/>
                </a:lnTo>
                <a:lnTo>
                  <a:pt x="364" y="944"/>
                </a:lnTo>
                <a:lnTo>
                  <a:pt x="364" y="944"/>
                </a:lnTo>
                <a:lnTo>
                  <a:pt x="376" y="942"/>
                </a:lnTo>
                <a:lnTo>
                  <a:pt x="376" y="942"/>
                </a:lnTo>
                <a:lnTo>
                  <a:pt x="372" y="938"/>
                </a:lnTo>
                <a:lnTo>
                  <a:pt x="372" y="938"/>
                </a:lnTo>
                <a:lnTo>
                  <a:pt x="378" y="936"/>
                </a:lnTo>
                <a:lnTo>
                  <a:pt x="378" y="936"/>
                </a:lnTo>
                <a:lnTo>
                  <a:pt x="380" y="946"/>
                </a:lnTo>
                <a:lnTo>
                  <a:pt x="380" y="946"/>
                </a:lnTo>
                <a:lnTo>
                  <a:pt x="388" y="950"/>
                </a:lnTo>
                <a:lnTo>
                  <a:pt x="388" y="950"/>
                </a:lnTo>
                <a:lnTo>
                  <a:pt x="384" y="954"/>
                </a:lnTo>
                <a:lnTo>
                  <a:pt x="384" y="954"/>
                </a:lnTo>
                <a:lnTo>
                  <a:pt x="384" y="956"/>
                </a:lnTo>
                <a:lnTo>
                  <a:pt x="386" y="958"/>
                </a:lnTo>
                <a:lnTo>
                  <a:pt x="392" y="960"/>
                </a:lnTo>
                <a:lnTo>
                  <a:pt x="398" y="962"/>
                </a:lnTo>
                <a:lnTo>
                  <a:pt x="400" y="964"/>
                </a:lnTo>
                <a:lnTo>
                  <a:pt x="400" y="968"/>
                </a:lnTo>
                <a:lnTo>
                  <a:pt x="400" y="968"/>
                </a:lnTo>
                <a:lnTo>
                  <a:pt x="394" y="970"/>
                </a:lnTo>
                <a:lnTo>
                  <a:pt x="388" y="970"/>
                </a:lnTo>
                <a:lnTo>
                  <a:pt x="380" y="970"/>
                </a:lnTo>
                <a:lnTo>
                  <a:pt x="376" y="972"/>
                </a:lnTo>
                <a:lnTo>
                  <a:pt x="376" y="972"/>
                </a:lnTo>
                <a:close/>
                <a:moveTo>
                  <a:pt x="412" y="1018"/>
                </a:moveTo>
                <a:lnTo>
                  <a:pt x="412" y="1018"/>
                </a:lnTo>
                <a:lnTo>
                  <a:pt x="406" y="1016"/>
                </a:lnTo>
                <a:lnTo>
                  <a:pt x="402" y="1014"/>
                </a:lnTo>
                <a:lnTo>
                  <a:pt x="400" y="1010"/>
                </a:lnTo>
                <a:lnTo>
                  <a:pt x="400" y="1006"/>
                </a:lnTo>
                <a:lnTo>
                  <a:pt x="400" y="1006"/>
                </a:lnTo>
                <a:lnTo>
                  <a:pt x="394" y="1006"/>
                </a:lnTo>
                <a:lnTo>
                  <a:pt x="392" y="1006"/>
                </a:lnTo>
                <a:lnTo>
                  <a:pt x="392" y="1006"/>
                </a:lnTo>
                <a:lnTo>
                  <a:pt x="394" y="1006"/>
                </a:lnTo>
                <a:lnTo>
                  <a:pt x="400" y="1006"/>
                </a:lnTo>
                <a:lnTo>
                  <a:pt x="400" y="1006"/>
                </a:lnTo>
                <a:lnTo>
                  <a:pt x="400" y="1010"/>
                </a:lnTo>
                <a:lnTo>
                  <a:pt x="402" y="1014"/>
                </a:lnTo>
                <a:lnTo>
                  <a:pt x="406" y="1016"/>
                </a:lnTo>
                <a:lnTo>
                  <a:pt x="412" y="1018"/>
                </a:lnTo>
                <a:lnTo>
                  <a:pt x="412" y="1018"/>
                </a:lnTo>
                <a:lnTo>
                  <a:pt x="412" y="1018"/>
                </a:lnTo>
                <a:lnTo>
                  <a:pt x="412" y="1018"/>
                </a:lnTo>
                <a:close/>
                <a:moveTo>
                  <a:pt x="568" y="964"/>
                </a:moveTo>
                <a:lnTo>
                  <a:pt x="568" y="964"/>
                </a:lnTo>
                <a:lnTo>
                  <a:pt x="558" y="968"/>
                </a:lnTo>
                <a:lnTo>
                  <a:pt x="546" y="968"/>
                </a:lnTo>
                <a:lnTo>
                  <a:pt x="546" y="968"/>
                </a:lnTo>
                <a:lnTo>
                  <a:pt x="540" y="968"/>
                </a:lnTo>
                <a:lnTo>
                  <a:pt x="536" y="970"/>
                </a:lnTo>
                <a:lnTo>
                  <a:pt x="532" y="972"/>
                </a:lnTo>
                <a:lnTo>
                  <a:pt x="528" y="974"/>
                </a:lnTo>
                <a:lnTo>
                  <a:pt x="528" y="974"/>
                </a:lnTo>
                <a:lnTo>
                  <a:pt x="524" y="976"/>
                </a:lnTo>
                <a:lnTo>
                  <a:pt x="524" y="976"/>
                </a:lnTo>
                <a:lnTo>
                  <a:pt x="508" y="974"/>
                </a:lnTo>
                <a:lnTo>
                  <a:pt x="508" y="974"/>
                </a:lnTo>
                <a:lnTo>
                  <a:pt x="508" y="972"/>
                </a:lnTo>
                <a:lnTo>
                  <a:pt x="508" y="972"/>
                </a:lnTo>
                <a:lnTo>
                  <a:pt x="524" y="968"/>
                </a:lnTo>
                <a:lnTo>
                  <a:pt x="524" y="968"/>
                </a:lnTo>
                <a:lnTo>
                  <a:pt x="490" y="970"/>
                </a:lnTo>
                <a:lnTo>
                  <a:pt x="474" y="972"/>
                </a:lnTo>
                <a:lnTo>
                  <a:pt x="460" y="976"/>
                </a:lnTo>
                <a:lnTo>
                  <a:pt x="460" y="976"/>
                </a:lnTo>
                <a:lnTo>
                  <a:pt x="452" y="970"/>
                </a:lnTo>
                <a:lnTo>
                  <a:pt x="448" y="970"/>
                </a:lnTo>
                <a:lnTo>
                  <a:pt x="444" y="972"/>
                </a:lnTo>
                <a:lnTo>
                  <a:pt x="444" y="972"/>
                </a:lnTo>
                <a:lnTo>
                  <a:pt x="444" y="968"/>
                </a:lnTo>
                <a:lnTo>
                  <a:pt x="444" y="968"/>
                </a:lnTo>
                <a:lnTo>
                  <a:pt x="442" y="972"/>
                </a:lnTo>
                <a:lnTo>
                  <a:pt x="442" y="972"/>
                </a:lnTo>
                <a:lnTo>
                  <a:pt x="438" y="974"/>
                </a:lnTo>
                <a:lnTo>
                  <a:pt x="438" y="974"/>
                </a:lnTo>
                <a:lnTo>
                  <a:pt x="436" y="976"/>
                </a:lnTo>
                <a:lnTo>
                  <a:pt x="434" y="978"/>
                </a:lnTo>
                <a:lnTo>
                  <a:pt x="436" y="980"/>
                </a:lnTo>
                <a:lnTo>
                  <a:pt x="438" y="984"/>
                </a:lnTo>
                <a:lnTo>
                  <a:pt x="438" y="984"/>
                </a:lnTo>
                <a:lnTo>
                  <a:pt x="428" y="1004"/>
                </a:lnTo>
                <a:lnTo>
                  <a:pt x="422" y="1012"/>
                </a:lnTo>
                <a:lnTo>
                  <a:pt x="420" y="1012"/>
                </a:lnTo>
                <a:lnTo>
                  <a:pt x="416" y="1012"/>
                </a:lnTo>
                <a:lnTo>
                  <a:pt x="416" y="1012"/>
                </a:lnTo>
                <a:lnTo>
                  <a:pt x="420" y="1008"/>
                </a:lnTo>
                <a:lnTo>
                  <a:pt x="422" y="1000"/>
                </a:lnTo>
                <a:lnTo>
                  <a:pt x="422" y="1000"/>
                </a:lnTo>
                <a:lnTo>
                  <a:pt x="418" y="998"/>
                </a:lnTo>
                <a:lnTo>
                  <a:pt x="414" y="996"/>
                </a:lnTo>
                <a:lnTo>
                  <a:pt x="414" y="996"/>
                </a:lnTo>
                <a:lnTo>
                  <a:pt x="410" y="994"/>
                </a:lnTo>
                <a:lnTo>
                  <a:pt x="408" y="992"/>
                </a:lnTo>
                <a:lnTo>
                  <a:pt x="400" y="992"/>
                </a:lnTo>
                <a:lnTo>
                  <a:pt x="400" y="992"/>
                </a:lnTo>
                <a:lnTo>
                  <a:pt x="400" y="992"/>
                </a:lnTo>
                <a:lnTo>
                  <a:pt x="400" y="992"/>
                </a:lnTo>
                <a:lnTo>
                  <a:pt x="408" y="992"/>
                </a:lnTo>
                <a:lnTo>
                  <a:pt x="410" y="994"/>
                </a:lnTo>
                <a:lnTo>
                  <a:pt x="414" y="996"/>
                </a:lnTo>
                <a:lnTo>
                  <a:pt x="414" y="996"/>
                </a:lnTo>
                <a:lnTo>
                  <a:pt x="418" y="998"/>
                </a:lnTo>
                <a:lnTo>
                  <a:pt x="422" y="1000"/>
                </a:lnTo>
                <a:lnTo>
                  <a:pt x="422" y="1000"/>
                </a:lnTo>
                <a:lnTo>
                  <a:pt x="430" y="968"/>
                </a:lnTo>
                <a:lnTo>
                  <a:pt x="432" y="952"/>
                </a:lnTo>
                <a:lnTo>
                  <a:pt x="436" y="942"/>
                </a:lnTo>
                <a:lnTo>
                  <a:pt x="436" y="942"/>
                </a:lnTo>
                <a:lnTo>
                  <a:pt x="438" y="930"/>
                </a:lnTo>
                <a:lnTo>
                  <a:pt x="438" y="930"/>
                </a:lnTo>
                <a:lnTo>
                  <a:pt x="438" y="930"/>
                </a:lnTo>
                <a:lnTo>
                  <a:pt x="438" y="930"/>
                </a:lnTo>
                <a:lnTo>
                  <a:pt x="436" y="942"/>
                </a:lnTo>
                <a:lnTo>
                  <a:pt x="436" y="942"/>
                </a:lnTo>
                <a:lnTo>
                  <a:pt x="436" y="940"/>
                </a:lnTo>
                <a:lnTo>
                  <a:pt x="436" y="940"/>
                </a:lnTo>
                <a:lnTo>
                  <a:pt x="434" y="976"/>
                </a:lnTo>
                <a:lnTo>
                  <a:pt x="432" y="990"/>
                </a:lnTo>
                <a:lnTo>
                  <a:pt x="430" y="998"/>
                </a:lnTo>
                <a:lnTo>
                  <a:pt x="430" y="998"/>
                </a:lnTo>
                <a:lnTo>
                  <a:pt x="432" y="990"/>
                </a:lnTo>
                <a:lnTo>
                  <a:pt x="434" y="976"/>
                </a:lnTo>
                <a:lnTo>
                  <a:pt x="438" y="940"/>
                </a:lnTo>
                <a:lnTo>
                  <a:pt x="438" y="940"/>
                </a:lnTo>
                <a:lnTo>
                  <a:pt x="438" y="940"/>
                </a:lnTo>
                <a:lnTo>
                  <a:pt x="438" y="940"/>
                </a:lnTo>
                <a:lnTo>
                  <a:pt x="444" y="940"/>
                </a:lnTo>
                <a:lnTo>
                  <a:pt x="444" y="940"/>
                </a:lnTo>
                <a:lnTo>
                  <a:pt x="458" y="936"/>
                </a:lnTo>
                <a:lnTo>
                  <a:pt x="458" y="936"/>
                </a:lnTo>
                <a:lnTo>
                  <a:pt x="452" y="930"/>
                </a:lnTo>
                <a:lnTo>
                  <a:pt x="452" y="930"/>
                </a:lnTo>
                <a:lnTo>
                  <a:pt x="480" y="932"/>
                </a:lnTo>
                <a:lnTo>
                  <a:pt x="480" y="932"/>
                </a:lnTo>
                <a:lnTo>
                  <a:pt x="480" y="934"/>
                </a:lnTo>
                <a:lnTo>
                  <a:pt x="480" y="934"/>
                </a:lnTo>
                <a:lnTo>
                  <a:pt x="482" y="936"/>
                </a:lnTo>
                <a:lnTo>
                  <a:pt x="482" y="936"/>
                </a:lnTo>
                <a:lnTo>
                  <a:pt x="486" y="936"/>
                </a:lnTo>
                <a:lnTo>
                  <a:pt x="486" y="938"/>
                </a:lnTo>
                <a:lnTo>
                  <a:pt x="486" y="938"/>
                </a:lnTo>
                <a:lnTo>
                  <a:pt x="488" y="944"/>
                </a:lnTo>
                <a:lnTo>
                  <a:pt x="490" y="946"/>
                </a:lnTo>
                <a:lnTo>
                  <a:pt x="500" y="952"/>
                </a:lnTo>
                <a:lnTo>
                  <a:pt x="500" y="952"/>
                </a:lnTo>
                <a:lnTo>
                  <a:pt x="498" y="954"/>
                </a:lnTo>
                <a:lnTo>
                  <a:pt x="494" y="954"/>
                </a:lnTo>
                <a:lnTo>
                  <a:pt x="490" y="954"/>
                </a:lnTo>
                <a:lnTo>
                  <a:pt x="486" y="954"/>
                </a:lnTo>
                <a:lnTo>
                  <a:pt x="486" y="954"/>
                </a:lnTo>
                <a:lnTo>
                  <a:pt x="494" y="958"/>
                </a:lnTo>
                <a:lnTo>
                  <a:pt x="498" y="960"/>
                </a:lnTo>
                <a:lnTo>
                  <a:pt x="502" y="958"/>
                </a:lnTo>
                <a:lnTo>
                  <a:pt x="502" y="958"/>
                </a:lnTo>
                <a:lnTo>
                  <a:pt x="506" y="958"/>
                </a:lnTo>
                <a:lnTo>
                  <a:pt x="506" y="958"/>
                </a:lnTo>
                <a:lnTo>
                  <a:pt x="512" y="960"/>
                </a:lnTo>
                <a:lnTo>
                  <a:pt x="518" y="960"/>
                </a:lnTo>
                <a:lnTo>
                  <a:pt x="530" y="956"/>
                </a:lnTo>
                <a:lnTo>
                  <a:pt x="530" y="956"/>
                </a:lnTo>
                <a:lnTo>
                  <a:pt x="540" y="954"/>
                </a:lnTo>
                <a:lnTo>
                  <a:pt x="540" y="954"/>
                </a:lnTo>
                <a:lnTo>
                  <a:pt x="552" y="954"/>
                </a:lnTo>
                <a:lnTo>
                  <a:pt x="558" y="958"/>
                </a:lnTo>
                <a:lnTo>
                  <a:pt x="564" y="960"/>
                </a:lnTo>
                <a:lnTo>
                  <a:pt x="564" y="960"/>
                </a:lnTo>
                <a:lnTo>
                  <a:pt x="564" y="956"/>
                </a:lnTo>
                <a:lnTo>
                  <a:pt x="566" y="954"/>
                </a:lnTo>
                <a:lnTo>
                  <a:pt x="570" y="954"/>
                </a:lnTo>
                <a:lnTo>
                  <a:pt x="570" y="954"/>
                </a:lnTo>
                <a:lnTo>
                  <a:pt x="570" y="960"/>
                </a:lnTo>
                <a:lnTo>
                  <a:pt x="570" y="962"/>
                </a:lnTo>
                <a:lnTo>
                  <a:pt x="568" y="964"/>
                </a:lnTo>
                <a:lnTo>
                  <a:pt x="568" y="964"/>
                </a:lnTo>
                <a:close/>
                <a:moveTo>
                  <a:pt x="700" y="978"/>
                </a:moveTo>
                <a:lnTo>
                  <a:pt x="700" y="978"/>
                </a:lnTo>
                <a:lnTo>
                  <a:pt x="704" y="978"/>
                </a:lnTo>
                <a:lnTo>
                  <a:pt x="704" y="978"/>
                </a:lnTo>
                <a:lnTo>
                  <a:pt x="704" y="976"/>
                </a:lnTo>
                <a:lnTo>
                  <a:pt x="704" y="976"/>
                </a:lnTo>
                <a:lnTo>
                  <a:pt x="704" y="976"/>
                </a:lnTo>
                <a:lnTo>
                  <a:pt x="706" y="978"/>
                </a:lnTo>
                <a:lnTo>
                  <a:pt x="706" y="978"/>
                </a:lnTo>
                <a:lnTo>
                  <a:pt x="700" y="978"/>
                </a:lnTo>
                <a:lnTo>
                  <a:pt x="700" y="978"/>
                </a:lnTo>
                <a:lnTo>
                  <a:pt x="700" y="978"/>
                </a:lnTo>
                <a:lnTo>
                  <a:pt x="700" y="978"/>
                </a:lnTo>
                <a:close/>
                <a:moveTo>
                  <a:pt x="704" y="1006"/>
                </a:moveTo>
                <a:lnTo>
                  <a:pt x="704" y="1006"/>
                </a:lnTo>
                <a:lnTo>
                  <a:pt x="704" y="1006"/>
                </a:lnTo>
                <a:lnTo>
                  <a:pt x="704" y="1006"/>
                </a:lnTo>
                <a:lnTo>
                  <a:pt x="706" y="1004"/>
                </a:lnTo>
                <a:lnTo>
                  <a:pt x="706" y="1004"/>
                </a:lnTo>
                <a:lnTo>
                  <a:pt x="704" y="1004"/>
                </a:lnTo>
                <a:lnTo>
                  <a:pt x="704" y="1004"/>
                </a:lnTo>
                <a:lnTo>
                  <a:pt x="704" y="1004"/>
                </a:lnTo>
                <a:lnTo>
                  <a:pt x="704" y="1004"/>
                </a:lnTo>
                <a:lnTo>
                  <a:pt x="706" y="1004"/>
                </a:lnTo>
                <a:lnTo>
                  <a:pt x="706" y="1004"/>
                </a:lnTo>
                <a:lnTo>
                  <a:pt x="704" y="1006"/>
                </a:lnTo>
                <a:lnTo>
                  <a:pt x="704" y="1006"/>
                </a:lnTo>
                <a:close/>
                <a:moveTo>
                  <a:pt x="648" y="1110"/>
                </a:moveTo>
                <a:lnTo>
                  <a:pt x="648" y="1110"/>
                </a:lnTo>
                <a:lnTo>
                  <a:pt x="658" y="1112"/>
                </a:lnTo>
                <a:lnTo>
                  <a:pt x="658" y="1112"/>
                </a:lnTo>
                <a:lnTo>
                  <a:pt x="658" y="1114"/>
                </a:lnTo>
                <a:lnTo>
                  <a:pt x="658" y="1114"/>
                </a:lnTo>
                <a:lnTo>
                  <a:pt x="658" y="1114"/>
                </a:lnTo>
                <a:lnTo>
                  <a:pt x="658" y="1114"/>
                </a:lnTo>
                <a:lnTo>
                  <a:pt x="658" y="1112"/>
                </a:lnTo>
                <a:lnTo>
                  <a:pt x="656" y="1112"/>
                </a:lnTo>
                <a:lnTo>
                  <a:pt x="648" y="1110"/>
                </a:lnTo>
                <a:lnTo>
                  <a:pt x="648" y="1110"/>
                </a:lnTo>
                <a:lnTo>
                  <a:pt x="648" y="1110"/>
                </a:lnTo>
                <a:lnTo>
                  <a:pt x="648" y="1110"/>
                </a:lnTo>
                <a:close/>
                <a:moveTo>
                  <a:pt x="658" y="1116"/>
                </a:moveTo>
                <a:lnTo>
                  <a:pt x="658" y="1116"/>
                </a:lnTo>
                <a:lnTo>
                  <a:pt x="658" y="1116"/>
                </a:lnTo>
                <a:lnTo>
                  <a:pt x="658" y="1116"/>
                </a:lnTo>
                <a:lnTo>
                  <a:pt x="658" y="1116"/>
                </a:lnTo>
                <a:lnTo>
                  <a:pt x="658" y="1116"/>
                </a:lnTo>
                <a:lnTo>
                  <a:pt x="658" y="1116"/>
                </a:lnTo>
                <a:lnTo>
                  <a:pt x="658" y="1116"/>
                </a:lnTo>
                <a:lnTo>
                  <a:pt x="658" y="1116"/>
                </a:lnTo>
                <a:close/>
                <a:moveTo>
                  <a:pt x="756" y="1122"/>
                </a:moveTo>
                <a:lnTo>
                  <a:pt x="756" y="1122"/>
                </a:lnTo>
                <a:lnTo>
                  <a:pt x="756" y="1122"/>
                </a:lnTo>
                <a:lnTo>
                  <a:pt x="756" y="1122"/>
                </a:lnTo>
                <a:lnTo>
                  <a:pt x="756" y="1122"/>
                </a:lnTo>
                <a:lnTo>
                  <a:pt x="756" y="1122"/>
                </a:lnTo>
                <a:lnTo>
                  <a:pt x="756" y="1122"/>
                </a:lnTo>
                <a:lnTo>
                  <a:pt x="756" y="1122"/>
                </a:lnTo>
                <a:lnTo>
                  <a:pt x="756" y="1122"/>
                </a:lnTo>
                <a:lnTo>
                  <a:pt x="756" y="1122"/>
                </a:lnTo>
                <a:close/>
                <a:moveTo>
                  <a:pt x="784" y="1108"/>
                </a:moveTo>
                <a:lnTo>
                  <a:pt x="784" y="1108"/>
                </a:lnTo>
                <a:lnTo>
                  <a:pt x="784" y="1108"/>
                </a:lnTo>
                <a:lnTo>
                  <a:pt x="784" y="1108"/>
                </a:lnTo>
                <a:lnTo>
                  <a:pt x="782" y="1106"/>
                </a:lnTo>
                <a:lnTo>
                  <a:pt x="782" y="1106"/>
                </a:lnTo>
                <a:lnTo>
                  <a:pt x="784" y="1108"/>
                </a:lnTo>
                <a:lnTo>
                  <a:pt x="784" y="1108"/>
                </a:lnTo>
                <a:close/>
                <a:moveTo>
                  <a:pt x="784" y="1124"/>
                </a:moveTo>
                <a:lnTo>
                  <a:pt x="784" y="1124"/>
                </a:lnTo>
                <a:lnTo>
                  <a:pt x="784" y="1124"/>
                </a:lnTo>
                <a:lnTo>
                  <a:pt x="784" y="1124"/>
                </a:lnTo>
                <a:lnTo>
                  <a:pt x="782" y="1124"/>
                </a:lnTo>
                <a:lnTo>
                  <a:pt x="782" y="1124"/>
                </a:lnTo>
                <a:lnTo>
                  <a:pt x="782" y="1124"/>
                </a:lnTo>
                <a:lnTo>
                  <a:pt x="782" y="1124"/>
                </a:lnTo>
                <a:lnTo>
                  <a:pt x="784" y="1124"/>
                </a:lnTo>
                <a:lnTo>
                  <a:pt x="784" y="1124"/>
                </a:lnTo>
                <a:close/>
                <a:moveTo>
                  <a:pt x="1110" y="1130"/>
                </a:moveTo>
                <a:lnTo>
                  <a:pt x="1110" y="1130"/>
                </a:lnTo>
                <a:lnTo>
                  <a:pt x="1118" y="1130"/>
                </a:lnTo>
                <a:lnTo>
                  <a:pt x="1124" y="1134"/>
                </a:lnTo>
                <a:lnTo>
                  <a:pt x="1124" y="1134"/>
                </a:lnTo>
                <a:lnTo>
                  <a:pt x="1126" y="1136"/>
                </a:lnTo>
                <a:lnTo>
                  <a:pt x="1126" y="1136"/>
                </a:lnTo>
                <a:lnTo>
                  <a:pt x="1120" y="1138"/>
                </a:lnTo>
                <a:lnTo>
                  <a:pt x="1120" y="1138"/>
                </a:lnTo>
                <a:lnTo>
                  <a:pt x="1112" y="1136"/>
                </a:lnTo>
                <a:lnTo>
                  <a:pt x="1110" y="1134"/>
                </a:lnTo>
                <a:lnTo>
                  <a:pt x="1110" y="1130"/>
                </a:lnTo>
                <a:lnTo>
                  <a:pt x="1110" y="1130"/>
                </a:lnTo>
                <a:close/>
                <a:moveTo>
                  <a:pt x="1072" y="1058"/>
                </a:moveTo>
                <a:lnTo>
                  <a:pt x="1072" y="1058"/>
                </a:lnTo>
                <a:lnTo>
                  <a:pt x="1082" y="1062"/>
                </a:lnTo>
                <a:lnTo>
                  <a:pt x="1082" y="1062"/>
                </a:lnTo>
                <a:lnTo>
                  <a:pt x="1074" y="1068"/>
                </a:lnTo>
                <a:lnTo>
                  <a:pt x="1074" y="1068"/>
                </a:lnTo>
                <a:lnTo>
                  <a:pt x="1074" y="1068"/>
                </a:lnTo>
                <a:lnTo>
                  <a:pt x="1074" y="1068"/>
                </a:lnTo>
                <a:lnTo>
                  <a:pt x="1082" y="1062"/>
                </a:lnTo>
                <a:lnTo>
                  <a:pt x="1082" y="1062"/>
                </a:lnTo>
                <a:lnTo>
                  <a:pt x="1072" y="1058"/>
                </a:lnTo>
                <a:lnTo>
                  <a:pt x="1072" y="1058"/>
                </a:lnTo>
                <a:lnTo>
                  <a:pt x="1072" y="1058"/>
                </a:lnTo>
                <a:lnTo>
                  <a:pt x="1072" y="1058"/>
                </a:lnTo>
                <a:close/>
                <a:moveTo>
                  <a:pt x="992" y="934"/>
                </a:moveTo>
                <a:lnTo>
                  <a:pt x="992" y="934"/>
                </a:lnTo>
                <a:lnTo>
                  <a:pt x="1000" y="934"/>
                </a:lnTo>
                <a:lnTo>
                  <a:pt x="1002" y="934"/>
                </a:lnTo>
                <a:lnTo>
                  <a:pt x="1004" y="932"/>
                </a:lnTo>
                <a:lnTo>
                  <a:pt x="1004" y="932"/>
                </a:lnTo>
                <a:lnTo>
                  <a:pt x="1004" y="932"/>
                </a:lnTo>
                <a:lnTo>
                  <a:pt x="1004" y="932"/>
                </a:lnTo>
                <a:lnTo>
                  <a:pt x="1002" y="934"/>
                </a:lnTo>
                <a:lnTo>
                  <a:pt x="1000" y="934"/>
                </a:lnTo>
                <a:lnTo>
                  <a:pt x="992" y="934"/>
                </a:lnTo>
                <a:lnTo>
                  <a:pt x="992" y="934"/>
                </a:lnTo>
                <a:lnTo>
                  <a:pt x="992" y="934"/>
                </a:lnTo>
                <a:lnTo>
                  <a:pt x="992" y="934"/>
                </a:lnTo>
                <a:close/>
                <a:moveTo>
                  <a:pt x="980" y="912"/>
                </a:moveTo>
                <a:lnTo>
                  <a:pt x="980" y="912"/>
                </a:lnTo>
                <a:lnTo>
                  <a:pt x="980" y="912"/>
                </a:lnTo>
                <a:lnTo>
                  <a:pt x="952" y="912"/>
                </a:lnTo>
                <a:lnTo>
                  <a:pt x="952" y="912"/>
                </a:lnTo>
                <a:lnTo>
                  <a:pt x="952" y="912"/>
                </a:lnTo>
                <a:lnTo>
                  <a:pt x="980" y="912"/>
                </a:lnTo>
                <a:close/>
                <a:moveTo>
                  <a:pt x="924" y="978"/>
                </a:moveTo>
                <a:lnTo>
                  <a:pt x="924" y="978"/>
                </a:lnTo>
                <a:lnTo>
                  <a:pt x="920" y="982"/>
                </a:lnTo>
                <a:lnTo>
                  <a:pt x="914" y="982"/>
                </a:lnTo>
                <a:lnTo>
                  <a:pt x="906" y="984"/>
                </a:lnTo>
                <a:lnTo>
                  <a:pt x="906" y="984"/>
                </a:lnTo>
                <a:lnTo>
                  <a:pt x="888" y="990"/>
                </a:lnTo>
                <a:lnTo>
                  <a:pt x="888" y="990"/>
                </a:lnTo>
                <a:lnTo>
                  <a:pt x="892" y="982"/>
                </a:lnTo>
                <a:lnTo>
                  <a:pt x="892" y="982"/>
                </a:lnTo>
                <a:lnTo>
                  <a:pt x="886" y="978"/>
                </a:lnTo>
                <a:lnTo>
                  <a:pt x="886" y="978"/>
                </a:lnTo>
                <a:lnTo>
                  <a:pt x="896" y="976"/>
                </a:lnTo>
                <a:lnTo>
                  <a:pt x="906" y="976"/>
                </a:lnTo>
                <a:lnTo>
                  <a:pt x="924" y="978"/>
                </a:lnTo>
                <a:lnTo>
                  <a:pt x="924" y="978"/>
                </a:lnTo>
                <a:close/>
                <a:moveTo>
                  <a:pt x="904" y="994"/>
                </a:moveTo>
                <a:lnTo>
                  <a:pt x="904" y="994"/>
                </a:lnTo>
                <a:lnTo>
                  <a:pt x="904" y="994"/>
                </a:lnTo>
                <a:lnTo>
                  <a:pt x="904" y="994"/>
                </a:lnTo>
                <a:lnTo>
                  <a:pt x="920" y="998"/>
                </a:lnTo>
                <a:lnTo>
                  <a:pt x="920" y="1000"/>
                </a:lnTo>
                <a:lnTo>
                  <a:pt x="920" y="1000"/>
                </a:lnTo>
                <a:lnTo>
                  <a:pt x="920" y="1000"/>
                </a:lnTo>
                <a:lnTo>
                  <a:pt x="920" y="1000"/>
                </a:lnTo>
                <a:lnTo>
                  <a:pt x="920" y="998"/>
                </a:lnTo>
                <a:lnTo>
                  <a:pt x="920" y="998"/>
                </a:lnTo>
                <a:lnTo>
                  <a:pt x="904" y="994"/>
                </a:lnTo>
                <a:lnTo>
                  <a:pt x="904" y="994"/>
                </a:lnTo>
                <a:close/>
                <a:moveTo>
                  <a:pt x="938" y="1038"/>
                </a:moveTo>
                <a:lnTo>
                  <a:pt x="938" y="1038"/>
                </a:lnTo>
                <a:lnTo>
                  <a:pt x="942" y="1042"/>
                </a:lnTo>
                <a:lnTo>
                  <a:pt x="942" y="1042"/>
                </a:lnTo>
                <a:lnTo>
                  <a:pt x="936" y="1042"/>
                </a:lnTo>
                <a:lnTo>
                  <a:pt x="936" y="1042"/>
                </a:lnTo>
                <a:lnTo>
                  <a:pt x="940" y="1042"/>
                </a:lnTo>
                <a:lnTo>
                  <a:pt x="940" y="1042"/>
                </a:lnTo>
                <a:lnTo>
                  <a:pt x="938" y="1038"/>
                </a:lnTo>
                <a:lnTo>
                  <a:pt x="938" y="1038"/>
                </a:lnTo>
                <a:close/>
                <a:moveTo>
                  <a:pt x="940" y="1046"/>
                </a:moveTo>
                <a:lnTo>
                  <a:pt x="940" y="1046"/>
                </a:lnTo>
                <a:lnTo>
                  <a:pt x="940" y="1046"/>
                </a:lnTo>
                <a:lnTo>
                  <a:pt x="940" y="1046"/>
                </a:lnTo>
                <a:lnTo>
                  <a:pt x="946" y="1048"/>
                </a:lnTo>
                <a:lnTo>
                  <a:pt x="946" y="1048"/>
                </a:lnTo>
                <a:lnTo>
                  <a:pt x="944" y="1048"/>
                </a:lnTo>
                <a:lnTo>
                  <a:pt x="944" y="1048"/>
                </a:lnTo>
                <a:lnTo>
                  <a:pt x="944" y="1048"/>
                </a:lnTo>
                <a:lnTo>
                  <a:pt x="944" y="1048"/>
                </a:lnTo>
                <a:lnTo>
                  <a:pt x="946" y="1048"/>
                </a:lnTo>
                <a:lnTo>
                  <a:pt x="946" y="1048"/>
                </a:lnTo>
                <a:lnTo>
                  <a:pt x="940" y="1046"/>
                </a:lnTo>
                <a:lnTo>
                  <a:pt x="940" y="1046"/>
                </a:lnTo>
                <a:close/>
                <a:moveTo>
                  <a:pt x="936" y="1052"/>
                </a:moveTo>
                <a:lnTo>
                  <a:pt x="936" y="1052"/>
                </a:lnTo>
                <a:lnTo>
                  <a:pt x="936" y="1052"/>
                </a:lnTo>
                <a:lnTo>
                  <a:pt x="936" y="1052"/>
                </a:lnTo>
                <a:lnTo>
                  <a:pt x="940" y="1054"/>
                </a:lnTo>
                <a:lnTo>
                  <a:pt x="940" y="1054"/>
                </a:lnTo>
                <a:lnTo>
                  <a:pt x="936" y="1056"/>
                </a:lnTo>
                <a:lnTo>
                  <a:pt x="936" y="1056"/>
                </a:lnTo>
                <a:lnTo>
                  <a:pt x="936" y="1056"/>
                </a:lnTo>
                <a:lnTo>
                  <a:pt x="936" y="1056"/>
                </a:lnTo>
                <a:lnTo>
                  <a:pt x="940" y="1054"/>
                </a:lnTo>
                <a:lnTo>
                  <a:pt x="940" y="1054"/>
                </a:lnTo>
                <a:lnTo>
                  <a:pt x="936" y="1052"/>
                </a:lnTo>
                <a:lnTo>
                  <a:pt x="936" y="1052"/>
                </a:lnTo>
                <a:close/>
                <a:moveTo>
                  <a:pt x="848" y="1038"/>
                </a:moveTo>
                <a:lnTo>
                  <a:pt x="848" y="1038"/>
                </a:lnTo>
                <a:lnTo>
                  <a:pt x="848" y="1038"/>
                </a:lnTo>
                <a:lnTo>
                  <a:pt x="848" y="1038"/>
                </a:lnTo>
                <a:lnTo>
                  <a:pt x="848" y="1040"/>
                </a:lnTo>
                <a:lnTo>
                  <a:pt x="848" y="1040"/>
                </a:lnTo>
                <a:lnTo>
                  <a:pt x="850" y="1038"/>
                </a:lnTo>
                <a:lnTo>
                  <a:pt x="850" y="1038"/>
                </a:lnTo>
                <a:lnTo>
                  <a:pt x="848" y="1040"/>
                </a:lnTo>
                <a:lnTo>
                  <a:pt x="848" y="1040"/>
                </a:lnTo>
                <a:lnTo>
                  <a:pt x="856" y="1048"/>
                </a:lnTo>
                <a:lnTo>
                  <a:pt x="856" y="1048"/>
                </a:lnTo>
                <a:lnTo>
                  <a:pt x="850" y="1050"/>
                </a:lnTo>
                <a:lnTo>
                  <a:pt x="850" y="1050"/>
                </a:lnTo>
                <a:lnTo>
                  <a:pt x="856" y="1048"/>
                </a:lnTo>
                <a:lnTo>
                  <a:pt x="856" y="1048"/>
                </a:lnTo>
                <a:lnTo>
                  <a:pt x="848" y="1040"/>
                </a:lnTo>
                <a:lnTo>
                  <a:pt x="848" y="1040"/>
                </a:lnTo>
                <a:lnTo>
                  <a:pt x="842" y="1052"/>
                </a:lnTo>
                <a:lnTo>
                  <a:pt x="842" y="1052"/>
                </a:lnTo>
                <a:lnTo>
                  <a:pt x="840" y="1052"/>
                </a:lnTo>
                <a:lnTo>
                  <a:pt x="840" y="1052"/>
                </a:lnTo>
                <a:lnTo>
                  <a:pt x="838" y="1050"/>
                </a:lnTo>
                <a:lnTo>
                  <a:pt x="838" y="1050"/>
                </a:lnTo>
                <a:lnTo>
                  <a:pt x="848" y="1040"/>
                </a:lnTo>
                <a:lnTo>
                  <a:pt x="848" y="1040"/>
                </a:lnTo>
                <a:lnTo>
                  <a:pt x="848" y="1038"/>
                </a:lnTo>
                <a:lnTo>
                  <a:pt x="848" y="1038"/>
                </a:lnTo>
                <a:close/>
                <a:moveTo>
                  <a:pt x="856" y="1052"/>
                </a:moveTo>
                <a:lnTo>
                  <a:pt x="856" y="1052"/>
                </a:lnTo>
                <a:lnTo>
                  <a:pt x="856" y="1050"/>
                </a:lnTo>
                <a:lnTo>
                  <a:pt x="856" y="1050"/>
                </a:lnTo>
                <a:lnTo>
                  <a:pt x="858" y="1050"/>
                </a:lnTo>
                <a:lnTo>
                  <a:pt x="858" y="1050"/>
                </a:lnTo>
                <a:lnTo>
                  <a:pt x="856" y="1052"/>
                </a:lnTo>
                <a:lnTo>
                  <a:pt x="856" y="1052"/>
                </a:lnTo>
                <a:close/>
                <a:moveTo>
                  <a:pt x="834" y="1056"/>
                </a:moveTo>
                <a:lnTo>
                  <a:pt x="834" y="1056"/>
                </a:lnTo>
                <a:lnTo>
                  <a:pt x="832" y="1056"/>
                </a:lnTo>
                <a:lnTo>
                  <a:pt x="832" y="1056"/>
                </a:lnTo>
                <a:lnTo>
                  <a:pt x="834" y="1054"/>
                </a:lnTo>
                <a:lnTo>
                  <a:pt x="834" y="1054"/>
                </a:lnTo>
                <a:lnTo>
                  <a:pt x="834" y="1056"/>
                </a:lnTo>
                <a:lnTo>
                  <a:pt x="834" y="1056"/>
                </a:lnTo>
                <a:close/>
                <a:moveTo>
                  <a:pt x="826" y="1072"/>
                </a:moveTo>
                <a:lnTo>
                  <a:pt x="826" y="1072"/>
                </a:lnTo>
                <a:lnTo>
                  <a:pt x="826" y="1076"/>
                </a:lnTo>
                <a:lnTo>
                  <a:pt x="826" y="1076"/>
                </a:lnTo>
                <a:lnTo>
                  <a:pt x="826" y="1072"/>
                </a:lnTo>
                <a:lnTo>
                  <a:pt x="826" y="1072"/>
                </a:lnTo>
                <a:lnTo>
                  <a:pt x="826" y="1072"/>
                </a:lnTo>
                <a:lnTo>
                  <a:pt x="826" y="1072"/>
                </a:lnTo>
                <a:close/>
                <a:moveTo>
                  <a:pt x="928" y="1050"/>
                </a:moveTo>
                <a:lnTo>
                  <a:pt x="928" y="1050"/>
                </a:lnTo>
                <a:lnTo>
                  <a:pt x="928" y="1050"/>
                </a:lnTo>
                <a:lnTo>
                  <a:pt x="928" y="1050"/>
                </a:lnTo>
                <a:lnTo>
                  <a:pt x="930" y="1048"/>
                </a:lnTo>
                <a:lnTo>
                  <a:pt x="930" y="1044"/>
                </a:lnTo>
                <a:lnTo>
                  <a:pt x="930" y="1044"/>
                </a:lnTo>
                <a:lnTo>
                  <a:pt x="914" y="1042"/>
                </a:lnTo>
                <a:lnTo>
                  <a:pt x="914" y="1042"/>
                </a:lnTo>
                <a:lnTo>
                  <a:pt x="914" y="1042"/>
                </a:lnTo>
                <a:lnTo>
                  <a:pt x="914" y="1042"/>
                </a:lnTo>
                <a:lnTo>
                  <a:pt x="930" y="1044"/>
                </a:lnTo>
                <a:lnTo>
                  <a:pt x="930" y="1044"/>
                </a:lnTo>
                <a:lnTo>
                  <a:pt x="930" y="1048"/>
                </a:lnTo>
                <a:lnTo>
                  <a:pt x="928" y="1050"/>
                </a:lnTo>
                <a:lnTo>
                  <a:pt x="928" y="1050"/>
                </a:lnTo>
                <a:close/>
                <a:moveTo>
                  <a:pt x="916" y="1050"/>
                </a:moveTo>
                <a:lnTo>
                  <a:pt x="916" y="1050"/>
                </a:lnTo>
                <a:lnTo>
                  <a:pt x="916" y="1050"/>
                </a:lnTo>
                <a:lnTo>
                  <a:pt x="916" y="1050"/>
                </a:lnTo>
                <a:lnTo>
                  <a:pt x="916" y="1054"/>
                </a:lnTo>
                <a:lnTo>
                  <a:pt x="916" y="1054"/>
                </a:lnTo>
                <a:lnTo>
                  <a:pt x="916" y="1054"/>
                </a:lnTo>
                <a:lnTo>
                  <a:pt x="916" y="1054"/>
                </a:lnTo>
                <a:lnTo>
                  <a:pt x="916" y="1050"/>
                </a:lnTo>
                <a:lnTo>
                  <a:pt x="916" y="1050"/>
                </a:lnTo>
                <a:close/>
                <a:moveTo>
                  <a:pt x="866" y="994"/>
                </a:moveTo>
                <a:lnTo>
                  <a:pt x="866" y="994"/>
                </a:lnTo>
                <a:lnTo>
                  <a:pt x="866" y="994"/>
                </a:lnTo>
                <a:lnTo>
                  <a:pt x="866" y="994"/>
                </a:lnTo>
                <a:lnTo>
                  <a:pt x="874" y="990"/>
                </a:lnTo>
                <a:lnTo>
                  <a:pt x="878" y="990"/>
                </a:lnTo>
                <a:lnTo>
                  <a:pt x="882" y="990"/>
                </a:lnTo>
                <a:lnTo>
                  <a:pt x="882" y="990"/>
                </a:lnTo>
                <a:lnTo>
                  <a:pt x="880" y="994"/>
                </a:lnTo>
                <a:lnTo>
                  <a:pt x="878" y="996"/>
                </a:lnTo>
                <a:lnTo>
                  <a:pt x="878" y="996"/>
                </a:lnTo>
                <a:lnTo>
                  <a:pt x="882" y="990"/>
                </a:lnTo>
                <a:lnTo>
                  <a:pt x="882" y="990"/>
                </a:lnTo>
                <a:lnTo>
                  <a:pt x="878" y="990"/>
                </a:lnTo>
                <a:lnTo>
                  <a:pt x="874" y="990"/>
                </a:lnTo>
                <a:lnTo>
                  <a:pt x="866" y="994"/>
                </a:lnTo>
                <a:lnTo>
                  <a:pt x="866" y="994"/>
                </a:lnTo>
                <a:close/>
                <a:moveTo>
                  <a:pt x="896" y="1012"/>
                </a:moveTo>
                <a:lnTo>
                  <a:pt x="896" y="1012"/>
                </a:lnTo>
                <a:lnTo>
                  <a:pt x="890" y="1010"/>
                </a:lnTo>
                <a:lnTo>
                  <a:pt x="890" y="1010"/>
                </a:lnTo>
                <a:lnTo>
                  <a:pt x="896" y="1012"/>
                </a:lnTo>
                <a:lnTo>
                  <a:pt x="896" y="1012"/>
                </a:lnTo>
                <a:lnTo>
                  <a:pt x="894" y="1016"/>
                </a:lnTo>
                <a:lnTo>
                  <a:pt x="890" y="1018"/>
                </a:lnTo>
                <a:lnTo>
                  <a:pt x="886" y="1020"/>
                </a:lnTo>
                <a:lnTo>
                  <a:pt x="880" y="1020"/>
                </a:lnTo>
                <a:lnTo>
                  <a:pt x="880" y="1020"/>
                </a:lnTo>
                <a:lnTo>
                  <a:pt x="886" y="1020"/>
                </a:lnTo>
                <a:lnTo>
                  <a:pt x="890" y="1018"/>
                </a:lnTo>
                <a:lnTo>
                  <a:pt x="894" y="1016"/>
                </a:lnTo>
                <a:lnTo>
                  <a:pt x="896" y="1012"/>
                </a:lnTo>
                <a:lnTo>
                  <a:pt x="896" y="1012"/>
                </a:lnTo>
                <a:close/>
                <a:moveTo>
                  <a:pt x="888" y="998"/>
                </a:moveTo>
                <a:lnTo>
                  <a:pt x="888" y="998"/>
                </a:lnTo>
                <a:lnTo>
                  <a:pt x="888" y="998"/>
                </a:lnTo>
                <a:lnTo>
                  <a:pt x="888" y="998"/>
                </a:lnTo>
                <a:lnTo>
                  <a:pt x="890" y="1000"/>
                </a:lnTo>
                <a:lnTo>
                  <a:pt x="890" y="1000"/>
                </a:lnTo>
                <a:lnTo>
                  <a:pt x="882" y="1002"/>
                </a:lnTo>
                <a:lnTo>
                  <a:pt x="882" y="1002"/>
                </a:lnTo>
                <a:lnTo>
                  <a:pt x="882" y="1002"/>
                </a:lnTo>
                <a:lnTo>
                  <a:pt x="882" y="1002"/>
                </a:lnTo>
                <a:lnTo>
                  <a:pt x="888" y="1000"/>
                </a:lnTo>
                <a:lnTo>
                  <a:pt x="888" y="1000"/>
                </a:lnTo>
                <a:lnTo>
                  <a:pt x="888" y="998"/>
                </a:lnTo>
                <a:lnTo>
                  <a:pt x="888" y="998"/>
                </a:lnTo>
                <a:close/>
                <a:moveTo>
                  <a:pt x="898" y="1022"/>
                </a:moveTo>
                <a:lnTo>
                  <a:pt x="898" y="1022"/>
                </a:lnTo>
                <a:lnTo>
                  <a:pt x="898" y="1022"/>
                </a:lnTo>
                <a:lnTo>
                  <a:pt x="898" y="1022"/>
                </a:lnTo>
                <a:lnTo>
                  <a:pt x="894" y="1026"/>
                </a:lnTo>
                <a:lnTo>
                  <a:pt x="890" y="1026"/>
                </a:lnTo>
                <a:lnTo>
                  <a:pt x="890" y="1026"/>
                </a:lnTo>
                <a:lnTo>
                  <a:pt x="894" y="1026"/>
                </a:lnTo>
                <a:lnTo>
                  <a:pt x="898" y="1022"/>
                </a:lnTo>
                <a:lnTo>
                  <a:pt x="898" y="1022"/>
                </a:lnTo>
                <a:close/>
                <a:moveTo>
                  <a:pt x="896" y="968"/>
                </a:moveTo>
                <a:lnTo>
                  <a:pt x="896" y="968"/>
                </a:lnTo>
                <a:lnTo>
                  <a:pt x="896" y="968"/>
                </a:lnTo>
                <a:lnTo>
                  <a:pt x="896" y="968"/>
                </a:lnTo>
                <a:lnTo>
                  <a:pt x="898" y="970"/>
                </a:lnTo>
                <a:lnTo>
                  <a:pt x="898" y="970"/>
                </a:lnTo>
                <a:lnTo>
                  <a:pt x="896" y="972"/>
                </a:lnTo>
                <a:lnTo>
                  <a:pt x="896" y="972"/>
                </a:lnTo>
                <a:lnTo>
                  <a:pt x="896" y="972"/>
                </a:lnTo>
                <a:lnTo>
                  <a:pt x="896" y="972"/>
                </a:lnTo>
                <a:lnTo>
                  <a:pt x="898" y="970"/>
                </a:lnTo>
                <a:lnTo>
                  <a:pt x="898" y="970"/>
                </a:lnTo>
                <a:lnTo>
                  <a:pt x="896" y="968"/>
                </a:lnTo>
                <a:lnTo>
                  <a:pt x="896" y="968"/>
                </a:lnTo>
                <a:close/>
                <a:moveTo>
                  <a:pt x="904" y="294"/>
                </a:moveTo>
                <a:lnTo>
                  <a:pt x="904" y="294"/>
                </a:lnTo>
                <a:lnTo>
                  <a:pt x="902" y="298"/>
                </a:lnTo>
                <a:lnTo>
                  <a:pt x="902" y="298"/>
                </a:lnTo>
                <a:lnTo>
                  <a:pt x="898" y="300"/>
                </a:lnTo>
                <a:lnTo>
                  <a:pt x="898" y="300"/>
                </a:lnTo>
                <a:lnTo>
                  <a:pt x="896" y="300"/>
                </a:lnTo>
                <a:lnTo>
                  <a:pt x="896" y="300"/>
                </a:lnTo>
                <a:lnTo>
                  <a:pt x="892" y="302"/>
                </a:lnTo>
                <a:lnTo>
                  <a:pt x="892" y="302"/>
                </a:lnTo>
                <a:lnTo>
                  <a:pt x="894" y="296"/>
                </a:lnTo>
                <a:lnTo>
                  <a:pt x="894" y="296"/>
                </a:lnTo>
                <a:lnTo>
                  <a:pt x="896" y="294"/>
                </a:lnTo>
                <a:lnTo>
                  <a:pt x="896" y="294"/>
                </a:lnTo>
                <a:lnTo>
                  <a:pt x="904" y="294"/>
                </a:lnTo>
                <a:lnTo>
                  <a:pt x="904" y="294"/>
                </a:lnTo>
                <a:close/>
                <a:moveTo>
                  <a:pt x="888" y="310"/>
                </a:moveTo>
                <a:lnTo>
                  <a:pt x="888" y="310"/>
                </a:lnTo>
                <a:lnTo>
                  <a:pt x="892" y="312"/>
                </a:lnTo>
                <a:lnTo>
                  <a:pt x="894" y="316"/>
                </a:lnTo>
                <a:lnTo>
                  <a:pt x="896" y="324"/>
                </a:lnTo>
                <a:lnTo>
                  <a:pt x="896" y="324"/>
                </a:lnTo>
                <a:lnTo>
                  <a:pt x="880" y="330"/>
                </a:lnTo>
                <a:lnTo>
                  <a:pt x="880" y="330"/>
                </a:lnTo>
                <a:lnTo>
                  <a:pt x="888" y="310"/>
                </a:lnTo>
                <a:lnTo>
                  <a:pt x="888" y="310"/>
                </a:lnTo>
                <a:close/>
                <a:moveTo>
                  <a:pt x="882" y="334"/>
                </a:moveTo>
                <a:lnTo>
                  <a:pt x="882" y="334"/>
                </a:lnTo>
                <a:lnTo>
                  <a:pt x="878" y="336"/>
                </a:lnTo>
                <a:lnTo>
                  <a:pt x="878" y="336"/>
                </a:lnTo>
                <a:lnTo>
                  <a:pt x="880" y="332"/>
                </a:lnTo>
                <a:lnTo>
                  <a:pt x="880" y="332"/>
                </a:lnTo>
                <a:lnTo>
                  <a:pt x="882" y="334"/>
                </a:lnTo>
                <a:lnTo>
                  <a:pt x="882" y="334"/>
                </a:lnTo>
                <a:close/>
                <a:moveTo>
                  <a:pt x="876" y="344"/>
                </a:moveTo>
                <a:lnTo>
                  <a:pt x="876" y="344"/>
                </a:lnTo>
                <a:lnTo>
                  <a:pt x="882" y="346"/>
                </a:lnTo>
                <a:lnTo>
                  <a:pt x="884" y="348"/>
                </a:lnTo>
                <a:lnTo>
                  <a:pt x="886" y="352"/>
                </a:lnTo>
                <a:lnTo>
                  <a:pt x="886" y="352"/>
                </a:lnTo>
                <a:lnTo>
                  <a:pt x="886" y="358"/>
                </a:lnTo>
                <a:lnTo>
                  <a:pt x="890" y="364"/>
                </a:lnTo>
                <a:lnTo>
                  <a:pt x="890" y="364"/>
                </a:lnTo>
                <a:lnTo>
                  <a:pt x="878" y="366"/>
                </a:lnTo>
                <a:lnTo>
                  <a:pt x="874" y="368"/>
                </a:lnTo>
                <a:lnTo>
                  <a:pt x="872" y="372"/>
                </a:lnTo>
                <a:lnTo>
                  <a:pt x="872" y="372"/>
                </a:lnTo>
                <a:lnTo>
                  <a:pt x="886" y="370"/>
                </a:lnTo>
                <a:lnTo>
                  <a:pt x="886" y="370"/>
                </a:lnTo>
                <a:lnTo>
                  <a:pt x="882" y="374"/>
                </a:lnTo>
                <a:lnTo>
                  <a:pt x="876" y="376"/>
                </a:lnTo>
                <a:lnTo>
                  <a:pt x="862" y="378"/>
                </a:lnTo>
                <a:lnTo>
                  <a:pt x="862" y="378"/>
                </a:lnTo>
                <a:lnTo>
                  <a:pt x="866" y="368"/>
                </a:lnTo>
                <a:lnTo>
                  <a:pt x="876" y="344"/>
                </a:lnTo>
                <a:lnTo>
                  <a:pt x="876" y="344"/>
                </a:lnTo>
                <a:close/>
                <a:moveTo>
                  <a:pt x="870" y="962"/>
                </a:moveTo>
                <a:lnTo>
                  <a:pt x="870" y="962"/>
                </a:lnTo>
                <a:lnTo>
                  <a:pt x="870" y="962"/>
                </a:lnTo>
                <a:lnTo>
                  <a:pt x="870" y="962"/>
                </a:lnTo>
                <a:lnTo>
                  <a:pt x="872" y="964"/>
                </a:lnTo>
                <a:lnTo>
                  <a:pt x="872" y="964"/>
                </a:lnTo>
                <a:lnTo>
                  <a:pt x="870" y="966"/>
                </a:lnTo>
                <a:lnTo>
                  <a:pt x="870" y="966"/>
                </a:lnTo>
                <a:lnTo>
                  <a:pt x="870" y="966"/>
                </a:lnTo>
                <a:lnTo>
                  <a:pt x="870" y="966"/>
                </a:lnTo>
                <a:lnTo>
                  <a:pt x="872" y="964"/>
                </a:lnTo>
                <a:lnTo>
                  <a:pt x="872" y="964"/>
                </a:lnTo>
                <a:lnTo>
                  <a:pt x="870" y="962"/>
                </a:lnTo>
                <a:lnTo>
                  <a:pt x="870" y="962"/>
                </a:lnTo>
                <a:close/>
                <a:moveTo>
                  <a:pt x="844" y="974"/>
                </a:moveTo>
                <a:lnTo>
                  <a:pt x="844" y="974"/>
                </a:lnTo>
                <a:lnTo>
                  <a:pt x="852" y="974"/>
                </a:lnTo>
                <a:lnTo>
                  <a:pt x="858" y="972"/>
                </a:lnTo>
                <a:lnTo>
                  <a:pt x="858" y="972"/>
                </a:lnTo>
                <a:lnTo>
                  <a:pt x="868" y="970"/>
                </a:lnTo>
                <a:lnTo>
                  <a:pt x="876" y="972"/>
                </a:lnTo>
                <a:lnTo>
                  <a:pt x="876" y="972"/>
                </a:lnTo>
                <a:lnTo>
                  <a:pt x="880" y="974"/>
                </a:lnTo>
                <a:lnTo>
                  <a:pt x="882" y="976"/>
                </a:lnTo>
                <a:lnTo>
                  <a:pt x="882" y="976"/>
                </a:lnTo>
                <a:lnTo>
                  <a:pt x="882" y="976"/>
                </a:lnTo>
                <a:lnTo>
                  <a:pt x="858" y="978"/>
                </a:lnTo>
                <a:lnTo>
                  <a:pt x="848" y="978"/>
                </a:lnTo>
                <a:lnTo>
                  <a:pt x="836" y="976"/>
                </a:lnTo>
                <a:lnTo>
                  <a:pt x="836" y="976"/>
                </a:lnTo>
                <a:lnTo>
                  <a:pt x="840" y="972"/>
                </a:lnTo>
                <a:lnTo>
                  <a:pt x="844" y="974"/>
                </a:lnTo>
                <a:lnTo>
                  <a:pt x="844" y="974"/>
                </a:lnTo>
                <a:close/>
                <a:moveTo>
                  <a:pt x="822" y="1006"/>
                </a:moveTo>
                <a:lnTo>
                  <a:pt x="822" y="1006"/>
                </a:lnTo>
                <a:lnTo>
                  <a:pt x="824" y="1006"/>
                </a:lnTo>
                <a:lnTo>
                  <a:pt x="824" y="1006"/>
                </a:lnTo>
                <a:lnTo>
                  <a:pt x="824" y="1006"/>
                </a:lnTo>
                <a:lnTo>
                  <a:pt x="824" y="1006"/>
                </a:lnTo>
                <a:lnTo>
                  <a:pt x="822" y="1006"/>
                </a:lnTo>
                <a:lnTo>
                  <a:pt x="822" y="1006"/>
                </a:lnTo>
                <a:lnTo>
                  <a:pt x="818" y="1006"/>
                </a:lnTo>
                <a:lnTo>
                  <a:pt x="818" y="1006"/>
                </a:lnTo>
                <a:lnTo>
                  <a:pt x="818" y="1006"/>
                </a:lnTo>
                <a:lnTo>
                  <a:pt x="818" y="1006"/>
                </a:lnTo>
                <a:lnTo>
                  <a:pt x="822" y="1006"/>
                </a:lnTo>
                <a:lnTo>
                  <a:pt x="822" y="1006"/>
                </a:lnTo>
                <a:close/>
                <a:moveTo>
                  <a:pt x="768" y="1046"/>
                </a:moveTo>
                <a:lnTo>
                  <a:pt x="768" y="1046"/>
                </a:lnTo>
                <a:lnTo>
                  <a:pt x="780" y="1044"/>
                </a:lnTo>
                <a:lnTo>
                  <a:pt x="780" y="1044"/>
                </a:lnTo>
                <a:lnTo>
                  <a:pt x="776" y="1042"/>
                </a:lnTo>
                <a:lnTo>
                  <a:pt x="774" y="1040"/>
                </a:lnTo>
                <a:lnTo>
                  <a:pt x="774" y="1040"/>
                </a:lnTo>
                <a:lnTo>
                  <a:pt x="776" y="1042"/>
                </a:lnTo>
                <a:lnTo>
                  <a:pt x="780" y="1044"/>
                </a:lnTo>
                <a:lnTo>
                  <a:pt x="780" y="1044"/>
                </a:lnTo>
                <a:lnTo>
                  <a:pt x="768" y="1046"/>
                </a:lnTo>
                <a:lnTo>
                  <a:pt x="768" y="1046"/>
                </a:lnTo>
                <a:close/>
                <a:moveTo>
                  <a:pt x="790" y="1034"/>
                </a:moveTo>
                <a:lnTo>
                  <a:pt x="790" y="1034"/>
                </a:lnTo>
                <a:lnTo>
                  <a:pt x="774" y="1034"/>
                </a:lnTo>
                <a:lnTo>
                  <a:pt x="774" y="1034"/>
                </a:lnTo>
                <a:lnTo>
                  <a:pt x="770" y="1026"/>
                </a:lnTo>
                <a:lnTo>
                  <a:pt x="770" y="1026"/>
                </a:lnTo>
                <a:lnTo>
                  <a:pt x="792" y="1026"/>
                </a:lnTo>
                <a:lnTo>
                  <a:pt x="792" y="1026"/>
                </a:lnTo>
                <a:lnTo>
                  <a:pt x="796" y="1022"/>
                </a:lnTo>
                <a:lnTo>
                  <a:pt x="800" y="1020"/>
                </a:lnTo>
                <a:lnTo>
                  <a:pt x="804" y="1020"/>
                </a:lnTo>
                <a:lnTo>
                  <a:pt x="810" y="1020"/>
                </a:lnTo>
                <a:lnTo>
                  <a:pt x="810" y="1020"/>
                </a:lnTo>
                <a:lnTo>
                  <a:pt x="820" y="1020"/>
                </a:lnTo>
                <a:lnTo>
                  <a:pt x="820" y="1020"/>
                </a:lnTo>
                <a:lnTo>
                  <a:pt x="816" y="1030"/>
                </a:lnTo>
                <a:lnTo>
                  <a:pt x="812" y="1034"/>
                </a:lnTo>
                <a:lnTo>
                  <a:pt x="812" y="1034"/>
                </a:lnTo>
                <a:lnTo>
                  <a:pt x="818" y="1034"/>
                </a:lnTo>
                <a:lnTo>
                  <a:pt x="822" y="1032"/>
                </a:lnTo>
                <a:lnTo>
                  <a:pt x="826" y="1026"/>
                </a:lnTo>
                <a:lnTo>
                  <a:pt x="830" y="1020"/>
                </a:lnTo>
                <a:lnTo>
                  <a:pt x="830" y="1020"/>
                </a:lnTo>
                <a:lnTo>
                  <a:pt x="826" y="1034"/>
                </a:lnTo>
                <a:lnTo>
                  <a:pt x="824" y="1040"/>
                </a:lnTo>
                <a:lnTo>
                  <a:pt x="824" y="1040"/>
                </a:lnTo>
                <a:lnTo>
                  <a:pt x="824" y="1040"/>
                </a:lnTo>
                <a:lnTo>
                  <a:pt x="826" y="1042"/>
                </a:lnTo>
                <a:lnTo>
                  <a:pt x="824" y="1046"/>
                </a:lnTo>
                <a:lnTo>
                  <a:pt x="824" y="1046"/>
                </a:lnTo>
                <a:lnTo>
                  <a:pt x="824" y="1046"/>
                </a:lnTo>
                <a:lnTo>
                  <a:pt x="824" y="1046"/>
                </a:lnTo>
                <a:lnTo>
                  <a:pt x="814" y="1044"/>
                </a:lnTo>
                <a:lnTo>
                  <a:pt x="814" y="1044"/>
                </a:lnTo>
                <a:lnTo>
                  <a:pt x="820" y="1038"/>
                </a:lnTo>
                <a:lnTo>
                  <a:pt x="820" y="1038"/>
                </a:lnTo>
                <a:lnTo>
                  <a:pt x="814" y="1040"/>
                </a:lnTo>
                <a:lnTo>
                  <a:pt x="804" y="1044"/>
                </a:lnTo>
                <a:lnTo>
                  <a:pt x="804" y="1044"/>
                </a:lnTo>
                <a:lnTo>
                  <a:pt x="796" y="1040"/>
                </a:lnTo>
                <a:lnTo>
                  <a:pt x="790" y="1034"/>
                </a:lnTo>
                <a:lnTo>
                  <a:pt x="790" y="1034"/>
                </a:lnTo>
                <a:close/>
                <a:moveTo>
                  <a:pt x="822" y="1058"/>
                </a:moveTo>
                <a:lnTo>
                  <a:pt x="822" y="1058"/>
                </a:lnTo>
                <a:lnTo>
                  <a:pt x="824" y="1056"/>
                </a:lnTo>
                <a:lnTo>
                  <a:pt x="824" y="1056"/>
                </a:lnTo>
                <a:lnTo>
                  <a:pt x="822" y="1058"/>
                </a:lnTo>
                <a:lnTo>
                  <a:pt x="822" y="1058"/>
                </a:lnTo>
                <a:lnTo>
                  <a:pt x="822" y="1058"/>
                </a:lnTo>
                <a:lnTo>
                  <a:pt x="822" y="1058"/>
                </a:lnTo>
                <a:close/>
                <a:moveTo>
                  <a:pt x="832" y="1050"/>
                </a:moveTo>
                <a:lnTo>
                  <a:pt x="832" y="1050"/>
                </a:lnTo>
                <a:lnTo>
                  <a:pt x="830" y="1048"/>
                </a:lnTo>
                <a:lnTo>
                  <a:pt x="830" y="1048"/>
                </a:lnTo>
                <a:lnTo>
                  <a:pt x="830" y="1048"/>
                </a:lnTo>
                <a:lnTo>
                  <a:pt x="830" y="1048"/>
                </a:lnTo>
                <a:lnTo>
                  <a:pt x="830" y="1044"/>
                </a:lnTo>
                <a:lnTo>
                  <a:pt x="830" y="1044"/>
                </a:lnTo>
                <a:lnTo>
                  <a:pt x="834" y="1038"/>
                </a:lnTo>
                <a:lnTo>
                  <a:pt x="836" y="1036"/>
                </a:lnTo>
                <a:lnTo>
                  <a:pt x="836" y="1038"/>
                </a:lnTo>
                <a:lnTo>
                  <a:pt x="836" y="1038"/>
                </a:lnTo>
                <a:lnTo>
                  <a:pt x="842" y="1024"/>
                </a:lnTo>
                <a:lnTo>
                  <a:pt x="842" y="1024"/>
                </a:lnTo>
                <a:lnTo>
                  <a:pt x="840" y="1022"/>
                </a:lnTo>
                <a:lnTo>
                  <a:pt x="840" y="1022"/>
                </a:lnTo>
                <a:lnTo>
                  <a:pt x="834" y="1034"/>
                </a:lnTo>
                <a:lnTo>
                  <a:pt x="830" y="1040"/>
                </a:lnTo>
                <a:lnTo>
                  <a:pt x="830" y="1040"/>
                </a:lnTo>
                <a:lnTo>
                  <a:pt x="834" y="1010"/>
                </a:lnTo>
                <a:lnTo>
                  <a:pt x="834" y="1010"/>
                </a:lnTo>
                <a:lnTo>
                  <a:pt x="840" y="996"/>
                </a:lnTo>
                <a:lnTo>
                  <a:pt x="840" y="996"/>
                </a:lnTo>
                <a:lnTo>
                  <a:pt x="830" y="992"/>
                </a:lnTo>
                <a:lnTo>
                  <a:pt x="830" y="992"/>
                </a:lnTo>
                <a:lnTo>
                  <a:pt x="832" y="984"/>
                </a:lnTo>
                <a:lnTo>
                  <a:pt x="832" y="984"/>
                </a:lnTo>
                <a:lnTo>
                  <a:pt x="834" y="986"/>
                </a:lnTo>
                <a:lnTo>
                  <a:pt x="836" y="988"/>
                </a:lnTo>
                <a:lnTo>
                  <a:pt x="844" y="988"/>
                </a:lnTo>
                <a:lnTo>
                  <a:pt x="844" y="988"/>
                </a:lnTo>
                <a:lnTo>
                  <a:pt x="844" y="994"/>
                </a:lnTo>
                <a:lnTo>
                  <a:pt x="844" y="994"/>
                </a:lnTo>
                <a:lnTo>
                  <a:pt x="852" y="990"/>
                </a:lnTo>
                <a:lnTo>
                  <a:pt x="852" y="990"/>
                </a:lnTo>
                <a:lnTo>
                  <a:pt x="854" y="994"/>
                </a:lnTo>
                <a:lnTo>
                  <a:pt x="854" y="994"/>
                </a:lnTo>
                <a:lnTo>
                  <a:pt x="854" y="996"/>
                </a:lnTo>
                <a:lnTo>
                  <a:pt x="854" y="998"/>
                </a:lnTo>
                <a:lnTo>
                  <a:pt x="860" y="1000"/>
                </a:lnTo>
                <a:lnTo>
                  <a:pt x="860" y="1000"/>
                </a:lnTo>
                <a:lnTo>
                  <a:pt x="864" y="1000"/>
                </a:lnTo>
                <a:lnTo>
                  <a:pt x="868" y="1002"/>
                </a:lnTo>
                <a:lnTo>
                  <a:pt x="874" y="1008"/>
                </a:lnTo>
                <a:lnTo>
                  <a:pt x="874" y="1008"/>
                </a:lnTo>
                <a:lnTo>
                  <a:pt x="868" y="1014"/>
                </a:lnTo>
                <a:lnTo>
                  <a:pt x="860" y="1016"/>
                </a:lnTo>
                <a:lnTo>
                  <a:pt x="860" y="1016"/>
                </a:lnTo>
                <a:lnTo>
                  <a:pt x="862" y="1026"/>
                </a:lnTo>
                <a:lnTo>
                  <a:pt x="862" y="1026"/>
                </a:lnTo>
                <a:lnTo>
                  <a:pt x="866" y="1022"/>
                </a:lnTo>
                <a:lnTo>
                  <a:pt x="870" y="1020"/>
                </a:lnTo>
                <a:lnTo>
                  <a:pt x="880" y="1020"/>
                </a:lnTo>
                <a:lnTo>
                  <a:pt x="880" y="1020"/>
                </a:lnTo>
                <a:lnTo>
                  <a:pt x="872" y="1026"/>
                </a:lnTo>
                <a:lnTo>
                  <a:pt x="872" y="1026"/>
                </a:lnTo>
                <a:lnTo>
                  <a:pt x="878" y="1032"/>
                </a:lnTo>
                <a:lnTo>
                  <a:pt x="878" y="1032"/>
                </a:lnTo>
                <a:lnTo>
                  <a:pt x="872" y="1034"/>
                </a:lnTo>
                <a:lnTo>
                  <a:pt x="872" y="1034"/>
                </a:lnTo>
                <a:lnTo>
                  <a:pt x="876" y="1036"/>
                </a:lnTo>
                <a:lnTo>
                  <a:pt x="882" y="1034"/>
                </a:lnTo>
                <a:lnTo>
                  <a:pt x="888" y="1034"/>
                </a:lnTo>
                <a:lnTo>
                  <a:pt x="894" y="1034"/>
                </a:lnTo>
                <a:lnTo>
                  <a:pt x="894" y="1034"/>
                </a:lnTo>
                <a:lnTo>
                  <a:pt x="880" y="1040"/>
                </a:lnTo>
                <a:lnTo>
                  <a:pt x="880" y="1040"/>
                </a:lnTo>
                <a:lnTo>
                  <a:pt x="892" y="1042"/>
                </a:lnTo>
                <a:lnTo>
                  <a:pt x="892" y="1042"/>
                </a:lnTo>
                <a:lnTo>
                  <a:pt x="884" y="1044"/>
                </a:lnTo>
                <a:lnTo>
                  <a:pt x="876" y="1042"/>
                </a:lnTo>
                <a:lnTo>
                  <a:pt x="876" y="1042"/>
                </a:lnTo>
                <a:lnTo>
                  <a:pt x="870" y="1042"/>
                </a:lnTo>
                <a:lnTo>
                  <a:pt x="870" y="1042"/>
                </a:lnTo>
                <a:lnTo>
                  <a:pt x="864" y="1042"/>
                </a:lnTo>
                <a:lnTo>
                  <a:pt x="858" y="1042"/>
                </a:lnTo>
                <a:lnTo>
                  <a:pt x="850" y="1038"/>
                </a:lnTo>
                <a:lnTo>
                  <a:pt x="850" y="1038"/>
                </a:lnTo>
                <a:lnTo>
                  <a:pt x="858" y="1028"/>
                </a:lnTo>
                <a:lnTo>
                  <a:pt x="860" y="1024"/>
                </a:lnTo>
                <a:lnTo>
                  <a:pt x="858" y="1024"/>
                </a:lnTo>
                <a:lnTo>
                  <a:pt x="858" y="1024"/>
                </a:lnTo>
                <a:lnTo>
                  <a:pt x="850" y="1038"/>
                </a:lnTo>
                <a:lnTo>
                  <a:pt x="850" y="1038"/>
                </a:lnTo>
                <a:lnTo>
                  <a:pt x="848" y="1036"/>
                </a:lnTo>
                <a:lnTo>
                  <a:pt x="848" y="1036"/>
                </a:lnTo>
                <a:lnTo>
                  <a:pt x="842" y="1034"/>
                </a:lnTo>
                <a:lnTo>
                  <a:pt x="842" y="1034"/>
                </a:lnTo>
                <a:lnTo>
                  <a:pt x="838" y="1040"/>
                </a:lnTo>
                <a:lnTo>
                  <a:pt x="838" y="1040"/>
                </a:lnTo>
                <a:lnTo>
                  <a:pt x="840" y="1040"/>
                </a:lnTo>
                <a:lnTo>
                  <a:pt x="840" y="1040"/>
                </a:lnTo>
                <a:lnTo>
                  <a:pt x="840" y="1040"/>
                </a:lnTo>
                <a:lnTo>
                  <a:pt x="840" y="1042"/>
                </a:lnTo>
                <a:lnTo>
                  <a:pt x="836" y="1050"/>
                </a:lnTo>
                <a:lnTo>
                  <a:pt x="836" y="1050"/>
                </a:lnTo>
                <a:lnTo>
                  <a:pt x="834" y="1050"/>
                </a:lnTo>
                <a:lnTo>
                  <a:pt x="834" y="1050"/>
                </a:lnTo>
                <a:lnTo>
                  <a:pt x="832" y="1058"/>
                </a:lnTo>
                <a:lnTo>
                  <a:pt x="832" y="1058"/>
                </a:lnTo>
                <a:lnTo>
                  <a:pt x="826" y="1062"/>
                </a:lnTo>
                <a:lnTo>
                  <a:pt x="826" y="1066"/>
                </a:lnTo>
                <a:lnTo>
                  <a:pt x="826" y="1070"/>
                </a:lnTo>
                <a:lnTo>
                  <a:pt x="826" y="1070"/>
                </a:lnTo>
                <a:lnTo>
                  <a:pt x="820" y="1078"/>
                </a:lnTo>
                <a:lnTo>
                  <a:pt x="820" y="1078"/>
                </a:lnTo>
                <a:lnTo>
                  <a:pt x="832" y="1050"/>
                </a:lnTo>
                <a:lnTo>
                  <a:pt x="832" y="1050"/>
                </a:lnTo>
                <a:close/>
                <a:moveTo>
                  <a:pt x="820" y="1082"/>
                </a:moveTo>
                <a:lnTo>
                  <a:pt x="820" y="1082"/>
                </a:lnTo>
                <a:lnTo>
                  <a:pt x="822" y="1082"/>
                </a:lnTo>
                <a:lnTo>
                  <a:pt x="822" y="1082"/>
                </a:lnTo>
                <a:lnTo>
                  <a:pt x="820" y="1088"/>
                </a:lnTo>
                <a:lnTo>
                  <a:pt x="820" y="1088"/>
                </a:lnTo>
                <a:lnTo>
                  <a:pt x="818" y="1086"/>
                </a:lnTo>
                <a:lnTo>
                  <a:pt x="818" y="1082"/>
                </a:lnTo>
                <a:lnTo>
                  <a:pt x="818" y="1082"/>
                </a:lnTo>
                <a:lnTo>
                  <a:pt x="820" y="1082"/>
                </a:lnTo>
                <a:lnTo>
                  <a:pt x="820" y="1082"/>
                </a:lnTo>
                <a:close/>
                <a:moveTo>
                  <a:pt x="824" y="1116"/>
                </a:moveTo>
                <a:lnTo>
                  <a:pt x="824" y="1116"/>
                </a:lnTo>
                <a:lnTo>
                  <a:pt x="824" y="1114"/>
                </a:lnTo>
                <a:lnTo>
                  <a:pt x="824" y="1114"/>
                </a:lnTo>
                <a:lnTo>
                  <a:pt x="820" y="1118"/>
                </a:lnTo>
                <a:lnTo>
                  <a:pt x="814" y="1118"/>
                </a:lnTo>
                <a:lnTo>
                  <a:pt x="814" y="1118"/>
                </a:lnTo>
                <a:lnTo>
                  <a:pt x="818" y="1116"/>
                </a:lnTo>
                <a:lnTo>
                  <a:pt x="816" y="1116"/>
                </a:lnTo>
                <a:lnTo>
                  <a:pt x="816" y="1116"/>
                </a:lnTo>
                <a:lnTo>
                  <a:pt x="820" y="1114"/>
                </a:lnTo>
                <a:lnTo>
                  <a:pt x="820" y="1114"/>
                </a:lnTo>
                <a:lnTo>
                  <a:pt x="820" y="1112"/>
                </a:lnTo>
                <a:lnTo>
                  <a:pt x="820" y="1112"/>
                </a:lnTo>
                <a:lnTo>
                  <a:pt x="814" y="1114"/>
                </a:lnTo>
                <a:lnTo>
                  <a:pt x="814" y="1114"/>
                </a:lnTo>
                <a:lnTo>
                  <a:pt x="816" y="1114"/>
                </a:lnTo>
                <a:lnTo>
                  <a:pt x="816" y="1114"/>
                </a:lnTo>
                <a:lnTo>
                  <a:pt x="812" y="1112"/>
                </a:lnTo>
                <a:lnTo>
                  <a:pt x="812" y="1110"/>
                </a:lnTo>
                <a:lnTo>
                  <a:pt x="814" y="1108"/>
                </a:lnTo>
                <a:lnTo>
                  <a:pt x="814" y="1108"/>
                </a:lnTo>
                <a:lnTo>
                  <a:pt x="816" y="1110"/>
                </a:lnTo>
                <a:lnTo>
                  <a:pt x="818" y="1108"/>
                </a:lnTo>
                <a:lnTo>
                  <a:pt x="818" y="1108"/>
                </a:lnTo>
                <a:lnTo>
                  <a:pt x="820" y="1112"/>
                </a:lnTo>
                <a:lnTo>
                  <a:pt x="820" y="1112"/>
                </a:lnTo>
                <a:lnTo>
                  <a:pt x="826" y="1106"/>
                </a:lnTo>
                <a:lnTo>
                  <a:pt x="826" y="1106"/>
                </a:lnTo>
                <a:lnTo>
                  <a:pt x="824" y="1106"/>
                </a:lnTo>
                <a:lnTo>
                  <a:pt x="824" y="1106"/>
                </a:lnTo>
                <a:lnTo>
                  <a:pt x="826" y="1104"/>
                </a:lnTo>
                <a:lnTo>
                  <a:pt x="826" y="1104"/>
                </a:lnTo>
                <a:lnTo>
                  <a:pt x="824" y="1102"/>
                </a:lnTo>
                <a:lnTo>
                  <a:pt x="824" y="1102"/>
                </a:lnTo>
                <a:lnTo>
                  <a:pt x="824" y="1102"/>
                </a:lnTo>
                <a:lnTo>
                  <a:pt x="824" y="1102"/>
                </a:lnTo>
                <a:lnTo>
                  <a:pt x="826" y="1104"/>
                </a:lnTo>
                <a:lnTo>
                  <a:pt x="826" y="1104"/>
                </a:lnTo>
                <a:lnTo>
                  <a:pt x="828" y="1096"/>
                </a:lnTo>
                <a:lnTo>
                  <a:pt x="828" y="1096"/>
                </a:lnTo>
                <a:lnTo>
                  <a:pt x="828" y="1098"/>
                </a:lnTo>
                <a:lnTo>
                  <a:pt x="828" y="1098"/>
                </a:lnTo>
                <a:lnTo>
                  <a:pt x="830" y="1092"/>
                </a:lnTo>
                <a:lnTo>
                  <a:pt x="830" y="1092"/>
                </a:lnTo>
                <a:lnTo>
                  <a:pt x="830" y="1086"/>
                </a:lnTo>
                <a:lnTo>
                  <a:pt x="830" y="1086"/>
                </a:lnTo>
                <a:lnTo>
                  <a:pt x="832" y="1086"/>
                </a:lnTo>
                <a:lnTo>
                  <a:pt x="832" y="1086"/>
                </a:lnTo>
                <a:lnTo>
                  <a:pt x="830" y="1086"/>
                </a:lnTo>
                <a:lnTo>
                  <a:pt x="830" y="1086"/>
                </a:lnTo>
                <a:lnTo>
                  <a:pt x="832" y="1078"/>
                </a:lnTo>
                <a:lnTo>
                  <a:pt x="832" y="1078"/>
                </a:lnTo>
                <a:lnTo>
                  <a:pt x="834" y="1080"/>
                </a:lnTo>
                <a:lnTo>
                  <a:pt x="834" y="1080"/>
                </a:lnTo>
                <a:lnTo>
                  <a:pt x="832" y="1086"/>
                </a:lnTo>
                <a:lnTo>
                  <a:pt x="832" y="1086"/>
                </a:lnTo>
                <a:lnTo>
                  <a:pt x="838" y="1084"/>
                </a:lnTo>
                <a:lnTo>
                  <a:pt x="838" y="1084"/>
                </a:lnTo>
                <a:lnTo>
                  <a:pt x="838" y="1082"/>
                </a:lnTo>
                <a:lnTo>
                  <a:pt x="838" y="1082"/>
                </a:lnTo>
                <a:lnTo>
                  <a:pt x="838" y="1084"/>
                </a:lnTo>
                <a:lnTo>
                  <a:pt x="838" y="1084"/>
                </a:lnTo>
                <a:lnTo>
                  <a:pt x="838" y="1084"/>
                </a:lnTo>
                <a:lnTo>
                  <a:pt x="838" y="1084"/>
                </a:lnTo>
                <a:lnTo>
                  <a:pt x="834" y="1094"/>
                </a:lnTo>
                <a:lnTo>
                  <a:pt x="834" y="1094"/>
                </a:lnTo>
                <a:lnTo>
                  <a:pt x="840" y="1084"/>
                </a:lnTo>
                <a:lnTo>
                  <a:pt x="840" y="1084"/>
                </a:lnTo>
                <a:lnTo>
                  <a:pt x="844" y="1088"/>
                </a:lnTo>
                <a:lnTo>
                  <a:pt x="844" y="1088"/>
                </a:lnTo>
                <a:lnTo>
                  <a:pt x="842" y="1088"/>
                </a:lnTo>
                <a:lnTo>
                  <a:pt x="842" y="1088"/>
                </a:lnTo>
                <a:lnTo>
                  <a:pt x="842" y="1088"/>
                </a:lnTo>
                <a:lnTo>
                  <a:pt x="842" y="1088"/>
                </a:lnTo>
                <a:lnTo>
                  <a:pt x="842" y="1090"/>
                </a:lnTo>
                <a:lnTo>
                  <a:pt x="842" y="1090"/>
                </a:lnTo>
                <a:lnTo>
                  <a:pt x="838" y="1096"/>
                </a:lnTo>
                <a:lnTo>
                  <a:pt x="838" y="1096"/>
                </a:lnTo>
                <a:lnTo>
                  <a:pt x="838" y="1098"/>
                </a:lnTo>
                <a:lnTo>
                  <a:pt x="838" y="1098"/>
                </a:lnTo>
                <a:lnTo>
                  <a:pt x="838" y="1098"/>
                </a:lnTo>
                <a:lnTo>
                  <a:pt x="838" y="1098"/>
                </a:lnTo>
                <a:lnTo>
                  <a:pt x="834" y="1104"/>
                </a:lnTo>
                <a:lnTo>
                  <a:pt x="834" y="1104"/>
                </a:lnTo>
                <a:lnTo>
                  <a:pt x="834" y="1104"/>
                </a:lnTo>
                <a:lnTo>
                  <a:pt x="834" y="1104"/>
                </a:lnTo>
                <a:lnTo>
                  <a:pt x="834" y="1104"/>
                </a:lnTo>
                <a:lnTo>
                  <a:pt x="834" y="1104"/>
                </a:lnTo>
                <a:lnTo>
                  <a:pt x="830" y="1110"/>
                </a:lnTo>
                <a:lnTo>
                  <a:pt x="830" y="1110"/>
                </a:lnTo>
                <a:lnTo>
                  <a:pt x="832" y="1106"/>
                </a:lnTo>
                <a:lnTo>
                  <a:pt x="832" y="1106"/>
                </a:lnTo>
                <a:lnTo>
                  <a:pt x="830" y="1106"/>
                </a:lnTo>
                <a:lnTo>
                  <a:pt x="830" y="1106"/>
                </a:lnTo>
                <a:lnTo>
                  <a:pt x="830" y="1110"/>
                </a:lnTo>
                <a:lnTo>
                  <a:pt x="830" y="1110"/>
                </a:lnTo>
                <a:lnTo>
                  <a:pt x="830" y="1108"/>
                </a:lnTo>
                <a:lnTo>
                  <a:pt x="830" y="1108"/>
                </a:lnTo>
                <a:lnTo>
                  <a:pt x="830" y="1108"/>
                </a:lnTo>
                <a:lnTo>
                  <a:pt x="830" y="1108"/>
                </a:lnTo>
                <a:lnTo>
                  <a:pt x="830" y="1108"/>
                </a:lnTo>
                <a:lnTo>
                  <a:pt x="830" y="1108"/>
                </a:lnTo>
                <a:lnTo>
                  <a:pt x="830" y="1108"/>
                </a:lnTo>
                <a:lnTo>
                  <a:pt x="830" y="1108"/>
                </a:lnTo>
                <a:lnTo>
                  <a:pt x="830" y="1108"/>
                </a:lnTo>
                <a:lnTo>
                  <a:pt x="830" y="1108"/>
                </a:lnTo>
                <a:lnTo>
                  <a:pt x="826" y="1114"/>
                </a:lnTo>
                <a:lnTo>
                  <a:pt x="826" y="1114"/>
                </a:lnTo>
                <a:lnTo>
                  <a:pt x="826" y="1114"/>
                </a:lnTo>
                <a:lnTo>
                  <a:pt x="826" y="1114"/>
                </a:lnTo>
                <a:lnTo>
                  <a:pt x="826" y="1116"/>
                </a:lnTo>
                <a:lnTo>
                  <a:pt x="826" y="1116"/>
                </a:lnTo>
                <a:lnTo>
                  <a:pt x="826" y="1120"/>
                </a:lnTo>
                <a:lnTo>
                  <a:pt x="826" y="1120"/>
                </a:lnTo>
                <a:lnTo>
                  <a:pt x="824" y="1120"/>
                </a:lnTo>
                <a:lnTo>
                  <a:pt x="824" y="1120"/>
                </a:lnTo>
                <a:lnTo>
                  <a:pt x="824" y="1122"/>
                </a:lnTo>
                <a:lnTo>
                  <a:pt x="824" y="1122"/>
                </a:lnTo>
                <a:lnTo>
                  <a:pt x="824" y="1122"/>
                </a:lnTo>
                <a:lnTo>
                  <a:pt x="824" y="1122"/>
                </a:lnTo>
                <a:lnTo>
                  <a:pt x="824" y="1120"/>
                </a:lnTo>
                <a:lnTo>
                  <a:pt x="824" y="1120"/>
                </a:lnTo>
                <a:lnTo>
                  <a:pt x="824" y="1120"/>
                </a:lnTo>
                <a:lnTo>
                  <a:pt x="824" y="1120"/>
                </a:lnTo>
                <a:lnTo>
                  <a:pt x="824" y="1120"/>
                </a:lnTo>
                <a:lnTo>
                  <a:pt x="824" y="1120"/>
                </a:lnTo>
                <a:lnTo>
                  <a:pt x="824" y="1122"/>
                </a:lnTo>
                <a:lnTo>
                  <a:pt x="824" y="1122"/>
                </a:lnTo>
                <a:lnTo>
                  <a:pt x="822" y="1118"/>
                </a:lnTo>
                <a:lnTo>
                  <a:pt x="824" y="1116"/>
                </a:lnTo>
                <a:lnTo>
                  <a:pt x="824" y="1116"/>
                </a:lnTo>
                <a:close/>
                <a:moveTo>
                  <a:pt x="820" y="1136"/>
                </a:moveTo>
                <a:lnTo>
                  <a:pt x="820" y="1136"/>
                </a:lnTo>
                <a:lnTo>
                  <a:pt x="820" y="1134"/>
                </a:lnTo>
                <a:lnTo>
                  <a:pt x="820" y="1134"/>
                </a:lnTo>
                <a:lnTo>
                  <a:pt x="820" y="1134"/>
                </a:lnTo>
                <a:lnTo>
                  <a:pt x="820" y="1134"/>
                </a:lnTo>
                <a:lnTo>
                  <a:pt x="820" y="1132"/>
                </a:lnTo>
                <a:lnTo>
                  <a:pt x="820" y="1132"/>
                </a:lnTo>
                <a:lnTo>
                  <a:pt x="822" y="1128"/>
                </a:lnTo>
                <a:lnTo>
                  <a:pt x="822" y="1128"/>
                </a:lnTo>
                <a:lnTo>
                  <a:pt x="822" y="1128"/>
                </a:lnTo>
                <a:lnTo>
                  <a:pt x="822" y="1128"/>
                </a:lnTo>
                <a:lnTo>
                  <a:pt x="820" y="1132"/>
                </a:lnTo>
                <a:lnTo>
                  <a:pt x="820" y="1132"/>
                </a:lnTo>
                <a:lnTo>
                  <a:pt x="822" y="1130"/>
                </a:lnTo>
                <a:lnTo>
                  <a:pt x="822" y="1130"/>
                </a:lnTo>
                <a:lnTo>
                  <a:pt x="820" y="1134"/>
                </a:lnTo>
                <a:lnTo>
                  <a:pt x="820" y="1134"/>
                </a:lnTo>
                <a:lnTo>
                  <a:pt x="820" y="1134"/>
                </a:lnTo>
                <a:lnTo>
                  <a:pt x="820" y="1134"/>
                </a:lnTo>
                <a:lnTo>
                  <a:pt x="820" y="1136"/>
                </a:lnTo>
                <a:lnTo>
                  <a:pt x="820" y="1136"/>
                </a:lnTo>
                <a:close/>
                <a:moveTo>
                  <a:pt x="846" y="1090"/>
                </a:moveTo>
                <a:lnTo>
                  <a:pt x="846" y="1090"/>
                </a:lnTo>
                <a:lnTo>
                  <a:pt x="848" y="1090"/>
                </a:lnTo>
                <a:lnTo>
                  <a:pt x="848" y="1090"/>
                </a:lnTo>
                <a:lnTo>
                  <a:pt x="848" y="1090"/>
                </a:lnTo>
                <a:lnTo>
                  <a:pt x="848" y="1090"/>
                </a:lnTo>
                <a:lnTo>
                  <a:pt x="846" y="1090"/>
                </a:lnTo>
                <a:lnTo>
                  <a:pt x="846" y="1090"/>
                </a:lnTo>
                <a:close/>
                <a:moveTo>
                  <a:pt x="972" y="1058"/>
                </a:moveTo>
                <a:lnTo>
                  <a:pt x="972" y="1058"/>
                </a:lnTo>
                <a:lnTo>
                  <a:pt x="968" y="1054"/>
                </a:lnTo>
                <a:lnTo>
                  <a:pt x="968" y="1054"/>
                </a:lnTo>
                <a:lnTo>
                  <a:pt x="970" y="1052"/>
                </a:lnTo>
                <a:lnTo>
                  <a:pt x="972" y="1050"/>
                </a:lnTo>
                <a:lnTo>
                  <a:pt x="978" y="1050"/>
                </a:lnTo>
                <a:lnTo>
                  <a:pt x="978" y="1050"/>
                </a:lnTo>
                <a:lnTo>
                  <a:pt x="986" y="1052"/>
                </a:lnTo>
                <a:lnTo>
                  <a:pt x="992" y="1052"/>
                </a:lnTo>
                <a:lnTo>
                  <a:pt x="992" y="1052"/>
                </a:lnTo>
                <a:lnTo>
                  <a:pt x="998" y="1050"/>
                </a:lnTo>
                <a:lnTo>
                  <a:pt x="1002" y="1052"/>
                </a:lnTo>
                <a:lnTo>
                  <a:pt x="1006" y="1054"/>
                </a:lnTo>
                <a:lnTo>
                  <a:pt x="1006" y="1054"/>
                </a:lnTo>
                <a:lnTo>
                  <a:pt x="1012" y="1058"/>
                </a:lnTo>
                <a:lnTo>
                  <a:pt x="1018" y="1058"/>
                </a:lnTo>
                <a:lnTo>
                  <a:pt x="1018" y="1058"/>
                </a:lnTo>
                <a:lnTo>
                  <a:pt x="1022" y="1060"/>
                </a:lnTo>
                <a:lnTo>
                  <a:pt x="1024" y="1066"/>
                </a:lnTo>
                <a:lnTo>
                  <a:pt x="1024" y="1066"/>
                </a:lnTo>
                <a:lnTo>
                  <a:pt x="1030" y="1064"/>
                </a:lnTo>
                <a:lnTo>
                  <a:pt x="1034" y="1062"/>
                </a:lnTo>
                <a:lnTo>
                  <a:pt x="1034" y="1062"/>
                </a:lnTo>
                <a:lnTo>
                  <a:pt x="1034" y="1080"/>
                </a:lnTo>
                <a:lnTo>
                  <a:pt x="1034" y="1080"/>
                </a:lnTo>
                <a:lnTo>
                  <a:pt x="1030" y="1080"/>
                </a:lnTo>
                <a:lnTo>
                  <a:pt x="1030" y="1080"/>
                </a:lnTo>
                <a:lnTo>
                  <a:pt x="1024" y="1066"/>
                </a:lnTo>
                <a:lnTo>
                  <a:pt x="1024" y="1066"/>
                </a:lnTo>
                <a:lnTo>
                  <a:pt x="1022" y="1068"/>
                </a:lnTo>
                <a:lnTo>
                  <a:pt x="1022" y="1068"/>
                </a:lnTo>
                <a:lnTo>
                  <a:pt x="1018" y="1060"/>
                </a:lnTo>
                <a:lnTo>
                  <a:pt x="1018" y="1060"/>
                </a:lnTo>
                <a:lnTo>
                  <a:pt x="998" y="1058"/>
                </a:lnTo>
                <a:lnTo>
                  <a:pt x="998" y="1058"/>
                </a:lnTo>
                <a:lnTo>
                  <a:pt x="972" y="1058"/>
                </a:lnTo>
                <a:lnTo>
                  <a:pt x="972" y="1058"/>
                </a:lnTo>
                <a:lnTo>
                  <a:pt x="974" y="1058"/>
                </a:lnTo>
                <a:lnTo>
                  <a:pt x="974" y="1058"/>
                </a:lnTo>
                <a:lnTo>
                  <a:pt x="976" y="1062"/>
                </a:lnTo>
                <a:lnTo>
                  <a:pt x="976" y="1062"/>
                </a:lnTo>
                <a:lnTo>
                  <a:pt x="984" y="1066"/>
                </a:lnTo>
                <a:lnTo>
                  <a:pt x="984" y="1066"/>
                </a:lnTo>
                <a:lnTo>
                  <a:pt x="976" y="1070"/>
                </a:lnTo>
                <a:lnTo>
                  <a:pt x="976" y="1070"/>
                </a:lnTo>
                <a:lnTo>
                  <a:pt x="974" y="1074"/>
                </a:lnTo>
                <a:lnTo>
                  <a:pt x="974" y="1074"/>
                </a:lnTo>
                <a:lnTo>
                  <a:pt x="972" y="1072"/>
                </a:lnTo>
                <a:lnTo>
                  <a:pt x="972" y="1072"/>
                </a:lnTo>
                <a:lnTo>
                  <a:pt x="968" y="1074"/>
                </a:lnTo>
                <a:lnTo>
                  <a:pt x="968" y="1074"/>
                </a:lnTo>
                <a:lnTo>
                  <a:pt x="962" y="1068"/>
                </a:lnTo>
                <a:lnTo>
                  <a:pt x="952" y="1062"/>
                </a:lnTo>
                <a:lnTo>
                  <a:pt x="952" y="1062"/>
                </a:lnTo>
                <a:lnTo>
                  <a:pt x="954" y="1062"/>
                </a:lnTo>
                <a:lnTo>
                  <a:pt x="954" y="1062"/>
                </a:lnTo>
                <a:lnTo>
                  <a:pt x="954" y="1062"/>
                </a:lnTo>
                <a:lnTo>
                  <a:pt x="954" y="1062"/>
                </a:lnTo>
                <a:lnTo>
                  <a:pt x="950" y="1062"/>
                </a:lnTo>
                <a:lnTo>
                  <a:pt x="948" y="1060"/>
                </a:lnTo>
                <a:lnTo>
                  <a:pt x="946" y="1054"/>
                </a:lnTo>
                <a:lnTo>
                  <a:pt x="946" y="1054"/>
                </a:lnTo>
                <a:lnTo>
                  <a:pt x="960" y="1056"/>
                </a:lnTo>
                <a:lnTo>
                  <a:pt x="972" y="1058"/>
                </a:lnTo>
                <a:lnTo>
                  <a:pt x="972" y="1058"/>
                </a:lnTo>
                <a:close/>
                <a:moveTo>
                  <a:pt x="990" y="994"/>
                </a:moveTo>
                <a:lnTo>
                  <a:pt x="990" y="994"/>
                </a:lnTo>
                <a:lnTo>
                  <a:pt x="990" y="994"/>
                </a:lnTo>
                <a:lnTo>
                  <a:pt x="990" y="994"/>
                </a:lnTo>
                <a:lnTo>
                  <a:pt x="990" y="994"/>
                </a:lnTo>
                <a:lnTo>
                  <a:pt x="990" y="994"/>
                </a:lnTo>
                <a:lnTo>
                  <a:pt x="990" y="998"/>
                </a:lnTo>
                <a:lnTo>
                  <a:pt x="990" y="998"/>
                </a:lnTo>
                <a:lnTo>
                  <a:pt x="988" y="1002"/>
                </a:lnTo>
                <a:lnTo>
                  <a:pt x="984" y="1002"/>
                </a:lnTo>
                <a:lnTo>
                  <a:pt x="984" y="1002"/>
                </a:lnTo>
                <a:lnTo>
                  <a:pt x="988" y="1000"/>
                </a:lnTo>
                <a:lnTo>
                  <a:pt x="990" y="998"/>
                </a:lnTo>
                <a:lnTo>
                  <a:pt x="990" y="998"/>
                </a:lnTo>
                <a:lnTo>
                  <a:pt x="990" y="994"/>
                </a:lnTo>
                <a:lnTo>
                  <a:pt x="990" y="994"/>
                </a:lnTo>
                <a:lnTo>
                  <a:pt x="980" y="996"/>
                </a:lnTo>
                <a:lnTo>
                  <a:pt x="968" y="992"/>
                </a:lnTo>
                <a:lnTo>
                  <a:pt x="968" y="992"/>
                </a:lnTo>
                <a:lnTo>
                  <a:pt x="968" y="992"/>
                </a:lnTo>
                <a:lnTo>
                  <a:pt x="968" y="992"/>
                </a:lnTo>
                <a:lnTo>
                  <a:pt x="980" y="996"/>
                </a:lnTo>
                <a:lnTo>
                  <a:pt x="990" y="994"/>
                </a:lnTo>
                <a:lnTo>
                  <a:pt x="990" y="994"/>
                </a:lnTo>
                <a:close/>
                <a:moveTo>
                  <a:pt x="960" y="994"/>
                </a:moveTo>
                <a:lnTo>
                  <a:pt x="960" y="994"/>
                </a:lnTo>
                <a:lnTo>
                  <a:pt x="968" y="998"/>
                </a:lnTo>
                <a:lnTo>
                  <a:pt x="968" y="998"/>
                </a:lnTo>
                <a:lnTo>
                  <a:pt x="968" y="998"/>
                </a:lnTo>
                <a:lnTo>
                  <a:pt x="968" y="998"/>
                </a:lnTo>
                <a:lnTo>
                  <a:pt x="968" y="998"/>
                </a:lnTo>
                <a:lnTo>
                  <a:pt x="968" y="998"/>
                </a:lnTo>
                <a:lnTo>
                  <a:pt x="966" y="1000"/>
                </a:lnTo>
                <a:lnTo>
                  <a:pt x="964" y="1002"/>
                </a:lnTo>
                <a:lnTo>
                  <a:pt x="964" y="1002"/>
                </a:lnTo>
                <a:lnTo>
                  <a:pt x="956" y="1004"/>
                </a:lnTo>
                <a:lnTo>
                  <a:pt x="956" y="1004"/>
                </a:lnTo>
                <a:lnTo>
                  <a:pt x="964" y="1002"/>
                </a:lnTo>
                <a:lnTo>
                  <a:pt x="964" y="1002"/>
                </a:lnTo>
                <a:lnTo>
                  <a:pt x="966" y="1000"/>
                </a:lnTo>
                <a:lnTo>
                  <a:pt x="968" y="998"/>
                </a:lnTo>
                <a:lnTo>
                  <a:pt x="968" y="998"/>
                </a:lnTo>
                <a:lnTo>
                  <a:pt x="960" y="994"/>
                </a:lnTo>
                <a:lnTo>
                  <a:pt x="960" y="994"/>
                </a:lnTo>
                <a:lnTo>
                  <a:pt x="954" y="994"/>
                </a:lnTo>
                <a:lnTo>
                  <a:pt x="954" y="994"/>
                </a:lnTo>
                <a:lnTo>
                  <a:pt x="960" y="994"/>
                </a:lnTo>
                <a:lnTo>
                  <a:pt x="960" y="994"/>
                </a:lnTo>
                <a:close/>
                <a:moveTo>
                  <a:pt x="950" y="1004"/>
                </a:moveTo>
                <a:lnTo>
                  <a:pt x="950" y="1004"/>
                </a:lnTo>
                <a:lnTo>
                  <a:pt x="956" y="1004"/>
                </a:lnTo>
                <a:lnTo>
                  <a:pt x="956" y="1004"/>
                </a:lnTo>
                <a:lnTo>
                  <a:pt x="950" y="1004"/>
                </a:lnTo>
                <a:lnTo>
                  <a:pt x="950" y="1004"/>
                </a:lnTo>
                <a:close/>
                <a:moveTo>
                  <a:pt x="932" y="1014"/>
                </a:moveTo>
                <a:lnTo>
                  <a:pt x="932" y="1014"/>
                </a:lnTo>
                <a:lnTo>
                  <a:pt x="928" y="1014"/>
                </a:lnTo>
                <a:lnTo>
                  <a:pt x="928" y="1014"/>
                </a:lnTo>
                <a:lnTo>
                  <a:pt x="922" y="1016"/>
                </a:lnTo>
                <a:lnTo>
                  <a:pt x="916" y="1016"/>
                </a:lnTo>
                <a:lnTo>
                  <a:pt x="908" y="1016"/>
                </a:lnTo>
                <a:lnTo>
                  <a:pt x="902" y="1016"/>
                </a:lnTo>
                <a:lnTo>
                  <a:pt x="902" y="1016"/>
                </a:lnTo>
                <a:lnTo>
                  <a:pt x="898" y="1014"/>
                </a:lnTo>
                <a:lnTo>
                  <a:pt x="898" y="1014"/>
                </a:lnTo>
                <a:lnTo>
                  <a:pt x="908" y="1008"/>
                </a:lnTo>
                <a:lnTo>
                  <a:pt x="918" y="1006"/>
                </a:lnTo>
                <a:lnTo>
                  <a:pt x="918" y="1006"/>
                </a:lnTo>
                <a:lnTo>
                  <a:pt x="936" y="1006"/>
                </a:lnTo>
                <a:lnTo>
                  <a:pt x="936" y="1006"/>
                </a:lnTo>
                <a:lnTo>
                  <a:pt x="948" y="1004"/>
                </a:lnTo>
                <a:lnTo>
                  <a:pt x="948" y="1004"/>
                </a:lnTo>
                <a:lnTo>
                  <a:pt x="942" y="1010"/>
                </a:lnTo>
                <a:lnTo>
                  <a:pt x="938" y="1012"/>
                </a:lnTo>
                <a:lnTo>
                  <a:pt x="932" y="1014"/>
                </a:lnTo>
                <a:lnTo>
                  <a:pt x="932" y="1014"/>
                </a:lnTo>
                <a:close/>
                <a:moveTo>
                  <a:pt x="940" y="996"/>
                </a:moveTo>
                <a:lnTo>
                  <a:pt x="940" y="996"/>
                </a:lnTo>
                <a:lnTo>
                  <a:pt x="940" y="996"/>
                </a:lnTo>
                <a:lnTo>
                  <a:pt x="940" y="996"/>
                </a:lnTo>
                <a:lnTo>
                  <a:pt x="940" y="998"/>
                </a:lnTo>
                <a:lnTo>
                  <a:pt x="940" y="998"/>
                </a:lnTo>
                <a:lnTo>
                  <a:pt x="934" y="1000"/>
                </a:lnTo>
                <a:lnTo>
                  <a:pt x="934" y="1000"/>
                </a:lnTo>
                <a:lnTo>
                  <a:pt x="934" y="998"/>
                </a:lnTo>
                <a:lnTo>
                  <a:pt x="934" y="998"/>
                </a:lnTo>
                <a:lnTo>
                  <a:pt x="940" y="998"/>
                </a:lnTo>
                <a:lnTo>
                  <a:pt x="940" y="998"/>
                </a:lnTo>
                <a:lnTo>
                  <a:pt x="940" y="996"/>
                </a:lnTo>
                <a:lnTo>
                  <a:pt x="940" y="996"/>
                </a:lnTo>
                <a:close/>
                <a:moveTo>
                  <a:pt x="924" y="940"/>
                </a:moveTo>
                <a:lnTo>
                  <a:pt x="924" y="940"/>
                </a:lnTo>
                <a:lnTo>
                  <a:pt x="924" y="940"/>
                </a:lnTo>
                <a:lnTo>
                  <a:pt x="924" y="940"/>
                </a:lnTo>
                <a:lnTo>
                  <a:pt x="938" y="932"/>
                </a:lnTo>
                <a:lnTo>
                  <a:pt x="938" y="932"/>
                </a:lnTo>
                <a:lnTo>
                  <a:pt x="928" y="932"/>
                </a:lnTo>
                <a:lnTo>
                  <a:pt x="920" y="932"/>
                </a:lnTo>
                <a:lnTo>
                  <a:pt x="920" y="932"/>
                </a:lnTo>
                <a:lnTo>
                  <a:pt x="928" y="932"/>
                </a:lnTo>
                <a:lnTo>
                  <a:pt x="938" y="932"/>
                </a:lnTo>
                <a:lnTo>
                  <a:pt x="938" y="932"/>
                </a:lnTo>
                <a:lnTo>
                  <a:pt x="924" y="940"/>
                </a:lnTo>
                <a:lnTo>
                  <a:pt x="924" y="940"/>
                </a:lnTo>
                <a:close/>
                <a:moveTo>
                  <a:pt x="944" y="982"/>
                </a:moveTo>
                <a:lnTo>
                  <a:pt x="944" y="982"/>
                </a:lnTo>
                <a:lnTo>
                  <a:pt x="938" y="982"/>
                </a:lnTo>
                <a:lnTo>
                  <a:pt x="938" y="982"/>
                </a:lnTo>
                <a:lnTo>
                  <a:pt x="938" y="982"/>
                </a:lnTo>
                <a:lnTo>
                  <a:pt x="938" y="982"/>
                </a:lnTo>
                <a:lnTo>
                  <a:pt x="944" y="982"/>
                </a:lnTo>
                <a:lnTo>
                  <a:pt x="944" y="982"/>
                </a:lnTo>
                <a:lnTo>
                  <a:pt x="944" y="980"/>
                </a:lnTo>
                <a:lnTo>
                  <a:pt x="944" y="980"/>
                </a:lnTo>
                <a:lnTo>
                  <a:pt x="944" y="980"/>
                </a:lnTo>
                <a:lnTo>
                  <a:pt x="944" y="980"/>
                </a:lnTo>
                <a:lnTo>
                  <a:pt x="944" y="982"/>
                </a:lnTo>
                <a:lnTo>
                  <a:pt x="944" y="982"/>
                </a:lnTo>
                <a:close/>
                <a:moveTo>
                  <a:pt x="938" y="956"/>
                </a:moveTo>
                <a:lnTo>
                  <a:pt x="938" y="956"/>
                </a:lnTo>
                <a:lnTo>
                  <a:pt x="938" y="956"/>
                </a:lnTo>
                <a:lnTo>
                  <a:pt x="938" y="956"/>
                </a:lnTo>
                <a:lnTo>
                  <a:pt x="948" y="954"/>
                </a:lnTo>
                <a:lnTo>
                  <a:pt x="948" y="954"/>
                </a:lnTo>
                <a:lnTo>
                  <a:pt x="944" y="952"/>
                </a:lnTo>
                <a:lnTo>
                  <a:pt x="944" y="952"/>
                </a:lnTo>
                <a:lnTo>
                  <a:pt x="948" y="954"/>
                </a:lnTo>
                <a:lnTo>
                  <a:pt x="948" y="954"/>
                </a:lnTo>
                <a:lnTo>
                  <a:pt x="938" y="956"/>
                </a:lnTo>
                <a:lnTo>
                  <a:pt x="938" y="956"/>
                </a:lnTo>
                <a:close/>
                <a:moveTo>
                  <a:pt x="958" y="944"/>
                </a:moveTo>
                <a:lnTo>
                  <a:pt x="958" y="944"/>
                </a:lnTo>
                <a:lnTo>
                  <a:pt x="958" y="944"/>
                </a:lnTo>
                <a:lnTo>
                  <a:pt x="958" y="944"/>
                </a:lnTo>
                <a:lnTo>
                  <a:pt x="958" y="946"/>
                </a:lnTo>
                <a:lnTo>
                  <a:pt x="958" y="946"/>
                </a:lnTo>
                <a:lnTo>
                  <a:pt x="956" y="948"/>
                </a:lnTo>
                <a:lnTo>
                  <a:pt x="952" y="948"/>
                </a:lnTo>
                <a:lnTo>
                  <a:pt x="944" y="946"/>
                </a:lnTo>
                <a:lnTo>
                  <a:pt x="944" y="946"/>
                </a:lnTo>
                <a:lnTo>
                  <a:pt x="944" y="946"/>
                </a:lnTo>
                <a:lnTo>
                  <a:pt x="944" y="946"/>
                </a:lnTo>
                <a:lnTo>
                  <a:pt x="952" y="948"/>
                </a:lnTo>
                <a:lnTo>
                  <a:pt x="956" y="948"/>
                </a:lnTo>
                <a:lnTo>
                  <a:pt x="958" y="946"/>
                </a:lnTo>
                <a:lnTo>
                  <a:pt x="958" y="946"/>
                </a:lnTo>
                <a:lnTo>
                  <a:pt x="958" y="944"/>
                </a:lnTo>
                <a:lnTo>
                  <a:pt x="958" y="944"/>
                </a:lnTo>
                <a:close/>
                <a:moveTo>
                  <a:pt x="952" y="978"/>
                </a:moveTo>
                <a:lnTo>
                  <a:pt x="952" y="978"/>
                </a:lnTo>
                <a:lnTo>
                  <a:pt x="950" y="974"/>
                </a:lnTo>
                <a:lnTo>
                  <a:pt x="950" y="974"/>
                </a:lnTo>
                <a:lnTo>
                  <a:pt x="950" y="974"/>
                </a:lnTo>
                <a:lnTo>
                  <a:pt x="952" y="978"/>
                </a:lnTo>
                <a:lnTo>
                  <a:pt x="952" y="978"/>
                </a:lnTo>
                <a:lnTo>
                  <a:pt x="952" y="978"/>
                </a:lnTo>
                <a:lnTo>
                  <a:pt x="952" y="978"/>
                </a:lnTo>
                <a:close/>
                <a:moveTo>
                  <a:pt x="972" y="968"/>
                </a:moveTo>
                <a:lnTo>
                  <a:pt x="972" y="968"/>
                </a:lnTo>
                <a:lnTo>
                  <a:pt x="966" y="972"/>
                </a:lnTo>
                <a:lnTo>
                  <a:pt x="962" y="974"/>
                </a:lnTo>
                <a:lnTo>
                  <a:pt x="958" y="972"/>
                </a:lnTo>
                <a:lnTo>
                  <a:pt x="958" y="972"/>
                </a:lnTo>
                <a:lnTo>
                  <a:pt x="950" y="974"/>
                </a:lnTo>
                <a:lnTo>
                  <a:pt x="950" y="974"/>
                </a:lnTo>
                <a:lnTo>
                  <a:pt x="950" y="974"/>
                </a:lnTo>
                <a:lnTo>
                  <a:pt x="950" y="974"/>
                </a:lnTo>
                <a:lnTo>
                  <a:pt x="958" y="972"/>
                </a:lnTo>
                <a:lnTo>
                  <a:pt x="958" y="972"/>
                </a:lnTo>
                <a:lnTo>
                  <a:pt x="962" y="974"/>
                </a:lnTo>
                <a:lnTo>
                  <a:pt x="966" y="972"/>
                </a:lnTo>
                <a:lnTo>
                  <a:pt x="972" y="968"/>
                </a:lnTo>
                <a:lnTo>
                  <a:pt x="972" y="968"/>
                </a:lnTo>
                <a:lnTo>
                  <a:pt x="970" y="966"/>
                </a:lnTo>
                <a:lnTo>
                  <a:pt x="970" y="966"/>
                </a:lnTo>
                <a:lnTo>
                  <a:pt x="972" y="968"/>
                </a:lnTo>
                <a:lnTo>
                  <a:pt x="972" y="968"/>
                </a:lnTo>
                <a:close/>
                <a:moveTo>
                  <a:pt x="976" y="950"/>
                </a:moveTo>
                <a:lnTo>
                  <a:pt x="976" y="950"/>
                </a:lnTo>
                <a:lnTo>
                  <a:pt x="976" y="950"/>
                </a:lnTo>
                <a:lnTo>
                  <a:pt x="976" y="950"/>
                </a:lnTo>
                <a:lnTo>
                  <a:pt x="978" y="946"/>
                </a:lnTo>
                <a:lnTo>
                  <a:pt x="974" y="944"/>
                </a:lnTo>
                <a:lnTo>
                  <a:pt x="974" y="944"/>
                </a:lnTo>
                <a:lnTo>
                  <a:pt x="970" y="944"/>
                </a:lnTo>
                <a:lnTo>
                  <a:pt x="966" y="944"/>
                </a:lnTo>
                <a:lnTo>
                  <a:pt x="962" y="950"/>
                </a:lnTo>
                <a:lnTo>
                  <a:pt x="962" y="950"/>
                </a:lnTo>
                <a:lnTo>
                  <a:pt x="962" y="950"/>
                </a:lnTo>
                <a:lnTo>
                  <a:pt x="966" y="944"/>
                </a:lnTo>
                <a:lnTo>
                  <a:pt x="970" y="944"/>
                </a:lnTo>
                <a:lnTo>
                  <a:pt x="974" y="944"/>
                </a:lnTo>
                <a:lnTo>
                  <a:pt x="974" y="944"/>
                </a:lnTo>
                <a:lnTo>
                  <a:pt x="978" y="946"/>
                </a:lnTo>
                <a:lnTo>
                  <a:pt x="976" y="950"/>
                </a:lnTo>
                <a:lnTo>
                  <a:pt x="976" y="950"/>
                </a:lnTo>
                <a:close/>
                <a:moveTo>
                  <a:pt x="954" y="928"/>
                </a:moveTo>
                <a:lnTo>
                  <a:pt x="954" y="928"/>
                </a:lnTo>
                <a:lnTo>
                  <a:pt x="946" y="928"/>
                </a:lnTo>
                <a:lnTo>
                  <a:pt x="946" y="928"/>
                </a:lnTo>
                <a:lnTo>
                  <a:pt x="920" y="922"/>
                </a:lnTo>
                <a:lnTo>
                  <a:pt x="920" y="922"/>
                </a:lnTo>
                <a:lnTo>
                  <a:pt x="924" y="918"/>
                </a:lnTo>
                <a:lnTo>
                  <a:pt x="926" y="918"/>
                </a:lnTo>
                <a:lnTo>
                  <a:pt x="932" y="918"/>
                </a:lnTo>
                <a:lnTo>
                  <a:pt x="938" y="920"/>
                </a:lnTo>
                <a:lnTo>
                  <a:pt x="938" y="920"/>
                </a:lnTo>
                <a:lnTo>
                  <a:pt x="944" y="916"/>
                </a:lnTo>
                <a:lnTo>
                  <a:pt x="950" y="916"/>
                </a:lnTo>
                <a:lnTo>
                  <a:pt x="962" y="920"/>
                </a:lnTo>
                <a:lnTo>
                  <a:pt x="962" y="920"/>
                </a:lnTo>
                <a:lnTo>
                  <a:pt x="972" y="922"/>
                </a:lnTo>
                <a:lnTo>
                  <a:pt x="972" y="922"/>
                </a:lnTo>
                <a:lnTo>
                  <a:pt x="990" y="920"/>
                </a:lnTo>
                <a:lnTo>
                  <a:pt x="990" y="920"/>
                </a:lnTo>
                <a:lnTo>
                  <a:pt x="988" y="924"/>
                </a:lnTo>
                <a:lnTo>
                  <a:pt x="986" y="924"/>
                </a:lnTo>
                <a:lnTo>
                  <a:pt x="980" y="926"/>
                </a:lnTo>
                <a:lnTo>
                  <a:pt x="980" y="926"/>
                </a:lnTo>
                <a:lnTo>
                  <a:pt x="966" y="926"/>
                </a:lnTo>
                <a:lnTo>
                  <a:pt x="954" y="928"/>
                </a:lnTo>
                <a:lnTo>
                  <a:pt x="954" y="928"/>
                </a:lnTo>
                <a:close/>
                <a:moveTo>
                  <a:pt x="986" y="942"/>
                </a:moveTo>
                <a:lnTo>
                  <a:pt x="986" y="942"/>
                </a:lnTo>
                <a:lnTo>
                  <a:pt x="986" y="942"/>
                </a:lnTo>
                <a:lnTo>
                  <a:pt x="986" y="942"/>
                </a:lnTo>
                <a:lnTo>
                  <a:pt x="990" y="940"/>
                </a:lnTo>
                <a:lnTo>
                  <a:pt x="990" y="940"/>
                </a:lnTo>
                <a:lnTo>
                  <a:pt x="990" y="938"/>
                </a:lnTo>
                <a:lnTo>
                  <a:pt x="990" y="938"/>
                </a:lnTo>
                <a:lnTo>
                  <a:pt x="990" y="938"/>
                </a:lnTo>
                <a:lnTo>
                  <a:pt x="990" y="938"/>
                </a:lnTo>
                <a:lnTo>
                  <a:pt x="992" y="940"/>
                </a:lnTo>
                <a:lnTo>
                  <a:pt x="992" y="940"/>
                </a:lnTo>
                <a:lnTo>
                  <a:pt x="986" y="942"/>
                </a:lnTo>
                <a:lnTo>
                  <a:pt x="986" y="942"/>
                </a:lnTo>
                <a:close/>
                <a:moveTo>
                  <a:pt x="1010" y="956"/>
                </a:moveTo>
                <a:lnTo>
                  <a:pt x="1010" y="956"/>
                </a:lnTo>
                <a:lnTo>
                  <a:pt x="1010" y="956"/>
                </a:lnTo>
                <a:lnTo>
                  <a:pt x="1010" y="956"/>
                </a:lnTo>
                <a:lnTo>
                  <a:pt x="1010" y="956"/>
                </a:lnTo>
                <a:lnTo>
                  <a:pt x="1012" y="952"/>
                </a:lnTo>
                <a:lnTo>
                  <a:pt x="1008" y="950"/>
                </a:lnTo>
                <a:lnTo>
                  <a:pt x="1008" y="950"/>
                </a:lnTo>
                <a:lnTo>
                  <a:pt x="996" y="950"/>
                </a:lnTo>
                <a:lnTo>
                  <a:pt x="996" y="950"/>
                </a:lnTo>
                <a:lnTo>
                  <a:pt x="988" y="952"/>
                </a:lnTo>
                <a:lnTo>
                  <a:pt x="988" y="952"/>
                </a:lnTo>
                <a:lnTo>
                  <a:pt x="988" y="952"/>
                </a:lnTo>
                <a:lnTo>
                  <a:pt x="988" y="952"/>
                </a:lnTo>
                <a:lnTo>
                  <a:pt x="996" y="950"/>
                </a:lnTo>
                <a:lnTo>
                  <a:pt x="996" y="950"/>
                </a:lnTo>
                <a:lnTo>
                  <a:pt x="1008" y="950"/>
                </a:lnTo>
                <a:lnTo>
                  <a:pt x="1008" y="950"/>
                </a:lnTo>
                <a:lnTo>
                  <a:pt x="1012" y="952"/>
                </a:lnTo>
                <a:lnTo>
                  <a:pt x="1010" y="956"/>
                </a:lnTo>
                <a:lnTo>
                  <a:pt x="1010" y="956"/>
                </a:lnTo>
                <a:close/>
                <a:moveTo>
                  <a:pt x="1014" y="962"/>
                </a:moveTo>
                <a:lnTo>
                  <a:pt x="1014" y="962"/>
                </a:lnTo>
                <a:lnTo>
                  <a:pt x="1014" y="962"/>
                </a:lnTo>
                <a:lnTo>
                  <a:pt x="1014" y="962"/>
                </a:lnTo>
                <a:lnTo>
                  <a:pt x="1020" y="962"/>
                </a:lnTo>
                <a:lnTo>
                  <a:pt x="1022" y="960"/>
                </a:lnTo>
                <a:lnTo>
                  <a:pt x="1022" y="958"/>
                </a:lnTo>
                <a:lnTo>
                  <a:pt x="1022" y="958"/>
                </a:lnTo>
                <a:lnTo>
                  <a:pt x="1022" y="958"/>
                </a:lnTo>
                <a:lnTo>
                  <a:pt x="1022" y="958"/>
                </a:lnTo>
                <a:lnTo>
                  <a:pt x="1022" y="960"/>
                </a:lnTo>
                <a:lnTo>
                  <a:pt x="1020" y="962"/>
                </a:lnTo>
                <a:lnTo>
                  <a:pt x="1014" y="962"/>
                </a:lnTo>
                <a:lnTo>
                  <a:pt x="1014" y="962"/>
                </a:lnTo>
                <a:close/>
                <a:moveTo>
                  <a:pt x="1020" y="956"/>
                </a:moveTo>
                <a:lnTo>
                  <a:pt x="1020" y="956"/>
                </a:lnTo>
                <a:lnTo>
                  <a:pt x="1020" y="956"/>
                </a:lnTo>
                <a:lnTo>
                  <a:pt x="1020" y="956"/>
                </a:lnTo>
                <a:lnTo>
                  <a:pt x="1024" y="952"/>
                </a:lnTo>
                <a:lnTo>
                  <a:pt x="1024" y="952"/>
                </a:lnTo>
                <a:lnTo>
                  <a:pt x="1024" y="952"/>
                </a:lnTo>
                <a:lnTo>
                  <a:pt x="1024" y="952"/>
                </a:lnTo>
                <a:lnTo>
                  <a:pt x="1020" y="956"/>
                </a:lnTo>
                <a:lnTo>
                  <a:pt x="1020" y="956"/>
                </a:lnTo>
                <a:close/>
                <a:moveTo>
                  <a:pt x="1102" y="1018"/>
                </a:moveTo>
                <a:lnTo>
                  <a:pt x="1102" y="1018"/>
                </a:lnTo>
                <a:lnTo>
                  <a:pt x="1102" y="1018"/>
                </a:lnTo>
                <a:lnTo>
                  <a:pt x="1102" y="1018"/>
                </a:lnTo>
                <a:lnTo>
                  <a:pt x="1114" y="1018"/>
                </a:lnTo>
                <a:lnTo>
                  <a:pt x="1114" y="1018"/>
                </a:lnTo>
                <a:lnTo>
                  <a:pt x="1112" y="1016"/>
                </a:lnTo>
                <a:lnTo>
                  <a:pt x="1108" y="1014"/>
                </a:lnTo>
                <a:lnTo>
                  <a:pt x="1108" y="1014"/>
                </a:lnTo>
                <a:lnTo>
                  <a:pt x="1112" y="1016"/>
                </a:lnTo>
                <a:lnTo>
                  <a:pt x="1114" y="1018"/>
                </a:lnTo>
                <a:lnTo>
                  <a:pt x="1114" y="1018"/>
                </a:lnTo>
                <a:lnTo>
                  <a:pt x="1102" y="1018"/>
                </a:lnTo>
                <a:lnTo>
                  <a:pt x="1102" y="1018"/>
                </a:lnTo>
                <a:close/>
                <a:moveTo>
                  <a:pt x="1192" y="1052"/>
                </a:moveTo>
                <a:lnTo>
                  <a:pt x="1192" y="1052"/>
                </a:lnTo>
                <a:lnTo>
                  <a:pt x="1192" y="1052"/>
                </a:lnTo>
                <a:lnTo>
                  <a:pt x="1192" y="1052"/>
                </a:lnTo>
                <a:lnTo>
                  <a:pt x="1196" y="1054"/>
                </a:lnTo>
                <a:lnTo>
                  <a:pt x="1196" y="1054"/>
                </a:lnTo>
                <a:lnTo>
                  <a:pt x="1192" y="1060"/>
                </a:lnTo>
                <a:lnTo>
                  <a:pt x="1192" y="1060"/>
                </a:lnTo>
                <a:lnTo>
                  <a:pt x="1192" y="1060"/>
                </a:lnTo>
                <a:lnTo>
                  <a:pt x="1192" y="1060"/>
                </a:lnTo>
                <a:lnTo>
                  <a:pt x="1194" y="1054"/>
                </a:lnTo>
                <a:lnTo>
                  <a:pt x="1194" y="1054"/>
                </a:lnTo>
                <a:lnTo>
                  <a:pt x="1192" y="1052"/>
                </a:lnTo>
                <a:lnTo>
                  <a:pt x="1192" y="1052"/>
                </a:lnTo>
                <a:close/>
                <a:moveTo>
                  <a:pt x="1162" y="1056"/>
                </a:moveTo>
                <a:lnTo>
                  <a:pt x="1162" y="1056"/>
                </a:lnTo>
                <a:lnTo>
                  <a:pt x="1174" y="1056"/>
                </a:lnTo>
                <a:lnTo>
                  <a:pt x="1174" y="1056"/>
                </a:lnTo>
                <a:lnTo>
                  <a:pt x="1168" y="1052"/>
                </a:lnTo>
                <a:lnTo>
                  <a:pt x="1168" y="1052"/>
                </a:lnTo>
                <a:lnTo>
                  <a:pt x="1174" y="1056"/>
                </a:lnTo>
                <a:lnTo>
                  <a:pt x="1174" y="1056"/>
                </a:lnTo>
                <a:lnTo>
                  <a:pt x="1162" y="1056"/>
                </a:lnTo>
                <a:lnTo>
                  <a:pt x="1162" y="1056"/>
                </a:lnTo>
                <a:lnTo>
                  <a:pt x="1162" y="1056"/>
                </a:lnTo>
                <a:lnTo>
                  <a:pt x="1162" y="1056"/>
                </a:lnTo>
                <a:close/>
                <a:moveTo>
                  <a:pt x="1200" y="936"/>
                </a:moveTo>
                <a:lnTo>
                  <a:pt x="1200" y="936"/>
                </a:lnTo>
                <a:lnTo>
                  <a:pt x="1200" y="936"/>
                </a:lnTo>
                <a:lnTo>
                  <a:pt x="1200" y="936"/>
                </a:lnTo>
                <a:lnTo>
                  <a:pt x="1198" y="938"/>
                </a:lnTo>
                <a:lnTo>
                  <a:pt x="1194" y="938"/>
                </a:lnTo>
                <a:lnTo>
                  <a:pt x="1194" y="938"/>
                </a:lnTo>
                <a:lnTo>
                  <a:pt x="1198" y="938"/>
                </a:lnTo>
                <a:lnTo>
                  <a:pt x="1200" y="936"/>
                </a:lnTo>
                <a:lnTo>
                  <a:pt x="1200" y="936"/>
                </a:lnTo>
                <a:close/>
                <a:moveTo>
                  <a:pt x="1182" y="942"/>
                </a:moveTo>
                <a:lnTo>
                  <a:pt x="1182" y="942"/>
                </a:lnTo>
                <a:lnTo>
                  <a:pt x="1186" y="940"/>
                </a:lnTo>
                <a:lnTo>
                  <a:pt x="1184" y="936"/>
                </a:lnTo>
                <a:lnTo>
                  <a:pt x="1184" y="936"/>
                </a:lnTo>
                <a:lnTo>
                  <a:pt x="1184" y="936"/>
                </a:lnTo>
                <a:lnTo>
                  <a:pt x="1184" y="936"/>
                </a:lnTo>
                <a:lnTo>
                  <a:pt x="1186" y="940"/>
                </a:lnTo>
                <a:lnTo>
                  <a:pt x="1182" y="942"/>
                </a:lnTo>
                <a:lnTo>
                  <a:pt x="1182" y="942"/>
                </a:lnTo>
                <a:lnTo>
                  <a:pt x="1182" y="942"/>
                </a:lnTo>
                <a:lnTo>
                  <a:pt x="1182" y="942"/>
                </a:lnTo>
                <a:lnTo>
                  <a:pt x="1182" y="942"/>
                </a:lnTo>
                <a:lnTo>
                  <a:pt x="1182" y="942"/>
                </a:lnTo>
                <a:close/>
                <a:moveTo>
                  <a:pt x="1158" y="908"/>
                </a:moveTo>
                <a:lnTo>
                  <a:pt x="1158" y="908"/>
                </a:lnTo>
                <a:lnTo>
                  <a:pt x="1166" y="914"/>
                </a:lnTo>
                <a:lnTo>
                  <a:pt x="1166" y="914"/>
                </a:lnTo>
                <a:lnTo>
                  <a:pt x="1166" y="914"/>
                </a:lnTo>
                <a:lnTo>
                  <a:pt x="1166" y="914"/>
                </a:lnTo>
                <a:lnTo>
                  <a:pt x="1158" y="908"/>
                </a:lnTo>
                <a:lnTo>
                  <a:pt x="1158" y="908"/>
                </a:lnTo>
                <a:lnTo>
                  <a:pt x="1158" y="908"/>
                </a:lnTo>
                <a:lnTo>
                  <a:pt x="1158" y="908"/>
                </a:lnTo>
                <a:close/>
                <a:moveTo>
                  <a:pt x="1158" y="912"/>
                </a:moveTo>
                <a:lnTo>
                  <a:pt x="1158" y="912"/>
                </a:lnTo>
                <a:lnTo>
                  <a:pt x="1152" y="912"/>
                </a:lnTo>
                <a:lnTo>
                  <a:pt x="1144" y="912"/>
                </a:lnTo>
                <a:lnTo>
                  <a:pt x="1144" y="912"/>
                </a:lnTo>
                <a:lnTo>
                  <a:pt x="1144" y="912"/>
                </a:lnTo>
                <a:lnTo>
                  <a:pt x="1144" y="912"/>
                </a:lnTo>
                <a:lnTo>
                  <a:pt x="1152" y="912"/>
                </a:lnTo>
                <a:lnTo>
                  <a:pt x="1158" y="912"/>
                </a:lnTo>
                <a:lnTo>
                  <a:pt x="1158" y="912"/>
                </a:lnTo>
                <a:close/>
                <a:moveTo>
                  <a:pt x="1160" y="926"/>
                </a:moveTo>
                <a:lnTo>
                  <a:pt x="1160" y="926"/>
                </a:lnTo>
                <a:lnTo>
                  <a:pt x="1152" y="930"/>
                </a:lnTo>
                <a:lnTo>
                  <a:pt x="1150" y="934"/>
                </a:lnTo>
                <a:lnTo>
                  <a:pt x="1152" y="938"/>
                </a:lnTo>
                <a:lnTo>
                  <a:pt x="1152" y="938"/>
                </a:lnTo>
                <a:lnTo>
                  <a:pt x="1148" y="938"/>
                </a:lnTo>
                <a:lnTo>
                  <a:pt x="1148" y="938"/>
                </a:lnTo>
                <a:lnTo>
                  <a:pt x="1136" y="932"/>
                </a:lnTo>
                <a:lnTo>
                  <a:pt x="1136" y="932"/>
                </a:lnTo>
                <a:lnTo>
                  <a:pt x="1148" y="926"/>
                </a:lnTo>
                <a:lnTo>
                  <a:pt x="1160" y="926"/>
                </a:lnTo>
                <a:lnTo>
                  <a:pt x="1160" y="926"/>
                </a:lnTo>
                <a:close/>
                <a:moveTo>
                  <a:pt x="1098" y="844"/>
                </a:moveTo>
                <a:lnTo>
                  <a:pt x="1098" y="844"/>
                </a:lnTo>
                <a:lnTo>
                  <a:pt x="1098" y="844"/>
                </a:lnTo>
                <a:lnTo>
                  <a:pt x="1098" y="844"/>
                </a:lnTo>
                <a:lnTo>
                  <a:pt x="1092" y="848"/>
                </a:lnTo>
                <a:lnTo>
                  <a:pt x="1088" y="850"/>
                </a:lnTo>
                <a:lnTo>
                  <a:pt x="1088" y="850"/>
                </a:lnTo>
                <a:lnTo>
                  <a:pt x="1092" y="848"/>
                </a:lnTo>
                <a:lnTo>
                  <a:pt x="1098" y="844"/>
                </a:lnTo>
                <a:lnTo>
                  <a:pt x="1098" y="844"/>
                </a:lnTo>
                <a:close/>
                <a:moveTo>
                  <a:pt x="1060" y="896"/>
                </a:moveTo>
                <a:lnTo>
                  <a:pt x="1060" y="896"/>
                </a:lnTo>
                <a:lnTo>
                  <a:pt x="1054" y="898"/>
                </a:lnTo>
                <a:lnTo>
                  <a:pt x="1054" y="898"/>
                </a:lnTo>
                <a:lnTo>
                  <a:pt x="1060" y="896"/>
                </a:lnTo>
                <a:lnTo>
                  <a:pt x="1060" y="896"/>
                </a:lnTo>
                <a:lnTo>
                  <a:pt x="1052" y="892"/>
                </a:lnTo>
                <a:lnTo>
                  <a:pt x="1052" y="892"/>
                </a:lnTo>
                <a:lnTo>
                  <a:pt x="1060" y="896"/>
                </a:lnTo>
                <a:lnTo>
                  <a:pt x="1060" y="896"/>
                </a:lnTo>
                <a:close/>
                <a:moveTo>
                  <a:pt x="1064" y="946"/>
                </a:moveTo>
                <a:lnTo>
                  <a:pt x="1064" y="946"/>
                </a:lnTo>
                <a:lnTo>
                  <a:pt x="1058" y="944"/>
                </a:lnTo>
                <a:lnTo>
                  <a:pt x="1058" y="944"/>
                </a:lnTo>
                <a:lnTo>
                  <a:pt x="1058" y="942"/>
                </a:lnTo>
                <a:lnTo>
                  <a:pt x="1058" y="942"/>
                </a:lnTo>
                <a:lnTo>
                  <a:pt x="1064" y="946"/>
                </a:lnTo>
                <a:lnTo>
                  <a:pt x="1064" y="946"/>
                </a:lnTo>
                <a:lnTo>
                  <a:pt x="1064" y="946"/>
                </a:lnTo>
                <a:lnTo>
                  <a:pt x="1064" y="946"/>
                </a:lnTo>
                <a:close/>
                <a:moveTo>
                  <a:pt x="1082" y="942"/>
                </a:moveTo>
                <a:lnTo>
                  <a:pt x="1082" y="942"/>
                </a:lnTo>
                <a:lnTo>
                  <a:pt x="1078" y="940"/>
                </a:lnTo>
                <a:lnTo>
                  <a:pt x="1074" y="938"/>
                </a:lnTo>
                <a:lnTo>
                  <a:pt x="1074" y="938"/>
                </a:lnTo>
                <a:lnTo>
                  <a:pt x="1058" y="938"/>
                </a:lnTo>
                <a:lnTo>
                  <a:pt x="1058" y="938"/>
                </a:lnTo>
                <a:lnTo>
                  <a:pt x="1054" y="940"/>
                </a:lnTo>
                <a:lnTo>
                  <a:pt x="1054" y="940"/>
                </a:lnTo>
                <a:lnTo>
                  <a:pt x="1058" y="938"/>
                </a:lnTo>
                <a:lnTo>
                  <a:pt x="1058" y="938"/>
                </a:lnTo>
                <a:lnTo>
                  <a:pt x="1074" y="938"/>
                </a:lnTo>
                <a:lnTo>
                  <a:pt x="1074" y="938"/>
                </a:lnTo>
                <a:lnTo>
                  <a:pt x="1078" y="940"/>
                </a:lnTo>
                <a:lnTo>
                  <a:pt x="1082" y="942"/>
                </a:lnTo>
                <a:lnTo>
                  <a:pt x="1082" y="942"/>
                </a:lnTo>
                <a:lnTo>
                  <a:pt x="1082" y="942"/>
                </a:lnTo>
                <a:lnTo>
                  <a:pt x="1082" y="942"/>
                </a:lnTo>
                <a:close/>
                <a:moveTo>
                  <a:pt x="1088" y="936"/>
                </a:moveTo>
                <a:lnTo>
                  <a:pt x="1088" y="936"/>
                </a:lnTo>
                <a:lnTo>
                  <a:pt x="1074" y="932"/>
                </a:lnTo>
                <a:lnTo>
                  <a:pt x="1074" y="932"/>
                </a:lnTo>
                <a:lnTo>
                  <a:pt x="1070" y="934"/>
                </a:lnTo>
                <a:lnTo>
                  <a:pt x="1066" y="934"/>
                </a:lnTo>
                <a:lnTo>
                  <a:pt x="1056" y="934"/>
                </a:lnTo>
                <a:lnTo>
                  <a:pt x="1056" y="934"/>
                </a:lnTo>
                <a:lnTo>
                  <a:pt x="1042" y="932"/>
                </a:lnTo>
                <a:lnTo>
                  <a:pt x="1036" y="932"/>
                </a:lnTo>
                <a:lnTo>
                  <a:pt x="1030" y="932"/>
                </a:lnTo>
                <a:lnTo>
                  <a:pt x="1030" y="932"/>
                </a:lnTo>
                <a:lnTo>
                  <a:pt x="1026" y="932"/>
                </a:lnTo>
                <a:lnTo>
                  <a:pt x="1026" y="928"/>
                </a:lnTo>
                <a:lnTo>
                  <a:pt x="1026" y="928"/>
                </a:lnTo>
                <a:lnTo>
                  <a:pt x="1026" y="928"/>
                </a:lnTo>
                <a:lnTo>
                  <a:pt x="1042" y="926"/>
                </a:lnTo>
                <a:lnTo>
                  <a:pt x="1042" y="926"/>
                </a:lnTo>
                <a:lnTo>
                  <a:pt x="1046" y="926"/>
                </a:lnTo>
                <a:lnTo>
                  <a:pt x="1046" y="926"/>
                </a:lnTo>
                <a:lnTo>
                  <a:pt x="1052" y="930"/>
                </a:lnTo>
                <a:lnTo>
                  <a:pt x="1056" y="930"/>
                </a:lnTo>
                <a:lnTo>
                  <a:pt x="1060" y="928"/>
                </a:lnTo>
                <a:lnTo>
                  <a:pt x="1066" y="924"/>
                </a:lnTo>
                <a:lnTo>
                  <a:pt x="1066" y="924"/>
                </a:lnTo>
                <a:lnTo>
                  <a:pt x="1068" y="924"/>
                </a:lnTo>
                <a:lnTo>
                  <a:pt x="1068" y="924"/>
                </a:lnTo>
                <a:lnTo>
                  <a:pt x="1070" y="928"/>
                </a:lnTo>
                <a:lnTo>
                  <a:pt x="1070" y="928"/>
                </a:lnTo>
                <a:lnTo>
                  <a:pt x="1102" y="926"/>
                </a:lnTo>
                <a:lnTo>
                  <a:pt x="1102" y="926"/>
                </a:lnTo>
                <a:lnTo>
                  <a:pt x="1112" y="924"/>
                </a:lnTo>
                <a:lnTo>
                  <a:pt x="1112" y="924"/>
                </a:lnTo>
                <a:lnTo>
                  <a:pt x="1110" y="926"/>
                </a:lnTo>
                <a:lnTo>
                  <a:pt x="1108" y="928"/>
                </a:lnTo>
                <a:lnTo>
                  <a:pt x="1092" y="930"/>
                </a:lnTo>
                <a:lnTo>
                  <a:pt x="1092" y="930"/>
                </a:lnTo>
                <a:lnTo>
                  <a:pt x="1088" y="936"/>
                </a:lnTo>
                <a:lnTo>
                  <a:pt x="1088" y="936"/>
                </a:lnTo>
                <a:close/>
                <a:moveTo>
                  <a:pt x="1096" y="946"/>
                </a:moveTo>
                <a:lnTo>
                  <a:pt x="1096" y="946"/>
                </a:lnTo>
                <a:lnTo>
                  <a:pt x="1096" y="946"/>
                </a:lnTo>
                <a:lnTo>
                  <a:pt x="1096" y="946"/>
                </a:lnTo>
                <a:lnTo>
                  <a:pt x="1108" y="946"/>
                </a:lnTo>
                <a:lnTo>
                  <a:pt x="1110" y="944"/>
                </a:lnTo>
                <a:lnTo>
                  <a:pt x="1112" y="942"/>
                </a:lnTo>
                <a:lnTo>
                  <a:pt x="1112" y="942"/>
                </a:lnTo>
                <a:lnTo>
                  <a:pt x="1112" y="942"/>
                </a:lnTo>
                <a:lnTo>
                  <a:pt x="1112" y="942"/>
                </a:lnTo>
                <a:lnTo>
                  <a:pt x="1110" y="944"/>
                </a:lnTo>
                <a:lnTo>
                  <a:pt x="1108" y="946"/>
                </a:lnTo>
                <a:lnTo>
                  <a:pt x="1096" y="946"/>
                </a:lnTo>
                <a:lnTo>
                  <a:pt x="1096" y="946"/>
                </a:lnTo>
                <a:close/>
                <a:moveTo>
                  <a:pt x="1158" y="952"/>
                </a:moveTo>
                <a:lnTo>
                  <a:pt x="1158" y="952"/>
                </a:lnTo>
                <a:lnTo>
                  <a:pt x="1176" y="960"/>
                </a:lnTo>
                <a:lnTo>
                  <a:pt x="1176" y="960"/>
                </a:lnTo>
                <a:lnTo>
                  <a:pt x="1154" y="968"/>
                </a:lnTo>
                <a:lnTo>
                  <a:pt x="1154" y="968"/>
                </a:lnTo>
                <a:lnTo>
                  <a:pt x="1142" y="964"/>
                </a:lnTo>
                <a:lnTo>
                  <a:pt x="1142" y="964"/>
                </a:lnTo>
                <a:lnTo>
                  <a:pt x="1136" y="966"/>
                </a:lnTo>
                <a:lnTo>
                  <a:pt x="1136" y="966"/>
                </a:lnTo>
                <a:lnTo>
                  <a:pt x="1136" y="966"/>
                </a:lnTo>
                <a:lnTo>
                  <a:pt x="1136" y="966"/>
                </a:lnTo>
                <a:lnTo>
                  <a:pt x="1120" y="960"/>
                </a:lnTo>
                <a:lnTo>
                  <a:pt x="1120" y="960"/>
                </a:lnTo>
                <a:lnTo>
                  <a:pt x="1122" y="954"/>
                </a:lnTo>
                <a:lnTo>
                  <a:pt x="1124" y="952"/>
                </a:lnTo>
                <a:lnTo>
                  <a:pt x="1130" y="952"/>
                </a:lnTo>
                <a:lnTo>
                  <a:pt x="1138" y="952"/>
                </a:lnTo>
                <a:lnTo>
                  <a:pt x="1138" y="952"/>
                </a:lnTo>
                <a:lnTo>
                  <a:pt x="1132" y="942"/>
                </a:lnTo>
                <a:lnTo>
                  <a:pt x="1132" y="942"/>
                </a:lnTo>
                <a:lnTo>
                  <a:pt x="1142" y="942"/>
                </a:lnTo>
                <a:lnTo>
                  <a:pt x="1142" y="942"/>
                </a:lnTo>
                <a:lnTo>
                  <a:pt x="1148" y="940"/>
                </a:lnTo>
                <a:lnTo>
                  <a:pt x="1148" y="940"/>
                </a:lnTo>
                <a:lnTo>
                  <a:pt x="1154" y="944"/>
                </a:lnTo>
                <a:lnTo>
                  <a:pt x="1160" y="944"/>
                </a:lnTo>
                <a:lnTo>
                  <a:pt x="1174" y="944"/>
                </a:lnTo>
                <a:lnTo>
                  <a:pt x="1174" y="944"/>
                </a:lnTo>
                <a:lnTo>
                  <a:pt x="1182" y="946"/>
                </a:lnTo>
                <a:lnTo>
                  <a:pt x="1190" y="944"/>
                </a:lnTo>
                <a:lnTo>
                  <a:pt x="1190" y="944"/>
                </a:lnTo>
                <a:lnTo>
                  <a:pt x="1194" y="946"/>
                </a:lnTo>
                <a:lnTo>
                  <a:pt x="1196" y="950"/>
                </a:lnTo>
                <a:lnTo>
                  <a:pt x="1196" y="956"/>
                </a:lnTo>
                <a:lnTo>
                  <a:pt x="1196" y="956"/>
                </a:lnTo>
                <a:lnTo>
                  <a:pt x="1186" y="956"/>
                </a:lnTo>
                <a:lnTo>
                  <a:pt x="1176" y="956"/>
                </a:lnTo>
                <a:lnTo>
                  <a:pt x="1158" y="952"/>
                </a:lnTo>
                <a:lnTo>
                  <a:pt x="1158" y="952"/>
                </a:lnTo>
                <a:close/>
                <a:moveTo>
                  <a:pt x="1194" y="980"/>
                </a:moveTo>
                <a:lnTo>
                  <a:pt x="1194" y="980"/>
                </a:lnTo>
                <a:lnTo>
                  <a:pt x="1194" y="980"/>
                </a:lnTo>
                <a:lnTo>
                  <a:pt x="1194" y="980"/>
                </a:lnTo>
                <a:lnTo>
                  <a:pt x="1202" y="974"/>
                </a:lnTo>
                <a:lnTo>
                  <a:pt x="1206" y="970"/>
                </a:lnTo>
                <a:lnTo>
                  <a:pt x="1212" y="968"/>
                </a:lnTo>
                <a:lnTo>
                  <a:pt x="1212" y="968"/>
                </a:lnTo>
                <a:lnTo>
                  <a:pt x="1212" y="968"/>
                </a:lnTo>
                <a:lnTo>
                  <a:pt x="1212" y="968"/>
                </a:lnTo>
                <a:lnTo>
                  <a:pt x="1206" y="970"/>
                </a:lnTo>
                <a:lnTo>
                  <a:pt x="1202" y="974"/>
                </a:lnTo>
                <a:lnTo>
                  <a:pt x="1194" y="980"/>
                </a:lnTo>
                <a:lnTo>
                  <a:pt x="1194" y="980"/>
                </a:lnTo>
                <a:close/>
                <a:moveTo>
                  <a:pt x="1216" y="930"/>
                </a:moveTo>
                <a:lnTo>
                  <a:pt x="1216" y="930"/>
                </a:lnTo>
                <a:lnTo>
                  <a:pt x="1214" y="930"/>
                </a:lnTo>
                <a:lnTo>
                  <a:pt x="1214" y="930"/>
                </a:lnTo>
                <a:lnTo>
                  <a:pt x="1214" y="930"/>
                </a:lnTo>
                <a:lnTo>
                  <a:pt x="1214" y="930"/>
                </a:lnTo>
                <a:lnTo>
                  <a:pt x="1220" y="930"/>
                </a:lnTo>
                <a:lnTo>
                  <a:pt x="1220" y="928"/>
                </a:lnTo>
                <a:lnTo>
                  <a:pt x="1220" y="926"/>
                </a:lnTo>
                <a:lnTo>
                  <a:pt x="1220" y="926"/>
                </a:lnTo>
                <a:lnTo>
                  <a:pt x="1206" y="924"/>
                </a:lnTo>
                <a:lnTo>
                  <a:pt x="1206" y="924"/>
                </a:lnTo>
                <a:lnTo>
                  <a:pt x="1206" y="924"/>
                </a:lnTo>
                <a:lnTo>
                  <a:pt x="1206" y="924"/>
                </a:lnTo>
                <a:lnTo>
                  <a:pt x="1220" y="926"/>
                </a:lnTo>
                <a:lnTo>
                  <a:pt x="1220" y="926"/>
                </a:lnTo>
                <a:lnTo>
                  <a:pt x="1220" y="928"/>
                </a:lnTo>
                <a:lnTo>
                  <a:pt x="1220" y="930"/>
                </a:lnTo>
                <a:lnTo>
                  <a:pt x="1216" y="930"/>
                </a:lnTo>
                <a:lnTo>
                  <a:pt x="1216" y="930"/>
                </a:lnTo>
                <a:close/>
                <a:moveTo>
                  <a:pt x="1264" y="922"/>
                </a:moveTo>
                <a:lnTo>
                  <a:pt x="1264" y="922"/>
                </a:lnTo>
                <a:lnTo>
                  <a:pt x="1260" y="920"/>
                </a:lnTo>
                <a:lnTo>
                  <a:pt x="1260" y="920"/>
                </a:lnTo>
                <a:lnTo>
                  <a:pt x="1264" y="922"/>
                </a:lnTo>
                <a:lnTo>
                  <a:pt x="1264" y="922"/>
                </a:lnTo>
                <a:lnTo>
                  <a:pt x="1270" y="918"/>
                </a:lnTo>
                <a:lnTo>
                  <a:pt x="1270" y="918"/>
                </a:lnTo>
                <a:lnTo>
                  <a:pt x="1268" y="916"/>
                </a:lnTo>
                <a:lnTo>
                  <a:pt x="1268" y="916"/>
                </a:lnTo>
                <a:lnTo>
                  <a:pt x="1270" y="918"/>
                </a:lnTo>
                <a:lnTo>
                  <a:pt x="1270" y="918"/>
                </a:lnTo>
                <a:lnTo>
                  <a:pt x="1264" y="922"/>
                </a:lnTo>
                <a:lnTo>
                  <a:pt x="1264" y="922"/>
                </a:lnTo>
                <a:close/>
                <a:moveTo>
                  <a:pt x="1404" y="918"/>
                </a:moveTo>
                <a:lnTo>
                  <a:pt x="1404" y="918"/>
                </a:lnTo>
                <a:lnTo>
                  <a:pt x="1404" y="920"/>
                </a:lnTo>
                <a:lnTo>
                  <a:pt x="1404" y="920"/>
                </a:lnTo>
                <a:lnTo>
                  <a:pt x="1404" y="920"/>
                </a:lnTo>
                <a:lnTo>
                  <a:pt x="1404" y="920"/>
                </a:lnTo>
                <a:lnTo>
                  <a:pt x="1404" y="920"/>
                </a:lnTo>
                <a:lnTo>
                  <a:pt x="1404" y="920"/>
                </a:lnTo>
                <a:lnTo>
                  <a:pt x="1404" y="920"/>
                </a:lnTo>
                <a:lnTo>
                  <a:pt x="1404" y="920"/>
                </a:lnTo>
                <a:lnTo>
                  <a:pt x="1404" y="918"/>
                </a:lnTo>
                <a:lnTo>
                  <a:pt x="1404" y="918"/>
                </a:lnTo>
                <a:lnTo>
                  <a:pt x="1404" y="918"/>
                </a:lnTo>
                <a:lnTo>
                  <a:pt x="1404" y="918"/>
                </a:lnTo>
                <a:close/>
                <a:moveTo>
                  <a:pt x="1356" y="904"/>
                </a:moveTo>
                <a:lnTo>
                  <a:pt x="1356" y="904"/>
                </a:lnTo>
                <a:lnTo>
                  <a:pt x="1350" y="904"/>
                </a:lnTo>
                <a:lnTo>
                  <a:pt x="1344" y="902"/>
                </a:lnTo>
                <a:lnTo>
                  <a:pt x="1344" y="902"/>
                </a:lnTo>
                <a:lnTo>
                  <a:pt x="1348" y="900"/>
                </a:lnTo>
                <a:lnTo>
                  <a:pt x="1350" y="900"/>
                </a:lnTo>
                <a:lnTo>
                  <a:pt x="1356" y="904"/>
                </a:lnTo>
                <a:lnTo>
                  <a:pt x="1356" y="904"/>
                </a:lnTo>
                <a:close/>
                <a:moveTo>
                  <a:pt x="1326" y="920"/>
                </a:moveTo>
                <a:lnTo>
                  <a:pt x="1326" y="920"/>
                </a:lnTo>
                <a:lnTo>
                  <a:pt x="1326" y="922"/>
                </a:lnTo>
                <a:lnTo>
                  <a:pt x="1326" y="922"/>
                </a:lnTo>
                <a:lnTo>
                  <a:pt x="1326" y="922"/>
                </a:lnTo>
                <a:lnTo>
                  <a:pt x="1326" y="922"/>
                </a:lnTo>
                <a:lnTo>
                  <a:pt x="1326" y="920"/>
                </a:lnTo>
                <a:lnTo>
                  <a:pt x="1326" y="920"/>
                </a:lnTo>
                <a:lnTo>
                  <a:pt x="1316" y="918"/>
                </a:lnTo>
                <a:lnTo>
                  <a:pt x="1316" y="918"/>
                </a:lnTo>
                <a:lnTo>
                  <a:pt x="1316" y="918"/>
                </a:lnTo>
                <a:lnTo>
                  <a:pt x="1316" y="918"/>
                </a:lnTo>
                <a:lnTo>
                  <a:pt x="1326" y="920"/>
                </a:lnTo>
                <a:lnTo>
                  <a:pt x="1326" y="920"/>
                </a:lnTo>
                <a:close/>
                <a:moveTo>
                  <a:pt x="1308" y="920"/>
                </a:moveTo>
                <a:lnTo>
                  <a:pt x="1308" y="920"/>
                </a:lnTo>
                <a:lnTo>
                  <a:pt x="1318" y="922"/>
                </a:lnTo>
                <a:lnTo>
                  <a:pt x="1318" y="922"/>
                </a:lnTo>
                <a:lnTo>
                  <a:pt x="1318" y="922"/>
                </a:lnTo>
                <a:lnTo>
                  <a:pt x="1318" y="922"/>
                </a:lnTo>
                <a:lnTo>
                  <a:pt x="1318" y="922"/>
                </a:lnTo>
                <a:lnTo>
                  <a:pt x="1318" y="922"/>
                </a:lnTo>
                <a:lnTo>
                  <a:pt x="1318" y="926"/>
                </a:lnTo>
                <a:lnTo>
                  <a:pt x="1318" y="926"/>
                </a:lnTo>
                <a:lnTo>
                  <a:pt x="1318" y="926"/>
                </a:lnTo>
                <a:lnTo>
                  <a:pt x="1318" y="926"/>
                </a:lnTo>
                <a:lnTo>
                  <a:pt x="1318" y="922"/>
                </a:lnTo>
                <a:lnTo>
                  <a:pt x="1318" y="922"/>
                </a:lnTo>
                <a:lnTo>
                  <a:pt x="1308" y="920"/>
                </a:lnTo>
                <a:lnTo>
                  <a:pt x="1308" y="920"/>
                </a:lnTo>
                <a:lnTo>
                  <a:pt x="1308" y="920"/>
                </a:lnTo>
                <a:lnTo>
                  <a:pt x="1308" y="920"/>
                </a:lnTo>
                <a:close/>
                <a:moveTo>
                  <a:pt x="1288" y="920"/>
                </a:moveTo>
                <a:lnTo>
                  <a:pt x="1288" y="920"/>
                </a:lnTo>
                <a:lnTo>
                  <a:pt x="1288" y="920"/>
                </a:lnTo>
                <a:lnTo>
                  <a:pt x="1288" y="920"/>
                </a:lnTo>
                <a:lnTo>
                  <a:pt x="1294" y="920"/>
                </a:lnTo>
                <a:lnTo>
                  <a:pt x="1298" y="916"/>
                </a:lnTo>
                <a:lnTo>
                  <a:pt x="1298" y="916"/>
                </a:lnTo>
                <a:lnTo>
                  <a:pt x="1298" y="916"/>
                </a:lnTo>
                <a:lnTo>
                  <a:pt x="1298" y="916"/>
                </a:lnTo>
                <a:lnTo>
                  <a:pt x="1294" y="920"/>
                </a:lnTo>
                <a:lnTo>
                  <a:pt x="1288" y="920"/>
                </a:lnTo>
                <a:lnTo>
                  <a:pt x="1288" y="920"/>
                </a:lnTo>
                <a:close/>
                <a:moveTo>
                  <a:pt x="1332" y="950"/>
                </a:moveTo>
                <a:lnTo>
                  <a:pt x="1332" y="950"/>
                </a:lnTo>
                <a:lnTo>
                  <a:pt x="1322" y="946"/>
                </a:lnTo>
                <a:lnTo>
                  <a:pt x="1322" y="946"/>
                </a:lnTo>
                <a:lnTo>
                  <a:pt x="1312" y="944"/>
                </a:lnTo>
                <a:lnTo>
                  <a:pt x="1312" y="944"/>
                </a:lnTo>
                <a:lnTo>
                  <a:pt x="1300" y="942"/>
                </a:lnTo>
                <a:lnTo>
                  <a:pt x="1300" y="942"/>
                </a:lnTo>
                <a:lnTo>
                  <a:pt x="1304" y="946"/>
                </a:lnTo>
                <a:lnTo>
                  <a:pt x="1308" y="948"/>
                </a:lnTo>
                <a:lnTo>
                  <a:pt x="1318" y="950"/>
                </a:lnTo>
                <a:lnTo>
                  <a:pt x="1318" y="950"/>
                </a:lnTo>
                <a:lnTo>
                  <a:pt x="1322" y="950"/>
                </a:lnTo>
                <a:lnTo>
                  <a:pt x="1324" y="952"/>
                </a:lnTo>
                <a:lnTo>
                  <a:pt x="1324" y="954"/>
                </a:lnTo>
                <a:lnTo>
                  <a:pt x="1324" y="954"/>
                </a:lnTo>
                <a:lnTo>
                  <a:pt x="1324" y="956"/>
                </a:lnTo>
                <a:lnTo>
                  <a:pt x="1322" y="956"/>
                </a:lnTo>
                <a:lnTo>
                  <a:pt x="1316" y="956"/>
                </a:lnTo>
                <a:lnTo>
                  <a:pt x="1316" y="956"/>
                </a:lnTo>
                <a:lnTo>
                  <a:pt x="1302" y="954"/>
                </a:lnTo>
                <a:lnTo>
                  <a:pt x="1302" y="954"/>
                </a:lnTo>
                <a:lnTo>
                  <a:pt x="1288" y="940"/>
                </a:lnTo>
                <a:lnTo>
                  <a:pt x="1288" y="940"/>
                </a:lnTo>
                <a:lnTo>
                  <a:pt x="1302" y="938"/>
                </a:lnTo>
                <a:lnTo>
                  <a:pt x="1310" y="938"/>
                </a:lnTo>
                <a:lnTo>
                  <a:pt x="1316" y="940"/>
                </a:lnTo>
                <a:lnTo>
                  <a:pt x="1316" y="940"/>
                </a:lnTo>
                <a:lnTo>
                  <a:pt x="1322" y="942"/>
                </a:lnTo>
                <a:lnTo>
                  <a:pt x="1326" y="942"/>
                </a:lnTo>
                <a:lnTo>
                  <a:pt x="1326" y="942"/>
                </a:lnTo>
                <a:lnTo>
                  <a:pt x="1336" y="944"/>
                </a:lnTo>
                <a:lnTo>
                  <a:pt x="1342" y="948"/>
                </a:lnTo>
                <a:lnTo>
                  <a:pt x="1342" y="948"/>
                </a:lnTo>
                <a:lnTo>
                  <a:pt x="1332" y="950"/>
                </a:lnTo>
                <a:lnTo>
                  <a:pt x="1332" y="950"/>
                </a:lnTo>
                <a:close/>
                <a:moveTo>
                  <a:pt x="1338" y="958"/>
                </a:moveTo>
                <a:lnTo>
                  <a:pt x="1338" y="958"/>
                </a:lnTo>
                <a:lnTo>
                  <a:pt x="1338" y="958"/>
                </a:lnTo>
                <a:lnTo>
                  <a:pt x="1338" y="958"/>
                </a:lnTo>
                <a:lnTo>
                  <a:pt x="1338" y="958"/>
                </a:lnTo>
                <a:lnTo>
                  <a:pt x="1338" y="958"/>
                </a:lnTo>
                <a:lnTo>
                  <a:pt x="1342" y="956"/>
                </a:lnTo>
                <a:lnTo>
                  <a:pt x="1342" y="956"/>
                </a:lnTo>
                <a:lnTo>
                  <a:pt x="1342" y="956"/>
                </a:lnTo>
                <a:lnTo>
                  <a:pt x="1342" y="956"/>
                </a:lnTo>
                <a:lnTo>
                  <a:pt x="1338" y="958"/>
                </a:lnTo>
                <a:lnTo>
                  <a:pt x="1338" y="958"/>
                </a:lnTo>
                <a:close/>
                <a:moveTo>
                  <a:pt x="1356" y="938"/>
                </a:moveTo>
                <a:lnTo>
                  <a:pt x="1356" y="938"/>
                </a:lnTo>
                <a:lnTo>
                  <a:pt x="1342" y="932"/>
                </a:lnTo>
                <a:lnTo>
                  <a:pt x="1342" y="932"/>
                </a:lnTo>
                <a:lnTo>
                  <a:pt x="1348" y="928"/>
                </a:lnTo>
                <a:lnTo>
                  <a:pt x="1354" y="928"/>
                </a:lnTo>
                <a:lnTo>
                  <a:pt x="1360" y="930"/>
                </a:lnTo>
                <a:lnTo>
                  <a:pt x="1368" y="932"/>
                </a:lnTo>
                <a:lnTo>
                  <a:pt x="1368" y="932"/>
                </a:lnTo>
                <a:lnTo>
                  <a:pt x="1356" y="938"/>
                </a:lnTo>
                <a:lnTo>
                  <a:pt x="1356" y="938"/>
                </a:lnTo>
                <a:close/>
                <a:moveTo>
                  <a:pt x="1366" y="916"/>
                </a:moveTo>
                <a:lnTo>
                  <a:pt x="1366" y="916"/>
                </a:lnTo>
                <a:lnTo>
                  <a:pt x="1354" y="914"/>
                </a:lnTo>
                <a:lnTo>
                  <a:pt x="1354" y="914"/>
                </a:lnTo>
                <a:lnTo>
                  <a:pt x="1352" y="914"/>
                </a:lnTo>
                <a:lnTo>
                  <a:pt x="1350" y="910"/>
                </a:lnTo>
                <a:lnTo>
                  <a:pt x="1350" y="910"/>
                </a:lnTo>
                <a:lnTo>
                  <a:pt x="1368" y="912"/>
                </a:lnTo>
                <a:lnTo>
                  <a:pt x="1368" y="912"/>
                </a:lnTo>
                <a:lnTo>
                  <a:pt x="1370" y="914"/>
                </a:lnTo>
                <a:lnTo>
                  <a:pt x="1370" y="914"/>
                </a:lnTo>
                <a:lnTo>
                  <a:pt x="1370" y="914"/>
                </a:lnTo>
                <a:lnTo>
                  <a:pt x="1370" y="914"/>
                </a:lnTo>
                <a:lnTo>
                  <a:pt x="1366" y="916"/>
                </a:lnTo>
                <a:lnTo>
                  <a:pt x="1366" y="916"/>
                </a:lnTo>
                <a:close/>
                <a:moveTo>
                  <a:pt x="1370" y="914"/>
                </a:moveTo>
                <a:lnTo>
                  <a:pt x="1370" y="914"/>
                </a:lnTo>
                <a:lnTo>
                  <a:pt x="1386" y="912"/>
                </a:lnTo>
                <a:lnTo>
                  <a:pt x="1396" y="914"/>
                </a:lnTo>
                <a:lnTo>
                  <a:pt x="1396" y="914"/>
                </a:lnTo>
                <a:lnTo>
                  <a:pt x="1382" y="916"/>
                </a:lnTo>
                <a:lnTo>
                  <a:pt x="1370" y="914"/>
                </a:lnTo>
                <a:lnTo>
                  <a:pt x="1370" y="914"/>
                </a:lnTo>
                <a:close/>
                <a:moveTo>
                  <a:pt x="1394" y="930"/>
                </a:moveTo>
                <a:lnTo>
                  <a:pt x="1394" y="930"/>
                </a:lnTo>
                <a:lnTo>
                  <a:pt x="1394" y="930"/>
                </a:lnTo>
                <a:lnTo>
                  <a:pt x="1394" y="930"/>
                </a:lnTo>
                <a:lnTo>
                  <a:pt x="1398" y="932"/>
                </a:lnTo>
                <a:lnTo>
                  <a:pt x="1402" y="932"/>
                </a:lnTo>
                <a:lnTo>
                  <a:pt x="1404" y="930"/>
                </a:lnTo>
                <a:lnTo>
                  <a:pt x="1406" y="928"/>
                </a:lnTo>
                <a:lnTo>
                  <a:pt x="1406" y="928"/>
                </a:lnTo>
                <a:lnTo>
                  <a:pt x="1406" y="928"/>
                </a:lnTo>
                <a:lnTo>
                  <a:pt x="1406" y="928"/>
                </a:lnTo>
                <a:lnTo>
                  <a:pt x="1404" y="930"/>
                </a:lnTo>
                <a:lnTo>
                  <a:pt x="1402" y="932"/>
                </a:lnTo>
                <a:lnTo>
                  <a:pt x="1398" y="932"/>
                </a:lnTo>
                <a:lnTo>
                  <a:pt x="1394" y="930"/>
                </a:lnTo>
                <a:lnTo>
                  <a:pt x="1394" y="930"/>
                </a:lnTo>
                <a:close/>
                <a:moveTo>
                  <a:pt x="1380" y="974"/>
                </a:moveTo>
                <a:lnTo>
                  <a:pt x="1380" y="974"/>
                </a:lnTo>
                <a:lnTo>
                  <a:pt x="1380" y="974"/>
                </a:lnTo>
                <a:lnTo>
                  <a:pt x="1388" y="974"/>
                </a:lnTo>
                <a:lnTo>
                  <a:pt x="1388" y="974"/>
                </a:lnTo>
                <a:lnTo>
                  <a:pt x="1388" y="972"/>
                </a:lnTo>
                <a:lnTo>
                  <a:pt x="1388" y="972"/>
                </a:lnTo>
                <a:lnTo>
                  <a:pt x="1388" y="972"/>
                </a:lnTo>
                <a:lnTo>
                  <a:pt x="1388" y="972"/>
                </a:lnTo>
                <a:lnTo>
                  <a:pt x="1388" y="974"/>
                </a:lnTo>
                <a:lnTo>
                  <a:pt x="1380" y="974"/>
                </a:lnTo>
                <a:close/>
                <a:moveTo>
                  <a:pt x="1396" y="992"/>
                </a:moveTo>
                <a:lnTo>
                  <a:pt x="1396" y="992"/>
                </a:lnTo>
                <a:lnTo>
                  <a:pt x="1392" y="990"/>
                </a:lnTo>
                <a:lnTo>
                  <a:pt x="1392" y="990"/>
                </a:lnTo>
                <a:lnTo>
                  <a:pt x="1396" y="990"/>
                </a:lnTo>
                <a:lnTo>
                  <a:pt x="1396" y="990"/>
                </a:lnTo>
                <a:lnTo>
                  <a:pt x="1398" y="988"/>
                </a:lnTo>
                <a:lnTo>
                  <a:pt x="1398" y="988"/>
                </a:lnTo>
                <a:lnTo>
                  <a:pt x="1396" y="986"/>
                </a:lnTo>
                <a:lnTo>
                  <a:pt x="1396" y="986"/>
                </a:lnTo>
                <a:lnTo>
                  <a:pt x="1398" y="988"/>
                </a:lnTo>
                <a:lnTo>
                  <a:pt x="1398" y="988"/>
                </a:lnTo>
                <a:lnTo>
                  <a:pt x="1396" y="992"/>
                </a:lnTo>
                <a:lnTo>
                  <a:pt x="1396" y="992"/>
                </a:lnTo>
                <a:close/>
                <a:moveTo>
                  <a:pt x="1398" y="1050"/>
                </a:moveTo>
                <a:lnTo>
                  <a:pt x="1398" y="1050"/>
                </a:lnTo>
                <a:lnTo>
                  <a:pt x="1392" y="1046"/>
                </a:lnTo>
                <a:lnTo>
                  <a:pt x="1380" y="1044"/>
                </a:lnTo>
                <a:lnTo>
                  <a:pt x="1380" y="1044"/>
                </a:lnTo>
                <a:lnTo>
                  <a:pt x="1380" y="1044"/>
                </a:lnTo>
                <a:lnTo>
                  <a:pt x="1380" y="1044"/>
                </a:lnTo>
                <a:lnTo>
                  <a:pt x="1392" y="1046"/>
                </a:lnTo>
                <a:lnTo>
                  <a:pt x="1398" y="1050"/>
                </a:lnTo>
                <a:lnTo>
                  <a:pt x="1398" y="1050"/>
                </a:lnTo>
                <a:lnTo>
                  <a:pt x="1398" y="1050"/>
                </a:lnTo>
                <a:lnTo>
                  <a:pt x="1398" y="1050"/>
                </a:lnTo>
                <a:close/>
                <a:moveTo>
                  <a:pt x="1488" y="948"/>
                </a:moveTo>
                <a:lnTo>
                  <a:pt x="1488" y="948"/>
                </a:lnTo>
                <a:lnTo>
                  <a:pt x="1486" y="948"/>
                </a:lnTo>
                <a:lnTo>
                  <a:pt x="1486" y="948"/>
                </a:lnTo>
                <a:lnTo>
                  <a:pt x="1488" y="948"/>
                </a:lnTo>
                <a:lnTo>
                  <a:pt x="1488" y="948"/>
                </a:lnTo>
                <a:lnTo>
                  <a:pt x="1488" y="948"/>
                </a:lnTo>
                <a:lnTo>
                  <a:pt x="1486" y="950"/>
                </a:lnTo>
                <a:lnTo>
                  <a:pt x="1486" y="950"/>
                </a:lnTo>
                <a:lnTo>
                  <a:pt x="1486" y="950"/>
                </a:lnTo>
                <a:lnTo>
                  <a:pt x="1486" y="950"/>
                </a:lnTo>
                <a:lnTo>
                  <a:pt x="1488" y="948"/>
                </a:lnTo>
                <a:lnTo>
                  <a:pt x="1488" y="948"/>
                </a:lnTo>
                <a:close/>
                <a:moveTo>
                  <a:pt x="1448" y="992"/>
                </a:moveTo>
                <a:lnTo>
                  <a:pt x="1448" y="992"/>
                </a:lnTo>
                <a:lnTo>
                  <a:pt x="1448" y="992"/>
                </a:lnTo>
                <a:lnTo>
                  <a:pt x="1442" y="996"/>
                </a:lnTo>
                <a:lnTo>
                  <a:pt x="1442" y="996"/>
                </a:lnTo>
                <a:lnTo>
                  <a:pt x="1440" y="994"/>
                </a:lnTo>
                <a:lnTo>
                  <a:pt x="1440" y="994"/>
                </a:lnTo>
                <a:lnTo>
                  <a:pt x="1442" y="996"/>
                </a:lnTo>
                <a:lnTo>
                  <a:pt x="1442" y="996"/>
                </a:lnTo>
                <a:lnTo>
                  <a:pt x="1448" y="992"/>
                </a:lnTo>
                <a:lnTo>
                  <a:pt x="1448" y="992"/>
                </a:lnTo>
                <a:lnTo>
                  <a:pt x="1448" y="992"/>
                </a:lnTo>
                <a:lnTo>
                  <a:pt x="1448" y="992"/>
                </a:lnTo>
                <a:close/>
                <a:moveTo>
                  <a:pt x="1442" y="958"/>
                </a:moveTo>
                <a:lnTo>
                  <a:pt x="1442" y="958"/>
                </a:lnTo>
                <a:lnTo>
                  <a:pt x="1438" y="960"/>
                </a:lnTo>
                <a:lnTo>
                  <a:pt x="1436" y="962"/>
                </a:lnTo>
                <a:lnTo>
                  <a:pt x="1436" y="962"/>
                </a:lnTo>
                <a:lnTo>
                  <a:pt x="1438" y="966"/>
                </a:lnTo>
                <a:lnTo>
                  <a:pt x="1440" y="968"/>
                </a:lnTo>
                <a:lnTo>
                  <a:pt x="1440" y="968"/>
                </a:lnTo>
                <a:lnTo>
                  <a:pt x="1440" y="968"/>
                </a:lnTo>
                <a:lnTo>
                  <a:pt x="1440" y="968"/>
                </a:lnTo>
                <a:lnTo>
                  <a:pt x="1438" y="966"/>
                </a:lnTo>
                <a:lnTo>
                  <a:pt x="1436" y="964"/>
                </a:lnTo>
                <a:lnTo>
                  <a:pt x="1436" y="964"/>
                </a:lnTo>
                <a:lnTo>
                  <a:pt x="1438" y="960"/>
                </a:lnTo>
                <a:lnTo>
                  <a:pt x="1442" y="958"/>
                </a:lnTo>
                <a:lnTo>
                  <a:pt x="1442" y="958"/>
                </a:lnTo>
                <a:lnTo>
                  <a:pt x="1424" y="960"/>
                </a:lnTo>
                <a:lnTo>
                  <a:pt x="1424" y="960"/>
                </a:lnTo>
                <a:lnTo>
                  <a:pt x="1424" y="960"/>
                </a:lnTo>
                <a:lnTo>
                  <a:pt x="1424" y="960"/>
                </a:lnTo>
                <a:lnTo>
                  <a:pt x="1442" y="958"/>
                </a:lnTo>
                <a:lnTo>
                  <a:pt x="1442" y="958"/>
                </a:lnTo>
                <a:close/>
                <a:moveTo>
                  <a:pt x="1434" y="170"/>
                </a:moveTo>
                <a:lnTo>
                  <a:pt x="1434" y="170"/>
                </a:lnTo>
                <a:lnTo>
                  <a:pt x="1434" y="168"/>
                </a:lnTo>
                <a:lnTo>
                  <a:pt x="1434" y="168"/>
                </a:lnTo>
                <a:lnTo>
                  <a:pt x="1434" y="168"/>
                </a:lnTo>
                <a:lnTo>
                  <a:pt x="1434" y="168"/>
                </a:lnTo>
                <a:lnTo>
                  <a:pt x="1434" y="170"/>
                </a:lnTo>
                <a:lnTo>
                  <a:pt x="1426" y="170"/>
                </a:lnTo>
                <a:lnTo>
                  <a:pt x="1426" y="170"/>
                </a:lnTo>
                <a:lnTo>
                  <a:pt x="1426" y="170"/>
                </a:lnTo>
                <a:lnTo>
                  <a:pt x="1434" y="170"/>
                </a:lnTo>
                <a:close/>
                <a:moveTo>
                  <a:pt x="1412" y="944"/>
                </a:moveTo>
                <a:lnTo>
                  <a:pt x="1412" y="944"/>
                </a:lnTo>
                <a:lnTo>
                  <a:pt x="1412" y="944"/>
                </a:lnTo>
                <a:lnTo>
                  <a:pt x="1412" y="944"/>
                </a:lnTo>
                <a:lnTo>
                  <a:pt x="1418" y="938"/>
                </a:lnTo>
                <a:lnTo>
                  <a:pt x="1422" y="936"/>
                </a:lnTo>
                <a:lnTo>
                  <a:pt x="1428" y="938"/>
                </a:lnTo>
                <a:lnTo>
                  <a:pt x="1434" y="940"/>
                </a:lnTo>
                <a:lnTo>
                  <a:pt x="1434" y="940"/>
                </a:lnTo>
                <a:lnTo>
                  <a:pt x="1434" y="940"/>
                </a:lnTo>
                <a:lnTo>
                  <a:pt x="1434" y="940"/>
                </a:lnTo>
                <a:lnTo>
                  <a:pt x="1428" y="938"/>
                </a:lnTo>
                <a:lnTo>
                  <a:pt x="1422" y="936"/>
                </a:lnTo>
                <a:lnTo>
                  <a:pt x="1418" y="938"/>
                </a:lnTo>
                <a:lnTo>
                  <a:pt x="1412" y="944"/>
                </a:lnTo>
                <a:lnTo>
                  <a:pt x="1412" y="944"/>
                </a:lnTo>
                <a:close/>
                <a:moveTo>
                  <a:pt x="1410" y="1026"/>
                </a:moveTo>
                <a:lnTo>
                  <a:pt x="1410" y="1026"/>
                </a:lnTo>
                <a:lnTo>
                  <a:pt x="1410" y="1026"/>
                </a:lnTo>
                <a:lnTo>
                  <a:pt x="1410" y="1026"/>
                </a:lnTo>
                <a:lnTo>
                  <a:pt x="1418" y="1028"/>
                </a:lnTo>
                <a:lnTo>
                  <a:pt x="1422" y="1030"/>
                </a:lnTo>
                <a:lnTo>
                  <a:pt x="1426" y="1028"/>
                </a:lnTo>
                <a:lnTo>
                  <a:pt x="1426" y="1028"/>
                </a:lnTo>
                <a:lnTo>
                  <a:pt x="1420" y="1022"/>
                </a:lnTo>
                <a:lnTo>
                  <a:pt x="1420" y="1022"/>
                </a:lnTo>
                <a:lnTo>
                  <a:pt x="1426" y="1028"/>
                </a:lnTo>
                <a:lnTo>
                  <a:pt x="1426" y="1028"/>
                </a:lnTo>
                <a:lnTo>
                  <a:pt x="1422" y="1030"/>
                </a:lnTo>
                <a:lnTo>
                  <a:pt x="1418" y="1028"/>
                </a:lnTo>
                <a:lnTo>
                  <a:pt x="1410" y="1026"/>
                </a:lnTo>
                <a:lnTo>
                  <a:pt x="1410" y="1026"/>
                </a:lnTo>
                <a:close/>
                <a:moveTo>
                  <a:pt x="1426" y="974"/>
                </a:moveTo>
                <a:lnTo>
                  <a:pt x="1426" y="974"/>
                </a:lnTo>
                <a:lnTo>
                  <a:pt x="1426" y="974"/>
                </a:lnTo>
                <a:lnTo>
                  <a:pt x="1426" y="974"/>
                </a:lnTo>
                <a:lnTo>
                  <a:pt x="1430" y="974"/>
                </a:lnTo>
                <a:lnTo>
                  <a:pt x="1430" y="974"/>
                </a:lnTo>
                <a:lnTo>
                  <a:pt x="1426" y="972"/>
                </a:lnTo>
                <a:lnTo>
                  <a:pt x="1426" y="972"/>
                </a:lnTo>
                <a:lnTo>
                  <a:pt x="1426" y="972"/>
                </a:lnTo>
                <a:lnTo>
                  <a:pt x="1426" y="972"/>
                </a:lnTo>
                <a:lnTo>
                  <a:pt x="1430" y="974"/>
                </a:lnTo>
                <a:lnTo>
                  <a:pt x="1430" y="974"/>
                </a:lnTo>
                <a:lnTo>
                  <a:pt x="1426" y="974"/>
                </a:lnTo>
                <a:lnTo>
                  <a:pt x="1426" y="974"/>
                </a:lnTo>
                <a:close/>
                <a:moveTo>
                  <a:pt x="1448" y="1026"/>
                </a:moveTo>
                <a:lnTo>
                  <a:pt x="1448" y="1026"/>
                </a:lnTo>
                <a:lnTo>
                  <a:pt x="1448" y="1026"/>
                </a:lnTo>
                <a:lnTo>
                  <a:pt x="1448" y="1026"/>
                </a:lnTo>
                <a:lnTo>
                  <a:pt x="1452" y="1018"/>
                </a:lnTo>
                <a:lnTo>
                  <a:pt x="1452" y="1018"/>
                </a:lnTo>
                <a:lnTo>
                  <a:pt x="1440" y="1014"/>
                </a:lnTo>
                <a:lnTo>
                  <a:pt x="1430" y="1014"/>
                </a:lnTo>
                <a:lnTo>
                  <a:pt x="1430" y="1014"/>
                </a:lnTo>
                <a:lnTo>
                  <a:pt x="1440" y="1014"/>
                </a:lnTo>
                <a:lnTo>
                  <a:pt x="1452" y="1018"/>
                </a:lnTo>
                <a:lnTo>
                  <a:pt x="1452" y="1018"/>
                </a:lnTo>
                <a:lnTo>
                  <a:pt x="1452" y="1018"/>
                </a:lnTo>
                <a:lnTo>
                  <a:pt x="1452" y="1018"/>
                </a:lnTo>
                <a:lnTo>
                  <a:pt x="1452" y="1018"/>
                </a:lnTo>
                <a:lnTo>
                  <a:pt x="1452" y="1018"/>
                </a:lnTo>
                <a:lnTo>
                  <a:pt x="1448" y="1026"/>
                </a:lnTo>
                <a:lnTo>
                  <a:pt x="1448" y="1026"/>
                </a:lnTo>
                <a:close/>
                <a:moveTo>
                  <a:pt x="1454" y="1016"/>
                </a:moveTo>
                <a:lnTo>
                  <a:pt x="1454" y="1016"/>
                </a:lnTo>
                <a:lnTo>
                  <a:pt x="1454" y="1016"/>
                </a:lnTo>
                <a:lnTo>
                  <a:pt x="1454" y="1016"/>
                </a:lnTo>
                <a:lnTo>
                  <a:pt x="1460" y="1012"/>
                </a:lnTo>
                <a:lnTo>
                  <a:pt x="1460" y="1012"/>
                </a:lnTo>
                <a:lnTo>
                  <a:pt x="1456" y="1010"/>
                </a:lnTo>
                <a:lnTo>
                  <a:pt x="1456" y="1010"/>
                </a:lnTo>
                <a:lnTo>
                  <a:pt x="1460" y="1012"/>
                </a:lnTo>
                <a:lnTo>
                  <a:pt x="1460" y="1012"/>
                </a:lnTo>
                <a:lnTo>
                  <a:pt x="1454" y="1016"/>
                </a:lnTo>
                <a:lnTo>
                  <a:pt x="1454" y="1016"/>
                </a:lnTo>
                <a:close/>
                <a:moveTo>
                  <a:pt x="1452" y="994"/>
                </a:moveTo>
                <a:lnTo>
                  <a:pt x="1452" y="994"/>
                </a:lnTo>
                <a:lnTo>
                  <a:pt x="1452" y="994"/>
                </a:lnTo>
                <a:lnTo>
                  <a:pt x="1452" y="994"/>
                </a:lnTo>
                <a:lnTo>
                  <a:pt x="1456" y="996"/>
                </a:lnTo>
                <a:lnTo>
                  <a:pt x="1458" y="996"/>
                </a:lnTo>
                <a:lnTo>
                  <a:pt x="1464" y="996"/>
                </a:lnTo>
                <a:lnTo>
                  <a:pt x="1464" y="996"/>
                </a:lnTo>
                <a:lnTo>
                  <a:pt x="1464" y="996"/>
                </a:lnTo>
                <a:lnTo>
                  <a:pt x="1464" y="996"/>
                </a:lnTo>
                <a:lnTo>
                  <a:pt x="1458" y="996"/>
                </a:lnTo>
                <a:lnTo>
                  <a:pt x="1456" y="996"/>
                </a:lnTo>
                <a:lnTo>
                  <a:pt x="1452" y="994"/>
                </a:lnTo>
                <a:lnTo>
                  <a:pt x="1452" y="994"/>
                </a:lnTo>
                <a:close/>
                <a:moveTo>
                  <a:pt x="1466" y="966"/>
                </a:moveTo>
                <a:lnTo>
                  <a:pt x="1466" y="966"/>
                </a:lnTo>
                <a:lnTo>
                  <a:pt x="1470" y="966"/>
                </a:lnTo>
                <a:lnTo>
                  <a:pt x="1478" y="970"/>
                </a:lnTo>
                <a:lnTo>
                  <a:pt x="1478" y="970"/>
                </a:lnTo>
                <a:lnTo>
                  <a:pt x="1490" y="968"/>
                </a:lnTo>
                <a:lnTo>
                  <a:pt x="1490" y="968"/>
                </a:lnTo>
                <a:lnTo>
                  <a:pt x="1490" y="970"/>
                </a:lnTo>
                <a:lnTo>
                  <a:pt x="1488" y="972"/>
                </a:lnTo>
                <a:lnTo>
                  <a:pt x="1488" y="972"/>
                </a:lnTo>
                <a:lnTo>
                  <a:pt x="1488" y="972"/>
                </a:lnTo>
                <a:lnTo>
                  <a:pt x="1488" y="972"/>
                </a:lnTo>
                <a:lnTo>
                  <a:pt x="1490" y="968"/>
                </a:lnTo>
                <a:lnTo>
                  <a:pt x="1490" y="968"/>
                </a:lnTo>
                <a:lnTo>
                  <a:pt x="1478" y="970"/>
                </a:lnTo>
                <a:lnTo>
                  <a:pt x="1478" y="970"/>
                </a:lnTo>
                <a:lnTo>
                  <a:pt x="1470" y="966"/>
                </a:lnTo>
                <a:lnTo>
                  <a:pt x="1466" y="966"/>
                </a:lnTo>
                <a:lnTo>
                  <a:pt x="1466" y="966"/>
                </a:lnTo>
                <a:close/>
                <a:moveTo>
                  <a:pt x="1488" y="1028"/>
                </a:moveTo>
                <a:lnTo>
                  <a:pt x="1488" y="1028"/>
                </a:lnTo>
                <a:lnTo>
                  <a:pt x="1488" y="1028"/>
                </a:lnTo>
                <a:lnTo>
                  <a:pt x="1488" y="1028"/>
                </a:lnTo>
                <a:lnTo>
                  <a:pt x="1490" y="1026"/>
                </a:lnTo>
                <a:lnTo>
                  <a:pt x="1490" y="1026"/>
                </a:lnTo>
                <a:lnTo>
                  <a:pt x="1486" y="1024"/>
                </a:lnTo>
                <a:lnTo>
                  <a:pt x="1486" y="1024"/>
                </a:lnTo>
                <a:lnTo>
                  <a:pt x="1486" y="1024"/>
                </a:lnTo>
                <a:lnTo>
                  <a:pt x="1486" y="1024"/>
                </a:lnTo>
                <a:lnTo>
                  <a:pt x="1490" y="1026"/>
                </a:lnTo>
                <a:lnTo>
                  <a:pt x="1490" y="1026"/>
                </a:lnTo>
                <a:lnTo>
                  <a:pt x="1488" y="1028"/>
                </a:lnTo>
                <a:lnTo>
                  <a:pt x="1488" y="1028"/>
                </a:lnTo>
                <a:close/>
                <a:moveTo>
                  <a:pt x="1688" y="1020"/>
                </a:moveTo>
                <a:lnTo>
                  <a:pt x="1688" y="1020"/>
                </a:lnTo>
                <a:lnTo>
                  <a:pt x="1690" y="1018"/>
                </a:lnTo>
                <a:lnTo>
                  <a:pt x="1690" y="1018"/>
                </a:lnTo>
                <a:lnTo>
                  <a:pt x="1690" y="1018"/>
                </a:lnTo>
                <a:lnTo>
                  <a:pt x="1690" y="1018"/>
                </a:lnTo>
                <a:lnTo>
                  <a:pt x="1688" y="1020"/>
                </a:lnTo>
                <a:lnTo>
                  <a:pt x="1688" y="1020"/>
                </a:lnTo>
                <a:lnTo>
                  <a:pt x="1684" y="1022"/>
                </a:lnTo>
                <a:lnTo>
                  <a:pt x="1682" y="1020"/>
                </a:lnTo>
                <a:lnTo>
                  <a:pt x="1682" y="1020"/>
                </a:lnTo>
                <a:lnTo>
                  <a:pt x="1684" y="1022"/>
                </a:lnTo>
                <a:lnTo>
                  <a:pt x="1688" y="1020"/>
                </a:lnTo>
                <a:lnTo>
                  <a:pt x="1688" y="1020"/>
                </a:lnTo>
                <a:close/>
                <a:moveTo>
                  <a:pt x="1676" y="980"/>
                </a:moveTo>
                <a:lnTo>
                  <a:pt x="1676" y="980"/>
                </a:lnTo>
                <a:lnTo>
                  <a:pt x="1678" y="982"/>
                </a:lnTo>
                <a:lnTo>
                  <a:pt x="1678" y="984"/>
                </a:lnTo>
                <a:lnTo>
                  <a:pt x="1676" y="988"/>
                </a:lnTo>
                <a:lnTo>
                  <a:pt x="1676" y="988"/>
                </a:lnTo>
                <a:lnTo>
                  <a:pt x="1676" y="988"/>
                </a:lnTo>
                <a:lnTo>
                  <a:pt x="1678" y="984"/>
                </a:lnTo>
                <a:lnTo>
                  <a:pt x="1678" y="982"/>
                </a:lnTo>
                <a:lnTo>
                  <a:pt x="1674" y="980"/>
                </a:lnTo>
                <a:lnTo>
                  <a:pt x="1674" y="980"/>
                </a:lnTo>
                <a:lnTo>
                  <a:pt x="1676" y="980"/>
                </a:lnTo>
                <a:lnTo>
                  <a:pt x="1676" y="980"/>
                </a:lnTo>
                <a:close/>
                <a:moveTo>
                  <a:pt x="1678" y="1030"/>
                </a:moveTo>
                <a:lnTo>
                  <a:pt x="1678" y="1030"/>
                </a:lnTo>
                <a:lnTo>
                  <a:pt x="1678" y="1030"/>
                </a:lnTo>
                <a:lnTo>
                  <a:pt x="1678" y="1030"/>
                </a:lnTo>
                <a:lnTo>
                  <a:pt x="1672" y="1024"/>
                </a:lnTo>
                <a:lnTo>
                  <a:pt x="1666" y="1026"/>
                </a:lnTo>
                <a:lnTo>
                  <a:pt x="1666" y="1026"/>
                </a:lnTo>
                <a:lnTo>
                  <a:pt x="1658" y="1028"/>
                </a:lnTo>
                <a:lnTo>
                  <a:pt x="1658" y="1028"/>
                </a:lnTo>
                <a:lnTo>
                  <a:pt x="1658" y="1028"/>
                </a:lnTo>
                <a:lnTo>
                  <a:pt x="1658" y="1028"/>
                </a:lnTo>
                <a:lnTo>
                  <a:pt x="1666" y="1026"/>
                </a:lnTo>
                <a:lnTo>
                  <a:pt x="1666" y="1026"/>
                </a:lnTo>
                <a:lnTo>
                  <a:pt x="1672" y="1024"/>
                </a:lnTo>
                <a:lnTo>
                  <a:pt x="1678" y="1030"/>
                </a:lnTo>
                <a:lnTo>
                  <a:pt x="1678" y="1030"/>
                </a:lnTo>
                <a:close/>
                <a:moveTo>
                  <a:pt x="1664" y="1038"/>
                </a:moveTo>
                <a:lnTo>
                  <a:pt x="1664" y="1038"/>
                </a:lnTo>
                <a:lnTo>
                  <a:pt x="1662" y="1036"/>
                </a:lnTo>
                <a:lnTo>
                  <a:pt x="1662" y="1036"/>
                </a:lnTo>
                <a:lnTo>
                  <a:pt x="1664" y="1038"/>
                </a:lnTo>
                <a:lnTo>
                  <a:pt x="1664" y="1038"/>
                </a:lnTo>
                <a:lnTo>
                  <a:pt x="1660" y="1042"/>
                </a:lnTo>
                <a:lnTo>
                  <a:pt x="1654" y="1042"/>
                </a:lnTo>
                <a:lnTo>
                  <a:pt x="1654" y="1042"/>
                </a:lnTo>
                <a:lnTo>
                  <a:pt x="1660" y="1042"/>
                </a:lnTo>
                <a:lnTo>
                  <a:pt x="1664" y="1038"/>
                </a:lnTo>
                <a:lnTo>
                  <a:pt x="1664" y="1038"/>
                </a:lnTo>
                <a:close/>
                <a:moveTo>
                  <a:pt x="1650" y="1028"/>
                </a:moveTo>
                <a:lnTo>
                  <a:pt x="1650" y="1028"/>
                </a:lnTo>
                <a:lnTo>
                  <a:pt x="1650" y="1028"/>
                </a:lnTo>
                <a:lnTo>
                  <a:pt x="1654" y="1026"/>
                </a:lnTo>
                <a:lnTo>
                  <a:pt x="1656" y="1028"/>
                </a:lnTo>
                <a:lnTo>
                  <a:pt x="1656" y="1028"/>
                </a:lnTo>
                <a:lnTo>
                  <a:pt x="1656" y="1028"/>
                </a:lnTo>
                <a:lnTo>
                  <a:pt x="1654" y="1026"/>
                </a:lnTo>
                <a:lnTo>
                  <a:pt x="1650" y="1028"/>
                </a:lnTo>
                <a:lnTo>
                  <a:pt x="1650" y="1028"/>
                </a:lnTo>
                <a:close/>
                <a:moveTo>
                  <a:pt x="1612" y="1004"/>
                </a:moveTo>
                <a:lnTo>
                  <a:pt x="1612" y="1004"/>
                </a:lnTo>
                <a:lnTo>
                  <a:pt x="1616" y="1002"/>
                </a:lnTo>
                <a:lnTo>
                  <a:pt x="1616" y="1002"/>
                </a:lnTo>
                <a:lnTo>
                  <a:pt x="1618" y="1000"/>
                </a:lnTo>
                <a:lnTo>
                  <a:pt x="1618" y="1000"/>
                </a:lnTo>
                <a:lnTo>
                  <a:pt x="1616" y="1000"/>
                </a:lnTo>
                <a:lnTo>
                  <a:pt x="1616" y="1000"/>
                </a:lnTo>
                <a:lnTo>
                  <a:pt x="1616" y="1000"/>
                </a:lnTo>
                <a:lnTo>
                  <a:pt x="1616" y="1000"/>
                </a:lnTo>
                <a:lnTo>
                  <a:pt x="1618" y="1000"/>
                </a:lnTo>
                <a:lnTo>
                  <a:pt x="1618" y="1000"/>
                </a:lnTo>
                <a:lnTo>
                  <a:pt x="1616" y="1002"/>
                </a:lnTo>
                <a:lnTo>
                  <a:pt x="1616" y="1002"/>
                </a:lnTo>
                <a:lnTo>
                  <a:pt x="1612" y="1004"/>
                </a:lnTo>
                <a:lnTo>
                  <a:pt x="1612" y="1004"/>
                </a:lnTo>
                <a:lnTo>
                  <a:pt x="1612" y="1004"/>
                </a:lnTo>
                <a:lnTo>
                  <a:pt x="1612" y="1004"/>
                </a:lnTo>
                <a:close/>
                <a:moveTo>
                  <a:pt x="1578" y="996"/>
                </a:moveTo>
                <a:lnTo>
                  <a:pt x="1578" y="996"/>
                </a:lnTo>
                <a:lnTo>
                  <a:pt x="1578" y="996"/>
                </a:lnTo>
                <a:lnTo>
                  <a:pt x="1578" y="996"/>
                </a:lnTo>
                <a:lnTo>
                  <a:pt x="1570" y="994"/>
                </a:lnTo>
                <a:lnTo>
                  <a:pt x="1564" y="994"/>
                </a:lnTo>
                <a:lnTo>
                  <a:pt x="1546" y="998"/>
                </a:lnTo>
                <a:lnTo>
                  <a:pt x="1546" y="998"/>
                </a:lnTo>
                <a:lnTo>
                  <a:pt x="1546" y="998"/>
                </a:lnTo>
                <a:lnTo>
                  <a:pt x="1546" y="998"/>
                </a:lnTo>
                <a:lnTo>
                  <a:pt x="1564" y="994"/>
                </a:lnTo>
                <a:lnTo>
                  <a:pt x="1570" y="994"/>
                </a:lnTo>
                <a:lnTo>
                  <a:pt x="1578" y="996"/>
                </a:lnTo>
                <a:lnTo>
                  <a:pt x="1578" y="996"/>
                </a:lnTo>
                <a:close/>
                <a:moveTo>
                  <a:pt x="1572" y="1006"/>
                </a:moveTo>
                <a:lnTo>
                  <a:pt x="1572" y="1006"/>
                </a:lnTo>
                <a:lnTo>
                  <a:pt x="1572" y="1006"/>
                </a:lnTo>
                <a:lnTo>
                  <a:pt x="1572" y="1006"/>
                </a:lnTo>
                <a:lnTo>
                  <a:pt x="1570" y="1002"/>
                </a:lnTo>
                <a:lnTo>
                  <a:pt x="1570" y="1000"/>
                </a:lnTo>
                <a:lnTo>
                  <a:pt x="1570" y="1000"/>
                </a:lnTo>
                <a:lnTo>
                  <a:pt x="1570" y="1002"/>
                </a:lnTo>
                <a:lnTo>
                  <a:pt x="1572" y="1006"/>
                </a:lnTo>
                <a:lnTo>
                  <a:pt x="1572" y="1006"/>
                </a:lnTo>
                <a:close/>
                <a:moveTo>
                  <a:pt x="1544" y="964"/>
                </a:moveTo>
                <a:lnTo>
                  <a:pt x="1544" y="964"/>
                </a:lnTo>
                <a:lnTo>
                  <a:pt x="1546" y="966"/>
                </a:lnTo>
                <a:lnTo>
                  <a:pt x="1546" y="966"/>
                </a:lnTo>
                <a:lnTo>
                  <a:pt x="1538" y="978"/>
                </a:lnTo>
                <a:lnTo>
                  <a:pt x="1538" y="978"/>
                </a:lnTo>
                <a:lnTo>
                  <a:pt x="1550" y="976"/>
                </a:lnTo>
                <a:lnTo>
                  <a:pt x="1562" y="978"/>
                </a:lnTo>
                <a:lnTo>
                  <a:pt x="1562" y="978"/>
                </a:lnTo>
                <a:lnTo>
                  <a:pt x="1556" y="982"/>
                </a:lnTo>
                <a:lnTo>
                  <a:pt x="1550" y="984"/>
                </a:lnTo>
                <a:lnTo>
                  <a:pt x="1538" y="986"/>
                </a:lnTo>
                <a:lnTo>
                  <a:pt x="1538" y="986"/>
                </a:lnTo>
                <a:lnTo>
                  <a:pt x="1522" y="970"/>
                </a:lnTo>
                <a:lnTo>
                  <a:pt x="1522" y="970"/>
                </a:lnTo>
                <a:lnTo>
                  <a:pt x="1544" y="964"/>
                </a:lnTo>
                <a:lnTo>
                  <a:pt x="1544" y="964"/>
                </a:lnTo>
                <a:close/>
                <a:moveTo>
                  <a:pt x="1544" y="1010"/>
                </a:moveTo>
                <a:lnTo>
                  <a:pt x="1544" y="1010"/>
                </a:lnTo>
                <a:lnTo>
                  <a:pt x="1544" y="1010"/>
                </a:lnTo>
                <a:lnTo>
                  <a:pt x="1544" y="1010"/>
                </a:lnTo>
                <a:lnTo>
                  <a:pt x="1546" y="1014"/>
                </a:lnTo>
                <a:lnTo>
                  <a:pt x="1546" y="1014"/>
                </a:lnTo>
                <a:lnTo>
                  <a:pt x="1542" y="1016"/>
                </a:lnTo>
                <a:lnTo>
                  <a:pt x="1542" y="1016"/>
                </a:lnTo>
                <a:lnTo>
                  <a:pt x="1542" y="1016"/>
                </a:lnTo>
                <a:lnTo>
                  <a:pt x="1546" y="1014"/>
                </a:lnTo>
                <a:lnTo>
                  <a:pt x="1546" y="1014"/>
                </a:lnTo>
                <a:lnTo>
                  <a:pt x="1544" y="1010"/>
                </a:lnTo>
                <a:lnTo>
                  <a:pt x="1544" y="1010"/>
                </a:lnTo>
                <a:close/>
                <a:moveTo>
                  <a:pt x="1520" y="948"/>
                </a:moveTo>
                <a:lnTo>
                  <a:pt x="1520" y="948"/>
                </a:lnTo>
                <a:lnTo>
                  <a:pt x="1522" y="948"/>
                </a:lnTo>
                <a:lnTo>
                  <a:pt x="1522" y="948"/>
                </a:lnTo>
                <a:lnTo>
                  <a:pt x="1524" y="950"/>
                </a:lnTo>
                <a:lnTo>
                  <a:pt x="1524" y="950"/>
                </a:lnTo>
                <a:lnTo>
                  <a:pt x="1520" y="952"/>
                </a:lnTo>
                <a:lnTo>
                  <a:pt x="1520" y="952"/>
                </a:lnTo>
                <a:lnTo>
                  <a:pt x="1520" y="952"/>
                </a:lnTo>
                <a:lnTo>
                  <a:pt x="1520" y="952"/>
                </a:lnTo>
                <a:lnTo>
                  <a:pt x="1522" y="950"/>
                </a:lnTo>
                <a:lnTo>
                  <a:pt x="1522" y="950"/>
                </a:lnTo>
                <a:lnTo>
                  <a:pt x="1520" y="948"/>
                </a:lnTo>
                <a:lnTo>
                  <a:pt x="1520" y="948"/>
                </a:lnTo>
                <a:close/>
                <a:moveTo>
                  <a:pt x="1528" y="1016"/>
                </a:moveTo>
                <a:lnTo>
                  <a:pt x="1528" y="1016"/>
                </a:lnTo>
                <a:lnTo>
                  <a:pt x="1528" y="1014"/>
                </a:lnTo>
                <a:lnTo>
                  <a:pt x="1528" y="1014"/>
                </a:lnTo>
                <a:lnTo>
                  <a:pt x="1526" y="1020"/>
                </a:lnTo>
                <a:lnTo>
                  <a:pt x="1520" y="1022"/>
                </a:lnTo>
                <a:lnTo>
                  <a:pt x="1520" y="1022"/>
                </a:lnTo>
                <a:lnTo>
                  <a:pt x="1526" y="1020"/>
                </a:lnTo>
                <a:lnTo>
                  <a:pt x="1528" y="1016"/>
                </a:lnTo>
                <a:lnTo>
                  <a:pt x="1528" y="1016"/>
                </a:lnTo>
                <a:close/>
                <a:moveTo>
                  <a:pt x="1612" y="1022"/>
                </a:moveTo>
                <a:lnTo>
                  <a:pt x="1612" y="1022"/>
                </a:lnTo>
                <a:lnTo>
                  <a:pt x="1608" y="1022"/>
                </a:lnTo>
                <a:lnTo>
                  <a:pt x="1608" y="1022"/>
                </a:lnTo>
                <a:lnTo>
                  <a:pt x="1600" y="1024"/>
                </a:lnTo>
                <a:lnTo>
                  <a:pt x="1592" y="1024"/>
                </a:lnTo>
                <a:lnTo>
                  <a:pt x="1574" y="1022"/>
                </a:lnTo>
                <a:lnTo>
                  <a:pt x="1574" y="1022"/>
                </a:lnTo>
                <a:lnTo>
                  <a:pt x="1572" y="1022"/>
                </a:lnTo>
                <a:lnTo>
                  <a:pt x="1572" y="1022"/>
                </a:lnTo>
                <a:lnTo>
                  <a:pt x="1572" y="1022"/>
                </a:lnTo>
                <a:lnTo>
                  <a:pt x="1570" y="1028"/>
                </a:lnTo>
                <a:lnTo>
                  <a:pt x="1570" y="1028"/>
                </a:lnTo>
                <a:lnTo>
                  <a:pt x="1564" y="1034"/>
                </a:lnTo>
                <a:lnTo>
                  <a:pt x="1564" y="1034"/>
                </a:lnTo>
                <a:lnTo>
                  <a:pt x="1548" y="1030"/>
                </a:lnTo>
                <a:lnTo>
                  <a:pt x="1548" y="1030"/>
                </a:lnTo>
                <a:lnTo>
                  <a:pt x="1542" y="1030"/>
                </a:lnTo>
                <a:lnTo>
                  <a:pt x="1536" y="1032"/>
                </a:lnTo>
                <a:lnTo>
                  <a:pt x="1530" y="1034"/>
                </a:lnTo>
                <a:lnTo>
                  <a:pt x="1524" y="1032"/>
                </a:lnTo>
                <a:lnTo>
                  <a:pt x="1524" y="1032"/>
                </a:lnTo>
                <a:lnTo>
                  <a:pt x="1526" y="1028"/>
                </a:lnTo>
                <a:lnTo>
                  <a:pt x="1530" y="1026"/>
                </a:lnTo>
                <a:lnTo>
                  <a:pt x="1538" y="1026"/>
                </a:lnTo>
                <a:lnTo>
                  <a:pt x="1538" y="1026"/>
                </a:lnTo>
                <a:lnTo>
                  <a:pt x="1544" y="1020"/>
                </a:lnTo>
                <a:lnTo>
                  <a:pt x="1544" y="1020"/>
                </a:lnTo>
                <a:lnTo>
                  <a:pt x="1548" y="1018"/>
                </a:lnTo>
                <a:lnTo>
                  <a:pt x="1550" y="1016"/>
                </a:lnTo>
                <a:lnTo>
                  <a:pt x="1554" y="1018"/>
                </a:lnTo>
                <a:lnTo>
                  <a:pt x="1556" y="1020"/>
                </a:lnTo>
                <a:lnTo>
                  <a:pt x="1556" y="1020"/>
                </a:lnTo>
                <a:lnTo>
                  <a:pt x="1562" y="1024"/>
                </a:lnTo>
                <a:lnTo>
                  <a:pt x="1564" y="1024"/>
                </a:lnTo>
                <a:lnTo>
                  <a:pt x="1568" y="1022"/>
                </a:lnTo>
                <a:lnTo>
                  <a:pt x="1568" y="1022"/>
                </a:lnTo>
                <a:lnTo>
                  <a:pt x="1566" y="1018"/>
                </a:lnTo>
                <a:lnTo>
                  <a:pt x="1564" y="1016"/>
                </a:lnTo>
                <a:lnTo>
                  <a:pt x="1554" y="1014"/>
                </a:lnTo>
                <a:lnTo>
                  <a:pt x="1554" y="1014"/>
                </a:lnTo>
                <a:lnTo>
                  <a:pt x="1556" y="1012"/>
                </a:lnTo>
                <a:lnTo>
                  <a:pt x="1556" y="1012"/>
                </a:lnTo>
                <a:lnTo>
                  <a:pt x="1566" y="1012"/>
                </a:lnTo>
                <a:lnTo>
                  <a:pt x="1574" y="1010"/>
                </a:lnTo>
                <a:lnTo>
                  <a:pt x="1588" y="1002"/>
                </a:lnTo>
                <a:lnTo>
                  <a:pt x="1588" y="1002"/>
                </a:lnTo>
                <a:lnTo>
                  <a:pt x="1596" y="1000"/>
                </a:lnTo>
                <a:lnTo>
                  <a:pt x="1608" y="1000"/>
                </a:lnTo>
                <a:lnTo>
                  <a:pt x="1608" y="1000"/>
                </a:lnTo>
                <a:lnTo>
                  <a:pt x="1600" y="1006"/>
                </a:lnTo>
                <a:lnTo>
                  <a:pt x="1592" y="1008"/>
                </a:lnTo>
                <a:lnTo>
                  <a:pt x="1592" y="1008"/>
                </a:lnTo>
                <a:lnTo>
                  <a:pt x="1600" y="1010"/>
                </a:lnTo>
                <a:lnTo>
                  <a:pt x="1602" y="1012"/>
                </a:lnTo>
                <a:lnTo>
                  <a:pt x="1604" y="1014"/>
                </a:lnTo>
                <a:lnTo>
                  <a:pt x="1604" y="1014"/>
                </a:lnTo>
                <a:lnTo>
                  <a:pt x="1606" y="1016"/>
                </a:lnTo>
                <a:lnTo>
                  <a:pt x="1606" y="1016"/>
                </a:lnTo>
                <a:lnTo>
                  <a:pt x="1620" y="1016"/>
                </a:lnTo>
                <a:lnTo>
                  <a:pt x="1620" y="1016"/>
                </a:lnTo>
                <a:lnTo>
                  <a:pt x="1626" y="1016"/>
                </a:lnTo>
                <a:lnTo>
                  <a:pt x="1632" y="1012"/>
                </a:lnTo>
                <a:lnTo>
                  <a:pt x="1632" y="1012"/>
                </a:lnTo>
                <a:lnTo>
                  <a:pt x="1638" y="1008"/>
                </a:lnTo>
                <a:lnTo>
                  <a:pt x="1646" y="1006"/>
                </a:lnTo>
                <a:lnTo>
                  <a:pt x="1646" y="1006"/>
                </a:lnTo>
                <a:lnTo>
                  <a:pt x="1664" y="1010"/>
                </a:lnTo>
                <a:lnTo>
                  <a:pt x="1664" y="1010"/>
                </a:lnTo>
                <a:lnTo>
                  <a:pt x="1664" y="1012"/>
                </a:lnTo>
                <a:lnTo>
                  <a:pt x="1662" y="1014"/>
                </a:lnTo>
                <a:lnTo>
                  <a:pt x="1658" y="1014"/>
                </a:lnTo>
                <a:lnTo>
                  <a:pt x="1658" y="1014"/>
                </a:lnTo>
                <a:lnTo>
                  <a:pt x="1646" y="1016"/>
                </a:lnTo>
                <a:lnTo>
                  <a:pt x="1634" y="1018"/>
                </a:lnTo>
                <a:lnTo>
                  <a:pt x="1624" y="1020"/>
                </a:lnTo>
                <a:lnTo>
                  <a:pt x="1612" y="1022"/>
                </a:lnTo>
                <a:lnTo>
                  <a:pt x="1612" y="1022"/>
                </a:lnTo>
                <a:close/>
                <a:moveTo>
                  <a:pt x="1646" y="1036"/>
                </a:moveTo>
                <a:lnTo>
                  <a:pt x="1646" y="1036"/>
                </a:lnTo>
                <a:lnTo>
                  <a:pt x="1646" y="1036"/>
                </a:lnTo>
                <a:lnTo>
                  <a:pt x="1646" y="1036"/>
                </a:lnTo>
                <a:lnTo>
                  <a:pt x="1654" y="1034"/>
                </a:lnTo>
                <a:lnTo>
                  <a:pt x="1654" y="1034"/>
                </a:lnTo>
                <a:lnTo>
                  <a:pt x="1652" y="1032"/>
                </a:lnTo>
                <a:lnTo>
                  <a:pt x="1652" y="1032"/>
                </a:lnTo>
                <a:lnTo>
                  <a:pt x="1652" y="1032"/>
                </a:lnTo>
                <a:lnTo>
                  <a:pt x="1652" y="1032"/>
                </a:lnTo>
                <a:lnTo>
                  <a:pt x="1654" y="1034"/>
                </a:lnTo>
                <a:lnTo>
                  <a:pt x="1654" y="1034"/>
                </a:lnTo>
                <a:lnTo>
                  <a:pt x="1646" y="1036"/>
                </a:lnTo>
                <a:lnTo>
                  <a:pt x="1646" y="1036"/>
                </a:lnTo>
                <a:close/>
                <a:moveTo>
                  <a:pt x="1652" y="1062"/>
                </a:moveTo>
                <a:lnTo>
                  <a:pt x="1652" y="1062"/>
                </a:lnTo>
                <a:lnTo>
                  <a:pt x="1652" y="1062"/>
                </a:lnTo>
                <a:lnTo>
                  <a:pt x="1652" y="1062"/>
                </a:lnTo>
                <a:lnTo>
                  <a:pt x="1658" y="1060"/>
                </a:lnTo>
                <a:lnTo>
                  <a:pt x="1658" y="1058"/>
                </a:lnTo>
                <a:lnTo>
                  <a:pt x="1658" y="1058"/>
                </a:lnTo>
                <a:lnTo>
                  <a:pt x="1658" y="1060"/>
                </a:lnTo>
                <a:lnTo>
                  <a:pt x="1652" y="1062"/>
                </a:lnTo>
                <a:lnTo>
                  <a:pt x="1652" y="1062"/>
                </a:lnTo>
                <a:close/>
                <a:moveTo>
                  <a:pt x="1664" y="1050"/>
                </a:moveTo>
                <a:lnTo>
                  <a:pt x="1664" y="1050"/>
                </a:lnTo>
                <a:lnTo>
                  <a:pt x="1662" y="1050"/>
                </a:lnTo>
                <a:lnTo>
                  <a:pt x="1662" y="1050"/>
                </a:lnTo>
                <a:lnTo>
                  <a:pt x="1664" y="1050"/>
                </a:lnTo>
                <a:lnTo>
                  <a:pt x="1664" y="1050"/>
                </a:lnTo>
                <a:lnTo>
                  <a:pt x="1668" y="1048"/>
                </a:lnTo>
                <a:lnTo>
                  <a:pt x="1668" y="1048"/>
                </a:lnTo>
                <a:lnTo>
                  <a:pt x="1668" y="1046"/>
                </a:lnTo>
                <a:lnTo>
                  <a:pt x="1666" y="1046"/>
                </a:lnTo>
                <a:lnTo>
                  <a:pt x="1666" y="1046"/>
                </a:lnTo>
                <a:lnTo>
                  <a:pt x="1668" y="1046"/>
                </a:lnTo>
                <a:lnTo>
                  <a:pt x="1668" y="1048"/>
                </a:lnTo>
                <a:lnTo>
                  <a:pt x="1668" y="1048"/>
                </a:lnTo>
                <a:lnTo>
                  <a:pt x="1664" y="1050"/>
                </a:lnTo>
                <a:lnTo>
                  <a:pt x="1664" y="1050"/>
                </a:lnTo>
                <a:close/>
                <a:moveTo>
                  <a:pt x="1670" y="1040"/>
                </a:moveTo>
                <a:lnTo>
                  <a:pt x="1670" y="1040"/>
                </a:lnTo>
                <a:lnTo>
                  <a:pt x="1670" y="1040"/>
                </a:lnTo>
                <a:lnTo>
                  <a:pt x="1670" y="1040"/>
                </a:lnTo>
                <a:lnTo>
                  <a:pt x="1678" y="1038"/>
                </a:lnTo>
                <a:lnTo>
                  <a:pt x="1678" y="1038"/>
                </a:lnTo>
                <a:lnTo>
                  <a:pt x="1678" y="1036"/>
                </a:lnTo>
                <a:lnTo>
                  <a:pt x="1678" y="1036"/>
                </a:lnTo>
                <a:lnTo>
                  <a:pt x="1678" y="1036"/>
                </a:lnTo>
                <a:lnTo>
                  <a:pt x="1678" y="1036"/>
                </a:lnTo>
                <a:lnTo>
                  <a:pt x="1678" y="1038"/>
                </a:lnTo>
                <a:lnTo>
                  <a:pt x="1678" y="1038"/>
                </a:lnTo>
                <a:lnTo>
                  <a:pt x="1670" y="1040"/>
                </a:lnTo>
                <a:lnTo>
                  <a:pt x="1670" y="1040"/>
                </a:lnTo>
                <a:close/>
                <a:moveTo>
                  <a:pt x="1708" y="1062"/>
                </a:moveTo>
                <a:lnTo>
                  <a:pt x="1708" y="1062"/>
                </a:lnTo>
                <a:lnTo>
                  <a:pt x="1708" y="1062"/>
                </a:lnTo>
                <a:lnTo>
                  <a:pt x="1708" y="1062"/>
                </a:lnTo>
                <a:lnTo>
                  <a:pt x="1712" y="1056"/>
                </a:lnTo>
                <a:lnTo>
                  <a:pt x="1712" y="1056"/>
                </a:lnTo>
                <a:lnTo>
                  <a:pt x="1712" y="1056"/>
                </a:lnTo>
                <a:lnTo>
                  <a:pt x="1690" y="1058"/>
                </a:lnTo>
                <a:lnTo>
                  <a:pt x="1690" y="1058"/>
                </a:lnTo>
                <a:lnTo>
                  <a:pt x="1684" y="1058"/>
                </a:lnTo>
                <a:lnTo>
                  <a:pt x="1684" y="1058"/>
                </a:lnTo>
                <a:lnTo>
                  <a:pt x="1678" y="1056"/>
                </a:lnTo>
                <a:lnTo>
                  <a:pt x="1674" y="1058"/>
                </a:lnTo>
                <a:lnTo>
                  <a:pt x="1674" y="1058"/>
                </a:lnTo>
                <a:lnTo>
                  <a:pt x="1678" y="1056"/>
                </a:lnTo>
                <a:lnTo>
                  <a:pt x="1684" y="1058"/>
                </a:lnTo>
                <a:lnTo>
                  <a:pt x="1684" y="1058"/>
                </a:lnTo>
                <a:lnTo>
                  <a:pt x="1690" y="1058"/>
                </a:lnTo>
                <a:lnTo>
                  <a:pt x="1690" y="1058"/>
                </a:lnTo>
                <a:lnTo>
                  <a:pt x="1712" y="1056"/>
                </a:lnTo>
                <a:lnTo>
                  <a:pt x="1712" y="1056"/>
                </a:lnTo>
                <a:lnTo>
                  <a:pt x="1708" y="1062"/>
                </a:lnTo>
                <a:lnTo>
                  <a:pt x="1708" y="1062"/>
                </a:lnTo>
                <a:close/>
                <a:moveTo>
                  <a:pt x="1704" y="1038"/>
                </a:moveTo>
                <a:lnTo>
                  <a:pt x="1704" y="1038"/>
                </a:lnTo>
                <a:lnTo>
                  <a:pt x="1708" y="1038"/>
                </a:lnTo>
                <a:lnTo>
                  <a:pt x="1708" y="1038"/>
                </a:lnTo>
                <a:lnTo>
                  <a:pt x="1702" y="1040"/>
                </a:lnTo>
                <a:lnTo>
                  <a:pt x="1696" y="1040"/>
                </a:lnTo>
                <a:lnTo>
                  <a:pt x="1696" y="1040"/>
                </a:lnTo>
                <a:lnTo>
                  <a:pt x="1702" y="1040"/>
                </a:lnTo>
                <a:lnTo>
                  <a:pt x="1708" y="1038"/>
                </a:lnTo>
                <a:lnTo>
                  <a:pt x="1708" y="1038"/>
                </a:lnTo>
                <a:lnTo>
                  <a:pt x="1704" y="1038"/>
                </a:lnTo>
                <a:lnTo>
                  <a:pt x="1704" y="1038"/>
                </a:lnTo>
                <a:close/>
                <a:moveTo>
                  <a:pt x="1704" y="1046"/>
                </a:moveTo>
                <a:lnTo>
                  <a:pt x="1704" y="1046"/>
                </a:lnTo>
                <a:lnTo>
                  <a:pt x="1704" y="1046"/>
                </a:lnTo>
                <a:lnTo>
                  <a:pt x="1704" y="1046"/>
                </a:lnTo>
                <a:lnTo>
                  <a:pt x="1708" y="1048"/>
                </a:lnTo>
                <a:lnTo>
                  <a:pt x="1708" y="1048"/>
                </a:lnTo>
                <a:lnTo>
                  <a:pt x="1706" y="1050"/>
                </a:lnTo>
                <a:lnTo>
                  <a:pt x="1706" y="1050"/>
                </a:lnTo>
                <a:lnTo>
                  <a:pt x="1706" y="1050"/>
                </a:lnTo>
                <a:lnTo>
                  <a:pt x="1706" y="1050"/>
                </a:lnTo>
                <a:lnTo>
                  <a:pt x="1708" y="1048"/>
                </a:lnTo>
                <a:lnTo>
                  <a:pt x="1708" y="1048"/>
                </a:lnTo>
                <a:lnTo>
                  <a:pt x="1704" y="1046"/>
                </a:lnTo>
                <a:lnTo>
                  <a:pt x="1704" y="1046"/>
                </a:lnTo>
                <a:close/>
                <a:moveTo>
                  <a:pt x="1716" y="1020"/>
                </a:moveTo>
                <a:lnTo>
                  <a:pt x="1716" y="1020"/>
                </a:lnTo>
                <a:lnTo>
                  <a:pt x="1712" y="1018"/>
                </a:lnTo>
                <a:lnTo>
                  <a:pt x="1710" y="1016"/>
                </a:lnTo>
                <a:lnTo>
                  <a:pt x="1706" y="1016"/>
                </a:lnTo>
                <a:lnTo>
                  <a:pt x="1702" y="1020"/>
                </a:lnTo>
                <a:lnTo>
                  <a:pt x="1702" y="1020"/>
                </a:lnTo>
                <a:lnTo>
                  <a:pt x="1694" y="1022"/>
                </a:lnTo>
                <a:lnTo>
                  <a:pt x="1694" y="1022"/>
                </a:lnTo>
                <a:lnTo>
                  <a:pt x="1688" y="1026"/>
                </a:lnTo>
                <a:lnTo>
                  <a:pt x="1688" y="1026"/>
                </a:lnTo>
                <a:lnTo>
                  <a:pt x="1688" y="1026"/>
                </a:lnTo>
                <a:lnTo>
                  <a:pt x="1688" y="1026"/>
                </a:lnTo>
                <a:lnTo>
                  <a:pt x="1694" y="1022"/>
                </a:lnTo>
                <a:lnTo>
                  <a:pt x="1694" y="1022"/>
                </a:lnTo>
                <a:lnTo>
                  <a:pt x="1702" y="1020"/>
                </a:lnTo>
                <a:lnTo>
                  <a:pt x="1702" y="1020"/>
                </a:lnTo>
                <a:lnTo>
                  <a:pt x="1706" y="1016"/>
                </a:lnTo>
                <a:lnTo>
                  <a:pt x="1710" y="1016"/>
                </a:lnTo>
                <a:lnTo>
                  <a:pt x="1712" y="1018"/>
                </a:lnTo>
                <a:lnTo>
                  <a:pt x="1716" y="1020"/>
                </a:lnTo>
                <a:lnTo>
                  <a:pt x="1716" y="1020"/>
                </a:lnTo>
                <a:lnTo>
                  <a:pt x="1716" y="1020"/>
                </a:lnTo>
                <a:lnTo>
                  <a:pt x="1716" y="1020"/>
                </a:lnTo>
                <a:close/>
                <a:moveTo>
                  <a:pt x="1738" y="1020"/>
                </a:moveTo>
                <a:lnTo>
                  <a:pt x="1738" y="1020"/>
                </a:lnTo>
                <a:lnTo>
                  <a:pt x="1736" y="1020"/>
                </a:lnTo>
                <a:lnTo>
                  <a:pt x="1736" y="1020"/>
                </a:lnTo>
                <a:lnTo>
                  <a:pt x="1740" y="1018"/>
                </a:lnTo>
                <a:lnTo>
                  <a:pt x="1740" y="1018"/>
                </a:lnTo>
                <a:lnTo>
                  <a:pt x="1736" y="1016"/>
                </a:lnTo>
                <a:lnTo>
                  <a:pt x="1736" y="1016"/>
                </a:lnTo>
                <a:lnTo>
                  <a:pt x="1736" y="1016"/>
                </a:lnTo>
                <a:lnTo>
                  <a:pt x="1736" y="1016"/>
                </a:lnTo>
                <a:lnTo>
                  <a:pt x="1740" y="1018"/>
                </a:lnTo>
                <a:lnTo>
                  <a:pt x="1740" y="1018"/>
                </a:lnTo>
                <a:lnTo>
                  <a:pt x="1738" y="1020"/>
                </a:lnTo>
                <a:lnTo>
                  <a:pt x="1738" y="1020"/>
                </a:lnTo>
                <a:close/>
                <a:moveTo>
                  <a:pt x="1798" y="1260"/>
                </a:moveTo>
                <a:lnTo>
                  <a:pt x="1798" y="1260"/>
                </a:lnTo>
                <a:lnTo>
                  <a:pt x="1798" y="1260"/>
                </a:lnTo>
                <a:lnTo>
                  <a:pt x="1798" y="1260"/>
                </a:lnTo>
                <a:lnTo>
                  <a:pt x="1800" y="1262"/>
                </a:lnTo>
                <a:lnTo>
                  <a:pt x="1800" y="1262"/>
                </a:lnTo>
                <a:lnTo>
                  <a:pt x="1798" y="1264"/>
                </a:lnTo>
                <a:lnTo>
                  <a:pt x="1798" y="1264"/>
                </a:lnTo>
                <a:lnTo>
                  <a:pt x="1798" y="1264"/>
                </a:lnTo>
                <a:lnTo>
                  <a:pt x="1798" y="1264"/>
                </a:lnTo>
                <a:lnTo>
                  <a:pt x="1800" y="1262"/>
                </a:lnTo>
                <a:lnTo>
                  <a:pt x="1800" y="1262"/>
                </a:lnTo>
                <a:lnTo>
                  <a:pt x="1798" y="1260"/>
                </a:lnTo>
                <a:lnTo>
                  <a:pt x="1798" y="1260"/>
                </a:lnTo>
                <a:close/>
                <a:moveTo>
                  <a:pt x="1796" y="1224"/>
                </a:moveTo>
                <a:lnTo>
                  <a:pt x="1796" y="1224"/>
                </a:lnTo>
                <a:lnTo>
                  <a:pt x="1796" y="1224"/>
                </a:lnTo>
                <a:lnTo>
                  <a:pt x="1796" y="1224"/>
                </a:lnTo>
                <a:lnTo>
                  <a:pt x="1796" y="1224"/>
                </a:lnTo>
                <a:lnTo>
                  <a:pt x="1796" y="1224"/>
                </a:lnTo>
                <a:lnTo>
                  <a:pt x="1796" y="1224"/>
                </a:lnTo>
                <a:lnTo>
                  <a:pt x="1796" y="1224"/>
                </a:lnTo>
                <a:lnTo>
                  <a:pt x="1794" y="1220"/>
                </a:lnTo>
                <a:lnTo>
                  <a:pt x="1790" y="1222"/>
                </a:lnTo>
                <a:lnTo>
                  <a:pt x="1790" y="1222"/>
                </a:lnTo>
                <a:lnTo>
                  <a:pt x="1790" y="1222"/>
                </a:lnTo>
                <a:lnTo>
                  <a:pt x="1790" y="1222"/>
                </a:lnTo>
                <a:lnTo>
                  <a:pt x="1794" y="1220"/>
                </a:lnTo>
                <a:lnTo>
                  <a:pt x="1796" y="1224"/>
                </a:lnTo>
                <a:lnTo>
                  <a:pt x="1796" y="1224"/>
                </a:lnTo>
                <a:lnTo>
                  <a:pt x="1796" y="1224"/>
                </a:lnTo>
                <a:lnTo>
                  <a:pt x="1796" y="1224"/>
                </a:lnTo>
                <a:close/>
                <a:moveTo>
                  <a:pt x="1976" y="1060"/>
                </a:moveTo>
                <a:lnTo>
                  <a:pt x="1976" y="1060"/>
                </a:lnTo>
                <a:lnTo>
                  <a:pt x="1962" y="1062"/>
                </a:lnTo>
                <a:lnTo>
                  <a:pt x="1962" y="1062"/>
                </a:lnTo>
                <a:lnTo>
                  <a:pt x="1944" y="1056"/>
                </a:lnTo>
                <a:lnTo>
                  <a:pt x="1944" y="1056"/>
                </a:lnTo>
                <a:lnTo>
                  <a:pt x="1964" y="1048"/>
                </a:lnTo>
                <a:lnTo>
                  <a:pt x="1964" y="1048"/>
                </a:lnTo>
                <a:lnTo>
                  <a:pt x="1976" y="1060"/>
                </a:lnTo>
                <a:lnTo>
                  <a:pt x="1976" y="1060"/>
                </a:lnTo>
                <a:close/>
                <a:moveTo>
                  <a:pt x="1956" y="1064"/>
                </a:moveTo>
                <a:lnTo>
                  <a:pt x="1956" y="1064"/>
                </a:lnTo>
                <a:lnTo>
                  <a:pt x="1956" y="1064"/>
                </a:lnTo>
                <a:lnTo>
                  <a:pt x="1956" y="1064"/>
                </a:lnTo>
                <a:lnTo>
                  <a:pt x="1956" y="1064"/>
                </a:lnTo>
                <a:lnTo>
                  <a:pt x="1954" y="1068"/>
                </a:lnTo>
                <a:lnTo>
                  <a:pt x="1954" y="1068"/>
                </a:lnTo>
                <a:lnTo>
                  <a:pt x="1954" y="1068"/>
                </a:lnTo>
                <a:lnTo>
                  <a:pt x="1954" y="1068"/>
                </a:lnTo>
                <a:lnTo>
                  <a:pt x="1956" y="1064"/>
                </a:lnTo>
                <a:lnTo>
                  <a:pt x="1956" y="1064"/>
                </a:lnTo>
                <a:lnTo>
                  <a:pt x="1956" y="1064"/>
                </a:lnTo>
                <a:lnTo>
                  <a:pt x="1956" y="1064"/>
                </a:lnTo>
                <a:close/>
                <a:moveTo>
                  <a:pt x="1944" y="1036"/>
                </a:moveTo>
                <a:lnTo>
                  <a:pt x="1944" y="1036"/>
                </a:lnTo>
                <a:lnTo>
                  <a:pt x="1944" y="1036"/>
                </a:lnTo>
                <a:lnTo>
                  <a:pt x="1944" y="1036"/>
                </a:lnTo>
                <a:lnTo>
                  <a:pt x="1942" y="1042"/>
                </a:lnTo>
                <a:lnTo>
                  <a:pt x="1938" y="1042"/>
                </a:lnTo>
                <a:lnTo>
                  <a:pt x="1938" y="1042"/>
                </a:lnTo>
                <a:lnTo>
                  <a:pt x="1938" y="1042"/>
                </a:lnTo>
                <a:lnTo>
                  <a:pt x="1938" y="1042"/>
                </a:lnTo>
                <a:lnTo>
                  <a:pt x="1942" y="1042"/>
                </a:lnTo>
                <a:lnTo>
                  <a:pt x="1944" y="1036"/>
                </a:lnTo>
                <a:lnTo>
                  <a:pt x="1944" y="1036"/>
                </a:lnTo>
                <a:close/>
                <a:moveTo>
                  <a:pt x="1938" y="1052"/>
                </a:moveTo>
                <a:lnTo>
                  <a:pt x="1938" y="1052"/>
                </a:lnTo>
                <a:lnTo>
                  <a:pt x="1930" y="1058"/>
                </a:lnTo>
                <a:lnTo>
                  <a:pt x="1930" y="1058"/>
                </a:lnTo>
                <a:lnTo>
                  <a:pt x="1912" y="1052"/>
                </a:lnTo>
                <a:lnTo>
                  <a:pt x="1912" y="1052"/>
                </a:lnTo>
                <a:lnTo>
                  <a:pt x="1922" y="1050"/>
                </a:lnTo>
                <a:lnTo>
                  <a:pt x="1922" y="1050"/>
                </a:lnTo>
                <a:lnTo>
                  <a:pt x="1922" y="1044"/>
                </a:lnTo>
                <a:lnTo>
                  <a:pt x="1922" y="1044"/>
                </a:lnTo>
                <a:lnTo>
                  <a:pt x="1926" y="1046"/>
                </a:lnTo>
                <a:lnTo>
                  <a:pt x="1930" y="1048"/>
                </a:lnTo>
                <a:lnTo>
                  <a:pt x="1938" y="1052"/>
                </a:lnTo>
                <a:lnTo>
                  <a:pt x="1938" y="1052"/>
                </a:lnTo>
                <a:close/>
                <a:moveTo>
                  <a:pt x="1908" y="1044"/>
                </a:moveTo>
                <a:lnTo>
                  <a:pt x="1908" y="1044"/>
                </a:lnTo>
                <a:lnTo>
                  <a:pt x="1912" y="1046"/>
                </a:lnTo>
                <a:lnTo>
                  <a:pt x="1912" y="1046"/>
                </a:lnTo>
                <a:lnTo>
                  <a:pt x="1908" y="1048"/>
                </a:lnTo>
                <a:lnTo>
                  <a:pt x="1908" y="1048"/>
                </a:lnTo>
                <a:lnTo>
                  <a:pt x="1908" y="1048"/>
                </a:lnTo>
                <a:lnTo>
                  <a:pt x="1908" y="1048"/>
                </a:lnTo>
                <a:lnTo>
                  <a:pt x="1912" y="1046"/>
                </a:lnTo>
                <a:lnTo>
                  <a:pt x="1912" y="1046"/>
                </a:lnTo>
                <a:lnTo>
                  <a:pt x="1908" y="1044"/>
                </a:lnTo>
                <a:lnTo>
                  <a:pt x="1908" y="1044"/>
                </a:lnTo>
                <a:close/>
                <a:moveTo>
                  <a:pt x="1914" y="1040"/>
                </a:moveTo>
                <a:lnTo>
                  <a:pt x="1914" y="1040"/>
                </a:lnTo>
                <a:lnTo>
                  <a:pt x="1916" y="1036"/>
                </a:lnTo>
                <a:lnTo>
                  <a:pt x="1916" y="1036"/>
                </a:lnTo>
                <a:lnTo>
                  <a:pt x="1916" y="1036"/>
                </a:lnTo>
                <a:lnTo>
                  <a:pt x="1916" y="1036"/>
                </a:lnTo>
                <a:lnTo>
                  <a:pt x="1914" y="1040"/>
                </a:lnTo>
                <a:lnTo>
                  <a:pt x="1914" y="1040"/>
                </a:lnTo>
                <a:lnTo>
                  <a:pt x="1914" y="1040"/>
                </a:lnTo>
                <a:lnTo>
                  <a:pt x="1914" y="1040"/>
                </a:lnTo>
                <a:close/>
                <a:moveTo>
                  <a:pt x="1914" y="1030"/>
                </a:moveTo>
                <a:lnTo>
                  <a:pt x="1914" y="1030"/>
                </a:lnTo>
                <a:lnTo>
                  <a:pt x="1926" y="1028"/>
                </a:lnTo>
                <a:lnTo>
                  <a:pt x="1926" y="1028"/>
                </a:lnTo>
                <a:lnTo>
                  <a:pt x="1930" y="1030"/>
                </a:lnTo>
                <a:lnTo>
                  <a:pt x="1930" y="1030"/>
                </a:lnTo>
                <a:lnTo>
                  <a:pt x="1930" y="1032"/>
                </a:lnTo>
                <a:lnTo>
                  <a:pt x="1928" y="1034"/>
                </a:lnTo>
                <a:lnTo>
                  <a:pt x="1928" y="1034"/>
                </a:lnTo>
                <a:lnTo>
                  <a:pt x="1930" y="1032"/>
                </a:lnTo>
                <a:lnTo>
                  <a:pt x="1930" y="1030"/>
                </a:lnTo>
                <a:lnTo>
                  <a:pt x="1930" y="1030"/>
                </a:lnTo>
                <a:lnTo>
                  <a:pt x="1926" y="1028"/>
                </a:lnTo>
                <a:lnTo>
                  <a:pt x="1926" y="1028"/>
                </a:lnTo>
                <a:lnTo>
                  <a:pt x="1914" y="1032"/>
                </a:lnTo>
                <a:lnTo>
                  <a:pt x="1914" y="1032"/>
                </a:lnTo>
                <a:lnTo>
                  <a:pt x="1906" y="1034"/>
                </a:lnTo>
                <a:lnTo>
                  <a:pt x="1906" y="1034"/>
                </a:lnTo>
                <a:lnTo>
                  <a:pt x="1906" y="1034"/>
                </a:lnTo>
                <a:lnTo>
                  <a:pt x="1906" y="1034"/>
                </a:lnTo>
                <a:lnTo>
                  <a:pt x="1914" y="1030"/>
                </a:lnTo>
                <a:lnTo>
                  <a:pt x="1914" y="1030"/>
                </a:lnTo>
                <a:close/>
                <a:moveTo>
                  <a:pt x="1892" y="1054"/>
                </a:moveTo>
                <a:lnTo>
                  <a:pt x="1892" y="1054"/>
                </a:lnTo>
                <a:lnTo>
                  <a:pt x="1894" y="1056"/>
                </a:lnTo>
                <a:lnTo>
                  <a:pt x="1894" y="1056"/>
                </a:lnTo>
                <a:lnTo>
                  <a:pt x="1890" y="1058"/>
                </a:lnTo>
                <a:lnTo>
                  <a:pt x="1886" y="1056"/>
                </a:lnTo>
                <a:lnTo>
                  <a:pt x="1886" y="1056"/>
                </a:lnTo>
                <a:lnTo>
                  <a:pt x="1890" y="1058"/>
                </a:lnTo>
                <a:lnTo>
                  <a:pt x="1894" y="1056"/>
                </a:lnTo>
                <a:lnTo>
                  <a:pt x="1894" y="1056"/>
                </a:lnTo>
                <a:lnTo>
                  <a:pt x="1892" y="1054"/>
                </a:lnTo>
                <a:lnTo>
                  <a:pt x="1892" y="1054"/>
                </a:lnTo>
                <a:lnTo>
                  <a:pt x="1892" y="1054"/>
                </a:lnTo>
                <a:lnTo>
                  <a:pt x="1892" y="1054"/>
                </a:lnTo>
                <a:close/>
                <a:moveTo>
                  <a:pt x="1890" y="1024"/>
                </a:moveTo>
                <a:lnTo>
                  <a:pt x="1890" y="1024"/>
                </a:lnTo>
                <a:lnTo>
                  <a:pt x="1890" y="1024"/>
                </a:lnTo>
                <a:lnTo>
                  <a:pt x="1890" y="1024"/>
                </a:lnTo>
                <a:lnTo>
                  <a:pt x="1886" y="1034"/>
                </a:lnTo>
                <a:lnTo>
                  <a:pt x="1886" y="1034"/>
                </a:lnTo>
                <a:lnTo>
                  <a:pt x="1886" y="1034"/>
                </a:lnTo>
                <a:lnTo>
                  <a:pt x="1886" y="1034"/>
                </a:lnTo>
                <a:lnTo>
                  <a:pt x="1890" y="1024"/>
                </a:lnTo>
                <a:lnTo>
                  <a:pt x="1890" y="1024"/>
                </a:lnTo>
                <a:close/>
                <a:moveTo>
                  <a:pt x="1872" y="1052"/>
                </a:moveTo>
                <a:lnTo>
                  <a:pt x="1872" y="1052"/>
                </a:lnTo>
                <a:lnTo>
                  <a:pt x="1880" y="1048"/>
                </a:lnTo>
                <a:lnTo>
                  <a:pt x="1884" y="1046"/>
                </a:lnTo>
                <a:lnTo>
                  <a:pt x="1884" y="1044"/>
                </a:lnTo>
                <a:lnTo>
                  <a:pt x="1884" y="1044"/>
                </a:lnTo>
                <a:lnTo>
                  <a:pt x="1884" y="1044"/>
                </a:lnTo>
                <a:lnTo>
                  <a:pt x="1884" y="1044"/>
                </a:lnTo>
                <a:lnTo>
                  <a:pt x="1884" y="1046"/>
                </a:lnTo>
                <a:lnTo>
                  <a:pt x="1880" y="1048"/>
                </a:lnTo>
                <a:lnTo>
                  <a:pt x="1872" y="1052"/>
                </a:lnTo>
                <a:lnTo>
                  <a:pt x="1872" y="1052"/>
                </a:lnTo>
                <a:lnTo>
                  <a:pt x="1872" y="1052"/>
                </a:lnTo>
                <a:lnTo>
                  <a:pt x="1872" y="1052"/>
                </a:lnTo>
                <a:close/>
                <a:moveTo>
                  <a:pt x="1876" y="1060"/>
                </a:moveTo>
                <a:lnTo>
                  <a:pt x="1876" y="1060"/>
                </a:lnTo>
                <a:lnTo>
                  <a:pt x="1890" y="1060"/>
                </a:lnTo>
                <a:lnTo>
                  <a:pt x="1896" y="1060"/>
                </a:lnTo>
                <a:lnTo>
                  <a:pt x="1902" y="1062"/>
                </a:lnTo>
                <a:lnTo>
                  <a:pt x="1902" y="1062"/>
                </a:lnTo>
                <a:lnTo>
                  <a:pt x="1906" y="1062"/>
                </a:lnTo>
                <a:lnTo>
                  <a:pt x="1910" y="1060"/>
                </a:lnTo>
                <a:lnTo>
                  <a:pt x="1910" y="1060"/>
                </a:lnTo>
                <a:lnTo>
                  <a:pt x="1916" y="1058"/>
                </a:lnTo>
                <a:lnTo>
                  <a:pt x="1916" y="1058"/>
                </a:lnTo>
                <a:lnTo>
                  <a:pt x="1926" y="1062"/>
                </a:lnTo>
                <a:lnTo>
                  <a:pt x="1934" y="1060"/>
                </a:lnTo>
                <a:lnTo>
                  <a:pt x="1934" y="1060"/>
                </a:lnTo>
                <a:lnTo>
                  <a:pt x="1944" y="1058"/>
                </a:lnTo>
                <a:lnTo>
                  <a:pt x="1944" y="1058"/>
                </a:lnTo>
                <a:lnTo>
                  <a:pt x="1934" y="1068"/>
                </a:lnTo>
                <a:lnTo>
                  <a:pt x="1934" y="1068"/>
                </a:lnTo>
                <a:lnTo>
                  <a:pt x="1940" y="1070"/>
                </a:lnTo>
                <a:lnTo>
                  <a:pt x="1948" y="1072"/>
                </a:lnTo>
                <a:lnTo>
                  <a:pt x="1954" y="1072"/>
                </a:lnTo>
                <a:lnTo>
                  <a:pt x="1958" y="1074"/>
                </a:lnTo>
                <a:lnTo>
                  <a:pt x="1960" y="1078"/>
                </a:lnTo>
                <a:lnTo>
                  <a:pt x="1960" y="1078"/>
                </a:lnTo>
                <a:lnTo>
                  <a:pt x="1936" y="1078"/>
                </a:lnTo>
                <a:lnTo>
                  <a:pt x="1936" y="1078"/>
                </a:lnTo>
                <a:lnTo>
                  <a:pt x="1934" y="1078"/>
                </a:lnTo>
                <a:lnTo>
                  <a:pt x="1934" y="1078"/>
                </a:lnTo>
                <a:lnTo>
                  <a:pt x="1928" y="1076"/>
                </a:lnTo>
                <a:lnTo>
                  <a:pt x="1922" y="1074"/>
                </a:lnTo>
                <a:lnTo>
                  <a:pt x="1908" y="1072"/>
                </a:lnTo>
                <a:lnTo>
                  <a:pt x="1908" y="1072"/>
                </a:lnTo>
                <a:lnTo>
                  <a:pt x="1900" y="1070"/>
                </a:lnTo>
                <a:lnTo>
                  <a:pt x="1900" y="1070"/>
                </a:lnTo>
                <a:lnTo>
                  <a:pt x="1886" y="1066"/>
                </a:lnTo>
                <a:lnTo>
                  <a:pt x="1880" y="1066"/>
                </a:lnTo>
                <a:lnTo>
                  <a:pt x="1872" y="1066"/>
                </a:lnTo>
                <a:lnTo>
                  <a:pt x="1872" y="1066"/>
                </a:lnTo>
                <a:lnTo>
                  <a:pt x="1872" y="1062"/>
                </a:lnTo>
                <a:lnTo>
                  <a:pt x="1874" y="1060"/>
                </a:lnTo>
                <a:lnTo>
                  <a:pt x="1876" y="1060"/>
                </a:lnTo>
                <a:lnTo>
                  <a:pt x="1876" y="1060"/>
                </a:lnTo>
                <a:close/>
                <a:moveTo>
                  <a:pt x="1798" y="1080"/>
                </a:moveTo>
                <a:lnTo>
                  <a:pt x="1798" y="1080"/>
                </a:lnTo>
                <a:lnTo>
                  <a:pt x="1798" y="1080"/>
                </a:lnTo>
                <a:lnTo>
                  <a:pt x="1798" y="1080"/>
                </a:lnTo>
                <a:lnTo>
                  <a:pt x="1818" y="1080"/>
                </a:lnTo>
                <a:lnTo>
                  <a:pt x="1818" y="1088"/>
                </a:lnTo>
                <a:lnTo>
                  <a:pt x="1818" y="1088"/>
                </a:lnTo>
                <a:lnTo>
                  <a:pt x="1816" y="1088"/>
                </a:lnTo>
                <a:lnTo>
                  <a:pt x="1816" y="1080"/>
                </a:lnTo>
                <a:lnTo>
                  <a:pt x="1798" y="1080"/>
                </a:lnTo>
                <a:close/>
                <a:moveTo>
                  <a:pt x="1804" y="1108"/>
                </a:moveTo>
                <a:lnTo>
                  <a:pt x="1804" y="1108"/>
                </a:lnTo>
                <a:lnTo>
                  <a:pt x="1810" y="1112"/>
                </a:lnTo>
                <a:lnTo>
                  <a:pt x="1810" y="1112"/>
                </a:lnTo>
                <a:lnTo>
                  <a:pt x="1816" y="1114"/>
                </a:lnTo>
                <a:lnTo>
                  <a:pt x="1816" y="1114"/>
                </a:lnTo>
                <a:lnTo>
                  <a:pt x="1818" y="1112"/>
                </a:lnTo>
                <a:lnTo>
                  <a:pt x="1818" y="1112"/>
                </a:lnTo>
                <a:lnTo>
                  <a:pt x="1816" y="1114"/>
                </a:lnTo>
                <a:lnTo>
                  <a:pt x="1816" y="1114"/>
                </a:lnTo>
                <a:lnTo>
                  <a:pt x="1810" y="1112"/>
                </a:lnTo>
                <a:lnTo>
                  <a:pt x="1810" y="1112"/>
                </a:lnTo>
                <a:lnTo>
                  <a:pt x="1804" y="1108"/>
                </a:lnTo>
                <a:lnTo>
                  <a:pt x="1804" y="1108"/>
                </a:lnTo>
                <a:lnTo>
                  <a:pt x="1804" y="1108"/>
                </a:lnTo>
                <a:lnTo>
                  <a:pt x="1804" y="1108"/>
                </a:lnTo>
                <a:close/>
                <a:moveTo>
                  <a:pt x="1808" y="1116"/>
                </a:moveTo>
                <a:lnTo>
                  <a:pt x="1808" y="1116"/>
                </a:lnTo>
                <a:lnTo>
                  <a:pt x="1808" y="1116"/>
                </a:lnTo>
                <a:lnTo>
                  <a:pt x="1808" y="1116"/>
                </a:lnTo>
                <a:lnTo>
                  <a:pt x="1810" y="1118"/>
                </a:lnTo>
                <a:lnTo>
                  <a:pt x="1810" y="1118"/>
                </a:lnTo>
                <a:lnTo>
                  <a:pt x="1804" y="1120"/>
                </a:lnTo>
                <a:lnTo>
                  <a:pt x="1804" y="1120"/>
                </a:lnTo>
                <a:lnTo>
                  <a:pt x="1804" y="1120"/>
                </a:lnTo>
                <a:lnTo>
                  <a:pt x="1804" y="1120"/>
                </a:lnTo>
                <a:lnTo>
                  <a:pt x="1810" y="1118"/>
                </a:lnTo>
                <a:lnTo>
                  <a:pt x="1810" y="1118"/>
                </a:lnTo>
                <a:lnTo>
                  <a:pt x="1808" y="1116"/>
                </a:lnTo>
                <a:lnTo>
                  <a:pt x="1808" y="1116"/>
                </a:lnTo>
                <a:close/>
                <a:moveTo>
                  <a:pt x="1818" y="1112"/>
                </a:moveTo>
                <a:lnTo>
                  <a:pt x="1818" y="1112"/>
                </a:lnTo>
                <a:lnTo>
                  <a:pt x="1818" y="1112"/>
                </a:lnTo>
                <a:lnTo>
                  <a:pt x="1818" y="1112"/>
                </a:lnTo>
                <a:lnTo>
                  <a:pt x="1818" y="1112"/>
                </a:lnTo>
                <a:lnTo>
                  <a:pt x="1818" y="1112"/>
                </a:lnTo>
                <a:lnTo>
                  <a:pt x="1818" y="1112"/>
                </a:lnTo>
                <a:lnTo>
                  <a:pt x="1818" y="1112"/>
                </a:lnTo>
                <a:close/>
                <a:moveTo>
                  <a:pt x="1840" y="1148"/>
                </a:moveTo>
                <a:lnTo>
                  <a:pt x="1840" y="1148"/>
                </a:lnTo>
                <a:lnTo>
                  <a:pt x="1842" y="1144"/>
                </a:lnTo>
                <a:lnTo>
                  <a:pt x="1842" y="1144"/>
                </a:lnTo>
                <a:lnTo>
                  <a:pt x="1836" y="1150"/>
                </a:lnTo>
                <a:lnTo>
                  <a:pt x="1836" y="1150"/>
                </a:lnTo>
                <a:lnTo>
                  <a:pt x="1830" y="1150"/>
                </a:lnTo>
                <a:lnTo>
                  <a:pt x="1830" y="1150"/>
                </a:lnTo>
                <a:lnTo>
                  <a:pt x="1818" y="1150"/>
                </a:lnTo>
                <a:lnTo>
                  <a:pt x="1818" y="1150"/>
                </a:lnTo>
                <a:lnTo>
                  <a:pt x="1818" y="1148"/>
                </a:lnTo>
                <a:lnTo>
                  <a:pt x="1818" y="1146"/>
                </a:lnTo>
                <a:lnTo>
                  <a:pt x="1822" y="1144"/>
                </a:lnTo>
                <a:lnTo>
                  <a:pt x="1822" y="1144"/>
                </a:lnTo>
                <a:lnTo>
                  <a:pt x="1840" y="1142"/>
                </a:lnTo>
                <a:lnTo>
                  <a:pt x="1840" y="1142"/>
                </a:lnTo>
                <a:lnTo>
                  <a:pt x="1844" y="1142"/>
                </a:lnTo>
                <a:lnTo>
                  <a:pt x="1848" y="1138"/>
                </a:lnTo>
                <a:lnTo>
                  <a:pt x="1848" y="1138"/>
                </a:lnTo>
                <a:lnTo>
                  <a:pt x="1850" y="1136"/>
                </a:lnTo>
                <a:lnTo>
                  <a:pt x="1854" y="1136"/>
                </a:lnTo>
                <a:lnTo>
                  <a:pt x="1860" y="1136"/>
                </a:lnTo>
                <a:lnTo>
                  <a:pt x="1860" y="1136"/>
                </a:lnTo>
                <a:lnTo>
                  <a:pt x="1858" y="1140"/>
                </a:lnTo>
                <a:lnTo>
                  <a:pt x="1858" y="1140"/>
                </a:lnTo>
                <a:lnTo>
                  <a:pt x="1860" y="1140"/>
                </a:lnTo>
                <a:lnTo>
                  <a:pt x="1860" y="1140"/>
                </a:lnTo>
                <a:lnTo>
                  <a:pt x="1840" y="1148"/>
                </a:lnTo>
                <a:lnTo>
                  <a:pt x="1840" y="1148"/>
                </a:lnTo>
                <a:close/>
                <a:moveTo>
                  <a:pt x="1834" y="1122"/>
                </a:moveTo>
                <a:lnTo>
                  <a:pt x="1834" y="1122"/>
                </a:lnTo>
                <a:lnTo>
                  <a:pt x="1834" y="1122"/>
                </a:lnTo>
                <a:lnTo>
                  <a:pt x="1834" y="1122"/>
                </a:lnTo>
                <a:lnTo>
                  <a:pt x="1852" y="1118"/>
                </a:lnTo>
                <a:lnTo>
                  <a:pt x="1852" y="1118"/>
                </a:lnTo>
                <a:lnTo>
                  <a:pt x="1852" y="1118"/>
                </a:lnTo>
                <a:lnTo>
                  <a:pt x="1852" y="1118"/>
                </a:lnTo>
                <a:lnTo>
                  <a:pt x="1834" y="1122"/>
                </a:lnTo>
                <a:lnTo>
                  <a:pt x="1834" y="1122"/>
                </a:lnTo>
                <a:close/>
                <a:moveTo>
                  <a:pt x="1856" y="1122"/>
                </a:moveTo>
                <a:lnTo>
                  <a:pt x="1856" y="1122"/>
                </a:lnTo>
                <a:lnTo>
                  <a:pt x="1862" y="1128"/>
                </a:lnTo>
                <a:lnTo>
                  <a:pt x="1862" y="1128"/>
                </a:lnTo>
                <a:lnTo>
                  <a:pt x="1862" y="1128"/>
                </a:lnTo>
                <a:lnTo>
                  <a:pt x="1862" y="1128"/>
                </a:lnTo>
                <a:lnTo>
                  <a:pt x="1856" y="1122"/>
                </a:lnTo>
                <a:lnTo>
                  <a:pt x="1856" y="1122"/>
                </a:lnTo>
                <a:lnTo>
                  <a:pt x="1840" y="1126"/>
                </a:lnTo>
                <a:lnTo>
                  <a:pt x="1840" y="1126"/>
                </a:lnTo>
                <a:lnTo>
                  <a:pt x="1840" y="1126"/>
                </a:lnTo>
                <a:lnTo>
                  <a:pt x="1840" y="1126"/>
                </a:lnTo>
                <a:lnTo>
                  <a:pt x="1856" y="1122"/>
                </a:lnTo>
                <a:lnTo>
                  <a:pt x="1856" y="1122"/>
                </a:lnTo>
                <a:close/>
                <a:moveTo>
                  <a:pt x="1888" y="1122"/>
                </a:moveTo>
                <a:lnTo>
                  <a:pt x="1888" y="1122"/>
                </a:lnTo>
                <a:lnTo>
                  <a:pt x="1884" y="1118"/>
                </a:lnTo>
                <a:lnTo>
                  <a:pt x="1884" y="1118"/>
                </a:lnTo>
                <a:lnTo>
                  <a:pt x="1888" y="1122"/>
                </a:lnTo>
                <a:lnTo>
                  <a:pt x="1888" y="1122"/>
                </a:lnTo>
                <a:lnTo>
                  <a:pt x="1880" y="1122"/>
                </a:lnTo>
                <a:lnTo>
                  <a:pt x="1874" y="1120"/>
                </a:lnTo>
                <a:lnTo>
                  <a:pt x="1874" y="1120"/>
                </a:lnTo>
                <a:lnTo>
                  <a:pt x="1874" y="1120"/>
                </a:lnTo>
                <a:lnTo>
                  <a:pt x="1874" y="1120"/>
                </a:lnTo>
                <a:lnTo>
                  <a:pt x="1880" y="1122"/>
                </a:lnTo>
                <a:lnTo>
                  <a:pt x="1888" y="1122"/>
                </a:lnTo>
                <a:lnTo>
                  <a:pt x="1888" y="1122"/>
                </a:lnTo>
                <a:close/>
                <a:moveTo>
                  <a:pt x="1882" y="1106"/>
                </a:moveTo>
                <a:lnTo>
                  <a:pt x="1882" y="1106"/>
                </a:lnTo>
                <a:lnTo>
                  <a:pt x="1882" y="1106"/>
                </a:lnTo>
                <a:lnTo>
                  <a:pt x="1882" y="1106"/>
                </a:lnTo>
                <a:lnTo>
                  <a:pt x="1886" y="1108"/>
                </a:lnTo>
                <a:lnTo>
                  <a:pt x="1886" y="1108"/>
                </a:lnTo>
                <a:lnTo>
                  <a:pt x="1892" y="1104"/>
                </a:lnTo>
                <a:lnTo>
                  <a:pt x="1892" y="1104"/>
                </a:lnTo>
                <a:lnTo>
                  <a:pt x="1892" y="1104"/>
                </a:lnTo>
                <a:lnTo>
                  <a:pt x="1892" y="1104"/>
                </a:lnTo>
                <a:lnTo>
                  <a:pt x="1886" y="1108"/>
                </a:lnTo>
                <a:lnTo>
                  <a:pt x="1886" y="1108"/>
                </a:lnTo>
                <a:lnTo>
                  <a:pt x="1882" y="1106"/>
                </a:lnTo>
                <a:lnTo>
                  <a:pt x="1882" y="1106"/>
                </a:lnTo>
                <a:close/>
                <a:moveTo>
                  <a:pt x="1904" y="1132"/>
                </a:moveTo>
                <a:lnTo>
                  <a:pt x="1904" y="1132"/>
                </a:lnTo>
                <a:lnTo>
                  <a:pt x="1898" y="1132"/>
                </a:lnTo>
                <a:lnTo>
                  <a:pt x="1898" y="1132"/>
                </a:lnTo>
                <a:lnTo>
                  <a:pt x="1904" y="1132"/>
                </a:lnTo>
                <a:lnTo>
                  <a:pt x="1904" y="1132"/>
                </a:lnTo>
                <a:lnTo>
                  <a:pt x="1904" y="1132"/>
                </a:lnTo>
                <a:lnTo>
                  <a:pt x="1904" y="1132"/>
                </a:lnTo>
                <a:close/>
                <a:moveTo>
                  <a:pt x="1898" y="1122"/>
                </a:moveTo>
                <a:lnTo>
                  <a:pt x="1898" y="1122"/>
                </a:lnTo>
                <a:lnTo>
                  <a:pt x="1902" y="1122"/>
                </a:lnTo>
                <a:lnTo>
                  <a:pt x="1904" y="1120"/>
                </a:lnTo>
                <a:lnTo>
                  <a:pt x="1904" y="1120"/>
                </a:lnTo>
                <a:lnTo>
                  <a:pt x="1906" y="1120"/>
                </a:lnTo>
                <a:lnTo>
                  <a:pt x="1906" y="1120"/>
                </a:lnTo>
                <a:lnTo>
                  <a:pt x="1902" y="1122"/>
                </a:lnTo>
                <a:lnTo>
                  <a:pt x="1898" y="1122"/>
                </a:lnTo>
                <a:lnTo>
                  <a:pt x="1898" y="1122"/>
                </a:lnTo>
                <a:close/>
                <a:moveTo>
                  <a:pt x="1910" y="1126"/>
                </a:moveTo>
                <a:lnTo>
                  <a:pt x="1910" y="1126"/>
                </a:lnTo>
                <a:lnTo>
                  <a:pt x="1910" y="1126"/>
                </a:lnTo>
                <a:lnTo>
                  <a:pt x="1910" y="1126"/>
                </a:lnTo>
                <a:lnTo>
                  <a:pt x="1916" y="1118"/>
                </a:lnTo>
                <a:lnTo>
                  <a:pt x="1916" y="1118"/>
                </a:lnTo>
                <a:lnTo>
                  <a:pt x="1910" y="1114"/>
                </a:lnTo>
                <a:lnTo>
                  <a:pt x="1910" y="1114"/>
                </a:lnTo>
                <a:lnTo>
                  <a:pt x="1910" y="1114"/>
                </a:lnTo>
                <a:lnTo>
                  <a:pt x="1910" y="1114"/>
                </a:lnTo>
                <a:lnTo>
                  <a:pt x="1916" y="1118"/>
                </a:lnTo>
                <a:lnTo>
                  <a:pt x="1916" y="1118"/>
                </a:lnTo>
                <a:lnTo>
                  <a:pt x="1916" y="1118"/>
                </a:lnTo>
                <a:lnTo>
                  <a:pt x="1916" y="1118"/>
                </a:lnTo>
                <a:lnTo>
                  <a:pt x="1916" y="1118"/>
                </a:lnTo>
                <a:lnTo>
                  <a:pt x="1916" y="1118"/>
                </a:lnTo>
                <a:lnTo>
                  <a:pt x="1916" y="1118"/>
                </a:lnTo>
                <a:lnTo>
                  <a:pt x="1916" y="1118"/>
                </a:lnTo>
                <a:lnTo>
                  <a:pt x="1916" y="1118"/>
                </a:lnTo>
                <a:lnTo>
                  <a:pt x="1916" y="1118"/>
                </a:lnTo>
                <a:lnTo>
                  <a:pt x="1910" y="1126"/>
                </a:lnTo>
                <a:lnTo>
                  <a:pt x="1910" y="1126"/>
                </a:lnTo>
                <a:close/>
                <a:moveTo>
                  <a:pt x="1912" y="1104"/>
                </a:moveTo>
                <a:lnTo>
                  <a:pt x="1912" y="1104"/>
                </a:lnTo>
                <a:lnTo>
                  <a:pt x="1922" y="1100"/>
                </a:lnTo>
                <a:lnTo>
                  <a:pt x="1922" y="1100"/>
                </a:lnTo>
                <a:lnTo>
                  <a:pt x="1894" y="1098"/>
                </a:lnTo>
                <a:lnTo>
                  <a:pt x="1894" y="1098"/>
                </a:lnTo>
                <a:lnTo>
                  <a:pt x="1894" y="1098"/>
                </a:lnTo>
                <a:lnTo>
                  <a:pt x="1894" y="1098"/>
                </a:lnTo>
                <a:lnTo>
                  <a:pt x="1922" y="1100"/>
                </a:lnTo>
                <a:lnTo>
                  <a:pt x="1922" y="1100"/>
                </a:lnTo>
                <a:lnTo>
                  <a:pt x="1912" y="1104"/>
                </a:lnTo>
                <a:lnTo>
                  <a:pt x="1912" y="1104"/>
                </a:lnTo>
                <a:close/>
                <a:moveTo>
                  <a:pt x="1870" y="1114"/>
                </a:moveTo>
                <a:lnTo>
                  <a:pt x="1870" y="1114"/>
                </a:lnTo>
                <a:lnTo>
                  <a:pt x="1874" y="1114"/>
                </a:lnTo>
                <a:lnTo>
                  <a:pt x="1874" y="1114"/>
                </a:lnTo>
                <a:lnTo>
                  <a:pt x="1876" y="1110"/>
                </a:lnTo>
                <a:lnTo>
                  <a:pt x="1876" y="1110"/>
                </a:lnTo>
                <a:lnTo>
                  <a:pt x="1876" y="1110"/>
                </a:lnTo>
                <a:lnTo>
                  <a:pt x="1876" y="1110"/>
                </a:lnTo>
                <a:lnTo>
                  <a:pt x="1874" y="1114"/>
                </a:lnTo>
                <a:lnTo>
                  <a:pt x="1874" y="1114"/>
                </a:lnTo>
                <a:lnTo>
                  <a:pt x="1870" y="1114"/>
                </a:lnTo>
                <a:lnTo>
                  <a:pt x="1870" y="1114"/>
                </a:lnTo>
                <a:lnTo>
                  <a:pt x="1870" y="1114"/>
                </a:lnTo>
                <a:lnTo>
                  <a:pt x="1870" y="1114"/>
                </a:lnTo>
                <a:close/>
                <a:moveTo>
                  <a:pt x="1832" y="1022"/>
                </a:moveTo>
                <a:lnTo>
                  <a:pt x="1832" y="1022"/>
                </a:lnTo>
                <a:lnTo>
                  <a:pt x="1840" y="1020"/>
                </a:lnTo>
                <a:lnTo>
                  <a:pt x="1850" y="1020"/>
                </a:lnTo>
                <a:lnTo>
                  <a:pt x="1850" y="1020"/>
                </a:lnTo>
                <a:lnTo>
                  <a:pt x="1862" y="1026"/>
                </a:lnTo>
                <a:lnTo>
                  <a:pt x="1862" y="1026"/>
                </a:lnTo>
                <a:lnTo>
                  <a:pt x="1856" y="1028"/>
                </a:lnTo>
                <a:lnTo>
                  <a:pt x="1856" y="1028"/>
                </a:lnTo>
                <a:lnTo>
                  <a:pt x="1846" y="1026"/>
                </a:lnTo>
                <a:lnTo>
                  <a:pt x="1836" y="1028"/>
                </a:lnTo>
                <a:lnTo>
                  <a:pt x="1836" y="1028"/>
                </a:lnTo>
                <a:lnTo>
                  <a:pt x="1832" y="1030"/>
                </a:lnTo>
                <a:lnTo>
                  <a:pt x="1828" y="1026"/>
                </a:lnTo>
                <a:lnTo>
                  <a:pt x="1828" y="1026"/>
                </a:lnTo>
                <a:lnTo>
                  <a:pt x="1828" y="1024"/>
                </a:lnTo>
                <a:lnTo>
                  <a:pt x="1832" y="1022"/>
                </a:lnTo>
                <a:lnTo>
                  <a:pt x="1832" y="1022"/>
                </a:lnTo>
                <a:close/>
                <a:moveTo>
                  <a:pt x="1826" y="1036"/>
                </a:moveTo>
                <a:lnTo>
                  <a:pt x="1826" y="1036"/>
                </a:lnTo>
                <a:lnTo>
                  <a:pt x="1826" y="1036"/>
                </a:lnTo>
                <a:lnTo>
                  <a:pt x="1826" y="1036"/>
                </a:lnTo>
                <a:lnTo>
                  <a:pt x="1820" y="1034"/>
                </a:lnTo>
                <a:lnTo>
                  <a:pt x="1816" y="1032"/>
                </a:lnTo>
                <a:lnTo>
                  <a:pt x="1816" y="1032"/>
                </a:lnTo>
                <a:lnTo>
                  <a:pt x="1820" y="1034"/>
                </a:lnTo>
                <a:lnTo>
                  <a:pt x="1826" y="1036"/>
                </a:lnTo>
                <a:lnTo>
                  <a:pt x="1826" y="1036"/>
                </a:lnTo>
                <a:close/>
                <a:moveTo>
                  <a:pt x="1814" y="990"/>
                </a:moveTo>
                <a:lnTo>
                  <a:pt x="1814" y="990"/>
                </a:lnTo>
                <a:lnTo>
                  <a:pt x="1818" y="990"/>
                </a:lnTo>
                <a:lnTo>
                  <a:pt x="1818" y="990"/>
                </a:lnTo>
                <a:lnTo>
                  <a:pt x="1816" y="990"/>
                </a:lnTo>
                <a:lnTo>
                  <a:pt x="1816" y="990"/>
                </a:lnTo>
                <a:lnTo>
                  <a:pt x="1814" y="990"/>
                </a:lnTo>
                <a:lnTo>
                  <a:pt x="1814" y="990"/>
                </a:lnTo>
                <a:lnTo>
                  <a:pt x="1814" y="990"/>
                </a:lnTo>
                <a:lnTo>
                  <a:pt x="1814" y="990"/>
                </a:lnTo>
                <a:close/>
                <a:moveTo>
                  <a:pt x="1816" y="1044"/>
                </a:moveTo>
                <a:lnTo>
                  <a:pt x="1816" y="1044"/>
                </a:lnTo>
                <a:lnTo>
                  <a:pt x="1812" y="1050"/>
                </a:lnTo>
                <a:lnTo>
                  <a:pt x="1812" y="1050"/>
                </a:lnTo>
                <a:lnTo>
                  <a:pt x="1828" y="1054"/>
                </a:lnTo>
                <a:lnTo>
                  <a:pt x="1828" y="1070"/>
                </a:lnTo>
                <a:lnTo>
                  <a:pt x="1828" y="1070"/>
                </a:lnTo>
                <a:lnTo>
                  <a:pt x="1814" y="1064"/>
                </a:lnTo>
                <a:lnTo>
                  <a:pt x="1800" y="1058"/>
                </a:lnTo>
                <a:lnTo>
                  <a:pt x="1800" y="1058"/>
                </a:lnTo>
                <a:lnTo>
                  <a:pt x="1802" y="1056"/>
                </a:lnTo>
                <a:lnTo>
                  <a:pt x="1802" y="1056"/>
                </a:lnTo>
                <a:lnTo>
                  <a:pt x="1816" y="1058"/>
                </a:lnTo>
                <a:lnTo>
                  <a:pt x="1816" y="1058"/>
                </a:lnTo>
                <a:lnTo>
                  <a:pt x="1818" y="1058"/>
                </a:lnTo>
                <a:lnTo>
                  <a:pt x="1818" y="1058"/>
                </a:lnTo>
                <a:lnTo>
                  <a:pt x="1812" y="1056"/>
                </a:lnTo>
                <a:lnTo>
                  <a:pt x="1806" y="1054"/>
                </a:lnTo>
                <a:lnTo>
                  <a:pt x="1800" y="1052"/>
                </a:lnTo>
                <a:lnTo>
                  <a:pt x="1796" y="1050"/>
                </a:lnTo>
                <a:lnTo>
                  <a:pt x="1796" y="1050"/>
                </a:lnTo>
                <a:lnTo>
                  <a:pt x="1814" y="1042"/>
                </a:lnTo>
                <a:lnTo>
                  <a:pt x="1814" y="1042"/>
                </a:lnTo>
                <a:lnTo>
                  <a:pt x="1816" y="1044"/>
                </a:lnTo>
                <a:lnTo>
                  <a:pt x="1816" y="1044"/>
                </a:lnTo>
                <a:close/>
                <a:moveTo>
                  <a:pt x="1806" y="1014"/>
                </a:moveTo>
                <a:lnTo>
                  <a:pt x="1806" y="1014"/>
                </a:lnTo>
                <a:lnTo>
                  <a:pt x="1806" y="1014"/>
                </a:lnTo>
                <a:lnTo>
                  <a:pt x="1806" y="1014"/>
                </a:lnTo>
                <a:lnTo>
                  <a:pt x="1808" y="1014"/>
                </a:lnTo>
                <a:lnTo>
                  <a:pt x="1808" y="1014"/>
                </a:lnTo>
                <a:lnTo>
                  <a:pt x="1804" y="1018"/>
                </a:lnTo>
                <a:lnTo>
                  <a:pt x="1804" y="1018"/>
                </a:lnTo>
                <a:lnTo>
                  <a:pt x="1804" y="1018"/>
                </a:lnTo>
                <a:lnTo>
                  <a:pt x="1804" y="1018"/>
                </a:lnTo>
                <a:lnTo>
                  <a:pt x="1808" y="1014"/>
                </a:lnTo>
                <a:lnTo>
                  <a:pt x="1808" y="1014"/>
                </a:lnTo>
                <a:lnTo>
                  <a:pt x="1806" y="1014"/>
                </a:lnTo>
                <a:lnTo>
                  <a:pt x="1806" y="1014"/>
                </a:lnTo>
                <a:close/>
                <a:moveTo>
                  <a:pt x="1804" y="1044"/>
                </a:moveTo>
                <a:lnTo>
                  <a:pt x="1804" y="1044"/>
                </a:lnTo>
                <a:lnTo>
                  <a:pt x="1802" y="1044"/>
                </a:lnTo>
                <a:lnTo>
                  <a:pt x="1802" y="1044"/>
                </a:lnTo>
                <a:lnTo>
                  <a:pt x="1804" y="1044"/>
                </a:lnTo>
                <a:lnTo>
                  <a:pt x="1804" y="1044"/>
                </a:lnTo>
                <a:lnTo>
                  <a:pt x="1800" y="1046"/>
                </a:lnTo>
                <a:lnTo>
                  <a:pt x="1794" y="1044"/>
                </a:lnTo>
                <a:lnTo>
                  <a:pt x="1794" y="1044"/>
                </a:lnTo>
                <a:lnTo>
                  <a:pt x="1800" y="1046"/>
                </a:lnTo>
                <a:lnTo>
                  <a:pt x="1804" y="1044"/>
                </a:lnTo>
                <a:lnTo>
                  <a:pt x="1804" y="1044"/>
                </a:lnTo>
                <a:close/>
                <a:moveTo>
                  <a:pt x="1796" y="1080"/>
                </a:moveTo>
                <a:lnTo>
                  <a:pt x="1796" y="1080"/>
                </a:lnTo>
                <a:lnTo>
                  <a:pt x="1796" y="1080"/>
                </a:lnTo>
                <a:lnTo>
                  <a:pt x="1796" y="1080"/>
                </a:lnTo>
                <a:lnTo>
                  <a:pt x="1792" y="1078"/>
                </a:lnTo>
                <a:lnTo>
                  <a:pt x="1788" y="1080"/>
                </a:lnTo>
                <a:lnTo>
                  <a:pt x="1788" y="1080"/>
                </a:lnTo>
                <a:lnTo>
                  <a:pt x="1788" y="1080"/>
                </a:lnTo>
                <a:lnTo>
                  <a:pt x="1788" y="1080"/>
                </a:lnTo>
                <a:lnTo>
                  <a:pt x="1792" y="1078"/>
                </a:lnTo>
                <a:lnTo>
                  <a:pt x="1796" y="1080"/>
                </a:lnTo>
                <a:lnTo>
                  <a:pt x="1796" y="1080"/>
                </a:lnTo>
                <a:close/>
                <a:moveTo>
                  <a:pt x="1784" y="1168"/>
                </a:moveTo>
                <a:lnTo>
                  <a:pt x="1784" y="1168"/>
                </a:lnTo>
                <a:lnTo>
                  <a:pt x="1784" y="1166"/>
                </a:lnTo>
                <a:lnTo>
                  <a:pt x="1784" y="1166"/>
                </a:lnTo>
                <a:lnTo>
                  <a:pt x="1784" y="1166"/>
                </a:lnTo>
                <a:lnTo>
                  <a:pt x="1784" y="1166"/>
                </a:lnTo>
                <a:lnTo>
                  <a:pt x="1784" y="1168"/>
                </a:lnTo>
                <a:lnTo>
                  <a:pt x="1784" y="1168"/>
                </a:lnTo>
                <a:lnTo>
                  <a:pt x="1772" y="1168"/>
                </a:lnTo>
                <a:lnTo>
                  <a:pt x="1772" y="1168"/>
                </a:lnTo>
                <a:lnTo>
                  <a:pt x="1772" y="1168"/>
                </a:lnTo>
                <a:lnTo>
                  <a:pt x="1772" y="1168"/>
                </a:lnTo>
                <a:lnTo>
                  <a:pt x="1784" y="1168"/>
                </a:lnTo>
                <a:lnTo>
                  <a:pt x="1784" y="1168"/>
                </a:lnTo>
                <a:close/>
                <a:moveTo>
                  <a:pt x="1782" y="1086"/>
                </a:moveTo>
                <a:lnTo>
                  <a:pt x="1782" y="1086"/>
                </a:lnTo>
                <a:lnTo>
                  <a:pt x="1784" y="1086"/>
                </a:lnTo>
                <a:lnTo>
                  <a:pt x="1784" y="1086"/>
                </a:lnTo>
                <a:lnTo>
                  <a:pt x="1786" y="1086"/>
                </a:lnTo>
                <a:lnTo>
                  <a:pt x="1786" y="1086"/>
                </a:lnTo>
                <a:lnTo>
                  <a:pt x="1786" y="1086"/>
                </a:lnTo>
                <a:lnTo>
                  <a:pt x="1782" y="1088"/>
                </a:lnTo>
                <a:lnTo>
                  <a:pt x="1782" y="1088"/>
                </a:lnTo>
                <a:lnTo>
                  <a:pt x="1782" y="1088"/>
                </a:lnTo>
                <a:lnTo>
                  <a:pt x="1782" y="1088"/>
                </a:lnTo>
                <a:lnTo>
                  <a:pt x="1786" y="1086"/>
                </a:lnTo>
                <a:lnTo>
                  <a:pt x="1786" y="1086"/>
                </a:lnTo>
                <a:lnTo>
                  <a:pt x="1786" y="1086"/>
                </a:lnTo>
                <a:lnTo>
                  <a:pt x="1782" y="1086"/>
                </a:lnTo>
                <a:lnTo>
                  <a:pt x="1782" y="1086"/>
                </a:lnTo>
                <a:close/>
                <a:moveTo>
                  <a:pt x="1758" y="1040"/>
                </a:moveTo>
                <a:lnTo>
                  <a:pt x="1758" y="1040"/>
                </a:lnTo>
                <a:lnTo>
                  <a:pt x="1758" y="1040"/>
                </a:lnTo>
                <a:lnTo>
                  <a:pt x="1758" y="1040"/>
                </a:lnTo>
                <a:lnTo>
                  <a:pt x="1760" y="1038"/>
                </a:lnTo>
                <a:lnTo>
                  <a:pt x="1760" y="1038"/>
                </a:lnTo>
                <a:lnTo>
                  <a:pt x="1758" y="1036"/>
                </a:lnTo>
                <a:lnTo>
                  <a:pt x="1758" y="1036"/>
                </a:lnTo>
                <a:lnTo>
                  <a:pt x="1758" y="1036"/>
                </a:lnTo>
                <a:lnTo>
                  <a:pt x="1758" y="1036"/>
                </a:lnTo>
                <a:lnTo>
                  <a:pt x="1762" y="1038"/>
                </a:lnTo>
                <a:lnTo>
                  <a:pt x="1762" y="1038"/>
                </a:lnTo>
                <a:lnTo>
                  <a:pt x="1758" y="1040"/>
                </a:lnTo>
                <a:lnTo>
                  <a:pt x="1758" y="1040"/>
                </a:lnTo>
                <a:close/>
                <a:moveTo>
                  <a:pt x="1714" y="1190"/>
                </a:moveTo>
                <a:lnTo>
                  <a:pt x="1714" y="1190"/>
                </a:lnTo>
                <a:lnTo>
                  <a:pt x="1712" y="1188"/>
                </a:lnTo>
                <a:lnTo>
                  <a:pt x="1712" y="1188"/>
                </a:lnTo>
                <a:lnTo>
                  <a:pt x="1712" y="1188"/>
                </a:lnTo>
                <a:lnTo>
                  <a:pt x="1712" y="1188"/>
                </a:lnTo>
                <a:lnTo>
                  <a:pt x="1714" y="1190"/>
                </a:lnTo>
                <a:lnTo>
                  <a:pt x="1714" y="1190"/>
                </a:lnTo>
                <a:lnTo>
                  <a:pt x="1714" y="1190"/>
                </a:lnTo>
                <a:lnTo>
                  <a:pt x="1714" y="1190"/>
                </a:lnTo>
                <a:close/>
                <a:moveTo>
                  <a:pt x="1728" y="1154"/>
                </a:moveTo>
                <a:lnTo>
                  <a:pt x="1728" y="1154"/>
                </a:lnTo>
                <a:lnTo>
                  <a:pt x="1728" y="1154"/>
                </a:lnTo>
                <a:lnTo>
                  <a:pt x="1728" y="1154"/>
                </a:lnTo>
                <a:lnTo>
                  <a:pt x="1722" y="1154"/>
                </a:lnTo>
                <a:lnTo>
                  <a:pt x="1722" y="1154"/>
                </a:lnTo>
                <a:lnTo>
                  <a:pt x="1728" y="1154"/>
                </a:lnTo>
                <a:lnTo>
                  <a:pt x="1728" y="1154"/>
                </a:lnTo>
                <a:close/>
                <a:moveTo>
                  <a:pt x="1714" y="1146"/>
                </a:moveTo>
                <a:lnTo>
                  <a:pt x="1714" y="1146"/>
                </a:lnTo>
                <a:lnTo>
                  <a:pt x="1714" y="1146"/>
                </a:lnTo>
                <a:lnTo>
                  <a:pt x="1714" y="1146"/>
                </a:lnTo>
                <a:lnTo>
                  <a:pt x="1712" y="1146"/>
                </a:lnTo>
                <a:lnTo>
                  <a:pt x="1712" y="1146"/>
                </a:lnTo>
                <a:lnTo>
                  <a:pt x="1714" y="1146"/>
                </a:lnTo>
                <a:lnTo>
                  <a:pt x="1714" y="1146"/>
                </a:lnTo>
                <a:lnTo>
                  <a:pt x="1714" y="1146"/>
                </a:lnTo>
                <a:lnTo>
                  <a:pt x="1714" y="1146"/>
                </a:lnTo>
                <a:close/>
                <a:moveTo>
                  <a:pt x="1698" y="1152"/>
                </a:moveTo>
                <a:lnTo>
                  <a:pt x="1698" y="1152"/>
                </a:lnTo>
                <a:lnTo>
                  <a:pt x="1698" y="1152"/>
                </a:lnTo>
                <a:lnTo>
                  <a:pt x="1698" y="1152"/>
                </a:lnTo>
                <a:lnTo>
                  <a:pt x="1708" y="1152"/>
                </a:lnTo>
                <a:lnTo>
                  <a:pt x="1710" y="1150"/>
                </a:lnTo>
                <a:lnTo>
                  <a:pt x="1712" y="1148"/>
                </a:lnTo>
                <a:lnTo>
                  <a:pt x="1712" y="1148"/>
                </a:lnTo>
                <a:lnTo>
                  <a:pt x="1712" y="1148"/>
                </a:lnTo>
                <a:lnTo>
                  <a:pt x="1712" y="1148"/>
                </a:lnTo>
                <a:lnTo>
                  <a:pt x="1712" y="1148"/>
                </a:lnTo>
                <a:lnTo>
                  <a:pt x="1712" y="1148"/>
                </a:lnTo>
                <a:lnTo>
                  <a:pt x="1710" y="1150"/>
                </a:lnTo>
                <a:lnTo>
                  <a:pt x="1708" y="1152"/>
                </a:lnTo>
                <a:lnTo>
                  <a:pt x="1698" y="1152"/>
                </a:lnTo>
                <a:lnTo>
                  <a:pt x="1698" y="1152"/>
                </a:lnTo>
                <a:close/>
                <a:moveTo>
                  <a:pt x="1702" y="1162"/>
                </a:moveTo>
                <a:lnTo>
                  <a:pt x="1702" y="1162"/>
                </a:lnTo>
                <a:lnTo>
                  <a:pt x="1702" y="1162"/>
                </a:lnTo>
                <a:lnTo>
                  <a:pt x="1702" y="1162"/>
                </a:lnTo>
                <a:lnTo>
                  <a:pt x="1712" y="1162"/>
                </a:lnTo>
                <a:lnTo>
                  <a:pt x="1712" y="1162"/>
                </a:lnTo>
                <a:lnTo>
                  <a:pt x="1712" y="1162"/>
                </a:lnTo>
                <a:lnTo>
                  <a:pt x="1712" y="1162"/>
                </a:lnTo>
                <a:lnTo>
                  <a:pt x="1702" y="1162"/>
                </a:lnTo>
                <a:lnTo>
                  <a:pt x="1702" y="1162"/>
                </a:lnTo>
                <a:close/>
                <a:moveTo>
                  <a:pt x="1692" y="1194"/>
                </a:moveTo>
                <a:lnTo>
                  <a:pt x="1692" y="1194"/>
                </a:lnTo>
                <a:lnTo>
                  <a:pt x="1698" y="1190"/>
                </a:lnTo>
                <a:lnTo>
                  <a:pt x="1698" y="1190"/>
                </a:lnTo>
                <a:lnTo>
                  <a:pt x="1708" y="1196"/>
                </a:lnTo>
                <a:lnTo>
                  <a:pt x="1708" y="1196"/>
                </a:lnTo>
                <a:lnTo>
                  <a:pt x="1708" y="1196"/>
                </a:lnTo>
                <a:lnTo>
                  <a:pt x="1708" y="1196"/>
                </a:lnTo>
                <a:lnTo>
                  <a:pt x="1692" y="1194"/>
                </a:lnTo>
                <a:lnTo>
                  <a:pt x="1692" y="1194"/>
                </a:lnTo>
                <a:close/>
                <a:moveTo>
                  <a:pt x="1746" y="1182"/>
                </a:moveTo>
                <a:lnTo>
                  <a:pt x="1746" y="1182"/>
                </a:lnTo>
                <a:lnTo>
                  <a:pt x="1750" y="1178"/>
                </a:lnTo>
                <a:lnTo>
                  <a:pt x="1756" y="1178"/>
                </a:lnTo>
                <a:lnTo>
                  <a:pt x="1756" y="1178"/>
                </a:lnTo>
                <a:lnTo>
                  <a:pt x="1762" y="1176"/>
                </a:lnTo>
                <a:lnTo>
                  <a:pt x="1762" y="1170"/>
                </a:lnTo>
                <a:lnTo>
                  <a:pt x="1762" y="1170"/>
                </a:lnTo>
                <a:lnTo>
                  <a:pt x="1764" y="1168"/>
                </a:lnTo>
                <a:lnTo>
                  <a:pt x="1766" y="1166"/>
                </a:lnTo>
                <a:lnTo>
                  <a:pt x="1766" y="1166"/>
                </a:lnTo>
                <a:lnTo>
                  <a:pt x="1776" y="1178"/>
                </a:lnTo>
                <a:lnTo>
                  <a:pt x="1776" y="1178"/>
                </a:lnTo>
                <a:lnTo>
                  <a:pt x="1764" y="1188"/>
                </a:lnTo>
                <a:lnTo>
                  <a:pt x="1764" y="1188"/>
                </a:lnTo>
                <a:lnTo>
                  <a:pt x="1746" y="1182"/>
                </a:lnTo>
                <a:lnTo>
                  <a:pt x="1746" y="1182"/>
                </a:lnTo>
                <a:close/>
                <a:moveTo>
                  <a:pt x="1758" y="1196"/>
                </a:moveTo>
                <a:lnTo>
                  <a:pt x="1758" y="1196"/>
                </a:lnTo>
                <a:lnTo>
                  <a:pt x="1758" y="1196"/>
                </a:lnTo>
                <a:lnTo>
                  <a:pt x="1758" y="1196"/>
                </a:lnTo>
                <a:lnTo>
                  <a:pt x="1758" y="1196"/>
                </a:lnTo>
                <a:lnTo>
                  <a:pt x="1758" y="1196"/>
                </a:lnTo>
                <a:lnTo>
                  <a:pt x="1758" y="1196"/>
                </a:lnTo>
                <a:lnTo>
                  <a:pt x="1758" y="1196"/>
                </a:lnTo>
                <a:lnTo>
                  <a:pt x="1758" y="1196"/>
                </a:lnTo>
                <a:lnTo>
                  <a:pt x="1758" y="1196"/>
                </a:lnTo>
                <a:lnTo>
                  <a:pt x="1758" y="1196"/>
                </a:lnTo>
                <a:lnTo>
                  <a:pt x="1758" y="1196"/>
                </a:lnTo>
                <a:close/>
                <a:moveTo>
                  <a:pt x="1768" y="1202"/>
                </a:moveTo>
                <a:lnTo>
                  <a:pt x="1768" y="1202"/>
                </a:lnTo>
                <a:lnTo>
                  <a:pt x="1764" y="1200"/>
                </a:lnTo>
                <a:lnTo>
                  <a:pt x="1764" y="1200"/>
                </a:lnTo>
                <a:lnTo>
                  <a:pt x="1772" y="1196"/>
                </a:lnTo>
                <a:lnTo>
                  <a:pt x="1772" y="1196"/>
                </a:lnTo>
                <a:lnTo>
                  <a:pt x="1778" y="1198"/>
                </a:lnTo>
                <a:lnTo>
                  <a:pt x="1778" y="1198"/>
                </a:lnTo>
                <a:lnTo>
                  <a:pt x="1768" y="1202"/>
                </a:lnTo>
                <a:lnTo>
                  <a:pt x="1768" y="1202"/>
                </a:lnTo>
                <a:close/>
                <a:moveTo>
                  <a:pt x="1784" y="1172"/>
                </a:moveTo>
                <a:lnTo>
                  <a:pt x="1784" y="1172"/>
                </a:lnTo>
                <a:lnTo>
                  <a:pt x="1784" y="1158"/>
                </a:lnTo>
                <a:lnTo>
                  <a:pt x="1784" y="1158"/>
                </a:lnTo>
                <a:lnTo>
                  <a:pt x="1788" y="1160"/>
                </a:lnTo>
                <a:lnTo>
                  <a:pt x="1788" y="1160"/>
                </a:lnTo>
                <a:lnTo>
                  <a:pt x="1808" y="1162"/>
                </a:lnTo>
                <a:lnTo>
                  <a:pt x="1808" y="1162"/>
                </a:lnTo>
                <a:lnTo>
                  <a:pt x="1802" y="1168"/>
                </a:lnTo>
                <a:lnTo>
                  <a:pt x="1802" y="1168"/>
                </a:lnTo>
                <a:lnTo>
                  <a:pt x="1800" y="1168"/>
                </a:lnTo>
                <a:lnTo>
                  <a:pt x="1800" y="1168"/>
                </a:lnTo>
                <a:lnTo>
                  <a:pt x="1796" y="1174"/>
                </a:lnTo>
                <a:lnTo>
                  <a:pt x="1796" y="1174"/>
                </a:lnTo>
                <a:lnTo>
                  <a:pt x="1796" y="1174"/>
                </a:lnTo>
                <a:lnTo>
                  <a:pt x="1796" y="1174"/>
                </a:lnTo>
                <a:lnTo>
                  <a:pt x="1788" y="1172"/>
                </a:lnTo>
                <a:lnTo>
                  <a:pt x="1784" y="1172"/>
                </a:lnTo>
                <a:lnTo>
                  <a:pt x="1784" y="1172"/>
                </a:lnTo>
                <a:close/>
                <a:moveTo>
                  <a:pt x="1828" y="1218"/>
                </a:moveTo>
                <a:lnTo>
                  <a:pt x="1828" y="1218"/>
                </a:lnTo>
                <a:lnTo>
                  <a:pt x="1828" y="1216"/>
                </a:lnTo>
                <a:lnTo>
                  <a:pt x="1828" y="1216"/>
                </a:lnTo>
                <a:lnTo>
                  <a:pt x="1828" y="1218"/>
                </a:lnTo>
                <a:lnTo>
                  <a:pt x="1828" y="1218"/>
                </a:lnTo>
                <a:close/>
                <a:moveTo>
                  <a:pt x="1976" y="1124"/>
                </a:moveTo>
                <a:lnTo>
                  <a:pt x="1976" y="1124"/>
                </a:lnTo>
                <a:lnTo>
                  <a:pt x="1968" y="1120"/>
                </a:lnTo>
                <a:lnTo>
                  <a:pt x="1968" y="1120"/>
                </a:lnTo>
                <a:lnTo>
                  <a:pt x="1958" y="1124"/>
                </a:lnTo>
                <a:lnTo>
                  <a:pt x="1950" y="1126"/>
                </a:lnTo>
                <a:lnTo>
                  <a:pt x="1950" y="1126"/>
                </a:lnTo>
                <a:lnTo>
                  <a:pt x="1944" y="1128"/>
                </a:lnTo>
                <a:lnTo>
                  <a:pt x="1940" y="1128"/>
                </a:lnTo>
                <a:lnTo>
                  <a:pt x="1930" y="1128"/>
                </a:lnTo>
                <a:lnTo>
                  <a:pt x="1930" y="1128"/>
                </a:lnTo>
                <a:lnTo>
                  <a:pt x="1920" y="1124"/>
                </a:lnTo>
                <a:lnTo>
                  <a:pt x="1918" y="1120"/>
                </a:lnTo>
                <a:lnTo>
                  <a:pt x="1916" y="1118"/>
                </a:lnTo>
                <a:lnTo>
                  <a:pt x="1916" y="1118"/>
                </a:lnTo>
                <a:lnTo>
                  <a:pt x="1934" y="1122"/>
                </a:lnTo>
                <a:lnTo>
                  <a:pt x="1934" y="1122"/>
                </a:lnTo>
                <a:lnTo>
                  <a:pt x="1936" y="1124"/>
                </a:lnTo>
                <a:lnTo>
                  <a:pt x="1940" y="1128"/>
                </a:lnTo>
                <a:lnTo>
                  <a:pt x="1940" y="1128"/>
                </a:lnTo>
                <a:lnTo>
                  <a:pt x="1942" y="1120"/>
                </a:lnTo>
                <a:lnTo>
                  <a:pt x="1942" y="1120"/>
                </a:lnTo>
                <a:lnTo>
                  <a:pt x="1956" y="1122"/>
                </a:lnTo>
                <a:lnTo>
                  <a:pt x="1956" y="1122"/>
                </a:lnTo>
                <a:lnTo>
                  <a:pt x="1958" y="1120"/>
                </a:lnTo>
                <a:lnTo>
                  <a:pt x="1958" y="1120"/>
                </a:lnTo>
                <a:lnTo>
                  <a:pt x="1952" y="1114"/>
                </a:lnTo>
                <a:lnTo>
                  <a:pt x="1952" y="1114"/>
                </a:lnTo>
                <a:lnTo>
                  <a:pt x="1960" y="1110"/>
                </a:lnTo>
                <a:lnTo>
                  <a:pt x="1960" y="1110"/>
                </a:lnTo>
                <a:lnTo>
                  <a:pt x="1962" y="1112"/>
                </a:lnTo>
                <a:lnTo>
                  <a:pt x="1962" y="1112"/>
                </a:lnTo>
                <a:lnTo>
                  <a:pt x="1966" y="1116"/>
                </a:lnTo>
                <a:lnTo>
                  <a:pt x="1968" y="1118"/>
                </a:lnTo>
                <a:lnTo>
                  <a:pt x="1974" y="1118"/>
                </a:lnTo>
                <a:lnTo>
                  <a:pt x="1974" y="1118"/>
                </a:lnTo>
                <a:lnTo>
                  <a:pt x="1976" y="1120"/>
                </a:lnTo>
                <a:lnTo>
                  <a:pt x="1978" y="1122"/>
                </a:lnTo>
                <a:lnTo>
                  <a:pt x="1978" y="1122"/>
                </a:lnTo>
                <a:lnTo>
                  <a:pt x="1976" y="1124"/>
                </a:lnTo>
                <a:lnTo>
                  <a:pt x="1976" y="1124"/>
                </a:lnTo>
                <a:close/>
                <a:moveTo>
                  <a:pt x="1976" y="1070"/>
                </a:moveTo>
                <a:lnTo>
                  <a:pt x="1976" y="1070"/>
                </a:lnTo>
                <a:lnTo>
                  <a:pt x="1976" y="1070"/>
                </a:lnTo>
                <a:lnTo>
                  <a:pt x="1976" y="1070"/>
                </a:lnTo>
                <a:lnTo>
                  <a:pt x="1984" y="1072"/>
                </a:lnTo>
                <a:lnTo>
                  <a:pt x="1990" y="1070"/>
                </a:lnTo>
                <a:lnTo>
                  <a:pt x="1990" y="1070"/>
                </a:lnTo>
                <a:lnTo>
                  <a:pt x="1990" y="1072"/>
                </a:lnTo>
                <a:lnTo>
                  <a:pt x="1990" y="1072"/>
                </a:lnTo>
                <a:lnTo>
                  <a:pt x="1984" y="1072"/>
                </a:lnTo>
                <a:lnTo>
                  <a:pt x="1976" y="1070"/>
                </a:lnTo>
                <a:lnTo>
                  <a:pt x="1976" y="1070"/>
                </a:lnTo>
                <a:close/>
                <a:moveTo>
                  <a:pt x="2010" y="1076"/>
                </a:moveTo>
                <a:lnTo>
                  <a:pt x="2010" y="1076"/>
                </a:lnTo>
                <a:lnTo>
                  <a:pt x="2010" y="1076"/>
                </a:lnTo>
                <a:lnTo>
                  <a:pt x="2010" y="1076"/>
                </a:lnTo>
                <a:lnTo>
                  <a:pt x="2014" y="1076"/>
                </a:lnTo>
                <a:lnTo>
                  <a:pt x="2014" y="1076"/>
                </a:lnTo>
                <a:lnTo>
                  <a:pt x="2010" y="1078"/>
                </a:lnTo>
                <a:lnTo>
                  <a:pt x="2010" y="1078"/>
                </a:lnTo>
                <a:lnTo>
                  <a:pt x="2010" y="1078"/>
                </a:lnTo>
                <a:lnTo>
                  <a:pt x="2010" y="1078"/>
                </a:lnTo>
                <a:lnTo>
                  <a:pt x="2014" y="1076"/>
                </a:lnTo>
                <a:lnTo>
                  <a:pt x="2014" y="1076"/>
                </a:lnTo>
                <a:lnTo>
                  <a:pt x="2010" y="1076"/>
                </a:lnTo>
                <a:lnTo>
                  <a:pt x="2010" y="1076"/>
                </a:lnTo>
                <a:close/>
                <a:moveTo>
                  <a:pt x="2006" y="1126"/>
                </a:moveTo>
                <a:lnTo>
                  <a:pt x="2006" y="1126"/>
                </a:lnTo>
                <a:lnTo>
                  <a:pt x="2006" y="1126"/>
                </a:lnTo>
                <a:lnTo>
                  <a:pt x="2006" y="1126"/>
                </a:lnTo>
                <a:lnTo>
                  <a:pt x="2024" y="1122"/>
                </a:lnTo>
                <a:lnTo>
                  <a:pt x="2024" y="1122"/>
                </a:lnTo>
                <a:lnTo>
                  <a:pt x="2018" y="1120"/>
                </a:lnTo>
                <a:lnTo>
                  <a:pt x="2012" y="1120"/>
                </a:lnTo>
                <a:lnTo>
                  <a:pt x="2012" y="1120"/>
                </a:lnTo>
                <a:lnTo>
                  <a:pt x="2018" y="1120"/>
                </a:lnTo>
                <a:lnTo>
                  <a:pt x="2024" y="1122"/>
                </a:lnTo>
                <a:lnTo>
                  <a:pt x="2024" y="1122"/>
                </a:lnTo>
                <a:lnTo>
                  <a:pt x="2006" y="1126"/>
                </a:lnTo>
                <a:lnTo>
                  <a:pt x="2006" y="1126"/>
                </a:lnTo>
                <a:close/>
                <a:moveTo>
                  <a:pt x="2030" y="1080"/>
                </a:moveTo>
                <a:lnTo>
                  <a:pt x="2030" y="1080"/>
                </a:lnTo>
                <a:lnTo>
                  <a:pt x="2030" y="1080"/>
                </a:lnTo>
                <a:lnTo>
                  <a:pt x="2032" y="1078"/>
                </a:lnTo>
                <a:lnTo>
                  <a:pt x="2032" y="1078"/>
                </a:lnTo>
                <a:lnTo>
                  <a:pt x="2030" y="1076"/>
                </a:lnTo>
                <a:lnTo>
                  <a:pt x="2030" y="1076"/>
                </a:lnTo>
                <a:lnTo>
                  <a:pt x="2028" y="1076"/>
                </a:lnTo>
                <a:lnTo>
                  <a:pt x="2028" y="1076"/>
                </a:lnTo>
                <a:lnTo>
                  <a:pt x="2030" y="1076"/>
                </a:lnTo>
                <a:lnTo>
                  <a:pt x="2030" y="1076"/>
                </a:lnTo>
                <a:lnTo>
                  <a:pt x="2032" y="1078"/>
                </a:lnTo>
                <a:lnTo>
                  <a:pt x="2032" y="1078"/>
                </a:lnTo>
                <a:lnTo>
                  <a:pt x="2030" y="1080"/>
                </a:lnTo>
                <a:lnTo>
                  <a:pt x="2030" y="1080"/>
                </a:lnTo>
                <a:close/>
                <a:moveTo>
                  <a:pt x="2050" y="1150"/>
                </a:moveTo>
                <a:lnTo>
                  <a:pt x="2050" y="1150"/>
                </a:lnTo>
                <a:lnTo>
                  <a:pt x="2050" y="1150"/>
                </a:lnTo>
                <a:lnTo>
                  <a:pt x="2050" y="1150"/>
                </a:lnTo>
                <a:lnTo>
                  <a:pt x="2058" y="1152"/>
                </a:lnTo>
                <a:lnTo>
                  <a:pt x="2064" y="1152"/>
                </a:lnTo>
                <a:lnTo>
                  <a:pt x="2064" y="1152"/>
                </a:lnTo>
                <a:lnTo>
                  <a:pt x="2064" y="1152"/>
                </a:lnTo>
                <a:lnTo>
                  <a:pt x="2064" y="1152"/>
                </a:lnTo>
                <a:lnTo>
                  <a:pt x="2058" y="1154"/>
                </a:lnTo>
                <a:lnTo>
                  <a:pt x="2050" y="1150"/>
                </a:lnTo>
                <a:lnTo>
                  <a:pt x="2050" y="1150"/>
                </a:lnTo>
                <a:close/>
                <a:moveTo>
                  <a:pt x="2098" y="1134"/>
                </a:moveTo>
                <a:lnTo>
                  <a:pt x="2098" y="1134"/>
                </a:lnTo>
                <a:lnTo>
                  <a:pt x="2098" y="1132"/>
                </a:lnTo>
                <a:lnTo>
                  <a:pt x="2098" y="1132"/>
                </a:lnTo>
                <a:lnTo>
                  <a:pt x="2094" y="1132"/>
                </a:lnTo>
                <a:lnTo>
                  <a:pt x="2094" y="1132"/>
                </a:lnTo>
                <a:lnTo>
                  <a:pt x="2098" y="1132"/>
                </a:lnTo>
                <a:lnTo>
                  <a:pt x="2098" y="1132"/>
                </a:lnTo>
                <a:lnTo>
                  <a:pt x="2098" y="1134"/>
                </a:lnTo>
                <a:lnTo>
                  <a:pt x="2098" y="1134"/>
                </a:lnTo>
                <a:close/>
                <a:moveTo>
                  <a:pt x="2112" y="1100"/>
                </a:moveTo>
                <a:lnTo>
                  <a:pt x="2112" y="1100"/>
                </a:lnTo>
                <a:lnTo>
                  <a:pt x="2114" y="1098"/>
                </a:lnTo>
                <a:lnTo>
                  <a:pt x="2114" y="1098"/>
                </a:lnTo>
                <a:lnTo>
                  <a:pt x="2114" y="1098"/>
                </a:lnTo>
                <a:lnTo>
                  <a:pt x="2112" y="1100"/>
                </a:lnTo>
                <a:lnTo>
                  <a:pt x="2112" y="1100"/>
                </a:lnTo>
                <a:close/>
                <a:moveTo>
                  <a:pt x="2160" y="1090"/>
                </a:moveTo>
                <a:lnTo>
                  <a:pt x="2160" y="1090"/>
                </a:lnTo>
                <a:lnTo>
                  <a:pt x="2168" y="1088"/>
                </a:lnTo>
                <a:lnTo>
                  <a:pt x="2168" y="1088"/>
                </a:lnTo>
                <a:lnTo>
                  <a:pt x="2160" y="1088"/>
                </a:lnTo>
                <a:lnTo>
                  <a:pt x="2160" y="1088"/>
                </a:lnTo>
                <a:lnTo>
                  <a:pt x="2168" y="1088"/>
                </a:lnTo>
                <a:lnTo>
                  <a:pt x="2168" y="1088"/>
                </a:lnTo>
                <a:lnTo>
                  <a:pt x="2160" y="1090"/>
                </a:lnTo>
                <a:lnTo>
                  <a:pt x="2160" y="1090"/>
                </a:lnTo>
                <a:close/>
                <a:moveTo>
                  <a:pt x="2188" y="1098"/>
                </a:moveTo>
                <a:lnTo>
                  <a:pt x="2188" y="1098"/>
                </a:lnTo>
                <a:lnTo>
                  <a:pt x="2192" y="1098"/>
                </a:lnTo>
                <a:lnTo>
                  <a:pt x="2194" y="1094"/>
                </a:lnTo>
                <a:lnTo>
                  <a:pt x="2194" y="1094"/>
                </a:lnTo>
                <a:lnTo>
                  <a:pt x="2194" y="1094"/>
                </a:lnTo>
                <a:lnTo>
                  <a:pt x="2194" y="1094"/>
                </a:lnTo>
                <a:lnTo>
                  <a:pt x="2192" y="1098"/>
                </a:lnTo>
                <a:lnTo>
                  <a:pt x="2188" y="1098"/>
                </a:lnTo>
                <a:lnTo>
                  <a:pt x="2188" y="1098"/>
                </a:lnTo>
                <a:close/>
                <a:moveTo>
                  <a:pt x="2322" y="1144"/>
                </a:moveTo>
                <a:lnTo>
                  <a:pt x="2322" y="1144"/>
                </a:lnTo>
                <a:lnTo>
                  <a:pt x="2322" y="1144"/>
                </a:lnTo>
                <a:lnTo>
                  <a:pt x="2322" y="1148"/>
                </a:lnTo>
                <a:lnTo>
                  <a:pt x="2322" y="1148"/>
                </a:lnTo>
                <a:lnTo>
                  <a:pt x="2312" y="1148"/>
                </a:lnTo>
                <a:lnTo>
                  <a:pt x="2312" y="1148"/>
                </a:lnTo>
                <a:lnTo>
                  <a:pt x="2312" y="1148"/>
                </a:lnTo>
                <a:lnTo>
                  <a:pt x="2312" y="1148"/>
                </a:lnTo>
                <a:lnTo>
                  <a:pt x="2322" y="1148"/>
                </a:lnTo>
                <a:lnTo>
                  <a:pt x="2322" y="1148"/>
                </a:lnTo>
                <a:lnTo>
                  <a:pt x="2322" y="1144"/>
                </a:lnTo>
                <a:lnTo>
                  <a:pt x="2322" y="1144"/>
                </a:lnTo>
                <a:close/>
                <a:moveTo>
                  <a:pt x="2312" y="1088"/>
                </a:moveTo>
                <a:lnTo>
                  <a:pt x="2312" y="1088"/>
                </a:lnTo>
                <a:lnTo>
                  <a:pt x="2318" y="1090"/>
                </a:lnTo>
                <a:lnTo>
                  <a:pt x="2322" y="1088"/>
                </a:lnTo>
                <a:lnTo>
                  <a:pt x="2322" y="1088"/>
                </a:lnTo>
                <a:lnTo>
                  <a:pt x="2320" y="1086"/>
                </a:lnTo>
                <a:lnTo>
                  <a:pt x="2320" y="1086"/>
                </a:lnTo>
                <a:lnTo>
                  <a:pt x="2320" y="1086"/>
                </a:lnTo>
                <a:lnTo>
                  <a:pt x="2320" y="1086"/>
                </a:lnTo>
                <a:lnTo>
                  <a:pt x="2322" y="1088"/>
                </a:lnTo>
                <a:lnTo>
                  <a:pt x="2322" y="1088"/>
                </a:lnTo>
                <a:lnTo>
                  <a:pt x="2318" y="1090"/>
                </a:lnTo>
                <a:lnTo>
                  <a:pt x="2312" y="1088"/>
                </a:lnTo>
                <a:lnTo>
                  <a:pt x="2312" y="1088"/>
                </a:lnTo>
                <a:lnTo>
                  <a:pt x="2312" y="1088"/>
                </a:lnTo>
                <a:lnTo>
                  <a:pt x="2312" y="1088"/>
                </a:lnTo>
                <a:close/>
                <a:moveTo>
                  <a:pt x="2310" y="1128"/>
                </a:moveTo>
                <a:lnTo>
                  <a:pt x="2310" y="1128"/>
                </a:lnTo>
                <a:lnTo>
                  <a:pt x="2316" y="1130"/>
                </a:lnTo>
                <a:lnTo>
                  <a:pt x="2316" y="1130"/>
                </a:lnTo>
                <a:lnTo>
                  <a:pt x="2314" y="1132"/>
                </a:lnTo>
                <a:lnTo>
                  <a:pt x="2314" y="1132"/>
                </a:lnTo>
                <a:lnTo>
                  <a:pt x="2314" y="1132"/>
                </a:lnTo>
                <a:lnTo>
                  <a:pt x="2314" y="1132"/>
                </a:lnTo>
                <a:lnTo>
                  <a:pt x="2314" y="1130"/>
                </a:lnTo>
                <a:lnTo>
                  <a:pt x="2314" y="1130"/>
                </a:lnTo>
                <a:lnTo>
                  <a:pt x="2310" y="1128"/>
                </a:lnTo>
                <a:lnTo>
                  <a:pt x="2310" y="1128"/>
                </a:lnTo>
                <a:lnTo>
                  <a:pt x="2310" y="1128"/>
                </a:lnTo>
                <a:lnTo>
                  <a:pt x="2310" y="1128"/>
                </a:lnTo>
                <a:close/>
                <a:moveTo>
                  <a:pt x="2300" y="1116"/>
                </a:moveTo>
                <a:lnTo>
                  <a:pt x="2300" y="1116"/>
                </a:lnTo>
                <a:lnTo>
                  <a:pt x="2308" y="1120"/>
                </a:lnTo>
                <a:lnTo>
                  <a:pt x="2308" y="1120"/>
                </a:lnTo>
                <a:lnTo>
                  <a:pt x="2308" y="1120"/>
                </a:lnTo>
                <a:lnTo>
                  <a:pt x="2304" y="1122"/>
                </a:lnTo>
                <a:lnTo>
                  <a:pt x="2304" y="1122"/>
                </a:lnTo>
                <a:lnTo>
                  <a:pt x="2304" y="1122"/>
                </a:lnTo>
                <a:lnTo>
                  <a:pt x="2304" y="1122"/>
                </a:lnTo>
                <a:lnTo>
                  <a:pt x="2308" y="1120"/>
                </a:lnTo>
                <a:lnTo>
                  <a:pt x="2308" y="1120"/>
                </a:lnTo>
                <a:lnTo>
                  <a:pt x="2300" y="1116"/>
                </a:lnTo>
                <a:lnTo>
                  <a:pt x="2300" y="1116"/>
                </a:lnTo>
                <a:lnTo>
                  <a:pt x="2300" y="1116"/>
                </a:lnTo>
                <a:lnTo>
                  <a:pt x="2300" y="1116"/>
                </a:lnTo>
                <a:close/>
                <a:moveTo>
                  <a:pt x="2292" y="1122"/>
                </a:moveTo>
                <a:lnTo>
                  <a:pt x="2292" y="1122"/>
                </a:lnTo>
                <a:lnTo>
                  <a:pt x="2294" y="1124"/>
                </a:lnTo>
                <a:lnTo>
                  <a:pt x="2294" y="1124"/>
                </a:lnTo>
                <a:lnTo>
                  <a:pt x="2292" y="1126"/>
                </a:lnTo>
                <a:lnTo>
                  <a:pt x="2292" y="1126"/>
                </a:lnTo>
                <a:lnTo>
                  <a:pt x="2292" y="1126"/>
                </a:lnTo>
                <a:lnTo>
                  <a:pt x="2292" y="1126"/>
                </a:lnTo>
                <a:lnTo>
                  <a:pt x="2294" y="1124"/>
                </a:lnTo>
                <a:lnTo>
                  <a:pt x="2294" y="1124"/>
                </a:lnTo>
                <a:lnTo>
                  <a:pt x="2292" y="1122"/>
                </a:lnTo>
                <a:lnTo>
                  <a:pt x="2292" y="1122"/>
                </a:lnTo>
                <a:lnTo>
                  <a:pt x="2292" y="1122"/>
                </a:lnTo>
                <a:lnTo>
                  <a:pt x="2292" y="1122"/>
                </a:lnTo>
                <a:close/>
                <a:moveTo>
                  <a:pt x="2284" y="1150"/>
                </a:moveTo>
                <a:lnTo>
                  <a:pt x="2284" y="1150"/>
                </a:lnTo>
                <a:lnTo>
                  <a:pt x="2290" y="1152"/>
                </a:lnTo>
                <a:lnTo>
                  <a:pt x="2290" y="1152"/>
                </a:lnTo>
                <a:lnTo>
                  <a:pt x="2284" y="1154"/>
                </a:lnTo>
                <a:lnTo>
                  <a:pt x="2278" y="1156"/>
                </a:lnTo>
                <a:lnTo>
                  <a:pt x="2278" y="1156"/>
                </a:lnTo>
                <a:lnTo>
                  <a:pt x="2284" y="1154"/>
                </a:lnTo>
                <a:lnTo>
                  <a:pt x="2290" y="1152"/>
                </a:lnTo>
                <a:lnTo>
                  <a:pt x="2290" y="1152"/>
                </a:lnTo>
                <a:lnTo>
                  <a:pt x="2284" y="1150"/>
                </a:lnTo>
                <a:lnTo>
                  <a:pt x="2284" y="1150"/>
                </a:lnTo>
                <a:close/>
                <a:moveTo>
                  <a:pt x="2280" y="1064"/>
                </a:moveTo>
                <a:lnTo>
                  <a:pt x="2280" y="1064"/>
                </a:lnTo>
                <a:lnTo>
                  <a:pt x="2284" y="1066"/>
                </a:lnTo>
                <a:lnTo>
                  <a:pt x="2284" y="1066"/>
                </a:lnTo>
                <a:lnTo>
                  <a:pt x="2282" y="1066"/>
                </a:lnTo>
                <a:lnTo>
                  <a:pt x="2282" y="1066"/>
                </a:lnTo>
                <a:lnTo>
                  <a:pt x="2282" y="1066"/>
                </a:lnTo>
                <a:lnTo>
                  <a:pt x="2282" y="1066"/>
                </a:lnTo>
                <a:lnTo>
                  <a:pt x="2284" y="1066"/>
                </a:lnTo>
                <a:lnTo>
                  <a:pt x="2284" y="1066"/>
                </a:lnTo>
                <a:lnTo>
                  <a:pt x="2280" y="1064"/>
                </a:lnTo>
                <a:lnTo>
                  <a:pt x="2280" y="1064"/>
                </a:lnTo>
                <a:lnTo>
                  <a:pt x="2280" y="1064"/>
                </a:lnTo>
                <a:lnTo>
                  <a:pt x="2280" y="1064"/>
                </a:lnTo>
                <a:close/>
                <a:moveTo>
                  <a:pt x="2270" y="1100"/>
                </a:moveTo>
                <a:lnTo>
                  <a:pt x="2270" y="1100"/>
                </a:lnTo>
                <a:lnTo>
                  <a:pt x="2280" y="1104"/>
                </a:lnTo>
                <a:lnTo>
                  <a:pt x="2280" y="1104"/>
                </a:lnTo>
                <a:lnTo>
                  <a:pt x="2286" y="1100"/>
                </a:lnTo>
                <a:lnTo>
                  <a:pt x="2286" y="1100"/>
                </a:lnTo>
                <a:lnTo>
                  <a:pt x="2286" y="1100"/>
                </a:lnTo>
                <a:lnTo>
                  <a:pt x="2280" y="1104"/>
                </a:lnTo>
                <a:lnTo>
                  <a:pt x="2280" y="1104"/>
                </a:lnTo>
                <a:lnTo>
                  <a:pt x="2270" y="1100"/>
                </a:lnTo>
                <a:lnTo>
                  <a:pt x="2270" y="1100"/>
                </a:lnTo>
                <a:close/>
                <a:moveTo>
                  <a:pt x="2278" y="1126"/>
                </a:moveTo>
                <a:lnTo>
                  <a:pt x="2278" y="1126"/>
                </a:lnTo>
                <a:lnTo>
                  <a:pt x="2278" y="1126"/>
                </a:lnTo>
                <a:lnTo>
                  <a:pt x="2278" y="1126"/>
                </a:lnTo>
                <a:lnTo>
                  <a:pt x="2282" y="1126"/>
                </a:lnTo>
                <a:lnTo>
                  <a:pt x="2282" y="1126"/>
                </a:lnTo>
                <a:lnTo>
                  <a:pt x="2280" y="1126"/>
                </a:lnTo>
                <a:lnTo>
                  <a:pt x="2280" y="1126"/>
                </a:lnTo>
                <a:lnTo>
                  <a:pt x="2280" y="1126"/>
                </a:lnTo>
                <a:lnTo>
                  <a:pt x="2280" y="1126"/>
                </a:lnTo>
                <a:lnTo>
                  <a:pt x="2282" y="1126"/>
                </a:lnTo>
                <a:lnTo>
                  <a:pt x="2282" y="1126"/>
                </a:lnTo>
                <a:lnTo>
                  <a:pt x="2278" y="1126"/>
                </a:lnTo>
                <a:lnTo>
                  <a:pt x="2278" y="1126"/>
                </a:lnTo>
                <a:close/>
                <a:moveTo>
                  <a:pt x="2278" y="1132"/>
                </a:moveTo>
                <a:lnTo>
                  <a:pt x="2278" y="1132"/>
                </a:lnTo>
                <a:lnTo>
                  <a:pt x="2278" y="1132"/>
                </a:lnTo>
                <a:lnTo>
                  <a:pt x="2266" y="1128"/>
                </a:lnTo>
                <a:lnTo>
                  <a:pt x="2266" y="1128"/>
                </a:lnTo>
                <a:lnTo>
                  <a:pt x="2266" y="1128"/>
                </a:lnTo>
                <a:lnTo>
                  <a:pt x="2266" y="1128"/>
                </a:lnTo>
                <a:lnTo>
                  <a:pt x="2278" y="1132"/>
                </a:lnTo>
                <a:lnTo>
                  <a:pt x="2278" y="1132"/>
                </a:lnTo>
                <a:close/>
                <a:moveTo>
                  <a:pt x="2262" y="1060"/>
                </a:moveTo>
                <a:lnTo>
                  <a:pt x="2262" y="1060"/>
                </a:lnTo>
                <a:lnTo>
                  <a:pt x="2270" y="1064"/>
                </a:lnTo>
                <a:lnTo>
                  <a:pt x="2270" y="1064"/>
                </a:lnTo>
                <a:lnTo>
                  <a:pt x="2266" y="1066"/>
                </a:lnTo>
                <a:lnTo>
                  <a:pt x="2266" y="1066"/>
                </a:lnTo>
                <a:lnTo>
                  <a:pt x="2264" y="1066"/>
                </a:lnTo>
                <a:lnTo>
                  <a:pt x="2264" y="1066"/>
                </a:lnTo>
                <a:lnTo>
                  <a:pt x="2266" y="1066"/>
                </a:lnTo>
                <a:lnTo>
                  <a:pt x="2266" y="1066"/>
                </a:lnTo>
                <a:lnTo>
                  <a:pt x="2270" y="1064"/>
                </a:lnTo>
                <a:lnTo>
                  <a:pt x="2270" y="1064"/>
                </a:lnTo>
                <a:lnTo>
                  <a:pt x="2262" y="1060"/>
                </a:lnTo>
                <a:lnTo>
                  <a:pt x="2262" y="1060"/>
                </a:lnTo>
                <a:lnTo>
                  <a:pt x="2262" y="1060"/>
                </a:lnTo>
                <a:lnTo>
                  <a:pt x="2262" y="1060"/>
                </a:lnTo>
                <a:close/>
                <a:moveTo>
                  <a:pt x="2276" y="1120"/>
                </a:moveTo>
                <a:lnTo>
                  <a:pt x="2276" y="1120"/>
                </a:lnTo>
                <a:lnTo>
                  <a:pt x="2276" y="1120"/>
                </a:lnTo>
                <a:lnTo>
                  <a:pt x="2276" y="1120"/>
                </a:lnTo>
                <a:lnTo>
                  <a:pt x="2260" y="1124"/>
                </a:lnTo>
                <a:lnTo>
                  <a:pt x="2260" y="1124"/>
                </a:lnTo>
                <a:lnTo>
                  <a:pt x="2260" y="1124"/>
                </a:lnTo>
                <a:lnTo>
                  <a:pt x="2260" y="1124"/>
                </a:lnTo>
                <a:lnTo>
                  <a:pt x="2260" y="1124"/>
                </a:lnTo>
                <a:lnTo>
                  <a:pt x="2276" y="1120"/>
                </a:lnTo>
                <a:lnTo>
                  <a:pt x="2276" y="1120"/>
                </a:lnTo>
                <a:close/>
                <a:moveTo>
                  <a:pt x="2254" y="1110"/>
                </a:moveTo>
                <a:lnTo>
                  <a:pt x="2254" y="1110"/>
                </a:lnTo>
                <a:lnTo>
                  <a:pt x="2254" y="1106"/>
                </a:lnTo>
                <a:lnTo>
                  <a:pt x="2254" y="1106"/>
                </a:lnTo>
                <a:lnTo>
                  <a:pt x="2254" y="1106"/>
                </a:lnTo>
                <a:lnTo>
                  <a:pt x="2254" y="1106"/>
                </a:lnTo>
                <a:lnTo>
                  <a:pt x="2254" y="1106"/>
                </a:lnTo>
                <a:lnTo>
                  <a:pt x="2254" y="1106"/>
                </a:lnTo>
                <a:lnTo>
                  <a:pt x="2254" y="1110"/>
                </a:lnTo>
                <a:lnTo>
                  <a:pt x="2254" y="1110"/>
                </a:lnTo>
                <a:lnTo>
                  <a:pt x="2250" y="1108"/>
                </a:lnTo>
                <a:lnTo>
                  <a:pt x="2250" y="1108"/>
                </a:lnTo>
                <a:lnTo>
                  <a:pt x="2250" y="1108"/>
                </a:lnTo>
                <a:lnTo>
                  <a:pt x="2250" y="1108"/>
                </a:lnTo>
                <a:lnTo>
                  <a:pt x="2254" y="1110"/>
                </a:lnTo>
                <a:lnTo>
                  <a:pt x="2254" y="1110"/>
                </a:lnTo>
                <a:close/>
                <a:moveTo>
                  <a:pt x="2242" y="1118"/>
                </a:moveTo>
                <a:lnTo>
                  <a:pt x="2242" y="1118"/>
                </a:lnTo>
                <a:lnTo>
                  <a:pt x="2234" y="1120"/>
                </a:lnTo>
                <a:lnTo>
                  <a:pt x="2234" y="1120"/>
                </a:lnTo>
                <a:lnTo>
                  <a:pt x="2218" y="1110"/>
                </a:lnTo>
                <a:lnTo>
                  <a:pt x="2218" y="1110"/>
                </a:lnTo>
                <a:lnTo>
                  <a:pt x="2222" y="1108"/>
                </a:lnTo>
                <a:lnTo>
                  <a:pt x="2224" y="1106"/>
                </a:lnTo>
                <a:lnTo>
                  <a:pt x="2224" y="1106"/>
                </a:lnTo>
                <a:lnTo>
                  <a:pt x="2228" y="1108"/>
                </a:lnTo>
                <a:lnTo>
                  <a:pt x="2234" y="1110"/>
                </a:lnTo>
                <a:lnTo>
                  <a:pt x="2234" y="1110"/>
                </a:lnTo>
                <a:lnTo>
                  <a:pt x="2240" y="1110"/>
                </a:lnTo>
                <a:lnTo>
                  <a:pt x="2240" y="1110"/>
                </a:lnTo>
                <a:lnTo>
                  <a:pt x="2246" y="1112"/>
                </a:lnTo>
                <a:lnTo>
                  <a:pt x="2246" y="1112"/>
                </a:lnTo>
                <a:lnTo>
                  <a:pt x="2242" y="1118"/>
                </a:lnTo>
                <a:lnTo>
                  <a:pt x="2242" y="1118"/>
                </a:lnTo>
                <a:close/>
                <a:moveTo>
                  <a:pt x="2248" y="1118"/>
                </a:moveTo>
                <a:lnTo>
                  <a:pt x="2248" y="1118"/>
                </a:lnTo>
                <a:lnTo>
                  <a:pt x="2260" y="1124"/>
                </a:lnTo>
                <a:lnTo>
                  <a:pt x="2260" y="1124"/>
                </a:lnTo>
                <a:lnTo>
                  <a:pt x="2260" y="1124"/>
                </a:lnTo>
                <a:lnTo>
                  <a:pt x="2260" y="1124"/>
                </a:lnTo>
                <a:lnTo>
                  <a:pt x="2248" y="1118"/>
                </a:lnTo>
                <a:lnTo>
                  <a:pt x="2248" y="1118"/>
                </a:lnTo>
                <a:lnTo>
                  <a:pt x="2248" y="1118"/>
                </a:lnTo>
                <a:lnTo>
                  <a:pt x="2248" y="1118"/>
                </a:lnTo>
                <a:close/>
                <a:moveTo>
                  <a:pt x="2274" y="1154"/>
                </a:moveTo>
                <a:lnTo>
                  <a:pt x="2274" y="1154"/>
                </a:lnTo>
                <a:lnTo>
                  <a:pt x="2274" y="1154"/>
                </a:lnTo>
                <a:lnTo>
                  <a:pt x="2274" y="1154"/>
                </a:lnTo>
                <a:lnTo>
                  <a:pt x="2276" y="1150"/>
                </a:lnTo>
                <a:lnTo>
                  <a:pt x="2270" y="1150"/>
                </a:lnTo>
                <a:lnTo>
                  <a:pt x="2270" y="1150"/>
                </a:lnTo>
                <a:lnTo>
                  <a:pt x="2270" y="1150"/>
                </a:lnTo>
                <a:lnTo>
                  <a:pt x="2270" y="1150"/>
                </a:lnTo>
                <a:lnTo>
                  <a:pt x="2276" y="1150"/>
                </a:lnTo>
                <a:lnTo>
                  <a:pt x="2274" y="1154"/>
                </a:lnTo>
                <a:lnTo>
                  <a:pt x="2274" y="1154"/>
                </a:lnTo>
                <a:close/>
                <a:moveTo>
                  <a:pt x="2256" y="1142"/>
                </a:moveTo>
                <a:lnTo>
                  <a:pt x="2256" y="1142"/>
                </a:lnTo>
                <a:lnTo>
                  <a:pt x="2248" y="1136"/>
                </a:lnTo>
                <a:lnTo>
                  <a:pt x="2248" y="1136"/>
                </a:lnTo>
                <a:lnTo>
                  <a:pt x="2258" y="1134"/>
                </a:lnTo>
                <a:lnTo>
                  <a:pt x="2266" y="1136"/>
                </a:lnTo>
                <a:lnTo>
                  <a:pt x="2274" y="1136"/>
                </a:lnTo>
                <a:lnTo>
                  <a:pt x="2282" y="1136"/>
                </a:lnTo>
                <a:lnTo>
                  <a:pt x="2282" y="1136"/>
                </a:lnTo>
                <a:lnTo>
                  <a:pt x="2280" y="1142"/>
                </a:lnTo>
                <a:lnTo>
                  <a:pt x="2280" y="1142"/>
                </a:lnTo>
                <a:lnTo>
                  <a:pt x="2256" y="1142"/>
                </a:lnTo>
                <a:lnTo>
                  <a:pt x="2256" y="1142"/>
                </a:lnTo>
                <a:close/>
                <a:moveTo>
                  <a:pt x="2330" y="1178"/>
                </a:moveTo>
                <a:lnTo>
                  <a:pt x="2330" y="1178"/>
                </a:lnTo>
                <a:lnTo>
                  <a:pt x="2320" y="1178"/>
                </a:lnTo>
                <a:lnTo>
                  <a:pt x="2316" y="1178"/>
                </a:lnTo>
                <a:lnTo>
                  <a:pt x="2312" y="1180"/>
                </a:lnTo>
                <a:lnTo>
                  <a:pt x="2312" y="1180"/>
                </a:lnTo>
                <a:lnTo>
                  <a:pt x="2300" y="1176"/>
                </a:lnTo>
                <a:lnTo>
                  <a:pt x="2296" y="1172"/>
                </a:lnTo>
                <a:lnTo>
                  <a:pt x="2294" y="1170"/>
                </a:lnTo>
                <a:lnTo>
                  <a:pt x="2294" y="1166"/>
                </a:lnTo>
                <a:lnTo>
                  <a:pt x="2294" y="1166"/>
                </a:lnTo>
                <a:lnTo>
                  <a:pt x="2278" y="1166"/>
                </a:lnTo>
                <a:lnTo>
                  <a:pt x="2278" y="1166"/>
                </a:lnTo>
                <a:lnTo>
                  <a:pt x="2282" y="1160"/>
                </a:lnTo>
                <a:lnTo>
                  <a:pt x="2284" y="1158"/>
                </a:lnTo>
                <a:lnTo>
                  <a:pt x="2288" y="1158"/>
                </a:lnTo>
                <a:lnTo>
                  <a:pt x="2288" y="1158"/>
                </a:lnTo>
                <a:lnTo>
                  <a:pt x="2298" y="1158"/>
                </a:lnTo>
                <a:lnTo>
                  <a:pt x="2306" y="1162"/>
                </a:lnTo>
                <a:lnTo>
                  <a:pt x="2306" y="1162"/>
                </a:lnTo>
                <a:lnTo>
                  <a:pt x="2324" y="1172"/>
                </a:lnTo>
                <a:lnTo>
                  <a:pt x="2324" y="1172"/>
                </a:lnTo>
                <a:lnTo>
                  <a:pt x="2332" y="1176"/>
                </a:lnTo>
                <a:lnTo>
                  <a:pt x="2332" y="1176"/>
                </a:lnTo>
                <a:lnTo>
                  <a:pt x="2330" y="1178"/>
                </a:lnTo>
                <a:lnTo>
                  <a:pt x="2330" y="1178"/>
                </a:lnTo>
                <a:close/>
                <a:moveTo>
                  <a:pt x="2380" y="54"/>
                </a:moveTo>
                <a:lnTo>
                  <a:pt x="2380" y="54"/>
                </a:lnTo>
                <a:lnTo>
                  <a:pt x="2384" y="52"/>
                </a:lnTo>
                <a:lnTo>
                  <a:pt x="2384" y="50"/>
                </a:lnTo>
                <a:lnTo>
                  <a:pt x="2384" y="50"/>
                </a:lnTo>
                <a:lnTo>
                  <a:pt x="2384" y="50"/>
                </a:lnTo>
                <a:lnTo>
                  <a:pt x="2384" y="50"/>
                </a:lnTo>
                <a:lnTo>
                  <a:pt x="2384" y="52"/>
                </a:lnTo>
                <a:lnTo>
                  <a:pt x="2380" y="54"/>
                </a:lnTo>
                <a:lnTo>
                  <a:pt x="2380" y="54"/>
                </a:lnTo>
                <a:lnTo>
                  <a:pt x="2380" y="54"/>
                </a:lnTo>
                <a:lnTo>
                  <a:pt x="2380" y="54"/>
                </a:lnTo>
                <a:lnTo>
                  <a:pt x="2380" y="54"/>
                </a:lnTo>
                <a:lnTo>
                  <a:pt x="2380" y="54"/>
                </a:lnTo>
                <a:close/>
                <a:moveTo>
                  <a:pt x="2382" y="1130"/>
                </a:moveTo>
                <a:lnTo>
                  <a:pt x="2382" y="1130"/>
                </a:lnTo>
                <a:lnTo>
                  <a:pt x="2382" y="1130"/>
                </a:lnTo>
                <a:lnTo>
                  <a:pt x="2382" y="1130"/>
                </a:lnTo>
                <a:lnTo>
                  <a:pt x="2378" y="1132"/>
                </a:lnTo>
                <a:lnTo>
                  <a:pt x="2374" y="1130"/>
                </a:lnTo>
                <a:lnTo>
                  <a:pt x="2374" y="1130"/>
                </a:lnTo>
                <a:lnTo>
                  <a:pt x="2378" y="1132"/>
                </a:lnTo>
                <a:lnTo>
                  <a:pt x="2382" y="1130"/>
                </a:lnTo>
                <a:lnTo>
                  <a:pt x="2382" y="1130"/>
                </a:lnTo>
                <a:close/>
                <a:moveTo>
                  <a:pt x="2358" y="1148"/>
                </a:moveTo>
                <a:lnTo>
                  <a:pt x="2358" y="1148"/>
                </a:lnTo>
                <a:lnTo>
                  <a:pt x="2360" y="1150"/>
                </a:lnTo>
                <a:lnTo>
                  <a:pt x="2360" y="1150"/>
                </a:lnTo>
                <a:lnTo>
                  <a:pt x="2354" y="1150"/>
                </a:lnTo>
                <a:lnTo>
                  <a:pt x="2348" y="1150"/>
                </a:lnTo>
                <a:lnTo>
                  <a:pt x="2348" y="1150"/>
                </a:lnTo>
                <a:lnTo>
                  <a:pt x="2354" y="1150"/>
                </a:lnTo>
                <a:lnTo>
                  <a:pt x="2360" y="1150"/>
                </a:lnTo>
                <a:lnTo>
                  <a:pt x="2360" y="1150"/>
                </a:lnTo>
                <a:lnTo>
                  <a:pt x="2358" y="1148"/>
                </a:lnTo>
                <a:lnTo>
                  <a:pt x="2358" y="1148"/>
                </a:lnTo>
                <a:close/>
                <a:moveTo>
                  <a:pt x="2340" y="354"/>
                </a:moveTo>
                <a:lnTo>
                  <a:pt x="2340" y="354"/>
                </a:lnTo>
                <a:lnTo>
                  <a:pt x="2340" y="354"/>
                </a:lnTo>
                <a:lnTo>
                  <a:pt x="2340" y="354"/>
                </a:lnTo>
                <a:lnTo>
                  <a:pt x="2346" y="356"/>
                </a:lnTo>
                <a:lnTo>
                  <a:pt x="2348" y="354"/>
                </a:lnTo>
                <a:lnTo>
                  <a:pt x="2350" y="352"/>
                </a:lnTo>
                <a:lnTo>
                  <a:pt x="2350" y="352"/>
                </a:lnTo>
                <a:lnTo>
                  <a:pt x="2350" y="352"/>
                </a:lnTo>
                <a:lnTo>
                  <a:pt x="2350" y="352"/>
                </a:lnTo>
                <a:lnTo>
                  <a:pt x="2348" y="354"/>
                </a:lnTo>
                <a:lnTo>
                  <a:pt x="2346" y="356"/>
                </a:lnTo>
                <a:lnTo>
                  <a:pt x="2340" y="354"/>
                </a:lnTo>
                <a:lnTo>
                  <a:pt x="2340" y="354"/>
                </a:lnTo>
                <a:close/>
                <a:moveTo>
                  <a:pt x="2350" y="1170"/>
                </a:moveTo>
                <a:lnTo>
                  <a:pt x="2350" y="1170"/>
                </a:lnTo>
                <a:lnTo>
                  <a:pt x="2342" y="1158"/>
                </a:lnTo>
                <a:lnTo>
                  <a:pt x="2342" y="1158"/>
                </a:lnTo>
                <a:lnTo>
                  <a:pt x="2354" y="1158"/>
                </a:lnTo>
                <a:lnTo>
                  <a:pt x="2366" y="1158"/>
                </a:lnTo>
                <a:lnTo>
                  <a:pt x="2390" y="1160"/>
                </a:lnTo>
                <a:lnTo>
                  <a:pt x="2390" y="1160"/>
                </a:lnTo>
                <a:lnTo>
                  <a:pt x="2382" y="1164"/>
                </a:lnTo>
                <a:lnTo>
                  <a:pt x="2372" y="1166"/>
                </a:lnTo>
                <a:lnTo>
                  <a:pt x="2362" y="1168"/>
                </a:lnTo>
                <a:lnTo>
                  <a:pt x="2350" y="1170"/>
                </a:lnTo>
                <a:lnTo>
                  <a:pt x="2350" y="1170"/>
                </a:lnTo>
                <a:close/>
                <a:moveTo>
                  <a:pt x="2394" y="1104"/>
                </a:moveTo>
                <a:lnTo>
                  <a:pt x="2394" y="1104"/>
                </a:lnTo>
                <a:lnTo>
                  <a:pt x="2394" y="1104"/>
                </a:lnTo>
                <a:lnTo>
                  <a:pt x="2394" y="1104"/>
                </a:lnTo>
                <a:lnTo>
                  <a:pt x="2394" y="1104"/>
                </a:lnTo>
                <a:lnTo>
                  <a:pt x="2394" y="1104"/>
                </a:lnTo>
                <a:lnTo>
                  <a:pt x="2396" y="1104"/>
                </a:lnTo>
                <a:lnTo>
                  <a:pt x="2396" y="1104"/>
                </a:lnTo>
                <a:lnTo>
                  <a:pt x="2394" y="1102"/>
                </a:lnTo>
                <a:lnTo>
                  <a:pt x="2394" y="1102"/>
                </a:lnTo>
                <a:lnTo>
                  <a:pt x="2394" y="1102"/>
                </a:lnTo>
                <a:lnTo>
                  <a:pt x="2394" y="1102"/>
                </a:lnTo>
                <a:lnTo>
                  <a:pt x="2396" y="1104"/>
                </a:lnTo>
                <a:lnTo>
                  <a:pt x="2396" y="1104"/>
                </a:lnTo>
                <a:lnTo>
                  <a:pt x="2394" y="1104"/>
                </a:lnTo>
                <a:lnTo>
                  <a:pt x="2394" y="1104"/>
                </a:lnTo>
                <a:close/>
                <a:moveTo>
                  <a:pt x="2406" y="356"/>
                </a:moveTo>
                <a:lnTo>
                  <a:pt x="2406" y="356"/>
                </a:lnTo>
                <a:lnTo>
                  <a:pt x="2406" y="356"/>
                </a:lnTo>
                <a:lnTo>
                  <a:pt x="2406" y="356"/>
                </a:lnTo>
                <a:lnTo>
                  <a:pt x="2416" y="356"/>
                </a:lnTo>
                <a:lnTo>
                  <a:pt x="2416" y="356"/>
                </a:lnTo>
                <a:lnTo>
                  <a:pt x="2412" y="354"/>
                </a:lnTo>
                <a:lnTo>
                  <a:pt x="2412" y="354"/>
                </a:lnTo>
                <a:lnTo>
                  <a:pt x="2416" y="356"/>
                </a:lnTo>
                <a:lnTo>
                  <a:pt x="2416" y="356"/>
                </a:lnTo>
                <a:lnTo>
                  <a:pt x="2406" y="356"/>
                </a:lnTo>
                <a:lnTo>
                  <a:pt x="2406" y="356"/>
                </a:lnTo>
                <a:close/>
                <a:moveTo>
                  <a:pt x="2410" y="1154"/>
                </a:moveTo>
                <a:lnTo>
                  <a:pt x="2410" y="1154"/>
                </a:lnTo>
                <a:lnTo>
                  <a:pt x="2436" y="1160"/>
                </a:lnTo>
                <a:lnTo>
                  <a:pt x="2436" y="1160"/>
                </a:lnTo>
                <a:lnTo>
                  <a:pt x="2440" y="1162"/>
                </a:lnTo>
                <a:lnTo>
                  <a:pt x="2440" y="1164"/>
                </a:lnTo>
                <a:lnTo>
                  <a:pt x="2440" y="1168"/>
                </a:lnTo>
                <a:lnTo>
                  <a:pt x="2438" y="1170"/>
                </a:lnTo>
                <a:lnTo>
                  <a:pt x="2438" y="1170"/>
                </a:lnTo>
                <a:lnTo>
                  <a:pt x="2438" y="1170"/>
                </a:lnTo>
                <a:lnTo>
                  <a:pt x="2434" y="1164"/>
                </a:lnTo>
                <a:lnTo>
                  <a:pt x="2432" y="1162"/>
                </a:lnTo>
                <a:lnTo>
                  <a:pt x="2426" y="1162"/>
                </a:lnTo>
                <a:lnTo>
                  <a:pt x="2418" y="1162"/>
                </a:lnTo>
                <a:lnTo>
                  <a:pt x="2418" y="1162"/>
                </a:lnTo>
                <a:lnTo>
                  <a:pt x="2408" y="1164"/>
                </a:lnTo>
                <a:lnTo>
                  <a:pt x="2408" y="1164"/>
                </a:lnTo>
                <a:lnTo>
                  <a:pt x="2410" y="1154"/>
                </a:lnTo>
                <a:lnTo>
                  <a:pt x="2410" y="1154"/>
                </a:lnTo>
                <a:close/>
                <a:moveTo>
                  <a:pt x="2446" y="1178"/>
                </a:moveTo>
                <a:lnTo>
                  <a:pt x="2446" y="1178"/>
                </a:lnTo>
                <a:lnTo>
                  <a:pt x="2420" y="1172"/>
                </a:lnTo>
                <a:lnTo>
                  <a:pt x="2416" y="1174"/>
                </a:lnTo>
                <a:lnTo>
                  <a:pt x="2410" y="1176"/>
                </a:lnTo>
                <a:lnTo>
                  <a:pt x="2410" y="1176"/>
                </a:lnTo>
                <a:lnTo>
                  <a:pt x="2410" y="1176"/>
                </a:lnTo>
                <a:lnTo>
                  <a:pt x="2410" y="1176"/>
                </a:lnTo>
                <a:lnTo>
                  <a:pt x="2416" y="1172"/>
                </a:lnTo>
                <a:lnTo>
                  <a:pt x="2420" y="1172"/>
                </a:lnTo>
                <a:lnTo>
                  <a:pt x="2446" y="1178"/>
                </a:lnTo>
                <a:lnTo>
                  <a:pt x="2446" y="1178"/>
                </a:lnTo>
                <a:lnTo>
                  <a:pt x="2446" y="1178"/>
                </a:lnTo>
                <a:lnTo>
                  <a:pt x="2446" y="1178"/>
                </a:lnTo>
                <a:close/>
                <a:moveTo>
                  <a:pt x="2436" y="1156"/>
                </a:moveTo>
                <a:lnTo>
                  <a:pt x="2436" y="1156"/>
                </a:lnTo>
                <a:lnTo>
                  <a:pt x="2436" y="1156"/>
                </a:lnTo>
                <a:lnTo>
                  <a:pt x="2436" y="1156"/>
                </a:lnTo>
                <a:lnTo>
                  <a:pt x="2444" y="1156"/>
                </a:lnTo>
                <a:lnTo>
                  <a:pt x="2450" y="1152"/>
                </a:lnTo>
                <a:lnTo>
                  <a:pt x="2450" y="1152"/>
                </a:lnTo>
                <a:lnTo>
                  <a:pt x="2450" y="1152"/>
                </a:lnTo>
                <a:lnTo>
                  <a:pt x="2450" y="1152"/>
                </a:lnTo>
                <a:lnTo>
                  <a:pt x="2444" y="1156"/>
                </a:lnTo>
                <a:lnTo>
                  <a:pt x="2436" y="1156"/>
                </a:lnTo>
                <a:lnTo>
                  <a:pt x="2436" y="1156"/>
                </a:lnTo>
                <a:close/>
                <a:moveTo>
                  <a:pt x="2448" y="1172"/>
                </a:moveTo>
                <a:lnTo>
                  <a:pt x="2448" y="1172"/>
                </a:lnTo>
                <a:lnTo>
                  <a:pt x="2448" y="1172"/>
                </a:lnTo>
                <a:lnTo>
                  <a:pt x="2448" y="1172"/>
                </a:lnTo>
                <a:lnTo>
                  <a:pt x="2460" y="1174"/>
                </a:lnTo>
                <a:lnTo>
                  <a:pt x="2468" y="1170"/>
                </a:lnTo>
                <a:lnTo>
                  <a:pt x="2468" y="1170"/>
                </a:lnTo>
                <a:lnTo>
                  <a:pt x="2468" y="1170"/>
                </a:lnTo>
                <a:lnTo>
                  <a:pt x="2468" y="1170"/>
                </a:lnTo>
                <a:lnTo>
                  <a:pt x="2460" y="1174"/>
                </a:lnTo>
                <a:lnTo>
                  <a:pt x="2448" y="1172"/>
                </a:lnTo>
                <a:lnTo>
                  <a:pt x="2448" y="1172"/>
                </a:lnTo>
                <a:close/>
                <a:moveTo>
                  <a:pt x="2464" y="1140"/>
                </a:moveTo>
                <a:lnTo>
                  <a:pt x="2464" y="1140"/>
                </a:lnTo>
                <a:lnTo>
                  <a:pt x="2468" y="1138"/>
                </a:lnTo>
                <a:lnTo>
                  <a:pt x="2470" y="1132"/>
                </a:lnTo>
                <a:lnTo>
                  <a:pt x="2470" y="1132"/>
                </a:lnTo>
                <a:lnTo>
                  <a:pt x="2470" y="1132"/>
                </a:lnTo>
                <a:lnTo>
                  <a:pt x="2470" y="1132"/>
                </a:lnTo>
                <a:lnTo>
                  <a:pt x="2468" y="1138"/>
                </a:lnTo>
                <a:lnTo>
                  <a:pt x="2464" y="1140"/>
                </a:lnTo>
                <a:lnTo>
                  <a:pt x="2464" y="1140"/>
                </a:lnTo>
                <a:close/>
                <a:moveTo>
                  <a:pt x="2478" y="390"/>
                </a:moveTo>
                <a:lnTo>
                  <a:pt x="2478" y="390"/>
                </a:lnTo>
                <a:lnTo>
                  <a:pt x="2478" y="390"/>
                </a:lnTo>
                <a:lnTo>
                  <a:pt x="2478" y="390"/>
                </a:lnTo>
                <a:lnTo>
                  <a:pt x="2482" y="392"/>
                </a:lnTo>
                <a:lnTo>
                  <a:pt x="2482" y="392"/>
                </a:lnTo>
                <a:lnTo>
                  <a:pt x="2478" y="396"/>
                </a:lnTo>
                <a:lnTo>
                  <a:pt x="2478" y="396"/>
                </a:lnTo>
                <a:lnTo>
                  <a:pt x="2478" y="396"/>
                </a:lnTo>
                <a:lnTo>
                  <a:pt x="2478" y="396"/>
                </a:lnTo>
                <a:lnTo>
                  <a:pt x="2482" y="392"/>
                </a:lnTo>
                <a:lnTo>
                  <a:pt x="2482" y="392"/>
                </a:lnTo>
                <a:lnTo>
                  <a:pt x="2478" y="390"/>
                </a:lnTo>
                <a:lnTo>
                  <a:pt x="2478" y="390"/>
                </a:lnTo>
                <a:close/>
                <a:moveTo>
                  <a:pt x="2474" y="1148"/>
                </a:moveTo>
                <a:lnTo>
                  <a:pt x="2474" y="1148"/>
                </a:lnTo>
                <a:lnTo>
                  <a:pt x="2488" y="1148"/>
                </a:lnTo>
                <a:lnTo>
                  <a:pt x="2488" y="1148"/>
                </a:lnTo>
                <a:lnTo>
                  <a:pt x="2488" y="1148"/>
                </a:lnTo>
                <a:lnTo>
                  <a:pt x="2488" y="1148"/>
                </a:lnTo>
                <a:lnTo>
                  <a:pt x="2474" y="1148"/>
                </a:lnTo>
                <a:lnTo>
                  <a:pt x="2474" y="1148"/>
                </a:lnTo>
                <a:lnTo>
                  <a:pt x="2474" y="1148"/>
                </a:lnTo>
                <a:lnTo>
                  <a:pt x="2474" y="1148"/>
                </a:lnTo>
                <a:close/>
                <a:moveTo>
                  <a:pt x="2490" y="1186"/>
                </a:moveTo>
                <a:lnTo>
                  <a:pt x="2490" y="1186"/>
                </a:lnTo>
                <a:lnTo>
                  <a:pt x="2492" y="1184"/>
                </a:lnTo>
                <a:lnTo>
                  <a:pt x="2490" y="1180"/>
                </a:lnTo>
                <a:lnTo>
                  <a:pt x="2476" y="1180"/>
                </a:lnTo>
                <a:lnTo>
                  <a:pt x="2476" y="1180"/>
                </a:lnTo>
                <a:lnTo>
                  <a:pt x="2476" y="1180"/>
                </a:lnTo>
                <a:lnTo>
                  <a:pt x="2490" y="1180"/>
                </a:lnTo>
                <a:lnTo>
                  <a:pt x="2490" y="1180"/>
                </a:lnTo>
                <a:lnTo>
                  <a:pt x="2492" y="1184"/>
                </a:lnTo>
                <a:lnTo>
                  <a:pt x="2490" y="1186"/>
                </a:lnTo>
                <a:lnTo>
                  <a:pt x="2490" y="1186"/>
                </a:lnTo>
                <a:close/>
                <a:moveTo>
                  <a:pt x="2504" y="1254"/>
                </a:moveTo>
                <a:lnTo>
                  <a:pt x="2504" y="1254"/>
                </a:lnTo>
                <a:lnTo>
                  <a:pt x="2502" y="1254"/>
                </a:lnTo>
                <a:lnTo>
                  <a:pt x="2502" y="1254"/>
                </a:lnTo>
                <a:lnTo>
                  <a:pt x="2506" y="1250"/>
                </a:lnTo>
                <a:lnTo>
                  <a:pt x="2506" y="1250"/>
                </a:lnTo>
                <a:lnTo>
                  <a:pt x="2504" y="1250"/>
                </a:lnTo>
                <a:lnTo>
                  <a:pt x="2504" y="1250"/>
                </a:lnTo>
                <a:lnTo>
                  <a:pt x="2504" y="1250"/>
                </a:lnTo>
                <a:lnTo>
                  <a:pt x="2504" y="1250"/>
                </a:lnTo>
                <a:lnTo>
                  <a:pt x="2506" y="1250"/>
                </a:lnTo>
                <a:lnTo>
                  <a:pt x="2506" y="1250"/>
                </a:lnTo>
                <a:lnTo>
                  <a:pt x="2504" y="1254"/>
                </a:lnTo>
                <a:lnTo>
                  <a:pt x="2504" y="1254"/>
                </a:lnTo>
                <a:close/>
                <a:moveTo>
                  <a:pt x="2558" y="1280"/>
                </a:moveTo>
                <a:lnTo>
                  <a:pt x="2558" y="1280"/>
                </a:lnTo>
                <a:lnTo>
                  <a:pt x="2558" y="1280"/>
                </a:lnTo>
                <a:lnTo>
                  <a:pt x="2558" y="1280"/>
                </a:lnTo>
                <a:lnTo>
                  <a:pt x="2550" y="1280"/>
                </a:lnTo>
                <a:lnTo>
                  <a:pt x="2550" y="1280"/>
                </a:lnTo>
                <a:lnTo>
                  <a:pt x="2550" y="1280"/>
                </a:lnTo>
                <a:lnTo>
                  <a:pt x="2550" y="1280"/>
                </a:lnTo>
                <a:lnTo>
                  <a:pt x="2558" y="1280"/>
                </a:lnTo>
                <a:lnTo>
                  <a:pt x="2558" y="1280"/>
                </a:lnTo>
                <a:close/>
                <a:moveTo>
                  <a:pt x="2576" y="1250"/>
                </a:moveTo>
                <a:lnTo>
                  <a:pt x="2576" y="1250"/>
                </a:lnTo>
                <a:lnTo>
                  <a:pt x="2576" y="1250"/>
                </a:lnTo>
                <a:lnTo>
                  <a:pt x="2576" y="1250"/>
                </a:lnTo>
                <a:lnTo>
                  <a:pt x="2580" y="1244"/>
                </a:lnTo>
                <a:lnTo>
                  <a:pt x="2580" y="1244"/>
                </a:lnTo>
                <a:lnTo>
                  <a:pt x="2574" y="1246"/>
                </a:lnTo>
                <a:lnTo>
                  <a:pt x="2574" y="1246"/>
                </a:lnTo>
                <a:lnTo>
                  <a:pt x="2580" y="1244"/>
                </a:lnTo>
                <a:lnTo>
                  <a:pt x="2580" y="1244"/>
                </a:lnTo>
                <a:lnTo>
                  <a:pt x="2576" y="1250"/>
                </a:lnTo>
                <a:lnTo>
                  <a:pt x="2576" y="1250"/>
                </a:lnTo>
                <a:close/>
                <a:moveTo>
                  <a:pt x="2678" y="188"/>
                </a:moveTo>
                <a:lnTo>
                  <a:pt x="2678" y="188"/>
                </a:lnTo>
                <a:lnTo>
                  <a:pt x="2678" y="188"/>
                </a:lnTo>
                <a:lnTo>
                  <a:pt x="2678" y="188"/>
                </a:lnTo>
                <a:lnTo>
                  <a:pt x="2680" y="190"/>
                </a:lnTo>
                <a:lnTo>
                  <a:pt x="2680" y="190"/>
                </a:lnTo>
                <a:lnTo>
                  <a:pt x="2674" y="190"/>
                </a:lnTo>
                <a:lnTo>
                  <a:pt x="2674" y="190"/>
                </a:lnTo>
                <a:lnTo>
                  <a:pt x="2674" y="190"/>
                </a:lnTo>
                <a:lnTo>
                  <a:pt x="2674" y="190"/>
                </a:lnTo>
                <a:lnTo>
                  <a:pt x="2678" y="190"/>
                </a:lnTo>
                <a:lnTo>
                  <a:pt x="2678" y="190"/>
                </a:lnTo>
                <a:lnTo>
                  <a:pt x="2678" y="188"/>
                </a:lnTo>
                <a:lnTo>
                  <a:pt x="2678" y="188"/>
                </a:lnTo>
                <a:close/>
                <a:moveTo>
                  <a:pt x="2676" y="1216"/>
                </a:moveTo>
                <a:lnTo>
                  <a:pt x="2676" y="1216"/>
                </a:lnTo>
                <a:lnTo>
                  <a:pt x="2676" y="1216"/>
                </a:lnTo>
                <a:lnTo>
                  <a:pt x="2676" y="1216"/>
                </a:lnTo>
                <a:lnTo>
                  <a:pt x="2676" y="1216"/>
                </a:lnTo>
                <a:lnTo>
                  <a:pt x="2670" y="1224"/>
                </a:lnTo>
                <a:lnTo>
                  <a:pt x="2670" y="1224"/>
                </a:lnTo>
                <a:lnTo>
                  <a:pt x="2670" y="1222"/>
                </a:lnTo>
                <a:lnTo>
                  <a:pt x="2670" y="1222"/>
                </a:lnTo>
                <a:lnTo>
                  <a:pt x="2676" y="1216"/>
                </a:lnTo>
                <a:lnTo>
                  <a:pt x="2676" y="1216"/>
                </a:lnTo>
                <a:close/>
                <a:moveTo>
                  <a:pt x="2654" y="120"/>
                </a:moveTo>
                <a:lnTo>
                  <a:pt x="2654" y="120"/>
                </a:lnTo>
                <a:lnTo>
                  <a:pt x="2656" y="120"/>
                </a:lnTo>
                <a:lnTo>
                  <a:pt x="2656" y="120"/>
                </a:lnTo>
                <a:lnTo>
                  <a:pt x="2656" y="122"/>
                </a:lnTo>
                <a:lnTo>
                  <a:pt x="2656" y="122"/>
                </a:lnTo>
                <a:lnTo>
                  <a:pt x="2652" y="122"/>
                </a:lnTo>
                <a:lnTo>
                  <a:pt x="2652" y="122"/>
                </a:lnTo>
                <a:lnTo>
                  <a:pt x="2650" y="122"/>
                </a:lnTo>
                <a:lnTo>
                  <a:pt x="2650" y="122"/>
                </a:lnTo>
                <a:lnTo>
                  <a:pt x="2656" y="122"/>
                </a:lnTo>
                <a:lnTo>
                  <a:pt x="2656" y="122"/>
                </a:lnTo>
                <a:lnTo>
                  <a:pt x="2654" y="120"/>
                </a:lnTo>
                <a:lnTo>
                  <a:pt x="2654" y="120"/>
                </a:lnTo>
                <a:close/>
                <a:moveTo>
                  <a:pt x="2634" y="1222"/>
                </a:moveTo>
                <a:lnTo>
                  <a:pt x="2634" y="1222"/>
                </a:lnTo>
                <a:lnTo>
                  <a:pt x="2628" y="1228"/>
                </a:lnTo>
                <a:lnTo>
                  <a:pt x="2628" y="1228"/>
                </a:lnTo>
                <a:lnTo>
                  <a:pt x="2628" y="1228"/>
                </a:lnTo>
                <a:lnTo>
                  <a:pt x="2628" y="1228"/>
                </a:lnTo>
                <a:lnTo>
                  <a:pt x="2632" y="1224"/>
                </a:lnTo>
                <a:lnTo>
                  <a:pt x="2632" y="1224"/>
                </a:lnTo>
                <a:lnTo>
                  <a:pt x="2634" y="1222"/>
                </a:lnTo>
                <a:lnTo>
                  <a:pt x="2634" y="1222"/>
                </a:lnTo>
                <a:close/>
                <a:moveTo>
                  <a:pt x="2596" y="1174"/>
                </a:moveTo>
                <a:lnTo>
                  <a:pt x="2596" y="1174"/>
                </a:lnTo>
                <a:lnTo>
                  <a:pt x="2596" y="1172"/>
                </a:lnTo>
                <a:lnTo>
                  <a:pt x="2596" y="1172"/>
                </a:lnTo>
                <a:lnTo>
                  <a:pt x="2596" y="1174"/>
                </a:lnTo>
                <a:lnTo>
                  <a:pt x="2596" y="1174"/>
                </a:lnTo>
                <a:lnTo>
                  <a:pt x="2596" y="1174"/>
                </a:lnTo>
                <a:lnTo>
                  <a:pt x="2596" y="1174"/>
                </a:lnTo>
                <a:lnTo>
                  <a:pt x="2586" y="1176"/>
                </a:lnTo>
                <a:lnTo>
                  <a:pt x="2586" y="1176"/>
                </a:lnTo>
                <a:lnTo>
                  <a:pt x="2586" y="1176"/>
                </a:lnTo>
                <a:lnTo>
                  <a:pt x="2586" y="1176"/>
                </a:lnTo>
                <a:lnTo>
                  <a:pt x="2596" y="1174"/>
                </a:lnTo>
                <a:lnTo>
                  <a:pt x="2596" y="1174"/>
                </a:lnTo>
                <a:close/>
                <a:moveTo>
                  <a:pt x="2582" y="1166"/>
                </a:moveTo>
                <a:lnTo>
                  <a:pt x="2582" y="1166"/>
                </a:lnTo>
                <a:lnTo>
                  <a:pt x="2580" y="1168"/>
                </a:lnTo>
                <a:lnTo>
                  <a:pt x="2574" y="1170"/>
                </a:lnTo>
                <a:lnTo>
                  <a:pt x="2574" y="1170"/>
                </a:lnTo>
                <a:lnTo>
                  <a:pt x="2580" y="1168"/>
                </a:lnTo>
                <a:lnTo>
                  <a:pt x="2582" y="1166"/>
                </a:lnTo>
                <a:lnTo>
                  <a:pt x="2582" y="1166"/>
                </a:lnTo>
                <a:lnTo>
                  <a:pt x="2572" y="1164"/>
                </a:lnTo>
                <a:lnTo>
                  <a:pt x="2572" y="1164"/>
                </a:lnTo>
                <a:lnTo>
                  <a:pt x="2582" y="1166"/>
                </a:lnTo>
                <a:lnTo>
                  <a:pt x="2582" y="1166"/>
                </a:lnTo>
                <a:close/>
                <a:moveTo>
                  <a:pt x="2572" y="1180"/>
                </a:moveTo>
                <a:lnTo>
                  <a:pt x="2572" y="1180"/>
                </a:lnTo>
                <a:lnTo>
                  <a:pt x="2572" y="1180"/>
                </a:lnTo>
                <a:lnTo>
                  <a:pt x="2572" y="1180"/>
                </a:lnTo>
                <a:lnTo>
                  <a:pt x="2576" y="1182"/>
                </a:lnTo>
                <a:lnTo>
                  <a:pt x="2576" y="1182"/>
                </a:lnTo>
                <a:lnTo>
                  <a:pt x="2572" y="1182"/>
                </a:lnTo>
                <a:lnTo>
                  <a:pt x="2572" y="1182"/>
                </a:lnTo>
                <a:lnTo>
                  <a:pt x="2572" y="1182"/>
                </a:lnTo>
                <a:lnTo>
                  <a:pt x="2572" y="1182"/>
                </a:lnTo>
                <a:lnTo>
                  <a:pt x="2576" y="1182"/>
                </a:lnTo>
                <a:lnTo>
                  <a:pt x="2576" y="1182"/>
                </a:lnTo>
                <a:lnTo>
                  <a:pt x="2576" y="1182"/>
                </a:lnTo>
                <a:lnTo>
                  <a:pt x="2572" y="1180"/>
                </a:lnTo>
                <a:lnTo>
                  <a:pt x="2572" y="1180"/>
                </a:lnTo>
                <a:close/>
                <a:moveTo>
                  <a:pt x="2564" y="1172"/>
                </a:moveTo>
                <a:lnTo>
                  <a:pt x="2564" y="1172"/>
                </a:lnTo>
                <a:lnTo>
                  <a:pt x="2570" y="1170"/>
                </a:lnTo>
                <a:lnTo>
                  <a:pt x="2570" y="1170"/>
                </a:lnTo>
                <a:lnTo>
                  <a:pt x="2564" y="1172"/>
                </a:lnTo>
                <a:lnTo>
                  <a:pt x="2564" y="1172"/>
                </a:lnTo>
                <a:lnTo>
                  <a:pt x="2564" y="1172"/>
                </a:lnTo>
                <a:lnTo>
                  <a:pt x="2564" y="1172"/>
                </a:lnTo>
                <a:close/>
                <a:moveTo>
                  <a:pt x="2558" y="1170"/>
                </a:moveTo>
                <a:lnTo>
                  <a:pt x="2558" y="1170"/>
                </a:lnTo>
                <a:lnTo>
                  <a:pt x="2558" y="1170"/>
                </a:lnTo>
                <a:lnTo>
                  <a:pt x="2556" y="1166"/>
                </a:lnTo>
                <a:lnTo>
                  <a:pt x="2552" y="1166"/>
                </a:lnTo>
                <a:lnTo>
                  <a:pt x="2552" y="1166"/>
                </a:lnTo>
                <a:lnTo>
                  <a:pt x="2556" y="1166"/>
                </a:lnTo>
                <a:lnTo>
                  <a:pt x="2558" y="1170"/>
                </a:lnTo>
                <a:lnTo>
                  <a:pt x="2558" y="1170"/>
                </a:lnTo>
                <a:close/>
                <a:moveTo>
                  <a:pt x="2542" y="1104"/>
                </a:moveTo>
                <a:lnTo>
                  <a:pt x="2542" y="1104"/>
                </a:lnTo>
                <a:lnTo>
                  <a:pt x="2546" y="1104"/>
                </a:lnTo>
                <a:lnTo>
                  <a:pt x="2546" y="1104"/>
                </a:lnTo>
                <a:lnTo>
                  <a:pt x="2546" y="1106"/>
                </a:lnTo>
                <a:lnTo>
                  <a:pt x="2546" y="1106"/>
                </a:lnTo>
                <a:lnTo>
                  <a:pt x="2546" y="1106"/>
                </a:lnTo>
                <a:lnTo>
                  <a:pt x="2546" y="1106"/>
                </a:lnTo>
                <a:lnTo>
                  <a:pt x="2546" y="1104"/>
                </a:lnTo>
                <a:lnTo>
                  <a:pt x="2546" y="1104"/>
                </a:lnTo>
                <a:lnTo>
                  <a:pt x="2542" y="1104"/>
                </a:lnTo>
                <a:lnTo>
                  <a:pt x="2542" y="1104"/>
                </a:lnTo>
                <a:lnTo>
                  <a:pt x="2542" y="1104"/>
                </a:lnTo>
                <a:lnTo>
                  <a:pt x="2542" y="1104"/>
                </a:lnTo>
                <a:close/>
                <a:moveTo>
                  <a:pt x="2516" y="1148"/>
                </a:moveTo>
                <a:lnTo>
                  <a:pt x="2516" y="1148"/>
                </a:lnTo>
                <a:lnTo>
                  <a:pt x="2522" y="1148"/>
                </a:lnTo>
                <a:lnTo>
                  <a:pt x="2522" y="1148"/>
                </a:lnTo>
                <a:lnTo>
                  <a:pt x="2516" y="1150"/>
                </a:lnTo>
                <a:lnTo>
                  <a:pt x="2516" y="1150"/>
                </a:lnTo>
                <a:lnTo>
                  <a:pt x="2516" y="1150"/>
                </a:lnTo>
                <a:lnTo>
                  <a:pt x="2516" y="1150"/>
                </a:lnTo>
                <a:lnTo>
                  <a:pt x="2520" y="1148"/>
                </a:lnTo>
                <a:lnTo>
                  <a:pt x="2520" y="1148"/>
                </a:lnTo>
                <a:lnTo>
                  <a:pt x="2516" y="1148"/>
                </a:lnTo>
                <a:lnTo>
                  <a:pt x="2516" y="1148"/>
                </a:lnTo>
                <a:lnTo>
                  <a:pt x="2516" y="1148"/>
                </a:lnTo>
                <a:lnTo>
                  <a:pt x="2516" y="1148"/>
                </a:lnTo>
                <a:close/>
                <a:moveTo>
                  <a:pt x="2548" y="1206"/>
                </a:moveTo>
                <a:lnTo>
                  <a:pt x="2548" y="1206"/>
                </a:lnTo>
                <a:lnTo>
                  <a:pt x="2538" y="1198"/>
                </a:lnTo>
                <a:lnTo>
                  <a:pt x="2538" y="1198"/>
                </a:lnTo>
                <a:lnTo>
                  <a:pt x="2536" y="1196"/>
                </a:lnTo>
                <a:lnTo>
                  <a:pt x="2534" y="1196"/>
                </a:lnTo>
                <a:lnTo>
                  <a:pt x="2532" y="1196"/>
                </a:lnTo>
                <a:lnTo>
                  <a:pt x="2530" y="1194"/>
                </a:lnTo>
                <a:lnTo>
                  <a:pt x="2530" y="1194"/>
                </a:lnTo>
                <a:lnTo>
                  <a:pt x="2526" y="1190"/>
                </a:lnTo>
                <a:lnTo>
                  <a:pt x="2528" y="1188"/>
                </a:lnTo>
                <a:lnTo>
                  <a:pt x="2530" y="1186"/>
                </a:lnTo>
                <a:lnTo>
                  <a:pt x="2530" y="1186"/>
                </a:lnTo>
                <a:lnTo>
                  <a:pt x="2524" y="1186"/>
                </a:lnTo>
                <a:lnTo>
                  <a:pt x="2522" y="1190"/>
                </a:lnTo>
                <a:lnTo>
                  <a:pt x="2520" y="1192"/>
                </a:lnTo>
                <a:lnTo>
                  <a:pt x="2518" y="1194"/>
                </a:lnTo>
                <a:lnTo>
                  <a:pt x="2518" y="1194"/>
                </a:lnTo>
                <a:lnTo>
                  <a:pt x="2516" y="1194"/>
                </a:lnTo>
                <a:lnTo>
                  <a:pt x="2514" y="1192"/>
                </a:lnTo>
                <a:lnTo>
                  <a:pt x="2512" y="1188"/>
                </a:lnTo>
                <a:lnTo>
                  <a:pt x="2512" y="1188"/>
                </a:lnTo>
                <a:lnTo>
                  <a:pt x="2512" y="1182"/>
                </a:lnTo>
                <a:lnTo>
                  <a:pt x="2516" y="1178"/>
                </a:lnTo>
                <a:lnTo>
                  <a:pt x="2522" y="1176"/>
                </a:lnTo>
                <a:lnTo>
                  <a:pt x="2530" y="1176"/>
                </a:lnTo>
                <a:lnTo>
                  <a:pt x="2530" y="1176"/>
                </a:lnTo>
                <a:lnTo>
                  <a:pt x="2556" y="1180"/>
                </a:lnTo>
                <a:lnTo>
                  <a:pt x="2556" y="1180"/>
                </a:lnTo>
                <a:lnTo>
                  <a:pt x="2556" y="1184"/>
                </a:lnTo>
                <a:lnTo>
                  <a:pt x="2552" y="1186"/>
                </a:lnTo>
                <a:lnTo>
                  <a:pt x="2542" y="1188"/>
                </a:lnTo>
                <a:lnTo>
                  <a:pt x="2542" y="1188"/>
                </a:lnTo>
                <a:lnTo>
                  <a:pt x="2548" y="1190"/>
                </a:lnTo>
                <a:lnTo>
                  <a:pt x="2554" y="1190"/>
                </a:lnTo>
                <a:lnTo>
                  <a:pt x="2554" y="1190"/>
                </a:lnTo>
                <a:lnTo>
                  <a:pt x="2574" y="1186"/>
                </a:lnTo>
                <a:lnTo>
                  <a:pt x="2574" y="1186"/>
                </a:lnTo>
                <a:lnTo>
                  <a:pt x="2590" y="1184"/>
                </a:lnTo>
                <a:lnTo>
                  <a:pt x="2590" y="1184"/>
                </a:lnTo>
                <a:lnTo>
                  <a:pt x="2594" y="1186"/>
                </a:lnTo>
                <a:lnTo>
                  <a:pt x="2596" y="1188"/>
                </a:lnTo>
                <a:lnTo>
                  <a:pt x="2596" y="1188"/>
                </a:lnTo>
                <a:lnTo>
                  <a:pt x="2586" y="1190"/>
                </a:lnTo>
                <a:lnTo>
                  <a:pt x="2586" y="1190"/>
                </a:lnTo>
                <a:lnTo>
                  <a:pt x="2588" y="1192"/>
                </a:lnTo>
                <a:lnTo>
                  <a:pt x="2588" y="1194"/>
                </a:lnTo>
                <a:lnTo>
                  <a:pt x="2594" y="1196"/>
                </a:lnTo>
                <a:lnTo>
                  <a:pt x="2598" y="1196"/>
                </a:lnTo>
                <a:lnTo>
                  <a:pt x="2602" y="1198"/>
                </a:lnTo>
                <a:lnTo>
                  <a:pt x="2602" y="1198"/>
                </a:lnTo>
                <a:lnTo>
                  <a:pt x="2586" y="1202"/>
                </a:lnTo>
                <a:lnTo>
                  <a:pt x="2578" y="1206"/>
                </a:lnTo>
                <a:lnTo>
                  <a:pt x="2572" y="1210"/>
                </a:lnTo>
                <a:lnTo>
                  <a:pt x="2572" y="1210"/>
                </a:lnTo>
                <a:lnTo>
                  <a:pt x="2548" y="1204"/>
                </a:lnTo>
                <a:lnTo>
                  <a:pt x="2548" y="1206"/>
                </a:lnTo>
                <a:close/>
                <a:moveTo>
                  <a:pt x="2602" y="1222"/>
                </a:moveTo>
                <a:lnTo>
                  <a:pt x="2602" y="1222"/>
                </a:lnTo>
                <a:lnTo>
                  <a:pt x="2600" y="1228"/>
                </a:lnTo>
                <a:lnTo>
                  <a:pt x="2600" y="1228"/>
                </a:lnTo>
                <a:lnTo>
                  <a:pt x="2588" y="1226"/>
                </a:lnTo>
                <a:lnTo>
                  <a:pt x="2588" y="1226"/>
                </a:lnTo>
                <a:lnTo>
                  <a:pt x="2580" y="1226"/>
                </a:lnTo>
                <a:lnTo>
                  <a:pt x="2580" y="1226"/>
                </a:lnTo>
                <a:lnTo>
                  <a:pt x="2572" y="1226"/>
                </a:lnTo>
                <a:lnTo>
                  <a:pt x="2564" y="1226"/>
                </a:lnTo>
                <a:lnTo>
                  <a:pt x="2556" y="1224"/>
                </a:lnTo>
                <a:lnTo>
                  <a:pt x="2548" y="1220"/>
                </a:lnTo>
                <a:lnTo>
                  <a:pt x="2548" y="1220"/>
                </a:lnTo>
                <a:lnTo>
                  <a:pt x="2552" y="1216"/>
                </a:lnTo>
                <a:lnTo>
                  <a:pt x="2558" y="1214"/>
                </a:lnTo>
                <a:lnTo>
                  <a:pt x="2568" y="1216"/>
                </a:lnTo>
                <a:lnTo>
                  <a:pt x="2568" y="1216"/>
                </a:lnTo>
                <a:lnTo>
                  <a:pt x="2568" y="1220"/>
                </a:lnTo>
                <a:lnTo>
                  <a:pt x="2568" y="1220"/>
                </a:lnTo>
                <a:lnTo>
                  <a:pt x="2578" y="1224"/>
                </a:lnTo>
                <a:lnTo>
                  <a:pt x="2578" y="1224"/>
                </a:lnTo>
                <a:lnTo>
                  <a:pt x="2578" y="1220"/>
                </a:lnTo>
                <a:lnTo>
                  <a:pt x="2578" y="1220"/>
                </a:lnTo>
                <a:lnTo>
                  <a:pt x="2574" y="1218"/>
                </a:lnTo>
                <a:lnTo>
                  <a:pt x="2574" y="1218"/>
                </a:lnTo>
                <a:lnTo>
                  <a:pt x="2586" y="1214"/>
                </a:lnTo>
                <a:lnTo>
                  <a:pt x="2586" y="1214"/>
                </a:lnTo>
                <a:lnTo>
                  <a:pt x="2586" y="1212"/>
                </a:lnTo>
                <a:lnTo>
                  <a:pt x="2586" y="1212"/>
                </a:lnTo>
                <a:lnTo>
                  <a:pt x="2590" y="1208"/>
                </a:lnTo>
                <a:lnTo>
                  <a:pt x="2596" y="1206"/>
                </a:lnTo>
                <a:lnTo>
                  <a:pt x="2610" y="1208"/>
                </a:lnTo>
                <a:lnTo>
                  <a:pt x="2610" y="1208"/>
                </a:lnTo>
                <a:lnTo>
                  <a:pt x="2624" y="1208"/>
                </a:lnTo>
                <a:lnTo>
                  <a:pt x="2624" y="1208"/>
                </a:lnTo>
                <a:lnTo>
                  <a:pt x="2630" y="1210"/>
                </a:lnTo>
                <a:lnTo>
                  <a:pt x="2630" y="1210"/>
                </a:lnTo>
                <a:lnTo>
                  <a:pt x="2628" y="1214"/>
                </a:lnTo>
                <a:lnTo>
                  <a:pt x="2624" y="1214"/>
                </a:lnTo>
                <a:lnTo>
                  <a:pt x="2614" y="1214"/>
                </a:lnTo>
                <a:lnTo>
                  <a:pt x="2614" y="1214"/>
                </a:lnTo>
                <a:lnTo>
                  <a:pt x="2622" y="1218"/>
                </a:lnTo>
                <a:lnTo>
                  <a:pt x="2622" y="1218"/>
                </a:lnTo>
                <a:lnTo>
                  <a:pt x="2618" y="1220"/>
                </a:lnTo>
                <a:lnTo>
                  <a:pt x="2612" y="1222"/>
                </a:lnTo>
                <a:lnTo>
                  <a:pt x="2602" y="1222"/>
                </a:lnTo>
                <a:lnTo>
                  <a:pt x="2602" y="1222"/>
                </a:lnTo>
                <a:close/>
                <a:moveTo>
                  <a:pt x="2640" y="1260"/>
                </a:moveTo>
                <a:lnTo>
                  <a:pt x="2640" y="1260"/>
                </a:lnTo>
                <a:lnTo>
                  <a:pt x="2640" y="1260"/>
                </a:lnTo>
                <a:lnTo>
                  <a:pt x="2640" y="1260"/>
                </a:lnTo>
                <a:lnTo>
                  <a:pt x="2642" y="1260"/>
                </a:lnTo>
                <a:lnTo>
                  <a:pt x="2642" y="1260"/>
                </a:lnTo>
                <a:lnTo>
                  <a:pt x="2640" y="1256"/>
                </a:lnTo>
                <a:lnTo>
                  <a:pt x="2640" y="1256"/>
                </a:lnTo>
                <a:lnTo>
                  <a:pt x="2636" y="1256"/>
                </a:lnTo>
                <a:lnTo>
                  <a:pt x="2636" y="1256"/>
                </a:lnTo>
                <a:lnTo>
                  <a:pt x="2636" y="1256"/>
                </a:lnTo>
                <a:lnTo>
                  <a:pt x="2636" y="1256"/>
                </a:lnTo>
                <a:lnTo>
                  <a:pt x="2640" y="1256"/>
                </a:lnTo>
                <a:lnTo>
                  <a:pt x="2640" y="1256"/>
                </a:lnTo>
                <a:lnTo>
                  <a:pt x="2642" y="1260"/>
                </a:lnTo>
                <a:lnTo>
                  <a:pt x="2642" y="1260"/>
                </a:lnTo>
                <a:lnTo>
                  <a:pt x="2640" y="1260"/>
                </a:lnTo>
                <a:lnTo>
                  <a:pt x="2640" y="1260"/>
                </a:lnTo>
                <a:close/>
                <a:moveTo>
                  <a:pt x="2678" y="1252"/>
                </a:moveTo>
                <a:lnTo>
                  <a:pt x="2678" y="1252"/>
                </a:lnTo>
                <a:lnTo>
                  <a:pt x="2656" y="1252"/>
                </a:lnTo>
                <a:lnTo>
                  <a:pt x="2644" y="1250"/>
                </a:lnTo>
                <a:lnTo>
                  <a:pt x="2634" y="1248"/>
                </a:lnTo>
                <a:lnTo>
                  <a:pt x="2634" y="1248"/>
                </a:lnTo>
                <a:lnTo>
                  <a:pt x="2626" y="1244"/>
                </a:lnTo>
                <a:lnTo>
                  <a:pt x="2626" y="1244"/>
                </a:lnTo>
                <a:lnTo>
                  <a:pt x="2622" y="1242"/>
                </a:lnTo>
                <a:lnTo>
                  <a:pt x="2620" y="1240"/>
                </a:lnTo>
                <a:lnTo>
                  <a:pt x="2620" y="1240"/>
                </a:lnTo>
                <a:lnTo>
                  <a:pt x="2622" y="1238"/>
                </a:lnTo>
                <a:lnTo>
                  <a:pt x="2624" y="1236"/>
                </a:lnTo>
                <a:lnTo>
                  <a:pt x="2624" y="1236"/>
                </a:lnTo>
                <a:lnTo>
                  <a:pt x="2628" y="1234"/>
                </a:lnTo>
                <a:lnTo>
                  <a:pt x="2632" y="1236"/>
                </a:lnTo>
                <a:lnTo>
                  <a:pt x="2632" y="1236"/>
                </a:lnTo>
                <a:lnTo>
                  <a:pt x="2662" y="1248"/>
                </a:lnTo>
                <a:lnTo>
                  <a:pt x="2662" y="1248"/>
                </a:lnTo>
                <a:lnTo>
                  <a:pt x="2670" y="1250"/>
                </a:lnTo>
                <a:lnTo>
                  <a:pt x="2674" y="1250"/>
                </a:lnTo>
                <a:lnTo>
                  <a:pt x="2678" y="1248"/>
                </a:lnTo>
                <a:lnTo>
                  <a:pt x="2678" y="1248"/>
                </a:lnTo>
                <a:lnTo>
                  <a:pt x="2682" y="1248"/>
                </a:lnTo>
                <a:lnTo>
                  <a:pt x="2682" y="1248"/>
                </a:lnTo>
                <a:lnTo>
                  <a:pt x="2682" y="1250"/>
                </a:lnTo>
                <a:lnTo>
                  <a:pt x="2682" y="1250"/>
                </a:lnTo>
                <a:lnTo>
                  <a:pt x="2678" y="1252"/>
                </a:lnTo>
                <a:lnTo>
                  <a:pt x="2678" y="1252"/>
                </a:lnTo>
                <a:close/>
                <a:moveTo>
                  <a:pt x="2682" y="176"/>
                </a:moveTo>
                <a:lnTo>
                  <a:pt x="2682" y="176"/>
                </a:lnTo>
                <a:lnTo>
                  <a:pt x="2688" y="174"/>
                </a:lnTo>
                <a:lnTo>
                  <a:pt x="2688" y="174"/>
                </a:lnTo>
                <a:lnTo>
                  <a:pt x="2688" y="172"/>
                </a:lnTo>
                <a:lnTo>
                  <a:pt x="2688" y="172"/>
                </a:lnTo>
                <a:lnTo>
                  <a:pt x="2690" y="172"/>
                </a:lnTo>
                <a:lnTo>
                  <a:pt x="2690" y="172"/>
                </a:lnTo>
                <a:lnTo>
                  <a:pt x="2688" y="174"/>
                </a:lnTo>
                <a:lnTo>
                  <a:pt x="2688" y="174"/>
                </a:lnTo>
                <a:lnTo>
                  <a:pt x="2682" y="176"/>
                </a:lnTo>
                <a:lnTo>
                  <a:pt x="2682" y="176"/>
                </a:lnTo>
                <a:close/>
                <a:moveTo>
                  <a:pt x="2736" y="1238"/>
                </a:moveTo>
                <a:lnTo>
                  <a:pt x="2736" y="1238"/>
                </a:lnTo>
                <a:lnTo>
                  <a:pt x="2736" y="1238"/>
                </a:lnTo>
                <a:lnTo>
                  <a:pt x="2736" y="1238"/>
                </a:lnTo>
                <a:lnTo>
                  <a:pt x="2740" y="1236"/>
                </a:lnTo>
                <a:lnTo>
                  <a:pt x="2740" y="1236"/>
                </a:lnTo>
                <a:lnTo>
                  <a:pt x="2740" y="1236"/>
                </a:lnTo>
                <a:lnTo>
                  <a:pt x="2740" y="1236"/>
                </a:lnTo>
                <a:lnTo>
                  <a:pt x="2736" y="1238"/>
                </a:lnTo>
                <a:lnTo>
                  <a:pt x="2736" y="1238"/>
                </a:lnTo>
                <a:close/>
                <a:moveTo>
                  <a:pt x="2756" y="1236"/>
                </a:moveTo>
                <a:lnTo>
                  <a:pt x="2756" y="1236"/>
                </a:lnTo>
                <a:lnTo>
                  <a:pt x="2748" y="1232"/>
                </a:lnTo>
                <a:lnTo>
                  <a:pt x="2740" y="1230"/>
                </a:lnTo>
                <a:lnTo>
                  <a:pt x="2740" y="1230"/>
                </a:lnTo>
                <a:lnTo>
                  <a:pt x="2738" y="1230"/>
                </a:lnTo>
                <a:lnTo>
                  <a:pt x="2738" y="1230"/>
                </a:lnTo>
                <a:lnTo>
                  <a:pt x="2748" y="1232"/>
                </a:lnTo>
                <a:lnTo>
                  <a:pt x="2756" y="1236"/>
                </a:lnTo>
                <a:lnTo>
                  <a:pt x="2756" y="1236"/>
                </a:lnTo>
                <a:lnTo>
                  <a:pt x="2756" y="1236"/>
                </a:lnTo>
                <a:lnTo>
                  <a:pt x="2756" y="1236"/>
                </a:lnTo>
                <a:close/>
                <a:moveTo>
                  <a:pt x="2766" y="226"/>
                </a:moveTo>
                <a:lnTo>
                  <a:pt x="2766" y="226"/>
                </a:lnTo>
                <a:lnTo>
                  <a:pt x="2762" y="224"/>
                </a:lnTo>
                <a:lnTo>
                  <a:pt x="2762" y="224"/>
                </a:lnTo>
                <a:lnTo>
                  <a:pt x="2764" y="224"/>
                </a:lnTo>
                <a:lnTo>
                  <a:pt x="2766" y="226"/>
                </a:lnTo>
                <a:lnTo>
                  <a:pt x="2766" y="226"/>
                </a:lnTo>
                <a:lnTo>
                  <a:pt x="2766" y="226"/>
                </a:lnTo>
                <a:lnTo>
                  <a:pt x="2766" y="226"/>
                </a:lnTo>
                <a:close/>
                <a:moveTo>
                  <a:pt x="2778" y="1180"/>
                </a:moveTo>
                <a:lnTo>
                  <a:pt x="2778" y="1180"/>
                </a:lnTo>
                <a:lnTo>
                  <a:pt x="2784" y="1182"/>
                </a:lnTo>
                <a:lnTo>
                  <a:pt x="2784" y="1182"/>
                </a:lnTo>
                <a:lnTo>
                  <a:pt x="2784" y="1182"/>
                </a:lnTo>
                <a:lnTo>
                  <a:pt x="2784" y="1182"/>
                </a:lnTo>
                <a:lnTo>
                  <a:pt x="2784" y="1182"/>
                </a:lnTo>
                <a:lnTo>
                  <a:pt x="2784" y="1182"/>
                </a:lnTo>
                <a:lnTo>
                  <a:pt x="2784" y="1182"/>
                </a:lnTo>
                <a:lnTo>
                  <a:pt x="2778" y="1180"/>
                </a:lnTo>
                <a:lnTo>
                  <a:pt x="2778" y="1180"/>
                </a:lnTo>
                <a:lnTo>
                  <a:pt x="2778" y="1180"/>
                </a:lnTo>
                <a:lnTo>
                  <a:pt x="2778" y="1180"/>
                </a:lnTo>
                <a:close/>
                <a:moveTo>
                  <a:pt x="2776" y="1208"/>
                </a:moveTo>
                <a:lnTo>
                  <a:pt x="2776" y="1208"/>
                </a:lnTo>
                <a:lnTo>
                  <a:pt x="2776" y="1208"/>
                </a:lnTo>
                <a:lnTo>
                  <a:pt x="2776" y="1208"/>
                </a:lnTo>
                <a:lnTo>
                  <a:pt x="2784" y="1198"/>
                </a:lnTo>
                <a:lnTo>
                  <a:pt x="2786" y="1196"/>
                </a:lnTo>
                <a:lnTo>
                  <a:pt x="2784" y="1194"/>
                </a:lnTo>
                <a:lnTo>
                  <a:pt x="2784" y="1194"/>
                </a:lnTo>
                <a:lnTo>
                  <a:pt x="2784" y="1194"/>
                </a:lnTo>
                <a:lnTo>
                  <a:pt x="2784" y="1194"/>
                </a:lnTo>
                <a:lnTo>
                  <a:pt x="2786" y="1196"/>
                </a:lnTo>
                <a:lnTo>
                  <a:pt x="2784" y="1198"/>
                </a:lnTo>
                <a:lnTo>
                  <a:pt x="2776" y="1208"/>
                </a:lnTo>
                <a:lnTo>
                  <a:pt x="2776" y="1208"/>
                </a:lnTo>
                <a:close/>
                <a:moveTo>
                  <a:pt x="2802" y="1182"/>
                </a:moveTo>
                <a:lnTo>
                  <a:pt x="2802" y="1182"/>
                </a:lnTo>
                <a:lnTo>
                  <a:pt x="2802" y="1182"/>
                </a:lnTo>
                <a:lnTo>
                  <a:pt x="2802" y="1182"/>
                </a:lnTo>
                <a:lnTo>
                  <a:pt x="2806" y="1180"/>
                </a:lnTo>
                <a:lnTo>
                  <a:pt x="2806" y="1180"/>
                </a:lnTo>
                <a:lnTo>
                  <a:pt x="2802" y="1178"/>
                </a:lnTo>
                <a:lnTo>
                  <a:pt x="2802" y="1178"/>
                </a:lnTo>
                <a:lnTo>
                  <a:pt x="2802" y="1178"/>
                </a:lnTo>
                <a:lnTo>
                  <a:pt x="2802" y="1178"/>
                </a:lnTo>
                <a:lnTo>
                  <a:pt x="2806" y="1180"/>
                </a:lnTo>
                <a:lnTo>
                  <a:pt x="2806" y="1180"/>
                </a:lnTo>
                <a:lnTo>
                  <a:pt x="2802" y="1182"/>
                </a:lnTo>
                <a:lnTo>
                  <a:pt x="2802" y="1182"/>
                </a:lnTo>
                <a:close/>
                <a:moveTo>
                  <a:pt x="2816" y="714"/>
                </a:moveTo>
                <a:lnTo>
                  <a:pt x="2816" y="714"/>
                </a:lnTo>
                <a:lnTo>
                  <a:pt x="2816" y="714"/>
                </a:lnTo>
                <a:lnTo>
                  <a:pt x="2816" y="714"/>
                </a:lnTo>
                <a:lnTo>
                  <a:pt x="2816" y="712"/>
                </a:lnTo>
                <a:lnTo>
                  <a:pt x="2816" y="712"/>
                </a:lnTo>
                <a:lnTo>
                  <a:pt x="2812" y="712"/>
                </a:lnTo>
                <a:lnTo>
                  <a:pt x="2812" y="712"/>
                </a:lnTo>
                <a:lnTo>
                  <a:pt x="2812" y="712"/>
                </a:lnTo>
                <a:lnTo>
                  <a:pt x="2812" y="712"/>
                </a:lnTo>
                <a:lnTo>
                  <a:pt x="2812" y="712"/>
                </a:lnTo>
                <a:lnTo>
                  <a:pt x="2816" y="712"/>
                </a:lnTo>
                <a:lnTo>
                  <a:pt x="2816" y="712"/>
                </a:lnTo>
                <a:lnTo>
                  <a:pt x="2816" y="714"/>
                </a:lnTo>
                <a:lnTo>
                  <a:pt x="2816" y="714"/>
                </a:lnTo>
                <a:close/>
                <a:moveTo>
                  <a:pt x="2878" y="190"/>
                </a:moveTo>
                <a:lnTo>
                  <a:pt x="2878" y="190"/>
                </a:lnTo>
                <a:lnTo>
                  <a:pt x="2888" y="186"/>
                </a:lnTo>
                <a:lnTo>
                  <a:pt x="2888" y="186"/>
                </a:lnTo>
                <a:lnTo>
                  <a:pt x="2888" y="186"/>
                </a:lnTo>
                <a:lnTo>
                  <a:pt x="2888" y="186"/>
                </a:lnTo>
                <a:lnTo>
                  <a:pt x="2878" y="190"/>
                </a:lnTo>
                <a:lnTo>
                  <a:pt x="2878" y="190"/>
                </a:lnTo>
                <a:lnTo>
                  <a:pt x="2878" y="190"/>
                </a:lnTo>
                <a:lnTo>
                  <a:pt x="2878" y="190"/>
                </a:lnTo>
                <a:close/>
                <a:moveTo>
                  <a:pt x="2876" y="182"/>
                </a:moveTo>
                <a:lnTo>
                  <a:pt x="2876" y="182"/>
                </a:lnTo>
                <a:lnTo>
                  <a:pt x="2878" y="180"/>
                </a:lnTo>
                <a:lnTo>
                  <a:pt x="2878" y="180"/>
                </a:lnTo>
                <a:lnTo>
                  <a:pt x="2876" y="178"/>
                </a:lnTo>
                <a:lnTo>
                  <a:pt x="2876" y="178"/>
                </a:lnTo>
                <a:lnTo>
                  <a:pt x="2876" y="178"/>
                </a:lnTo>
                <a:lnTo>
                  <a:pt x="2876" y="178"/>
                </a:lnTo>
                <a:lnTo>
                  <a:pt x="2878" y="180"/>
                </a:lnTo>
                <a:lnTo>
                  <a:pt x="2878" y="180"/>
                </a:lnTo>
                <a:lnTo>
                  <a:pt x="2876" y="182"/>
                </a:lnTo>
                <a:lnTo>
                  <a:pt x="2876" y="182"/>
                </a:lnTo>
                <a:lnTo>
                  <a:pt x="2876" y="182"/>
                </a:lnTo>
                <a:lnTo>
                  <a:pt x="2876" y="182"/>
                </a:lnTo>
                <a:lnTo>
                  <a:pt x="2876" y="182"/>
                </a:lnTo>
                <a:lnTo>
                  <a:pt x="2876" y="182"/>
                </a:lnTo>
                <a:close/>
                <a:moveTo>
                  <a:pt x="2876" y="204"/>
                </a:moveTo>
                <a:lnTo>
                  <a:pt x="2876" y="204"/>
                </a:lnTo>
                <a:lnTo>
                  <a:pt x="2884" y="204"/>
                </a:lnTo>
                <a:lnTo>
                  <a:pt x="2884" y="204"/>
                </a:lnTo>
                <a:lnTo>
                  <a:pt x="2892" y="204"/>
                </a:lnTo>
                <a:lnTo>
                  <a:pt x="2900" y="204"/>
                </a:lnTo>
                <a:lnTo>
                  <a:pt x="2900" y="204"/>
                </a:lnTo>
                <a:lnTo>
                  <a:pt x="2892" y="204"/>
                </a:lnTo>
                <a:lnTo>
                  <a:pt x="2884" y="204"/>
                </a:lnTo>
                <a:lnTo>
                  <a:pt x="2884" y="204"/>
                </a:lnTo>
                <a:lnTo>
                  <a:pt x="2876" y="204"/>
                </a:lnTo>
                <a:lnTo>
                  <a:pt x="2876" y="204"/>
                </a:lnTo>
                <a:lnTo>
                  <a:pt x="2876" y="204"/>
                </a:lnTo>
                <a:lnTo>
                  <a:pt x="2876" y="204"/>
                </a:lnTo>
                <a:close/>
                <a:moveTo>
                  <a:pt x="2884" y="1176"/>
                </a:moveTo>
                <a:lnTo>
                  <a:pt x="2884" y="1176"/>
                </a:lnTo>
                <a:lnTo>
                  <a:pt x="2884" y="1176"/>
                </a:lnTo>
                <a:lnTo>
                  <a:pt x="2884" y="1176"/>
                </a:lnTo>
                <a:lnTo>
                  <a:pt x="2890" y="1176"/>
                </a:lnTo>
                <a:lnTo>
                  <a:pt x="2892" y="1176"/>
                </a:lnTo>
                <a:lnTo>
                  <a:pt x="2898" y="1172"/>
                </a:lnTo>
                <a:lnTo>
                  <a:pt x="2898" y="1172"/>
                </a:lnTo>
                <a:lnTo>
                  <a:pt x="2898" y="1172"/>
                </a:lnTo>
                <a:lnTo>
                  <a:pt x="2898" y="1172"/>
                </a:lnTo>
                <a:lnTo>
                  <a:pt x="2892" y="1176"/>
                </a:lnTo>
                <a:lnTo>
                  <a:pt x="2890" y="1176"/>
                </a:lnTo>
                <a:lnTo>
                  <a:pt x="2884" y="1176"/>
                </a:lnTo>
                <a:lnTo>
                  <a:pt x="2884" y="1176"/>
                </a:lnTo>
                <a:close/>
                <a:moveTo>
                  <a:pt x="2892" y="1164"/>
                </a:moveTo>
                <a:lnTo>
                  <a:pt x="2892" y="1164"/>
                </a:lnTo>
                <a:lnTo>
                  <a:pt x="2892" y="1164"/>
                </a:lnTo>
                <a:lnTo>
                  <a:pt x="2892" y="1164"/>
                </a:lnTo>
                <a:lnTo>
                  <a:pt x="2896" y="1164"/>
                </a:lnTo>
                <a:lnTo>
                  <a:pt x="2896" y="1164"/>
                </a:lnTo>
                <a:lnTo>
                  <a:pt x="2898" y="1162"/>
                </a:lnTo>
                <a:lnTo>
                  <a:pt x="2898" y="1162"/>
                </a:lnTo>
                <a:lnTo>
                  <a:pt x="2898" y="1162"/>
                </a:lnTo>
                <a:lnTo>
                  <a:pt x="2898" y="1162"/>
                </a:lnTo>
                <a:lnTo>
                  <a:pt x="2898" y="1164"/>
                </a:lnTo>
                <a:lnTo>
                  <a:pt x="2898" y="1164"/>
                </a:lnTo>
                <a:lnTo>
                  <a:pt x="2892" y="1164"/>
                </a:lnTo>
                <a:lnTo>
                  <a:pt x="2892" y="1164"/>
                </a:lnTo>
                <a:close/>
                <a:moveTo>
                  <a:pt x="2894" y="1152"/>
                </a:moveTo>
                <a:lnTo>
                  <a:pt x="2894" y="1152"/>
                </a:lnTo>
                <a:lnTo>
                  <a:pt x="2894" y="1152"/>
                </a:lnTo>
                <a:lnTo>
                  <a:pt x="2894" y="1152"/>
                </a:lnTo>
                <a:lnTo>
                  <a:pt x="2894" y="1152"/>
                </a:lnTo>
                <a:lnTo>
                  <a:pt x="2894" y="1152"/>
                </a:lnTo>
                <a:lnTo>
                  <a:pt x="2898" y="1150"/>
                </a:lnTo>
                <a:lnTo>
                  <a:pt x="2898" y="1150"/>
                </a:lnTo>
                <a:lnTo>
                  <a:pt x="2896" y="1148"/>
                </a:lnTo>
                <a:lnTo>
                  <a:pt x="2896" y="1148"/>
                </a:lnTo>
                <a:lnTo>
                  <a:pt x="2898" y="1150"/>
                </a:lnTo>
                <a:lnTo>
                  <a:pt x="2898" y="1150"/>
                </a:lnTo>
                <a:lnTo>
                  <a:pt x="2894" y="1152"/>
                </a:lnTo>
                <a:lnTo>
                  <a:pt x="2894" y="1152"/>
                </a:lnTo>
                <a:close/>
                <a:moveTo>
                  <a:pt x="2878" y="794"/>
                </a:moveTo>
                <a:lnTo>
                  <a:pt x="2878" y="794"/>
                </a:lnTo>
                <a:lnTo>
                  <a:pt x="2876" y="792"/>
                </a:lnTo>
                <a:lnTo>
                  <a:pt x="2878" y="788"/>
                </a:lnTo>
                <a:lnTo>
                  <a:pt x="2878" y="786"/>
                </a:lnTo>
                <a:lnTo>
                  <a:pt x="2876" y="784"/>
                </a:lnTo>
                <a:lnTo>
                  <a:pt x="2876" y="784"/>
                </a:lnTo>
                <a:lnTo>
                  <a:pt x="2880" y="782"/>
                </a:lnTo>
                <a:lnTo>
                  <a:pt x="2886" y="782"/>
                </a:lnTo>
                <a:lnTo>
                  <a:pt x="2886" y="782"/>
                </a:lnTo>
                <a:lnTo>
                  <a:pt x="2902" y="790"/>
                </a:lnTo>
                <a:lnTo>
                  <a:pt x="2902" y="790"/>
                </a:lnTo>
                <a:lnTo>
                  <a:pt x="2896" y="792"/>
                </a:lnTo>
                <a:lnTo>
                  <a:pt x="2888" y="792"/>
                </a:lnTo>
                <a:lnTo>
                  <a:pt x="2882" y="792"/>
                </a:lnTo>
                <a:lnTo>
                  <a:pt x="2880" y="792"/>
                </a:lnTo>
                <a:lnTo>
                  <a:pt x="2878" y="794"/>
                </a:lnTo>
                <a:lnTo>
                  <a:pt x="2878" y="794"/>
                </a:lnTo>
                <a:close/>
                <a:moveTo>
                  <a:pt x="2920" y="208"/>
                </a:moveTo>
                <a:lnTo>
                  <a:pt x="2920" y="208"/>
                </a:lnTo>
                <a:lnTo>
                  <a:pt x="2920" y="208"/>
                </a:lnTo>
                <a:lnTo>
                  <a:pt x="2920" y="200"/>
                </a:lnTo>
                <a:lnTo>
                  <a:pt x="2920" y="200"/>
                </a:lnTo>
                <a:lnTo>
                  <a:pt x="2912" y="200"/>
                </a:lnTo>
                <a:lnTo>
                  <a:pt x="2906" y="202"/>
                </a:lnTo>
                <a:lnTo>
                  <a:pt x="2906" y="202"/>
                </a:lnTo>
                <a:lnTo>
                  <a:pt x="2906" y="202"/>
                </a:lnTo>
                <a:lnTo>
                  <a:pt x="2906" y="202"/>
                </a:lnTo>
                <a:lnTo>
                  <a:pt x="2912" y="200"/>
                </a:lnTo>
                <a:lnTo>
                  <a:pt x="2920" y="200"/>
                </a:lnTo>
                <a:lnTo>
                  <a:pt x="2920" y="208"/>
                </a:lnTo>
                <a:close/>
                <a:moveTo>
                  <a:pt x="2966" y="286"/>
                </a:moveTo>
                <a:lnTo>
                  <a:pt x="2966" y="286"/>
                </a:lnTo>
                <a:lnTo>
                  <a:pt x="2970" y="286"/>
                </a:lnTo>
                <a:lnTo>
                  <a:pt x="2976" y="282"/>
                </a:lnTo>
                <a:lnTo>
                  <a:pt x="2976" y="282"/>
                </a:lnTo>
                <a:lnTo>
                  <a:pt x="2966" y="282"/>
                </a:lnTo>
                <a:lnTo>
                  <a:pt x="2966" y="282"/>
                </a:lnTo>
                <a:lnTo>
                  <a:pt x="2976" y="282"/>
                </a:lnTo>
                <a:lnTo>
                  <a:pt x="2976" y="282"/>
                </a:lnTo>
                <a:lnTo>
                  <a:pt x="2970" y="286"/>
                </a:lnTo>
                <a:lnTo>
                  <a:pt x="2966" y="286"/>
                </a:lnTo>
                <a:lnTo>
                  <a:pt x="2966" y="286"/>
                </a:lnTo>
                <a:close/>
                <a:moveTo>
                  <a:pt x="3052" y="1166"/>
                </a:moveTo>
                <a:lnTo>
                  <a:pt x="3052" y="1166"/>
                </a:lnTo>
                <a:lnTo>
                  <a:pt x="3058" y="1166"/>
                </a:lnTo>
                <a:lnTo>
                  <a:pt x="3058" y="1164"/>
                </a:lnTo>
                <a:lnTo>
                  <a:pt x="3058" y="1162"/>
                </a:lnTo>
                <a:lnTo>
                  <a:pt x="3058" y="1162"/>
                </a:lnTo>
                <a:lnTo>
                  <a:pt x="3058" y="1162"/>
                </a:lnTo>
                <a:lnTo>
                  <a:pt x="3058" y="1162"/>
                </a:lnTo>
                <a:lnTo>
                  <a:pt x="3058" y="1166"/>
                </a:lnTo>
                <a:lnTo>
                  <a:pt x="3058" y="1166"/>
                </a:lnTo>
                <a:lnTo>
                  <a:pt x="3050" y="1166"/>
                </a:lnTo>
                <a:lnTo>
                  <a:pt x="3050" y="1166"/>
                </a:lnTo>
                <a:lnTo>
                  <a:pt x="3052" y="1166"/>
                </a:lnTo>
                <a:lnTo>
                  <a:pt x="3052" y="1166"/>
                </a:lnTo>
                <a:close/>
                <a:moveTo>
                  <a:pt x="3064" y="1096"/>
                </a:moveTo>
                <a:lnTo>
                  <a:pt x="3064" y="1096"/>
                </a:lnTo>
                <a:lnTo>
                  <a:pt x="3068" y="1096"/>
                </a:lnTo>
                <a:lnTo>
                  <a:pt x="3068" y="1096"/>
                </a:lnTo>
                <a:lnTo>
                  <a:pt x="3068" y="1096"/>
                </a:lnTo>
                <a:lnTo>
                  <a:pt x="3068" y="1096"/>
                </a:lnTo>
                <a:lnTo>
                  <a:pt x="3064" y="1096"/>
                </a:lnTo>
                <a:lnTo>
                  <a:pt x="3064" y="1096"/>
                </a:lnTo>
                <a:lnTo>
                  <a:pt x="3062" y="1096"/>
                </a:lnTo>
                <a:lnTo>
                  <a:pt x="3062" y="1096"/>
                </a:lnTo>
                <a:lnTo>
                  <a:pt x="3064" y="1096"/>
                </a:lnTo>
                <a:lnTo>
                  <a:pt x="3064" y="1096"/>
                </a:lnTo>
                <a:close/>
                <a:moveTo>
                  <a:pt x="3024" y="170"/>
                </a:moveTo>
                <a:lnTo>
                  <a:pt x="3024" y="170"/>
                </a:lnTo>
                <a:lnTo>
                  <a:pt x="3016" y="172"/>
                </a:lnTo>
                <a:lnTo>
                  <a:pt x="3010" y="172"/>
                </a:lnTo>
                <a:lnTo>
                  <a:pt x="3010" y="172"/>
                </a:lnTo>
                <a:lnTo>
                  <a:pt x="3016" y="172"/>
                </a:lnTo>
                <a:lnTo>
                  <a:pt x="3024" y="170"/>
                </a:lnTo>
                <a:lnTo>
                  <a:pt x="3024" y="170"/>
                </a:lnTo>
                <a:lnTo>
                  <a:pt x="3002" y="168"/>
                </a:lnTo>
                <a:lnTo>
                  <a:pt x="3002" y="168"/>
                </a:lnTo>
                <a:lnTo>
                  <a:pt x="3024" y="170"/>
                </a:lnTo>
                <a:lnTo>
                  <a:pt x="3024" y="170"/>
                </a:lnTo>
                <a:close/>
                <a:moveTo>
                  <a:pt x="3042" y="1126"/>
                </a:moveTo>
                <a:lnTo>
                  <a:pt x="3042" y="1126"/>
                </a:lnTo>
                <a:lnTo>
                  <a:pt x="3040" y="1130"/>
                </a:lnTo>
                <a:lnTo>
                  <a:pt x="3040" y="1130"/>
                </a:lnTo>
                <a:lnTo>
                  <a:pt x="3040" y="1130"/>
                </a:lnTo>
                <a:lnTo>
                  <a:pt x="3040" y="1130"/>
                </a:lnTo>
                <a:lnTo>
                  <a:pt x="3042" y="1126"/>
                </a:lnTo>
                <a:lnTo>
                  <a:pt x="3042" y="1126"/>
                </a:lnTo>
                <a:lnTo>
                  <a:pt x="3034" y="1126"/>
                </a:lnTo>
                <a:lnTo>
                  <a:pt x="3034" y="1126"/>
                </a:lnTo>
                <a:lnTo>
                  <a:pt x="3028" y="1128"/>
                </a:lnTo>
                <a:lnTo>
                  <a:pt x="3024" y="1130"/>
                </a:lnTo>
                <a:lnTo>
                  <a:pt x="3018" y="1132"/>
                </a:lnTo>
                <a:lnTo>
                  <a:pt x="3014" y="1132"/>
                </a:lnTo>
                <a:lnTo>
                  <a:pt x="3014" y="1132"/>
                </a:lnTo>
                <a:lnTo>
                  <a:pt x="3014" y="1132"/>
                </a:lnTo>
                <a:lnTo>
                  <a:pt x="3014" y="1132"/>
                </a:lnTo>
                <a:lnTo>
                  <a:pt x="3014" y="1132"/>
                </a:lnTo>
                <a:lnTo>
                  <a:pt x="3014" y="1132"/>
                </a:lnTo>
                <a:lnTo>
                  <a:pt x="3020" y="1132"/>
                </a:lnTo>
                <a:lnTo>
                  <a:pt x="3024" y="1130"/>
                </a:lnTo>
                <a:lnTo>
                  <a:pt x="3028" y="1128"/>
                </a:lnTo>
                <a:lnTo>
                  <a:pt x="3034" y="1126"/>
                </a:lnTo>
                <a:lnTo>
                  <a:pt x="3034" y="1126"/>
                </a:lnTo>
                <a:lnTo>
                  <a:pt x="3042" y="1126"/>
                </a:lnTo>
                <a:lnTo>
                  <a:pt x="3042" y="1126"/>
                </a:lnTo>
                <a:close/>
                <a:moveTo>
                  <a:pt x="3016" y="966"/>
                </a:moveTo>
                <a:lnTo>
                  <a:pt x="3016" y="966"/>
                </a:lnTo>
                <a:lnTo>
                  <a:pt x="3016" y="966"/>
                </a:lnTo>
                <a:lnTo>
                  <a:pt x="3016" y="966"/>
                </a:lnTo>
                <a:lnTo>
                  <a:pt x="3020" y="964"/>
                </a:lnTo>
                <a:lnTo>
                  <a:pt x="3020" y="964"/>
                </a:lnTo>
                <a:lnTo>
                  <a:pt x="3020" y="964"/>
                </a:lnTo>
                <a:lnTo>
                  <a:pt x="3020" y="964"/>
                </a:lnTo>
                <a:lnTo>
                  <a:pt x="3016" y="966"/>
                </a:lnTo>
                <a:lnTo>
                  <a:pt x="3016" y="966"/>
                </a:lnTo>
                <a:lnTo>
                  <a:pt x="3016" y="966"/>
                </a:lnTo>
                <a:lnTo>
                  <a:pt x="3016" y="966"/>
                </a:lnTo>
                <a:close/>
                <a:moveTo>
                  <a:pt x="3036" y="1102"/>
                </a:moveTo>
                <a:lnTo>
                  <a:pt x="3036" y="1102"/>
                </a:lnTo>
                <a:lnTo>
                  <a:pt x="3032" y="1100"/>
                </a:lnTo>
                <a:lnTo>
                  <a:pt x="3032" y="1100"/>
                </a:lnTo>
                <a:lnTo>
                  <a:pt x="3032" y="1100"/>
                </a:lnTo>
                <a:lnTo>
                  <a:pt x="3032" y="1100"/>
                </a:lnTo>
                <a:lnTo>
                  <a:pt x="3036" y="1102"/>
                </a:lnTo>
                <a:lnTo>
                  <a:pt x="3036" y="1102"/>
                </a:lnTo>
                <a:lnTo>
                  <a:pt x="3036" y="1102"/>
                </a:lnTo>
                <a:lnTo>
                  <a:pt x="3032" y="1102"/>
                </a:lnTo>
                <a:lnTo>
                  <a:pt x="3032" y="1102"/>
                </a:lnTo>
                <a:lnTo>
                  <a:pt x="3032" y="1102"/>
                </a:lnTo>
                <a:lnTo>
                  <a:pt x="3032" y="1102"/>
                </a:lnTo>
                <a:lnTo>
                  <a:pt x="3036" y="1102"/>
                </a:lnTo>
                <a:lnTo>
                  <a:pt x="3036" y="1102"/>
                </a:lnTo>
                <a:close/>
                <a:moveTo>
                  <a:pt x="3054" y="202"/>
                </a:moveTo>
                <a:lnTo>
                  <a:pt x="3054" y="202"/>
                </a:lnTo>
                <a:lnTo>
                  <a:pt x="3052" y="204"/>
                </a:lnTo>
                <a:lnTo>
                  <a:pt x="3048" y="206"/>
                </a:lnTo>
                <a:lnTo>
                  <a:pt x="3048" y="206"/>
                </a:lnTo>
                <a:lnTo>
                  <a:pt x="3044" y="206"/>
                </a:lnTo>
                <a:lnTo>
                  <a:pt x="3042" y="204"/>
                </a:lnTo>
                <a:lnTo>
                  <a:pt x="3042" y="204"/>
                </a:lnTo>
                <a:lnTo>
                  <a:pt x="3036" y="200"/>
                </a:lnTo>
                <a:lnTo>
                  <a:pt x="3028" y="196"/>
                </a:lnTo>
                <a:lnTo>
                  <a:pt x="3020" y="194"/>
                </a:lnTo>
                <a:lnTo>
                  <a:pt x="3012" y="194"/>
                </a:lnTo>
                <a:lnTo>
                  <a:pt x="3012" y="194"/>
                </a:lnTo>
                <a:lnTo>
                  <a:pt x="3006" y="194"/>
                </a:lnTo>
                <a:lnTo>
                  <a:pt x="3006" y="194"/>
                </a:lnTo>
                <a:lnTo>
                  <a:pt x="3006" y="190"/>
                </a:lnTo>
                <a:lnTo>
                  <a:pt x="3006" y="190"/>
                </a:lnTo>
                <a:lnTo>
                  <a:pt x="3004" y="190"/>
                </a:lnTo>
                <a:lnTo>
                  <a:pt x="3002" y="188"/>
                </a:lnTo>
                <a:lnTo>
                  <a:pt x="2998" y="180"/>
                </a:lnTo>
                <a:lnTo>
                  <a:pt x="2998" y="180"/>
                </a:lnTo>
                <a:lnTo>
                  <a:pt x="3008" y="180"/>
                </a:lnTo>
                <a:lnTo>
                  <a:pt x="3012" y="180"/>
                </a:lnTo>
                <a:lnTo>
                  <a:pt x="3014" y="184"/>
                </a:lnTo>
                <a:lnTo>
                  <a:pt x="3014" y="184"/>
                </a:lnTo>
                <a:lnTo>
                  <a:pt x="3016" y="186"/>
                </a:lnTo>
                <a:lnTo>
                  <a:pt x="3018" y="188"/>
                </a:lnTo>
                <a:lnTo>
                  <a:pt x="3026" y="188"/>
                </a:lnTo>
                <a:lnTo>
                  <a:pt x="3026" y="188"/>
                </a:lnTo>
                <a:lnTo>
                  <a:pt x="3038" y="188"/>
                </a:lnTo>
                <a:lnTo>
                  <a:pt x="3038" y="188"/>
                </a:lnTo>
                <a:lnTo>
                  <a:pt x="3048" y="188"/>
                </a:lnTo>
                <a:lnTo>
                  <a:pt x="3054" y="192"/>
                </a:lnTo>
                <a:lnTo>
                  <a:pt x="3054" y="192"/>
                </a:lnTo>
                <a:lnTo>
                  <a:pt x="3054" y="202"/>
                </a:lnTo>
                <a:lnTo>
                  <a:pt x="3054" y="202"/>
                </a:lnTo>
                <a:close/>
                <a:moveTo>
                  <a:pt x="3062" y="1106"/>
                </a:moveTo>
                <a:lnTo>
                  <a:pt x="3062" y="1106"/>
                </a:lnTo>
                <a:lnTo>
                  <a:pt x="3062" y="1106"/>
                </a:lnTo>
                <a:lnTo>
                  <a:pt x="3068" y="1108"/>
                </a:lnTo>
                <a:lnTo>
                  <a:pt x="3078" y="1106"/>
                </a:lnTo>
                <a:lnTo>
                  <a:pt x="3080" y="1106"/>
                </a:lnTo>
                <a:lnTo>
                  <a:pt x="3080" y="1106"/>
                </a:lnTo>
                <a:lnTo>
                  <a:pt x="3068" y="1108"/>
                </a:lnTo>
                <a:lnTo>
                  <a:pt x="3062" y="1106"/>
                </a:lnTo>
                <a:lnTo>
                  <a:pt x="3062" y="1106"/>
                </a:lnTo>
                <a:close/>
                <a:moveTo>
                  <a:pt x="3092" y="1034"/>
                </a:moveTo>
                <a:lnTo>
                  <a:pt x="3092" y="1034"/>
                </a:lnTo>
                <a:lnTo>
                  <a:pt x="3092" y="1034"/>
                </a:lnTo>
                <a:lnTo>
                  <a:pt x="3092" y="1034"/>
                </a:lnTo>
                <a:lnTo>
                  <a:pt x="3090" y="1034"/>
                </a:lnTo>
                <a:lnTo>
                  <a:pt x="3090" y="1034"/>
                </a:lnTo>
                <a:lnTo>
                  <a:pt x="3090" y="1034"/>
                </a:lnTo>
                <a:lnTo>
                  <a:pt x="3090" y="1034"/>
                </a:lnTo>
                <a:lnTo>
                  <a:pt x="3092" y="1034"/>
                </a:lnTo>
                <a:lnTo>
                  <a:pt x="3092" y="1034"/>
                </a:lnTo>
                <a:close/>
                <a:moveTo>
                  <a:pt x="3086" y="1060"/>
                </a:moveTo>
                <a:lnTo>
                  <a:pt x="3086" y="1060"/>
                </a:lnTo>
                <a:lnTo>
                  <a:pt x="3086" y="1060"/>
                </a:lnTo>
                <a:lnTo>
                  <a:pt x="3086" y="1060"/>
                </a:lnTo>
                <a:lnTo>
                  <a:pt x="3088" y="1060"/>
                </a:lnTo>
                <a:lnTo>
                  <a:pt x="3088" y="1060"/>
                </a:lnTo>
                <a:lnTo>
                  <a:pt x="3090" y="1060"/>
                </a:lnTo>
                <a:lnTo>
                  <a:pt x="3090" y="1060"/>
                </a:lnTo>
                <a:lnTo>
                  <a:pt x="3086" y="1060"/>
                </a:lnTo>
                <a:lnTo>
                  <a:pt x="3086" y="1060"/>
                </a:lnTo>
                <a:close/>
                <a:moveTo>
                  <a:pt x="3090" y="1060"/>
                </a:moveTo>
                <a:lnTo>
                  <a:pt x="3090" y="1060"/>
                </a:lnTo>
                <a:lnTo>
                  <a:pt x="3090" y="1058"/>
                </a:lnTo>
                <a:lnTo>
                  <a:pt x="3090" y="1058"/>
                </a:lnTo>
                <a:lnTo>
                  <a:pt x="3092" y="1058"/>
                </a:lnTo>
                <a:lnTo>
                  <a:pt x="3092" y="1058"/>
                </a:lnTo>
                <a:lnTo>
                  <a:pt x="3092" y="1058"/>
                </a:lnTo>
                <a:lnTo>
                  <a:pt x="3092" y="1058"/>
                </a:lnTo>
                <a:lnTo>
                  <a:pt x="3092" y="1058"/>
                </a:lnTo>
                <a:lnTo>
                  <a:pt x="3092" y="1058"/>
                </a:lnTo>
                <a:lnTo>
                  <a:pt x="3092" y="1058"/>
                </a:lnTo>
                <a:lnTo>
                  <a:pt x="3092" y="1058"/>
                </a:lnTo>
                <a:lnTo>
                  <a:pt x="3090" y="1060"/>
                </a:lnTo>
                <a:lnTo>
                  <a:pt x="3090" y="1060"/>
                </a:lnTo>
                <a:close/>
                <a:moveTo>
                  <a:pt x="3400" y="1120"/>
                </a:moveTo>
                <a:lnTo>
                  <a:pt x="3400" y="1120"/>
                </a:lnTo>
                <a:lnTo>
                  <a:pt x="3400" y="1120"/>
                </a:lnTo>
                <a:lnTo>
                  <a:pt x="3400" y="1120"/>
                </a:lnTo>
                <a:lnTo>
                  <a:pt x="3400" y="1116"/>
                </a:lnTo>
                <a:lnTo>
                  <a:pt x="3404" y="1116"/>
                </a:lnTo>
                <a:lnTo>
                  <a:pt x="3404" y="1116"/>
                </a:lnTo>
                <a:lnTo>
                  <a:pt x="3404" y="1116"/>
                </a:lnTo>
                <a:lnTo>
                  <a:pt x="3404" y="1116"/>
                </a:lnTo>
                <a:lnTo>
                  <a:pt x="3400" y="1116"/>
                </a:lnTo>
                <a:lnTo>
                  <a:pt x="3400" y="1120"/>
                </a:lnTo>
                <a:lnTo>
                  <a:pt x="3400" y="1120"/>
                </a:lnTo>
                <a:close/>
                <a:moveTo>
                  <a:pt x="3422" y="1124"/>
                </a:moveTo>
                <a:lnTo>
                  <a:pt x="3422" y="1124"/>
                </a:lnTo>
                <a:lnTo>
                  <a:pt x="3424" y="1124"/>
                </a:lnTo>
                <a:lnTo>
                  <a:pt x="3424" y="1124"/>
                </a:lnTo>
                <a:lnTo>
                  <a:pt x="3422" y="1126"/>
                </a:lnTo>
                <a:lnTo>
                  <a:pt x="3422" y="1126"/>
                </a:lnTo>
                <a:lnTo>
                  <a:pt x="3422" y="1124"/>
                </a:lnTo>
                <a:lnTo>
                  <a:pt x="3422" y="1124"/>
                </a:lnTo>
                <a:close/>
                <a:moveTo>
                  <a:pt x="3360" y="1122"/>
                </a:moveTo>
                <a:lnTo>
                  <a:pt x="3360" y="1122"/>
                </a:lnTo>
                <a:lnTo>
                  <a:pt x="3366" y="1122"/>
                </a:lnTo>
                <a:lnTo>
                  <a:pt x="3370" y="1122"/>
                </a:lnTo>
                <a:lnTo>
                  <a:pt x="3372" y="1124"/>
                </a:lnTo>
                <a:lnTo>
                  <a:pt x="3372" y="1124"/>
                </a:lnTo>
                <a:lnTo>
                  <a:pt x="3368" y="1126"/>
                </a:lnTo>
                <a:lnTo>
                  <a:pt x="3368" y="1126"/>
                </a:lnTo>
                <a:lnTo>
                  <a:pt x="3352" y="1128"/>
                </a:lnTo>
                <a:lnTo>
                  <a:pt x="3352" y="1128"/>
                </a:lnTo>
                <a:lnTo>
                  <a:pt x="3350" y="1124"/>
                </a:lnTo>
                <a:lnTo>
                  <a:pt x="3350" y="1124"/>
                </a:lnTo>
                <a:lnTo>
                  <a:pt x="3360" y="1122"/>
                </a:lnTo>
                <a:lnTo>
                  <a:pt x="3360" y="1122"/>
                </a:lnTo>
                <a:close/>
                <a:moveTo>
                  <a:pt x="3280" y="1126"/>
                </a:moveTo>
                <a:lnTo>
                  <a:pt x="3280" y="1126"/>
                </a:lnTo>
                <a:lnTo>
                  <a:pt x="3280" y="1130"/>
                </a:lnTo>
                <a:lnTo>
                  <a:pt x="3280" y="1130"/>
                </a:lnTo>
                <a:lnTo>
                  <a:pt x="3272" y="1132"/>
                </a:lnTo>
                <a:lnTo>
                  <a:pt x="3272" y="1132"/>
                </a:lnTo>
                <a:lnTo>
                  <a:pt x="3272" y="1128"/>
                </a:lnTo>
                <a:lnTo>
                  <a:pt x="3272" y="1128"/>
                </a:lnTo>
                <a:lnTo>
                  <a:pt x="3272" y="1126"/>
                </a:lnTo>
                <a:lnTo>
                  <a:pt x="3272" y="1126"/>
                </a:lnTo>
                <a:lnTo>
                  <a:pt x="3280" y="1126"/>
                </a:lnTo>
                <a:lnTo>
                  <a:pt x="3280" y="1126"/>
                </a:lnTo>
                <a:close/>
                <a:moveTo>
                  <a:pt x="3282" y="970"/>
                </a:moveTo>
                <a:lnTo>
                  <a:pt x="3282" y="970"/>
                </a:lnTo>
                <a:lnTo>
                  <a:pt x="3284" y="970"/>
                </a:lnTo>
                <a:lnTo>
                  <a:pt x="3284" y="970"/>
                </a:lnTo>
                <a:lnTo>
                  <a:pt x="3282" y="970"/>
                </a:lnTo>
                <a:lnTo>
                  <a:pt x="3282" y="970"/>
                </a:lnTo>
                <a:close/>
                <a:moveTo>
                  <a:pt x="3288" y="988"/>
                </a:moveTo>
                <a:lnTo>
                  <a:pt x="3288" y="988"/>
                </a:lnTo>
                <a:lnTo>
                  <a:pt x="3288" y="988"/>
                </a:lnTo>
                <a:lnTo>
                  <a:pt x="3288" y="988"/>
                </a:lnTo>
                <a:lnTo>
                  <a:pt x="3286" y="990"/>
                </a:lnTo>
                <a:lnTo>
                  <a:pt x="3286" y="990"/>
                </a:lnTo>
                <a:lnTo>
                  <a:pt x="3286" y="990"/>
                </a:lnTo>
                <a:lnTo>
                  <a:pt x="3286" y="990"/>
                </a:lnTo>
                <a:lnTo>
                  <a:pt x="3286" y="990"/>
                </a:lnTo>
                <a:lnTo>
                  <a:pt x="3288" y="988"/>
                </a:lnTo>
                <a:lnTo>
                  <a:pt x="3288" y="988"/>
                </a:lnTo>
                <a:close/>
                <a:moveTo>
                  <a:pt x="3282" y="838"/>
                </a:moveTo>
                <a:lnTo>
                  <a:pt x="3282" y="838"/>
                </a:lnTo>
                <a:lnTo>
                  <a:pt x="3282" y="838"/>
                </a:lnTo>
                <a:lnTo>
                  <a:pt x="3282" y="838"/>
                </a:lnTo>
                <a:lnTo>
                  <a:pt x="3278" y="842"/>
                </a:lnTo>
                <a:lnTo>
                  <a:pt x="3274" y="842"/>
                </a:lnTo>
                <a:lnTo>
                  <a:pt x="3270" y="840"/>
                </a:lnTo>
                <a:lnTo>
                  <a:pt x="3266" y="838"/>
                </a:lnTo>
                <a:lnTo>
                  <a:pt x="3266" y="838"/>
                </a:lnTo>
                <a:lnTo>
                  <a:pt x="3270" y="840"/>
                </a:lnTo>
                <a:lnTo>
                  <a:pt x="3274" y="842"/>
                </a:lnTo>
                <a:lnTo>
                  <a:pt x="3278" y="842"/>
                </a:lnTo>
                <a:lnTo>
                  <a:pt x="3282" y="838"/>
                </a:lnTo>
                <a:lnTo>
                  <a:pt x="3282" y="838"/>
                </a:lnTo>
                <a:close/>
                <a:moveTo>
                  <a:pt x="3172" y="1134"/>
                </a:moveTo>
                <a:lnTo>
                  <a:pt x="3172" y="1134"/>
                </a:lnTo>
                <a:lnTo>
                  <a:pt x="3172" y="1134"/>
                </a:lnTo>
                <a:lnTo>
                  <a:pt x="3172" y="1134"/>
                </a:lnTo>
                <a:lnTo>
                  <a:pt x="3174" y="1134"/>
                </a:lnTo>
                <a:lnTo>
                  <a:pt x="3174" y="1134"/>
                </a:lnTo>
                <a:lnTo>
                  <a:pt x="3172" y="1134"/>
                </a:lnTo>
                <a:lnTo>
                  <a:pt x="3172" y="1134"/>
                </a:lnTo>
                <a:close/>
                <a:moveTo>
                  <a:pt x="3128" y="1126"/>
                </a:moveTo>
                <a:lnTo>
                  <a:pt x="3128" y="1126"/>
                </a:lnTo>
                <a:lnTo>
                  <a:pt x="3128" y="1120"/>
                </a:lnTo>
                <a:lnTo>
                  <a:pt x="3128" y="1120"/>
                </a:lnTo>
                <a:lnTo>
                  <a:pt x="3128" y="1126"/>
                </a:lnTo>
                <a:lnTo>
                  <a:pt x="3128" y="1126"/>
                </a:lnTo>
                <a:close/>
                <a:moveTo>
                  <a:pt x="3180" y="1106"/>
                </a:moveTo>
                <a:lnTo>
                  <a:pt x="3180" y="1106"/>
                </a:lnTo>
                <a:lnTo>
                  <a:pt x="3178" y="1106"/>
                </a:lnTo>
                <a:lnTo>
                  <a:pt x="3178" y="1106"/>
                </a:lnTo>
                <a:lnTo>
                  <a:pt x="3180" y="1106"/>
                </a:lnTo>
                <a:lnTo>
                  <a:pt x="3180" y="1106"/>
                </a:lnTo>
                <a:lnTo>
                  <a:pt x="3180" y="1106"/>
                </a:lnTo>
                <a:lnTo>
                  <a:pt x="3180" y="1106"/>
                </a:lnTo>
                <a:close/>
                <a:moveTo>
                  <a:pt x="3180" y="1108"/>
                </a:moveTo>
                <a:lnTo>
                  <a:pt x="3180" y="1108"/>
                </a:lnTo>
                <a:lnTo>
                  <a:pt x="3180" y="1114"/>
                </a:lnTo>
                <a:lnTo>
                  <a:pt x="3180" y="1114"/>
                </a:lnTo>
                <a:lnTo>
                  <a:pt x="3178" y="1114"/>
                </a:lnTo>
                <a:lnTo>
                  <a:pt x="3178" y="1114"/>
                </a:lnTo>
                <a:lnTo>
                  <a:pt x="3180" y="1116"/>
                </a:lnTo>
                <a:lnTo>
                  <a:pt x="3180" y="1116"/>
                </a:lnTo>
                <a:lnTo>
                  <a:pt x="3180" y="1120"/>
                </a:lnTo>
                <a:lnTo>
                  <a:pt x="3180" y="1120"/>
                </a:lnTo>
                <a:lnTo>
                  <a:pt x="3174" y="1124"/>
                </a:lnTo>
                <a:lnTo>
                  <a:pt x="3174" y="1124"/>
                </a:lnTo>
                <a:lnTo>
                  <a:pt x="3172" y="1126"/>
                </a:lnTo>
                <a:lnTo>
                  <a:pt x="3172" y="1126"/>
                </a:lnTo>
                <a:lnTo>
                  <a:pt x="3172" y="1108"/>
                </a:lnTo>
                <a:lnTo>
                  <a:pt x="3172" y="1108"/>
                </a:lnTo>
                <a:lnTo>
                  <a:pt x="3178" y="1106"/>
                </a:lnTo>
                <a:lnTo>
                  <a:pt x="3178" y="1106"/>
                </a:lnTo>
                <a:lnTo>
                  <a:pt x="3178" y="1108"/>
                </a:lnTo>
                <a:lnTo>
                  <a:pt x="3178" y="1108"/>
                </a:lnTo>
                <a:lnTo>
                  <a:pt x="3180" y="1108"/>
                </a:lnTo>
                <a:lnTo>
                  <a:pt x="3180" y="1108"/>
                </a:lnTo>
                <a:close/>
                <a:moveTo>
                  <a:pt x="3146" y="1106"/>
                </a:moveTo>
                <a:lnTo>
                  <a:pt x="3146" y="1106"/>
                </a:lnTo>
                <a:lnTo>
                  <a:pt x="3146" y="1106"/>
                </a:lnTo>
                <a:lnTo>
                  <a:pt x="3146" y="1106"/>
                </a:lnTo>
                <a:lnTo>
                  <a:pt x="3146" y="1124"/>
                </a:lnTo>
                <a:lnTo>
                  <a:pt x="3146" y="1124"/>
                </a:lnTo>
                <a:lnTo>
                  <a:pt x="3142" y="1106"/>
                </a:lnTo>
                <a:lnTo>
                  <a:pt x="3142" y="1106"/>
                </a:lnTo>
                <a:lnTo>
                  <a:pt x="3146" y="1106"/>
                </a:lnTo>
                <a:lnTo>
                  <a:pt x="3146" y="1106"/>
                </a:lnTo>
                <a:close/>
                <a:moveTo>
                  <a:pt x="3142" y="1104"/>
                </a:moveTo>
                <a:lnTo>
                  <a:pt x="3142" y="1104"/>
                </a:lnTo>
                <a:lnTo>
                  <a:pt x="3142" y="1100"/>
                </a:lnTo>
                <a:lnTo>
                  <a:pt x="3142" y="1100"/>
                </a:lnTo>
                <a:lnTo>
                  <a:pt x="3144" y="1100"/>
                </a:lnTo>
                <a:lnTo>
                  <a:pt x="3144" y="1100"/>
                </a:lnTo>
                <a:lnTo>
                  <a:pt x="3142" y="1104"/>
                </a:lnTo>
                <a:lnTo>
                  <a:pt x="3142" y="1104"/>
                </a:lnTo>
                <a:close/>
                <a:moveTo>
                  <a:pt x="3110" y="1040"/>
                </a:moveTo>
                <a:lnTo>
                  <a:pt x="3110" y="1040"/>
                </a:lnTo>
                <a:lnTo>
                  <a:pt x="3110" y="1040"/>
                </a:lnTo>
                <a:lnTo>
                  <a:pt x="3110" y="1040"/>
                </a:lnTo>
                <a:lnTo>
                  <a:pt x="3110" y="1040"/>
                </a:lnTo>
                <a:lnTo>
                  <a:pt x="3110" y="1040"/>
                </a:lnTo>
                <a:lnTo>
                  <a:pt x="3110" y="1040"/>
                </a:lnTo>
                <a:close/>
                <a:moveTo>
                  <a:pt x="3112" y="1038"/>
                </a:moveTo>
                <a:lnTo>
                  <a:pt x="3112" y="1038"/>
                </a:lnTo>
                <a:lnTo>
                  <a:pt x="3110" y="1038"/>
                </a:lnTo>
                <a:lnTo>
                  <a:pt x="3110" y="1038"/>
                </a:lnTo>
                <a:lnTo>
                  <a:pt x="3108" y="1038"/>
                </a:lnTo>
                <a:lnTo>
                  <a:pt x="3108" y="1038"/>
                </a:lnTo>
                <a:lnTo>
                  <a:pt x="3108" y="1038"/>
                </a:lnTo>
                <a:lnTo>
                  <a:pt x="3108" y="1038"/>
                </a:lnTo>
                <a:lnTo>
                  <a:pt x="3110" y="1038"/>
                </a:lnTo>
                <a:lnTo>
                  <a:pt x="3110" y="1038"/>
                </a:lnTo>
                <a:lnTo>
                  <a:pt x="3112" y="1038"/>
                </a:lnTo>
                <a:lnTo>
                  <a:pt x="3112" y="1038"/>
                </a:lnTo>
                <a:lnTo>
                  <a:pt x="3112" y="1038"/>
                </a:lnTo>
                <a:lnTo>
                  <a:pt x="3112" y="1038"/>
                </a:lnTo>
                <a:close/>
                <a:moveTo>
                  <a:pt x="3110" y="936"/>
                </a:moveTo>
                <a:lnTo>
                  <a:pt x="3110" y="936"/>
                </a:lnTo>
                <a:lnTo>
                  <a:pt x="3114" y="934"/>
                </a:lnTo>
                <a:lnTo>
                  <a:pt x="3118" y="936"/>
                </a:lnTo>
                <a:lnTo>
                  <a:pt x="3122" y="938"/>
                </a:lnTo>
                <a:lnTo>
                  <a:pt x="3122" y="938"/>
                </a:lnTo>
                <a:lnTo>
                  <a:pt x="3122" y="932"/>
                </a:lnTo>
                <a:lnTo>
                  <a:pt x="3122" y="932"/>
                </a:lnTo>
                <a:lnTo>
                  <a:pt x="3124" y="946"/>
                </a:lnTo>
                <a:lnTo>
                  <a:pt x="3126" y="980"/>
                </a:lnTo>
                <a:lnTo>
                  <a:pt x="3126" y="980"/>
                </a:lnTo>
                <a:lnTo>
                  <a:pt x="3122" y="958"/>
                </a:lnTo>
                <a:lnTo>
                  <a:pt x="3120" y="952"/>
                </a:lnTo>
                <a:lnTo>
                  <a:pt x="3118" y="950"/>
                </a:lnTo>
                <a:lnTo>
                  <a:pt x="3118" y="950"/>
                </a:lnTo>
                <a:lnTo>
                  <a:pt x="3114" y="950"/>
                </a:lnTo>
                <a:lnTo>
                  <a:pt x="3114" y="950"/>
                </a:lnTo>
                <a:lnTo>
                  <a:pt x="3120" y="942"/>
                </a:lnTo>
                <a:lnTo>
                  <a:pt x="3120" y="942"/>
                </a:lnTo>
                <a:lnTo>
                  <a:pt x="3110" y="936"/>
                </a:lnTo>
                <a:lnTo>
                  <a:pt x="3110" y="936"/>
                </a:lnTo>
                <a:close/>
                <a:moveTo>
                  <a:pt x="3118" y="1030"/>
                </a:moveTo>
                <a:lnTo>
                  <a:pt x="3118" y="1030"/>
                </a:lnTo>
                <a:lnTo>
                  <a:pt x="3118" y="1026"/>
                </a:lnTo>
                <a:lnTo>
                  <a:pt x="3116" y="1020"/>
                </a:lnTo>
                <a:lnTo>
                  <a:pt x="3116" y="1020"/>
                </a:lnTo>
                <a:lnTo>
                  <a:pt x="3118" y="1030"/>
                </a:lnTo>
                <a:lnTo>
                  <a:pt x="3118" y="1030"/>
                </a:lnTo>
                <a:close/>
                <a:moveTo>
                  <a:pt x="3200" y="1150"/>
                </a:moveTo>
                <a:lnTo>
                  <a:pt x="3200" y="1150"/>
                </a:lnTo>
                <a:lnTo>
                  <a:pt x="3200" y="1150"/>
                </a:lnTo>
                <a:lnTo>
                  <a:pt x="3200" y="1150"/>
                </a:lnTo>
                <a:lnTo>
                  <a:pt x="3200" y="1150"/>
                </a:lnTo>
                <a:lnTo>
                  <a:pt x="3200" y="1150"/>
                </a:lnTo>
                <a:close/>
                <a:moveTo>
                  <a:pt x="3236" y="1154"/>
                </a:moveTo>
                <a:lnTo>
                  <a:pt x="3236" y="1154"/>
                </a:lnTo>
                <a:lnTo>
                  <a:pt x="3240" y="1148"/>
                </a:lnTo>
                <a:lnTo>
                  <a:pt x="3240" y="1148"/>
                </a:lnTo>
                <a:lnTo>
                  <a:pt x="3220" y="1154"/>
                </a:lnTo>
                <a:lnTo>
                  <a:pt x="3220" y="1154"/>
                </a:lnTo>
                <a:lnTo>
                  <a:pt x="3220" y="1154"/>
                </a:lnTo>
                <a:lnTo>
                  <a:pt x="3220" y="1154"/>
                </a:lnTo>
                <a:lnTo>
                  <a:pt x="3240" y="1148"/>
                </a:lnTo>
                <a:lnTo>
                  <a:pt x="3240" y="1148"/>
                </a:lnTo>
                <a:lnTo>
                  <a:pt x="3236" y="1154"/>
                </a:lnTo>
                <a:lnTo>
                  <a:pt x="3236" y="1154"/>
                </a:lnTo>
                <a:close/>
                <a:moveTo>
                  <a:pt x="3246" y="1144"/>
                </a:moveTo>
                <a:lnTo>
                  <a:pt x="3246" y="1144"/>
                </a:lnTo>
                <a:lnTo>
                  <a:pt x="3240" y="1142"/>
                </a:lnTo>
                <a:lnTo>
                  <a:pt x="3240" y="1142"/>
                </a:lnTo>
                <a:lnTo>
                  <a:pt x="3240" y="1142"/>
                </a:lnTo>
                <a:lnTo>
                  <a:pt x="3240" y="1142"/>
                </a:lnTo>
                <a:lnTo>
                  <a:pt x="3246" y="1144"/>
                </a:lnTo>
                <a:lnTo>
                  <a:pt x="3246" y="1144"/>
                </a:lnTo>
                <a:lnTo>
                  <a:pt x="3246" y="1144"/>
                </a:lnTo>
                <a:lnTo>
                  <a:pt x="3246" y="1144"/>
                </a:lnTo>
                <a:close/>
                <a:moveTo>
                  <a:pt x="3208" y="1134"/>
                </a:moveTo>
                <a:lnTo>
                  <a:pt x="3208" y="1134"/>
                </a:lnTo>
                <a:lnTo>
                  <a:pt x="3216" y="1134"/>
                </a:lnTo>
                <a:lnTo>
                  <a:pt x="3216" y="1134"/>
                </a:lnTo>
                <a:lnTo>
                  <a:pt x="3226" y="1134"/>
                </a:lnTo>
                <a:lnTo>
                  <a:pt x="3226" y="1134"/>
                </a:lnTo>
                <a:lnTo>
                  <a:pt x="3228" y="1134"/>
                </a:lnTo>
                <a:lnTo>
                  <a:pt x="3228" y="1134"/>
                </a:lnTo>
                <a:lnTo>
                  <a:pt x="3214" y="1136"/>
                </a:lnTo>
                <a:lnTo>
                  <a:pt x="3214" y="1136"/>
                </a:lnTo>
                <a:lnTo>
                  <a:pt x="3208" y="1136"/>
                </a:lnTo>
                <a:lnTo>
                  <a:pt x="3204" y="1138"/>
                </a:lnTo>
                <a:lnTo>
                  <a:pt x="3204" y="1138"/>
                </a:lnTo>
                <a:lnTo>
                  <a:pt x="3198" y="1138"/>
                </a:lnTo>
                <a:lnTo>
                  <a:pt x="3198" y="1138"/>
                </a:lnTo>
                <a:lnTo>
                  <a:pt x="3198" y="1138"/>
                </a:lnTo>
                <a:lnTo>
                  <a:pt x="3198" y="1138"/>
                </a:lnTo>
                <a:lnTo>
                  <a:pt x="3198" y="1138"/>
                </a:lnTo>
                <a:lnTo>
                  <a:pt x="3198" y="1138"/>
                </a:lnTo>
                <a:lnTo>
                  <a:pt x="3208" y="1134"/>
                </a:lnTo>
                <a:lnTo>
                  <a:pt x="3208" y="1134"/>
                </a:lnTo>
                <a:close/>
                <a:moveTo>
                  <a:pt x="3206" y="1060"/>
                </a:moveTo>
                <a:lnTo>
                  <a:pt x="3206" y="1060"/>
                </a:lnTo>
                <a:lnTo>
                  <a:pt x="3202" y="1062"/>
                </a:lnTo>
                <a:lnTo>
                  <a:pt x="3198" y="1062"/>
                </a:lnTo>
                <a:lnTo>
                  <a:pt x="3196" y="1060"/>
                </a:lnTo>
                <a:lnTo>
                  <a:pt x="3196" y="1056"/>
                </a:lnTo>
                <a:lnTo>
                  <a:pt x="3196" y="1056"/>
                </a:lnTo>
                <a:lnTo>
                  <a:pt x="3202" y="1056"/>
                </a:lnTo>
                <a:lnTo>
                  <a:pt x="3206" y="1056"/>
                </a:lnTo>
                <a:lnTo>
                  <a:pt x="3210" y="1054"/>
                </a:lnTo>
                <a:lnTo>
                  <a:pt x="3210" y="1054"/>
                </a:lnTo>
                <a:lnTo>
                  <a:pt x="3216" y="1054"/>
                </a:lnTo>
                <a:lnTo>
                  <a:pt x="3224" y="1054"/>
                </a:lnTo>
                <a:lnTo>
                  <a:pt x="3224" y="1054"/>
                </a:lnTo>
                <a:lnTo>
                  <a:pt x="3216" y="1062"/>
                </a:lnTo>
                <a:lnTo>
                  <a:pt x="3216" y="1062"/>
                </a:lnTo>
                <a:lnTo>
                  <a:pt x="3212" y="1060"/>
                </a:lnTo>
                <a:lnTo>
                  <a:pt x="3206" y="1060"/>
                </a:lnTo>
                <a:lnTo>
                  <a:pt x="3206" y="1060"/>
                </a:lnTo>
                <a:close/>
                <a:moveTo>
                  <a:pt x="3224" y="1070"/>
                </a:moveTo>
                <a:lnTo>
                  <a:pt x="3224" y="1070"/>
                </a:lnTo>
                <a:lnTo>
                  <a:pt x="3224" y="1070"/>
                </a:lnTo>
                <a:lnTo>
                  <a:pt x="3224" y="1070"/>
                </a:lnTo>
                <a:lnTo>
                  <a:pt x="3226" y="1068"/>
                </a:lnTo>
                <a:lnTo>
                  <a:pt x="3226" y="1068"/>
                </a:lnTo>
                <a:lnTo>
                  <a:pt x="3220" y="1066"/>
                </a:lnTo>
                <a:lnTo>
                  <a:pt x="3220" y="1066"/>
                </a:lnTo>
                <a:lnTo>
                  <a:pt x="3220" y="1066"/>
                </a:lnTo>
                <a:lnTo>
                  <a:pt x="3220" y="1066"/>
                </a:lnTo>
                <a:lnTo>
                  <a:pt x="3220" y="1066"/>
                </a:lnTo>
                <a:lnTo>
                  <a:pt x="3226" y="1068"/>
                </a:lnTo>
                <a:lnTo>
                  <a:pt x="3226" y="1068"/>
                </a:lnTo>
                <a:lnTo>
                  <a:pt x="3224" y="1070"/>
                </a:lnTo>
                <a:lnTo>
                  <a:pt x="3224" y="1070"/>
                </a:lnTo>
                <a:close/>
                <a:moveTo>
                  <a:pt x="3240" y="1066"/>
                </a:moveTo>
                <a:lnTo>
                  <a:pt x="3240" y="1066"/>
                </a:lnTo>
                <a:lnTo>
                  <a:pt x="3232" y="1068"/>
                </a:lnTo>
                <a:lnTo>
                  <a:pt x="3232" y="1068"/>
                </a:lnTo>
                <a:lnTo>
                  <a:pt x="3232" y="1068"/>
                </a:lnTo>
                <a:lnTo>
                  <a:pt x="3232" y="1068"/>
                </a:lnTo>
                <a:lnTo>
                  <a:pt x="3238" y="1066"/>
                </a:lnTo>
                <a:lnTo>
                  <a:pt x="3238" y="1066"/>
                </a:lnTo>
                <a:lnTo>
                  <a:pt x="3238" y="1066"/>
                </a:lnTo>
                <a:lnTo>
                  <a:pt x="3238" y="1066"/>
                </a:lnTo>
                <a:lnTo>
                  <a:pt x="3238" y="1066"/>
                </a:lnTo>
                <a:lnTo>
                  <a:pt x="3238" y="1066"/>
                </a:lnTo>
                <a:lnTo>
                  <a:pt x="3240" y="1066"/>
                </a:lnTo>
                <a:lnTo>
                  <a:pt x="3240" y="1066"/>
                </a:lnTo>
                <a:close/>
                <a:moveTo>
                  <a:pt x="3172" y="912"/>
                </a:moveTo>
                <a:lnTo>
                  <a:pt x="3172" y="912"/>
                </a:lnTo>
                <a:lnTo>
                  <a:pt x="3208" y="932"/>
                </a:lnTo>
                <a:lnTo>
                  <a:pt x="3268" y="962"/>
                </a:lnTo>
                <a:lnTo>
                  <a:pt x="3268" y="962"/>
                </a:lnTo>
                <a:lnTo>
                  <a:pt x="3208" y="932"/>
                </a:lnTo>
                <a:lnTo>
                  <a:pt x="3172" y="912"/>
                </a:lnTo>
                <a:lnTo>
                  <a:pt x="3172" y="912"/>
                </a:lnTo>
                <a:close/>
                <a:moveTo>
                  <a:pt x="3322" y="1070"/>
                </a:moveTo>
                <a:lnTo>
                  <a:pt x="3322" y="1070"/>
                </a:lnTo>
                <a:lnTo>
                  <a:pt x="3322" y="1070"/>
                </a:lnTo>
                <a:lnTo>
                  <a:pt x="3322" y="1070"/>
                </a:lnTo>
                <a:lnTo>
                  <a:pt x="3322" y="1070"/>
                </a:lnTo>
                <a:lnTo>
                  <a:pt x="3322" y="1070"/>
                </a:lnTo>
                <a:lnTo>
                  <a:pt x="3322" y="1070"/>
                </a:lnTo>
                <a:lnTo>
                  <a:pt x="3322" y="1070"/>
                </a:lnTo>
                <a:close/>
                <a:moveTo>
                  <a:pt x="3316" y="1068"/>
                </a:moveTo>
                <a:lnTo>
                  <a:pt x="3316" y="1068"/>
                </a:lnTo>
                <a:lnTo>
                  <a:pt x="3318" y="1068"/>
                </a:lnTo>
                <a:lnTo>
                  <a:pt x="3318" y="1068"/>
                </a:lnTo>
                <a:lnTo>
                  <a:pt x="3316" y="1068"/>
                </a:lnTo>
                <a:lnTo>
                  <a:pt x="3316" y="1068"/>
                </a:lnTo>
                <a:lnTo>
                  <a:pt x="3310" y="1070"/>
                </a:lnTo>
                <a:lnTo>
                  <a:pt x="3310" y="1070"/>
                </a:lnTo>
                <a:lnTo>
                  <a:pt x="3310" y="1070"/>
                </a:lnTo>
                <a:lnTo>
                  <a:pt x="3310" y="1070"/>
                </a:lnTo>
                <a:lnTo>
                  <a:pt x="3310" y="1070"/>
                </a:lnTo>
                <a:lnTo>
                  <a:pt x="3310" y="1070"/>
                </a:lnTo>
                <a:lnTo>
                  <a:pt x="3312" y="1070"/>
                </a:lnTo>
                <a:lnTo>
                  <a:pt x="3312" y="1070"/>
                </a:lnTo>
                <a:lnTo>
                  <a:pt x="3312" y="1070"/>
                </a:lnTo>
                <a:lnTo>
                  <a:pt x="3312" y="1070"/>
                </a:lnTo>
                <a:lnTo>
                  <a:pt x="3316" y="1068"/>
                </a:lnTo>
                <a:lnTo>
                  <a:pt x="3316" y="1068"/>
                </a:lnTo>
                <a:close/>
                <a:moveTo>
                  <a:pt x="3268" y="1014"/>
                </a:moveTo>
                <a:lnTo>
                  <a:pt x="3268" y="1014"/>
                </a:lnTo>
                <a:lnTo>
                  <a:pt x="3246" y="1004"/>
                </a:lnTo>
                <a:lnTo>
                  <a:pt x="3246" y="1004"/>
                </a:lnTo>
                <a:lnTo>
                  <a:pt x="3254" y="1006"/>
                </a:lnTo>
                <a:lnTo>
                  <a:pt x="3272" y="1014"/>
                </a:lnTo>
                <a:lnTo>
                  <a:pt x="3272" y="1014"/>
                </a:lnTo>
                <a:lnTo>
                  <a:pt x="3268" y="1014"/>
                </a:lnTo>
                <a:lnTo>
                  <a:pt x="3268" y="1014"/>
                </a:lnTo>
                <a:close/>
                <a:moveTo>
                  <a:pt x="3302" y="960"/>
                </a:moveTo>
                <a:lnTo>
                  <a:pt x="3302" y="960"/>
                </a:lnTo>
                <a:lnTo>
                  <a:pt x="3306" y="962"/>
                </a:lnTo>
                <a:lnTo>
                  <a:pt x="3308" y="966"/>
                </a:lnTo>
                <a:lnTo>
                  <a:pt x="3308" y="966"/>
                </a:lnTo>
                <a:lnTo>
                  <a:pt x="3308" y="966"/>
                </a:lnTo>
                <a:lnTo>
                  <a:pt x="3308" y="966"/>
                </a:lnTo>
                <a:lnTo>
                  <a:pt x="3302" y="960"/>
                </a:lnTo>
                <a:lnTo>
                  <a:pt x="3302" y="960"/>
                </a:lnTo>
                <a:close/>
                <a:moveTo>
                  <a:pt x="3308" y="976"/>
                </a:moveTo>
                <a:lnTo>
                  <a:pt x="3308" y="976"/>
                </a:lnTo>
                <a:lnTo>
                  <a:pt x="3308" y="976"/>
                </a:lnTo>
                <a:lnTo>
                  <a:pt x="3312" y="976"/>
                </a:lnTo>
                <a:lnTo>
                  <a:pt x="3312" y="976"/>
                </a:lnTo>
                <a:lnTo>
                  <a:pt x="3312" y="976"/>
                </a:lnTo>
                <a:lnTo>
                  <a:pt x="3308" y="976"/>
                </a:lnTo>
                <a:close/>
                <a:moveTo>
                  <a:pt x="3422" y="1040"/>
                </a:moveTo>
                <a:lnTo>
                  <a:pt x="3422" y="1040"/>
                </a:lnTo>
                <a:lnTo>
                  <a:pt x="3422" y="1040"/>
                </a:lnTo>
                <a:lnTo>
                  <a:pt x="3422" y="1040"/>
                </a:lnTo>
                <a:lnTo>
                  <a:pt x="3428" y="1040"/>
                </a:lnTo>
                <a:lnTo>
                  <a:pt x="3428" y="1040"/>
                </a:lnTo>
                <a:lnTo>
                  <a:pt x="3428" y="1038"/>
                </a:lnTo>
                <a:lnTo>
                  <a:pt x="3428" y="1038"/>
                </a:lnTo>
                <a:lnTo>
                  <a:pt x="3428" y="1038"/>
                </a:lnTo>
                <a:lnTo>
                  <a:pt x="3428" y="1040"/>
                </a:lnTo>
                <a:lnTo>
                  <a:pt x="3428" y="1040"/>
                </a:lnTo>
                <a:lnTo>
                  <a:pt x="3422" y="1040"/>
                </a:lnTo>
                <a:lnTo>
                  <a:pt x="3422" y="1040"/>
                </a:lnTo>
                <a:close/>
                <a:moveTo>
                  <a:pt x="3724" y="1076"/>
                </a:moveTo>
                <a:lnTo>
                  <a:pt x="3724" y="1076"/>
                </a:lnTo>
                <a:lnTo>
                  <a:pt x="3722" y="1074"/>
                </a:lnTo>
                <a:lnTo>
                  <a:pt x="3722" y="1074"/>
                </a:lnTo>
                <a:lnTo>
                  <a:pt x="3722" y="1074"/>
                </a:lnTo>
                <a:lnTo>
                  <a:pt x="3722" y="1074"/>
                </a:lnTo>
                <a:lnTo>
                  <a:pt x="3724" y="1076"/>
                </a:lnTo>
                <a:lnTo>
                  <a:pt x="3724" y="1076"/>
                </a:lnTo>
                <a:lnTo>
                  <a:pt x="3716" y="1076"/>
                </a:lnTo>
                <a:lnTo>
                  <a:pt x="3716" y="1076"/>
                </a:lnTo>
                <a:lnTo>
                  <a:pt x="3716" y="1076"/>
                </a:lnTo>
                <a:lnTo>
                  <a:pt x="3716" y="1076"/>
                </a:lnTo>
                <a:lnTo>
                  <a:pt x="3724" y="1076"/>
                </a:lnTo>
                <a:lnTo>
                  <a:pt x="3724" y="1076"/>
                </a:lnTo>
                <a:close/>
                <a:moveTo>
                  <a:pt x="3754" y="190"/>
                </a:moveTo>
                <a:lnTo>
                  <a:pt x="3754" y="190"/>
                </a:lnTo>
                <a:lnTo>
                  <a:pt x="3744" y="186"/>
                </a:lnTo>
                <a:lnTo>
                  <a:pt x="3740" y="184"/>
                </a:lnTo>
                <a:lnTo>
                  <a:pt x="3740" y="180"/>
                </a:lnTo>
                <a:lnTo>
                  <a:pt x="3740" y="180"/>
                </a:lnTo>
                <a:lnTo>
                  <a:pt x="3768" y="182"/>
                </a:lnTo>
                <a:lnTo>
                  <a:pt x="3768" y="182"/>
                </a:lnTo>
                <a:lnTo>
                  <a:pt x="3768" y="180"/>
                </a:lnTo>
                <a:lnTo>
                  <a:pt x="3768" y="180"/>
                </a:lnTo>
                <a:lnTo>
                  <a:pt x="3740" y="174"/>
                </a:lnTo>
                <a:lnTo>
                  <a:pt x="3740" y="174"/>
                </a:lnTo>
                <a:lnTo>
                  <a:pt x="3744" y="160"/>
                </a:lnTo>
                <a:lnTo>
                  <a:pt x="3744" y="160"/>
                </a:lnTo>
                <a:lnTo>
                  <a:pt x="3744" y="158"/>
                </a:lnTo>
                <a:lnTo>
                  <a:pt x="3744" y="158"/>
                </a:lnTo>
                <a:lnTo>
                  <a:pt x="3742" y="152"/>
                </a:lnTo>
                <a:lnTo>
                  <a:pt x="3742" y="150"/>
                </a:lnTo>
                <a:lnTo>
                  <a:pt x="3744" y="150"/>
                </a:lnTo>
                <a:lnTo>
                  <a:pt x="3744" y="150"/>
                </a:lnTo>
                <a:lnTo>
                  <a:pt x="3752" y="146"/>
                </a:lnTo>
                <a:lnTo>
                  <a:pt x="3762" y="146"/>
                </a:lnTo>
                <a:lnTo>
                  <a:pt x="3762" y="146"/>
                </a:lnTo>
                <a:lnTo>
                  <a:pt x="3784" y="146"/>
                </a:lnTo>
                <a:lnTo>
                  <a:pt x="3806" y="150"/>
                </a:lnTo>
                <a:lnTo>
                  <a:pt x="3806" y="150"/>
                </a:lnTo>
                <a:lnTo>
                  <a:pt x="3828" y="156"/>
                </a:lnTo>
                <a:lnTo>
                  <a:pt x="3848" y="158"/>
                </a:lnTo>
                <a:lnTo>
                  <a:pt x="3848" y="158"/>
                </a:lnTo>
                <a:lnTo>
                  <a:pt x="3852" y="158"/>
                </a:lnTo>
                <a:lnTo>
                  <a:pt x="3856" y="158"/>
                </a:lnTo>
                <a:lnTo>
                  <a:pt x="3858" y="166"/>
                </a:lnTo>
                <a:lnTo>
                  <a:pt x="3858" y="166"/>
                </a:lnTo>
                <a:lnTo>
                  <a:pt x="3856" y="168"/>
                </a:lnTo>
                <a:lnTo>
                  <a:pt x="3852" y="168"/>
                </a:lnTo>
                <a:lnTo>
                  <a:pt x="3846" y="166"/>
                </a:lnTo>
                <a:lnTo>
                  <a:pt x="3846" y="166"/>
                </a:lnTo>
                <a:lnTo>
                  <a:pt x="3836" y="164"/>
                </a:lnTo>
                <a:lnTo>
                  <a:pt x="3832" y="166"/>
                </a:lnTo>
                <a:lnTo>
                  <a:pt x="3828" y="170"/>
                </a:lnTo>
                <a:lnTo>
                  <a:pt x="3828" y="170"/>
                </a:lnTo>
                <a:lnTo>
                  <a:pt x="3820" y="166"/>
                </a:lnTo>
                <a:lnTo>
                  <a:pt x="3810" y="166"/>
                </a:lnTo>
                <a:lnTo>
                  <a:pt x="3790" y="166"/>
                </a:lnTo>
                <a:lnTo>
                  <a:pt x="3790" y="166"/>
                </a:lnTo>
                <a:lnTo>
                  <a:pt x="3790" y="168"/>
                </a:lnTo>
                <a:lnTo>
                  <a:pt x="3790" y="168"/>
                </a:lnTo>
                <a:lnTo>
                  <a:pt x="3790" y="168"/>
                </a:lnTo>
                <a:lnTo>
                  <a:pt x="3816" y="176"/>
                </a:lnTo>
                <a:lnTo>
                  <a:pt x="3816" y="176"/>
                </a:lnTo>
                <a:lnTo>
                  <a:pt x="3808" y="182"/>
                </a:lnTo>
                <a:lnTo>
                  <a:pt x="3808" y="182"/>
                </a:lnTo>
                <a:lnTo>
                  <a:pt x="3798" y="180"/>
                </a:lnTo>
                <a:lnTo>
                  <a:pt x="3798" y="180"/>
                </a:lnTo>
                <a:lnTo>
                  <a:pt x="3790" y="184"/>
                </a:lnTo>
                <a:lnTo>
                  <a:pt x="3790" y="184"/>
                </a:lnTo>
                <a:lnTo>
                  <a:pt x="3792" y="186"/>
                </a:lnTo>
                <a:lnTo>
                  <a:pt x="3792" y="186"/>
                </a:lnTo>
                <a:lnTo>
                  <a:pt x="3792" y="188"/>
                </a:lnTo>
                <a:lnTo>
                  <a:pt x="3792" y="190"/>
                </a:lnTo>
                <a:lnTo>
                  <a:pt x="3792" y="190"/>
                </a:lnTo>
                <a:lnTo>
                  <a:pt x="3790" y="194"/>
                </a:lnTo>
                <a:lnTo>
                  <a:pt x="3786" y="200"/>
                </a:lnTo>
                <a:lnTo>
                  <a:pt x="3786" y="200"/>
                </a:lnTo>
                <a:lnTo>
                  <a:pt x="3782" y="200"/>
                </a:lnTo>
                <a:lnTo>
                  <a:pt x="3776" y="202"/>
                </a:lnTo>
                <a:lnTo>
                  <a:pt x="3766" y="200"/>
                </a:lnTo>
                <a:lnTo>
                  <a:pt x="3766" y="200"/>
                </a:lnTo>
                <a:lnTo>
                  <a:pt x="3756" y="198"/>
                </a:lnTo>
                <a:lnTo>
                  <a:pt x="3756" y="198"/>
                </a:lnTo>
                <a:lnTo>
                  <a:pt x="3742" y="194"/>
                </a:lnTo>
                <a:lnTo>
                  <a:pt x="3742" y="194"/>
                </a:lnTo>
                <a:lnTo>
                  <a:pt x="3738" y="194"/>
                </a:lnTo>
                <a:lnTo>
                  <a:pt x="3732" y="194"/>
                </a:lnTo>
                <a:lnTo>
                  <a:pt x="3728" y="194"/>
                </a:lnTo>
                <a:lnTo>
                  <a:pt x="3722" y="192"/>
                </a:lnTo>
                <a:lnTo>
                  <a:pt x="3722" y="192"/>
                </a:lnTo>
                <a:lnTo>
                  <a:pt x="3726" y="190"/>
                </a:lnTo>
                <a:lnTo>
                  <a:pt x="3730" y="190"/>
                </a:lnTo>
                <a:lnTo>
                  <a:pt x="3736" y="190"/>
                </a:lnTo>
                <a:lnTo>
                  <a:pt x="3746" y="190"/>
                </a:lnTo>
                <a:lnTo>
                  <a:pt x="3754" y="190"/>
                </a:lnTo>
                <a:lnTo>
                  <a:pt x="3754" y="190"/>
                </a:lnTo>
                <a:close/>
                <a:moveTo>
                  <a:pt x="3814" y="194"/>
                </a:moveTo>
                <a:lnTo>
                  <a:pt x="3814" y="194"/>
                </a:lnTo>
                <a:lnTo>
                  <a:pt x="3810" y="198"/>
                </a:lnTo>
                <a:lnTo>
                  <a:pt x="3808" y="202"/>
                </a:lnTo>
                <a:lnTo>
                  <a:pt x="3804" y="206"/>
                </a:lnTo>
                <a:lnTo>
                  <a:pt x="3798" y="206"/>
                </a:lnTo>
                <a:lnTo>
                  <a:pt x="3798" y="206"/>
                </a:lnTo>
                <a:lnTo>
                  <a:pt x="3798" y="202"/>
                </a:lnTo>
                <a:lnTo>
                  <a:pt x="3802" y="198"/>
                </a:lnTo>
                <a:lnTo>
                  <a:pt x="3806" y="196"/>
                </a:lnTo>
                <a:lnTo>
                  <a:pt x="3814" y="194"/>
                </a:lnTo>
                <a:lnTo>
                  <a:pt x="3814" y="194"/>
                </a:lnTo>
                <a:close/>
                <a:moveTo>
                  <a:pt x="3796" y="294"/>
                </a:moveTo>
                <a:lnTo>
                  <a:pt x="3796" y="294"/>
                </a:lnTo>
                <a:lnTo>
                  <a:pt x="3790" y="294"/>
                </a:lnTo>
                <a:lnTo>
                  <a:pt x="3790" y="294"/>
                </a:lnTo>
                <a:lnTo>
                  <a:pt x="3788" y="292"/>
                </a:lnTo>
                <a:lnTo>
                  <a:pt x="3788" y="292"/>
                </a:lnTo>
                <a:lnTo>
                  <a:pt x="3794" y="292"/>
                </a:lnTo>
                <a:lnTo>
                  <a:pt x="3794" y="292"/>
                </a:lnTo>
                <a:lnTo>
                  <a:pt x="3796" y="294"/>
                </a:lnTo>
                <a:lnTo>
                  <a:pt x="3796" y="294"/>
                </a:lnTo>
                <a:close/>
                <a:moveTo>
                  <a:pt x="3694" y="98"/>
                </a:moveTo>
                <a:lnTo>
                  <a:pt x="3694" y="98"/>
                </a:lnTo>
                <a:lnTo>
                  <a:pt x="3690" y="114"/>
                </a:lnTo>
                <a:lnTo>
                  <a:pt x="3690" y="114"/>
                </a:lnTo>
                <a:lnTo>
                  <a:pt x="3676" y="116"/>
                </a:lnTo>
                <a:lnTo>
                  <a:pt x="3676" y="116"/>
                </a:lnTo>
                <a:lnTo>
                  <a:pt x="3668" y="108"/>
                </a:lnTo>
                <a:lnTo>
                  <a:pt x="3668" y="108"/>
                </a:lnTo>
                <a:lnTo>
                  <a:pt x="3680" y="102"/>
                </a:lnTo>
                <a:lnTo>
                  <a:pt x="3686" y="100"/>
                </a:lnTo>
                <a:lnTo>
                  <a:pt x="3694" y="98"/>
                </a:lnTo>
                <a:lnTo>
                  <a:pt x="3694" y="98"/>
                </a:lnTo>
                <a:close/>
                <a:moveTo>
                  <a:pt x="3654" y="140"/>
                </a:moveTo>
                <a:lnTo>
                  <a:pt x="3654" y="140"/>
                </a:lnTo>
                <a:lnTo>
                  <a:pt x="3658" y="136"/>
                </a:lnTo>
                <a:lnTo>
                  <a:pt x="3662" y="134"/>
                </a:lnTo>
                <a:lnTo>
                  <a:pt x="3666" y="134"/>
                </a:lnTo>
                <a:lnTo>
                  <a:pt x="3670" y="138"/>
                </a:lnTo>
                <a:lnTo>
                  <a:pt x="3670" y="138"/>
                </a:lnTo>
                <a:lnTo>
                  <a:pt x="3666" y="140"/>
                </a:lnTo>
                <a:lnTo>
                  <a:pt x="3664" y="142"/>
                </a:lnTo>
                <a:lnTo>
                  <a:pt x="3658" y="142"/>
                </a:lnTo>
                <a:lnTo>
                  <a:pt x="3654" y="140"/>
                </a:lnTo>
                <a:lnTo>
                  <a:pt x="3654" y="140"/>
                </a:lnTo>
                <a:close/>
                <a:moveTo>
                  <a:pt x="3666" y="154"/>
                </a:moveTo>
                <a:lnTo>
                  <a:pt x="3666" y="154"/>
                </a:lnTo>
                <a:lnTo>
                  <a:pt x="3664" y="152"/>
                </a:lnTo>
                <a:lnTo>
                  <a:pt x="3662" y="150"/>
                </a:lnTo>
                <a:lnTo>
                  <a:pt x="3664" y="144"/>
                </a:lnTo>
                <a:lnTo>
                  <a:pt x="3664" y="144"/>
                </a:lnTo>
                <a:lnTo>
                  <a:pt x="3664" y="144"/>
                </a:lnTo>
                <a:lnTo>
                  <a:pt x="3676" y="148"/>
                </a:lnTo>
                <a:lnTo>
                  <a:pt x="3676" y="148"/>
                </a:lnTo>
                <a:lnTo>
                  <a:pt x="3674" y="152"/>
                </a:lnTo>
                <a:lnTo>
                  <a:pt x="3670" y="154"/>
                </a:lnTo>
                <a:lnTo>
                  <a:pt x="3666" y="154"/>
                </a:lnTo>
                <a:lnTo>
                  <a:pt x="3666" y="154"/>
                </a:lnTo>
                <a:close/>
                <a:moveTo>
                  <a:pt x="3674" y="206"/>
                </a:moveTo>
                <a:lnTo>
                  <a:pt x="3674" y="206"/>
                </a:lnTo>
                <a:lnTo>
                  <a:pt x="3678" y="202"/>
                </a:lnTo>
                <a:lnTo>
                  <a:pt x="3680" y="200"/>
                </a:lnTo>
                <a:lnTo>
                  <a:pt x="3682" y="200"/>
                </a:lnTo>
                <a:lnTo>
                  <a:pt x="3682" y="200"/>
                </a:lnTo>
                <a:lnTo>
                  <a:pt x="3686" y="204"/>
                </a:lnTo>
                <a:lnTo>
                  <a:pt x="3686" y="204"/>
                </a:lnTo>
                <a:lnTo>
                  <a:pt x="3674" y="206"/>
                </a:lnTo>
                <a:lnTo>
                  <a:pt x="3674" y="206"/>
                </a:lnTo>
                <a:close/>
                <a:moveTo>
                  <a:pt x="3684" y="254"/>
                </a:moveTo>
                <a:lnTo>
                  <a:pt x="3684" y="254"/>
                </a:lnTo>
                <a:lnTo>
                  <a:pt x="3690" y="248"/>
                </a:lnTo>
                <a:lnTo>
                  <a:pt x="3690" y="248"/>
                </a:lnTo>
                <a:lnTo>
                  <a:pt x="3698" y="246"/>
                </a:lnTo>
                <a:lnTo>
                  <a:pt x="3700" y="244"/>
                </a:lnTo>
                <a:lnTo>
                  <a:pt x="3702" y="240"/>
                </a:lnTo>
                <a:lnTo>
                  <a:pt x="3702" y="240"/>
                </a:lnTo>
                <a:lnTo>
                  <a:pt x="3696" y="236"/>
                </a:lnTo>
                <a:lnTo>
                  <a:pt x="3696" y="232"/>
                </a:lnTo>
                <a:lnTo>
                  <a:pt x="3698" y="228"/>
                </a:lnTo>
                <a:lnTo>
                  <a:pt x="3698" y="228"/>
                </a:lnTo>
                <a:lnTo>
                  <a:pt x="3706" y="230"/>
                </a:lnTo>
                <a:lnTo>
                  <a:pt x="3706" y="230"/>
                </a:lnTo>
                <a:lnTo>
                  <a:pt x="3710" y="230"/>
                </a:lnTo>
                <a:lnTo>
                  <a:pt x="3716" y="230"/>
                </a:lnTo>
                <a:lnTo>
                  <a:pt x="3724" y="228"/>
                </a:lnTo>
                <a:lnTo>
                  <a:pt x="3724" y="228"/>
                </a:lnTo>
                <a:lnTo>
                  <a:pt x="3730" y="226"/>
                </a:lnTo>
                <a:lnTo>
                  <a:pt x="3736" y="224"/>
                </a:lnTo>
                <a:lnTo>
                  <a:pt x="3736" y="224"/>
                </a:lnTo>
                <a:lnTo>
                  <a:pt x="3750" y="220"/>
                </a:lnTo>
                <a:lnTo>
                  <a:pt x="3750" y="220"/>
                </a:lnTo>
                <a:lnTo>
                  <a:pt x="3750" y="220"/>
                </a:lnTo>
                <a:lnTo>
                  <a:pt x="3740" y="214"/>
                </a:lnTo>
                <a:lnTo>
                  <a:pt x="3740" y="214"/>
                </a:lnTo>
                <a:lnTo>
                  <a:pt x="3744" y="214"/>
                </a:lnTo>
                <a:lnTo>
                  <a:pt x="3748" y="214"/>
                </a:lnTo>
                <a:lnTo>
                  <a:pt x="3752" y="218"/>
                </a:lnTo>
                <a:lnTo>
                  <a:pt x="3752" y="218"/>
                </a:lnTo>
                <a:lnTo>
                  <a:pt x="3752" y="222"/>
                </a:lnTo>
                <a:lnTo>
                  <a:pt x="3750" y="224"/>
                </a:lnTo>
                <a:lnTo>
                  <a:pt x="3748" y="226"/>
                </a:lnTo>
                <a:lnTo>
                  <a:pt x="3748" y="226"/>
                </a:lnTo>
                <a:lnTo>
                  <a:pt x="3744" y="230"/>
                </a:lnTo>
                <a:lnTo>
                  <a:pt x="3738" y="232"/>
                </a:lnTo>
                <a:lnTo>
                  <a:pt x="3738" y="232"/>
                </a:lnTo>
                <a:lnTo>
                  <a:pt x="3744" y="238"/>
                </a:lnTo>
                <a:lnTo>
                  <a:pt x="3744" y="238"/>
                </a:lnTo>
                <a:lnTo>
                  <a:pt x="3732" y="250"/>
                </a:lnTo>
                <a:lnTo>
                  <a:pt x="3732" y="250"/>
                </a:lnTo>
                <a:lnTo>
                  <a:pt x="3736" y="254"/>
                </a:lnTo>
                <a:lnTo>
                  <a:pt x="3738" y="258"/>
                </a:lnTo>
                <a:lnTo>
                  <a:pt x="3736" y="260"/>
                </a:lnTo>
                <a:lnTo>
                  <a:pt x="3736" y="260"/>
                </a:lnTo>
                <a:lnTo>
                  <a:pt x="3738" y="262"/>
                </a:lnTo>
                <a:lnTo>
                  <a:pt x="3742" y="264"/>
                </a:lnTo>
                <a:lnTo>
                  <a:pt x="3742" y="264"/>
                </a:lnTo>
                <a:lnTo>
                  <a:pt x="3756" y="268"/>
                </a:lnTo>
                <a:lnTo>
                  <a:pt x="3764" y="268"/>
                </a:lnTo>
                <a:lnTo>
                  <a:pt x="3772" y="266"/>
                </a:lnTo>
                <a:lnTo>
                  <a:pt x="3772" y="266"/>
                </a:lnTo>
                <a:lnTo>
                  <a:pt x="3774" y="274"/>
                </a:lnTo>
                <a:lnTo>
                  <a:pt x="3774" y="274"/>
                </a:lnTo>
                <a:lnTo>
                  <a:pt x="3766" y="278"/>
                </a:lnTo>
                <a:lnTo>
                  <a:pt x="3758" y="280"/>
                </a:lnTo>
                <a:lnTo>
                  <a:pt x="3740" y="282"/>
                </a:lnTo>
                <a:lnTo>
                  <a:pt x="3740" y="282"/>
                </a:lnTo>
                <a:lnTo>
                  <a:pt x="3738" y="282"/>
                </a:lnTo>
                <a:lnTo>
                  <a:pt x="3738" y="282"/>
                </a:lnTo>
                <a:lnTo>
                  <a:pt x="3710" y="276"/>
                </a:lnTo>
                <a:lnTo>
                  <a:pt x="3710" y="276"/>
                </a:lnTo>
                <a:lnTo>
                  <a:pt x="3710" y="272"/>
                </a:lnTo>
                <a:lnTo>
                  <a:pt x="3714" y="268"/>
                </a:lnTo>
                <a:lnTo>
                  <a:pt x="3718" y="264"/>
                </a:lnTo>
                <a:lnTo>
                  <a:pt x="3722" y="260"/>
                </a:lnTo>
                <a:lnTo>
                  <a:pt x="3722" y="260"/>
                </a:lnTo>
                <a:lnTo>
                  <a:pt x="3718" y="258"/>
                </a:lnTo>
                <a:lnTo>
                  <a:pt x="3714" y="256"/>
                </a:lnTo>
                <a:lnTo>
                  <a:pt x="3710" y="256"/>
                </a:lnTo>
                <a:lnTo>
                  <a:pt x="3704" y="258"/>
                </a:lnTo>
                <a:lnTo>
                  <a:pt x="3704" y="258"/>
                </a:lnTo>
                <a:lnTo>
                  <a:pt x="3690" y="262"/>
                </a:lnTo>
                <a:lnTo>
                  <a:pt x="3690" y="262"/>
                </a:lnTo>
                <a:lnTo>
                  <a:pt x="3686" y="262"/>
                </a:lnTo>
                <a:lnTo>
                  <a:pt x="3682" y="260"/>
                </a:lnTo>
                <a:lnTo>
                  <a:pt x="3682" y="260"/>
                </a:lnTo>
                <a:lnTo>
                  <a:pt x="3680" y="258"/>
                </a:lnTo>
                <a:lnTo>
                  <a:pt x="3680" y="256"/>
                </a:lnTo>
                <a:lnTo>
                  <a:pt x="3684" y="254"/>
                </a:lnTo>
                <a:lnTo>
                  <a:pt x="3684" y="254"/>
                </a:lnTo>
                <a:close/>
                <a:moveTo>
                  <a:pt x="3818" y="856"/>
                </a:moveTo>
                <a:lnTo>
                  <a:pt x="3818" y="856"/>
                </a:lnTo>
                <a:lnTo>
                  <a:pt x="3818" y="856"/>
                </a:lnTo>
                <a:lnTo>
                  <a:pt x="3818" y="856"/>
                </a:lnTo>
                <a:lnTo>
                  <a:pt x="3820" y="856"/>
                </a:lnTo>
                <a:lnTo>
                  <a:pt x="3820" y="856"/>
                </a:lnTo>
                <a:lnTo>
                  <a:pt x="3818" y="858"/>
                </a:lnTo>
                <a:lnTo>
                  <a:pt x="3818" y="858"/>
                </a:lnTo>
                <a:lnTo>
                  <a:pt x="3820" y="856"/>
                </a:lnTo>
                <a:lnTo>
                  <a:pt x="3820" y="856"/>
                </a:lnTo>
                <a:lnTo>
                  <a:pt x="3818" y="856"/>
                </a:lnTo>
                <a:lnTo>
                  <a:pt x="3818" y="856"/>
                </a:lnTo>
                <a:close/>
                <a:moveTo>
                  <a:pt x="3820" y="908"/>
                </a:moveTo>
                <a:lnTo>
                  <a:pt x="3820" y="908"/>
                </a:lnTo>
                <a:lnTo>
                  <a:pt x="3810" y="912"/>
                </a:lnTo>
                <a:lnTo>
                  <a:pt x="3802" y="912"/>
                </a:lnTo>
                <a:lnTo>
                  <a:pt x="3794" y="908"/>
                </a:lnTo>
                <a:lnTo>
                  <a:pt x="3786" y="904"/>
                </a:lnTo>
                <a:lnTo>
                  <a:pt x="3786" y="904"/>
                </a:lnTo>
                <a:lnTo>
                  <a:pt x="3792" y="902"/>
                </a:lnTo>
                <a:lnTo>
                  <a:pt x="3792" y="902"/>
                </a:lnTo>
                <a:lnTo>
                  <a:pt x="3800" y="900"/>
                </a:lnTo>
                <a:lnTo>
                  <a:pt x="3800" y="900"/>
                </a:lnTo>
                <a:lnTo>
                  <a:pt x="3806" y="908"/>
                </a:lnTo>
                <a:lnTo>
                  <a:pt x="3806" y="908"/>
                </a:lnTo>
                <a:lnTo>
                  <a:pt x="3812" y="906"/>
                </a:lnTo>
                <a:lnTo>
                  <a:pt x="3816" y="906"/>
                </a:lnTo>
                <a:lnTo>
                  <a:pt x="3820" y="908"/>
                </a:lnTo>
                <a:lnTo>
                  <a:pt x="3820" y="908"/>
                </a:lnTo>
                <a:close/>
                <a:moveTo>
                  <a:pt x="3786" y="912"/>
                </a:moveTo>
                <a:lnTo>
                  <a:pt x="3786" y="912"/>
                </a:lnTo>
                <a:lnTo>
                  <a:pt x="3786" y="912"/>
                </a:lnTo>
                <a:lnTo>
                  <a:pt x="3786" y="912"/>
                </a:lnTo>
                <a:lnTo>
                  <a:pt x="3780" y="914"/>
                </a:lnTo>
                <a:lnTo>
                  <a:pt x="3776" y="912"/>
                </a:lnTo>
                <a:lnTo>
                  <a:pt x="3776" y="912"/>
                </a:lnTo>
                <a:lnTo>
                  <a:pt x="3780" y="914"/>
                </a:lnTo>
                <a:lnTo>
                  <a:pt x="3786" y="912"/>
                </a:lnTo>
                <a:lnTo>
                  <a:pt x="3786" y="912"/>
                </a:lnTo>
                <a:close/>
                <a:moveTo>
                  <a:pt x="3774" y="904"/>
                </a:moveTo>
                <a:lnTo>
                  <a:pt x="3774" y="904"/>
                </a:lnTo>
                <a:lnTo>
                  <a:pt x="3778" y="904"/>
                </a:lnTo>
                <a:lnTo>
                  <a:pt x="3778" y="904"/>
                </a:lnTo>
                <a:lnTo>
                  <a:pt x="3778" y="904"/>
                </a:lnTo>
                <a:lnTo>
                  <a:pt x="3774" y="906"/>
                </a:lnTo>
                <a:lnTo>
                  <a:pt x="3774" y="906"/>
                </a:lnTo>
                <a:lnTo>
                  <a:pt x="3774" y="906"/>
                </a:lnTo>
                <a:lnTo>
                  <a:pt x="3774" y="906"/>
                </a:lnTo>
                <a:lnTo>
                  <a:pt x="3778" y="904"/>
                </a:lnTo>
                <a:lnTo>
                  <a:pt x="3778" y="904"/>
                </a:lnTo>
                <a:lnTo>
                  <a:pt x="3774" y="904"/>
                </a:lnTo>
                <a:lnTo>
                  <a:pt x="3774" y="904"/>
                </a:lnTo>
                <a:close/>
                <a:moveTo>
                  <a:pt x="3772" y="886"/>
                </a:moveTo>
                <a:lnTo>
                  <a:pt x="3772" y="886"/>
                </a:lnTo>
                <a:lnTo>
                  <a:pt x="3772" y="884"/>
                </a:lnTo>
                <a:lnTo>
                  <a:pt x="3782" y="884"/>
                </a:lnTo>
                <a:lnTo>
                  <a:pt x="3782" y="884"/>
                </a:lnTo>
                <a:lnTo>
                  <a:pt x="3782" y="886"/>
                </a:lnTo>
                <a:lnTo>
                  <a:pt x="3772" y="886"/>
                </a:lnTo>
                <a:close/>
                <a:moveTo>
                  <a:pt x="3726" y="904"/>
                </a:moveTo>
                <a:lnTo>
                  <a:pt x="3726" y="904"/>
                </a:lnTo>
                <a:lnTo>
                  <a:pt x="3720" y="902"/>
                </a:lnTo>
                <a:lnTo>
                  <a:pt x="3714" y="896"/>
                </a:lnTo>
                <a:lnTo>
                  <a:pt x="3714" y="896"/>
                </a:lnTo>
                <a:lnTo>
                  <a:pt x="3728" y="896"/>
                </a:lnTo>
                <a:lnTo>
                  <a:pt x="3728" y="896"/>
                </a:lnTo>
                <a:lnTo>
                  <a:pt x="3734" y="900"/>
                </a:lnTo>
                <a:lnTo>
                  <a:pt x="3734" y="900"/>
                </a:lnTo>
                <a:lnTo>
                  <a:pt x="3734" y="902"/>
                </a:lnTo>
                <a:lnTo>
                  <a:pt x="3734" y="902"/>
                </a:lnTo>
                <a:lnTo>
                  <a:pt x="3726" y="904"/>
                </a:lnTo>
                <a:lnTo>
                  <a:pt x="3726" y="904"/>
                </a:lnTo>
                <a:close/>
                <a:moveTo>
                  <a:pt x="3732" y="946"/>
                </a:moveTo>
                <a:lnTo>
                  <a:pt x="3732" y="946"/>
                </a:lnTo>
                <a:lnTo>
                  <a:pt x="3728" y="948"/>
                </a:lnTo>
                <a:lnTo>
                  <a:pt x="3724" y="948"/>
                </a:lnTo>
                <a:lnTo>
                  <a:pt x="3724" y="948"/>
                </a:lnTo>
                <a:lnTo>
                  <a:pt x="3728" y="948"/>
                </a:lnTo>
                <a:lnTo>
                  <a:pt x="3732" y="946"/>
                </a:lnTo>
                <a:lnTo>
                  <a:pt x="3732" y="946"/>
                </a:lnTo>
                <a:lnTo>
                  <a:pt x="3732" y="946"/>
                </a:lnTo>
                <a:lnTo>
                  <a:pt x="3732" y="946"/>
                </a:lnTo>
                <a:close/>
                <a:moveTo>
                  <a:pt x="3722" y="886"/>
                </a:moveTo>
                <a:lnTo>
                  <a:pt x="3722" y="886"/>
                </a:lnTo>
                <a:lnTo>
                  <a:pt x="3724" y="886"/>
                </a:lnTo>
                <a:lnTo>
                  <a:pt x="3724" y="886"/>
                </a:lnTo>
                <a:lnTo>
                  <a:pt x="3722" y="888"/>
                </a:lnTo>
                <a:lnTo>
                  <a:pt x="3722" y="888"/>
                </a:lnTo>
                <a:lnTo>
                  <a:pt x="3718" y="888"/>
                </a:lnTo>
                <a:lnTo>
                  <a:pt x="3718" y="888"/>
                </a:lnTo>
                <a:lnTo>
                  <a:pt x="3722" y="888"/>
                </a:lnTo>
                <a:lnTo>
                  <a:pt x="3722" y="888"/>
                </a:lnTo>
                <a:lnTo>
                  <a:pt x="3724" y="886"/>
                </a:lnTo>
                <a:lnTo>
                  <a:pt x="3724" y="886"/>
                </a:lnTo>
                <a:lnTo>
                  <a:pt x="3722" y="886"/>
                </a:lnTo>
                <a:lnTo>
                  <a:pt x="3722" y="886"/>
                </a:lnTo>
                <a:close/>
                <a:moveTo>
                  <a:pt x="3730" y="890"/>
                </a:moveTo>
                <a:lnTo>
                  <a:pt x="3730" y="890"/>
                </a:lnTo>
                <a:lnTo>
                  <a:pt x="3732" y="886"/>
                </a:lnTo>
                <a:lnTo>
                  <a:pt x="3736" y="886"/>
                </a:lnTo>
                <a:lnTo>
                  <a:pt x="3756" y="888"/>
                </a:lnTo>
                <a:lnTo>
                  <a:pt x="3756" y="888"/>
                </a:lnTo>
                <a:lnTo>
                  <a:pt x="3748" y="892"/>
                </a:lnTo>
                <a:lnTo>
                  <a:pt x="3748" y="892"/>
                </a:lnTo>
                <a:lnTo>
                  <a:pt x="3742" y="896"/>
                </a:lnTo>
                <a:lnTo>
                  <a:pt x="3742" y="896"/>
                </a:lnTo>
                <a:lnTo>
                  <a:pt x="3730" y="890"/>
                </a:lnTo>
                <a:lnTo>
                  <a:pt x="3730" y="890"/>
                </a:lnTo>
                <a:close/>
                <a:moveTo>
                  <a:pt x="3752" y="302"/>
                </a:moveTo>
                <a:lnTo>
                  <a:pt x="3752" y="302"/>
                </a:lnTo>
                <a:lnTo>
                  <a:pt x="3732" y="306"/>
                </a:lnTo>
                <a:lnTo>
                  <a:pt x="3732" y="306"/>
                </a:lnTo>
                <a:lnTo>
                  <a:pt x="3720" y="288"/>
                </a:lnTo>
                <a:lnTo>
                  <a:pt x="3720" y="288"/>
                </a:lnTo>
                <a:lnTo>
                  <a:pt x="3726" y="286"/>
                </a:lnTo>
                <a:lnTo>
                  <a:pt x="3730" y="288"/>
                </a:lnTo>
                <a:lnTo>
                  <a:pt x="3736" y="290"/>
                </a:lnTo>
                <a:lnTo>
                  <a:pt x="3736" y="290"/>
                </a:lnTo>
                <a:lnTo>
                  <a:pt x="3742" y="294"/>
                </a:lnTo>
                <a:lnTo>
                  <a:pt x="3748" y="294"/>
                </a:lnTo>
                <a:lnTo>
                  <a:pt x="3752" y="294"/>
                </a:lnTo>
                <a:lnTo>
                  <a:pt x="3758" y="292"/>
                </a:lnTo>
                <a:lnTo>
                  <a:pt x="3758" y="292"/>
                </a:lnTo>
                <a:lnTo>
                  <a:pt x="3762" y="292"/>
                </a:lnTo>
                <a:lnTo>
                  <a:pt x="3762" y="292"/>
                </a:lnTo>
                <a:lnTo>
                  <a:pt x="3774" y="300"/>
                </a:lnTo>
                <a:lnTo>
                  <a:pt x="3774" y="300"/>
                </a:lnTo>
                <a:lnTo>
                  <a:pt x="3772" y="302"/>
                </a:lnTo>
                <a:lnTo>
                  <a:pt x="3772" y="302"/>
                </a:lnTo>
                <a:lnTo>
                  <a:pt x="3752" y="302"/>
                </a:lnTo>
                <a:lnTo>
                  <a:pt x="3752" y="302"/>
                </a:lnTo>
                <a:close/>
                <a:moveTo>
                  <a:pt x="3710" y="946"/>
                </a:moveTo>
                <a:lnTo>
                  <a:pt x="3710" y="946"/>
                </a:lnTo>
                <a:lnTo>
                  <a:pt x="3698" y="946"/>
                </a:lnTo>
                <a:lnTo>
                  <a:pt x="3698" y="946"/>
                </a:lnTo>
                <a:lnTo>
                  <a:pt x="3698" y="946"/>
                </a:lnTo>
                <a:lnTo>
                  <a:pt x="3698" y="946"/>
                </a:lnTo>
                <a:lnTo>
                  <a:pt x="3710" y="946"/>
                </a:lnTo>
                <a:lnTo>
                  <a:pt x="3710" y="946"/>
                </a:lnTo>
                <a:lnTo>
                  <a:pt x="3712" y="948"/>
                </a:lnTo>
                <a:lnTo>
                  <a:pt x="3712" y="950"/>
                </a:lnTo>
                <a:lnTo>
                  <a:pt x="3712" y="950"/>
                </a:lnTo>
                <a:lnTo>
                  <a:pt x="3712" y="952"/>
                </a:lnTo>
                <a:lnTo>
                  <a:pt x="3712" y="952"/>
                </a:lnTo>
                <a:lnTo>
                  <a:pt x="3712" y="952"/>
                </a:lnTo>
                <a:lnTo>
                  <a:pt x="3712" y="952"/>
                </a:lnTo>
                <a:lnTo>
                  <a:pt x="3712" y="948"/>
                </a:lnTo>
                <a:lnTo>
                  <a:pt x="3710" y="946"/>
                </a:lnTo>
                <a:lnTo>
                  <a:pt x="3710" y="946"/>
                </a:lnTo>
                <a:close/>
                <a:moveTo>
                  <a:pt x="3690" y="900"/>
                </a:moveTo>
                <a:lnTo>
                  <a:pt x="3690" y="900"/>
                </a:lnTo>
                <a:lnTo>
                  <a:pt x="3692" y="900"/>
                </a:lnTo>
                <a:lnTo>
                  <a:pt x="3694" y="900"/>
                </a:lnTo>
                <a:lnTo>
                  <a:pt x="3694" y="900"/>
                </a:lnTo>
                <a:lnTo>
                  <a:pt x="3694" y="898"/>
                </a:lnTo>
                <a:lnTo>
                  <a:pt x="3694" y="898"/>
                </a:lnTo>
                <a:lnTo>
                  <a:pt x="3694" y="898"/>
                </a:lnTo>
                <a:lnTo>
                  <a:pt x="3694" y="898"/>
                </a:lnTo>
                <a:lnTo>
                  <a:pt x="3696" y="900"/>
                </a:lnTo>
                <a:lnTo>
                  <a:pt x="3696" y="900"/>
                </a:lnTo>
                <a:lnTo>
                  <a:pt x="3692" y="902"/>
                </a:lnTo>
                <a:lnTo>
                  <a:pt x="3690" y="900"/>
                </a:lnTo>
                <a:lnTo>
                  <a:pt x="3690" y="900"/>
                </a:lnTo>
                <a:close/>
                <a:moveTo>
                  <a:pt x="3670" y="266"/>
                </a:moveTo>
                <a:lnTo>
                  <a:pt x="3670" y="266"/>
                </a:lnTo>
                <a:lnTo>
                  <a:pt x="3664" y="268"/>
                </a:lnTo>
                <a:lnTo>
                  <a:pt x="3660" y="264"/>
                </a:lnTo>
                <a:lnTo>
                  <a:pt x="3660" y="264"/>
                </a:lnTo>
                <a:lnTo>
                  <a:pt x="3666" y="264"/>
                </a:lnTo>
                <a:lnTo>
                  <a:pt x="3670" y="266"/>
                </a:lnTo>
                <a:lnTo>
                  <a:pt x="3670" y="266"/>
                </a:lnTo>
                <a:close/>
                <a:moveTo>
                  <a:pt x="3608" y="942"/>
                </a:moveTo>
                <a:lnTo>
                  <a:pt x="3608" y="942"/>
                </a:lnTo>
                <a:lnTo>
                  <a:pt x="3620" y="942"/>
                </a:lnTo>
                <a:lnTo>
                  <a:pt x="3620" y="942"/>
                </a:lnTo>
                <a:lnTo>
                  <a:pt x="3616" y="936"/>
                </a:lnTo>
                <a:lnTo>
                  <a:pt x="3616" y="936"/>
                </a:lnTo>
                <a:lnTo>
                  <a:pt x="3624" y="936"/>
                </a:lnTo>
                <a:lnTo>
                  <a:pt x="3640" y="940"/>
                </a:lnTo>
                <a:lnTo>
                  <a:pt x="3640" y="940"/>
                </a:lnTo>
                <a:lnTo>
                  <a:pt x="3634" y="934"/>
                </a:lnTo>
                <a:lnTo>
                  <a:pt x="3634" y="934"/>
                </a:lnTo>
                <a:lnTo>
                  <a:pt x="3642" y="930"/>
                </a:lnTo>
                <a:lnTo>
                  <a:pt x="3642" y="930"/>
                </a:lnTo>
                <a:lnTo>
                  <a:pt x="3644" y="934"/>
                </a:lnTo>
                <a:lnTo>
                  <a:pt x="3648" y="936"/>
                </a:lnTo>
                <a:lnTo>
                  <a:pt x="3658" y="936"/>
                </a:lnTo>
                <a:lnTo>
                  <a:pt x="3658" y="936"/>
                </a:lnTo>
                <a:lnTo>
                  <a:pt x="3668" y="936"/>
                </a:lnTo>
                <a:lnTo>
                  <a:pt x="3672" y="936"/>
                </a:lnTo>
                <a:lnTo>
                  <a:pt x="3676" y="934"/>
                </a:lnTo>
                <a:lnTo>
                  <a:pt x="3676" y="934"/>
                </a:lnTo>
                <a:lnTo>
                  <a:pt x="3682" y="936"/>
                </a:lnTo>
                <a:lnTo>
                  <a:pt x="3682" y="936"/>
                </a:lnTo>
                <a:lnTo>
                  <a:pt x="3682" y="938"/>
                </a:lnTo>
                <a:lnTo>
                  <a:pt x="3680" y="940"/>
                </a:lnTo>
                <a:lnTo>
                  <a:pt x="3680" y="940"/>
                </a:lnTo>
                <a:lnTo>
                  <a:pt x="3672" y="942"/>
                </a:lnTo>
                <a:lnTo>
                  <a:pt x="3666" y="942"/>
                </a:lnTo>
                <a:lnTo>
                  <a:pt x="3662" y="940"/>
                </a:lnTo>
                <a:lnTo>
                  <a:pt x="3662" y="940"/>
                </a:lnTo>
                <a:lnTo>
                  <a:pt x="3660" y="942"/>
                </a:lnTo>
                <a:lnTo>
                  <a:pt x="3660" y="942"/>
                </a:lnTo>
                <a:lnTo>
                  <a:pt x="3668" y="946"/>
                </a:lnTo>
                <a:lnTo>
                  <a:pt x="3668" y="946"/>
                </a:lnTo>
                <a:lnTo>
                  <a:pt x="3662" y="950"/>
                </a:lnTo>
                <a:lnTo>
                  <a:pt x="3654" y="950"/>
                </a:lnTo>
                <a:lnTo>
                  <a:pt x="3636" y="952"/>
                </a:lnTo>
                <a:lnTo>
                  <a:pt x="3636" y="952"/>
                </a:lnTo>
                <a:lnTo>
                  <a:pt x="3636" y="954"/>
                </a:lnTo>
                <a:lnTo>
                  <a:pt x="3636" y="954"/>
                </a:lnTo>
                <a:lnTo>
                  <a:pt x="3638" y="956"/>
                </a:lnTo>
                <a:lnTo>
                  <a:pt x="3638" y="956"/>
                </a:lnTo>
                <a:lnTo>
                  <a:pt x="3630" y="956"/>
                </a:lnTo>
                <a:lnTo>
                  <a:pt x="3626" y="956"/>
                </a:lnTo>
                <a:lnTo>
                  <a:pt x="3620" y="954"/>
                </a:lnTo>
                <a:lnTo>
                  <a:pt x="3614" y="952"/>
                </a:lnTo>
                <a:lnTo>
                  <a:pt x="3614" y="952"/>
                </a:lnTo>
                <a:lnTo>
                  <a:pt x="3588" y="952"/>
                </a:lnTo>
                <a:lnTo>
                  <a:pt x="3588" y="952"/>
                </a:lnTo>
                <a:lnTo>
                  <a:pt x="3594" y="944"/>
                </a:lnTo>
                <a:lnTo>
                  <a:pt x="3594" y="944"/>
                </a:lnTo>
                <a:lnTo>
                  <a:pt x="3602" y="944"/>
                </a:lnTo>
                <a:lnTo>
                  <a:pt x="3606" y="944"/>
                </a:lnTo>
                <a:lnTo>
                  <a:pt x="3608" y="942"/>
                </a:lnTo>
                <a:lnTo>
                  <a:pt x="3608" y="942"/>
                </a:lnTo>
                <a:close/>
                <a:moveTo>
                  <a:pt x="3598" y="960"/>
                </a:moveTo>
                <a:lnTo>
                  <a:pt x="3598" y="960"/>
                </a:lnTo>
                <a:lnTo>
                  <a:pt x="3598" y="960"/>
                </a:lnTo>
                <a:lnTo>
                  <a:pt x="3598" y="960"/>
                </a:lnTo>
                <a:lnTo>
                  <a:pt x="3598" y="956"/>
                </a:lnTo>
                <a:lnTo>
                  <a:pt x="3594" y="956"/>
                </a:lnTo>
                <a:lnTo>
                  <a:pt x="3594" y="956"/>
                </a:lnTo>
                <a:lnTo>
                  <a:pt x="3598" y="956"/>
                </a:lnTo>
                <a:lnTo>
                  <a:pt x="3598" y="960"/>
                </a:lnTo>
                <a:lnTo>
                  <a:pt x="3598" y="960"/>
                </a:lnTo>
                <a:close/>
                <a:moveTo>
                  <a:pt x="3554" y="890"/>
                </a:moveTo>
                <a:lnTo>
                  <a:pt x="3554" y="890"/>
                </a:lnTo>
                <a:lnTo>
                  <a:pt x="3550" y="886"/>
                </a:lnTo>
                <a:lnTo>
                  <a:pt x="3550" y="886"/>
                </a:lnTo>
                <a:lnTo>
                  <a:pt x="3556" y="882"/>
                </a:lnTo>
                <a:lnTo>
                  <a:pt x="3556" y="882"/>
                </a:lnTo>
                <a:lnTo>
                  <a:pt x="3564" y="880"/>
                </a:lnTo>
                <a:lnTo>
                  <a:pt x="3572" y="884"/>
                </a:lnTo>
                <a:lnTo>
                  <a:pt x="3572" y="884"/>
                </a:lnTo>
                <a:lnTo>
                  <a:pt x="3576" y="886"/>
                </a:lnTo>
                <a:lnTo>
                  <a:pt x="3582" y="886"/>
                </a:lnTo>
                <a:lnTo>
                  <a:pt x="3582" y="886"/>
                </a:lnTo>
                <a:lnTo>
                  <a:pt x="3594" y="886"/>
                </a:lnTo>
                <a:lnTo>
                  <a:pt x="3594" y="886"/>
                </a:lnTo>
                <a:lnTo>
                  <a:pt x="3590" y="892"/>
                </a:lnTo>
                <a:lnTo>
                  <a:pt x="3590" y="896"/>
                </a:lnTo>
                <a:lnTo>
                  <a:pt x="3592" y="898"/>
                </a:lnTo>
                <a:lnTo>
                  <a:pt x="3598" y="902"/>
                </a:lnTo>
                <a:lnTo>
                  <a:pt x="3598" y="902"/>
                </a:lnTo>
                <a:lnTo>
                  <a:pt x="3588" y="906"/>
                </a:lnTo>
                <a:lnTo>
                  <a:pt x="3588" y="906"/>
                </a:lnTo>
                <a:lnTo>
                  <a:pt x="3586" y="902"/>
                </a:lnTo>
                <a:lnTo>
                  <a:pt x="3586" y="902"/>
                </a:lnTo>
                <a:lnTo>
                  <a:pt x="3578" y="904"/>
                </a:lnTo>
                <a:lnTo>
                  <a:pt x="3572" y="904"/>
                </a:lnTo>
                <a:lnTo>
                  <a:pt x="3566" y="902"/>
                </a:lnTo>
                <a:lnTo>
                  <a:pt x="3562" y="898"/>
                </a:lnTo>
                <a:lnTo>
                  <a:pt x="3562" y="898"/>
                </a:lnTo>
                <a:lnTo>
                  <a:pt x="3560" y="896"/>
                </a:lnTo>
                <a:lnTo>
                  <a:pt x="3556" y="896"/>
                </a:lnTo>
                <a:lnTo>
                  <a:pt x="3556" y="896"/>
                </a:lnTo>
                <a:lnTo>
                  <a:pt x="3544" y="896"/>
                </a:lnTo>
                <a:lnTo>
                  <a:pt x="3544" y="896"/>
                </a:lnTo>
                <a:lnTo>
                  <a:pt x="3544" y="894"/>
                </a:lnTo>
                <a:lnTo>
                  <a:pt x="3544" y="894"/>
                </a:lnTo>
                <a:lnTo>
                  <a:pt x="3554" y="890"/>
                </a:lnTo>
                <a:lnTo>
                  <a:pt x="3554" y="890"/>
                </a:lnTo>
                <a:close/>
                <a:moveTo>
                  <a:pt x="3540" y="878"/>
                </a:moveTo>
                <a:lnTo>
                  <a:pt x="3540" y="878"/>
                </a:lnTo>
                <a:lnTo>
                  <a:pt x="3540" y="878"/>
                </a:lnTo>
                <a:lnTo>
                  <a:pt x="3540" y="878"/>
                </a:lnTo>
                <a:lnTo>
                  <a:pt x="3542" y="880"/>
                </a:lnTo>
                <a:lnTo>
                  <a:pt x="3542" y="880"/>
                </a:lnTo>
                <a:lnTo>
                  <a:pt x="3538" y="882"/>
                </a:lnTo>
                <a:lnTo>
                  <a:pt x="3538" y="882"/>
                </a:lnTo>
                <a:lnTo>
                  <a:pt x="3538" y="882"/>
                </a:lnTo>
                <a:lnTo>
                  <a:pt x="3538" y="882"/>
                </a:lnTo>
                <a:lnTo>
                  <a:pt x="3540" y="880"/>
                </a:lnTo>
                <a:lnTo>
                  <a:pt x="3540" y="880"/>
                </a:lnTo>
                <a:lnTo>
                  <a:pt x="3540" y="878"/>
                </a:lnTo>
                <a:lnTo>
                  <a:pt x="3540" y="878"/>
                </a:lnTo>
                <a:close/>
                <a:moveTo>
                  <a:pt x="3564" y="906"/>
                </a:moveTo>
                <a:lnTo>
                  <a:pt x="3564" y="906"/>
                </a:lnTo>
                <a:lnTo>
                  <a:pt x="3564" y="906"/>
                </a:lnTo>
                <a:lnTo>
                  <a:pt x="3564" y="906"/>
                </a:lnTo>
                <a:lnTo>
                  <a:pt x="3552" y="900"/>
                </a:lnTo>
                <a:lnTo>
                  <a:pt x="3546" y="898"/>
                </a:lnTo>
                <a:lnTo>
                  <a:pt x="3538" y="896"/>
                </a:lnTo>
                <a:lnTo>
                  <a:pt x="3538" y="896"/>
                </a:lnTo>
                <a:lnTo>
                  <a:pt x="3538" y="896"/>
                </a:lnTo>
                <a:lnTo>
                  <a:pt x="3538" y="896"/>
                </a:lnTo>
                <a:lnTo>
                  <a:pt x="3546" y="898"/>
                </a:lnTo>
                <a:lnTo>
                  <a:pt x="3552" y="900"/>
                </a:lnTo>
                <a:lnTo>
                  <a:pt x="3564" y="906"/>
                </a:lnTo>
                <a:lnTo>
                  <a:pt x="3564" y="906"/>
                </a:lnTo>
                <a:close/>
                <a:moveTo>
                  <a:pt x="3548" y="916"/>
                </a:moveTo>
                <a:lnTo>
                  <a:pt x="3548" y="916"/>
                </a:lnTo>
                <a:lnTo>
                  <a:pt x="3562" y="920"/>
                </a:lnTo>
                <a:lnTo>
                  <a:pt x="3568" y="922"/>
                </a:lnTo>
                <a:lnTo>
                  <a:pt x="3576" y="922"/>
                </a:lnTo>
                <a:lnTo>
                  <a:pt x="3576" y="922"/>
                </a:lnTo>
                <a:lnTo>
                  <a:pt x="3578" y="922"/>
                </a:lnTo>
                <a:lnTo>
                  <a:pt x="3578" y="922"/>
                </a:lnTo>
                <a:lnTo>
                  <a:pt x="3584" y="926"/>
                </a:lnTo>
                <a:lnTo>
                  <a:pt x="3584" y="926"/>
                </a:lnTo>
                <a:lnTo>
                  <a:pt x="3592" y="928"/>
                </a:lnTo>
                <a:lnTo>
                  <a:pt x="3592" y="928"/>
                </a:lnTo>
                <a:lnTo>
                  <a:pt x="3588" y="932"/>
                </a:lnTo>
                <a:lnTo>
                  <a:pt x="3580" y="934"/>
                </a:lnTo>
                <a:lnTo>
                  <a:pt x="3580" y="934"/>
                </a:lnTo>
                <a:lnTo>
                  <a:pt x="3576" y="932"/>
                </a:lnTo>
                <a:lnTo>
                  <a:pt x="3574" y="932"/>
                </a:lnTo>
                <a:lnTo>
                  <a:pt x="3574" y="932"/>
                </a:lnTo>
                <a:lnTo>
                  <a:pt x="3566" y="932"/>
                </a:lnTo>
                <a:lnTo>
                  <a:pt x="3562" y="932"/>
                </a:lnTo>
                <a:lnTo>
                  <a:pt x="3560" y="928"/>
                </a:lnTo>
                <a:lnTo>
                  <a:pt x="3560" y="928"/>
                </a:lnTo>
                <a:lnTo>
                  <a:pt x="3554" y="928"/>
                </a:lnTo>
                <a:lnTo>
                  <a:pt x="3554" y="928"/>
                </a:lnTo>
                <a:lnTo>
                  <a:pt x="3550" y="928"/>
                </a:lnTo>
                <a:lnTo>
                  <a:pt x="3546" y="928"/>
                </a:lnTo>
                <a:lnTo>
                  <a:pt x="3542" y="922"/>
                </a:lnTo>
                <a:lnTo>
                  <a:pt x="3542" y="922"/>
                </a:lnTo>
                <a:lnTo>
                  <a:pt x="3536" y="916"/>
                </a:lnTo>
                <a:lnTo>
                  <a:pt x="3536" y="916"/>
                </a:lnTo>
                <a:lnTo>
                  <a:pt x="3542" y="914"/>
                </a:lnTo>
                <a:lnTo>
                  <a:pt x="3548" y="916"/>
                </a:lnTo>
                <a:lnTo>
                  <a:pt x="3548" y="916"/>
                </a:lnTo>
                <a:close/>
                <a:moveTo>
                  <a:pt x="3550" y="972"/>
                </a:moveTo>
                <a:lnTo>
                  <a:pt x="3550" y="972"/>
                </a:lnTo>
                <a:lnTo>
                  <a:pt x="3548" y="972"/>
                </a:lnTo>
                <a:lnTo>
                  <a:pt x="3548" y="972"/>
                </a:lnTo>
                <a:lnTo>
                  <a:pt x="3546" y="970"/>
                </a:lnTo>
                <a:lnTo>
                  <a:pt x="3546" y="970"/>
                </a:lnTo>
                <a:lnTo>
                  <a:pt x="3546" y="970"/>
                </a:lnTo>
                <a:lnTo>
                  <a:pt x="3546" y="970"/>
                </a:lnTo>
                <a:lnTo>
                  <a:pt x="3546" y="970"/>
                </a:lnTo>
                <a:lnTo>
                  <a:pt x="3546" y="970"/>
                </a:lnTo>
                <a:lnTo>
                  <a:pt x="3546" y="968"/>
                </a:lnTo>
                <a:lnTo>
                  <a:pt x="3546" y="968"/>
                </a:lnTo>
                <a:lnTo>
                  <a:pt x="3548" y="970"/>
                </a:lnTo>
                <a:lnTo>
                  <a:pt x="3548" y="970"/>
                </a:lnTo>
                <a:lnTo>
                  <a:pt x="3552" y="968"/>
                </a:lnTo>
                <a:lnTo>
                  <a:pt x="3552" y="968"/>
                </a:lnTo>
                <a:lnTo>
                  <a:pt x="3558" y="958"/>
                </a:lnTo>
                <a:lnTo>
                  <a:pt x="3558" y="958"/>
                </a:lnTo>
                <a:lnTo>
                  <a:pt x="3558" y="958"/>
                </a:lnTo>
                <a:lnTo>
                  <a:pt x="3552" y="968"/>
                </a:lnTo>
                <a:lnTo>
                  <a:pt x="3552" y="968"/>
                </a:lnTo>
                <a:lnTo>
                  <a:pt x="3548" y="970"/>
                </a:lnTo>
                <a:lnTo>
                  <a:pt x="3548" y="970"/>
                </a:lnTo>
                <a:lnTo>
                  <a:pt x="3550" y="972"/>
                </a:lnTo>
                <a:lnTo>
                  <a:pt x="3550" y="972"/>
                </a:lnTo>
                <a:close/>
                <a:moveTo>
                  <a:pt x="3454" y="948"/>
                </a:moveTo>
                <a:lnTo>
                  <a:pt x="3454" y="948"/>
                </a:lnTo>
                <a:lnTo>
                  <a:pt x="3454" y="948"/>
                </a:lnTo>
                <a:lnTo>
                  <a:pt x="3454" y="948"/>
                </a:lnTo>
                <a:lnTo>
                  <a:pt x="3456" y="950"/>
                </a:lnTo>
                <a:lnTo>
                  <a:pt x="3456" y="950"/>
                </a:lnTo>
                <a:lnTo>
                  <a:pt x="3454" y="952"/>
                </a:lnTo>
                <a:lnTo>
                  <a:pt x="3454" y="952"/>
                </a:lnTo>
                <a:lnTo>
                  <a:pt x="3454" y="952"/>
                </a:lnTo>
                <a:lnTo>
                  <a:pt x="3454" y="952"/>
                </a:lnTo>
                <a:lnTo>
                  <a:pt x="3456" y="950"/>
                </a:lnTo>
                <a:lnTo>
                  <a:pt x="3456" y="950"/>
                </a:lnTo>
                <a:lnTo>
                  <a:pt x="3454" y="948"/>
                </a:lnTo>
                <a:lnTo>
                  <a:pt x="3454" y="948"/>
                </a:lnTo>
                <a:close/>
                <a:moveTo>
                  <a:pt x="3546" y="948"/>
                </a:moveTo>
                <a:lnTo>
                  <a:pt x="3546" y="948"/>
                </a:lnTo>
                <a:lnTo>
                  <a:pt x="3546" y="948"/>
                </a:lnTo>
                <a:lnTo>
                  <a:pt x="3546" y="948"/>
                </a:lnTo>
                <a:lnTo>
                  <a:pt x="3544" y="950"/>
                </a:lnTo>
                <a:lnTo>
                  <a:pt x="3544" y="950"/>
                </a:lnTo>
                <a:lnTo>
                  <a:pt x="3544" y="950"/>
                </a:lnTo>
                <a:lnTo>
                  <a:pt x="3536" y="948"/>
                </a:lnTo>
                <a:lnTo>
                  <a:pt x="3536" y="948"/>
                </a:lnTo>
                <a:lnTo>
                  <a:pt x="3536" y="948"/>
                </a:lnTo>
                <a:lnTo>
                  <a:pt x="3536" y="948"/>
                </a:lnTo>
                <a:lnTo>
                  <a:pt x="3544" y="950"/>
                </a:lnTo>
                <a:lnTo>
                  <a:pt x="3544" y="950"/>
                </a:lnTo>
                <a:lnTo>
                  <a:pt x="3544" y="950"/>
                </a:lnTo>
                <a:lnTo>
                  <a:pt x="3546" y="948"/>
                </a:lnTo>
                <a:lnTo>
                  <a:pt x="3546" y="948"/>
                </a:lnTo>
                <a:close/>
                <a:moveTo>
                  <a:pt x="3538" y="980"/>
                </a:moveTo>
                <a:lnTo>
                  <a:pt x="3538" y="980"/>
                </a:lnTo>
                <a:lnTo>
                  <a:pt x="3538" y="978"/>
                </a:lnTo>
                <a:lnTo>
                  <a:pt x="3538" y="978"/>
                </a:lnTo>
                <a:lnTo>
                  <a:pt x="3538" y="978"/>
                </a:lnTo>
                <a:lnTo>
                  <a:pt x="3538" y="978"/>
                </a:lnTo>
                <a:lnTo>
                  <a:pt x="3538" y="980"/>
                </a:lnTo>
                <a:lnTo>
                  <a:pt x="3538" y="980"/>
                </a:lnTo>
                <a:lnTo>
                  <a:pt x="3538" y="980"/>
                </a:lnTo>
                <a:lnTo>
                  <a:pt x="3538" y="980"/>
                </a:lnTo>
                <a:close/>
                <a:moveTo>
                  <a:pt x="3532" y="990"/>
                </a:moveTo>
                <a:lnTo>
                  <a:pt x="3532" y="990"/>
                </a:lnTo>
                <a:lnTo>
                  <a:pt x="3532" y="990"/>
                </a:lnTo>
                <a:lnTo>
                  <a:pt x="3532" y="990"/>
                </a:lnTo>
                <a:lnTo>
                  <a:pt x="3534" y="992"/>
                </a:lnTo>
                <a:lnTo>
                  <a:pt x="3534" y="992"/>
                </a:lnTo>
                <a:lnTo>
                  <a:pt x="3534" y="992"/>
                </a:lnTo>
                <a:lnTo>
                  <a:pt x="3534" y="992"/>
                </a:lnTo>
                <a:lnTo>
                  <a:pt x="3532" y="990"/>
                </a:lnTo>
                <a:lnTo>
                  <a:pt x="3532" y="990"/>
                </a:lnTo>
                <a:close/>
                <a:moveTo>
                  <a:pt x="3484" y="1014"/>
                </a:moveTo>
                <a:lnTo>
                  <a:pt x="3484" y="1014"/>
                </a:lnTo>
                <a:lnTo>
                  <a:pt x="3484" y="1010"/>
                </a:lnTo>
                <a:lnTo>
                  <a:pt x="3484" y="1010"/>
                </a:lnTo>
                <a:lnTo>
                  <a:pt x="3486" y="1012"/>
                </a:lnTo>
                <a:lnTo>
                  <a:pt x="3486" y="1014"/>
                </a:lnTo>
                <a:lnTo>
                  <a:pt x="3486" y="1014"/>
                </a:lnTo>
                <a:lnTo>
                  <a:pt x="3486" y="1014"/>
                </a:lnTo>
                <a:lnTo>
                  <a:pt x="3486" y="1014"/>
                </a:lnTo>
                <a:lnTo>
                  <a:pt x="3484" y="1014"/>
                </a:lnTo>
                <a:lnTo>
                  <a:pt x="3484" y="1014"/>
                </a:lnTo>
                <a:close/>
                <a:moveTo>
                  <a:pt x="3468" y="988"/>
                </a:moveTo>
                <a:lnTo>
                  <a:pt x="3468" y="988"/>
                </a:lnTo>
                <a:lnTo>
                  <a:pt x="3470" y="990"/>
                </a:lnTo>
                <a:lnTo>
                  <a:pt x="3470" y="990"/>
                </a:lnTo>
                <a:lnTo>
                  <a:pt x="3468" y="990"/>
                </a:lnTo>
                <a:lnTo>
                  <a:pt x="3468" y="990"/>
                </a:lnTo>
                <a:lnTo>
                  <a:pt x="3468" y="988"/>
                </a:lnTo>
                <a:lnTo>
                  <a:pt x="3468" y="988"/>
                </a:lnTo>
                <a:close/>
                <a:moveTo>
                  <a:pt x="3508" y="1006"/>
                </a:moveTo>
                <a:lnTo>
                  <a:pt x="3508" y="1006"/>
                </a:lnTo>
                <a:lnTo>
                  <a:pt x="3508" y="1006"/>
                </a:lnTo>
                <a:lnTo>
                  <a:pt x="3508" y="1006"/>
                </a:lnTo>
                <a:lnTo>
                  <a:pt x="3508" y="1006"/>
                </a:lnTo>
                <a:lnTo>
                  <a:pt x="3508" y="1006"/>
                </a:lnTo>
                <a:lnTo>
                  <a:pt x="3508" y="1006"/>
                </a:lnTo>
                <a:lnTo>
                  <a:pt x="3508" y="1006"/>
                </a:lnTo>
                <a:close/>
                <a:moveTo>
                  <a:pt x="3516" y="1000"/>
                </a:moveTo>
                <a:lnTo>
                  <a:pt x="3516" y="1000"/>
                </a:lnTo>
                <a:lnTo>
                  <a:pt x="3512" y="1000"/>
                </a:lnTo>
                <a:lnTo>
                  <a:pt x="3510" y="998"/>
                </a:lnTo>
                <a:lnTo>
                  <a:pt x="3512" y="996"/>
                </a:lnTo>
                <a:lnTo>
                  <a:pt x="3512" y="996"/>
                </a:lnTo>
                <a:lnTo>
                  <a:pt x="3520" y="992"/>
                </a:lnTo>
                <a:lnTo>
                  <a:pt x="3520" y="992"/>
                </a:lnTo>
                <a:lnTo>
                  <a:pt x="3528" y="996"/>
                </a:lnTo>
                <a:lnTo>
                  <a:pt x="3528" y="996"/>
                </a:lnTo>
                <a:lnTo>
                  <a:pt x="3520" y="1000"/>
                </a:lnTo>
                <a:lnTo>
                  <a:pt x="3520" y="1000"/>
                </a:lnTo>
                <a:lnTo>
                  <a:pt x="3516" y="1000"/>
                </a:lnTo>
                <a:lnTo>
                  <a:pt x="3516" y="1000"/>
                </a:lnTo>
                <a:close/>
                <a:moveTo>
                  <a:pt x="3534" y="1002"/>
                </a:moveTo>
                <a:lnTo>
                  <a:pt x="3534" y="1002"/>
                </a:lnTo>
                <a:lnTo>
                  <a:pt x="3540" y="1002"/>
                </a:lnTo>
                <a:lnTo>
                  <a:pt x="3544" y="1000"/>
                </a:lnTo>
                <a:lnTo>
                  <a:pt x="3544" y="1000"/>
                </a:lnTo>
                <a:lnTo>
                  <a:pt x="3544" y="1000"/>
                </a:lnTo>
                <a:lnTo>
                  <a:pt x="3544" y="1000"/>
                </a:lnTo>
                <a:lnTo>
                  <a:pt x="3540" y="1002"/>
                </a:lnTo>
                <a:lnTo>
                  <a:pt x="3534" y="1002"/>
                </a:lnTo>
                <a:lnTo>
                  <a:pt x="3534" y="1002"/>
                </a:lnTo>
                <a:lnTo>
                  <a:pt x="3534" y="1002"/>
                </a:lnTo>
                <a:lnTo>
                  <a:pt x="3534" y="1002"/>
                </a:lnTo>
                <a:close/>
                <a:moveTo>
                  <a:pt x="3548" y="978"/>
                </a:moveTo>
                <a:lnTo>
                  <a:pt x="3548" y="978"/>
                </a:lnTo>
                <a:lnTo>
                  <a:pt x="3548" y="976"/>
                </a:lnTo>
                <a:lnTo>
                  <a:pt x="3548" y="976"/>
                </a:lnTo>
                <a:lnTo>
                  <a:pt x="3548" y="976"/>
                </a:lnTo>
                <a:lnTo>
                  <a:pt x="3548" y="976"/>
                </a:lnTo>
                <a:lnTo>
                  <a:pt x="3548" y="978"/>
                </a:lnTo>
                <a:lnTo>
                  <a:pt x="3548" y="978"/>
                </a:lnTo>
                <a:lnTo>
                  <a:pt x="3548" y="978"/>
                </a:lnTo>
                <a:lnTo>
                  <a:pt x="3548" y="978"/>
                </a:lnTo>
                <a:close/>
                <a:moveTo>
                  <a:pt x="3556" y="954"/>
                </a:moveTo>
                <a:lnTo>
                  <a:pt x="3556" y="954"/>
                </a:lnTo>
                <a:lnTo>
                  <a:pt x="3548" y="952"/>
                </a:lnTo>
                <a:lnTo>
                  <a:pt x="3548" y="952"/>
                </a:lnTo>
                <a:lnTo>
                  <a:pt x="3556" y="954"/>
                </a:lnTo>
                <a:lnTo>
                  <a:pt x="3556" y="954"/>
                </a:lnTo>
                <a:lnTo>
                  <a:pt x="3562" y="954"/>
                </a:lnTo>
                <a:lnTo>
                  <a:pt x="3564" y="956"/>
                </a:lnTo>
                <a:lnTo>
                  <a:pt x="3566" y="958"/>
                </a:lnTo>
                <a:lnTo>
                  <a:pt x="3566" y="958"/>
                </a:lnTo>
                <a:lnTo>
                  <a:pt x="3566" y="958"/>
                </a:lnTo>
                <a:lnTo>
                  <a:pt x="3566" y="958"/>
                </a:lnTo>
                <a:lnTo>
                  <a:pt x="3564" y="956"/>
                </a:lnTo>
                <a:lnTo>
                  <a:pt x="3562" y="954"/>
                </a:lnTo>
                <a:lnTo>
                  <a:pt x="3556" y="954"/>
                </a:lnTo>
                <a:lnTo>
                  <a:pt x="3556" y="954"/>
                </a:lnTo>
                <a:close/>
                <a:moveTo>
                  <a:pt x="3566" y="964"/>
                </a:moveTo>
                <a:lnTo>
                  <a:pt x="3566" y="964"/>
                </a:lnTo>
                <a:lnTo>
                  <a:pt x="3572" y="962"/>
                </a:lnTo>
                <a:lnTo>
                  <a:pt x="3576" y="958"/>
                </a:lnTo>
                <a:lnTo>
                  <a:pt x="3576" y="958"/>
                </a:lnTo>
                <a:lnTo>
                  <a:pt x="3572" y="958"/>
                </a:lnTo>
                <a:lnTo>
                  <a:pt x="3572" y="958"/>
                </a:lnTo>
                <a:lnTo>
                  <a:pt x="3576" y="958"/>
                </a:lnTo>
                <a:lnTo>
                  <a:pt x="3576" y="958"/>
                </a:lnTo>
                <a:lnTo>
                  <a:pt x="3572" y="962"/>
                </a:lnTo>
                <a:lnTo>
                  <a:pt x="3566" y="964"/>
                </a:lnTo>
                <a:lnTo>
                  <a:pt x="3566" y="964"/>
                </a:lnTo>
                <a:lnTo>
                  <a:pt x="3566" y="964"/>
                </a:lnTo>
                <a:lnTo>
                  <a:pt x="3566" y="964"/>
                </a:lnTo>
                <a:close/>
                <a:moveTo>
                  <a:pt x="3540" y="962"/>
                </a:moveTo>
                <a:lnTo>
                  <a:pt x="3540" y="962"/>
                </a:lnTo>
                <a:lnTo>
                  <a:pt x="3532" y="960"/>
                </a:lnTo>
                <a:lnTo>
                  <a:pt x="3532" y="960"/>
                </a:lnTo>
                <a:lnTo>
                  <a:pt x="3530" y="960"/>
                </a:lnTo>
                <a:lnTo>
                  <a:pt x="3530" y="960"/>
                </a:lnTo>
                <a:lnTo>
                  <a:pt x="3532" y="960"/>
                </a:lnTo>
                <a:lnTo>
                  <a:pt x="3532" y="960"/>
                </a:lnTo>
                <a:lnTo>
                  <a:pt x="3540" y="962"/>
                </a:lnTo>
                <a:lnTo>
                  <a:pt x="3540" y="962"/>
                </a:lnTo>
                <a:close/>
                <a:moveTo>
                  <a:pt x="3534" y="894"/>
                </a:moveTo>
                <a:lnTo>
                  <a:pt x="3534" y="894"/>
                </a:lnTo>
                <a:lnTo>
                  <a:pt x="3534" y="896"/>
                </a:lnTo>
                <a:lnTo>
                  <a:pt x="3534" y="896"/>
                </a:lnTo>
                <a:lnTo>
                  <a:pt x="3526" y="900"/>
                </a:lnTo>
                <a:lnTo>
                  <a:pt x="3526" y="900"/>
                </a:lnTo>
                <a:lnTo>
                  <a:pt x="3526" y="900"/>
                </a:lnTo>
                <a:lnTo>
                  <a:pt x="3526" y="900"/>
                </a:lnTo>
                <a:lnTo>
                  <a:pt x="3534" y="896"/>
                </a:lnTo>
                <a:lnTo>
                  <a:pt x="3534" y="896"/>
                </a:lnTo>
                <a:lnTo>
                  <a:pt x="3534" y="894"/>
                </a:lnTo>
                <a:lnTo>
                  <a:pt x="3534" y="894"/>
                </a:lnTo>
                <a:lnTo>
                  <a:pt x="3532" y="894"/>
                </a:lnTo>
                <a:lnTo>
                  <a:pt x="3532" y="894"/>
                </a:lnTo>
                <a:lnTo>
                  <a:pt x="3534" y="894"/>
                </a:lnTo>
                <a:lnTo>
                  <a:pt x="3534" y="894"/>
                </a:lnTo>
                <a:close/>
                <a:moveTo>
                  <a:pt x="3514" y="870"/>
                </a:moveTo>
                <a:lnTo>
                  <a:pt x="3514" y="870"/>
                </a:lnTo>
                <a:lnTo>
                  <a:pt x="3520" y="876"/>
                </a:lnTo>
                <a:lnTo>
                  <a:pt x="3520" y="876"/>
                </a:lnTo>
                <a:lnTo>
                  <a:pt x="3530" y="878"/>
                </a:lnTo>
                <a:lnTo>
                  <a:pt x="3530" y="878"/>
                </a:lnTo>
                <a:lnTo>
                  <a:pt x="3530" y="878"/>
                </a:lnTo>
                <a:lnTo>
                  <a:pt x="3530" y="878"/>
                </a:lnTo>
                <a:lnTo>
                  <a:pt x="3520" y="876"/>
                </a:lnTo>
                <a:lnTo>
                  <a:pt x="3520" y="876"/>
                </a:lnTo>
                <a:lnTo>
                  <a:pt x="3514" y="870"/>
                </a:lnTo>
                <a:lnTo>
                  <a:pt x="3514" y="870"/>
                </a:lnTo>
                <a:lnTo>
                  <a:pt x="3514" y="870"/>
                </a:lnTo>
                <a:lnTo>
                  <a:pt x="3514" y="870"/>
                </a:lnTo>
                <a:close/>
                <a:moveTo>
                  <a:pt x="3502" y="966"/>
                </a:moveTo>
                <a:lnTo>
                  <a:pt x="3502" y="966"/>
                </a:lnTo>
                <a:lnTo>
                  <a:pt x="3514" y="968"/>
                </a:lnTo>
                <a:lnTo>
                  <a:pt x="3514" y="968"/>
                </a:lnTo>
                <a:lnTo>
                  <a:pt x="3514" y="968"/>
                </a:lnTo>
                <a:lnTo>
                  <a:pt x="3514" y="968"/>
                </a:lnTo>
                <a:lnTo>
                  <a:pt x="3502" y="966"/>
                </a:lnTo>
                <a:lnTo>
                  <a:pt x="3502" y="966"/>
                </a:lnTo>
                <a:lnTo>
                  <a:pt x="3502" y="966"/>
                </a:lnTo>
                <a:lnTo>
                  <a:pt x="3502" y="966"/>
                </a:lnTo>
                <a:close/>
                <a:moveTo>
                  <a:pt x="3450" y="864"/>
                </a:moveTo>
                <a:lnTo>
                  <a:pt x="3450" y="864"/>
                </a:lnTo>
                <a:lnTo>
                  <a:pt x="3454" y="860"/>
                </a:lnTo>
                <a:lnTo>
                  <a:pt x="3454" y="860"/>
                </a:lnTo>
                <a:lnTo>
                  <a:pt x="3460" y="860"/>
                </a:lnTo>
                <a:lnTo>
                  <a:pt x="3466" y="860"/>
                </a:lnTo>
                <a:lnTo>
                  <a:pt x="3474" y="858"/>
                </a:lnTo>
                <a:lnTo>
                  <a:pt x="3480" y="854"/>
                </a:lnTo>
                <a:lnTo>
                  <a:pt x="3480" y="854"/>
                </a:lnTo>
                <a:lnTo>
                  <a:pt x="3496" y="872"/>
                </a:lnTo>
                <a:lnTo>
                  <a:pt x="3496" y="872"/>
                </a:lnTo>
                <a:lnTo>
                  <a:pt x="3486" y="874"/>
                </a:lnTo>
                <a:lnTo>
                  <a:pt x="3484" y="876"/>
                </a:lnTo>
                <a:lnTo>
                  <a:pt x="3480" y="878"/>
                </a:lnTo>
                <a:lnTo>
                  <a:pt x="3480" y="878"/>
                </a:lnTo>
                <a:lnTo>
                  <a:pt x="3472" y="880"/>
                </a:lnTo>
                <a:lnTo>
                  <a:pt x="3472" y="880"/>
                </a:lnTo>
                <a:lnTo>
                  <a:pt x="3466" y="878"/>
                </a:lnTo>
                <a:lnTo>
                  <a:pt x="3460" y="880"/>
                </a:lnTo>
                <a:lnTo>
                  <a:pt x="3460" y="880"/>
                </a:lnTo>
                <a:lnTo>
                  <a:pt x="3452" y="882"/>
                </a:lnTo>
                <a:lnTo>
                  <a:pt x="3442" y="880"/>
                </a:lnTo>
                <a:lnTo>
                  <a:pt x="3442" y="880"/>
                </a:lnTo>
                <a:lnTo>
                  <a:pt x="3430" y="876"/>
                </a:lnTo>
                <a:lnTo>
                  <a:pt x="3430" y="876"/>
                </a:lnTo>
                <a:lnTo>
                  <a:pt x="3432" y="872"/>
                </a:lnTo>
                <a:lnTo>
                  <a:pt x="3434" y="870"/>
                </a:lnTo>
                <a:lnTo>
                  <a:pt x="3444" y="870"/>
                </a:lnTo>
                <a:lnTo>
                  <a:pt x="3444" y="870"/>
                </a:lnTo>
                <a:lnTo>
                  <a:pt x="3448" y="868"/>
                </a:lnTo>
                <a:lnTo>
                  <a:pt x="3452" y="870"/>
                </a:lnTo>
                <a:lnTo>
                  <a:pt x="3456" y="876"/>
                </a:lnTo>
                <a:lnTo>
                  <a:pt x="3456" y="876"/>
                </a:lnTo>
                <a:lnTo>
                  <a:pt x="3470" y="872"/>
                </a:lnTo>
                <a:lnTo>
                  <a:pt x="3470" y="872"/>
                </a:lnTo>
                <a:lnTo>
                  <a:pt x="3466" y="868"/>
                </a:lnTo>
                <a:lnTo>
                  <a:pt x="3460" y="866"/>
                </a:lnTo>
                <a:lnTo>
                  <a:pt x="3454" y="866"/>
                </a:lnTo>
                <a:lnTo>
                  <a:pt x="3450" y="864"/>
                </a:lnTo>
                <a:lnTo>
                  <a:pt x="3450" y="864"/>
                </a:lnTo>
                <a:close/>
                <a:moveTo>
                  <a:pt x="3446" y="852"/>
                </a:moveTo>
                <a:lnTo>
                  <a:pt x="3446" y="852"/>
                </a:lnTo>
                <a:lnTo>
                  <a:pt x="3442" y="854"/>
                </a:lnTo>
                <a:lnTo>
                  <a:pt x="3436" y="854"/>
                </a:lnTo>
                <a:lnTo>
                  <a:pt x="3436" y="854"/>
                </a:lnTo>
                <a:lnTo>
                  <a:pt x="3442" y="854"/>
                </a:lnTo>
                <a:lnTo>
                  <a:pt x="3446" y="852"/>
                </a:lnTo>
                <a:lnTo>
                  <a:pt x="3446" y="852"/>
                </a:lnTo>
                <a:lnTo>
                  <a:pt x="3446" y="852"/>
                </a:lnTo>
                <a:lnTo>
                  <a:pt x="3446" y="852"/>
                </a:lnTo>
                <a:close/>
                <a:moveTo>
                  <a:pt x="3426" y="842"/>
                </a:moveTo>
                <a:lnTo>
                  <a:pt x="3426" y="842"/>
                </a:lnTo>
                <a:lnTo>
                  <a:pt x="3432" y="844"/>
                </a:lnTo>
                <a:lnTo>
                  <a:pt x="3436" y="842"/>
                </a:lnTo>
                <a:lnTo>
                  <a:pt x="3438" y="842"/>
                </a:lnTo>
                <a:lnTo>
                  <a:pt x="3438" y="838"/>
                </a:lnTo>
                <a:lnTo>
                  <a:pt x="3438" y="838"/>
                </a:lnTo>
                <a:lnTo>
                  <a:pt x="3438" y="838"/>
                </a:lnTo>
                <a:lnTo>
                  <a:pt x="3438" y="838"/>
                </a:lnTo>
                <a:lnTo>
                  <a:pt x="3438" y="842"/>
                </a:lnTo>
                <a:lnTo>
                  <a:pt x="3436" y="844"/>
                </a:lnTo>
                <a:lnTo>
                  <a:pt x="3432" y="844"/>
                </a:lnTo>
                <a:lnTo>
                  <a:pt x="3426" y="842"/>
                </a:lnTo>
                <a:lnTo>
                  <a:pt x="3426" y="842"/>
                </a:lnTo>
                <a:lnTo>
                  <a:pt x="3426" y="842"/>
                </a:lnTo>
                <a:lnTo>
                  <a:pt x="3426" y="842"/>
                </a:lnTo>
                <a:close/>
                <a:moveTo>
                  <a:pt x="3422" y="846"/>
                </a:moveTo>
                <a:lnTo>
                  <a:pt x="3422" y="846"/>
                </a:lnTo>
                <a:lnTo>
                  <a:pt x="3428" y="850"/>
                </a:lnTo>
                <a:lnTo>
                  <a:pt x="3428" y="850"/>
                </a:lnTo>
                <a:lnTo>
                  <a:pt x="3428" y="850"/>
                </a:lnTo>
                <a:lnTo>
                  <a:pt x="3428" y="850"/>
                </a:lnTo>
                <a:lnTo>
                  <a:pt x="3422" y="846"/>
                </a:lnTo>
                <a:lnTo>
                  <a:pt x="3422" y="846"/>
                </a:lnTo>
                <a:lnTo>
                  <a:pt x="3406" y="850"/>
                </a:lnTo>
                <a:lnTo>
                  <a:pt x="3406" y="850"/>
                </a:lnTo>
                <a:lnTo>
                  <a:pt x="3406" y="850"/>
                </a:lnTo>
                <a:lnTo>
                  <a:pt x="3406" y="850"/>
                </a:lnTo>
                <a:lnTo>
                  <a:pt x="3422" y="846"/>
                </a:lnTo>
                <a:lnTo>
                  <a:pt x="3422" y="846"/>
                </a:lnTo>
                <a:close/>
                <a:moveTo>
                  <a:pt x="3422" y="870"/>
                </a:moveTo>
                <a:lnTo>
                  <a:pt x="3422" y="870"/>
                </a:lnTo>
                <a:lnTo>
                  <a:pt x="3424" y="872"/>
                </a:lnTo>
                <a:lnTo>
                  <a:pt x="3424" y="872"/>
                </a:lnTo>
                <a:lnTo>
                  <a:pt x="3422" y="874"/>
                </a:lnTo>
                <a:lnTo>
                  <a:pt x="3422" y="874"/>
                </a:lnTo>
                <a:lnTo>
                  <a:pt x="3422" y="874"/>
                </a:lnTo>
                <a:lnTo>
                  <a:pt x="3422" y="874"/>
                </a:lnTo>
                <a:lnTo>
                  <a:pt x="3424" y="872"/>
                </a:lnTo>
                <a:lnTo>
                  <a:pt x="3424" y="872"/>
                </a:lnTo>
                <a:lnTo>
                  <a:pt x="3422" y="870"/>
                </a:lnTo>
                <a:lnTo>
                  <a:pt x="3422" y="870"/>
                </a:lnTo>
                <a:close/>
                <a:moveTo>
                  <a:pt x="3406" y="938"/>
                </a:moveTo>
                <a:lnTo>
                  <a:pt x="3406" y="938"/>
                </a:lnTo>
                <a:lnTo>
                  <a:pt x="3414" y="938"/>
                </a:lnTo>
                <a:lnTo>
                  <a:pt x="3420" y="940"/>
                </a:lnTo>
                <a:lnTo>
                  <a:pt x="3434" y="944"/>
                </a:lnTo>
                <a:lnTo>
                  <a:pt x="3434" y="944"/>
                </a:lnTo>
                <a:lnTo>
                  <a:pt x="3436" y="946"/>
                </a:lnTo>
                <a:lnTo>
                  <a:pt x="3434" y="948"/>
                </a:lnTo>
                <a:lnTo>
                  <a:pt x="3434" y="948"/>
                </a:lnTo>
                <a:lnTo>
                  <a:pt x="3432" y="950"/>
                </a:lnTo>
                <a:lnTo>
                  <a:pt x="3428" y="950"/>
                </a:lnTo>
                <a:lnTo>
                  <a:pt x="3428" y="950"/>
                </a:lnTo>
                <a:lnTo>
                  <a:pt x="3424" y="948"/>
                </a:lnTo>
                <a:lnTo>
                  <a:pt x="3422" y="944"/>
                </a:lnTo>
                <a:lnTo>
                  <a:pt x="3422" y="944"/>
                </a:lnTo>
                <a:lnTo>
                  <a:pt x="3412" y="948"/>
                </a:lnTo>
                <a:lnTo>
                  <a:pt x="3408" y="950"/>
                </a:lnTo>
                <a:lnTo>
                  <a:pt x="3404" y="948"/>
                </a:lnTo>
                <a:lnTo>
                  <a:pt x="3404" y="948"/>
                </a:lnTo>
                <a:lnTo>
                  <a:pt x="3402" y="946"/>
                </a:lnTo>
                <a:lnTo>
                  <a:pt x="3400" y="942"/>
                </a:lnTo>
                <a:lnTo>
                  <a:pt x="3400" y="942"/>
                </a:lnTo>
                <a:lnTo>
                  <a:pt x="3414" y="944"/>
                </a:lnTo>
                <a:lnTo>
                  <a:pt x="3414" y="944"/>
                </a:lnTo>
                <a:lnTo>
                  <a:pt x="3406" y="938"/>
                </a:lnTo>
                <a:lnTo>
                  <a:pt x="3406" y="938"/>
                </a:lnTo>
                <a:close/>
                <a:moveTo>
                  <a:pt x="3430" y="960"/>
                </a:moveTo>
                <a:lnTo>
                  <a:pt x="3430" y="960"/>
                </a:lnTo>
                <a:lnTo>
                  <a:pt x="3428" y="958"/>
                </a:lnTo>
                <a:lnTo>
                  <a:pt x="3428" y="958"/>
                </a:lnTo>
                <a:lnTo>
                  <a:pt x="3430" y="960"/>
                </a:lnTo>
                <a:lnTo>
                  <a:pt x="3430" y="960"/>
                </a:lnTo>
                <a:lnTo>
                  <a:pt x="3430" y="962"/>
                </a:lnTo>
                <a:lnTo>
                  <a:pt x="3430" y="962"/>
                </a:lnTo>
                <a:lnTo>
                  <a:pt x="3422" y="962"/>
                </a:lnTo>
                <a:lnTo>
                  <a:pt x="3422" y="962"/>
                </a:lnTo>
                <a:lnTo>
                  <a:pt x="3422" y="962"/>
                </a:lnTo>
                <a:lnTo>
                  <a:pt x="3422" y="962"/>
                </a:lnTo>
                <a:lnTo>
                  <a:pt x="3430" y="962"/>
                </a:lnTo>
                <a:lnTo>
                  <a:pt x="3430" y="962"/>
                </a:lnTo>
                <a:lnTo>
                  <a:pt x="3430" y="960"/>
                </a:lnTo>
                <a:lnTo>
                  <a:pt x="3430" y="960"/>
                </a:lnTo>
                <a:close/>
                <a:moveTo>
                  <a:pt x="3356" y="316"/>
                </a:moveTo>
                <a:lnTo>
                  <a:pt x="3356" y="316"/>
                </a:lnTo>
                <a:lnTo>
                  <a:pt x="3362" y="318"/>
                </a:lnTo>
                <a:lnTo>
                  <a:pt x="3362" y="318"/>
                </a:lnTo>
                <a:lnTo>
                  <a:pt x="3360" y="318"/>
                </a:lnTo>
                <a:lnTo>
                  <a:pt x="3360" y="318"/>
                </a:lnTo>
                <a:lnTo>
                  <a:pt x="3360" y="318"/>
                </a:lnTo>
                <a:lnTo>
                  <a:pt x="3360" y="318"/>
                </a:lnTo>
                <a:lnTo>
                  <a:pt x="3362" y="318"/>
                </a:lnTo>
                <a:lnTo>
                  <a:pt x="3362" y="318"/>
                </a:lnTo>
                <a:lnTo>
                  <a:pt x="3356" y="316"/>
                </a:lnTo>
                <a:lnTo>
                  <a:pt x="3356" y="316"/>
                </a:lnTo>
                <a:lnTo>
                  <a:pt x="3356" y="316"/>
                </a:lnTo>
                <a:lnTo>
                  <a:pt x="3356" y="316"/>
                </a:lnTo>
                <a:close/>
                <a:moveTo>
                  <a:pt x="3336" y="974"/>
                </a:moveTo>
                <a:lnTo>
                  <a:pt x="3336" y="974"/>
                </a:lnTo>
                <a:lnTo>
                  <a:pt x="3342" y="968"/>
                </a:lnTo>
                <a:lnTo>
                  <a:pt x="3342" y="968"/>
                </a:lnTo>
                <a:lnTo>
                  <a:pt x="3340" y="974"/>
                </a:lnTo>
                <a:lnTo>
                  <a:pt x="3340" y="974"/>
                </a:lnTo>
                <a:lnTo>
                  <a:pt x="3336" y="974"/>
                </a:lnTo>
                <a:lnTo>
                  <a:pt x="3336" y="974"/>
                </a:lnTo>
                <a:close/>
                <a:moveTo>
                  <a:pt x="3370" y="998"/>
                </a:moveTo>
                <a:lnTo>
                  <a:pt x="3370" y="998"/>
                </a:lnTo>
                <a:lnTo>
                  <a:pt x="3364" y="1000"/>
                </a:lnTo>
                <a:lnTo>
                  <a:pt x="3364" y="1000"/>
                </a:lnTo>
                <a:lnTo>
                  <a:pt x="3364" y="1000"/>
                </a:lnTo>
                <a:lnTo>
                  <a:pt x="3364" y="1000"/>
                </a:lnTo>
                <a:lnTo>
                  <a:pt x="3370" y="998"/>
                </a:lnTo>
                <a:lnTo>
                  <a:pt x="3370" y="998"/>
                </a:lnTo>
                <a:lnTo>
                  <a:pt x="3370" y="998"/>
                </a:lnTo>
                <a:lnTo>
                  <a:pt x="3370" y="998"/>
                </a:lnTo>
                <a:lnTo>
                  <a:pt x="3370" y="998"/>
                </a:lnTo>
                <a:lnTo>
                  <a:pt x="3370" y="998"/>
                </a:lnTo>
                <a:lnTo>
                  <a:pt x="3370" y="998"/>
                </a:lnTo>
                <a:lnTo>
                  <a:pt x="3370" y="998"/>
                </a:lnTo>
                <a:close/>
                <a:moveTo>
                  <a:pt x="3390" y="942"/>
                </a:moveTo>
                <a:lnTo>
                  <a:pt x="3390" y="942"/>
                </a:lnTo>
                <a:lnTo>
                  <a:pt x="3390" y="940"/>
                </a:lnTo>
                <a:lnTo>
                  <a:pt x="3390" y="940"/>
                </a:lnTo>
                <a:lnTo>
                  <a:pt x="3398" y="940"/>
                </a:lnTo>
                <a:lnTo>
                  <a:pt x="3398" y="940"/>
                </a:lnTo>
                <a:lnTo>
                  <a:pt x="3398" y="938"/>
                </a:lnTo>
                <a:lnTo>
                  <a:pt x="3398" y="938"/>
                </a:lnTo>
                <a:lnTo>
                  <a:pt x="3398" y="938"/>
                </a:lnTo>
                <a:lnTo>
                  <a:pt x="3398" y="938"/>
                </a:lnTo>
                <a:lnTo>
                  <a:pt x="3398" y="940"/>
                </a:lnTo>
                <a:lnTo>
                  <a:pt x="3398" y="940"/>
                </a:lnTo>
                <a:lnTo>
                  <a:pt x="3398" y="940"/>
                </a:lnTo>
                <a:lnTo>
                  <a:pt x="3390" y="942"/>
                </a:lnTo>
                <a:lnTo>
                  <a:pt x="3390" y="942"/>
                </a:lnTo>
                <a:close/>
                <a:moveTo>
                  <a:pt x="3406" y="974"/>
                </a:moveTo>
                <a:lnTo>
                  <a:pt x="3406" y="974"/>
                </a:lnTo>
                <a:lnTo>
                  <a:pt x="3414" y="976"/>
                </a:lnTo>
                <a:lnTo>
                  <a:pt x="3414" y="976"/>
                </a:lnTo>
                <a:lnTo>
                  <a:pt x="3422" y="978"/>
                </a:lnTo>
                <a:lnTo>
                  <a:pt x="3432" y="978"/>
                </a:lnTo>
                <a:lnTo>
                  <a:pt x="3432" y="978"/>
                </a:lnTo>
                <a:lnTo>
                  <a:pt x="3442" y="978"/>
                </a:lnTo>
                <a:lnTo>
                  <a:pt x="3442" y="978"/>
                </a:lnTo>
                <a:lnTo>
                  <a:pt x="3442" y="982"/>
                </a:lnTo>
                <a:lnTo>
                  <a:pt x="3442" y="986"/>
                </a:lnTo>
                <a:lnTo>
                  <a:pt x="3446" y="988"/>
                </a:lnTo>
                <a:lnTo>
                  <a:pt x="3452" y="990"/>
                </a:lnTo>
                <a:lnTo>
                  <a:pt x="3452" y="990"/>
                </a:lnTo>
                <a:lnTo>
                  <a:pt x="3450" y="994"/>
                </a:lnTo>
                <a:lnTo>
                  <a:pt x="3450" y="998"/>
                </a:lnTo>
                <a:lnTo>
                  <a:pt x="3450" y="998"/>
                </a:lnTo>
                <a:lnTo>
                  <a:pt x="3406" y="974"/>
                </a:lnTo>
                <a:lnTo>
                  <a:pt x="3406" y="974"/>
                </a:lnTo>
                <a:close/>
                <a:moveTo>
                  <a:pt x="3432" y="996"/>
                </a:moveTo>
                <a:lnTo>
                  <a:pt x="3432" y="996"/>
                </a:lnTo>
                <a:lnTo>
                  <a:pt x="3432" y="996"/>
                </a:lnTo>
                <a:lnTo>
                  <a:pt x="3432" y="996"/>
                </a:lnTo>
                <a:lnTo>
                  <a:pt x="3436" y="1000"/>
                </a:lnTo>
                <a:lnTo>
                  <a:pt x="3436" y="1000"/>
                </a:lnTo>
                <a:lnTo>
                  <a:pt x="3434" y="1002"/>
                </a:lnTo>
                <a:lnTo>
                  <a:pt x="3434" y="1002"/>
                </a:lnTo>
                <a:lnTo>
                  <a:pt x="3434" y="1002"/>
                </a:lnTo>
                <a:lnTo>
                  <a:pt x="3434" y="1002"/>
                </a:lnTo>
                <a:lnTo>
                  <a:pt x="3436" y="1000"/>
                </a:lnTo>
                <a:lnTo>
                  <a:pt x="3436" y="1000"/>
                </a:lnTo>
                <a:lnTo>
                  <a:pt x="3432" y="996"/>
                </a:lnTo>
                <a:lnTo>
                  <a:pt x="3432" y="996"/>
                </a:lnTo>
                <a:close/>
                <a:moveTo>
                  <a:pt x="3442" y="1002"/>
                </a:moveTo>
                <a:lnTo>
                  <a:pt x="3442" y="1002"/>
                </a:lnTo>
                <a:lnTo>
                  <a:pt x="3442" y="1002"/>
                </a:lnTo>
                <a:lnTo>
                  <a:pt x="3442" y="1002"/>
                </a:lnTo>
                <a:lnTo>
                  <a:pt x="3446" y="1004"/>
                </a:lnTo>
                <a:lnTo>
                  <a:pt x="3446" y="1004"/>
                </a:lnTo>
                <a:lnTo>
                  <a:pt x="3444" y="1004"/>
                </a:lnTo>
                <a:lnTo>
                  <a:pt x="3444" y="1004"/>
                </a:lnTo>
                <a:lnTo>
                  <a:pt x="3444" y="1004"/>
                </a:lnTo>
                <a:lnTo>
                  <a:pt x="3444" y="1004"/>
                </a:lnTo>
                <a:lnTo>
                  <a:pt x="3444" y="1004"/>
                </a:lnTo>
                <a:lnTo>
                  <a:pt x="3444" y="1004"/>
                </a:lnTo>
                <a:lnTo>
                  <a:pt x="3442" y="1002"/>
                </a:lnTo>
                <a:lnTo>
                  <a:pt x="3442" y="1002"/>
                </a:lnTo>
                <a:close/>
                <a:moveTo>
                  <a:pt x="3434" y="1018"/>
                </a:moveTo>
                <a:lnTo>
                  <a:pt x="3434" y="1018"/>
                </a:lnTo>
                <a:lnTo>
                  <a:pt x="3450" y="1014"/>
                </a:lnTo>
                <a:lnTo>
                  <a:pt x="3450" y="1014"/>
                </a:lnTo>
                <a:lnTo>
                  <a:pt x="3450" y="1018"/>
                </a:lnTo>
                <a:lnTo>
                  <a:pt x="3450" y="1018"/>
                </a:lnTo>
                <a:lnTo>
                  <a:pt x="3452" y="1026"/>
                </a:lnTo>
                <a:lnTo>
                  <a:pt x="3444" y="1026"/>
                </a:lnTo>
                <a:lnTo>
                  <a:pt x="3444" y="1026"/>
                </a:lnTo>
                <a:lnTo>
                  <a:pt x="3442" y="1030"/>
                </a:lnTo>
                <a:lnTo>
                  <a:pt x="3442" y="1030"/>
                </a:lnTo>
                <a:lnTo>
                  <a:pt x="3440" y="1028"/>
                </a:lnTo>
                <a:lnTo>
                  <a:pt x="3440" y="1028"/>
                </a:lnTo>
                <a:lnTo>
                  <a:pt x="3440" y="1028"/>
                </a:lnTo>
                <a:lnTo>
                  <a:pt x="3440" y="1024"/>
                </a:lnTo>
                <a:lnTo>
                  <a:pt x="3438" y="1022"/>
                </a:lnTo>
                <a:lnTo>
                  <a:pt x="3434" y="1018"/>
                </a:lnTo>
                <a:lnTo>
                  <a:pt x="3434" y="1018"/>
                </a:lnTo>
                <a:close/>
                <a:moveTo>
                  <a:pt x="3486" y="1020"/>
                </a:moveTo>
                <a:lnTo>
                  <a:pt x="3486" y="1020"/>
                </a:lnTo>
                <a:lnTo>
                  <a:pt x="3486" y="1018"/>
                </a:lnTo>
                <a:lnTo>
                  <a:pt x="3486" y="1018"/>
                </a:lnTo>
                <a:lnTo>
                  <a:pt x="3486" y="1020"/>
                </a:lnTo>
                <a:lnTo>
                  <a:pt x="3486" y="1020"/>
                </a:lnTo>
                <a:lnTo>
                  <a:pt x="3486" y="1020"/>
                </a:lnTo>
                <a:lnTo>
                  <a:pt x="3486" y="1020"/>
                </a:lnTo>
                <a:close/>
                <a:moveTo>
                  <a:pt x="3550" y="1038"/>
                </a:moveTo>
                <a:lnTo>
                  <a:pt x="3550" y="1038"/>
                </a:lnTo>
                <a:lnTo>
                  <a:pt x="3554" y="1040"/>
                </a:lnTo>
                <a:lnTo>
                  <a:pt x="3558" y="1040"/>
                </a:lnTo>
                <a:lnTo>
                  <a:pt x="3558" y="1040"/>
                </a:lnTo>
                <a:lnTo>
                  <a:pt x="3558" y="1040"/>
                </a:lnTo>
                <a:lnTo>
                  <a:pt x="3558" y="1040"/>
                </a:lnTo>
                <a:lnTo>
                  <a:pt x="3554" y="1040"/>
                </a:lnTo>
                <a:lnTo>
                  <a:pt x="3550" y="1038"/>
                </a:lnTo>
                <a:lnTo>
                  <a:pt x="3550" y="1038"/>
                </a:lnTo>
                <a:close/>
                <a:moveTo>
                  <a:pt x="3584" y="1032"/>
                </a:moveTo>
                <a:lnTo>
                  <a:pt x="3584" y="1032"/>
                </a:lnTo>
                <a:lnTo>
                  <a:pt x="3576" y="1034"/>
                </a:lnTo>
                <a:lnTo>
                  <a:pt x="3576" y="1034"/>
                </a:lnTo>
                <a:lnTo>
                  <a:pt x="3548" y="1038"/>
                </a:lnTo>
                <a:lnTo>
                  <a:pt x="3548" y="1038"/>
                </a:lnTo>
                <a:lnTo>
                  <a:pt x="3548" y="1010"/>
                </a:lnTo>
                <a:lnTo>
                  <a:pt x="3548" y="1010"/>
                </a:lnTo>
                <a:lnTo>
                  <a:pt x="3530" y="1008"/>
                </a:lnTo>
                <a:lnTo>
                  <a:pt x="3530" y="1008"/>
                </a:lnTo>
                <a:lnTo>
                  <a:pt x="3530" y="1008"/>
                </a:lnTo>
                <a:lnTo>
                  <a:pt x="3530" y="1008"/>
                </a:lnTo>
                <a:lnTo>
                  <a:pt x="3540" y="1008"/>
                </a:lnTo>
                <a:lnTo>
                  <a:pt x="3548" y="1008"/>
                </a:lnTo>
                <a:lnTo>
                  <a:pt x="3548" y="1008"/>
                </a:lnTo>
                <a:lnTo>
                  <a:pt x="3548" y="1000"/>
                </a:lnTo>
                <a:lnTo>
                  <a:pt x="3548" y="1000"/>
                </a:lnTo>
                <a:lnTo>
                  <a:pt x="3554" y="1000"/>
                </a:lnTo>
                <a:lnTo>
                  <a:pt x="3554" y="1000"/>
                </a:lnTo>
                <a:lnTo>
                  <a:pt x="3556" y="1010"/>
                </a:lnTo>
                <a:lnTo>
                  <a:pt x="3556" y="1010"/>
                </a:lnTo>
                <a:lnTo>
                  <a:pt x="3552" y="1010"/>
                </a:lnTo>
                <a:lnTo>
                  <a:pt x="3552" y="1010"/>
                </a:lnTo>
                <a:lnTo>
                  <a:pt x="3558" y="1014"/>
                </a:lnTo>
                <a:lnTo>
                  <a:pt x="3558" y="1014"/>
                </a:lnTo>
                <a:lnTo>
                  <a:pt x="3560" y="1014"/>
                </a:lnTo>
                <a:lnTo>
                  <a:pt x="3560" y="1014"/>
                </a:lnTo>
                <a:lnTo>
                  <a:pt x="3560" y="1016"/>
                </a:lnTo>
                <a:lnTo>
                  <a:pt x="3560" y="1016"/>
                </a:lnTo>
                <a:lnTo>
                  <a:pt x="3552" y="1018"/>
                </a:lnTo>
                <a:lnTo>
                  <a:pt x="3552" y="1018"/>
                </a:lnTo>
                <a:lnTo>
                  <a:pt x="3548" y="1020"/>
                </a:lnTo>
                <a:lnTo>
                  <a:pt x="3548" y="1020"/>
                </a:lnTo>
                <a:lnTo>
                  <a:pt x="3556" y="1022"/>
                </a:lnTo>
                <a:lnTo>
                  <a:pt x="3562" y="1024"/>
                </a:lnTo>
                <a:lnTo>
                  <a:pt x="3562" y="1024"/>
                </a:lnTo>
                <a:lnTo>
                  <a:pt x="3568" y="1026"/>
                </a:lnTo>
                <a:lnTo>
                  <a:pt x="3574" y="1026"/>
                </a:lnTo>
                <a:lnTo>
                  <a:pt x="3574" y="1026"/>
                </a:lnTo>
                <a:lnTo>
                  <a:pt x="3576" y="1022"/>
                </a:lnTo>
                <a:lnTo>
                  <a:pt x="3580" y="1022"/>
                </a:lnTo>
                <a:lnTo>
                  <a:pt x="3580" y="1022"/>
                </a:lnTo>
                <a:lnTo>
                  <a:pt x="3586" y="1024"/>
                </a:lnTo>
                <a:lnTo>
                  <a:pt x="3586" y="1024"/>
                </a:lnTo>
                <a:lnTo>
                  <a:pt x="3588" y="1028"/>
                </a:lnTo>
                <a:lnTo>
                  <a:pt x="3590" y="1030"/>
                </a:lnTo>
                <a:lnTo>
                  <a:pt x="3588" y="1032"/>
                </a:lnTo>
                <a:lnTo>
                  <a:pt x="3584" y="1032"/>
                </a:lnTo>
                <a:lnTo>
                  <a:pt x="3584" y="1032"/>
                </a:lnTo>
                <a:close/>
                <a:moveTo>
                  <a:pt x="3564" y="1002"/>
                </a:moveTo>
                <a:lnTo>
                  <a:pt x="3564" y="1002"/>
                </a:lnTo>
                <a:lnTo>
                  <a:pt x="3564" y="1002"/>
                </a:lnTo>
                <a:lnTo>
                  <a:pt x="3564" y="1002"/>
                </a:lnTo>
                <a:lnTo>
                  <a:pt x="3566" y="1004"/>
                </a:lnTo>
                <a:lnTo>
                  <a:pt x="3566" y="1004"/>
                </a:lnTo>
                <a:lnTo>
                  <a:pt x="3564" y="1006"/>
                </a:lnTo>
                <a:lnTo>
                  <a:pt x="3564" y="1006"/>
                </a:lnTo>
                <a:lnTo>
                  <a:pt x="3564" y="1006"/>
                </a:lnTo>
                <a:lnTo>
                  <a:pt x="3564" y="1006"/>
                </a:lnTo>
                <a:lnTo>
                  <a:pt x="3566" y="1004"/>
                </a:lnTo>
                <a:lnTo>
                  <a:pt x="3566" y="1004"/>
                </a:lnTo>
                <a:lnTo>
                  <a:pt x="3564" y="1002"/>
                </a:lnTo>
                <a:lnTo>
                  <a:pt x="3564" y="1002"/>
                </a:lnTo>
                <a:close/>
                <a:moveTo>
                  <a:pt x="3590" y="1016"/>
                </a:moveTo>
                <a:lnTo>
                  <a:pt x="3590" y="1016"/>
                </a:lnTo>
                <a:lnTo>
                  <a:pt x="3582" y="1018"/>
                </a:lnTo>
                <a:lnTo>
                  <a:pt x="3582" y="1012"/>
                </a:lnTo>
                <a:lnTo>
                  <a:pt x="3582" y="1012"/>
                </a:lnTo>
                <a:lnTo>
                  <a:pt x="3568" y="1010"/>
                </a:lnTo>
                <a:lnTo>
                  <a:pt x="3568" y="1010"/>
                </a:lnTo>
                <a:lnTo>
                  <a:pt x="3568" y="1008"/>
                </a:lnTo>
                <a:lnTo>
                  <a:pt x="3568" y="1008"/>
                </a:lnTo>
                <a:lnTo>
                  <a:pt x="3584" y="1004"/>
                </a:lnTo>
                <a:lnTo>
                  <a:pt x="3584" y="1004"/>
                </a:lnTo>
                <a:lnTo>
                  <a:pt x="3580" y="1000"/>
                </a:lnTo>
                <a:lnTo>
                  <a:pt x="3580" y="1000"/>
                </a:lnTo>
                <a:lnTo>
                  <a:pt x="3590" y="996"/>
                </a:lnTo>
                <a:lnTo>
                  <a:pt x="3590" y="996"/>
                </a:lnTo>
                <a:lnTo>
                  <a:pt x="3598" y="1000"/>
                </a:lnTo>
                <a:lnTo>
                  <a:pt x="3598" y="1000"/>
                </a:lnTo>
                <a:lnTo>
                  <a:pt x="3606" y="1002"/>
                </a:lnTo>
                <a:lnTo>
                  <a:pt x="3606" y="1002"/>
                </a:lnTo>
                <a:lnTo>
                  <a:pt x="3602" y="1006"/>
                </a:lnTo>
                <a:lnTo>
                  <a:pt x="3602" y="1006"/>
                </a:lnTo>
                <a:lnTo>
                  <a:pt x="3602" y="1008"/>
                </a:lnTo>
                <a:lnTo>
                  <a:pt x="3602" y="1008"/>
                </a:lnTo>
                <a:lnTo>
                  <a:pt x="3604" y="1010"/>
                </a:lnTo>
                <a:lnTo>
                  <a:pt x="3604" y="1010"/>
                </a:lnTo>
                <a:lnTo>
                  <a:pt x="3608" y="1010"/>
                </a:lnTo>
                <a:lnTo>
                  <a:pt x="3612" y="1012"/>
                </a:lnTo>
                <a:lnTo>
                  <a:pt x="3612" y="1012"/>
                </a:lnTo>
                <a:lnTo>
                  <a:pt x="3612" y="1012"/>
                </a:lnTo>
                <a:lnTo>
                  <a:pt x="3612" y="1012"/>
                </a:lnTo>
                <a:lnTo>
                  <a:pt x="3608" y="1010"/>
                </a:lnTo>
                <a:lnTo>
                  <a:pt x="3604" y="1010"/>
                </a:lnTo>
                <a:lnTo>
                  <a:pt x="3604" y="1010"/>
                </a:lnTo>
                <a:lnTo>
                  <a:pt x="3608" y="1012"/>
                </a:lnTo>
                <a:lnTo>
                  <a:pt x="3608" y="1012"/>
                </a:lnTo>
                <a:lnTo>
                  <a:pt x="3600" y="1014"/>
                </a:lnTo>
                <a:lnTo>
                  <a:pt x="3600" y="1014"/>
                </a:lnTo>
                <a:lnTo>
                  <a:pt x="3590" y="1016"/>
                </a:lnTo>
                <a:lnTo>
                  <a:pt x="3590" y="1016"/>
                </a:lnTo>
                <a:close/>
                <a:moveTo>
                  <a:pt x="3592" y="990"/>
                </a:moveTo>
                <a:lnTo>
                  <a:pt x="3592" y="990"/>
                </a:lnTo>
                <a:lnTo>
                  <a:pt x="3588" y="990"/>
                </a:lnTo>
                <a:lnTo>
                  <a:pt x="3588" y="990"/>
                </a:lnTo>
                <a:lnTo>
                  <a:pt x="3592" y="990"/>
                </a:lnTo>
                <a:lnTo>
                  <a:pt x="3592" y="990"/>
                </a:lnTo>
                <a:lnTo>
                  <a:pt x="3604" y="990"/>
                </a:lnTo>
                <a:lnTo>
                  <a:pt x="3604" y="990"/>
                </a:lnTo>
                <a:lnTo>
                  <a:pt x="3594" y="996"/>
                </a:lnTo>
                <a:lnTo>
                  <a:pt x="3594" y="996"/>
                </a:lnTo>
                <a:lnTo>
                  <a:pt x="3594" y="996"/>
                </a:lnTo>
                <a:lnTo>
                  <a:pt x="3594" y="996"/>
                </a:lnTo>
                <a:lnTo>
                  <a:pt x="3604" y="990"/>
                </a:lnTo>
                <a:lnTo>
                  <a:pt x="3604" y="990"/>
                </a:lnTo>
                <a:lnTo>
                  <a:pt x="3592" y="990"/>
                </a:lnTo>
                <a:lnTo>
                  <a:pt x="3592" y="990"/>
                </a:lnTo>
                <a:close/>
                <a:moveTo>
                  <a:pt x="3602" y="1034"/>
                </a:moveTo>
                <a:lnTo>
                  <a:pt x="3602" y="1034"/>
                </a:lnTo>
                <a:lnTo>
                  <a:pt x="3602" y="1034"/>
                </a:lnTo>
                <a:lnTo>
                  <a:pt x="3602" y="1034"/>
                </a:lnTo>
                <a:lnTo>
                  <a:pt x="3614" y="1032"/>
                </a:lnTo>
                <a:lnTo>
                  <a:pt x="3616" y="1028"/>
                </a:lnTo>
                <a:lnTo>
                  <a:pt x="3616" y="1024"/>
                </a:lnTo>
                <a:lnTo>
                  <a:pt x="3616" y="1024"/>
                </a:lnTo>
                <a:lnTo>
                  <a:pt x="3616" y="1024"/>
                </a:lnTo>
                <a:lnTo>
                  <a:pt x="3616" y="1024"/>
                </a:lnTo>
                <a:lnTo>
                  <a:pt x="3616" y="1028"/>
                </a:lnTo>
                <a:lnTo>
                  <a:pt x="3614" y="1032"/>
                </a:lnTo>
                <a:lnTo>
                  <a:pt x="3602" y="1034"/>
                </a:lnTo>
                <a:lnTo>
                  <a:pt x="3602" y="1034"/>
                </a:lnTo>
                <a:close/>
                <a:moveTo>
                  <a:pt x="3616" y="1024"/>
                </a:moveTo>
                <a:lnTo>
                  <a:pt x="3616" y="1024"/>
                </a:lnTo>
                <a:lnTo>
                  <a:pt x="3616" y="1024"/>
                </a:lnTo>
                <a:lnTo>
                  <a:pt x="3616" y="1024"/>
                </a:lnTo>
                <a:lnTo>
                  <a:pt x="3618" y="1022"/>
                </a:lnTo>
                <a:lnTo>
                  <a:pt x="3618" y="1022"/>
                </a:lnTo>
                <a:lnTo>
                  <a:pt x="3616" y="1020"/>
                </a:lnTo>
                <a:lnTo>
                  <a:pt x="3616" y="1020"/>
                </a:lnTo>
                <a:lnTo>
                  <a:pt x="3616" y="1020"/>
                </a:lnTo>
                <a:lnTo>
                  <a:pt x="3616" y="1020"/>
                </a:lnTo>
                <a:lnTo>
                  <a:pt x="3618" y="1022"/>
                </a:lnTo>
                <a:lnTo>
                  <a:pt x="3618" y="1022"/>
                </a:lnTo>
                <a:lnTo>
                  <a:pt x="3616" y="1024"/>
                </a:lnTo>
                <a:lnTo>
                  <a:pt x="3616" y="1024"/>
                </a:lnTo>
                <a:close/>
                <a:moveTo>
                  <a:pt x="3636" y="1050"/>
                </a:moveTo>
                <a:lnTo>
                  <a:pt x="3636" y="1050"/>
                </a:lnTo>
                <a:lnTo>
                  <a:pt x="3632" y="1044"/>
                </a:lnTo>
                <a:lnTo>
                  <a:pt x="3632" y="1044"/>
                </a:lnTo>
                <a:lnTo>
                  <a:pt x="3632" y="1044"/>
                </a:lnTo>
                <a:lnTo>
                  <a:pt x="3632" y="1044"/>
                </a:lnTo>
                <a:lnTo>
                  <a:pt x="3636" y="1048"/>
                </a:lnTo>
                <a:lnTo>
                  <a:pt x="3636" y="1048"/>
                </a:lnTo>
                <a:lnTo>
                  <a:pt x="3636" y="1050"/>
                </a:lnTo>
                <a:lnTo>
                  <a:pt x="3636" y="1050"/>
                </a:lnTo>
                <a:close/>
                <a:moveTo>
                  <a:pt x="3640" y="1042"/>
                </a:moveTo>
                <a:lnTo>
                  <a:pt x="3640" y="1042"/>
                </a:lnTo>
                <a:lnTo>
                  <a:pt x="3638" y="1040"/>
                </a:lnTo>
                <a:lnTo>
                  <a:pt x="3634" y="1038"/>
                </a:lnTo>
                <a:lnTo>
                  <a:pt x="3624" y="1038"/>
                </a:lnTo>
                <a:lnTo>
                  <a:pt x="3624" y="1038"/>
                </a:lnTo>
                <a:lnTo>
                  <a:pt x="3622" y="1040"/>
                </a:lnTo>
                <a:lnTo>
                  <a:pt x="3618" y="1042"/>
                </a:lnTo>
                <a:lnTo>
                  <a:pt x="3618" y="1042"/>
                </a:lnTo>
                <a:lnTo>
                  <a:pt x="3618" y="1042"/>
                </a:lnTo>
                <a:lnTo>
                  <a:pt x="3618" y="1042"/>
                </a:lnTo>
                <a:lnTo>
                  <a:pt x="3622" y="1040"/>
                </a:lnTo>
                <a:lnTo>
                  <a:pt x="3624" y="1038"/>
                </a:lnTo>
                <a:lnTo>
                  <a:pt x="3624" y="1038"/>
                </a:lnTo>
                <a:lnTo>
                  <a:pt x="3634" y="1038"/>
                </a:lnTo>
                <a:lnTo>
                  <a:pt x="3638" y="1040"/>
                </a:lnTo>
                <a:lnTo>
                  <a:pt x="3640" y="1042"/>
                </a:lnTo>
                <a:lnTo>
                  <a:pt x="3640" y="1042"/>
                </a:lnTo>
                <a:lnTo>
                  <a:pt x="3640" y="1042"/>
                </a:lnTo>
                <a:lnTo>
                  <a:pt x="3640" y="1042"/>
                </a:lnTo>
                <a:close/>
                <a:moveTo>
                  <a:pt x="3640" y="1000"/>
                </a:moveTo>
                <a:lnTo>
                  <a:pt x="3640" y="1000"/>
                </a:lnTo>
                <a:lnTo>
                  <a:pt x="3636" y="1002"/>
                </a:lnTo>
                <a:lnTo>
                  <a:pt x="3634" y="1002"/>
                </a:lnTo>
                <a:lnTo>
                  <a:pt x="3628" y="1002"/>
                </a:lnTo>
                <a:lnTo>
                  <a:pt x="3628" y="1002"/>
                </a:lnTo>
                <a:lnTo>
                  <a:pt x="3630" y="1000"/>
                </a:lnTo>
                <a:lnTo>
                  <a:pt x="3630" y="1000"/>
                </a:lnTo>
                <a:lnTo>
                  <a:pt x="3628" y="1002"/>
                </a:lnTo>
                <a:lnTo>
                  <a:pt x="3628" y="1002"/>
                </a:lnTo>
                <a:lnTo>
                  <a:pt x="3634" y="1002"/>
                </a:lnTo>
                <a:lnTo>
                  <a:pt x="3636" y="1002"/>
                </a:lnTo>
                <a:lnTo>
                  <a:pt x="3640" y="1000"/>
                </a:lnTo>
                <a:lnTo>
                  <a:pt x="3640" y="1000"/>
                </a:lnTo>
                <a:close/>
                <a:moveTo>
                  <a:pt x="3638" y="998"/>
                </a:moveTo>
                <a:lnTo>
                  <a:pt x="3638" y="998"/>
                </a:lnTo>
                <a:lnTo>
                  <a:pt x="3636" y="1000"/>
                </a:lnTo>
                <a:lnTo>
                  <a:pt x="3636" y="1000"/>
                </a:lnTo>
                <a:lnTo>
                  <a:pt x="3636" y="1000"/>
                </a:lnTo>
                <a:lnTo>
                  <a:pt x="3636" y="1000"/>
                </a:lnTo>
                <a:lnTo>
                  <a:pt x="3636" y="998"/>
                </a:lnTo>
                <a:lnTo>
                  <a:pt x="3636" y="998"/>
                </a:lnTo>
                <a:lnTo>
                  <a:pt x="3632" y="996"/>
                </a:lnTo>
                <a:lnTo>
                  <a:pt x="3632" y="996"/>
                </a:lnTo>
                <a:lnTo>
                  <a:pt x="3632" y="996"/>
                </a:lnTo>
                <a:lnTo>
                  <a:pt x="3632" y="996"/>
                </a:lnTo>
                <a:lnTo>
                  <a:pt x="3632" y="996"/>
                </a:lnTo>
                <a:lnTo>
                  <a:pt x="3638" y="998"/>
                </a:lnTo>
                <a:lnTo>
                  <a:pt x="3638" y="998"/>
                </a:lnTo>
                <a:close/>
                <a:moveTo>
                  <a:pt x="3636" y="994"/>
                </a:moveTo>
                <a:lnTo>
                  <a:pt x="3636" y="994"/>
                </a:lnTo>
                <a:lnTo>
                  <a:pt x="3636" y="994"/>
                </a:lnTo>
                <a:lnTo>
                  <a:pt x="3636" y="994"/>
                </a:lnTo>
                <a:lnTo>
                  <a:pt x="3644" y="990"/>
                </a:lnTo>
                <a:lnTo>
                  <a:pt x="3644" y="990"/>
                </a:lnTo>
                <a:lnTo>
                  <a:pt x="3638" y="986"/>
                </a:lnTo>
                <a:lnTo>
                  <a:pt x="3638" y="986"/>
                </a:lnTo>
                <a:lnTo>
                  <a:pt x="3644" y="990"/>
                </a:lnTo>
                <a:lnTo>
                  <a:pt x="3644" y="990"/>
                </a:lnTo>
                <a:lnTo>
                  <a:pt x="3636" y="994"/>
                </a:lnTo>
                <a:lnTo>
                  <a:pt x="3636" y="994"/>
                </a:lnTo>
                <a:close/>
                <a:moveTo>
                  <a:pt x="3654" y="984"/>
                </a:moveTo>
                <a:lnTo>
                  <a:pt x="3654" y="984"/>
                </a:lnTo>
                <a:lnTo>
                  <a:pt x="3636" y="982"/>
                </a:lnTo>
                <a:lnTo>
                  <a:pt x="3636" y="982"/>
                </a:lnTo>
                <a:lnTo>
                  <a:pt x="3630" y="982"/>
                </a:lnTo>
                <a:lnTo>
                  <a:pt x="3624" y="984"/>
                </a:lnTo>
                <a:lnTo>
                  <a:pt x="3624" y="984"/>
                </a:lnTo>
                <a:lnTo>
                  <a:pt x="3614" y="986"/>
                </a:lnTo>
                <a:lnTo>
                  <a:pt x="3604" y="986"/>
                </a:lnTo>
                <a:lnTo>
                  <a:pt x="3604" y="986"/>
                </a:lnTo>
                <a:lnTo>
                  <a:pt x="3590" y="984"/>
                </a:lnTo>
                <a:lnTo>
                  <a:pt x="3590" y="984"/>
                </a:lnTo>
                <a:lnTo>
                  <a:pt x="3582" y="986"/>
                </a:lnTo>
                <a:lnTo>
                  <a:pt x="3574" y="988"/>
                </a:lnTo>
                <a:lnTo>
                  <a:pt x="3574" y="988"/>
                </a:lnTo>
                <a:lnTo>
                  <a:pt x="3568" y="990"/>
                </a:lnTo>
                <a:lnTo>
                  <a:pt x="3564" y="990"/>
                </a:lnTo>
                <a:lnTo>
                  <a:pt x="3564" y="990"/>
                </a:lnTo>
                <a:lnTo>
                  <a:pt x="3564" y="992"/>
                </a:lnTo>
                <a:lnTo>
                  <a:pt x="3564" y="992"/>
                </a:lnTo>
                <a:lnTo>
                  <a:pt x="3554" y="992"/>
                </a:lnTo>
                <a:lnTo>
                  <a:pt x="3548" y="990"/>
                </a:lnTo>
                <a:lnTo>
                  <a:pt x="3548" y="990"/>
                </a:lnTo>
                <a:lnTo>
                  <a:pt x="3548" y="982"/>
                </a:lnTo>
                <a:lnTo>
                  <a:pt x="3548" y="982"/>
                </a:lnTo>
                <a:lnTo>
                  <a:pt x="3550" y="982"/>
                </a:lnTo>
                <a:lnTo>
                  <a:pt x="3550" y="982"/>
                </a:lnTo>
                <a:lnTo>
                  <a:pt x="3558" y="982"/>
                </a:lnTo>
                <a:lnTo>
                  <a:pt x="3562" y="986"/>
                </a:lnTo>
                <a:lnTo>
                  <a:pt x="3562" y="986"/>
                </a:lnTo>
                <a:lnTo>
                  <a:pt x="3566" y="986"/>
                </a:lnTo>
                <a:lnTo>
                  <a:pt x="3566" y="986"/>
                </a:lnTo>
                <a:lnTo>
                  <a:pt x="3560" y="982"/>
                </a:lnTo>
                <a:lnTo>
                  <a:pt x="3556" y="980"/>
                </a:lnTo>
                <a:lnTo>
                  <a:pt x="3556" y="976"/>
                </a:lnTo>
                <a:lnTo>
                  <a:pt x="3558" y="972"/>
                </a:lnTo>
                <a:lnTo>
                  <a:pt x="3558" y="972"/>
                </a:lnTo>
                <a:lnTo>
                  <a:pt x="3576" y="968"/>
                </a:lnTo>
                <a:lnTo>
                  <a:pt x="3586" y="966"/>
                </a:lnTo>
                <a:lnTo>
                  <a:pt x="3596" y="962"/>
                </a:lnTo>
                <a:lnTo>
                  <a:pt x="3596" y="962"/>
                </a:lnTo>
                <a:lnTo>
                  <a:pt x="3602" y="964"/>
                </a:lnTo>
                <a:lnTo>
                  <a:pt x="3602" y="964"/>
                </a:lnTo>
                <a:lnTo>
                  <a:pt x="3608" y="968"/>
                </a:lnTo>
                <a:lnTo>
                  <a:pt x="3612" y="970"/>
                </a:lnTo>
                <a:lnTo>
                  <a:pt x="3616" y="970"/>
                </a:lnTo>
                <a:lnTo>
                  <a:pt x="3622" y="966"/>
                </a:lnTo>
                <a:lnTo>
                  <a:pt x="3622" y="966"/>
                </a:lnTo>
                <a:lnTo>
                  <a:pt x="3624" y="966"/>
                </a:lnTo>
                <a:lnTo>
                  <a:pt x="3624" y="966"/>
                </a:lnTo>
                <a:lnTo>
                  <a:pt x="3628" y="968"/>
                </a:lnTo>
                <a:lnTo>
                  <a:pt x="3626" y="972"/>
                </a:lnTo>
                <a:lnTo>
                  <a:pt x="3626" y="972"/>
                </a:lnTo>
                <a:lnTo>
                  <a:pt x="3630" y="974"/>
                </a:lnTo>
                <a:lnTo>
                  <a:pt x="3632" y="976"/>
                </a:lnTo>
                <a:lnTo>
                  <a:pt x="3642" y="976"/>
                </a:lnTo>
                <a:lnTo>
                  <a:pt x="3642" y="976"/>
                </a:lnTo>
                <a:lnTo>
                  <a:pt x="3658" y="974"/>
                </a:lnTo>
                <a:lnTo>
                  <a:pt x="3672" y="974"/>
                </a:lnTo>
                <a:lnTo>
                  <a:pt x="3672" y="974"/>
                </a:lnTo>
                <a:lnTo>
                  <a:pt x="3684" y="978"/>
                </a:lnTo>
                <a:lnTo>
                  <a:pt x="3684" y="978"/>
                </a:lnTo>
                <a:lnTo>
                  <a:pt x="3676" y="980"/>
                </a:lnTo>
                <a:lnTo>
                  <a:pt x="3674" y="980"/>
                </a:lnTo>
                <a:lnTo>
                  <a:pt x="3672" y="976"/>
                </a:lnTo>
                <a:lnTo>
                  <a:pt x="3672" y="976"/>
                </a:lnTo>
                <a:lnTo>
                  <a:pt x="3666" y="976"/>
                </a:lnTo>
                <a:lnTo>
                  <a:pt x="3662" y="978"/>
                </a:lnTo>
                <a:lnTo>
                  <a:pt x="3654" y="984"/>
                </a:lnTo>
                <a:lnTo>
                  <a:pt x="3654" y="984"/>
                </a:lnTo>
                <a:close/>
                <a:moveTo>
                  <a:pt x="3682" y="1032"/>
                </a:moveTo>
                <a:lnTo>
                  <a:pt x="3682" y="1032"/>
                </a:lnTo>
                <a:lnTo>
                  <a:pt x="3678" y="1028"/>
                </a:lnTo>
                <a:lnTo>
                  <a:pt x="3678" y="1028"/>
                </a:lnTo>
                <a:lnTo>
                  <a:pt x="3672" y="1026"/>
                </a:lnTo>
                <a:lnTo>
                  <a:pt x="3670" y="1024"/>
                </a:lnTo>
                <a:lnTo>
                  <a:pt x="3668" y="1022"/>
                </a:lnTo>
                <a:lnTo>
                  <a:pt x="3668" y="1022"/>
                </a:lnTo>
                <a:lnTo>
                  <a:pt x="3664" y="1020"/>
                </a:lnTo>
                <a:lnTo>
                  <a:pt x="3660" y="1020"/>
                </a:lnTo>
                <a:lnTo>
                  <a:pt x="3658" y="1018"/>
                </a:lnTo>
                <a:lnTo>
                  <a:pt x="3654" y="1018"/>
                </a:lnTo>
                <a:lnTo>
                  <a:pt x="3654" y="1018"/>
                </a:lnTo>
                <a:lnTo>
                  <a:pt x="3654" y="1014"/>
                </a:lnTo>
                <a:lnTo>
                  <a:pt x="3656" y="1010"/>
                </a:lnTo>
                <a:lnTo>
                  <a:pt x="3658" y="1008"/>
                </a:lnTo>
                <a:lnTo>
                  <a:pt x="3654" y="1004"/>
                </a:lnTo>
                <a:lnTo>
                  <a:pt x="3654" y="1004"/>
                </a:lnTo>
                <a:lnTo>
                  <a:pt x="3668" y="1002"/>
                </a:lnTo>
                <a:lnTo>
                  <a:pt x="3674" y="1000"/>
                </a:lnTo>
                <a:lnTo>
                  <a:pt x="3680" y="996"/>
                </a:lnTo>
                <a:lnTo>
                  <a:pt x="3680" y="996"/>
                </a:lnTo>
                <a:lnTo>
                  <a:pt x="3660" y="994"/>
                </a:lnTo>
                <a:lnTo>
                  <a:pt x="3660" y="994"/>
                </a:lnTo>
                <a:lnTo>
                  <a:pt x="3660" y="992"/>
                </a:lnTo>
                <a:lnTo>
                  <a:pt x="3660" y="990"/>
                </a:lnTo>
                <a:lnTo>
                  <a:pt x="3666" y="990"/>
                </a:lnTo>
                <a:lnTo>
                  <a:pt x="3666" y="990"/>
                </a:lnTo>
                <a:lnTo>
                  <a:pt x="3676" y="990"/>
                </a:lnTo>
                <a:lnTo>
                  <a:pt x="3684" y="990"/>
                </a:lnTo>
                <a:lnTo>
                  <a:pt x="3684" y="990"/>
                </a:lnTo>
                <a:lnTo>
                  <a:pt x="3682" y="1032"/>
                </a:lnTo>
                <a:lnTo>
                  <a:pt x="3682" y="1032"/>
                </a:lnTo>
                <a:close/>
                <a:moveTo>
                  <a:pt x="3696" y="994"/>
                </a:moveTo>
                <a:lnTo>
                  <a:pt x="3696" y="994"/>
                </a:lnTo>
                <a:lnTo>
                  <a:pt x="3696" y="994"/>
                </a:lnTo>
                <a:lnTo>
                  <a:pt x="3696" y="994"/>
                </a:lnTo>
                <a:lnTo>
                  <a:pt x="3696" y="988"/>
                </a:lnTo>
                <a:lnTo>
                  <a:pt x="3696" y="988"/>
                </a:lnTo>
                <a:lnTo>
                  <a:pt x="3696" y="988"/>
                </a:lnTo>
                <a:lnTo>
                  <a:pt x="3696" y="988"/>
                </a:lnTo>
                <a:lnTo>
                  <a:pt x="3698" y="990"/>
                </a:lnTo>
                <a:lnTo>
                  <a:pt x="3698" y="990"/>
                </a:lnTo>
                <a:lnTo>
                  <a:pt x="3696" y="994"/>
                </a:lnTo>
                <a:lnTo>
                  <a:pt x="3696" y="994"/>
                </a:lnTo>
                <a:close/>
                <a:moveTo>
                  <a:pt x="3698" y="976"/>
                </a:moveTo>
                <a:lnTo>
                  <a:pt x="3698" y="976"/>
                </a:lnTo>
                <a:lnTo>
                  <a:pt x="3702" y="972"/>
                </a:lnTo>
                <a:lnTo>
                  <a:pt x="3702" y="972"/>
                </a:lnTo>
                <a:lnTo>
                  <a:pt x="3702" y="976"/>
                </a:lnTo>
                <a:lnTo>
                  <a:pt x="3702" y="976"/>
                </a:lnTo>
                <a:lnTo>
                  <a:pt x="3698" y="976"/>
                </a:lnTo>
                <a:lnTo>
                  <a:pt x="3698" y="976"/>
                </a:lnTo>
                <a:close/>
                <a:moveTo>
                  <a:pt x="3736" y="974"/>
                </a:moveTo>
                <a:lnTo>
                  <a:pt x="3736" y="974"/>
                </a:lnTo>
                <a:lnTo>
                  <a:pt x="3736" y="972"/>
                </a:lnTo>
                <a:lnTo>
                  <a:pt x="3736" y="972"/>
                </a:lnTo>
                <a:lnTo>
                  <a:pt x="3736" y="972"/>
                </a:lnTo>
                <a:lnTo>
                  <a:pt x="3744" y="970"/>
                </a:lnTo>
                <a:lnTo>
                  <a:pt x="3744" y="970"/>
                </a:lnTo>
                <a:lnTo>
                  <a:pt x="3744" y="974"/>
                </a:lnTo>
                <a:lnTo>
                  <a:pt x="3744" y="974"/>
                </a:lnTo>
                <a:lnTo>
                  <a:pt x="3736" y="974"/>
                </a:lnTo>
                <a:lnTo>
                  <a:pt x="3736" y="974"/>
                </a:lnTo>
                <a:close/>
                <a:moveTo>
                  <a:pt x="3766" y="972"/>
                </a:moveTo>
                <a:lnTo>
                  <a:pt x="3766" y="972"/>
                </a:lnTo>
                <a:lnTo>
                  <a:pt x="3766" y="970"/>
                </a:lnTo>
                <a:lnTo>
                  <a:pt x="3766" y="970"/>
                </a:lnTo>
                <a:lnTo>
                  <a:pt x="3766" y="972"/>
                </a:lnTo>
                <a:lnTo>
                  <a:pt x="3766" y="972"/>
                </a:lnTo>
                <a:close/>
                <a:moveTo>
                  <a:pt x="3782" y="974"/>
                </a:moveTo>
                <a:lnTo>
                  <a:pt x="3782" y="974"/>
                </a:lnTo>
                <a:lnTo>
                  <a:pt x="3780" y="972"/>
                </a:lnTo>
                <a:lnTo>
                  <a:pt x="3780" y="972"/>
                </a:lnTo>
                <a:lnTo>
                  <a:pt x="3784" y="970"/>
                </a:lnTo>
                <a:lnTo>
                  <a:pt x="3784" y="970"/>
                </a:lnTo>
                <a:lnTo>
                  <a:pt x="3784" y="970"/>
                </a:lnTo>
                <a:lnTo>
                  <a:pt x="3784" y="970"/>
                </a:lnTo>
                <a:lnTo>
                  <a:pt x="3784" y="974"/>
                </a:lnTo>
                <a:lnTo>
                  <a:pt x="3784" y="974"/>
                </a:lnTo>
                <a:lnTo>
                  <a:pt x="3782" y="974"/>
                </a:lnTo>
                <a:lnTo>
                  <a:pt x="3782" y="974"/>
                </a:lnTo>
                <a:close/>
                <a:moveTo>
                  <a:pt x="3774" y="968"/>
                </a:moveTo>
                <a:lnTo>
                  <a:pt x="3774" y="968"/>
                </a:lnTo>
                <a:lnTo>
                  <a:pt x="3762" y="966"/>
                </a:lnTo>
                <a:lnTo>
                  <a:pt x="3762" y="966"/>
                </a:lnTo>
                <a:lnTo>
                  <a:pt x="3752" y="966"/>
                </a:lnTo>
                <a:lnTo>
                  <a:pt x="3748" y="966"/>
                </a:lnTo>
                <a:lnTo>
                  <a:pt x="3744" y="968"/>
                </a:lnTo>
                <a:lnTo>
                  <a:pt x="3744" y="968"/>
                </a:lnTo>
                <a:lnTo>
                  <a:pt x="3738" y="970"/>
                </a:lnTo>
                <a:lnTo>
                  <a:pt x="3738" y="970"/>
                </a:lnTo>
                <a:lnTo>
                  <a:pt x="3732" y="970"/>
                </a:lnTo>
                <a:lnTo>
                  <a:pt x="3726" y="972"/>
                </a:lnTo>
                <a:lnTo>
                  <a:pt x="3716" y="976"/>
                </a:lnTo>
                <a:lnTo>
                  <a:pt x="3716" y="976"/>
                </a:lnTo>
                <a:lnTo>
                  <a:pt x="3712" y="978"/>
                </a:lnTo>
                <a:lnTo>
                  <a:pt x="3706" y="978"/>
                </a:lnTo>
                <a:lnTo>
                  <a:pt x="3706" y="978"/>
                </a:lnTo>
                <a:lnTo>
                  <a:pt x="3704" y="970"/>
                </a:lnTo>
                <a:lnTo>
                  <a:pt x="3704" y="970"/>
                </a:lnTo>
                <a:lnTo>
                  <a:pt x="3704" y="970"/>
                </a:lnTo>
                <a:lnTo>
                  <a:pt x="3704" y="970"/>
                </a:lnTo>
                <a:lnTo>
                  <a:pt x="3704" y="970"/>
                </a:lnTo>
                <a:lnTo>
                  <a:pt x="3704" y="970"/>
                </a:lnTo>
                <a:lnTo>
                  <a:pt x="3690" y="968"/>
                </a:lnTo>
                <a:lnTo>
                  <a:pt x="3690" y="968"/>
                </a:lnTo>
                <a:lnTo>
                  <a:pt x="3702" y="962"/>
                </a:lnTo>
                <a:lnTo>
                  <a:pt x="3702" y="962"/>
                </a:lnTo>
                <a:lnTo>
                  <a:pt x="3712" y="960"/>
                </a:lnTo>
                <a:lnTo>
                  <a:pt x="3716" y="960"/>
                </a:lnTo>
                <a:lnTo>
                  <a:pt x="3722" y="962"/>
                </a:lnTo>
                <a:lnTo>
                  <a:pt x="3722" y="962"/>
                </a:lnTo>
                <a:lnTo>
                  <a:pt x="3728" y="960"/>
                </a:lnTo>
                <a:lnTo>
                  <a:pt x="3728" y="960"/>
                </a:lnTo>
                <a:lnTo>
                  <a:pt x="3734" y="960"/>
                </a:lnTo>
                <a:lnTo>
                  <a:pt x="3734" y="960"/>
                </a:lnTo>
                <a:lnTo>
                  <a:pt x="3742" y="962"/>
                </a:lnTo>
                <a:lnTo>
                  <a:pt x="3750" y="962"/>
                </a:lnTo>
                <a:lnTo>
                  <a:pt x="3756" y="962"/>
                </a:lnTo>
                <a:lnTo>
                  <a:pt x="3764" y="958"/>
                </a:lnTo>
                <a:lnTo>
                  <a:pt x="3764" y="958"/>
                </a:lnTo>
                <a:lnTo>
                  <a:pt x="3768" y="958"/>
                </a:lnTo>
                <a:lnTo>
                  <a:pt x="3772" y="958"/>
                </a:lnTo>
                <a:lnTo>
                  <a:pt x="3772" y="958"/>
                </a:lnTo>
                <a:lnTo>
                  <a:pt x="3792" y="962"/>
                </a:lnTo>
                <a:lnTo>
                  <a:pt x="3792" y="962"/>
                </a:lnTo>
                <a:lnTo>
                  <a:pt x="3784" y="968"/>
                </a:lnTo>
                <a:lnTo>
                  <a:pt x="3774" y="968"/>
                </a:lnTo>
                <a:lnTo>
                  <a:pt x="3774" y="968"/>
                </a:lnTo>
                <a:close/>
                <a:moveTo>
                  <a:pt x="3770" y="928"/>
                </a:moveTo>
                <a:lnTo>
                  <a:pt x="3770" y="928"/>
                </a:lnTo>
                <a:lnTo>
                  <a:pt x="3772" y="920"/>
                </a:lnTo>
                <a:lnTo>
                  <a:pt x="3772" y="920"/>
                </a:lnTo>
                <a:lnTo>
                  <a:pt x="3790" y="916"/>
                </a:lnTo>
                <a:lnTo>
                  <a:pt x="3790" y="916"/>
                </a:lnTo>
                <a:lnTo>
                  <a:pt x="3792" y="918"/>
                </a:lnTo>
                <a:lnTo>
                  <a:pt x="3792" y="918"/>
                </a:lnTo>
                <a:lnTo>
                  <a:pt x="3790" y="922"/>
                </a:lnTo>
                <a:lnTo>
                  <a:pt x="3790" y="922"/>
                </a:lnTo>
                <a:lnTo>
                  <a:pt x="3800" y="924"/>
                </a:lnTo>
                <a:lnTo>
                  <a:pt x="3800" y="924"/>
                </a:lnTo>
                <a:lnTo>
                  <a:pt x="3796" y="930"/>
                </a:lnTo>
                <a:lnTo>
                  <a:pt x="3792" y="932"/>
                </a:lnTo>
                <a:lnTo>
                  <a:pt x="3782" y="932"/>
                </a:lnTo>
                <a:lnTo>
                  <a:pt x="3770" y="928"/>
                </a:lnTo>
                <a:lnTo>
                  <a:pt x="3770" y="928"/>
                </a:lnTo>
                <a:close/>
                <a:moveTo>
                  <a:pt x="3826" y="944"/>
                </a:moveTo>
                <a:lnTo>
                  <a:pt x="3826" y="944"/>
                </a:lnTo>
                <a:lnTo>
                  <a:pt x="3828" y="940"/>
                </a:lnTo>
                <a:lnTo>
                  <a:pt x="3828" y="940"/>
                </a:lnTo>
                <a:lnTo>
                  <a:pt x="3810" y="936"/>
                </a:lnTo>
                <a:lnTo>
                  <a:pt x="3810" y="936"/>
                </a:lnTo>
                <a:lnTo>
                  <a:pt x="3810" y="934"/>
                </a:lnTo>
                <a:lnTo>
                  <a:pt x="3810" y="934"/>
                </a:lnTo>
                <a:lnTo>
                  <a:pt x="3818" y="930"/>
                </a:lnTo>
                <a:lnTo>
                  <a:pt x="3822" y="930"/>
                </a:lnTo>
                <a:lnTo>
                  <a:pt x="3828" y="930"/>
                </a:lnTo>
                <a:lnTo>
                  <a:pt x="3828" y="930"/>
                </a:lnTo>
                <a:lnTo>
                  <a:pt x="3824" y="936"/>
                </a:lnTo>
                <a:lnTo>
                  <a:pt x="3824" y="936"/>
                </a:lnTo>
                <a:lnTo>
                  <a:pt x="3838" y="936"/>
                </a:lnTo>
                <a:lnTo>
                  <a:pt x="3838" y="936"/>
                </a:lnTo>
                <a:lnTo>
                  <a:pt x="3850" y="940"/>
                </a:lnTo>
                <a:lnTo>
                  <a:pt x="3850" y="940"/>
                </a:lnTo>
                <a:lnTo>
                  <a:pt x="3844" y="944"/>
                </a:lnTo>
                <a:lnTo>
                  <a:pt x="3840" y="946"/>
                </a:lnTo>
                <a:lnTo>
                  <a:pt x="3834" y="946"/>
                </a:lnTo>
                <a:lnTo>
                  <a:pt x="3826" y="944"/>
                </a:lnTo>
                <a:lnTo>
                  <a:pt x="3826" y="944"/>
                </a:lnTo>
                <a:close/>
                <a:moveTo>
                  <a:pt x="3838" y="892"/>
                </a:moveTo>
                <a:lnTo>
                  <a:pt x="3838" y="892"/>
                </a:lnTo>
                <a:lnTo>
                  <a:pt x="3842" y="892"/>
                </a:lnTo>
                <a:lnTo>
                  <a:pt x="3848" y="888"/>
                </a:lnTo>
                <a:lnTo>
                  <a:pt x="3848" y="888"/>
                </a:lnTo>
                <a:lnTo>
                  <a:pt x="3848" y="888"/>
                </a:lnTo>
                <a:lnTo>
                  <a:pt x="3842" y="892"/>
                </a:lnTo>
                <a:lnTo>
                  <a:pt x="3838" y="892"/>
                </a:lnTo>
                <a:lnTo>
                  <a:pt x="3838" y="892"/>
                </a:lnTo>
                <a:close/>
                <a:moveTo>
                  <a:pt x="3862" y="314"/>
                </a:moveTo>
                <a:lnTo>
                  <a:pt x="3862" y="314"/>
                </a:lnTo>
                <a:lnTo>
                  <a:pt x="3852" y="316"/>
                </a:lnTo>
                <a:lnTo>
                  <a:pt x="3846" y="316"/>
                </a:lnTo>
                <a:lnTo>
                  <a:pt x="3842" y="314"/>
                </a:lnTo>
                <a:lnTo>
                  <a:pt x="3842" y="314"/>
                </a:lnTo>
                <a:lnTo>
                  <a:pt x="3832" y="314"/>
                </a:lnTo>
                <a:lnTo>
                  <a:pt x="3822" y="312"/>
                </a:lnTo>
                <a:lnTo>
                  <a:pt x="3812" y="310"/>
                </a:lnTo>
                <a:lnTo>
                  <a:pt x="3804" y="310"/>
                </a:lnTo>
                <a:lnTo>
                  <a:pt x="3804" y="310"/>
                </a:lnTo>
                <a:lnTo>
                  <a:pt x="3798" y="308"/>
                </a:lnTo>
                <a:lnTo>
                  <a:pt x="3794" y="304"/>
                </a:lnTo>
                <a:lnTo>
                  <a:pt x="3794" y="304"/>
                </a:lnTo>
                <a:lnTo>
                  <a:pt x="3782" y="304"/>
                </a:lnTo>
                <a:lnTo>
                  <a:pt x="3780" y="304"/>
                </a:lnTo>
                <a:lnTo>
                  <a:pt x="3778" y="302"/>
                </a:lnTo>
                <a:lnTo>
                  <a:pt x="3778" y="302"/>
                </a:lnTo>
                <a:lnTo>
                  <a:pt x="3796" y="300"/>
                </a:lnTo>
                <a:lnTo>
                  <a:pt x="3806" y="298"/>
                </a:lnTo>
                <a:lnTo>
                  <a:pt x="3816" y="300"/>
                </a:lnTo>
                <a:lnTo>
                  <a:pt x="3816" y="300"/>
                </a:lnTo>
                <a:lnTo>
                  <a:pt x="3818" y="306"/>
                </a:lnTo>
                <a:lnTo>
                  <a:pt x="3818" y="306"/>
                </a:lnTo>
                <a:lnTo>
                  <a:pt x="3828" y="304"/>
                </a:lnTo>
                <a:lnTo>
                  <a:pt x="3828" y="304"/>
                </a:lnTo>
                <a:lnTo>
                  <a:pt x="3846" y="302"/>
                </a:lnTo>
                <a:lnTo>
                  <a:pt x="3854" y="302"/>
                </a:lnTo>
                <a:lnTo>
                  <a:pt x="3862" y="304"/>
                </a:lnTo>
                <a:lnTo>
                  <a:pt x="3862" y="304"/>
                </a:lnTo>
                <a:lnTo>
                  <a:pt x="3866" y="306"/>
                </a:lnTo>
                <a:lnTo>
                  <a:pt x="3868" y="308"/>
                </a:lnTo>
                <a:lnTo>
                  <a:pt x="3868" y="308"/>
                </a:lnTo>
                <a:lnTo>
                  <a:pt x="3866" y="312"/>
                </a:lnTo>
                <a:lnTo>
                  <a:pt x="3862" y="314"/>
                </a:lnTo>
                <a:lnTo>
                  <a:pt x="3862" y="314"/>
                </a:lnTo>
                <a:close/>
                <a:moveTo>
                  <a:pt x="3858" y="194"/>
                </a:moveTo>
                <a:lnTo>
                  <a:pt x="3858" y="194"/>
                </a:lnTo>
                <a:lnTo>
                  <a:pt x="3866" y="188"/>
                </a:lnTo>
                <a:lnTo>
                  <a:pt x="3866" y="188"/>
                </a:lnTo>
                <a:lnTo>
                  <a:pt x="3876" y="198"/>
                </a:lnTo>
                <a:lnTo>
                  <a:pt x="3876" y="198"/>
                </a:lnTo>
                <a:lnTo>
                  <a:pt x="3868" y="196"/>
                </a:lnTo>
                <a:lnTo>
                  <a:pt x="3858" y="194"/>
                </a:lnTo>
                <a:lnTo>
                  <a:pt x="3858" y="194"/>
                </a:lnTo>
                <a:close/>
                <a:moveTo>
                  <a:pt x="3876" y="986"/>
                </a:moveTo>
                <a:lnTo>
                  <a:pt x="3876" y="986"/>
                </a:lnTo>
                <a:lnTo>
                  <a:pt x="3872" y="976"/>
                </a:lnTo>
                <a:lnTo>
                  <a:pt x="3872" y="976"/>
                </a:lnTo>
                <a:lnTo>
                  <a:pt x="3874" y="972"/>
                </a:lnTo>
                <a:lnTo>
                  <a:pt x="3874" y="972"/>
                </a:lnTo>
                <a:lnTo>
                  <a:pt x="3876" y="972"/>
                </a:lnTo>
                <a:lnTo>
                  <a:pt x="3876" y="972"/>
                </a:lnTo>
                <a:lnTo>
                  <a:pt x="3888" y="988"/>
                </a:lnTo>
                <a:lnTo>
                  <a:pt x="3888" y="988"/>
                </a:lnTo>
                <a:lnTo>
                  <a:pt x="3878" y="990"/>
                </a:lnTo>
                <a:lnTo>
                  <a:pt x="3878" y="988"/>
                </a:lnTo>
                <a:lnTo>
                  <a:pt x="3876" y="986"/>
                </a:lnTo>
                <a:lnTo>
                  <a:pt x="3876" y="986"/>
                </a:lnTo>
                <a:close/>
                <a:moveTo>
                  <a:pt x="3884" y="940"/>
                </a:moveTo>
                <a:lnTo>
                  <a:pt x="3884" y="940"/>
                </a:lnTo>
                <a:lnTo>
                  <a:pt x="3884" y="940"/>
                </a:lnTo>
                <a:lnTo>
                  <a:pt x="3884" y="946"/>
                </a:lnTo>
                <a:lnTo>
                  <a:pt x="3884" y="946"/>
                </a:lnTo>
                <a:lnTo>
                  <a:pt x="3884" y="944"/>
                </a:lnTo>
                <a:lnTo>
                  <a:pt x="3884" y="944"/>
                </a:lnTo>
                <a:lnTo>
                  <a:pt x="3884" y="940"/>
                </a:lnTo>
                <a:lnTo>
                  <a:pt x="3884" y="940"/>
                </a:lnTo>
                <a:lnTo>
                  <a:pt x="3884" y="940"/>
                </a:lnTo>
                <a:close/>
                <a:moveTo>
                  <a:pt x="3878" y="162"/>
                </a:moveTo>
                <a:lnTo>
                  <a:pt x="3878" y="162"/>
                </a:lnTo>
                <a:lnTo>
                  <a:pt x="3886" y="158"/>
                </a:lnTo>
                <a:lnTo>
                  <a:pt x="3894" y="158"/>
                </a:lnTo>
                <a:lnTo>
                  <a:pt x="3894" y="158"/>
                </a:lnTo>
                <a:lnTo>
                  <a:pt x="3900" y="160"/>
                </a:lnTo>
                <a:lnTo>
                  <a:pt x="3902" y="162"/>
                </a:lnTo>
                <a:lnTo>
                  <a:pt x="3902" y="164"/>
                </a:lnTo>
                <a:lnTo>
                  <a:pt x="3902" y="164"/>
                </a:lnTo>
                <a:lnTo>
                  <a:pt x="3878" y="162"/>
                </a:lnTo>
                <a:lnTo>
                  <a:pt x="3878" y="162"/>
                </a:lnTo>
                <a:close/>
                <a:moveTo>
                  <a:pt x="3888" y="980"/>
                </a:moveTo>
                <a:lnTo>
                  <a:pt x="3888" y="980"/>
                </a:lnTo>
                <a:lnTo>
                  <a:pt x="3894" y="976"/>
                </a:lnTo>
                <a:lnTo>
                  <a:pt x="3894" y="976"/>
                </a:lnTo>
                <a:lnTo>
                  <a:pt x="3896" y="992"/>
                </a:lnTo>
                <a:lnTo>
                  <a:pt x="3896" y="992"/>
                </a:lnTo>
                <a:lnTo>
                  <a:pt x="3888" y="980"/>
                </a:lnTo>
                <a:lnTo>
                  <a:pt x="3888" y="980"/>
                </a:lnTo>
                <a:close/>
                <a:moveTo>
                  <a:pt x="3894" y="200"/>
                </a:moveTo>
                <a:lnTo>
                  <a:pt x="3894" y="200"/>
                </a:lnTo>
                <a:lnTo>
                  <a:pt x="3896" y="200"/>
                </a:lnTo>
                <a:lnTo>
                  <a:pt x="3896" y="200"/>
                </a:lnTo>
                <a:lnTo>
                  <a:pt x="3910" y="204"/>
                </a:lnTo>
                <a:lnTo>
                  <a:pt x="3910" y="204"/>
                </a:lnTo>
                <a:lnTo>
                  <a:pt x="3906" y="206"/>
                </a:lnTo>
                <a:lnTo>
                  <a:pt x="3904" y="206"/>
                </a:lnTo>
                <a:lnTo>
                  <a:pt x="3894" y="200"/>
                </a:lnTo>
                <a:lnTo>
                  <a:pt x="3894" y="200"/>
                </a:lnTo>
                <a:close/>
                <a:moveTo>
                  <a:pt x="3912" y="972"/>
                </a:moveTo>
                <a:lnTo>
                  <a:pt x="3912" y="972"/>
                </a:lnTo>
                <a:lnTo>
                  <a:pt x="3912" y="972"/>
                </a:lnTo>
                <a:lnTo>
                  <a:pt x="3912" y="972"/>
                </a:lnTo>
                <a:lnTo>
                  <a:pt x="3918" y="972"/>
                </a:lnTo>
                <a:lnTo>
                  <a:pt x="3918" y="972"/>
                </a:lnTo>
                <a:lnTo>
                  <a:pt x="3918" y="970"/>
                </a:lnTo>
                <a:lnTo>
                  <a:pt x="3918" y="970"/>
                </a:lnTo>
                <a:lnTo>
                  <a:pt x="3918" y="970"/>
                </a:lnTo>
                <a:lnTo>
                  <a:pt x="3918" y="970"/>
                </a:lnTo>
                <a:lnTo>
                  <a:pt x="3918" y="972"/>
                </a:lnTo>
                <a:lnTo>
                  <a:pt x="3918" y="972"/>
                </a:lnTo>
                <a:lnTo>
                  <a:pt x="3912" y="972"/>
                </a:lnTo>
                <a:lnTo>
                  <a:pt x="3912" y="972"/>
                </a:lnTo>
                <a:close/>
                <a:moveTo>
                  <a:pt x="4038" y="56"/>
                </a:moveTo>
                <a:lnTo>
                  <a:pt x="4038" y="56"/>
                </a:lnTo>
                <a:lnTo>
                  <a:pt x="4036" y="58"/>
                </a:lnTo>
                <a:lnTo>
                  <a:pt x="4036" y="58"/>
                </a:lnTo>
                <a:lnTo>
                  <a:pt x="4030" y="58"/>
                </a:lnTo>
                <a:lnTo>
                  <a:pt x="4028" y="56"/>
                </a:lnTo>
                <a:lnTo>
                  <a:pt x="4028" y="56"/>
                </a:lnTo>
                <a:lnTo>
                  <a:pt x="4034" y="54"/>
                </a:lnTo>
                <a:lnTo>
                  <a:pt x="4038" y="56"/>
                </a:lnTo>
                <a:lnTo>
                  <a:pt x="4038" y="56"/>
                </a:lnTo>
                <a:close/>
                <a:moveTo>
                  <a:pt x="3976" y="172"/>
                </a:moveTo>
                <a:lnTo>
                  <a:pt x="3976" y="172"/>
                </a:lnTo>
                <a:lnTo>
                  <a:pt x="3976" y="174"/>
                </a:lnTo>
                <a:lnTo>
                  <a:pt x="3974" y="176"/>
                </a:lnTo>
                <a:lnTo>
                  <a:pt x="3968" y="176"/>
                </a:lnTo>
                <a:lnTo>
                  <a:pt x="3968" y="176"/>
                </a:lnTo>
                <a:lnTo>
                  <a:pt x="3968" y="174"/>
                </a:lnTo>
                <a:lnTo>
                  <a:pt x="3968" y="174"/>
                </a:lnTo>
                <a:lnTo>
                  <a:pt x="3976" y="172"/>
                </a:lnTo>
                <a:lnTo>
                  <a:pt x="3976" y="172"/>
                </a:lnTo>
                <a:close/>
                <a:moveTo>
                  <a:pt x="4026" y="134"/>
                </a:moveTo>
                <a:lnTo>
                  <a:pt x="4026" y="134"/>
                </a:lnTo>
                <a:lnTo>
                  <a:pt x="4026" y="134"/>
                </a:lnTo>
                <a:lnTo>
                  <a:pt x="4016" y="140"/>
                </a:lnTo>
                <a:lnTo>
                  <a:pt x="4016" y="140"/>
                </a:lnTo>
                <a:lnTo>
                  <a:pt x="4018" y="146"/>
                </a:lnTo>
                <a:lnTo>
                  <a:pt x="4018" y="146"/>
                </a:lnTo>
                <a:lnTo>
                  <a:pt x="4010" y="146"/>
                </a:lnTo>
                <a:lnTo>
                  <a:pt x="4010" y="146"/>
                </a:lnTo>
                <a:lnTo>
                  <a:pt x="3980" y="138"/>
                </a:lnTo>
                <a:lnTo>
                  <a:pt x="3980" y="138"/>
                </a:lnTo>
                <a:lnTo>
                  <a:pt x="3974" y="134"/>
                </a:lnTo>
                <a:lnTo>
                  <a:pt x="3970" y="130"/>
                </a:lnTo>
                <a:lnTo>
                  <a:pt x="3970" y="130"/>
                </a:lnTo>
                <a:lnTo>
                  <a:pt x="3982" y="128"/>
                </a:lnTo>
                <a:lnTo>
                  <a:pt x="3998" y="130"/>
                </a:lnTo>
                <a:lnTo>
                  <a:pt x="4016" y="132"/>
                </a:lnTo>
                <a:lnTo>
                  <a:pt x="4026" y="134"/>
                </a:lnTo>
                <a:lnTo>
                  <a:pt x="4026" y="134"/>
                </a:lnTo>
                <a:close/>
                <a:moveTo>
                  <a:pt x="3990" y="116"/>
                </a:moveTo>
                <a:lnTo>
                  <a:pt x="3990" y="116"/>
                </a:lnTo>
                <a:lnTo>
                  <a:pt x="3994" y="114"/>
                </a:lnTo>
                <a:lnTo>
                  <a:pt x="3998" y="112"/>
                </a:lnTo>
                <a:lnTo>
                  <a:pt x="4004" y="112"/>
                </a:lnTo>
                <a:lnTo>
                  <a:pt x="4012" y="114"/>
                </a:lnTo>
                <a:lnTo>
                  <a:pt x="4012" y="114"/>
                </a:lnTo>
                <a:lnTo>
                  <a:pt x="4010" y="126"/>
                </a:lnTo>
                <a:lnTo>
                  <a:pt x="4010" y="126"/>
                </a:lnTo>
                <a:lnTo>
                  <a:pt x="4000" y="120"/>
                </a:lnTo>
                <a:lnTo>
                  <a:pt x="4000" y="120"/>
                </a:lnTo>
                <a:lnTo>
                  <a:pt x="3990" y="116"/>
                </a:lnTo>
                <a:lnTo>
                  <a:pt x="3990" y="116"/>
                </a:lnTo>
                <a:close/>
                <a:moveTo>
                  <a:pt x="3992" y="206"/>
                </a:moveTo>
                <a:lnTo>
                  <a:pt x="3992" y="206"/>
                </a:lnTo>
                <a:lnTo>
                  <a:pt x="3992" y="206"/>
                </a:lnTo>
                <a:lnTo>
                  <a:pt x="4000" y="204"/>
                </a:lnTo>
                <a:lnTo>
                  <a:pt x="4002" y="202"/>
                </a:lnTo>
                <a:lnTo>
                  <a:pt x="4002" y="200"/>
                </a:lnTo>
                <a:lnTo>
                  <a:pt x="4002" y="200"/>
                </a:lnTo>
                <a:lnTo>
                  <a:pt x="3998" y="196"/>
                </a:lnTo>
                <a:lnTo>
                  <a:pt x="3990" y="194"/>
                </a:lnTo>
                <a:lnTo>
                  <a:pt x="3990" y="194"/>
                </a:lnTo>
                <a:lnTo>
                  <a:pt x="3984" y="192"/>
                </a:lnTo>
                <a:lnTo>
                  <a:pt x="3980" y="190"/>
                </a:lnTo>
                <a:lnTo>
                  <a:pt x="3980" y="188"/>
                </a:lnTo>
                <a:lnTo>
                  <a:pt x="3982" y="184"/>
                </a:lnTo>
                <a:lnTo>
                  <a:pt x="3982" y="184"/>
                </a:lnTo>
                <a:lnTo>
                  <a:pt x="3988" y="186"/>
                </a:lnTo>
                <a:lnTo>
                  <a:pt x="3988" y="186"/>
                </a:lnTo>
                <a:lnTo>
                  <a:pt x="3992" y="188"/>
                </a:lnTo>
                <a:lnTo>
                  <a:pt x="3996" y="190"/>
                </a:lnTo>
                <a:lnTo>
                  <a:pt x="4006" y="190"/>
                </a:lnTo>
                <a:lnTo>
                  <a:pt x="4006" y="190"/>
                </a:lnTo>
                <a:lnTo>
                  <a:pt x="4016" y="192"/>
                </a:lnTo>
                <a:lnTo>
                  <a:pt x="4020" y="194"/>
                </a:lnTo>
                <a:lnTo>
                  <a:pt x="4022" y="196"/>
                </a:lnTo>
                <a:lnTo>
                  <a:pt x="4022" y="196"/>
                </a:lnTo>
                <a:lnTo>
                  <a:pt x="4026" y="200"/>
                </a:lnTo>
                <a:lnTo>
                  <a:pt x="4032" y="202"/>
                </a:lnTo>
                <a:lnTo>
                  <a:pt x="4032" y="202"/>
                </a:lnTo>
                <a:lnTo>
                  <a:pt x="4022" y="208"/>
                </a:lnTo>
                <a:lnTo>
                  <a:pt x="4022" y="208"/>
                </a:lnTo>
                <a:lnTo>
                  <a:pt x="4012" y="208"/>
                </a:lnTo>
                <a:lnTo>
                  <a:pt x="4006" y="210"/>
                </a:lnTo>
                <a:lnTo>
                  <a:pt x="4002" y="214"/>
                </a:lnTo>
                <a:lnTo>
                  <a:pt x="4002" y="214"/>
                </a:lnTo>
                <a:lnTo>
                  <a:pt x="3992" y="206"/>
                </a:lnTo>
                <a:lnTo>
                  <a:pt x="3992" y="206"/>
                </a:lnTo>
                <a:close/>
                <a:moveTo>
                  <a:pt x="3992" y="214"/>
                </a:moveTo>
                <a:lnTo>
                  <a:pt x="3992" y="214"/>
                </a:lnTo>
                <a:lnTo>
                  <a:pt x="3990" y="216"/>
                </a:lnTo>
                <a:lnTo>
                  <a:pt x="3990" y="216"/>
                </a:lnTo>
                <a:lnTo>
                  <a:pt x="3988" y="214"/>
                </a:lnTo>
                <a:lnTo>
                  <a:pt x="3988" y="214"/>
                </a:lnTo>
                <a:lnTo>
                  <a:pt x="3990" y="212"/>
                </a:lnTo>
                <a:lnTo>
                  <a:pt x="3990" y="212"/>
                </a:lnTo>
                <a:lnTo>
                  <a:pt x="3992" y="214"/>
                </a:lnTo>
                <a:lnTo>
                  <a:pt x="3992" y="214"/>
                </a:lnTo>
                <a:close/>
                <a:moveTo>
                  <a:pt x="3998" y="174"/>
                </a:moveTo>
                <a:lnTo>
                  <a:pt x="3998" y="174"/>
                </a:lnTo>
                <a:lnTo>
                  <a:pt x="4006" y="170"/>
                </a:lnTo>
                <a:lnTo>
                  <a:pt x="4014" y="170"/>
                </a:lnTo>
                <a:lnTo>
                  <a:pt x="4014" y="176"/>
                </a:lnTo>
                <a:lnTo>
                  <a:pt x="4014" y="176"/>
                </a:lnTo>
                <a:lnTo>
                  <a:pt x="4004" y="178"/>
                </a:lnTo>
                <a:lnTo>
                  <a:pt x="4000" y="176"/>
                </a:lnTo>
                <a:lnTo>
                  <a:pt x="3998" y="174"/>
                </a:lnTo>
                <a:lnTo>
                  <a:pt x="3998" y="174"/>
                </a:lnTo>
                <a:close/>
                <a:moveTo>
                  <a:pt x="3976" y="360"/>
                </a:moveTo>
                <a:lnTo>
                  <a:pt x="3976" y="360"/>
                </a:lnTo>
                <a:lnTo>
                  <a:pt x="3972" y="362"/>
                </a:lnTo>
                <a:lnTo>
                  <a:pt x="3972" y="362"/>
                </a:lnTo>
                <a:lnTo>
                  <a:pt x="3970" y="360"/>
                </a:lnTo>
                <a:lnTo>
                  <a:pt x="3970" y="360"/>
                </a:lnTo>
                <a:lnTo>
                  <a:pt x="3976" y="358"/>
                </a:lnTo>
                <a:lnTo>
                  <a:pt x="3976" y="358"/>
                </a:lnTo>
                <a:lnTo>
                  <a:pt x="3976" y="360"/>
                </a:lnTo>
                <a:lnTo>
                  <a:pt x="3976" y="360"/>
                </a:lnTo>
                <a:close/>
                <a:moveTo>
                  <a:pt x="3946" y="356"/>
                </a:moveTo>
                <a:lnTo>
                  <a:pt x="3946" y="356"/>
                </a:lnTo>
                <a:lnTo>
                  <a:pt x="3934" y="340"/>
                </a:lnTo>
                <a:lnTo>
                  <a:pt x="3934" y="340"/>
                </a:lnTo>
                <a:lnTo>
                  <a:pt x="3934" y="338"/>
                </a:lnTo>
                <a:lnTo>
                  <a:pt x="3936" y="336"/>
                </a:lnTo>
                <a:lnTo>
                  <a:pt x="3942" y="334"/>
                </a:lnTo>
                <a:lnTo>
                  <a:pt x="3942" y="334"/>
                </a:lnTo>
                <a:lnTo>
                  <a:pt x="3952" y="334"/>
                </a:lnTo>
                <a:lnTo>
                  <a:pt x="3956" y="332"/>
                </a:lnTo>
                <a:lnTo>
                  <a:pt x="3958" y="328"/>
                </a:lnTo>
                <a:lnTo>
                  <a:pt x="3958" y="328"/>
                </a:lnTo>
                <a:lnTo>
                  <a:pt x="3962" y="328"/>
                </a:lnTo>
                <a:lnTo>
                  <a:pt x="3968" y="330"/>
                </a:lnTo>
                <a:lnTo>
                  <a:pt x="3968" y="330"/>
                </a:lnTo>
                <a:lnTo>
                  <a:pt x="3968" y="330"/>
                </a:lnTo>
                <a:lnTo>
                  <a:pt x="3958" y="336"/>
                </a:lnTo>
                <a:lnTo>
                  <a:pt x="3958" y="336"/>
                </a:lnTo>
                <a:lnTo>
                  <a:pt x="3962" y="340"/>
                </a:lnTo>
                <a:lnTo>
                  <a:pt x="3962" y="340"/>
                </a:lnTo>
                <a:lnTo>
                  <a:pt x="3956" y="342"/>
                </a:lnTo>
                <a:lnTo>
                  <a:pt x="3956" y="342"/>
                </a:lnTo>
                <a:lnTo>
                  <a:pt x="3960" y="346"/>
                </a:lnTo>
                <a:lnTo>
                  <a:pt x="3964" y="348"/>
                </a:lnTo>
                <a:lnTo>
                  <a:pt x="3970" y="350"/>
                </a:lnTo>
                <a:lnTo>
                  <a:pt x="3974" y="352"/>
                </a:lnTo>
                <a:lnTo>
                  <a:pt x="3974" y="352"/>
                </a:lnTo>
                <a:lnTo>
                  <a:pt x="3968" y="356"/>
                </a:lnTo>
                <a:lnTo>
                  <a:pt x="3960" y="356"/>
                </a:lnTo>
                <a:lnTo>
                  <a:pt x="3946" y="356"/>
                </a:lnTo>
                <a:lnTo>
                  <a:pt x="3946" y="356"/>
                </a:lnTo>
                <a:close/>
                <a:moveTo>
                  <a:pt x="4034" y="916"/>
                </a:moveTo>
                <a:lnTo>
                  <a:pt x="4034" y="916"/>
                </a:lnTo>
                <a:lnTo>
                  <a:pt x="4012" y="918"/>
                </a:lnTo>
                <a:lnTo>
                  <a:pt x="4012" y="918"/>
                </a:lnTo>
                <a:lnTo>
                  <a:pt x="4006" y="918"/>
                </a:lnTo>
                <a:lnTo>
                  <a:pt x="4000" y="918"/>
                </a:lnTo>
                <a:lnTo>
                  <a:pt x="4000" y="918"/>
                </a:lnTo>
                <a:lnTo>
                  <a:pt x="3994" y="918"/>
                </a:lnTo>
                <a:lnTo>
                  <a:pt x="3990" y="918"/>
                </a:lnTo>
                <a:lnTo>
                  <a:pt x="3982" y="914"/>
                </a:lnTo>
                <a:lnTo>
                  <a:pt x="3982" y="914"/>
                </a:lnTo>
                <a:lnTo>
                  <a:pt x="3966" y="906"/>
                </a:lnTo>
                <a:lnTo>
                  <a:pt x="3966" y="906"/>
                </a:lnTo>
                <a:lnTo>
                  <a:pt x="3970" y="902"/>
                </a:lnTo>
                <a:lnTo>
                  <a:pt x="3972" y="902"/>
                </a:lnTo>
                <a:lnTo>
                  <a:pt x="3978" y="902"/>
                </a:lnTo>
                <a:lnTo>
                  <a:pt x="3978" y="902"/>
                </a:lnTo>
                <a:lnTo>
                  <a:pt x="4020" y="908"/>
                </a:lnTo>
                <a:lnTo>
                  <a:pt x="4020" y="908"/>
                </a:lnTo>
                <a:lnTo>
                  <a:pt x="4036" y="914"/>
                </a:lnTo>
                <a:lnTo>
                  <a:pt x="4036" y="914"/>
                </a:lnTo>
                <a:lnTo>
                  <a:pt x="4034" y="916"/>
                </a:lnTo>
                <a:lnTo>
                  <a:pt x="4034" y="916"/>
                </a:lnTo>
                <a:close/>
                <a:moveTo>
                  <a:pt x="4028" y="182"/>
                </a:moveTo>
                <a:lnTo>
                  <a:pt x="4028" y="182"/>
                </a:lnTo>
                <a:lnTo>
                  <a:pt x="4032" y="172"/>
                </a:lnTo>
                <a:lnTo>
                  <a:pt x="4032" y="172"/>
                </a:lnTo>
                <a:lnTo>
                  <a:pt x="4042" y="174"/>
                </a:lnTo>
                <a:lnTo>
                  <a:pt x="4048" y="176"/>
                </a:lnTo>
                <a:lnTo>
                  <a:pt x="4050" y="178"/>
                </a:lnTo>
                <a:lnTo>
                  <a:pt x="4050" y="182"/>
                </a:lnTo>
                <a:lnTo>
                  <a:pt x="4050" y="182"/>
                </a:lnTo>
                <a:lnTo>
                  <a:pt x="4028" y="182"/>
                </a:lnTo>
                <a:lnTo>
                  <a:pt x="4028" y="182"/>
                </a:lnTo>
                <a:close/>
                <a:moveTo>
                  <a:pt x="4064" y="88"/>
                </a:moveTo>
                <a:lnTo>
                  <a:pt x="4064" y="88"/>
                </a:lnTo>
                <a:lnTo>
                  <a:pt x="4052" y="86"/>
                </a:lnTo>
                <a:lnTo>
                  <a:pt x="4040" y="82"/>
                </a:lnTo>
                <a:lnTo>
                  <a:pt x="4040" y="82"/>
                </a:lnTo>
                <a:lnTo>
                  <a:pt x="4030" y="82"/>
                </a:lnTo>
                <a:lnTo>
                  <a:pt x="4018" y="82"/>
                </a:lnTo>
                <a:lnTo>
                  <a:pt x="4018" y="82"/>
                </a:lnTo>
                <a:lnTo>
                  <a:pt x="4008" y="84"/>
                </a:lnTo>
                <a:lnTo>
                  <a:pt x="3996" y="86"/>
                </a:lnTo>
                <a:lnTo>
                  <a:pt x="3996" y="86"/>
                </a:lnTo>
                <a:lnTo>
                  <a:pt x="3980" y="84"/>
                </a:lnTo>
                <a:lnTo>
                  <a:pt x="3964" y="80"/>
                </a:lnTo>
                <a:lnTo>
                  <a:pt x="3964" y="80"/>
                </a:lnTo>
                <a:lnTo>
                  <a:pt x="3950" y="76"/>
                </a:lnTo>
                <a:lnTo>
                  <a:pt x="3950" y="76"/>
                </a:lnTo>
                <a:lnTo>
                  <a:pt x="3960" y="74"/>
                </a:lnTo>
                <a:lnTo>
                  <a:pt x="3964" y="72"/>
                </a:lnTo>
                <a:lnTo>
                  <a:pt x="3966" y="70"/>
                </a:lnTo>
                <a:lnTo>
                  <a:pt x="3966" y="70"/>
                </a:lnTo>
                <a:lnTo>
                  <a:pt x="3970" y="68"/>
                </a:lnTo>
                <a:lnTo>
                  <a:pt x="3970" y="68"/>
                </a:lnTo>
                <a:lnTo>
                  <a:pt x="3976" y="66"/>
                </a:lnTo>
                <a:lnTo>
                  <a:pt x="3982" y="66"/>
                </a:lnTo>
                <a:lnTo>
                  <a:pt x="3994" y="68"/>
                </a:lnTo>
                <a:lnTo>
                  <a:pt x="3994" y="68"/>
                </a:lnTo>
                <a:lnTo>
                  <a:pt x="3998" y="70"/>
                </a:lnTo>
                <a:lnTo>
                  <a:pt x="4000" y="72"/>
                </a:lnTo>
                <a:lnTo>
                  <a:pt x="3998" y="76"/>
                </a:lnTo>
                <a:lnTo>
                  <a:pt x="3996" y="80"/>
                </a:lnTo>
                <a:lnTo>
                  <a:pt x="3996" y="80"/>
                </a:lnTo>
                <a:lnTo>
                  <a:pt x="4002" y="80"/>
                </a:lnTo>
                <a:lnTo>
                  <a:pt x="4002" y="80"/>
                </a:lnTo>
                <a:lnTo>
                  <a:pt x="4008" y="76"/>
                </a:lnTo>
                <a:lnTo>
                  <a:pt x="4016" y="76"/>
                </a:lnTo>
                <a:lnTo>
                  <a:pt x="4030" y="74"/>
                </a:lnTo>
                <a:lnTo>
                  <a:pt x="4030" y="74"/>
                </a:lnTo>
                <a:lnTo>
                  <a:pt x="4036" y="74"/>
                </a:lnTo>
                <a:lnTo>
                  <a:pt x="4036" y="74"/>
                </a:lnTo>
                <a:lnTo>
                  <a:pt x="4044" y="76"/>
                </a:lnTo>
                <a:lnTo>
                  <a:pt x="4054" y="78"/>
                </a:lnTo>
                <a:lnTo>
                  <a:pt x="4054" y="78"/>
                </a:lnTo>
                <a:lnTo>
                  <a:pt x="4060" y="78"/>
                </a:lnTo>
                <a:lnTo>
                  <a:pt x="4064" y="80"/>
                </a:lnTo>
                <a:lnTo>
                  <a:pt x="4064" y="84"/>
                </a:lnTo>
                <a:lnTo>
                  <a:pt x="4064" y="88"/>
                </a:lnTo>
                <a:lnTo>
                  <a:pt x="4064" y="88"/>
                </a:lnTo>
                <a:close/>
                <a:moveTo>
                  <a:pt x="4098" y="84"/>
                </a:moveTo>
                <a:lnTo>
                  <a:pt x="4098" y="84"/>
                </a:lnTo>
                <a:lnTo>
                  <a:pt x="4098" y="88"/>
                </a:lnTo>
                <a:lnTo>
                  <a:pt x="4098" y="88"/>
                </a:lnTo>
                <a:lnTo>
                  <a:pt x="4094" y="90"/>
                </a:lnTo>
                <a:lnTo>
                  <a:pt x="4094" y="90"/>
                </a:lnTo>
                <a:lnTo>
                  <a:pt x="4086" y="90"/>
                </a:lnTo>
                <a:lnTo>
                  <a:pt x="4078" y="88"/>
                </a:lnTo>
                <a:lnTo>
                  <a:pt x="4078" y="88"/>
                </a:lnTo>
                <a:lnTo>
                  <a:pt x="4078" y="88"/>
                </a:lnTo>
                <a:lnTo>
                  <a:pt x="4088" y="84"/>
                </a:lnTo>
                <a:lnTo>
                  <a:pt x="4094" y="84"/>
                </a:lnTo>
                <a:lnTo>
                  <a:pt x="4098" y="84"/>
                </a:lnTo>
                <a:lnTo>
                  <a:pt x="4098" y="84"/>
                </a:lnTo>
                <a:close/>
                <a:moveTo>
                  <a:pt x="4078" y="898"/>
                </a:moveTo>
                <a:lnTo>
                  <a:pt x="4078" y="898"/>
                </a:lnTo>
                <a:lnTo>
                  <a:pt x="4070" y="900"/>
                </a:lnTo>
                <a:lnTo>
                  <a:pt x="4070" y="900"/>
                </a:lnTo>
                <a:lnTo>
                  <a:pt x="4070" y="896"/>
                </a:lnTo>
                <a:lnTo>
                  <a:pt x="4072" y="894"/>
                </a:lnTo>
                <a:lnTo>
                  <a:pt x="4078" y="894"/>
                </a:lnTo>
                <a:lnTo>
                  <a:pt x="4088" y="896"/>
                </a:lnTo>
                <a:lnTo>
                  <a:pt x="4088" y="896"/>
                </a:lnTo>
                <a:lnTo>
                  <a:pt x="4088" y="896"/>
                </a:lnTo>
                <a:lnTo>
                  <a:pt x="4078" y="898"/>
                </a:lnTo>
                <a:lnTo>
                  <a:pt x="4078" y="898"/>
                </a:lnTo>
                <a:close/>
                <a:moveTo>
                  <a:pt x="4092" y="176"/>
                </a:moveTo>
                <a:lnTo>
                  <a:pt x="4092" y="176"/>
                </a:lnTo>
                <a:lnTo>
                  <a:pt x="4080" y="176"/>
                </a:lnTo>
                <a:lnTo>
                  <a:pt x="4080" y="176"/>
                </a:lnTo>
                <a:lnTo>
                  <a:pt x="4080" y="174"/>
                </a:lnTo>
                <a:lnTo>
                  <a:pt x="4084" y="172"/>
                </a:lnTo>
                <a:lnTo>
                  <a:pt x="4090" y="170"/>
                </a:lnTo>
                <a:lnTo>
                  <a:pt x="4090" y="170"/>
                </a:lnTo>
                <a:lnTo>
                  <a:pt x="4092" y="172"/>
                </a:lnTo>
                <a:lnTo>
                  <a:pt x="4092" y="172"/>
                </a:lnTo>
                <a:lnTo>
                  <a:pt x="4092" y="176"/>
                </a:lnTo>
                <a:lnTo>
                  <a:pt x="4092" y="176"/>
                </a:lnTo>
                <a:close/>
                <a:moveTo>
                  <a:pt x="4090" y="162"/>
                </a:moveTo>
                <a:lnTo>
                  <a:pt x="4090" y="162"/>
                </a:lnTo>
                <a:lnTo>
                  <a:pt x="4096" y="158"/>
                </a:lnTo>
                <a:lnTo>
                  <a:pt x="4100" y="156"/>
                </a:lnTo>
                <a:lnTo>
                  <a:pt x="4104" y="158"/>
                </a:lnTo>
                <a:lnTo>
                  <a:pt x="4108" y="160"/>
                </a:lnTo>
                <a:lnTo>
                  <a:pt x="4108" y="160"/>
                </a:lnTo>
                <a:lnTo>
                  <a:pt x="4100" y="164"/>
                </a:lnTo>
                <a:lnTo>
                  <a:pt x="4090" y="162"/>
                </a:lnTo>
                <a:lnTo>
                  <a:pt x="4090" y="162"/>
                </a:lnTo>
                <a:close/>
                <a:moveTo>
                  <a:pt x="4116" y="90"/>
                </a:moveTo>
                <a:lnTo>
                  <a:pt x="4116" y="90"/>
                </a:lnTo>
                <a:lnTo>
                  <a:pt x="4124" y="88"/>
                </a:lnTo>
                <a:lnTo>
                  <a:pt x="4130" y="86"/>
                </a:lnTo>
                <a:lnTo>
                  <a:pt x="4132" y="88"/>
                </a:lnTo>
                <a:lnTo>
                  <a:pt x="4136" y="92"/>
                </a:lnTo>
                <a:lnTo>
                  <a:pt x="4136" y="92"/>
                </a:lnTo>
                <a:lnTo>
                  <a:pt x="4130" y="94"/>
                </a:lnTo>
                <a:lnTo>
                  <a:pt x="4126" y="94"/>
                </a:lnTo>
                <a:lnTo>
                  <a:pt x="4122" y="94"/>
                </a:lnTo>
                <a:lnTo>
                  <a:pt x="4116" y="90"/>
                </a:lnTo>
                <a:lnTo>
                  <a:pt x="4116" y="90"/>
                </a:lnTo>
                <a:close/>
                <a:moveTo>
                  <a:pt x="4220" y="192"/>
                </a:moveTo>
                <a:lnTo>
                  <a:pt x="4220" y="192"/>
                </a:lnTo>
                <a:lnTo>
                  <a:pt x="4224" y="194"/>
                </a:lnTo>
                <a:lnTo>
                  <a:pt x="4224" y="194"/>
                </a:lnTo>
                <a:lnTo>
                  <a:pt x="4220" y="194"/>
                </a:lnTo>
                <a:lnTo>
                  <a:pt x="4220" y="194"/>
                </a:lnTo>
                <a:lnTo>
                  <a:pt x="4218" y="194"/>
                </a:lnTo>
                <a:lnTo>
                  <a:pt x="4218" y="194"/>
                </a:lnTo>
                <a:lnTo>
                  <a:pt x="4220" y="192"/>
                </a:lnTo>
                <a:lnTo>
                  <a:pt x="4220" y="192"/>
                </a:lnTo>
                <a:close/>
                <a:moveTo>
                  <a:pt x="4198" y="154"/>
                </a:moveTo>
                <a:lnTo>
                  <a:pt x="4198" y="154"/>
                </a:lnTo>
                <a:lnTo>
                  <a:pt x="4200" y="156"/>
                </a:lnTo>
                <a:lnTo>
                  <a:pt x="4200" y="156"/>
                </a:lnTo>
                <a:lnTo>
                  <a:pt x="4196" y="156"/>
                </a:lnTo>
                <a:lnTo>
                  <a:pt x="4196" y="156"/>
                </a:lnTo>
                <a:lnTo>
                  <a:pt x="4194" y="154"/>
                </a:lnTo>
                <a:lnTo>
                  <a:pt x="4194" y="154"/>
                </a:lnTo>
                <a:lnTo>
                  <a:pt x="4198" y="154"/>
                </a:lnTo>
                <a:lnTo>
                  <a:pt x="4198" y="154"/>
                </a:lnTo>
                <a:close/>
                <a:moveTo>
                  <a:pt x="4190" y="180"/>
                </a:moveTo>
                <a:lnTo>
                  <a:pt x="4190" y="180"/>
                </a:lnTo>
                <a:lnTo>
                  <a:pt x="4194" y="180"/>
                </a:lnTo>
                <a:lnTo>
                  <a:pt x="4202" y="182"/>
                </a:lnTo>
                <a:lnTo>
                  <a:pt x="4202" y="182"/>
                </a:lnTo>
                <a:lnTo>
                  <a:pt x="4196" y="186"/>
                </a:lnTo>
                <a:lnTo>
                  <a:pt x="4190" y="188"/>
                </a:lnTo>
                <a:lnTo>
                  <a:pt x="4174" y="190"/>
                </a:lnTo>
                <a:lnTo>
                  <a:pt x="4174" y="190"/>
                </a:lnTo>
                <a:lnTo>
                  <a:pt x="4170" y="182"/>
                </a:lnTo>
                <a:lnTo>
                  <a:pt x="4170" y="182"/>
                </a:lnTo>
                <a:lnTo>
                  <a:pt x="4180" y="182"/>
                </a:lnTo>
                <a:lnTo>
                  <a:pt x="4190" y="180"/>
                </a:lnTo>
                <a:lnTo>
                  <a:pt x="4190" y="180"/>
                </a:lnTo>
                <a:close/>
                <a:moveTo>
                  <a:pt x="4158" y="186"/>
                </a:moveTo>
                <a:lnTo>
                  <a:pt x="4158" y="186"/>
                </a:lnTo>
                <a:lnTo>
                  <a:pt x="4156" y="180"/>
                </a:lnTo>
                <a:lnTo>
                  <a:pt x="4156" y="178"/>
                </a:lnTo>
                <a:lnTo>
                  <a:pt x="4156" y="176"/>
                </a:lnTo>
                <a:lnTo>
                  <a:pt x="4156" y="176"/>
                </a:lnTo>
                <a:lnTo>
                  <a:pt x="4160" y="174"/>
                </a:lnTo>
                <a:lnTo>
                  <a:pt x="4164" y="174"/>
                </a:lnTo>
                <a:lnTo>
                  <a:pt x="4172" y="176"/>
                </a:lnTo>
                <a:lnTo>
                  <a:pt x="4172" y="176"/>
                </a:lnTo>
                <a:lnTo>
                  <a:pt x="4170" y="182"/>
                </a:lnTo>
                <a:lnTo>
                  <a:pt x="4170" y="182"/>
                </a:lnTo>
                <a:lnTo>
                  <a:pt x="4164" y="184"/>
                </a:lnTo>
                <a:lnTo>
                  <a:pt x="4164" y="184"/>
                </a:lnTo>
                <a:lnTo>
                  <a:pt x="4158" y="186"/>
                </a:lnTo>
                <a:lnTo>
                  <a:pt x="4158" y="186"/>
                </a:lnTo>
                <a:close/>
                <a:moveTo>
                  <a:pt x="4230" y="230"/>
                </a:moveTo>
                <a:lnTo>
                  <a:pt x="4230" y="230"/>
                </a:lnTo>
                <a:lnTo>
                  <a:pt x="4224" y="234"/>
                </a:lnTo>
                <a:lnTo>
                  <a:pt x="4216" y="236"/>
                </a:lnTo>
                <a:lnTo>
                  <a:pt x="4216" y="236"/>
                </a:lnTo>
                <a:lnTo>
                  <a:pt x="4204" y="238"/>
                </a:lnTo>
                <a:lnTo>
                  <a:pt x="4204" y="238"/>
                </a:lnTo>
                <a:lnTo>
                  <a:pt x="4196" y="234"/>
                </a:lnTo>
                <a:lnTo>
                  <a:pt x="4186" y="232"/>
                </a:lnTo>
                <a:lnTo>
                  <a:pt x="4186" y="232"/>
                </a:lnTo>
                <a:lnTo>
                  <a:pt x="4180" y="232"/>
                </a:lnTo>
                <a:lnTo>
                  <a:pt x="4176" y="230"/>
                </a:lnTo>
                <a:lnTo>
                  <a:pt x="4170" y="224"/>
                </a:lnTo>
                <a:lnTo>
                  <a:pt x="4170" y="224"/>
                </a:lnTo>
                <a:lnTo>
                  <a:pt x="4170" y="220"/>
                </a:lnTo>
                <a:lnTo>
                  <a:pt x="4172" y="216"/>
                </a:lnTo>
                <a:lnTo>
                  <a:pt x="4172" y="216"/>
                </a:lnTo>
                <a:lnTo>
                  <a:pt x="4182" y="208"/>
                </a:lnTo>
                <a:lnTo>
                  <a:pt x="4182" y="208"/>
                </a:lnTo>
                <a:lnTo>
                  <a:pt x="4184" y="206"/>
                </a:lnTo>
                <a:lnTo>
                  <a:pt x="4184" y="206"/>
                </a:lnTo>
                <a:lnTo>
                  <a:pt x="4202" y="210"/>
                </a:lnTo>
                <a:lnTo>
                  <a:pt x="4220" y="214"/>
                </a:lnTo>
                <a:lnTo>
                  <a:pt x="4220" y="214"/>
                </a:lnTo>
                <a:lnTo>
                  <a:pt x="4224" y="218"/>
                </a:lnTo>
                <a:lnTo>
                  <a:pt x="4226" y="220"/>
                </a:lnTo>
                <a:lnTo>
                  <a:pt x="4226" y="220"/>
                </a:lnTo>
                <a:lnTo>
                  <a:pt x="4230" y="226"/>
                </a:lnTo>
                <a:lnTo>
                  <a:pt x="4232" y="228"/>
                </a:lnTo>
                <a:lnTo>
                  <a:pt x="4230" y="230"/>
                </a:lnTo>
                <a:lnTo>
                  <a:pt x="4230" y="230"/>
                </a:lnTo>
                <a:close/>
                <a:moveTo>
                  <a:pt x="4246" y="202"/>
                </a:moveTo>
                <a:lnTo>
                  <a:pt x="4246" y="202"/>
                </a:lnTo>
                <a:lnTo>
                  <a:pt x="4236" y="196"/>
                </a:lnTo>
                <a:lnTo>
                  <a:pt x="4236" y="196"/>
                </a:lnTo>
                <a:lnTo>
                  <a:pt x="4242" y="194"/>
                </a:lnTo>
                <a:lnTo>
                  <a:pt x="4244" y="196"/>
                </a:lnTo>
                <a:lnTo>
                  <a:pt x="4250" y="200"/>
                </a:lnTo>
                <a:lnTo>
                  <a:pt x="4250" y="200"/>
                </a:lnTo>
                <a:lnTo>
                  <a:pt x="4246" y="202"/>
                </a:lnTo>
                <a:lnTo>
                  <a:pt x="4246" y="202"/>
                </a:lnTo>
                <a:close/>
                <a:moveTo>
                  <a:pt x="4282" y="188"/>
                </a:moveTo>
                <a:lnTo>
                  <a:pt x="4282" y="188"/>
                </a:lnTo>
                <a:lnTo>
                  <a:pt x="4280" y="188"/>
                </a:lnTo>
                <a:lnTo>
                  <a:pt x="4280" y="188"/>
                </a:lnTo>
                <a:lnTo>
                  <a:pt x="4278" y="188"/>
                </a:lnTo>
                <a:lnTo>
                  <a:pt x="4278" y="188"/>
                </a:lnTo>
                <a:lnTo>
                  <a:pt x="4280" y="186"/>
                </a:lnTo>
                <a:lnTo>
                  <a:pt x="4280" y="186"/>
                </a:lnTo>
                <a:lnTo>
                  <a:pt x="4282" y="188"/>
                </a:lnTo>
                <a:lnTo>
                  <a:pt x="4282" y="188"/>
                </a:lnTo>
                <a:close/>
                <a:moveTo>
                  <a:pt x="4360" y="322"/>
                </a:moveTo>
                <a:lnTo>
                  <a:pt x="4360" y="322"/>
                </a:lnTo>
                <a:lnTo>
                  <a:pt x="4350" y="322"/>
                </a:lnTo>
                <a:lnTo>
                  <a:pt x="4350" y="322"/>
                </a:lnTo>
                <a:lnTo>
                  <a:pt x="4352" y="316"/>
                </a:lnTo>
                <a:lnTo>
                  <a:pt x="4352" y="316"/>
                </a:lnTo>
                <a:lnTo>
                  <a:pt x="4360" y="322"/>
                </a:lnTo>
                <a:lnTo>
                  <a:pt x="4360" y="322"/>
                </a:lnTo>
                <a:close/>
                <a:moveTo>
                  <a:pt x="4426" y="194"/>
                </a:moveTo>
                <a:lnTo>
                  <a:pt x="4426" y="194"/>
                </a:lnTo>
                <a:lnTo>
                  <a:pt x="4414" y="192"/>
                </a:lnTo>
                <a:lnTo>
                  <a:pt x="4414" y="192"/>
                </a:lnTo>
                <a:lnTo>
                  <a:pt x="4420" y="190"/>
                </a:lnTo>
                <a:lnTo>
                  <a:pt x="4426" y="194"/>
                </a:lnTo>
                <a:lnTo>
                  <a:pt x="4426" y="194"/>
                </a:lnTo>
                <a:close/>
                <a:moveTo>
                  <a:pt x="4300" y="194"/>
                </a:moveTo>
                <a:lnTo>
                  <a:pt x="4300" y="194"/>
                </a:lnTo>
                <a:lnTo>
                  <a:pt x="4296" y="192"/>
                </a:lnTo>
                <a:lnTo>
                  <a:pt x="4296" y="192"/>
                </a:lnTo>
                <a:lnTo>
                  <a:pt x="4298" y="190"/>
                </a:lnTo>
                <a:lnTo>
                  <a:pt x="4298" y="190"/>
                </a:lnTo>
                <a:lnTo>
                  <a:pt x="4304" y="192"/>
                </a:lnTo>
                <a:lnTo>
                  <a:pt x="4304" y="192"/>
                </a:lnTo>
                <a:lnTo>
                  <a:pt x="4300" y="194"/>
                </a:lnTo>
                <a:lnTo>
                  <a:pt x="4300" y="194"/>
                </a:lnTo>
                <a:close/>
                <a:moveTo>
                  <a:pt x="4314" y="194"/>
                </a:moveTo>
                <a:lnTo>
                  <a:pt x="4314" y="194"/>
                </a:lnTo>
                <a:lnTo>
                  <a:pt x="4322" y="192"/>
                </a:lnTo>
                <a:lnTo>
                  <a:pt x="4322" y="192"/>
                </a:lnTo>
                <a:lnTo>
                  <a:pt x="4318" y="196"/>
                </a:lnTo>
                <a:lnTo>
                  <a:pt x="4314" y="194"/>
                </a:lnTo>
                <a:lnTo>
                  <a:pt x="4314" y="194"/>
                </a:lnTo>
                <a:close/>
                <a:moveTo>
                  <a:pt x="4336" y="296"/>
                </a:moveTo>
                <a:lnTo>
                  <a:pt x="4336" y="296"/>
                </a:lnTo>
                <a:lnTo>
                  <a:pt x="4334" y="292"/>
                </a:lnTo>
                <a:lnTo>
                  <a:pt x="4332" y="290"/>
                </a:lnTo>
                <a:lnTo>
                  <a:pt x="4324" y="286"/>
                </a:lnTo>
                <a:lnTo>
                  <a:pt x="4324" y="286"/>
                </a:lnTo>
                <a:lnTo>
                  <a:pt x="4318" y="276"/>
                </a:lnTo>
                <a:lnTo>
                  <a:pt x="4318" y="276"/>
                </a:lnTo>
                <a:lnTo>
                  <a:pt x="4326" y="272"/>
                </a:lnTo>
                <a:lnTo>
                  <a:pt x="4332" y="270"/>
                </a:lnTo>
                <a:lnTo>
                  <a:pt x="4336" y="270"/>
                </a:lnTo>
                <a:lnTo>
                  <a:pt x="4336" y="270"/>
                </a:lnTo>
                <a:lnTo>
                  <a:pt x="4342" y="270"/>
                </a:lnTo>
                <a:lnTo>
                  <a:pt x="4348" y="268"/>
                </a:lnTo>
                <a:lnTo>
                  <a:pt x="4348" y="268"/>
                </a:lnTo>
                <a:lnTo>
                  <a:pt x="4354" y="266"/>
                </a:lnTo>
                <a:lnTo>
                  <a:pt x="4362" y="264"/>
                </a:lnTo>
                <a:lnTo>
                  <a:pt x="4370" y="266"/>
                </a:lnTo>
                <a:lnTo>
                  <a:pt x="4376" y="268"/>
                </a:lnTo>
                <a:lnTo>
                  <a:pt x="4376" y="268"/>
                </a:lnTo>
                <a:lnTo>
                  <a:pt x="4382" y="272"/>
                </a:lnTo>
                <a:lnTo>
                  <a:pt x="4382" y="272"/>
                </a:lnTo>
                <a:lnTo>
                  <a:pt x="4394" y="270"/>
                </a:lnTo>
                <a:lnTo>
                  <a:pt x="4402" y="270"/>
                </a:lnTo>
                <a:lnTo>
                  <a:pt x="4406" y="272"/>
                </a:lnTo>
                <a:lnTo>
                  <a:pt x="4406" y="272"/>
                </a:lnTo>
                <a:lnTo>
                  <a:pt x="4420" y="268"/>
                </a:lnTo>
                <a:lnTo>
                  <a:pt x="4420" y="268"/>
                </a:lnTo>
                <a:lnTo>
                  <a:pt x="4426" y="270"/>
                </a:lnTo>
                <a:lnTo>
                  <a:pt x="4426" y="270"/>
                </a:lnTo>
                <a:lnTo>
                  <a:pt x="4448" y="280"/>
                </a:lnTo>
                <a:lnTo>
                  <a:pt x="4448" y="280"/>
                </a:lnTo>
                <a:lnTo>
                  <a:pt x="4446" y="290"/>
                </a:lnTo>
                <a:lnTo>
                  <a:pt x="4442" y="294"/>
                </a:lnTo>
                <a:lnTo>
                  <a:pt x="4436" y="298"/>
                </a:lnTo>
                <a:lnTo>
                  <a:pt x="4436" y="298"/>
                </a:lnTo>
                <a:lnTo>
                  <a:pt x="4420" y="294"/>
                </a:lnTo>
                <a:lnTo>
                  <a:pt x="4414" y="290"/>
                </a:lnTo>
                <a:lnTo>
                  <a:pt x="4414" y="288"/>
                </a:lnTo>
                <a:lnTo>
                  <a:pt x="4414" y="284"/>
                </a:lnTo>
                <a:lnTo>
                  <a:pt x="4414" y="284"/>
                </a:lnTo>
                <a:lnTo>
                  <a:pt x="4406" y="282"/>
                </a:lnTo>
                <a:lnTo>
                  <a:pt x="4406" y="282"/>
                </a:lnTo>
                <a:lnTo>
                  <a:pt x="4400" y="280"/>
                </a:lnTo>
                <a:lnTo>
                  <a:pt x="4396" y="284"/>
                </a:lnTo>
                <a:lnTo>
                  <a:pt x="4396" y="284"/>
                </a:lnTo>
                <a:lnTo>
                  <a:pt x="4390" y="286"/>
                </a:lnTo>
                <a:lnTo>
                  <a:pt x="4382" y="286"/>
                </a:lnTo>
                <a:lnTo>
                  <a:pt x="4382" y="286"/>
                </a:lnTo>
                <a:lnTo>
                  <a:pt x="4378" y="284"/>
                </a:lnTo>
                <a:lnTo>
                  <a:pt x="4376" y="284"/>
                </a:lnTo>
                <a:lnTo>
                  <a:pt x="4378" y="278"/>
                </a:lnTo>
                <a:lnTo>
                  <a:pt x="4378" y="278"/>
                </a:lnTo>
                <a:lnTo>
                  <a:pt x="4378" y="276"/>
                </a:lnTo>
                <a:lnTo>
                  <a:pt x="4378" y="276"/>
                </a:lnTo>
                <a:lnTo>
                  <a:pt x="4368" y="278"/>
                </a:lnTo>
                <a:lnTo>
                  <a:pt x="4366" y="282"/>
                </a:lnTo>
                <a:lnTo>
                  <a:pt x="4364" y="284"/>
                </a:lnTo>
                <a:lnTo>
                  <a:pt x="4364" y="284"/>
                </a:lnTo>
                <a:lnTo>
                  <a:pt x="4360" y="290"/>
                </a:lnTo>
                <a:lnTo>
                  <a:pt x="4354" y="294"/>
                </a:lnTo>
                <a:lnTo>
                  <a:pt x="4346" y="296"/>
                </a:lnTo>
                <a:lnTo>
                  <a:pt x="4336" y="296"/>
                </a:lnTo>
                <a:lnTo>
                  <a:pt x="4336" y="296"/>
                </a:lnTo>
                <a:close/>
                <a:moveTo>
                  <a:pt x="4396" y="854"/>
                </a:moveTo>
                <a:lnTo>
                  <a:pt x="4396" y="854"/>
                </a:lnTo>
                <a:lnTo>
                  <a:pt x="4392" y="854"/>
                </a:lnTo>
                <a:lnTo>
                  <a:pt x="4390" y="854"/>
                </a:lnTo>
                <a:lnTo>
                  <a:pt x="4384" y="846"/>
                </a:lnTo>
                <a:lnTo>
                  <a:pt x="4384" y="846"/>
                </a:lnTo>
                <a:lnTo>
                  <a:pt x="4388" y="844"/>
                </a:lnTo>
                <a:lnTo>
                  <a:pt x="4394" y="844"/>
                </a:lnTo>
                <a:lnTo>
                  <a:pt x="4404" y="846"/>
                </a:lnTo>
                <a:lnTo>
                  <a:pt x="4404" y="846"/>
                </a:lnTo>
                <a:lnTo>
                  <a:pt x="4402" y="852"/>
                </a:lnTo>
                <a:lnTo>
                  <a:pt x="4400" y="854"/>
                </a:lnTo>
                <a:lnTo>
                  <a:pt x="4396" y="854"/>
                </a:lnTo>
                <a:lnTo>
                  <a:pt x="4396" y="854"/>
                </a:lnTo>
                <a:close/>
                <a:moveTo>
                  <a:pt x="4424" y="854"/>
                </a:moveTo>
                <a:lnTo>
                  <a:pt x="4424" y="854"/>
                </a:lnTo>
                <a:lnTo>
                  <a:pt x="4422" y="856"/>
                </a:lnTo>
                <a:lnTo>
                  <a:pt x="4418" y="856"/>
                </a:lnTo>
                <a:lnTo>
                  <a:pt x="4414" y="852"/>
                </a:lnTo>
                <a:lnTo>
                  <a:pt x="4414" y="852"/>
                </a:lnTo>
                <a:lnTo>
                  <a:pt x="4414" y="852"/>
                </a:lnTo>
                <a:lnTo>
                  <a:pt x="4424" y="852"/>
                </a:lnTo>
                <a:lnTo>
                  <a:pt x="4424" y="852"/>
                </a:lnTo>
                <a:lnTo>
                  <a:pt x="4424" y="854"/>
                </a:lnTo>
                <a:lnTo>
                  <a:pt x="4424" y="854"/>
                </a:lnTo>
                <a:close/>
              </a:path>
            </a:pathLst>
          </a:custGeom>
          <a:gradFill>
            <a:gsLst>
              <a:gs pos="100000">
                <a:schemeClr val="accent1">
                  <a:alpha val="79000"/>
                </a:schemeClr>
              </a:gs>
              <a:gs pos="0">
                <a:schemeClr val="accent2">
                  <a:alpha val="89000"/>
                </a:schemeClr>
              </a:gs>
            </a:gsLst>
            <a:lin ang="162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2675" name="Freeform 39"/>
          <p:cNvSpPr>
            <a:spLocks noEditPoints="1"/>
          </p:cNvSpPr>
          <p:nvPr/>
        </p:nvSpPr>
        <p:spPr bwMode="auto">
          <a:xfrm>
            <a:off x="7275716" y="4219952"/>
            <a:ext cx="2662137" cy="849190"/>
          </a:xfrm>
          <a:custGeom>
            <a:avLst/>
            <a:gdLst>
              <a:gd name="T0" fmla="*/ 4450 w 4566"/>
              <a:gd name="T1" fmla="*/ 308 h 1298"/>
              <a:gd name="T2" fmla="*/ 4000 w 4566"/>
              <a:gd name="T3" fmla="*/ 56 h 1298"/>
              <a:gd name="T4" fmla="*/ 3598 w 4566"/>
              <a:gd name="T5" fmla="*/ 168 h 1298"/>
              <a:gd name="T6" fmla="*/ 3486 w 4566"/>
              <a:gd name="T7" fmla="*/ 234 h 1298"/>
              <a:gd name="T8" fmla="*/ 2992 w 4566"/>
              <a:gd name="T9" fmla="*/ 160 h 1298"/>
              <a:gd name="T10" fmla="*/ 2670 w 4566"/>
              <a:gd name="T11" fmla="*/ 98 h 1298"/>
              <a:gd name="T12" fmla="*/ 1792 w 4566"/>
              <a:gd name="T13" fmla="*/ 104 h 1298"/>
              <a:gd name="T14" fmla="*/ 876 w 4566"/>
              <a:gd name="T15" fmla="*/ 306 h 1298"/>
              <a:gd name="T16" fmla="*/ 370 w 4566"/>
              <a:gd name="T17" fmla="*/ 256 h 1298"/>
              <a:gd name="T18" fmla="*/ 62 w 4566"/>
              <a:gd name="T19" fmla="*/ 396 h 1298"/>
              <a:gd name="T20" fmla="*/ 336 w 4566"/>
              <a:gd name="T21" fmla="*/ 992 h 1298"/>
              <a:gd name="T22" fmla="*/ 740 w 4566"/>
              <a:gd name="T23" fmla="*/ 1050 h 1298"/>
              <a:gd name="T24" fmla="*/ 730 w 4566"/>
              <a:gd name="T25" fmla="*/ 1102 h 1298"/>
              <a:gd name="T26" fmla="*/ 1024 w 4566"/>
              <a:gd name="T27" fmla="*/ 1144 h 1298"/>
              <a:gd name="T28" fmla="*/ 952 w 4566"/>
              <a:gd name="T29" fmla="*/ 978 h 1298"/>
              <a:gd name="T30" fmla="*/ 1148 w 4566"/>
              <a:gd name="T31" fmla="*/ 1070 h 1298"/>
              <a:gd name="T32" fmla="*/ 1388 w 4566"/>
              <a:gd name="T33" fmla="*/ 1008 h 1298"/>
              <a:gd name="T34" fmla="*/ 1654 w 4566"/>
              <a:gd name="T35" fmla="*/ 1158 h 1298"/>
              <a:gd name="T36" fmla="*/ 1802 w 4566"/>
              <a:gd name="T37" fmla="*/ 1222 h 1298"/>
              <a:gd name="T38" fmla="*/ 2318 w 4566"/>
              <a:gd name="T39" fmla="*/ 1198 h 1298"/>
              <a:gd name="T40" fmla="*/ 2576 w 4566"/>
              <a:gd name="T41" fmla="*/ 1290 h 1298"/>
              <a:gd name="T42" fmla="*/ 3076 w 4566"/>
              <a:gd name="T43" fmla="*/ 1116 h 1298"/>
              <a:gd name="T44" fmla="*/ 3422 w 4566"/>
              <a:gd name="T45" fmla="*/ 1132 h 1298"/>
              <a:gd name="T46" fmla="*/ 3278 w 4566"/>
              <a:gd name="T47" fmla="*/ 1080 h 1298"/>
              <a:gd name="T48" fmla="*/ 3344 w 4566"/>
              <a:gd name="T49" fmla="*/ 1082 h 1298"/>
              <a:gd name="T50" fmla="*/ 3612 w 4566"/>
              <a:gd name="T51" fmla="*/ 1042 h 1298"/>
              <a:gd name="T52" fmla="*/ 3692 w 4566"/>
              <a:gd name="T53" fmla="*/ 1052 h 1298"/>
              <a:gd name="T54" fmla="*/ 3818 w 4566"/>
              <a:gd name="T55" fmla="*/ 1024 h 1298"/>
              <a:gd name="T56" fmla="*/ 4382 w 4566"/>
              <a:gd name="T57" fmla="*/ 966 h 1298"/>
              <a:gd name="T58" fmla="*/ 500 w 4566"/>
              <a:gd name="T59" fmla="*/ 926 h 1298"/>
              <a:gd name="T60" fmla="*/ 396 w 4566"/>
              <a:gd name="T61" fmla="*/ 844 h 1298"/>
              <a:gd name="T62" fmla="*/ 182 w 4566"/>
              <a:gd name="T63" fmla="*/ 876 h 1298"/>
              <a:gd name="T64" fmla="*/ 376 w 4566"/>
              <a:gd name="T65" fmla="*/ 972 h 1298"/>
              <a:gd name="T66" fmla="*/ 486 w 4566"/>
              <a:gd name="T67" fmla="*/ 936 h 1298"/>
              <a:gd name="T68" fmla="*/ 940 w 4566"/>
              <a:gd name="T69" fmla="*/ 1054 h 1298"/>
              <a:gd name="T70" fmla="*/ 858 w 4566"/>
              <a:gd name="T71" fmla="*/ 972 h 1298"/>
              <a:gd name="T72" fmla="*/ 816 w 4566"/>
              <a:gd name="T73" fmla="*/ 1114 h 1298"/>
              <a:gd name="T74" fmla="*/ 990 w 4566"/>
              <a:gd name="T75" fmla="*/ 994 h 1298"/>
              <a:gd name="T76" fmla="*/ 1010 w 4566"/>
              <a:gd name="T77" fmla="*/ 956 h 1298"/>
              <a:gd name="T78" fmla="*/ 1096 w 4566"/>
              <a:gd name="T79" fmla="*/ 946 h 1298"/>
              <a:gd name="T80" fmla="*/ 1356 w 4566"/>
              <a:gd name="T81" fmla="*/ 938 h 1298"/>
              <a:gd name="T82" fmla="*/ 1466 w 4566"/>
              <a:gd name="T83" fmla="*/ 966 h 1298"/>
              <a:gd name="T84" fmla="*/ 1556 w 4566"/>
              <a:gd name="T85" fmla="*/ 1020 h 1298"/>
              <a:gd name="T86" fmla="*/ 1964 w 4566"/>
              <a:gd name="T87" fmla="*/ 1048 h 1298"/>
              <a:gd name="T88" fmla="*/ 1822 w 4566"/>
              <a:gd name="T89" fmla="*/ 1144 h 1298"/>
              <a:gd name="T90" fmla="*/ 1796 w 4566"/>
              <a:gd name="T91" fmla="*/ 1080 h 1298"/>
              <a:gd name="T92" fmla="*/ 1976 w 4566"/>
              <a:gd name="T93" fmla="*/ 1070 h 1298"/>
              <a:gd name="T94" fmla="*/ 2278 w 4566"/>
              <a:gd name="T95" fmla="*/ 1132 h 1298"/>
              <a:gd name="T96" fmla="*/ 2440 w 4566"/>
              <a:gd name="T97" fmla="*/ 1168 h 1298"/>
              <a:gd name="T98" fmla="*/ 2570 w 4566"/>
              <a:gd name="T99" fmla="*/ 1170 h 1298"/>
              <a:gd name="T100" fmla="*/ 2756 w 4566"/>
              <a:gd name="T101" fmla="*/ 1236 h 1298"/>
              <a:gd name="T102" fmla="*/ 3002 w 4566"/>
              <a:gd name="T103" fmla="*/ 168 h 1298"/>
              <a:gd name="T104" fmla="*/ 3128 w 4566"/>
              <a:gd name="T105" fmla="*/ 1126 h 1298"/>
              <a:gd name="T106" fmla="*/ 3312 w 4566"/>
              <a:gd name="T107" fmla="*/ 1070 h 1298"/>
              <a:gd name="T108" fmla="*/ 3736 w 4566"/>
              <a:gd name="T109" fmla="*/ 224 h 1298"/>
              <a:gd name="T110" fmla="*/ 3670 w 4566"/>
              <a:gd name="T111" fmla="*/ 266 h 1298"/>
              <a:gd name="T112" fmla="*/ 3538 w 4566"/>
              <a:gd name="T113" fmla="*/ 980 h 1298"/>
              <a:gd name="T114" fmla="*/ 3426 w 4566"/>
              <a:gd name="T115" fmla="*/ 842 h 1298"/>
              <a:gd name="T116" fmla="*/ 3552 w 4566"/>
              <a:gd name="T117" fmla="*/ 1010 h 1298"/>
              <a:gd name="T118" fmla="*/ 3566 w 4566"/>
              <a:gd name="T119" fmla="*/ 986 h 1298"/>
              <a:gd name="T120" fmla="*/ 3812 w 4566"/>
              <a:gd name="T121" fmla="*/ 310 h 1298"/>
              <a:gd name="T122" fmla="*/ 3934 w 4566"/>
              <a:gd name="T123" fmla="*/ 338 h 1298"/>
              <a:gd name="T124" fmla="*/ 4186 w 4566"/>
              <a:gd name="T125" fmla="*/ 232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66" h="1298">
                <a:moveTo>
                  <a:pt x="4564" y="746"/>
                </a:moveTo>
                <a:lnTo>
                  <a:pt x="4564" y="746"/>
                </a:lnTo>
                <a:lnTo>
                  <a:pt x="4560" y="744"/>
                </a:lnTo>
                <a:lnTo>
                  <a:pt x="4560" y="744"/>
                </a:lnTo>
                <a:lnTo>
                  <a:pt x="4558" y="738"/>
                </a:lnTo>
                <a:lnTo>
                  <a:pt x="4558" y="734"/>
                </a:lnTo>
                <a:lnTo>
                  <a:pt x="4558" y="732"/>
                </a:lnTo>
                <a:lnTo>
                  <a:pt x="4558" y="732"/>
                </a:lnTo>
                <a:lnTo>
                  <a:pt x="4558" y="722"/>
                </a:lnTo>
                <a:lnTo>
                  <a:pt x="4552" y="702"/>
                </a:lnTo>
                <a:lnTo>
                  <a:pt x="4536" y="638"/>
                </a:lnTo>
                <a:lnTo>
                  <a:pt x="4510" y="544"/>
                </a:lnTo>
                <a:lnTo>
                  <a:pt x="4510" y="544"/>
                </a:lnTo>
                <a:lnTo>
                  <a:pt x="4508" y="538"/>
                </a:lnTo>
                <a:lnTo>
                  <a:pt x="4508" y="536"/>
                </a:lnTo>
                <a:lnTo>
                  <a:pt x="4512" y="534"/>
                </a:lnTo>
                <a:lnTo>
                  <a:pt x="4522" y="532"/>
                </a:lnTo>
                <a:lnTo>
                  <a:pt x="4522" y="532"/>
                </a:lnTo>
                <a:lnTo>
                  <a:pt x="4522" y="532"/>
                </a:lnTo>
                <a:lnTo>
                  <a:pt x="4522" y="532"/>
                </a:lnTo>
                <a:lnTo>
                  <a:pt x="4504" y="528"/>
                </a:lnTo>
                <a:lnTo>
                  <a:pt x="4496" y="526"/>
                </a:lnTo>
                <a:lnTo>
                  <a:pt x="4492" y="522"/>
                </a:lnTo>
                <a:lnTo>
                  <a:pt x="4490" y="520"/>
                </a:lnTo>
                <a:lnTo>
                  <a:pt x="4490" y="520"/>
                </a:lnTo>
                <a:lnTo>
                  <a:pt x="4496" y="514"/>
                </a:lnTo>
                <a:lnTo>
                  <a:pt x="4496" y="514"/>
                </a:lnTo>
                <a:lnTo>
                  <a:pt x="4484" y="506"/>
                </a:lnTo>
                <a:lnTo>
                  <a:pt x="4472" y="500"/>
                </a:lnTo>
                <a:lnTo>
                  <a:pt x="4472" y="500"/>
                </a:lnTo>
                <a:lnTo>
                  <a:pt x="4446" y="488"/>
                </a:lnTo>
                <a:lnTo>
                  <a:pt x="4446" y="488"/>
                </a:lnTo>
                <a:lnTo>
                  <a:pt x="4438" y="484"/>
                </a:lnTo>
                <a:lnTo>
                  <a:pt x="4430" y="480"/>
                </a:lnTo>
                <a:lnTo>
                  <a:pt x="4420" y="466"/>
                </a:lnTo>
                <a:lnTo>
                  <a:pt x="4430" y="466"/>
                </a:lnTo>
                <a:lnTo>
                  <a:pt x="4430" y="466"/>
                </a:lnTo>
                <a:lnTo>
                  <a:pt x="4432" y="464"/>
                </a:lnTo>
                <a:lnTo>
                  <a:pt x="4432" y="464"/>
                </a:lnTo>
                <a:lnTo>
                  <a:pt x="4434" y="460"/>
                </a:lnTo>
                <a:lnTo>
                  <a:pt x="4436" y="458"/>
                </a:lnTo>
                <a:lnTo>
                  <a:pt x="4440" y="456"/>
                </a:lnTo>
                <a:lnTo>
                  <a:pt x="4446" y="454"/>
                </a:lnTo>
                <a:lnTo>
                  <a:pt x="4446" y="454"/>
                </a:lnTo>
                <a:lnTo>
                  <a:pt x="4456" y="452"/>
                </a:lnTo>
                <a:lnTo>
                  <a:pt x="4456" y="452"/>
                </a:lnTo>
                <a:lnTo>
                  <a:pt x="4430" y="448"/>
                </a:lnTo>
                <a:lnTo>
                  <a:pt x="4430" y="448"/>
                </a:lnTo>
                <a:lnTo>
                  <a:pt x="4430" y="446"/>
                </a:lnTo>
                <a:lnTo>
                  <a:pt x="4432" y="446"/>
                </a:lnTo>
                <a:lnTo>
                  <a:pt x="4434" y="442"/>
                </a:lnTo>
                <a:lnTo>
                  <a:pt x="4436" y="438"/>
                </a:lnTo>
                <a:lnTo>
                  <a:pt x="4434" y="436"/>
                </a:lnTo>
                <a:lnTo>
                  <a:pt x="4432" y="436"/>
                </a:lnTo>
                <a:lnTo>
                  <a:pt x="4432" y="436"/>
                </a:lnTo>
                <a:lnTo>
                  <a:pt x="4428" y="436"/>
                </a:lnTo>
                <a:lnTo>
                  <a:pt x="4424" y="438"/>
                </a:lnTo>
                <a:lnTo>
                  <a:pt x="4420" y="438"/>
                </a:lnTo>
                <a:lnTo>
                  <a:pt x="4416" y="438"/>
                </a:lnTo>
                <a:lnTo>
                  <a:pt x="4416" y="438"/>
                </a:lnTo>
                <a:lnTo>
                  <a:pt x="4418" y="434"/>
                </a:lnTo>
                <a:lnTo>
                  <a:pt x="4418" y="428"/>
                </a:lnTo>
                <a:lnTo>
                  <a:pt x="4420" y="424"/>
                </a:lnTo>
                <a:lnTo>
                  <a:pt x="4428" y="422"/>
                </a:lnTo>
                <a:lnTo>
                  <a:pt x="4428" y="422"/>
                </a:lnTo>
                <a:lnTo>
                  <a:pt x="4428" y="416"/>
                </a:lnTo>
                <a:lnTo>
                  <a:pt x="4426" y="414"/>
                </a:lnTo>
                <a:lnTo>
                  <a:pt x="4422" y="414"/>
                </a:lnTo>
                <a:lnTo>
                  <a:pt x="4414" y="416"/>
                </a:lnTo>
                <a:lnTo>
                  <a:pt x="4414" y="416"/>
                </a:lnTo>
                <a:lnTo>
                  <a:pt x="4412" y="414"/>
                </a:lnTo>
                <a:lnTo>
                  <a:pt x="4412" y="414"/>
                </a:lnTo>
                <a:lnTo>
                  <a:pt x="4408" y="412"/>
                </a:lnTo>
                <a:lnTo>
                  <a:pt x="4408" y="408"/>
                </a:lnTo>
                <a:lnTo>
                  <a:pt x="4408" y="408"/>
                </a:lnTo>
                <a:lnTo>
                  <a:pt x="4408" y="402"/>
                </a:lnTo>
                <a:lnTo>
                  <a:pt x="4404" y="398"/>
                </a:lnTo>
                <a:lnTo>
                  <a:pt x="4400" y="396"/>
                </a:lnTo>
                <a:lnTo>
                  <a:pt x="4394" y="392"/>
                </a:lnTo>
                <a:lnTo>
                  <a:pt x="4394" y="392"/>
                </a:lnTo>
                <a:lnTo>
                  <a:pt x="4400" y="376"/>
                </a:lnTo>
                <a:lnTo>
                  <a:pt x="4400" y="376"/>
                </a:lnTo>
                <a:lnTo>
                  <a:pt x="4396" y="372"/>
                </a:lnTo>
                <a:lnTo>
                  <a:pt x="4394" y="370"/>
                </a:lnTo>
                <a:lnTo>
                  <a:pt x="4394" y="368"/>
                </a:lnTo>
                <a:lnTo>
                  <a:pt x="4394" y="368"/>
                </a:lnTo>
                <a:lnTo>
                  <a:pt x="4394" y="360"/>
                </a:lnTo>
                <a:lnTo>
                  <a:pt x="4392" y="354"/>
                </a:lnTo>
                <a:lnTo>
                  <a:pt x="4392" y="354"/>
                </a:lnTo>
                <a:lnTo>
                  <a:pt x="4372" y="344"/>
                </a:lnTo>
                <a:lnTo>
                  <a:pt x="4372" y="344"/>
                </a:lnTo>
                <a:lnTo>
                  <a:pt x="4370" y="342"/>
                </a:lnTo>
                <a:lnTo>
                  <a:pt x="4370" y="338"/>
                </a:lnTo>
                <a:lnTo>
                  <a:pt x="4370" y="338"/>
                </a:lnTo>
                <a:lnTo>
                  <a:pt x="4368" y="334"/>
                </a:lnTo>
                <a:lnTo>
                  <a:pt x="4366" y="332"/>
                </a:lnTo>
                <a:lnTo>
                  <a:pt x="4358" y="330"/>
                </a:lnTo>
                <a:lnTo>
                  <a:pt x="4358" y="330"/>
                </a:lnTo>
                <a:lnTo>
                  <a:pt x="4348" y="330"/>
                </a:lnTo>
                <a:lnTo>
                  <a:pt x="4348" y="330"/>
                </a:lnTo>
                <a:lnTo>
                  <a:pt x="4348" y="328"/>
                </a:lnTo>
                <a:lnTo>
                  <a:pt x="4348" y="328"/>
                </a:lnTo>
                <a:lnTo>
                  <a:pt x="4360" y="326"/>
                </a:lnTo>
                <a:lnTo>
                  <a:pt x="4364" y="326"/>
                </a:lnTo>
                <a:lnTo>
                  <a:pt x="4370" y="328"/>
                </a:lnTo>
                <a:lnTo>
                  <a:pt x="4370" y="328"/>
                </a:lnTo>
                <a:lnTo>
                  <a:pt x="4374" y="328"/>
                </a:lnTo>
                <a:lnTo>
                  <a:pt x="4374" y="328"/>
                </a:lnTo>
                <a:lnTo>
                  <a:pt x="4398" y="326"/>
                </a:lnTo>
                <a:lnTo>
                  <a:pt x="4398" y="326"/>
                </a:lnTo>
                <a:lnTo>
                  <a:pt x="4406" y="328"/>
                </a:lnTo>
                <a:lnTo>
                  <a:pt x="4414" y="332"/>
                </a:lnTo>
                <a:lnTo>
                  <a:pt x="4414" y="332"/>
                </a:lnTo>
                <a:lnTo>
                  <a:pt x="4424" y="340"/>
                </a:lnTo>
                <a:lnTo>
                  <a:pt x="4424" y="340"/>
                </a:lnTo>
                <a:lnTo>
                  <a:pt x="4430" y="344"/>
                </a:lnTo>
                <a:lnTo>
                  <a:pt x="4434" y="348"/>
                </a:lnTo>
                <a:lnTo>
                  <a:pt x="4434" y="348"/>
                </a:lnTo>
                <a:lnTo>
                  <a:pt x="4438" y="354"/>
                </a:lnTo>
                <a:lnTo>
                  <a:pt x="4446" y="356"/>
                </a:lnTo>
                <a:lnTo>
                  <a:pt x="4446" y="356"/>
                </a:lnTo>
                <a:lnTo>
                  <a:pt x="4474" y="362"/>
                </a:lnTo>
                <a:lnTo>
                  <a:pt x="4474" y="362"/>
                </a:lnTo>
                <a:lnTo>
                  <a:pt x="4482" y="362"/>
                </a:lnTo>
                <a:lnTo>
                  <a:pt x="4490" y="362"/>
                </a:lnTo>
                <a:lnTo>
                  <a:pt x="4490" y="362"/>
                </a:lnTo>
                <a:lnTo>
                  <a:pt x="4498" y="362"/>
                </a:lnTo>
                <a:lnTo>
                  <a:pt x="4508" y="364"/>
                </a:lnTo>
                <a:lnTo>
                  <a:pt x="4508" y="364"/>
                </a:lnTo>
                <a:lnTo>
                  <a:pt x="4506" y="370"/>
                </a:lnTo>
                <a:lnTo>
                  <a:pt x="4506" y="372"/>
                </a:lnTo>
                <a:lnTo>
                  <a:pt x="4502" y="372"/>
                </a:lnTo>
                <a:lnTo>
                  <a:pt x="4502" y="372"/>
                </a:lnTo>
                <a:lnTo>
                  <a:pt x="4490" y="374"/>
                </a:lnTo>
                <a:lnTo>
                  <a:pt x="4484" y="374"/>
                </a:lnTo>
                <a:lnTo>
                  <a:pt x="4480" y="372"/>
                </a:lnTo>
                <a:lnTo>
                  <a:pt x="4480" y="372"/>
                </a:lnTo>
                <a:lnTo>
                  <a:pt x="4476" y="374"/>
                </a:lnTo>
                <a:lnTo>
                  <a:pt x="4476" y="374"/>
                </a:lnTo>
                <a:lnTo>
                  <a:pt x="4488" y="378"/>
                </a:lnTo>
                <a:lnTo>
                  <a:pt x="4488" y="378"/>
                </a:lnTo>
                <a:lnTo>
                  <a:pt x="4496" y="380"/>
                </a:lnTo>
                <a:lnTo>
                  <a:pt x="4506" y="380"/>
                </a:lnTo>
                <a:lnTo>
                  <a:pt x="4506" y="380"/>
                </a:lnTo>
                <a:lnTo>
                  <a:pt x="4510" y="380"/>
                </a:lnTo>
                <a:lnTo>
                  <a:pt x="4514" y="380"/>
                </a:lnTo>
                <a:lnTo>
                  <a:pt x="4514" y="380"/>
                </a:lnTo>
                <a:lnTo>
                  <a:pt x="4524" y="382"/>
                </a:lnTo>
                <a:lnTo>
                  <a:pt x="4530" y="382"/>
                </a:lnTo>
                <a:lnTo>
                  <a:pt x="4534" y="380"/>
                </a:lnTo>
                <a:lnTo>
                  <a:pt x="4534" y="380"/>
                </a:lnTo>
                <a:lnTo>
                  <a:pt x="4538" y="378"/>
                </a:lnTo>
                <a:lnTo>
                  <a:pt x="4544" y="378"/>
                </a:lnTo>
                <a:lnTo>
                  <a:pt x="4544" y="378"/>
                </a:lnTo>
                <a:lnTo>
                  <a:pt x="4548" y="386"/>
                </a:lnTo>
                <a:lnTo>
                  <a:pt x="4548" y="386"/>
                </a:lnTo>
                <a:lnTo>
                  <a:pt x="4548" y="376"/>
                </a:lnTo>
                <a:lnTo>
                  <a:pt x="4548" y="372"/>
                </a:lnTo>
                <a:lnTo>
                  <a:pt x="4548" y="366"/>
                </a:lnTo>
                <a:lnTo>
                  <a:pt x="4548" y="366"/>
                </a:lnTo>
                <a:lnTo>
                  <a:pt x="4544" y="360"/>
                </a:lnTo>
                <a:lnTo>
                  <a:pt x="4536" y="356"/>
                </a:lnTo>
                <a:lnTo>
                  <a:pt x="4536" y="356"/>
                </a:lnTo>
                <a:lnTo>
                  <a:pt x="4522" y="354"/>
                </a:lnTo>
                <a:lnTo>
                  <a:pt x="4510" y="356"/>
                </a:lnTo>
                <a:lnTo>
                  <a:pt x="4510" y="356"/>
                </a:lnTo>
                <a:lnTo>
                  <a:pt x="4496" y="352"/>
                </a:lnTo>
                <a:lnTo>
                  <a:pt x="4488" y="350"/>
                </a:lnTo>
                <a:lnTo>
                  <a:pt x="4478" y="352"/>
                </a:lnTo>
                <a:lnTo>
                  <a:pt x="4478" y="352"/>
                </a:lnTo>
                <a:lnTo>
                  <a:pt x="4474" y="352"/>
                </a:lnTo>
                <a:lnTo>
                  <a:pt x="4470" y="348"/>
                </a:lnTo>
                <a:lnTo>
                  <a:pt x="4470" y="348"/>
                </a:lnTo>
                <a:lnTo>
                  <a:pt x="4468" y="346"/>
                </a:lnTo>
                <a:lnTo>
                  <a:pt x="4466" y="344"/>
                </a:lnTo>
                <a:lnTo>
                  <a:pt x="4458" y="342"/>
                </a:lnTo>
                <a:lnTo>
                  <a:pt x="4458" y="342"/>
                </a:lnTo>
                <a:lnTo>
                  <a:pt x="4452" y="340"/>
                </a:lnTo>
                <a:lnTo>
                  <a:pt x="4452" y="340"/>
                </a:lnTo>
                <a:lnTo>
                  <a:pt x="4450" y="330"/>
                </a:lnTo>
                <a:lnTo>
                  <a:pt x="4450" y="330"/>
                </a:lnTo>
                <a:lnTo>
                  <a:pt x="4450" y="328"/>
                </a:lnTo>
                <a:lnTo>
                  <a:pt x="4450" y="328"/>
                </a:lnTo>
                <a:lnTo>
                  <a:pt x="4450" y="324"/>
                </a:lnTo>
                <a:lnTo>
                  <a:pt x="4450" y="322"/>
                </a:lnTo>
                <a:lnTo>
                  <a:pt x="4446" y="320"/>
                </a:lnTo>
                <a:lnTo>
                  <a:pt x="4440" y="320"/>
                </a:lnTo>
                <a:lnTo>
                  <a:pt x="4440" y="320"/>
                </a:lnTo>
                <a:lnTo>
                  <a:pt x="4430" y="320"/>
                </a:lnTo>
                <a:lnTo>
                  <a:pt x="4422" y="318"/>
                </a:lnTo>
                <a:lnTo>
                  <a:pt x="4422" y="318"/>
                </a:lnTo>
                <a:lnTo>
                  <a:pt x="4416" y="314"/>
                </a:lnTo>
                <a:lnTo>
                  <a:pt x="4412" y="314"/>
                </a:lnTo>
                <a:lnTo>
                  <a:pt x="4400" y="318"/>
                </a:lnTo>
                <a:lnTo>
                  <a:pt x="4400" y="318"/>
                </a:lnTo>
                <a:lnTo>
                  <a:pt x="4390" y="320"/>
                </a:lnTo>
                <a:lnTo>
                  <a:pt x="4390" y="320"/>
                </a:lnTo>
                <a:lnTo>
                  <a:pt x="4394" y="312"/>
                </a:lnTo>
                <a:lnTo>
                  <a:pt x="4394" y="312"/>
                </a:lnTo>
                <a:lnTo>
                  <a:pt x="4382" y="306"/>
                </a:lnTo>
                <a:lnTo>
                  <a:pt x="4370" y="306"/>
                </a:lnTo>
                <a:lnTo>
                  <a:pt x="4370" y="306"/>
                </a:lnTo>
                <a:lnTo>
                  <a:pt x="4362" y="306"/>
                </a:lnTo>
                <a:lnTo>
                  <a:pt x="4358" y="302"/>
                </a:lnTo>
                <a:lnTo>
                  <a:pt x="4358" y="302"/>
                </a:lnTo>
                <a:lnTo>
                  <a:pt x="4356" y="300"/>
                </a:lnTo>
                <a:lnTo>
                  <a:pt x="4356" y="296"/>
                </a:lnTo>
                <a:lnTo>
                  <a:pt x="4356" y="296"/>
                </a:lnTo>
                <a:lnTo>
                  <a:pt x="4388" y="296"/>
                </a:lnTo>
                <a:lnTo>
                  <a:pt x="4388" y="296"/>
                </a:lnTo>
                <a:lnTo>
                  <a:pt x="4394" y="294"/>
                </a:lnTo>
                <a:lnTo>
                  <a:pt x="4394" y="294"/>
                </a:lnTo>
                <a:lnTo>
                  <a:pt x="4402" y="292"/>
                </a:lnTo>
                <a:lnTo>
                  <a:pt x="4410" y="294"/>
                </a:lnTo>
                <a:lnTo>
                  <a:pt x="4416" y="296"/>
                </a:lnTo>
                <a:lnTo>
                  <a:pt x="4422" y="300"/>
                </a:lnTo>
                <a:lnTo>
                  <a:pt x="4422" y="300"/>
                </a:lnTo>
                <a:lnTo>
                  <a:pt x="4416" y="308"/>
                </a:lnTo>
                <a:lnTo>
                  <a:pt x="4416" y="308"/>
                </a:lnTo>
                <a:lnTo>
                  <a:pt x="4420" y="310"/>
                </a:lnTo>
                <a:lnTo>
                  <a:pt x="4422" y="310"/>
                </a:lnTo>
                <a:lnTo>
                  <a:pt x="4426" y="306"/>
                </a:lnTo>
                <a:lnTo>
                  <a:pt x="4426" y="306"/>
                </a:lnTo>
                <a:lnTo>
                  <a:pt x="4436" y="304"/>
                </a:lnTo>
                <a:lnTo>
                  <a:pt x="4444" y="304"/>
                </a:lnTo>
                <a:lnTo>
                  <a:pt x="4450" y="308"/>
                </a:lnTo>
                <a:lnTo>
                  <a:pt x="4454" y="312"/>
                </a:lnTo>
                <a:lnTo>
                  <a:pt x="4454" y="312"/>
                </a:lnTo>
                <a:lnTo>
                  <a:pt x="4458" y="318"/>
                </a:lnTo>
                <a:lnTo>
                  <a:pt x="4458" y="318"/>
                </a:lnTo>
                <a:lnTo>
                  <a:pt x="4462" y="314"/>
                </a:lnTo>
                <a:lnTo>
                  <a:pt x="4468" y="314"/>
                </a:lnTo>
                <a:lnTo>
                  <a:pt x="4478" y="314"/>
                </a:lnTo>
                <a:lnTo>
                  <a:pt x="4478" y="314"/>
                </a:lnTo>
                <a:lnTo>
                  <a:pt x="4514" y="320"/>
                </a:lnTo>
                <a:lnTo>
                  <a:pt x="4514" y="320"/>
                </a:lnTo>
                <a:lnTo>
                  <a:pt x="4520" y="320"/>
                </a:lnTo>
                <a:lnTo>
                  <a:pt x="4524" y="316"/>
                </a:lnTo>
                <a:lnTo>
                  <a:pt x="4524" y="316"/>
                </a:lnTo>
                <a:lnTo>
                  <a:pt x="4520" y="314"/>
                </a:lnTo>
                <a:lnTo>
                  <a:pt x="4520" y="314"/>
                </a:lnTo>
                <a:lnTo>
                  <a:pt x="4512" y="312"/>
                </a:lnTo>
                <a:lnTo>
                  <a:pt x="4504" y="310"/>
                </a:lnTo>
                <a:lnTo>
                  <a:pt x="4492" y="302"/>
                </a:lnTo>
                <a:lnTo>
                  <a:pt x="4492" y="302"/>
                </a:lnTo>
                <a:lnTo>
                  <a:pt x="4492" y="300"/>
                </a:lnTo>
                <a:lnTo>
                  <a:pt x="4492" y="298"/>
                </a:lnTo>
                <a:lnTo>
                  <a:pt x="4492" y="296"/>
                </a:lnTo>
                <a:lnTo>
                  <a:pt x="4490" y="294"/>
                </a:lnTo>
                <a:lnTo>
                  <a:pt x="4490" y="294"/>
                </a:lnTo>
                <a:lnTo>
                  <a:pt x="4456" y="280"/>
                </a:lnTo>
                <a:lnTo>
                  <a:pt x="4456" y="280"/>
                </a:lnTo>
                <a:lnTo>
                  <a:pt x="4448" y="274"/>
                </a:lnTo>
                <a:lnTo>
                  <a:pt x="4442" y="272"/>
                </a:lnTo>
                <a:lnTo>
                  <a:pt x="4438" y="270"/>
                </a:lnTo>
                <a:lnTo>
                  <a:pt x="4438" y="270"/>
                </a:lnTo>
                <a:lnTo>
                  <a:pt x="4434" y="268"/>
                </a:lnTo>
                <a:lnTo>
                  <a:pt x="4430" y="264"/>
                </a:lnTo>
                <a:lnTo>
                  <a:pt x="4430" y="264"/>
                </a:lnTo>
                <a:lnTo>
                  <a:pt x="4438" y="260"/>
                </a:lnTo>
                <a:lnTo>
                  <a:pt x="4442" y="260"/>
                </a:lnTo>
                <a:lnTo>
                  <a:pt x="4448" y="260"/>
                </a:lnTo>
                <a:lnTo>
                  <a:pt x="4454" y="262"/>
                </a:lnTo>
                <a:lnTo>
                  <a:pt x="4454" y="262"/>
                </a:lnTo>
                <a:lnTo>
                  <a:pt x="4460" y="264"/>
                </a:lnTo>
                <a:lnTo>
                  <a:pt x="4460" y="264"/>
                </a:lnTo>
                <a:lnTo>
                  <a:pt x="4466" y="256"/>
                </a:lnTo>
                <a:lnTo>
                  <a:pt x="4472" y="248"/>
                </a:lnTo>
                <a:lnTo>
                  <a:pt x="4482" y="242"/>
                </a:lnTo>
                <a:lnTo>
                  <a:pt x="4494" y="240"/>
                </a:lnTo>
                <a:lnTo>
                  <a:pt x="4494" y="240"/>
                </a:lnTo>
                <a:lnTo>
                  <a:pt x="4494" y="234"/>
                </a:lnTo>
                <a:lnTo>
                  <a:pt x="4488" y="232"/>
                </a:lnTo>
                <a:lnTo>
                  <a:pt x="4478" y="228"/>
                </a:lnTo>
                <a:lnTo>
                  <a:pt x="4478" y="228"/>
                </a:lnTo>
                <a:lnTo>
                  <a:pt x="4446" y="232"/>
                </a:lnTo>
                <a:lnTo>
                  <a:pt x="4446" y="232"/>
                </a:lnTo>
                <a:lnTo>
                  <a:pt x="4442" y="226"/>
                </a:lnTo>
                <a:lnTo>
                  <a:pt x="4442" y="226"/>
                </a:lnTo>
                <a:lnTo>
                  <a:pt x="4434" y="232"/>
                </a:lnTo>
                <a:lnTo>
                  <a:pt x="4434" y="232"/>
                </a:lnTo>
                <a:lnTo>
                  <a:pt x="4430" y="228"/>
                </a:lnTo>
                <a:lnTo>
                  <a:pt x="4430" y="224"/>
                </a:lnTo>
                <a:lnTo>
                  <a:pt x="4432" y="220"/>
                </a:lnTo>
                <a:lnTo>
                  <a:pt x="4438" y="218"/>
                </a:lnTo>
                <a:lnTo>
                  <a:pt x="4438" y="218"/>
                </a:lnTo>
                <a:lnTo>
                  <a:pt x="4444" y="216"/>
                </a:lnTo>
                <a:lnTo>
                  <a:pt x="4450" y="214"/>
                </a:lnTo>
                <a:lnTo>
                  <a:pt x="4450" y="214"/>
                </a:lnTo>
                <a:lnTo>
                  <a:pt x="4454" y="212"/>
                </a:lnTo>
                <a:lnTo>
                  <a:pt x="4460" y="210"/>
                </a:lnTo>
                <a:lnTo>
                  <a:pt x="4460" y="210"/>
                </a:lnTo>
                <a:lnTo>
                  <a:pt x="4466" y="208"/>
                </a:lnTo>
                <a:lnTo>
                  <a:pt x="4468" y="204"/>
                </a:lnTo>
                <a:lnTo>
                  <a:pt x="4468" y="204"/>
                </a:lnTo>
                <a:lnTo>
                  <a:pt x="4460" y="198"/>
                </a:lnTo>
                <a:lnTo>
                  <a:pt x="4452" y="192"/>
                </a:lnTo>
                <a:lnTo>
                  <a:pt x="4452" y="192"/>
                </a:lnTo>
                <a:lnTo>
                  <a:pt x="4448" y="188"/>
                </a:lnTo>
                <a:lnTo>
                  <a:pt x="4442" y="184"/>
                </a:lnTo>
                <a:lnTo>
                  <a:pt x="4436" y="184"/>
                </a:lnTo>
                <a:lnTo>
                  <a:pt x="4426" y="184"/>
                </a:lnTo>
                <a:lnTo>
                  <a:pt x="4426" y="184"/>
                </a:lnTo>
                <a:lnTo>
                  <a:pt x="4414" y="184"/>
                </a:lnTo>
                <a:lnTo>
                  <a:pt x="4402" y="182"/>
                </a:lnTo>
                <a:lnTo>
                  <a:pt x="4402" y="182"/>
                </a:lnTo>
                <a:lnTo>
                  <a:pt x="4400" y="182"/>
                </a:lnTo>
                <a:lnTo>
                  <a:pt x="4400" y="182"/>
                </a:lnTo>
                <a:lnTo>
                  <a:pt x="4394" y="178"/>
                </a:lnTo>
                <a:lnTo>
                  <a:pt x="4390" y="172"/>
                </a:lnTo>
                <a:lnTo>
                  <a:pt x="4390" y="172"/>
                </a:lnTo>
                <a:lnTo>
                  <a:pt x="4386" y="166"/>
                </a:lnTo>
                <a:lnTo>
                  <a:pt x="4382" y="160"/>
                </a:lnTo>
                <a:lnTo>
                  <a:pt x="4382" y="160"/>
                </a:lnTo>
                <a:lnTo>
                  <a:pt x="4380" y="160"/>
                </a:lnTo>
                <a:lnTo>
                  <a:pt x="4380" y="160"/>
                </a:lnTo>
                <a:lnTo>
                  <a:pt x="4372" y="160"/>
                </a:lnTo>
                <a:lnTo>
                  <a:pt x="4366" y="158"/>
                </a:lnTo>
                <a:lnTo>
                  <a:pt x="4360" y="156"/>
                </a:lnTo>
                <a:lnTo>
                  <a:pt x="4358" y="150"/>
                </a:lnTo>
                <a:lnTo>
                  <a:pt x="4358" y="150"/>
                </a:lnTo>
                <a:lnTo>
                  <a:pt x="4356" y="148"/>
                </a:lnTo>
                <a:lnTo>
                  <a:pt x="4352" y="146"/>
                </a:lnTo>
                <a:lnTo>
                  <a:pt x="4352" y="146"/>
                </a:lnTo>
                <a:lnTo>
                  <a:pt x="4346" y="150"/>
                </a:lnTo>
                <a:lnTo>
                  <a:pt x="4346" y="150"/>
                </a:lnTo>
                <a:lnTo>
                  <a:pt x="4350" y="154"/>
                </a:lnTo>
                <a:lnTo>
                  <a:pt x="4352" y="156"/>
                </a:lnTo>
                <a:lnTo>
                  <a:pt x="4350" y="158"/>
                </a:lnTo>
                <a:lnTo>
                  <a:pt x="4350" y="158"/>
                </a:lnTo>
                <a:lnTo>
                  <a:pt x="4340" y="160"/>
                </a:lnTo>
                <a:lnTo>
                  <a:pt x="4332" y="158"/>
                </a:lnTo>
                <a:lnTo>
                  <a:pt x="4320" y="152"/>
                </a:lnTo>
                <a:lnTo>
                  <a:pt x="4320" y="152"/>
                </a:lnTo>
                <a:lnTo>
                  <a:pt x="4328" y="150"/>
                </a:lnTo>
                <a:lnTo>
                  <a:pt x="4332" y="146"/>
                </a:lnTo>
                <a:lnTo>
                  <a:pt x="4334" y="140"/>
                </a:lnTo>
                <a:lnTo>
                  <a:pt x="4338" y="136"/>
                </a:lnTo>
                <a:lnTo>
                  <a:pt x="4338" y="136"/>
                </a:lnTo>
                <a:lnTo>
                  <a:pt x="4322" y="124"/>
                </a:lnTo>
                <a:lnTo>
                  <a:pt x="4322" y="124"/>
                </a:lnTo>
                <a:lnTo>
                  <a:pt x="4302" y="116"/>
                </a:lnTo>
                <a:lnTo>
                  <a:pt x="4302" y="116"/>
                </a:lnTo>
                <a:lnTo>
                  <a:pt x="4298" y="122"/>
                </a:lnTo>
                <a:lnTo>
                  <a:pt x="4294" y="124"/>
                </a:lnTo>
                <a:lnTo>
                  <a:pt x="4290" y="124"/>
                </a:lnTo>
                <a:lnTo>
                  <a:pt x="4284" y="120"/>
                </a:lnTo>
                <a:lnTo>
                  <a:pt x="4284" y="120"/>
                </a:lnTo>
                <a:lnTo>
                  <a:pt x="4292" y="116"/>
                </a:lnTo>
                <a:lnTo>
                  <a:pt x="4292" y="116"/>
                </a:lnTo>
                <a:lnTo>
                  <a:pt x="4284" y="112"/>
                </a:lnTo>
                <a:lnTo>
                  <a:pt x="4282" y="110"/>
                </a:lnTo>
                <a:lnTo>
                  <a:pt x="4278" y="110"/>
                </a:lnTo>
                <a:lnTo>
                  <a:pt x="4278" y="110"/>
                </a:lnTo>
                <a:lnTo>
                  <a:pt x="4274" y="110"/>
                </a:lnTo>
                <a:lnTo>
                  <a:pt x="4272" y="108"/>
                </a:lnTo>
                <a:lnTo>
                  <a:pt x="4272" y="108"/>
                </a:lnTo>
                <a:lnTo>
                  <a:pt x="4266" y="100"/>
                </a:lnTo>
                <a:lnTo>
                  <a:pt x="4266" y="100"/>
                </a:lnTo>
                <a:lnTo>
                  <a:pt x="4282" y="98"/>
                </a:lnTo>
                <a:lnTo>
                  <a:pt x="4282" y="98"/>
                </a:lnTo>
                <a:lnTo>
                  <a:pt x="4288" y="100"/>
                </a:lnTo>
                <a:lnTo>
                  <a:pt x="4288" y="100"/>
                </a:lnTo>
                <a:lnTo>
                  <a:pt x="4308" y="110"/>
                </a:lnTo>
                <a:lnTo>
                  <a:pt x="4330" y="118"/>
                </a:lnTo>
                <a:lnTo>
                  <a:pt x="4330" y="118"/>
                </a:lnTo>
                <a:lnTo>
                  <a:pt x="4336" y="120"/>
                </a:lnTo>
                <a:lnTo>
                  <a:pt x="4340" y="120"/>
                </a:lnTo>
                <a:lnTo>
                  <a:pt x="4340" y="120"/>
                </a:lnTo>
                <a:lnTo>
                  <a:pt x="4328" y="110"/>
                </a:lnTo>
                <a:lnTo>
                  <a:pt x="4328" y="110"/>
                </a:lnTo>
                <a:lnTo>
                  <a:pt x="4334" y="106"/>
                </a:lnTo>
                <a:lnTo>
                  <a:pt x="4336" y="106"/>
                </a:lnTo>
                <a:lnTo>
                  <a:pt x="4338" y="108"/>
                </a:lnTo>
                <a:lnTo>
                  <a:pt x="4338" y="108"/>
                </a:lnTo>
                <a:lnTo>
                  <a:pt x="4342" y="110"/>
                </a:lnTo>
                <a:lnTo>
                  <a:pt x="4348" y="112"/>
                </a:lnTo>
                <a:lnTo>
                  <a:pt x="4354" y="112"/>
                </a:lnTo>
                <a:lnTo>
                  <a:pt x="4358" y="114"/>
                </a:lnTo>
                <a:lnTo>
                  <a:pt x="4358" y="114"/>
                </a:lnTo>
                <a:lnTo>
                  <a:pt x="4362" y="116"/>
                </a:lnTo>
                <a:lnTo>
                  <a:pt x="4366" y="114"/>
                </a:lnTo>
                <a:lnTo>
                  <a:pt x="4366" y="114"/>
                </a:lnTo>
                <a:lnTo>
                  <a:pt x="4366" y="112"/>
                </a:lnTo>
                <a:lnTo>
                  <a:pt x="4366" y="110"/>
                </a:lnTo>
                <a:lnTo>
                  <a:pt x="4366" y="110"/>
                </a:lnTo>
                <a:lnTo>
                  <a:pt x="4352" y="108"/>
                </a:lnTo>
                <a:lnTo>
                  <a:pt x="4352" y="108"/>
                </a:lnTo>
                <a:lnTo>
                  <a:pt x="4340" y="104"/>
                </a:lnTo>
                <a:lnTo>
                  <a:pt x="4334" y="102"/>
                </a:lnTo>
                <a:lnTo>
                  <a:pt x="4328" y="102"/>
                </a:lnTo>
                <a:lnTo>
                  <a:pt x="4328" y="102"/>
                </a:lnTo>
                <a:lnTo>
                  <a:pt x="4326" y="104"/>
                </a:lnTo>
                <a:lnTo>
                  <a:pt x="4326" y="104"/>
                </a:lnTo>
                <a:lnTo>
                  <a:pt x="4320" y="102"/>
                </a:lnTo>
                <a:lnTo>
                  <a:pt x="4314" y="102"/>
                </a:lnTo>
                <a:lnTo>
                  <a:pt x="4302" y="100"/>
                </a:lnTo>
                <a:lnTo>
                  <a:pt x="4302" y="98"/>
                </a:lnTo>
                <a:lnTo>
                  <a:pt x="4302" y="98"/>
                </a:lnTo>
                <a:lnTo>
                  <a:pt x="4294" y="96"/>
                </a:lnTo>
                <a:lnTo>
                  <a:pt x="4294" y="96"/>
                </a:lnTo>
                <a:lnTo>
                  <a:pt x="4294" y="96"/>
                </a:lnTo>
                <a:lnTo>
                  <a:pt x="4294" y="96"/>
                </a:lnTo>
                <a:lnTo>
                  <a:pt x="4314" y="94"/>
                </a:lnTo>
                <a:lnTo>
                  <a:pt x="4314" y="94"/>
                </a:lnTo>
                <a:lnTo>
                  <a:pt x="4306" y="90"/>
                </a:lnTo>
                <a:lnTo>
                  <a:pt x="4306" y="90"/>
                </a:lnTo>
                <a:lnTo>
                  <a:pt x="4282" y="82"/>
                </a:lnTo>
                <a:lnTo>
                  <a:pt x="4282" y="82"/>
                </a:lnTo>
                <a:lnTo>
                  <a:pt x="4258" y="76"/>
                </a:lnTo>
                <a:lnTo>
                  <a:pt x="4234" y="72"/>
                </a:lnTo>
                <a:lnTo>
                  <a:pt x="4234" y="72"/>
                </a:lnTo>
                <a:lnTo>
                  <a:pt x="4222" y="72"/>
                </a:lnTo>
                <a:lnTo>
                  <a:pt x="4216" y="70"/>
                </a:lnTo>
                <a:lnTo>
                  <a:pt x="4212" y="66"/>
                </a:lnTo>
                <a:lnTo>
                  <a:pt x="4212" y="66"/>
                </a:lnTo>
                <a:lnTo>
                  <a:pt x="4210" y="66"/>
                </a:lnTo>
                <a:lnTo>
                  <a:pt x="4210" y="66"/>
                </a:lnTo>
                <a:lnTo>
                  <a:pt x="4174" y="62"/>
                </a:lnTo>
                <a:lnTo>
                  <a:pt x="4174" y="62"/>
                </a:lnTo>
                <a:lnTo>
                  <a:pt x="4162" y="62"/>
                </a:lnTo>
                <a:lnTo>
                  <a:pt x="4156" y="62"/>
                </a:lnTo>
                <a:lnTo>
                  <a:pt x="4150" y="58"/>
                </a:lnTo>
                <a:lnTo>
                  <a:pt x="4150" y="58"/>
                </a:lnTo>
                <a:lnTo>
                  <a:pt x="4150" y="58"/>
                </a:lnTo>
                <a:lnTo>
                  <a:pt x="4150" y="58"/>
                </a:lnTo>
                <a:lnTo>
                  <a:pt x="4128" y="56"/>
                </a:lnTo>
                <a:lnTo>
                  <a:pt x="4104" y="56"/>
                </a:lnTo>
                <a:lnTo>
                  <a:pt x="4104" y="56"/>
                </a:lnTo>
                <a:lnTo>
                  <a:pt x="4100" y="56"/>
                </a:lnTo>
                <a:lnTo>
                  <a:pt x="4096" y="54"/>
                </a:lnTo>
                <a:lnTo>
                  <a:pt x="4094" y="52"/>
                </a:lnTo>
                <a:lnTo>
                  <a:pt x="4092" y="48"/>
                </a:lnTo>
                <a:lnTo>
                  <a:pt x="4092" y="48"/>
                </a:lnTo>
                <a:lnTo>
                  <a:pt x="4086" y="52"/>
                </a:lnTo>
                <a:lnTo>
                  <a:pt x="4078" y="52"/>
                </a:lnTo>
                <a:lnTo>
                  <a:pt x="4072" y="52"/>
                </a:lnTo>
                <a:lnTo>
                  <a:pt x="4066" y="48"/>
                </a:lnTo>
                <a:lnTo>
                  <a:pt x="4066" y="48"/>
                </a:lnTo>
                <a:lnTo>
                  <a:pt x="4060" y="42"/>
                </a:lnTo>
                <a:lnTo>
                  <a:pt x="4054" y="40"/>
                </a:lnTo>
                <a:lnTo>
                  <a:pt x="4048" y="42"/>
                </a:lnTo>
                <a:lnTo>
                  <a:pt x="4038" y="44"/>
                </a:lnTo>
                <a:lnTo>
                  <a:pt x="4038" y="44"/>
                </a:lnTo>
                <a:lnTo>
                  <a:pt x="4020" y="40"/>
                </a:lnTo>
                <a:lnTo>
                  <a:pt x="4020" y="40"/>
                </a:lnTo>
                <a:lnTo>
                  <a:pt x="4014" y="40"/>
                </a:lnTo>
                <a:lnTo>
                  <a:pt x="4014" y="40"/>
                </a:lnTo>
                <a:lnTo>
                  <a:pt x="3998" y="48"/>
                </a:lnTo>
                <a:lnTo>
                  <a:pt x="3998" y="48"/>
                </a:lnTo>
                <a:lnTo>
                  <a:pt x="4000" y="54"/>
                </a:lnTo>
                <a:lnTo>
                  <a:pt x="4000" y="56"/>
                </a:lnTo>
                <a:lnTo>
                  <a:pt x="3996" y="60"/>
                </a:lnTo>
                <a:lnTo>
                  <a:pt x="3990" y="60"/>
                </a:lnTo>
                <a:lnTo>
                  <a:pt x="3990" y="60"/>
                </a:lnTo>
                <a:lnTo>
                  <a:pt x="3986" y="56"/>
                </a:lnTo>
                <a:lnTo>
                  <a:pt x="3982" y="54"/>
                </a:lnTo>
                <a:lnTo>
                  <a:pt x="3978" y="54"/>
                </a:lnTo>
                <a:lnTo>
                  <a:pt x="3978" y="54"/>
                </a:lnTo>
                <a:lnTo>
                  <a:pt x="3956" y="56"/>
                </a:lnTo>
                <a:lnTo>
                  <a:pt x="3946" y="58"/>
                </a:lnTo>
                <a:lnTo>
                  <a:pt x="3938" y="62"/>
                </a:lnTo>
                <a:lnTo>
                  <a:pt x="3938" y="62"/>
                </a:lnTo>
                <a:lnTo>
                  <a:pt x="3932" y="66"/>
                </a:lnTo>
                <a:lnTo>
                  <a:pt x="3932" y="68"/>
                </a:lnTo>
                <a:lnTo>
                  <a:pt x="3932" y="70"/>
                </a:lnTo>
                <a:lnTo>
                  <a:pt x="3932" y="70"/>
                </a:lnTo>
                <a:lnTo>
                  <a:pt x="3940" y="84"/>
                </a:lnTo>
                <a:lnTo>
                  <a:pt x="3940" y="84"/>
                </a:lnTo>
                <a:lnTo>
                  <a:pt x="3934" y="88"/>
                </a:lnTo>
                <a:lnTo>
                  <a:pt x="3928" y="94"/>
                </a:lnTo>
                <a:lnTo>
                  <a:pt x="3928" y="94"/>
                </a:lnTo>
                <a:lnTo>
                  <a:pt x="3926" y="98"/>
                </a:lnTo>
                <a:lnTo>
                  <a:pt x="3926" y="106"/>
                </a:lnTo>
                <a:lnTo>
                  <a:pt x="3926" y="106"/>
                </a:lnTo>
                <a:lnTo>
                  <a:pt x="3934" y="106"/>
                </a:lnTo>
                <a:lnTo>
                  <a:pt x="3934" y="106"/>
                </a:lnTo>
                <a:lnTo>
                  <a:pt x="3936" y="102"/>
                </a:lnTo>
                <a:lnTo>
                  <a:pt x="3936" y="102"/>
                </a:lnTo>
                <a:lnTo>
                  <a:pt x="3946" y="102"/>
                </a:lnTo>
                <a:lnTo>
                  <a:pt x="3950" y="102"/>
                </a:lnTo>
                <a:lnTo>
                  <a:pt x="3954" y="106"/>
                </a:lnTo>
                <a:lnTo>
                  <a:pt x="3954" y="106"/>
                </a:lnTo>
                <a:lnTo>
                  <a:pt x="3962" y="110"/>
                </a:lnTo>
                <a:lnTo>
                  <a:pt x="3970" y="114"/>
                </a:lnTo>
                <a:lnTo>
                  <a:pt x="3970" y="114"/>
                </a:lnTo>
                <a:lnTo>
                  <a:pt x="3966" y="118"/>
                </a:lnTo>
                <a:lnTo>
                  <a:pt x="3960" y="122"/>
                </a:lnTo>
                <a:lnTo>
                  <a:pt x="3954" y="124"/>
                </a:lnTo>
                <a:lnTo>
                  <a:pt x="3946" y="124"/>
                </a:lnTo>
                <a:lnTo>
                  <a:pt x="3946" y="124"/>
                </a:lnTo>
                <a:lnTo>
                  <a:pt x="3938" y="122"/>
                </a:lnTo>
                <a:lnTo>
                  <a:pt x="3930" y="122"/>
                </a:lnTo>
                <a:lnTo>
                  <a:pt x="3930" y="122"/>
                </a:lnTo>
                <a:lnTo>
                  <a:pt x="3922" y="124"/>
                </a:lnTo>
                <a:lnTo>
                  <a:pt x="3916" y="128"/>
                </a:lnTo>
                <a:lnTo>
                  <a:pt x="3916" y="128"/>
                </a:lnTo>
                <a:lnTo>
                  <a:pt x="3914" y="130"/>
                </a:lnTo>
                <a:lnTo>
                  <a:pt x="3914" y="132"/>
                </a:lnTo>
                <a:lnTo>
                  <a:pt x="3914" y="132"/>
                </a:lnTo>
                <a:lnTo>
                  <a:pt x="3906" y="132"/>
                </a:lnTo>
                <a:lnTo>
                  <a:pt x="3902" y="132"/>
                </a:lnTo>
                <a:lnTo>
                  <a:pt x="3898" y="134"/>
                </a:lnTo>
                <a:lnTo>
                  <a:pt x="3898" y="134"/>
                </a:lnTo>
                <a:lnTo>
                  <a:pt x="3904" y="136"/>
                </a:lnTo>
                <a:lnTo>
                  <a:pt x="3908" y="138"/>
                </a:lnTo>
                <a:lnTo>
                  <a:pt x="3916" y="144"/>
                </a:lnTo>
                <a:lnTo>
                  <a:pt x="3916" y="144"/>
                </a:lnTo>
                <a:lnTo>
                  <a:pt x="3904" y="150"/>
                </a:lnTo>
                <a:lnTo>
                  <a:pt x="3904" y="150"/>
                </a:lnTo>
                <a:lnTo>
                  <a:pt x="3898" y="148"/>
                </a:lnTo>
                <a:lnTo>
                  <a:pt x="3896" y="144"/>
                </a:lnTo>
                <a:lnTo>
                  <a:pt x="3894" y="140"/>
                </a:lnTo>
                <a:lnTo>
                  <a:pt x="3896" y="136"/>
                </a:lnTo>
                <a:lnTo>
                  <a:pt x="3896" y="136"/>
                </a:lnTo>
                <a:lnTo>
                  <a:pt x="3878" y="136"/>
                </a:lnTo>
                <a:lnTo>
                  <a:pt x="3878" y="136"/>
                </a:lnTo>
                <a:lnTo>
                  <a:pt x="3868" y="136"/>
                </a:lnTo>
                <a:lnTo>
                  <a:pt x="3862" y="136"/>
                </a:lnTo>
                <a:lnTo>
                  <a:pt x="3858" y="134"/>
                </a:lnTo>
                <a:lnTo>
                  <a:pt x="3858" y="134"/>
                </a:lnTo>
                <a:lnTo>
                  <a:pt x="3848" y="130"/>
                </a:lnTo>
                <a:lnTo>
                  <a:pt x="3838" y="128"/>
                </a:lnTo>
                <a:lnTo>
                  <a:pt x="3838" y="128"/>
                </a:lnTo>
                <a:lnTo>
                  <a:pt x="3834" y="134"/>
                </a:lnTo>
                <a:lnTo>
                  <a:pt x="3828" y="136"/>
                </a:lnTo>
                <a:lnTo>
                  <a:pt x="3822" y="138"/>
                </a:lnTo>
                <a:lnTo>
                  <a:pt x="3812" y="140"/>
                </a:lnTo>
                <a:lnTo>
                  <a:pt x="3812" y="140"/>
                </a:lnTo>
                <a:lnTo>
                  <a:pt x="3802" y="138"/>
                </a:lnTo>
                <a:lnTo>
                  <a:pt x="3794" y="136"/>
                </a:lnTo>
                <a:lnTo>
                  <a:pt x="3776" y="130"/>
                </a:lnTo>
                <a:lnTo>
                  <a:pt x="3776" y="130"/>
                </a:lnTo>
                <a:lnTo>
                  <a:pt x="3770" y="128"/>
                </a:lnTo>
                <a:lnTo>
                  <a:pt x="3770" y="128"/>
                </a:lnTo>
                <a:lnTo>
                  <a:pt x="3762" y="126"/>
                </a:lnTo>
                <a:lnTo>
                  <a:pt x="3756" y="124"/>
                </a:lnTo>
                <a:lnTo>
                  <a:pt x="3746" y="114"/>
                </a:lnTo>
                <a:lnTo>
                  <a:pt x="3746" y="114"/>
                </a:lnTo>
                <a:lnTo>
                  <a:pt x="3758" y="112"/>
                </a:lnTo>
                <a:lnTo>
                  <a:pt x="3762" y="110"/>
                </a:lnTo>
                <a:lnTo>
                  <a:pt x="3766" y="106"/>
                </a:lnTo>
                <a:lnTo>
                  <a:pt x="3766" y="106"/>
                </a:lnTo>
                <a:lnTo>
                  <a:pt x="3770" y="100"/>
                </a:lnTo>
                <a:lnTo>
                  <a:pt x="3772" y="96"/>
                </a:lnTo>
                <a:lnTo>
                  <a:pt x="3772" y="92"/>
                </a:lnTo>
                <a:lnTo>
                  <a:pt x="3772" y="92"/>
                </a:lnTo>
                <a:lnTo>
                  <a:pt x="3760" y="90"/>
                </a:lnTo>
                <a:lnTo>
                  <a:pt x="3746" y="88"/>
                </a:lnTo>
                <a:lnTo>
                  <a:pt x="3732" y="88"/>
                </a:lnTo>
                <a:lnTo>
                  <a:pt x="3720" y="88"/>
                </a:lnTo>
                <a:lnTo>
                  <a:pt x="3720" y="88"/>
                </a:lnTo>
                <a:lnTo>
                  <a:pt x="3728" y="86"/>
                </a:lnTo>
                <a:lnTo>
                  <a:pt x="3736" y="84"/>
                </a:lnTo>
                <a:lnTo>
                  <a:pt x="3744" y="82"/>
                </a:lnTo>
                <a:lnTo>
                  <a:pt x="3746" y="80"/>
                </a:lnTo>
                <a:lnTo>
                  <a:pt x="3748" y="76"/>
                </a:lnTo>
                <a:lnTo>
                  <a:pt x="3748" y="76"/>
                </a:lnTo>
                <a:lnTo>
                  <a:pt x="3748" y="72"/>
                </a:lnTo>
                <a:lnTo>
                  <a:pt x="3748" y="68"/>
                </a:lnTo>
                <a:lnTo>
                  <a:pt x="3748" y="68"/>
                </a:lnTo>
                <a:lnTo>
                  <a:pt x="3756" y="60"/>
                </a:lnTo>
                <a:lnTo>
                  <a:pt x="3758" y="56"/>
                </a:lnTo>
                <a:lnTo>
                  <a:pt x="3764" y="52"/>
                </a:lnTo>
                <a:lnTo>
                  <a:pt x="3764" y="52"/>
                </a:lnTo>
                <a:lnTo>
                  <a:pt x="3764" y="52"/>
                </a:lnTo>
                <a:lnTo>
                  <a:pt x="3764" y="52"/>
                </a:lnTo>
                <a:lnTo>
                  <a:pt x="3760" y="50"/>
                </a:lnTo>
                <a:lnTo>
                  <a:pt x="3758" y="48"/>
                </a:lnTo>
                <a:lnTo>
                  <a:pt x="3758" y="48"/>
                </a:lnTo>
                <a:lnTo>
                  <a:pt x="3758" y="44"/>
                </a:lnTo>
                <a:lnTo>
                  <a:pt x="3754" y="40"/>
                </a:lnTo>
                <a:lnTo>
                  <a:pt x="3748" y="34"/>
                </a:lnTo>
                <a:lnTo>
                  <a:pt x="3748" y="34"/>
                </a:lnTo>
                <a:lnTo>
                  <a:pt x="3744" y="30"/>
                </a:lnTo>
                <a:lnTo>
                  <a:pt x="3738" y="28"/>
                </a:lnTo>
                <a:lnTo>
                  <a:pt x="3738" y="28"/>
                </a:lnTo>
                <a:lnTo>
                  <a:pt x="3730" y="26"/>
                </a:lnTo>
                <a:lnTo>
                  <a:pt x="3724" y="28"/>
                </a:lnTo>
                <a:lnTo>
                  <a:pt x="3716" y="30"/>
                </a:lnTo>
                <a:lnTo>
                  <a:pt x="3708" y="32"/>
                </a:lnTo>
                <a:lnTo>
                  <a:pt x="3708" y="32"/>
                </a:lnTo>
                <a:lnTo>
                  <a:pt x="3704" y="36"/>
                </a:lnTo>
                <a:lnTo>
                  <a:pt x="3700" y="38"/>
                </a:lnTo>
                <a:lnTo>
                  <a:pt x="3686" y="44"/>
                </a:lnTo>
                <a:lnTo>
                  <a:pt x="3686" y="44"/>
                </a:lnTo>
                <a:lnTo>
                  <a:pt x="3692" y="60"/>
                </a:lnTo>
                <a:lnTo>
                  <a:pt x="3692" y="60"/>
                </a:lnTo>
                <a:lnTo>
                  <a:pt x="3688" y="66"/>
                </a:lnTo>
                <a:lnTo>
                  <a:pt x="3688" y="66"/>
                </a:lnTo>
                <a:lnTo>
                  <a:pt x="3676" y="66"/>
                </a:lnTo>
                <a:lnTo>
                  <a:pt x="3668" y="66"/>
                </a:lnTo>
                <a:lnTo>
                  <a:pt x="3668" y="66"/>
                </a:lnTo>
                <a:lnTo>
                  <a:pt x="3660" y="62"/>
                </a:lnTo>
                <a:lnTo>
                  <a:pt x="3654" y="62"/>
                </a:lnTo>
                <a:lnTo>
                  <a:pt x="3646" y="64"/>
                </a:lnTo>
                <a:lnTo>
                  <a:pt x="3638" y="66"/>
                </a:lnTo>
                <a:lnTo>
                  <a:pt x="3638" y="66"/>
                </a:lnTo>
                <a:lnTo>
                  <a:pt x="3632" y="68"/>
                </a:lnTo>
                <a:lnTo>
                  <a:pt x="3632" y="68"/>
                </a:lnTo>
                <a:lnTo>
                  <a:pt x="3622" y="72"/>
                </a:lnTo>
                <a:lnTo>
                  <a:pt x="3620" y="74"/>
                </a:lnTo>
                <a:lnTo>
                  <a:pt x="3618" y="78"/>
                </a:lnTo>
                <a:lnTo>
                  <a:pt x="3618" y="78"/>
                </a:lnTo>
                <a:lnTo>
                  <a:pt x="3616" y="84"/>
                </a:lnTo>
                <a:lnTo>
                  <a:pt x="3618" y="88"/>
                </a:lnTo>
                <a:lnTo>
                  <a:pt x="3622" y="90"/>
                </a:lnTo>
                <a:lnTo>
                  <a:pt x="3622" y="90"/>
                </a:lnTo>
                <a:lnTo>
                  <a:pt x="3624" y="94"/>
                </a:lnTo>
                <a:lnTo>
                  <a:pt x="3624" y="96"/>
                </a:lnTo>
                <a:lnTo>
                  <a:pt x="3624" y="96"/>
                </a:lnTo>
                <a:lnTo>
                  <a:pt x="3620" y="100"/>
                </a:lnTo>
                <a:lnTo>
                  <a:pt x="3618" y="104"/>
                </a:lnTo>
                <a:lnTo>
                  <a:pt x="3618" y="104"/>
                </a:lnTo>
                <a:lnTo>
                  <a:pt x="3618" y="110"/>
                </a:lnTo>
                <a:lnTo>
                  <a:pt x="3618" y="118"/>
                </a:lnTo>
                <a:lnTo>
                  <a:pt x="3618" y="118"/>
                </a:lnTo>
                <a:lnTo>
                  <a:pt x="3612" y="118"/>
                </a:lnTo>
                <a:lnTo>
                  <a:pt x="3606" y="116"/>
                </a:lnTo>
                <a:lnTo>
                  <a:pt x="3606" y="116"/>
                </a:lnTo>
                <a:lnTo>
                  <a:pt x="3598" y="114"/>
                </a:lnTo>
                <a:lnTo>
                  <a:pt x="3590" y="116"/>
                </a:lnTo>
                <a:lnTo>
                  <a:pt x="3590" y="116"/>
                </a:lnTo>
                <a:lnTo>
                  <a:pt x="3578" y="114"/>
                </a:lnTo>
                <a:lnTo>
                  <a:pt x="3578" y="114"/>
                </a:lnTo>
                <a:lnTo>
                  <a:pt x="3552" y="106"/>
                </a:lnTo>
                <a:lnTo>
                  <a:pt x="3552" y="106"/>
                </a:lnTo>
                <a:lnTo>
                  <a:pt x="3546" y="106"/>
                </a:lnTo>
                <a:lnTo>
                  <a:pt x="3546" y="106"/>
                </a:lnTo>
                <a:lnTo>
                  <a:pt x="3522" y="108"/>
                </a:lnTo>
                <a:lnTo>
                  <a:pt x="3522" y="108"/>
                </a:lnTo>
                <a:lnTo>
                  <a:pt x="3516" y="108"/>
                </a:lnTo>
                <a:lnTo>
                  <a:pt x="3516" y="108"/>
                </a:lnTo>
                <a:lnTo>
                  <a:pt x="3510" y="112"/>
                </a:lnTo>
                <a:lnTo>
                  <a:pt x="3504" y="112"/>
                </a:lnTo>
                <a:lnTo>
                  <a:pt x="3490" y="112"/>
                </a:lnTo>
                <a:lnTo>
                  <a:pt x="3490" y="112"/>
                </a:lnTo>
                <a:lnTo>
                  <a:pt x="3484" y="112"/>
                </a:lnTo>
                <a:lnTo>
                  <a:pt x="3480" y="112"/>
                </a:lnTo>
                <a:lnTo>
                  <a:pt x="3476" y="114"/>
                </a:lnTo>
                <a:lnTo>
                  <a:pt x="3476" y="114"/>
                </a:lnTo>
                <a:lnTo>
                  <a:pt x="3482" y="114"/>
                </a:lnTo>
                <a:lnTo>
                  <a:pt x="3486" y="116"/>
                </a:lnTo>
                <a:lnTo>
                  <a:pt x="3492" y="116"/>
                </a:lnTo>
                <a:lnTo>
                  <a:pt x="3496" y="118"/>
                </a:lnTo>
                <a:lnTo>
                  <a:pt x="3496" y="118"/>
                </a:lnTo>
                <a:lnTo>
                  <a:pt x="3500" y="122"/>
                </a:lnTo>
                <a:lnTo>
                  <a:pt x="3500" y="124"/>
                </a:lnTo>
                <a:lnTo>
                  <a:pt x="3500" y="132"/>
                </a:lnTo>
                <a:lnTo>
                  <a:pt x="3500" y="132"/>
                </a:lnTo>
                <a:lnTo>
                  <a:pt x="3510" y="136"/>
                </a:lnTo>
                <a:lnTo>
                  <a:pt x="3520" y="138"/>
                </a:lnTo>
                <a:lnTo>
                  <a:pt x="3520" y="138"/>
                </a:lnTo>
                <a:lnTo>
                  <a:pt x="3530" y="136"/>
                </a:lnTo>
                <a:lnTo>
                  <a:pt x="3538" y="134"/>
                </a:lnTo>
                <a:lnTo>
                  <a:pt x="3538" y="134"/>
                </a:lnTo>
                <a:lnTo>
                  <a:pt x="3550" y="130"/>
                </a:lnTo>
                <a:lnTo>
                  <a:pt x="3550" y="130"/>
                </a:lnTo>
                <a:lnTo>
                  <a:pt x="3558" y="128"/>
                </a:lnTo>
                <a:lnTo>
                  <a:pt x="3564" y="130"/>
                </a:lnTo>
                <a:lnTo>
                  <a:pt x="3568" y="134"/>
                </a:lnTo>
                <a:lnTo>
                  <a:pt x="3568" y="138"/>
                </a:lnTo>
                <a:lnTo>
                  <a:pt x="3568" y="138"/>
                </a:lnTo>
                <a:lnTo>
                  <a:pt x="3570" y="142"/>
                </a:lnTo>
                <a:lnTo>
                  <a:pt x="3570" y="142"/>
                </a:lnTo>
                <a:lnTo>
                  <a:pt x="3582" y="146"/>
                </a:lnTo>
                <a:lnTo>
                  <a:pt x="3596" y="148"/>
                </a:lnTo>
                <a:lnTo>
                  <a:pt x="3624" y="154"/>
                </a:lnTo>
                <a:lnTo>
                  <a:pt x="3624" y="154"/>
                </a:lnTo>
                <a:lnTo>
                  <a:pt x="3618" y="154"/>
                </a:lnTo>
                <a:lnTo>
                  <a:pt x="3618" y="158"/>
                </a:lnTo>
                <a:lnTo>
                  <a:pt x="3618" y="162"/>
                </a:lnTo>
                <a:lnTo>
                  <a:pt x="3618" y="162"/>
                </a:lnTo>
                <a:lnTo>
                  <a:pt x="3618" y="166"/>
                </a:lnTo>
                <a:lnTo>
                  <a:pt x="3618" y="166"/>
                </a:lnTo>
                <a:lnTo>
                  <a:pt x="3612" y="168"/>
                </a:lnTo>
                <a:lnTo>
                  <a:pt x="3612" y="168"/>
                </a:lnTo>
                <a:lnTo>
                  <a:pt x="3598" y="168"/>
                </a:lnTo>
                <a:lnTo>
                  <a:pt x="3598" y="168"/>
                </a:lnTo>
                <a:lnTo>
                  <a:pt x="3596" y="172"/>
                </a:lnTo>
                <a:lnTo>
                  <a:pt x="3592" y="174"/>
                </a:lnTo>
                <a:lnTo>
                  <a:pt x="3592" y="174"/>
                </a:lnTo>
                <a:lnTo>
                  <a:pt x="3576" y="178"/>
                </a:lnTo>
                <a:lnTo>
                  <a:pt x="3558" y="178"/>
                </a:lnTo>
                <a:lnTo>
                  <a:pt x="3558" y="178"/>
                </a:lnTo>
                <a:lnTo>
                  <a:pt x="3550" y="164"/>
                </a:lnTo>
                <a:lnTo>
                  <a:pt x="3550" y="164"/>
                </a:lnTo>
                <a:lnTo>
                  <a:pt x="3546" y="162"/>
                </a:lnTo>
                <a:lnTo>
                  <a:pt x="3546" y="162"/>
                </a:lnTo>
                <a:lnTo>
                  <a:pt x="3534" y="162"/>
                </a:lnTo>
                <a:lnTo>
                  <a:pt x="3522" y="158"/>
                </a:lnTo>
                <a:lnTo>
                  <a:pt x="3522" y="158"/>
                </a:lnTo>
                <a:lnTo>
                  <a:pt x="3518" y="158"/>
                </a:lnTo>
                <a:lnTo>
                  <a:pt x="3512" y="158"/>
                </a:lnTo>
                <a:lnTo>
                  <a:pt x="3512" y="158"/>
                </a:lnTo>
                <a:lnTo>
                  <a:pt x="3504" y="160"/>
                </a:lnTo>
                <a:lnTo>
                  <a:pt x="3498" y="160"/>
                </a:lnTo>
                <a:lnTo>
                  <a:pt x="3492" y="160"/>
                </a:lnTo>
                <a:lnTo>
                  <a:pt x="3492" y="160"/>
                </a:lnTo>
                <a:lnTo>
                  <a:pt x="3488" y="160"/>
                </a:lnTo>
                <a:lnTo>
                  <a:pt x="3482" y="162"/>
                </a:lnTo>
                <a:lnTo>
                  <a:pt x="3482" y="162"/>
                </a:lnTo>
                <a:lnTo>
                  <a:pt x="3470" y="164"/>
                </a:lnTo>
                <a:lnTo>
                  <a:pt x="3470" y="164"/>
                </a:lnTo>
                <a:lnTo>
                  <a:pt x="3462" y="166"/>
                </a:lnTo>
                <a:lnTo>
                  <a:pt x="3458" y="168"/>
                </a:lnTo>
                <a:lnTo>
                  <a:pt x="3456" y="170"/>
                </a:lnTo>
                <a:lnTo>
                  <a:pt x="3456" y="170"/>
                </a:lnTo>
                <a:lnTo>
                  <a:pt x="3452" y="172"/>
                </a:lnTo>
                <a:lnTo>
                  <a:pt x="3446" y="174"/>
                </a:lnTo>
                <a:lnTo>
                  <a:pt x="3446" y="174"/>
                </a:lnTo>
                <a:lnTo>
                  <a:pt x="3440" y="176"/>
                </a:lnTo>
                <a:lnTo>
                  <a:pt x="3436" y="172"/>
                </a:lnTo>
                <a:lnTo>
                  <a:pt x="3436" y="172"/>
                </a:lnTo>
                <a:lnTo>
                  <a:pt x="3430" y="170"/>
                </a:lnTo>
                <a:lnTo>
                  <a:pt x="3426" y="168"/>
                </a:lnTo>
                <a:lnTo>
                  <a:pt x="3420" y="168"/>
                </a:lnTo>
                <a:lnTo>
                  <a:pt x="3414" y="172"/>
                </a:lnTo>
                <a:lnTo>
                  <a:pt x="3414" y="172"/>
                </a:lnTo>
                <a:lnTo>
                  <a:pt x="3420" y="176"/>
                </a:lnTo>
                <a:lnTo>
                  <a:pt x="3424" y="178"/>
                </a:lnTo>
                <a:lnTo>
                  <a:pt x="3428" y="180"/>
                </a:lnTo>
                <a:lnTo>
                  <a:pt x="3428" y="180"/>
                </a:lnTo>
                <a:lnTo>
                  <a:pt x="3450" y="180"/>
                </a:lnTo>
                <a:lnTo>
                  <a:pt x="3450" y="180"/>
                </a:lnTo>
                <a:lnTo>
                  <a:pt x="3456" y="182"/>
                </a:lnTo>
                <a:lnTo>
                  <a:pt x="3464" y="186"/>
                </a:lnTo>
                <a:lnTo>
                  <a:pt x="3468" y="190"/>
                </a:lnTo>
                <a:lnTo>
                  <a:pt x="3470" y="194"/>
                </a:lnTo>
                <a:lnTo>
                  <a:pt x="3470" y="194"/>
                </a:lnTo>
                <a:lnTo>
                  <a:pt x="3470" y="200"/>
                </a:lnTo>
                <a:lnTo>
                  <a:pt x="3472" y="202"/>
                </a:lnTo>
                <a:lnTo>
                  <a:pt x="3476" y="204"/>
                </a:lnTo>
                <a:lnTo>
                  <a:pt x="3476" y="204"/>
                </a:lnTo>
                <a:lnTo>
                  <a:pt x="3478" y="206"/>
                </a:lnTo>
                <a:lnTo>
                  <a:pt x="3478" y="206"/>
                </a:lnTo>
                <a:lnTo>
                  <a:pt x="3476" y="210"/>
                </a:lnTo>
                <a:lnTo>
                  <a:pt x="3478" y="212"/>
                </a:lnTo>
                <a:lnTo>
                  <a:pt x="3480" y="216"/>
                </a:lnTo>
                <a:lnTo>
                  <a:pt x="3480" y="218"/>
                </a:lnTo>
                <a:lnTo>
                  <a:pt x="3480" y="218"/>
                </a:lnTo>
                <a:lnTo>
                  <a:pt x="3488" y="222"/>
                </a:lnTo>
                <a:lnTo>
                  <a:pt x="3498" y="222"/>
                </a:lnTo>
                <a:lnTo>
                  <a:pt x="3518" y="222"/>
                </a:lnTo>
                <a:lnTo>
                  <a:pt x="3518" y="222"/>
                </a:lnTo>
                <a:lnTo>
                  <a:pt x="3522" y="220"/>
                </a:lnTo>
                <a:lnTo>
                  <a:pt x="3522" y="220"/>
                </a:lnTo>
                <a:lnTo>
                  <a:pt x="3528" y="214"/>
                </a:lnTo>
                <a:lnTo>
                  <a:pt x="3528" y="212"/>
                </a:lnTo>
                <a:lnTo>
                  <a:pt x="3528" y="208"/>
                </a:lnTo>
                <a:lnTo>
                  <a:pt x="3528" y="208"/>
                </a:lnTo>
                <a:lnTo>
                  <a:pt x="3526" y="206"/>
                </a:lnTo>
                <a:lnTo>
                  <a:pt x="3528" y="204"/>
                </a:lnTo>
                <a:lnTo>
                  <a:pt x="3530" y="202"/>
                </a:lnTo>
                <a:lnTo>
                  <a:pt x="3530" y="202"/>
                </a:lnTo>
                <a:lnTo>
                  <a:pt x="3534" y="204"/>
                </a:lnTo>
                <a:lnTo>
                  <a:pt x="3538" y="206"/>
                </a:lnTo>
                <a:lnTo>
                  <a:pt x="3542" y="206"/>
                </a:lnTo>
                <a:lnTo>
                  <a:pt x="3546" y="204"/>
                </a:lnTo>
                <a:lnTo>
                  <a:pt x="3546" y="204"/>
                </a:lnTo>
                <a:lnTo>
                  <a:pt x="3538" y="198"/>
                </a:lnTo>
                <a:lnTo>
                  <a:pt x="3538" y="198"/>
                </a:lnTo>
                <a:lnTo>
                  <a:pt x="3542" y="194"/>
                </a:lnTo>
                <a:lnTo>
                  <a:pt x="3542" y="194"/>
                </a:lnTo>
                <a:lnTo>
                  <a:pt x="3548" y="192"/>
                </a:lnTo>
                <a:lnTo>
                  <a:pt x="3554" y="190"/>
                </a:lnTo>
                <a:lnTo>
                  <a:pt x="3560" y="192"/>
                </a:lnTo>
                <a:lnTo>
                  <a:pt x="3568" y="194"/>
                </a:lnTo>
                <a:lnTo>
                  <a:pt x="3568" y="194"/>
                </a:lnTo>
                <a:lnTo>
                  <a:pt x="3578" y="198"/>
                </a:lnTo>
                <a:lnTo>
                  <a:pt x="3582" y="200"/>
                </a:lnTo>
                <a:lnTo>
                  <a:pt x="3590" y="198"/>
                </a:lnTo>
                <a:lnTo>
                  <a:pt x="3590" y="198"/>
                </a:lnTo>
                <a:lnTo>
                  <a:pt x="3592" y="200"/>
                </a:lnTo>
                <a:lnTo>
                  <a:pt x="3594" y="200"/>
                </a:lnTo>
                <a:lnTo>
                  <a:pt x="3594" y="202"/>
                </a:lnTo>
                <a:lnTo>
                  <a:pt x="3594" y="206"/>
                </a:lnTo>
                <a:lnTo>
                  <a:pt x="3594" y="206"/>
                </a:lnTo>
                <a:lnTo>
                  <a:pt x="3622" y="202"/>
                </a:lnTo>
                <a:lnTo>
                  <a:pt x="3622" y="202"/>
                </a:lnTo>
                <a:lnTo>
                  <a:pt x="3618" y="208"/>
                </a:lnTo>
                <a:lnTo>
                  <a:pt x="3618" y="208"/>
                </a:lnTo>
                <a:lnTo>
                  <a:pt x="3628" y="222"/>
                </a:lnTo>
                <a:lnTo>
                  <a:pt x="3628" y="222"/>
                </a:lnTo>
                <a:lnTo>
                  <a:pt x="3618" y="224"/>
                </a:lnTo>
                <a:lnTo>
                  <a:pt x="3614" y="228"/>
                </a:lnTo>
                <a:lnTo>
                  <a:pt x="3614" y="230"/>
                </a:lnTo>
                <a:lnTo>
                  <a:pt x="3614" y="230"/>
                </a:lnTo>
                <a:lnTo>
                  <a:pt x="3632" y="234"/>
                </a:lnTo>
                <a:lnTo>
                  <a:pt x="3632" y="234"/>
                </a:lnTo>
                <a:lnTo>
                  <a:pt x="3636" y="230"/>
                </a:lnTo>
                <a:lnTo>
                  <a:pt x="3636" y="226"/>
                </a:lnTo>
                <a:lnTo>
                  <a:pt x="3636" y="226"/>
                </a:lnTo>
                <a:lnTo>
                  <a:pt x="3638" y="224"/>
                </a:lnTo>
                <a:lnTo>
                  <a:pt x="3640" y="222"/>
                </a:lnTo>
                <a:lnTo>
                  <a:pt x="3646" y="222"/>
                </a:lnTo>
                <a:lnTo>
                  <a:pt x="3646" y="222"/>
                </a:lnTo>
                <a:lnTo>
                  <a:pt x="3654" y="218"/>
                </a:lnTo>
                <a:lnTo>
                  <a:pt x="3662" y="214"/>
                </a:lnTo>
                <a:lnTo>
                  <a:pt x="3662" y="214"/>
                </a:lnTo>
                <a:lnTo>
                  <a:pt x="3672" y="208"/>
                </a:lnTo>
                <a:lnTo>
                  <a:pt x="3672" y="208"/>
                </a:lnTo>
                <a:lnTo>
                  <a:pt x="3676" y="212"/>
                </a:lnTo>
                <a:lnTo>
                  <a:pt x="3674" y="216"/>
                </a:lnTo>
                <a:lnTo>
                  <a:pt x="3666" y="218"/>
                </a:lnTo>
                <a:lnTo>
                  <a:pt x="3666" y="218"/>
                </a:lnTo>
                <a:lnTo>
                  <a:pt x="3682" y="232"/>
                </a:lnTo>
                <a:lnTo>
                  <a:pt x="3682" y="232"/>
                </a:lnTo>
                <a:lnTo>
                  <a:pt x="3670" y="234"/>
                </a:lnTo>
                <a:lnTo>
                  <a:pt x="3670" y="234"/>
                </a:lnTo>
                <a:lnTo>
                  <a:pt x="3670" y="238"/>
                </a:lnTo>
                <a:lnTo>
                  <a:pt x="3670" y="240"/>
                </a:lnTo>
                <a:lnTo>
                  <a:pt x="3670" y="240"/>
                </a:lnTo>
                <a:lnTo>
                  <a:pt x="3666" y="244"/>
                </a:lnTo>
                <a:lnTo>
                  <a:pt x="3662" y="244"/>
                </a:lnTo>
                <a:lnTo>
                  <a:pt x="3662" y="244"/>
                </a:lnTo>
                <a:lnTo>
                  <a:pt x="3662" y="248"/>
                </a:lnTo>
                <a:lnTo>
                  <a:pt x="3662" y="252"/>
                </a:lnTo>
                <a:lnTo>
                  <a:pt x="3660" y="254"/>
                </a:lnTo>
                <a:lnTo>
                  <a:pt x="3654" y="256"/>
                </a:lnTo>
                <a:lnTo>
                  <a:pt x="3654" y="256"/>
                </a:lnTo>
                <a:lnTo>
                  <a:pt x="3648" y="256"/>
                </a:lnTo>
                <a:lnTo>
                  <a:pt x="3646" y="258"/>
                </a:lnTo>
                <a:lnTo>
                  <a:pt x="3644" y="260"/>
                </a:lnTo>
                <a:lnTo>
                  <a:pt x="3644" y="260"/>
                </a:lnTo>
                <a:lnTo>
                  <a:pt x="3642" y="264"/>
                </a:lnTo>
                <a:lnTo>
                  <a:pt x="3638" y="268"/>
                </a:lnTo>
                <a:lnTo>
                  <a:pt x="3638" y="268"/>
                </a:lnTo>
                <a:lnTo>
                  <a:pt x="3630" y="266"/>
                </a:lnTo>
                <a:lnTo>
                  <a:pt x="3630" y="266"/>
                </a:lnTo>
                <a:lnTo>
                  <a:pt x="3634" y="262"/>
                </a:lnTo>
                <a:lnTo>
                  <a:pt x="3634" y="262"/>
                </a:lnTo>
                <a:lnTo>
                  <a:pt x="3622" y="252"/>
                </a:lnTo>
                <a:lnTo>
                  <a:pt x="3622" y="252"/>
                </a:lnTo>
                <a:lnTo>
                  <a:pt x="3612" y="256"/>
                </a:lnTo>
                <a:lnTo>
                  <a:pt x="3604" y="260"/>
                </a:lnTo>
                <a:lnTo>
                  <a:pt x="3604" y="260"/>
                </a:lnTo>
                <a:lnTo>
                  <a:pt x="3600" y="262"/>
                </a:lnTo>
                <a:lnTo>
                  <a:pt x="3598" y="262"/>
                </a:lnTo>
                <a:lnTo>
                  <a:pt x="3590" y="260"/>
                </a:lnTo>
                <a:lnTo>
                  <a:pt x="3590" y="260"/>
                </a:lnTo>
                <a:lnTo>
                  <a:pt x="3590" y="258"/>
                </a:lnTo>
                <a:lnTo>
                  <a:pt x="3590" y="256"/>
                </a:lnTo>
                <a:lnTo>
                  <a:pt x="3596" y="254"/>
                </a:lnTo>
                <a:lnTo>
                  <a:pt x="3600" y="252"/>
                </a:lnTo>
                <a:lnTo>
                  <a:pt x="3602" y="250"/>
                </a:lnTo>
                <a:lnTo>
                  <a:pt x="3602" y="248"/>
                </a:lnTo>
                <a:lnTo>
                  <a:pt x="3602" y="248"/>
                </a:lnTo>
                <a:lnTo>
                  <a:pt x="3592" y="248"/>
                </a:lnTo>
                <a:lnTo>
                  <a:pt x="3586" y="250"/>
                </a:lnTo>
                <a:lnTo>
                  <a:pt x="3582" y="252"/>
                </a:lnTo>
                <a:lnTo>
                  <a:pt x="3582" y="252"/>
                </a:lnTo>
                <a:lnTo>
                  <a:pt x="3576" y="256"/>
                </a:lnTo>
                <a:lnTo>
                  <a:pt x="3576" y="256"/>
                </a:lnTo>
                <a:lnTo>
                  <a:pt x="3548" y="264"/>
                </a:lnTo>
                <a:lnTo>
                  <a:pt x="3548" y="264"/>
                </a:lnTo>
                <a:lnTo>
                  <a:pt x="3540" y="266"/>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26" y="264"/>
                </a:lnTo>
                <a:lnTo>
                  <a:pt x="3526" y="264"/>
                </a:lnTo>
                <a:lnTo>
                  <a:pt x="3526" y="260"/>
                </a:lnTo>
                <a:lnTo>
                  <a:pt x="3524" y="256"/>
                </a:lnTo>
                <a:lnTo>
                  <a:pt x="3516" y="254"/>
                </a:lnTo>
                <a:lnTo>
                  <a:pt x="3516" y="254"/>
                </a:lnTo>
                <a:lnTo>
                  <a:pt x="3506" y="250"/>
                </a:lnTo>
                <a:lnTo>
                  <a:pt x="3506" y="250"/>
                </a:lnTo>
                <a:lnTo>
                  <a:pt x="3508" y="248"/>
                </a:lnTo>
                <a:lnTo>
                  <a:pt x="3508" y="248"/>
                </a:lnTo>
                <a:lnTo>
                  <a:pt x="3544" y="244"/>
                </a:lnTo>
                <a:lnTo>
                  <a:pt x="3544" y="244"/>
                </a:lnTo>
                <a:lnTo>
                  <a:pt x="3548" y="238"/>
                </a:lnTo>
                <a:lnTo>
                  <a:pt x="3548" y="238"/>
                </a:lnTo>
                <a:lnTo>
                  <a:pt x="3532" y="236"/>
                </a:lnTo>
                <a:lnTo>
                  <a:pt x="3532" y="236"/>
                </a:lnTo>
                <a:lnTo>
                  <a:pt x="3526" y="234"/>
                </a:lnTo>
                <a:lnTo>
                  <a:pt x="3524" y="234"/>
                </a:lnTo>
                <a:lnTo>
                  <a:pt x="3522" y="232"/>
                </a:lnTo>
                <a:lnTo>
                  <a:pt x="3522" y="232"/>
                </a:lnTo>
                <a:lnTo>
                  <a:pt x="3518" y="228"/>
                </a:lnTo>
                <a:lnTo>
                  <a:pt x="3514" y="226"/>
                </a:lnTo>
                <a:lnTo>
                  <a:pt x="3502" y="226"/>
                </a:lnTo>
                <a:lnTo>
                  <a:pt x="3502" y="226"/>
                </a:lnTo>
                <a:lnTo>
                  <a:pt x="3502" y="230"/>
                </a:lnTo>
                <a:lnTo>
                  <a:pt x="3498" y="232"/>
                </a:lnTo>
                <a:lnTo>
                  <a:pt x="3492" y="234"/>
                </a:lnTo>
                <a:lnTo>
                  <a:pt x="3486" y="234"/>
                </a:lnTo>
                <a:lnTo>
                  <a:pt x="3486" y="234"/>
                </a:lnTo>
                <a:lnTo>
                  <a:pt x="3474" y="234"/>
                </a:lnTo>
                <a:lnTo>
                  <a:pt x="3474" y="234"/>
                </a:lnTo>
                <a:lnTo>
                  <a:pt x="3476" y="242"/>
                </a:lnTo>
                <a:lnTo>
                  <a:pt x="3476" y="242"/>
                </a:lnTo>
                <a:lnTo>
                  <a:pt x="3472" y="244"/>
                </a:lnTo>
                <a:lnTo>
                  <a:pt x="3472" y="244"/>
                </a:lnTo>
                <a:lnTo>
                  <a:pt x="3466" y="244"/>
                </a:lnTo>
                <a:lnTo>
                  <a:pt x="3466" y="244"/>
                </a:lnTo>
                <a:lnTo>
                  <a:pt x="3468" y="248"/>
                </a:lnTo>
                <a:lnTo>
                  <a:pt x="3472" y="252"/>
                </a:lnTo>
                <a:lnTo>
                  <a:pt x="3476" y="256"/>
                </a:lnTo>
                <a:lnTo>
                  <a:pt x="3476" y="260"/>
                </a:lnTo>
                <a:lnTo>
                  <a:pt x="3476" y="260"/>
                </a:lnTo>
                <a:lnTo>
                  <a:pt x="3488" y="262"/>
                </a:lnTo>
                <a:lnTo>
                  <a:pt x="3488" y="262"/>
                </a:lnTo>
                <a:lnTo>
                  <a:pt x="3472" y="266"/>
                </a:lnTo>
                <a:lnTo>
                  <a:pt x="3460" y="266"/>
                </a:lnTo>
                <a:lnTo>
                  <a:pt x="3452" y="264"/>
                </a:lnTo>
                <a:lnTo>
                  <a:pt x="3446" y="260"/>
                </a:lnTo>
                <a:lnTo>
                  <a:pt x="3446" y="260"/>
                </a:lnTo>
                <a:lnTo>
                  <a:pt x="3456" y="258"/>
                </a:lnTo>
                <a:lnTo>
                  <a:pt x="3456" y="258"/>
                </a:lnTo>
                <a:lnTo>
                  <a:pt x="3430" y="258"/>
                </a:lnTo>
                <a:lnTo>
                  <a:pt x="3430" y="258"/>
                </a:lnTo>
                <a:lnTo>
                  <a:pt x="3406" y="262"/>
                </a:lnTo>
                <a:lnTo>
                  <a:pt x="3406" y="262"/>
                </a:lnTo>
                <a:lnTo>
                  <a:pt x="3404" y="264"/>
                </a:lnTo>
                <a:lnTo>
                  <a:pt x="3402" y="266"/>
                </a:lnTo>
                <a:lnTo>
                  <a:pt x="3402" y="266"/>
                </a:lnTo>
                <a:lnTo>
                  <a:pt x="3412" y="272"/>
                </a:lnTo>
                <a:lnTo>
                  <a:pt x="3412" y="272"/>
                </a:lnTo>
                <a:lnTo>
                  <a:pt x="3422" y="270"/>
                </a:lnTo>
                <a:lnTo>
                  <a:pt x="3422" y="270"/>
                </a:lnTo>
                <a:lnTo>
                  <a:pt x="3428" y="270"/>
                </a:lnTo>
                <a:lnTo>
                  <a:pt x="3432" y="272"/>
                </a:lnTo>
                <a:lnTo>
                  <a:pt x="3432" y="272"/>
                </a:lnTo>
                <a:lnTo>
                  <a:pt x="3436" y="270"/>
                </a:lnTo>
                <a:lnTo>
                  <a:pt x="3440" y="266"/>
                </a:lnTo>
                <a:lnTo>
                  <a:pt x="3440" y="266"/>
                </a:lnTo>
                <a:lnTo>
                  <a:pt x="3446" y="268"/>
                </a:lnTo>
                <a:lnTo>
                  <a:pt x="3448" y="270"/>
                </a:lnTo>
                <a:lnTo>
                  <a:pt x="3450" y="272"/>
                </a:lnTo>
                <a:lnTo>
                  <a:pt x="3450" y="272"/>
                </a:lnTo>
                <a:lnTo>
                  <a:pt x="3432" y="278"/>
                </a:lnTo>
                <a:lnTo>
                  <a:pt x="3422" y="280"/>
                </a:lnTo>
                <a:lnTo>
                  <a:pt x="3412" y="280"/>
                </a:lnTo>
                <a:lnTo>
                  <a:pt x="3412" y="280"/>
                </a:lnTo>
                <a:lnTo>
                  <a:pt x="3406" y="282"/>
                </a:lnTo>
                <a:lnTo>
                  <a:pt x="3402" y="282"/>
                </a:lnTo>
                <a:lnTo>
                  <a:pt x="3398" y="286"/>
                </a:lnTo>
                <a:lnTo>
                  <a:pt x="3396" y="288"/>
                </a:lnTo>
                <a:lnTo>
                  <a:pt x="3396" y="288"/>
                </a:lnTo>
                <a:lnTo>
                  <a:pt x="3394" y="292"/>
                </a:lnTo>
                <a:lnTo>
                  <a:pt x="3394" y="292"/>
                </a:lnTo>
                <a:lnTo>
                  <a:pt x="3394" y="294"/>
                </a:lnTo>
                <a:lnTo>
                  <a:pt x="3394" y="294"/>
                </a:lnTo>
                <a:lnTo>
                  <a:pt x="3380" y="296"/>
                </a:lnTo>
                <a:lnTo>
                  <a:pt x="3374" y="298"/>
                </a:lnTo>
                <a:lnTo>
                  <a:pt x="3370" y="304"/>
                </a:lnTo>
                <a:lnTo>
                  <a:pt x="3370" y="304"/>
                </a:lnTo>
                <a:lnTo>
                  <a:pt x="3368" y="304"/>
                </a:lnTo>
                <a:lnTo>
                  <a:pt x="3364" y="306"/>
                </a:lnTo>
                <a:lnTo>
                  <a:pt x="3364" y="306"/>
                </a:lnTo>
                <a:lnTo>
                  <a:pt x="3342" y="302"/>
                </a:lnTo>
                <a:lnTo>
                  <a:pt x="3342" y="302"/>
                </a:lnTo>
                <a:lnTo>
                  <a:pt x="3336" y="300"/>
                </a:lnTo>
                <a:lnTo>
                  <a:pt x="3336" y="296"/>
                </a:lnTo>
                <a:lnTo>
                  <a:pt x="3336" y="294"/>
                </a:lnTo>
                <a:lnTo>
                  <a:pt x="3336" y="294"/>
                </a:lnTo>
                <a:lnTo>
                  <a:pt x="3362" y="296"/>
                </a:lnTo>
                <a:lnTo>
                  <a:pt x="3362" y="296"/>
                </a:lnTo>
                <a:lnTo>
                  <a:pt x="3362" y="294"/>
                </a:lnTo>
                <a:lnTo>
                  <a:pt x="3362" y="294"/>
                </a:lnTo>
                <a:lnTo>
                  <a:pt x="3332" y="284"/>
                </a:lnTo>
                <a:lnTo>
                  <a:pt x="3332" y="284"/>
                </a:lnTo>
                <a:lnTo>
                  <a:pt x="3332" y="284"/>
                </a:lnTo>
                <a:lnTo>
                  <a:pt x="3332" y="284"/>
                </a:lnTo>
                <a:lnTo>
                  <a:pt x="3338" y="282"/>
                </a:lnTo>
                <a:lnTo>
                  <a:pt x="3338" y="282"/>
                </a:lnTo>
                <a:lnTo>
                  <a:pt x="3340" y="280"/>
                </a:lnTo>
                <a:lnTo>
                  <a:pt x="3338" y="276"/>
                </a:lnTo>
                <a:lnTo>
                  <a:pt x="3338" y="276"/>
                </a:lnTo>
                <a:lnTo>
                  <a:pt x="3326" y="268"/>
                </a:lnTo>
                <a:lnTo>
                  <a:pt x="3326" y="268"/>
                </a:lnTo>
                <a:lnTo>
                  <a:pt x="3324" y="268"/>
                </a:lnTo>
                <a:lnTo>
                  <a:pt x="3324" y="268"/>
                </a:lnTo>
                <a:lnTo>
                  <a:pt x="3318" y="270"/>
                </a:lnTo>
                <a:lnTo>
                  <a:pt x="3318" y="270"/>
                </a:lnTo>
                <a:lnTo>
                  <a:pt x="3292" y="262"/>
                </a:lnTo>
                <a:lnTo>
                  <a:pt x="3292" y="262"/>
                </a:lnTo>
                <a:lnTo>
                  <a:pt x="3294" y="252"/>
                </a:lnTo>
                <a:lnTo>
                  <a:pt x="3294" y="252"/>
                </a:lnTo>
                <a:lnTo>
                  <a:pt x="3274" y="250"/>
                </a:lnTo>
                <a:lnTo>
                  <a:pt x="3274" y="250"/>
                </a:lnTo>
                <a:lnTo>
                  <a:pt x="3274" y="244"/>
                </a:lnTo>
                <a:lnTo>
                  <a:pt x="3272" y="240"/>
                </a:lnTo>
                <a:lnTo>
                  <a:pt x="3268" y="236"/>
                </a:lnTo>
                <a:lnTo>
                  <a:pt x="3260" y="232"/>
                </a:lnTo>
                <a:lnTo>
                  <a:pt x="3260" y="232"/>
                </a:lnTo>
                <a:lnTo>
                  <a:pt x="3254" y="230"/>
                </a:lnTo>
                <a:lnTo>
                  <a:pt x="3254" y="230"/>
                </a:lnTo>
                <a:lnTo>
                  <a:pt x="3258" y="226"/>
                </a:lnTo>
                <a:lnTo>
                  <a:pt x="3262" y="224"/>
                </a:lnTo>
                <a:lnTo>
                  <a:pt x="3262" y="224"/>
                </a:lnTo>
                <a:lnTo>
                  <a:pt x="3268" y="226"/>
                </a:lnTo>
                <a:lnTo>
                  <a:pt x="3274" y="226"/>
                </a:lnTo>
                <a:lnTo>
                  <a:pt x="3284" y="224"/>
                </a:lnTo>
                <a:lnTo>
                  <a:pt x="3284" y="224"/>
                </a:lnTo>
                <a:lnTo>
                  <a:pt x="3274" y="220"/>
                </a:lnTo>
                <a:lnTo>
                  <a:pt x="3270" y="220"/>
                </a:lnTo>
                <a:lnTo>
                  <a:pt x="3266" y="222"/>
                </a:lnTo>
                <a:lnTo>
                  <a:pt x="3266" y="222"/>
                </a:lnTo>
                <a:lnTo>
                  <a:pt x="3258" y="222"/>
                </a:lnTo>
                <a:lnTo>
                  <a:pt x="3258" y="222"/>
                </a:lnTo>
                <a:lnTo>
                  <a:pt x="3214" y="220"/>
                </a:lnTo>
                <a:lnTo>
                  <a:pt x="3214" y="220"/>
                </a:lnTo>
                <a:lnTo>
                  <a:pt x="3206" y="220"/>
                </a:lnTo>
                <a:lnTo>
                  <a:pt x="3198" y="216"/>
                </a:lnTo>
                <a:lnTo>
                  <a:pt x="3198" y="216"/>
                </a:lnTo>
                <a:lnTo>
                  <a:pt x="3206" y="208"/>
                </a:lnTo>
                <a:lnTo>
                  <a:pt x="3206" y="208"/>
                </a:lnTo>
                <a:lnTo>
                  <a:pt x="3194" y="206"/>
                </a:lnTo>
                <a:lnTo>
                  <a:pt x="3194" y="206"/>
                </a:lnTo>
                <a:lnTo>
                  <a:pt x="3188" y="206"/>
                </a:lnTo>
                <a:lnTo>
                  <a:pt x="3184" y="202"/>
                </a:lnTo>
                <a:lnTo>
                  <a:pt x="3184" y="202"/>
                </a:lnTo>
                <a:lnTo>
                  <a:pt x="3180" y="200"/>
                </a:lnTo>
                <a:lnTo>
                  <a:pt x="3174" y="198"/>
                </a:lnTo>
                <a:lnTo>
                  <a:pt x="3174" y="198"/>
                </a:lnTo>
                <a:lnTo>
                  <a:pt x="3160" y="196"/>
                </a:lnTo>
                <a:lnTo>
                  <a:pt x="3160" y="196"/>
                </a:lnTo>
                <a:lnTo>
                  <a:pt x="3156" y="198"/>
                </a:lnTo>
                <a:lnTo>
                  <a:pt x="3154" y="202"/>
                </a:lnTo>
                <a:lnTo>
                  <a:pt x="3154" y="202"/>
                </a:lnTo>
                <a:lnTo>
                  <a:pt x="3162" y="200"/>
                </a:lnTo>
                <a:lnTo>
                  <a:pt x="3168" y="200"/>
                </a:lnTo>
                <a:lnTo>
                  <a:pt x="3180" y="204"/>
                </a:lnTo>
                <a:lnTo>
                  <a:pt x="3180" y="204"/>
                </a:lnTo>
                <a:lnTo>
                  <a:pt x="3176" y="206"/>
                </a:lnTo>
                <a:lnTo>
                  <a:pt x="3170" y="206"/>
                </a:lnTo>
                <a:lnTo>
                  <a:pt x="3170" y="206"/>
                </a:lnTo>
                <a:lnTo>
                  <a:pt x="3164" y="204"/>
                </a:lnTo>
                <a:lnTo>
                  <a:pt x="3156" y="206"/>
                </a:lnTo>
                <a:lnTo>
                  <a:pt x="3146" y="210"/>
                </a:lnTo>
                <a:lnTo>
                  <a:pt x="3146" y="210"/>
                </a:lnTo>
                <a:lnTo>
                  <a:pt x="3138" y="212"/>
                </a:lnTo>
                <a:lnTo>
                  <a:pt x="3130" y="214"/>
                </a:lnTo>
                <a:lnTo>
                  <a:pt x="3124" y="212"/>
                </a:lnTo>
                <a:lnTo>
                  <a:pt x="3116" y="208"/>
                </a:lnTo>
                <a:lnTo>
                  <a:pt x="3116" y="208"/>
                </a:lnTo>
                <a:lnTo>
                  <a:pt x="3120" y="204"/>
                </a:lnTo>
                <a:lnTo>
                  <a:pt x="3126" y="202"/>
                </a:lnTo>
                <a:lnTo>
                  <a:pt x="3130" y="200"/>
                </a:lnTo>
                <a:lnTo>
                  <a:pt x="3134" y="198"/>
                </a:lnTo>
                <a:lnTo>
                  <a:pt x="3134" y="198"/>
                </a:lnTo>
                <a:lnTo>
                  <a:pt x="3130" y="194"/>
                </a:lnTo>
                <a:lnTo>
                  <a:pt x="3126" y="190"/>
                </a:lnTo>
                <a:lnTo>
                  <a:pt x="3120" y="188"/>
                </a:lnTo>
                <a:lnTo>
                  <a:pt x="3116" y="186"/>
                </a:lnTo>
                <a:lnTo>
                  <a:pt x="3116" y="186"/>
                </a:lnTo>
                <a:lnTo>
                  <a:pt x="3112" y="184"/>
                </a:lnTo>
                <a:lnTo>
                  <a:pt x="3108" y="184"/>
                </a:lnTo>
                <a:lnTo>
                  <a:pt x="3108" y="184"/>
                </a:lnTo>
                <a:lnTo>
                  <a:pt x="3104" y="180"/>
                </a:lnTo>
                <a:lnTo>
                  <a:pt x="3104" y="180"/>
                </a:lnTo>
                <a:lnTo>
                  <a:pt x="3094" y="184"/>
                </a:lnTo>
                <a:lnTo>
                  <a:pt x="3094" y="184"/>
                </a:lnTo>
                <a:lnTo>
                  <a:pt x="3090" y="184"/>
                </a:lnTo>
                <a:lnTo>
                  <a:pt x="3090" y="184"/>
                </a:lnTo>
                <a:lnTo>
                  <a:pt x="3088" y="182"/>
                </a:lnTo>
                <a:lnTo>
                  <a:pt x="3090" y="182"/>
                </a:lnTo>
                <a:lnTo>
                  <a:pt x="3090" y="182"/>
                </a:lnTo>
                <a:lnTo>
                  <a:pt x="3092" y="180"/>
                </a:lnTo>
                <a:lnTo>
                  <a:pt x="3094" y="176"/>
                </a:lnTo>
                <a:lnTo>
                  <a:pt x="3094" y="172"/>
                </a:lnTo>
                <a:lnTo>
                  <a:pt x="3094" y="172"/>
                </a:lnTo>
                <a:lnTo>
                  <a:pt x="3096" y="168"/>
                </a:lnTo>
                <a:lnTo>
                  <a:pt x="3098" y="164"/>
                </a:lnTo>
                <a:lnTo>
                  <a:pt x="3104" y="162"/>
                </a:lnTo>
                <a:lnTo>
                  <a:pt x="3110" y="162"/>
                </a:lnTo>
                <a:lnTo>
                  <a:pt x="3110" y="162"/>
                </a:lnTo>
                <a:lnTo>
                  <a:pt x="3118" y="162"/>
                </a:lnTo>
                <a:lnTo>
                  <a:pt x="3118" y="162"/>
                </a:lnTo>
                <a:lnTo>
                  <a:pt x="3130" y="162"/>
                </a:lnTo>
                <a:lnTo>
                  <a:pt x="3134" y="160"/>
                </a:lnTo>
                <a:lnTo>
                  <a:pt x="3138" y="156"/>
                </a:lnTo>
                <a:lnTo>
                  <a:pt x="3138" y="156"/>
                </a:lnTo>
                <a:lnTo>
                  <a:pt x="3132" y="154"/>
                </a:lnTo>
                <a:lnTo>
                  <a:pt x="3132" y="154"/>
                </a:lnTo>
                <a:lnTo>
                  <a:pt x="3122" y="152"/>
                </a:lnTo>
                <a:lnTo>
                  <a:pt x="3114" y="148"/>
                </a:lnTo>
                <a:lnTo>
                  <a:pt x="3114" y="148"/>
                </a:lnTo>
                <a:lnTo>
                  <a:pt x="3108" y="148"/>
                </a:lnTo>
                <a:lnTo>
                  <a:pt x="3108" y="148"/>
                </a:lnTo>
                <a:lnTo>
                  <a:pt x="3088" y="152"/>
                </a:lnTo>
                <a:lnTo>
                  <a:pt x="3088" y="152"/>
                </a:lnTo>
                <a:lnTo>
                  <a:pt x="3082" y="152"/>
                </a:lnTo>
                <a:lnTo>
                  <a:pt x="3082" y="152"/>
                </a:lnTo>
                <a:lnTo>
                  <a:pt x="3052" y="146"/>
                </a:lnTo>
                <a:lnTo>
                  <a:pt x="3052" y="146"/>
                </a:lnTo>
                <a:lnTo>
                  <a:pt x="3046" y="144"/>
                </a:lnTo>
                <a:lnTo>
                  <a:pt x="3042" y="142"/>
                </a:lnTo>
                <a:lnTo>
                  <a:pt x="3042" y="142"/>
                </a:lnTo>
                <a:lnTo>
                  <a:pt x="3042" y="138"/>
                </a:lnTo>
                <a:lnTo>
                  <a:pt x="3042" y="136"/>
                </a:lnTo>
                <a:lnTo>
                  <a:pt x="3042" y="136"/>
                </a:lnTo>
                <a:lnTo>
                  <a:pt x="3036" y="134"/>
                </a:lnTo>
                <a:lnTo>
                  <a:pt x="3034" y="134"/>
                </a:lnTo>
                <a:lnTo>
                  <a:pt x="3032" y="136"/>
                </a:lnTo>
                <a:lnTo>
                  <a:pt x="3030" y="140"/>
                </a:lnTo>
                <a:lnTo>
                  <a:pt x="3030" y="140"/>
                </a:lnTo>
                <a:lnTo>
                  <a:pt x="3028" y="148"/>
                </a:lnTo>
                <a:lnTo>
                  <a:pt x="3028" y="148"/>
                </a:lnTo>
                <a:lnTo>
                  <a:pt x="3014" y="148"/>
                </a:lnTo>
                <a:lnTo>
                  <a:pt x="3014" y="148"/>
                </a:lnTo>
                <a:lnTo>
                  <a:pt x="2998" y="150"/>
                </a:lnTo>
                <a:lnTo>
                  <a:pt x="2998" y="150"/>
                </a:lnTo>
                <a:lnTo>
                  <a:pt x="2998" y="150"/>
                </a:lnTo>
                <a:lnTo>
                  <a:pt x="2998" y="150"/>
                </a:lnTo>
                <a:lnTo>
                  <a:pt x="2998" y="166"/>
                </a:lnTo>
                <a:lnTo>
                  <a:pt x="2998" y="166"/>
                </a:lnTo>
                <a:lnTo>
                  <a:pt x="2994" y="166"/>
                </a:lnTo>
                <a:lnTo>
                  <a:pt x="2994" y="166"/>
                </a:lnTo>
                <a:lnTo>
                  <a:pt x="2992" y="160"/>
                </a:lnTo>
                <a:lnTo>
                  <a:pt x="2992" y="160"/>
                </a:lnTo>
                <a:lnTo>
                  <a:pt x="2994" y="166"/>
                </a:lnTo>
                <a:lnTo>
                  <a:pt x="2994" y="166"/>
                </a:lnTo>
                <a:lnTo>
                  <a:pt x="2988" y="164"/>
                </a:lnTo>
                <a:lnTo>
                  <a:pt x="2984" y="158"/>
                </a:lnTo>
                <a:lnTo>
                  <a:pt x="2978" y="144"/>
                </a:lnTo>
                <a:lnTo>
                  <a:pt x="2972" y="124"/>
                </a:lnTo>
                <a:lnTo>
                  <a:pt x="2968" y="104"/>
                </a:lnTo>
                <a:lnTo>
                  <a:pt x="2968" y="104"/>
                </a:lnTo>
                <a:lnTo>
                  <a:pt x="2962" y="104"/>
                </a:lnTo>
                <a:lnTo>
                  <a:pt x="2956" y="102"/>
                </a:lnTo>
                <a:lnTo>
                  <a:pt x="2956" y="102"/>
                </a:lnTo>
                <a:lnTo>
                  <a:pt x="2952" y="102"/>
                </a:lnTo>
                <a:lnTo>
                  <a:pt x="2952" y="102"/>
                </a:lnTo>
                <a:lnTo>
                  <a:pt x="2938" y="104"/>
                </a:lnTo>
                <a:lnTo>
                  <a:pt x="2932" y="106"/>
                </a:lnTo>
                <a:lnTo>
                  <a:pt x="2926" y="110"/>
                </a:lnTo>
                <a:lnTo>
                  <a:pt x="2926" y="110"/>
                </a:lnTo>
                <a:lnTo>
                  <a:pt x="2924" y="110"/>
                </a:lnTo>
                <a:lnTo>
                  <a:pt x="2918" y="112"/>
                </a:lnTo>
                <a:lnTo>
                  <a:pt x="2918" y="112"/>
                </a:lnTo>
                <a:lnTo>
                  <a:pt x="2910" y="114"/>
                </a:lnTo>
                <a:lnTo>
                  <a:pt x="2910" y="114"/>
                </a:lnTo>
                <a:lnTo>
                  <a:pt x="2916" y="116"/>
                </a:lnTo>
                <a:lnTo>
                  <a:pt x="2916" y="116"/>
                </a:lnTo>
                <a:lnTo>
                  <a:pt x="2930" y="116"/>
                </a:lnTo>
                <a:lnTo>
                  <a:pt x="2930" y="116"/>
                </a:lnTo>
                <a:lnTo>
                  <a:pt x="2938" y="116"/>
                </a:lnTo>
                <a:lnTo>
                  <a:pt x="2938" y="118"/>
                </a:lnTo>
                <a:lnTo>
                  <a:pt x="2940" y="122"/>
                </a:lnTo>
                <a:lnTo>
                  <a:pt x="2940" y="122"/>
                </a:lnTo>
                <a:lnTo>
                  <a:pt x="2942" y="126"/>
                </a:lnTo>
                <a:lnTo>
                  <a:pt x="2942" y="126"/>
                </a:lnTo>
                <a:lnTo>
                  <a:pt x="2950" y="134"/>
                </a:lnTo>
                <a:lnTo>
                  <a:pt x="2950" y="134"/>
                </a:lnTo>
                <a:lnTo>
                  <a:pt x="2934" y="140"/>
                </a:lnTo>
                <a:lnTo>
                  <a:pt x="2918" y="142"/>
                </a:lnTo>
                <a:lnTo>
                  <a:pt x="2918" y="142"/>
                </a:lnTo>
                <a:lnTo>
                  <a:pt x="2910" y="142"/>
                </a:lnTo>
                <a:lnTo>
                  <a:pt x="2910" y="142"/>
                </a:lnTo>
                <a:lnTo>
                  <a:pt x="2890" y="146"/>
                </a:lnTo>
                <a:lnTo>
                  <a:pt x="2880" y="148"/>
                </a:lnTo>
                <a:lnTo>
                  <a:pt x="2868" y="146"/>
                </a:lnTo>
                <a:lnTo>
                  <a:pt x="2868" y="146"/>
                </a:lnTo>
                <a:lnTo>
                  <a:pt x="2862" y="144"/>
                </a:lnTo>
                <a:lnTo>
                  <a:pt x="2854" y="146"/>
                </a:lnTo>
                <a:lnTo>
                  <a:pt x="2854" y="146"/>
                </a:lnTo>
                <a:lnTo>
                  <a:pt x="2830" y="148"/>
                </a:lnTo>
                <a:lnTo>
                  <a:pt x="2830" y="148"/>
                </a:lnTo>
                <a:lnTo>
                  <a:pt x="2834" y="152"/>
                </a:lnTo>
                <a:lnTo>
                  <a:pt x="2840" y="154"/>
                </a:lnTo>
                <a:lnTo>
                  <a:pt x="2840" y="154"/>
                </a:lnTo>
                <a:lnTo>
                  <a:pt x="2856" y="158"/>
                </a:lnTo>
                <a:lnTo>
                  <a:pt x="2866" y="158"/>
                </a:lnTo>
                <a:lnTo>
                  <a:pt x="2874" y="156"/>
                </a:lnTo>
                <a:lnTo>
                  <a:pt x="2874" y="156"/>
                </a:lnTo>
                <a:lnTo>
                  <a:pt x="2880" y="154"/>
                </a:lnTo>
                <a:lnTo>
                  <a:pt x="2884" y="154"/>
                </a:lnTo>
                <a:lnTo>
                  <a:pt x="2888" y="156"/>
                </a:lnTo>
                <a:lnTo>
                  <a:pt x="2892" y="160"/>
                </a:lnTo>
                <a:lnTo>
                  <a:pt x="2892" y="160"/>
                </a:lnTo>
                <a:lnTo>
                  <a:pt x="2886" y="162"/>
                </a:lnTo>
                <a:lnTo>
                  <a:pt x="2882" y="166"/>
                </a:lnTo>
                <a:lnTo>
                  <a:pt x="2882" y="166"/>
                </a:lnTo>
                <a:lnTo>
                  <a:pt x="2878" y="170"/>
                </a:lnTo>
                <a:lnTo>
                  <a:pt x="2872" y="170"/>
                </a:lnTo>
                <a:lnTo>
                  <a:pt x="2872" y="170"/>
                </a:lnTo>
                <a:lnTo>
                  <a:pt x="2864" y="172"/>
                </a:lnTo>
                <a:lnTo>
                  <a:pt x="2864" y="172"/>
                </a:lnTo>
                <a:lnTo>
                  <a:pt x="2876" y="178"/>
                </a:lnTo>
                <a:lnTo>
                  <a:pt x="2876" y="178"/>
                </a:lnTo>
                <a:lnTo>
                  <a:pt x="2876" y="178"/>
                </a:lnTo>
                <a:lnTo>
                  <a:pt x="2876" y="178"/>
                </a:lnTo>
                <a:lnTo>
                  <a:pt x="2876" y="178"/>
                </a:lnTo>
                <a:lnTo>
                  <a:pt x="2876" y="178"/>
                </a:lnTo>
                <a:lnTo>
                  <a:pt x="2862" y="182"/>
                </a:lnTo>
                <a:lnTo>
                  <a:pt x="2862" y="182"/>
                </a:lnTo>
                <a:lnTo>
                  <a:pt x="2860" y="184"/>
                </a:lnTo>
                <a:lnTo>
                  <a:pt x="2860" y="188"/>
                </a:lnTo>
                <a:lnTo>
                  <a:pt x="2862" y="194"/>
                </a:lnTo>
                <a:lnTo>
                  <a:pt x="2868" y="206"/>
                </a:lnTo>
                <a:lnTo>
                  <a:pt x="2868" y="206"/>
                </a:lnTo>
                <a:lnTo>
                  <a:pt x="2858" y="208"/>
                </a:lnTo>
                <a:lnTo>
                  <a:pt x="2848" y="208"/>
                </a:lnTo>
                <a:lnTo>
                  <a:pt x="2848" y="208"/>
                </a:lnTo>
                <a:lnTo>
                  <a:pt x="2842" y="208"/>
                </a:lnTo>
                <a:lnTo>
                  <a:pt x="2838" y="204"/>
                </a:lnTo>
                <a:lnTo>
                  <a:pt x="2832" y="198"/>
                </a:lnTo>
                <a:lnTo>
                  <a:pt x="2832" y="198"/>
                </a:lnTo>
                <a:lnTo>
                  <a:pt x="2826" y="200"/>
                </a:lnTo>
                <a:lnTo>
                  <a:pt x="2822" y="202"/>
                </a:lnTo>
                <a:lnTo>
                  <a:pt x="2818" y="206"/>
                </a:lnTo>
                <a:lnTo>
                  <a:pt x="2816" y="212"/>
                </a:lnTo>
                <a:lnTo>
                  <a:pt x="2816" y="212"/>
                </a:lnTo>
                <a:lnTo>
                  <a:pt x="2830" y="218"/>
                </a:lnTo>
                <a:lnTo>
                  <a:pt x="2830" y="218"/>
                </a:lnTo>
                <a:lnTo>
                  <a:pt x="2818" y="226"/>
                </a:lnTo>
                <a:lnTo>
                  <a:pt x="2818" y="226"/>
                </a:lnTo>
                <a:lnTo>
                  <a:pt x="2824" y="228"/>
                </a:lnTo>
                <a:lnTo>
                  <a:pt x="2828" y="230"/>
                </a:lnTo>
                <a:lnTo>
                  <a:pt x="2830" y="232"/>
                </a:lnTo>
                <a:lnTo>
                  <a:pt x="2832" y="236"/>
                </a:lnTo>
                <a:lnTo>
                  <a:pt x="2832" y="236"/>
                </a:lnTo>
                <a:lnTo>
                  <a:pt x="2830" y="240"/>
                </a:lnTo>
                <a:lnTo>
                  <a:pt x="2828" y="242"/>
                </a:lnTo>
                <a:lnTo>
                  <a:pt x="2820" y="246"/>
                </a:lnTo>
                <a:lnTo>
                  <a:pt x="2820" y="246"/>
                </a:lnTo>
                <a:lnTo>
                  <a:pt x="2824" y="248"/>
                </a:lnTo>
                <a:lnTo>
                  <a:pt x="2826" y="252"/>
                </a:lnTo>
                <a:lnTo>
                  <a:pt x="2826" y="252"/>
                </a:lnTo>
                <a:lnTo>
                  <a:pt x="2826" y="254"/>
                </a:lnTo>
                <a:lnTo>
                  <a:pt x="2824" y="256"/>
                </a:lnTo>
                <a:lnTo>
                  <a:pt x="2824" y="256"/>
                </a:lnTo>
                <a:lnTo>
                  <a:pt x="2812" y="260"/>
                </a:lnTo>
                <a:lnTo>
                  <a:pt x="2802" y="266"/>
                </a:lnTo>
                <a:lnTo>
                  <a:pt x="2802" y="266"/>
                </a:lnTo>
                <a:lnTo>
                  <a:pt x="2800" y="268"/>
                </a:lnTo>
                <a:lnTo>
                  <a:pt x="2796" y="268"/>
                </a:lnTo>
                <a:lnTo>
                  <a:pt x="2792" y="266"/>
                </a:lnTo>
                <a:lnTo>
                  <a:pt x="2790" y="264"/>
                </a:lnTo>
                <a:lnTo>
                  <a:pt x="2790" y="264"/>
                </a:lnTo>
                <a:lnTo>
                  <a:pt x="2796" y="258"/>
                </a:lnTo>
                <a:lnTo>
                  <a:pt x="2796" y="258"/>
                </a:lnTo>
                <a:lnTo>
                  <a:pt x="2788" y="252"/>
                </a:lnTo>
                <a:lnTo>
                  <a:pt x="2788" y="252"/>
                </a:lnTo>
                <a:lnTo>
                  <a:pt x="2782" y="248"/>
                </a:lnTo>
                <a:lnTo>
                  <a:pt x="2780" y="244"/>
                </a:lnTo>
                <a:lnTo>
                  <a:pt x="2784" y="242"/>
                </a:lnTo>
                <a:lnTo>
                  <a:pt x="2790" y="238"/>
                </a:lnTo>
                <a:lnTo>
                  <a:pt x="2790" y="238"/>
                </a:lnTo>
                <a:lnTo>
                  <a:pt x="2786" y="234"/>
                </a:lnTo>
                <a:lnTo>
                  <a:pt x="2782" y="234"/>
                </a:lnTo>
                <a:lnTo>
                  <a:pt x="2778" y="234"/>
                </a:lnTo>
                <a:lnTo>
                  <a:pt x="2774" y="234"/>
                </a:lnTo>
                <a:lnTo>
                  <a:pt x="2774" y="234"/>
                </a:lnTo>
                <a:lnTo>
                  <a:pt x="2772" y="228"/>
                </a:lnTo>
                <a:lnTo>
                  <a:pt x="2768" y="222"/>
                </a:lnTo>
                <a:lnTo>
                  <a:pt x="2764" y="216"/>
                </a:lnTo>
                <a:lnTo>
                  <a:pt x="2756" y="214"/>
                </a:lnTo>
                <a:lnTo>
                  <a:pt x="2756" y="214"/>
                </a:lnTo>
                <a:lnTo>
                  <a:pt x="2752" y="212"/>
                </a:lnTo>
                <a:lnTo>
                  <a:pt x="2752" y="212"/>
                </a:lnTo>
                <a:lnTo>
                  <a:pt x="2750" y="208"/>
                </a:lnTo>
                <a:lnTo>
                  <a:pt x="2748" y="206"/>
                </a:lnTo>
                <a:lnTo>
                  <a:pt x="2742" y="204"/>
                </a:lnTo>
                <a:lnTo>
                  <a:pt x="2742" y="204"/>
                </a:lnTo>
                <a:lnTo>
                  <a:pt x="2732" y="200"/>
                </a:lnTo>
                <a:lnTo>
                  <a:pt x="2728" y="196"/>
                </a:lnTo>
                <a:lnTo>
                  <a:pt x="2724" y="194"/>
                </a:lnTo>
                <a:lnTo>
                  <a:pt x="2724" y="194"/>
                </a:lnTo>
                <a:lnTo>
                  <a:pt x="2718" y="192"/>
                </a:lnTo>
                <a:lnTo>
                  <a:pt x="2718" y="192"/>
                </a:lnTo>
                <a:lnTo>
                  <a:pt x="2702" y="194"/>
                </a:lnTo>
                <a:lnTo>
                  <a:pt x="2702" y="194"/>
                </a:lnTo>
                <a:lnTo>
                  <a:pt x="2686" y="200"/>
                </a:lnTo>
                <a:lnTo>
                  <a:pt x="2686" y="200"/>
                </a:lnTo>
                <a:lnTo>
                  <a:pt x="2688" y="196"/>
                </a:lnTo>
                <a:lnTo>
                  <a:pt x="2688" y="192"/>
                </a:lnTo>
                <a:lnTo>
                  <a:pt x="2688" y="188"/>
                </a:lnTo>
                <a:lnTo>
                  <a:pt x="2692" y="184"/>
                </a:lnTo>
                <a:lnTo>
                  <a:pt x="2692" y="184"/>
                </a:lnTo>
                <a:lnTo>
                  <a:pt x="2698" y="178"/>
                </a:lnTo>
                <a:lnTo>
                  <a:pt x="2698" y="174"/>
                </a:lnTo>
                <a:lnTo>
                  <a:pt x="2700" y="170"/>
                </a:lnTo>
                <a:lnTo>
                  <a:pt x="2700" y="170"/>
                </a:lnTo>
                <a:lnTo>
                  <a:pt x="2700" y="170"/>
                </a:lnTo>
                <a:lnTo>
                  <a:pt x="2700" y="170"/>
                </a:lnTo>
                <a:lnTo>
                  <a:pt x="2700" y="170"/>
                </a:lnTo>
                <a:lnTo>
                  <a:pt x="2700" y="170"/>
                </a:lnTo>
                <a:lnTo>
                  <a:pt x="2700" y="170"/>
                </a:lnTo>
                <a:lnTo>
                  <a:pt x="2700" y="170"/>
                </a:lnTo>
                <a:lnTo>
                  <a:pt x="2700" y="170"/>
                </a:lnTo>
                <a:lnTo>
                  <a:pt x="2700" y="170"/>
                </a:lnTo>
                <a:lnTo>
                  <a:pt x="2700" y="170"/>
                </a:lnTo>
                <a:lnTo>
                  <a:pt x="2700" y="170"/>
                </a:lnTo>
                <a:lnTo>
                  <a:pt x="2700" y="170"/>
                </a:lnTo>
                <a:lnTo>
                  <a:pt x="2700" y="170"/>
                </a:lnTo>
                <a:lnTo>
                  <a:pt x="2714" y="178"/>
                </a:lnTo>
                <a:lnTo>
                  <a:pt x="2714" y="178"/>
                </a:lnTo>
                <a:lnTo>
                  <a:pt x="2716" y="174"/>
                </a:lnTo>
                <a:lnTo>
                  <a:pt x="2716" y="172"/>
                </a:lnTo>
                <a:lnTo>
                  <a:pt x="2714" y="170"/>
                </a:lnTo>
                <a:lnTo>
                  <a:pt x="2714" y="166"/>
                </a:lnTo>
                <a:lnTo>
                  <a:pt x="2696" y="166"/>
                </a:lnTo>
                <a:lnTo>
                  <a:pt x="2696" y="166"/>
                </a:lnTo>
                <a:lnTo>
                  <a:pt x="2696" y="166"/>
                </a:lnTo>
                <a:lnTo>
                  <a:pt x="2696" y="166"/>
                </a:lnTo>
                <a:lnTo>
                  <a:pt x="2696" y="166"/>
                </a:lnTo>
                <a:lnTo>
                  <a:pt x="2696" y="166"/>
                </a:lnTo>
                <a:lnTo>
                  <a:pt x="2696" y="166"/>
                </a:lnTo>
                <a:lnTo>
                  <a:pt x="2696" y="166"/>
                </a:lnTo>
                <a:lnTo>
                  <a:pt x="2696" y="166"/>
                </a:lnTo>
                <a:lnTo>
                  <a:pt x="2696" y="166"/>
                </a:lnTo>
                <a:lnTo>
                  <a:pt x="2696" y="166"/>
                </a:lnTo>
                <a:lnTo>
                  <a:pt x="2696" y="164"/>
                </a:lnTo>
                <a:lnTo>
                  <a:pt x="2696" y="164"/>
                </a:lnTo>
                <a:lnTo>
                  <a:pt x="2692" y="160"/>
                </a:lnTo>
                <a:lnTo>
                  <a:pt x="2692" y="158"/>
                </a:lnTo>
                <a:lnTo>
                  <a:pt x="2698" y="154"/>
                </a:lnTo>
                <a:lnTo>
                  <a:pt x="2698" y="154"/>
                </a:lnTo>
                <a:lnTo>
                  <a:pt x="2706" y="150"/>
                </a:lnTo>
                <a:lnTo>
                  <a:pt x="2714" y="144"/>
                </a:lnTo>
                <a:lnTo>
                  <a:pt x="2714" y="144"/>
                </a:lnTo>
                <a:lnTo>
                  <a:pt x="2706" y="144"/>
                </a:lnTo>
                <a:lnTo>
                  <a:pt x="2700" y="148"/>
                </a:lnTo>
                <a:lnTo>
                  <a:pt x="2700" y="148"/>
                </a:lnTo>
                <a:lnTo>
                  <a:pt x="2696" y="148"/>
                </a:lnTo>
                <a:lnTo>
                  <a:pt x="2692" y="146"/>
                </a:lnTo>
                <a:lnTo>
                  <a:pt x="2692" y="146"/>
                </a:lnTo>
                <a:lnTo>
                  <a:pt x="2698" y="140"/>
                </a:lnTo>
                <a:lnTo>
                  <a:pt x="2698" y="140"/>
                </a:lnTo>
                <a:lnTo>
                  <a:pt x="2694" y="138"/>
                </a:lnTo>
                <a:lnTo>
                  <a:pt x="2690" y="136"/>
                </a:lnTo>
                <a:lnTo>
                  <a:pt x="2690" y="136"/>
                </a:lnTo>
                <a:lnTo>
                  <a:pt x="2678" y="132"/>
                </a:lnTo>
                <a:lnTo>
                  <a:pt x="2670" y="128"/>
                </a:lnTo>
                <a:lnTo>
                  <a:pt x="2670" y="128"/>
                </a:lnTo>
                <a:lnTo>
                  <a:pt x="2664" y="124"/>
                </a:lnTo>
                <a:lnTo>
                  <a:pt x="2662" y="118"/>
                </a:lnTo>
                <a:lnTo>
                  <a:pt x="2662" y="114"/>
                </a:lnTo>
                <a:lnTo>
                  <a:pt x="2670" y="110"/>
                </a:lnTo>
                <a:lnTo>
                  <a:pt x="2670" y="110"/>
                </a:lnTo>
                <a:lnTo>
                  <a:pt x="2680" y="102"/>
                </a:lnTo>
                <a:lnTo>
                  <a:pt x="2680" y="102"/>
                </a:lnTo>
                <a:lnTo>
                  <a:pt x="2674" y="100"/>
                </a:lnTo>
                <a:lnTo>
                  <a:pt x="2670" y="98"/>
                </a:lnTo>
                <a:lnTo>
                  <a:pt x="2670" y="98"/>
                </a:lnTo>
                <a:lnTo>
                  <a:pt x="2650" y="96"/>
                </a:lnTo>
                <a:lnTo>
                  <a:pt x="2640" y="96"/>
                </a:lnTo>
                <a:lnTo>
                  <a:pt x="2630" y="98"/>
                </a:lnTo>
                <a:lnTo>
                  <a:pt x="2630" y="98"/>
                </a:lnTo>
                <a:lnTo>
                  <a:pt x="2622" y="94"/>
                </a:lnTo>
                <a:lnTo>
                  <a:pt x="2612" y="90"/>
                </a:lnTo>
                <a:lnTo>
                  <a:pt x="2612" y="90"/>
                </a:lnTo>
                <a:lnTo>
                  <a:pt x="2592" y="84"/>
                </a:lnTo>
                <a:lnTo>
                  <a:pt x="2576" y="76"/>
                </a:lnTo>
                <a:lnTo>
                  <a:pt x="2576" y="76"/>
                </a:lnTo>
                <a:lnTo>
                  <a:pt x="2572" y="74"/>
                </a:lnTo>
                <a:lnTo>
                  <a:pt x="2568" y="72"/>
                </a:lnTo>
                <a:lnTo>
                  <a:pt x="2568" y="72"/>
                </a:lnTo>
                <a:lnTo>
                  <a:pt x="2568" y="72"/>
                </a:lnTo>
                <a:lnTo>
                  <a:pt x="2566" y="82"/>
                </a:lnTo>
                <a:lnTo>
                  <a:pt x="2564" y="110"/>
                </a:lnTo>
                <a:lnTo>
                  <a:pt x="2558" y="138"/>
                </a:lnTo>
                <a:lnTo>
                  <a:pt x="2556" y="148"/>
                </a:lnTo>
                <a:lnTo>
                  <a:pt x="2554" y="150"/>
                </a:lnTo>
                <a:lnTo>
                  <a:pt x="2554" y="150"/>
                </a:lnTo>
                <a:lnTo>
                  <a:pt x="2554" y="150"/>
                </a:lnTo>
                <a:lnTo>
                  <a:pt x="2550" y="142"/>
                </a:lnTo>
                <a:lnTo>
                  <a:pt x="2550" y="142"/>
                </a:lnTo>
                <a:lnTo>
                  <a:pt x="2554" y="122"/>
                </a:lnTo>
                <a:lnTo>
                  <a:pt x="2562" y="86"/>
                </a:lnTo>
                <a:lnTo>
                  <a:pt x="2570" y="52"/>
                </a:lnTo>
                <a:lnTo>
                  <a:pt x="2574" y="40"/>
                </a:lnTo>
                <a:lnTo>
                  <a:pt x="2576" y="36"/>
                </a:lnTo>
                <a:lnTo>
                  <a:pt x="2578" y="36"/>
                </a:lnTo>
                <a:lnTo>
                  <a:pt x="2578" y="36"/>
                </a:lnTo>
                <a:lnTo>
                  <a:pt x="2572" y="30"/>
                </a:lnTo>
                <a:lnTo>
                  <a:pt x="2568" y="30"/>
                </a:lnTo>
                <a:lnTo>
                  <a:pt x="2564" y="30"/>
                </a:lnTo>
                <a:lnTo>
                  <a:pt x="2564" y="30"/>
                </a:lnTo>
                <a:lnTo>
                  <a:pt x="2568" y="10"/>
                </a:lnTo>
                <a:lnTo>
                  <a:pt x="2570" y="2"/>
                </a:lnTo>
                <a:lnTo>
                  <a:pt x="2572" y="0"/>
                </a:lnTo>
                <a:lnTo>
                  <a:pt x="2572" y="0"/>
                </a:lnTo>
                <a:lnTo>
                  <a:pt x="2570" y="0"/>
                </a:lnTo>
                <a:lnTo>
                  <a:pt x="2570" y="2"/>
                </a:lnTo>
                <a:lnTo>
                  <a:pt x="2568" y="8"/>
                </a:lnTo>
                <a:lnTo>
                  <a:pt x="2564" y="30"/>
                </a:lnTo>
                <a:lnTo>
                  <a:pt x="2564" y="30"/>
                </a:lnTo>
                <a:lnTo>
                  <a:pt x="2560" y="34"/>
                </a:lnTo>
                <a:lnTo>
                  <a:pt x="2556" y="44"/>
                </a:lnTo>
                <a:lnTo>
                  <a:pt x="2556" y="44"/>
                </a:lnTo>
                <a:lnTo>
                  <a:pt x="2558" y="6"/>
                </a:lnTo>
                <a:lnTo>
                  <a:pt x="2558" y="6"/>
                </a:lnTo>
                <a:lnTo>
                  <a:pt x="2556" y="46"/>
                </a:lnTo>
                <a:lnTo>
                  <a:pt x="2556" y="46"/>
                </a:lnTo>
                <a:lnTo>
                  <a:pt x="2552" y="68"/>
                </a:lnTo>
                <a:lnTo>
                  <a:pt x="2548" y="92"/>
                </a:lnTo>
                <a:lnTo>
                  <a:pt x="2544" y="110"/>
                </a:lnTo>
                <a:lnTo>
                  <a:pt x="2542" y="114"/>
                </a:lnTo>
                <a:lnTo>
                  <a:pt x="2540" y="116"/>
                </a:lnTo>
                <a:lnTo>
                  <a:pt x="2540" y="116"/>
                </a:lnTo>
                <a:lnTo>
                  <a:pt x="2536" y="112"/>
                </a:lnTo>
                <a:lnTo>
                  <a:pt x="2532" y="110"/>
                </a:lnTo>
                <a:lnTo>
                  <a:pt x="2526" y="108"/>
                </a:lnTo>
                <a:lnTo>
                  <a:pt x="2520" y="108"/>
                </a:lnTo>
                <a:lnTo>
                  <a:pt x="2520" y="108"/>
                </a:lnTo>
                <a:lnTo>
                  <a:pt x="2510" y="108"/>
                </a:lnTo>
                <a:lnTo>
                  <a:pt x="2510" y="108"/>
                </a:lnTo>
                <a:lnTo>
                  <a:pt x="2510" y="106"/>
                </a:lnTo>
                <a:lnTo>
                  <a:pt x="2510" y="106"/>
                </a:lnTo>
                <a:lnTo>
                  <a:pt x="2526" y="98"/>
                </a:lnTo>
                <a:lnTo>
                  <a:pt x="2526" y="98"/>
                </a:lnTo>
                <a:lnTo>
                  <a:pt x="2526" y="96"/>
                </a:lnTo>
                <a:lnTo>
                  <a:pt x="2526" y="94"/>
                </a:lnTo>
                <a:lnTo>
                  <a:pt x="2532" y="94"/>
                </a:lnTo>
                <a:lnTo>
                  <a:pt x="2536" y="92"/>
                </a:lnTo>
                <a:lnTo>
                  <a:pt x="2538" y="92"/>
                </a:lnTo>
                <a:lnTo>
                  <a:pt x="2538" y="90"/>
                </a:lnTo>
                <a:lnTo>
                  <a:pt x="2538" y="90"/>
                </a:lnTo>
                <a:lnTo>
                  <a:pt x="2530" y="86"/>
                </a:lnTo>
                <a:lnTo>
                  <a:pt x="2530" y="86"/>
                </a:lnTo>
                <a:lnTo>
                  <a:pt x="2522" y="82"/>
                </a:lnTo>
                <a:lnTo>
                  <a:pt x="2512" y="82"/>
                </a:lnTo>
                <a:lnTo>
                  <a:pt x="2512" y="82"/>
                </a:lnTo>
                <a:lnTo>
                  <a:pt x="2502" y="82"/>
                </a:lnTo>
                <a:lnTo>
                  <a:pt x="2502" y="82"/>
                </a:lnTo>
                <a:lnTo>
                  <a:pt x="2476" y="76"/>
                </a:lnTo>
                <a:lnTo>
                  <a:pt x="2476" y="76"/>
                </a:lnTo>
                <a:lnTo>
                  <a:pt x="2466" y="66"/>
                </a:lnTo>
                <a:lnTo>
                  <a:pt x="2466" y="66"/>
                </a:lnTo>
                <a:lnTo>
                  <a:pt x="2450" y="64"/>
                </a:lnTo>
                <a:lnTo>
                  <a:pt x="2450" y="64"/>
                </a:lnTo>
                <a:lnTo>
                  <a:pt x="2438" y="66"/>
                </a:lnTo>
                <a:lnTo>
                  <a:pt x="2438" y="66"/>
                </a:lnTo>
                <a:lnTo>
                  <a:pt x="2422" y="70"/>
                </a:lnTo>
                <a:lnTo>
                  <a:pt x="2422" y="70"/>
                </a:lnTo>
                <a:lnTo>
                  <a:pt x="2418" y="72"/>
                </a:lnTo>
                <a:lnTo>
                  <a:pt x="2414" y="72"/>
                </a:lnTo>
                <a:lnTo>
                  <a:pt x="2404" y="72"/>
                </a:lnTo>
                <a:lnTo>
                  <a:pt x="2404" y="72"/>
                </a:lnTo>
                <a:lnTo>
                  <a:pt x="2406" y="68"/>
                </a:lnTo>
                <a:lnTo>
                  <a:pt x="2410" y="64"/>
                </a:lnTo>
                <a:lnTo>
                  <a:pt x="2422" y="58"/>
                </a:lnTo>
                <a:lnTo>
                  <a:pt x="2422" y="58"/>
                </a:lnTo>
                <a:lnTo>
                  <a:pt x="2414" y="60"/>
                </a:lnTo>
                <a:lnTo>
                  <a:pt x="2406" y="60"/>
                </a:lnTo>
                <a:lnTo>
                  <a:pt x="2398" y="58"/>
                </a:lnTo>
                <a:lnTo>
                  <a:pt x="2390" y="54"/>
                </a:lnTo>
                <a:lnTo>
                  <a:pt x="2390" y="54"/>
                </a:lnTo>
                <a:lnTo>
                  <a:pt x="2404" y="44"/>
                </a:lnTo>
                <a:lnTo>
                  <a:pt x="2404" y="44"/>
                </a:lnTo>
                <a:lnTo>
                  <a:pt x="2384" y="42"/>
                </a:lnTo>
                <a:lnTo>
                  <a:pt x="2376" y="42"/>
                </a:lnTo>
                <a:lnTo>
                  <a:pt x="2366" y="44"/>
                </a:lnTo>
                <a:lnTo>
                  <a:pt x="2366" y="44"/>
                </a:lnTo>
                <a:lnTo>
                  <a:pt x="2366" y="46"/>
                </a:lnTo>
                <a:lnTo>
                  <a:pt x="2366" y="46"/>
                </a:lnTo>
                <a:lnTo>
                  <a:pt x="2364" y="52"/>
                </a:lnTo>
                <a:lnTo>
                  <a:pt x="2360" y="56"/>
                </a:lnTo>
                <a:lnTo>
                  <a:pt x="2354" y="58"/>
                </a:lnTo>
                <a:lnTo>
                  <a:pt x="2344" y="58"/>
                </a:lnTo>
                <a:lnTo>
                  <a:pt x="2344" y="58"/>
                </a:lnTo>
                <a:lnTo>
                  <a:pt x="2336" y="58"/>
                </a:lnTo>
                <a:lnTo>
                  <a:pt x="2336" y="58"/>
                </a:lnTo>
                <a:lnTo>
                  <a:pt x="2326" y="56"/>
                </a:lnTo>
                <a:lnTo>
                  <a:pt x="2316" y="56"/>
                </a:lnTo>
                <a:lnTo>
                  <a:pt x="2316" y="56"/>
                </a:lnTo>
                <a:lnTo>
                  <a:pt x="2306" y="54"/>
                </a:lnTo>
                <a:lnTo>
                  <a:pt x="2296" y="56"/>
                </a:lnTo>
                <a:lnTo>
                  <a:pt x="2296" y="56"/>
                </a:lnTo>
                <a:lnTo>
                  <a:pt x="2284" y="58"/>
                </a:lnTo>
                <a:lnTo>
                  <a:pt x="2278" y="58"/>
                </a:lnTo>
                <a:lnTo>
                  <a:pt x="2272" y="56"/>
                </a:lnTo>
                <a:lnTo>
                  <a:pt x="2272" y="56"/>
                </a:lnTo>
                <a:lnTo>
                  <a:pt x="2270" y="54"/>
                </a:lnTo>
                <a:lnTo>
                  <a:pt x="2270" y="54"/>
                </a:lnTo>
                <a:lnTo>
                  <a:pt x="2250" y="60"/>
                </a:lnTo>
                <a:lnTo>
                  <a:pt x="2250" y="60"/>
                </a:lnTo>
                <a:lnTo>
                  <a:pt x="2250" y="56"/>
                </a:lnTo>
                <a:lnTo>
                  <a:pt x="2250" y="56"/>
                </a:lnTo>
                <a:lnTo>
                  <a:pt x="2226" y="54"/>
                </a:lnTo>
                <a:lnTo>
                  <a:pt x="2226" y="54"/>
                </a:lnTo>
                <a:lnTo>
                  <a:pt x="2202" y="52"/>
                </a:lnTo>
                <a:lnTo>
                  <a:pt x="2202" y="52"/>
                </a:lnTo>
                <a:lnTo>
                  <a:pt x="2210" y="44"/>
                </a:lnTo>
                <a:lnTo>
                  <a:pt x="2210" y="44"/>
                </a:lnTo>
                <a:lnTo>
                  <a:pt x="2212" y="40"/>
                </a:lnTo>
                <a:lnTo>
                  <a:pt x="2212" y="38"/>
                </a:lnTo>
                <a:lnTo>
                  <a:pt x="2208" y="36"/>
                </a:lnTo>
                <a:lnTo>
                  <a:pt x="2204" y="34"/>
                </a:lnTo>
                <a:lnTo>
                  <a:pt x="2204" y="34"/>
                </a:lnTo>
                <a:lnTo>
                  <a:pt x="2188" y="34"/>
                </a:lnTo>
                <a:lnTo>
                  <a:pt x="2180" y="34"/>
                </a:lnTo>
                <a:lnTo>
                  <a:pt x="2174" y="36"/>
                </a:lnTo>
                <a:lnTo>
                  <a:pt x="2174" y="36"/>
                </a:lnTo>
                <a:lnTo>
                  <a:pt x="2160" y="40"/>
                </a:lnTo>
                <a:lnTo>
                  <a:pt x="2154" y="42"/>
                </a:lnTo>
                <a:lnTo>
                  <a:pt x="2152" y="48"/>
                </a:lnTo>
                <a:lnTo>
                  <a:pt x="2152" y="48"/>
                </a:lnTo>
                <a:lnTo>
                  <a:pt x="2150" y="50"/>
                </a:lnTo>
                <a:lnTo>
                  <a:pt x="2146" y="52"/>
                </a:lnTo>
                <a:lnTo>
                  <a:pt x="2146" y="52"/>
                </a:lnTo>
                <a:lnTo>
                  <a:pt x="2138" y="54"/>
                </a:lnTo>
                <a:lnTo>
                  <a:pt x="2138" y="54"/>
                </a:lnTo>
                <a:lnTo>
                  <a:pt x="2140" y="60"/>
                </a:lnTo>
                <a:lnTo>
                  <a:pt x="2140" y="60"/>
                </a:lnTo>
                <a:lnTo>
                  <a:pt x="2114" y="62"/>
                </a:lnTo>
                <a:lnTo>
                  <a:pt x="2114" y="62"/>
                </a:lnTo>
                <a:lnTo>
                  <a:pt x="2112" y="58"/>
                </a:lnTo>
                <a:lnTo>
                  <a:pt x="2112" y="58"/>
                </a:lnTo>
                <a:lnTo>
                  <a:pt x="2100" y="60"/>
                </a:lnTo>
                <a:lnTo>
                  <a:pt x="2086" y="60"/>
                </a:lnTo>
                <a:lnTo>
                  <a:pt x="2086" y="60"/>
                </a:lnTo>
                <a:lnTo>
                  <a:pt x="2068" y="60"/>
                </a:lnTo>
                <a:lnTo>
                  <a:pt x="2052" y="60"/>
                </a:lnTo>
                <a:lnTo>
                  <a:pt x="2052" y="60"/>
                </a:lnTo>
                <a:lnTo>
                  <a:pt x="2050" y="62"/>
                </a:lnTo>
                <a:lnTo>
                  <a:pt x="2050" y="62"/>
                </a:lnTo>
                <a:lnTo>
                  <a:pt x="2032" y="64"/>
                </a:lnTo>
                <a:lnTo>
                  <a:pt x="2014" y="66"/>
                </a:lnTo>
                <a:lnTo>
                  <a:pt x="2014" y="66"/>
                </a:lnTo>
                <a:lnTo>
                  <a:pt x="2002" y="66"/>
                </a:lnTo>
                <a:lnTo>
                  <a:pt x="2002" y="66"/>
                </a:lnTo>
                <a:lnTo>
                  <a:pt x="1986" y="70"/>
                </a:lnTo>
                <a:lnTo>
                  <a:pt x="1972" y="70"/>
                </a:lnTo>
                <a:lnTo>
                  <a:pt x="1972" y="70"/>
                </a:lnTo>
                <a:lnTo>
                  <a:pt x="1964" y="70"/>
                </a:lnTo>
                <a:lnTo>
                  <a:pt x="1964" y="70"/>
                </a:lnTo>
                <a:lnTo>
                  <a:pt x="1952" y="74"/>
                </a:lnTo>
                <a:lnTo>
                  <a:pt x="1938" y="74"/>
                </a:lnTo>
                <a:lnTo>
                  <a:pt x="1938" y="74"/>
                </a:lnTo>
                <a:lnTo>
                  <a:pt x="1934" y="76"/>
                </a:lnTo>
                <a:lnTo>
                  <a:pt x="1932" y="78"/>
                </a:lnTo>
                <a:lnTo>
                  <a:pt x="1932" y="78"/>
                </a:lnTo>
                <a:lnTo>
                  <a:pt x="1930" y="80"/>
                </a:lnTo>
                <a:lnTo>
                  <a:pt x="1928" y="82"/>
                </a:lnTo>
                <a:lnTo>
                  <a:pt x="1920" y="80"/>
                </a:lnTo>
                <a:lnTo>
                  <a:pt x="1920" y="80"/>
                </a:lnTo>
                <a:lnTo>
                  <a:pt x="1908" y="78"/>
                </a:lnTo>
                <a:lnTo>
                  <a:pt x="1900" y="80"/>
                </a:lnTo>
                <a:lnTo>
                  <a:pt x="1894" y="82"/>
                </a:lnTo>
                <a:lnTo>
                  <a:pt x="1894" y="82"/>
                </a:lnTo>
                <a:lnTo>
                  <a:pt x="1888" y="86"/>
                </a:lnTo>
                <a:lnTo>
                  <a:pt x="1880" y="88"/>
                </a:lnTo>
                <a:lnTo>
                  <a:pt x="1880" y="88"/>
                </a:lnTo>
                <a:lnTo>
                  <a:pt x="1870" y="90"/>
                </a:lnTo>
                <a:lnTo>
                  <a:pt x="1870" y="90"/>
                </a:lnTo>
                <a:lnTo>
                  <a:pt x="1862" y="86"/>
                </a:lnTo>
                <a:lnTo>
                  <a:pt x="1858" y="86"/>
                </a:lnTo>
                <a:lnTo>
                  <a:pt x="1854" y="86"/>
                </a:lnTo>
                <a:lnTo>
                  <a:pt x="1854" y="86"/>
                </a:lnTo>
                <a:lnTo>
                  <a:pt x="1844" y="90"/>
                </a:lnTo>
                <a:lnTo>
                  <a:pt x="1844" y="90"/>
                </a:lnTo>
                <a:lnTo>
                  <a:pt x="1850" y="96"/>
                </a:lnTo>
                <a:lnTo>
                  <a:pt x="1850" y="96"/>
                </a:lnTo>
                <a:lnTo>
                  <a:pt x="1846" y="98"/>
                </a:lnTo>
                <a:lnTo>
                  <a:pt x="1842" y="98"/>
                </a:lnTo>
                <a:lnTo>
                  <a:pt x="1840" y="98"/>
                </a:lnTo>
                <a:lnTo>
                  <a:pt x="1836" y="98"/>
                </a:lnTo>
                <a:lnTo>
                  <a:pt x="1836" y="98"/>
                </a:lnTo>
                <a:lnTo>
                  <a:pt x="1832" y="98"/>
                </a:lnTo>
                <a:lnTo>
                  <a:pt x="1830" y="96"/>
                </a:lnTo>
                <a:lnTo>
                  <a:pt x="1826" y="92"/>
                </a:lnTo>
                <a:lnTo>
                  <a:pt x="1826" y="92"/>
                </a:lnTo>
                <a:lnTo>
                  <a:pt x="1818" y="96"/>
                </a:lnTo>
                <a:lnTo>
                  <a:pt x="1808" y="98"/>
                </a:lnTo>
                <a:lnTo>
                  <a:pt x="1800" y="100"/>
                </a:lnTo>
                <a:lnTo>
                  <a:pt x="1792" y="104"/>
                </a:lnTo>
                <a:lnTo>
                  <a:pt x="1792" y="104"/>
                </a:lnTo>
                <a:lnTo>
                  <a:pt x="1792" y="104"/>
                </a:lnTo>
                <a:lnTo>
                  <a:pt x="1792" y="104"/>
                </a:lnTo>
                <a:lnTo>
                  <a:pt x="1774" y="106"/>
                </a:lnTo>
                <a:lnTo>
                  <a:pt x="1764" y="106"/>
                </a:lnTo>
                <a:lnTo>
                  <a:pt x="1756" y="104"/>
                </a:lnTo>
                <a:lnTo>
                  <a:pt x="1756" y="104"/>
                </a:lnTo>
                <a:lnTo>
                  <a:pt x="1744" y="100"/>
                </a:lnTo>
                <a:lnTo>
                  <a:pt x="1730" y="96"/>
                </a:lnTo>
                <a:lnTo>
                  <a:pt x="1730" y="96"/>
                </a:lnTo>
                <a:lnTo>
                  <a:pt x="1724" y="94"/>
                </a:lnTo>
                <a:lnTo>
                  <a:pt x="1724" y="94"/>
                </a:lnTo>
                <a:lnTo>
                  <a:pt x="1712" y="88"/>
                </a:lnTo>
                <a:lnTo>
                  <a:pt x="1712" y="88"/>
                </a:lnTo>
                <a:lnTo>
                  <a:pt x="1706" y="88"/>
                </a:lnTo>
                <a:lnTo>
                  <a:pt x="1700" y="88"/>
                </a:lnTo>
                <a:lnTo>
                  <a:pt x="1700" y="88"/>
                </a:lnTo>
                <a:lnTo>
                  <a:pt x="1686" y="94"/>
                </a:lnTo>
                <a:lnTo>
                  <a:pt x="1686" y="94"/>
                </a:lnTo>
                <a:lnTo>
                  <a:pt x="1690" y="102"/>
                </a:lnTo>
                <a:lnTo>
                  <a:pt x="1690" y="102"/>
                </a:lnTo>
                <a:lnTo>
                  <a:pt x="1684" y="104"/>
                </a:lnTo>
                <a:lnTo>
                  <a:pt x="1678" y="106"/>
                </a:lnTo>
                <a:lnTo>
                  <a:pt x="1678" y="106"/>
                </a:lnTo>
                <a:lnTo>
                  <a:pt x="1664" y="110"/>
                </a:lnTo>
                <a:lnTo>
                  <a:pt x="1650" y="114"/>
                </a:lnTo>
                <a:lnTo>
                  <a:pt x="1636" y="118"/>
                </a:lnTo>
                <a:lnTo>
                  <a:pt x="1622" y="120"/>
                </a:lnTo>
                <a:lnTo>
                  <a:pt x="1622" y="120"/>
                </a:lnTo>
                <a:lnTo>
                  <a:pt x="1614" y="122"/>
                </a:lnTo>
                <a:lnTo>
                  <a:pt x="1614" y="122"/>
                </a:lnTo>
                <a:lnTo>
                  <a:pt x="1600" y="128"/>
                </a:lnTo>
                <a:lnTo>
                  <a:pt x="1600" y="128"/>
                </a:lnTo>
                <a:lnTo>
                  <a:pt x="1598" y="132"/>
                </a:lnTo>
                <a:lnTo>
                  <a:pt x="1596" y="134"/>
                </a:lnTo>
                <a:lnTo>
                  <a:pt x="1588" y="134"/>
                </a:lnTo>
                <a:lnTo>
                  <a:pt x="1588" y="134"/>
                </a:lnTo>
                <a:lnTo>
                  <a:pt x="1582" y="134"/>
                </a:lnTo>
                <a:lnTo>
                  <a:pt x="1582" y="134"/>
                </a:lnTo>
                <a:lnTo>
                  <a:pt x="1576" y="136"/>
                </a:lnTo>
                <a:lnTo>
                  <a:pt x="1570" y="138"/>
                </a:lnTo>
                <a:lnTo>
                  <a:pt x="1570" y="138"/>
                </a:lnTo>
                <a:lnTo>
                  <a:pt x="1562" y="136"/>
                </a:lnTo>
                <a:lnTo>
                  <a:pt x="1558" y="130"/>
                </a:lnTo>
                <a:lnTo>
                  <a:pt x="1558" y="130"/>
                </a:lnTo>
                <a:lnTo>
                  <a:pt x="1554" y="130"/>
                </a:lnTo>
                <a:lnTo>
                  <a:pt x="1554" y="130"/>
                </a:lnTo>
                <a:lnTo>
                  <a:pt x="1556" y="138"/>
                </a:lnTo>
                <a:lnTo>
                  <a:pt x="1556" y="138"/>
                </a:lnTo>
                <a:lnTo>
                  <a:pt x="1546" y="140"/>
                </a:lnTo>
                <a:lnTo>
                  <a:pt x="1538" y="144"/>
                </a:lnTo>
                <a:lnTo>
                  <a:pt x="1538" y="144"/>
                </a:lnTo>
                <a:lnTo>
                  <a:pt x="1534" y="148"/>
                </a:lnTo>
                <a:lnTo>
                  <a:pt x="1528" y="150"/>
                </a:lnTo>
                <a:lnTo>
                  <a:pt x="1518" y="150"/>
                </a:lnTo>
                <a:lnTo>
                  <a:pt x="1518" y="150"/>
                </a:lnTo>
                <a:lnTo>
                  <a:pt x="1506" y="152"/>
                </a:lnTo>
                <a:lnTo>
                  <a:pt x="1500" y="150"/>
                </a:lnTo>
                <a:lnTo>
                  <a:pt x="1494" y="148"/>
                </a:lnTo>
                <a:lnTo>
                  <a:pt x="1494" y="148"/>
                </a:lnTo>
                <a:lnTo>
                  <a:pt x="1492" y="148"/>
                </a:lnTo>
                <a:lnTo>
                  <a:pt x="1492" y="148"/>
                </a:lnTo>
                <a:lnTo>
                  <a:pt x="1492" y="154"/>
                </a:lnTo>
                <a:lnTo>
                  <a:pt x="1492" y="154"/>
                </a:lnTo>
                <a:lnTo>
                  <a:pt x="1500" y="154"/>
                </a:lnTo>
                <a:lnTo>
                  <a:pt x="1506" y="154"/>
                </a:lnTo>
                <a:lnTo>
                  <a:pt x="1514" y="160"/>
                </a:lnTo>
                <a:lnTo>
                  <a:pt x="1514" y="160"/>
                </a:lnTo>
                <a:lnTo>
                  <a:pt x="1504" y="160"/>
                </a:lnTo>
                <a:lnTo>
                  <a:pt x="1496" y="160"/>
                </a:lnTo>
                <a:lnTo>
                  <a:pt x="1496" y="160"/>
                </a:lnTo>
                <a:lnTo>
                  <a:pt x="1486" y="158"/>
                </a:lnTo>
                <a:lnTo>
                  <a:pt x="1476" y="160"/>
                </a:lnTo>
                <a:lnTo>
                  <a:pt x="1476" y="160"/>
                </a:lnTo>
                <a:lnTo>
                  <a:pt x="1462" y="162"/>
                </a:lnTo>
                <a:lnTo>
                  <a:pt x="1456" y="162"/>
                </a:lnTo>
                <a:lnTo>
                  <a:pt x="1452" y="158"/>
                </a:lnTo>
                <a:lnTo>
                  <a:pt x="1452" y="158"/>
                </a:lnTo>
                <a:lnTo>
                  <a:pt x="1444" y="160"/>
                </a:lnTo>
                <a:lnTo>
                  <a:pt x="1438" y="160"/>
                </a:lnTo>
                <a:lnTo>
                  <a:pt x="1438" y="160"/>
                </a:lnTo>
                <a:lnTo>
                  <a:pt x="1430" y="160"/>
                </a:lnTo>
                <a:lnTo>
                  <a:pt x="1424" y="164"/>
                </a:lnTo>
                <a:lnTo>
                  <a:pt x="1424" y="164"/>
                </a:lnTo>
                <a:lnTo>
                  <a:pt x="1420" y="164"/>
                </a:lnTo>
                <a:lnTo>
                  <a:pt x="1420" y="164"/>
                </a:lnTo>
                <a:lnTo>
                  <a:pt x="1420" y="158"/>
                </a:lnTo>
                <a:lnTo>
                  <a:pt x="1420" y="158"/>
                </a:lnTo>
                <a:lnTo>
                  <a:pt x="1410" y="158"/>
                </a:lnTo>
                <a:lnTo>
                  <a:pt x="1410" y="158"/>
                </a:lnTo>
                <a:lnTo>
                  <a:pt x="1402" y="164"/>
                </a:lnTo>
                <a:lnTo>
                  <a:pt x="1394" y="168"/>
                </a:lnTo>
                <a:lnTo>
                  <a:pt x="1384" y="168"/>
                </a:lnTo>
                <a:lnTo>
                  <a:pt x="1372" y="168"/>
                </a:lnTo>
                <a:lnTo>
                  <a:pt x="1372" y="168"/>
                </a:lnTo>
                <a:lnTo>
                  <a:pt x="1368" y="166"/>
                </a:lnTo>
                <a:lnTo>
                  <a:pt x="1364" y="166"/>
                </a:lnTo>
                <a:lnTo>
                  <a:pt x="1360" y="166"/>
                </a:lnTo>
                <a:lnTo>
                  <a:pt x="1356" y="166"/>
                </a:lnTo>
                <a:lnTo>
                  <a:pt x="1356" y="166"/>
                </a:lnTo>
                <a:lnTo>
                  <a:pt x="1352" y="164"/>
                </a:lnTo>
                <a:lnTo>
                  <a:pt x="1348" y="166"/>
                </a:lnTo>
                <a:lnTo>
                  <a:pt x="1340" y="168"/>
                </a:lnTo>
                <a:lnTo>
                  <a:pt x="1340" y="168"/>
                </a:lnTo>
                <a:lnTo>
                  <a:pt x="1330" y="168"/>
                </a:lnTo>
                <a:lnTo>
                  <a:pt x="1330" y="168"/>
                </a:lnTo>
                <a:lnTo>
                  <a:pt x="1314" y="172"/>
                </a:lnTo>
                <a:lnTo>
                  <a:pt x="1314" y="172"/>
                </a:lnTo>
                <a:lnTo>
                  <a:pt x="1300" y="174"/>
                </a:lnTo>
                <a:lnTo>
                  <a:pt x="1294" y="174"/>
                </a:lnTo>
                <a:lnTo>
                  <a:pt x="1286" y="170"/>
                </a:lnTo>
                <a:lnTo>
                  <a:pt x="1286" y="170"/>
                </a:lnTo>
                <a:lnTo>
                  <a:pt x="1282" y="168"/>
                </a:lnTo>
                <a:lnTo>
                  <a:pt x="1282" y="168"/>
                </a:lnTo>
                <a:lnTo>
                  <a:pt x="1276" y="170"/>
                </a:lnTo>
                <a:lnTo>
                  <a:pt x="1270" y="170"/>
                </a:lnTo>
                <a:lnTo>
                  <a:pt x="1258" y="170"/>
                </a:lnTo>
                <a:lnTo>
                  <a:pt x="1258" y="170"/>
                </a:lnTo>
                <a:lnTo>
                  <a:pt x="1242" y="170"/>
                </a:lnTo>
                <a:lnTo>
                  <a:pt x="1242" y="170"/>
                </a:lnTo>
                <a:lnTo>
                  <a:pt x="1232" y="170"/>
                </a:lnTo>
                <a:lnTo>
                  <a:pt x="1232" y="170"/>
                </a:lnTo>
                <a:lnTo>
                  <a:pt x="1210" y="176"/>
                </a:lnTo>
                <a:lnTo>
                  <a:pt x="1210" y="176"/>
                </a:lnTo>
                <a:lnTo>
                  <a:pt x="1206" y="178"/>
                </a:lnTo>
                <a:lnTo>
                  <a:pt x="1198" y="180"/>
                </a:lnTo>
                <a:lnTo>
                  <a:pt x="1198" y="180"/>
                </a:lnTo>
                <a:lnTo>
                  <a:pt x="1186" y="182"/>
                </a:lnTo>
                <a:lnTo>
                  <a:pt x="1174" y="182"/>
                </a:lnTo>
                <a:lnTo>
                  <a:pt x="1174" y="182"/>
                </a:lnTo>
                <a:lnTo>
                  <a:pt x="1166" y="184"/>
                </a:lnTo>
                <a:lnTo>
                  <a:pt x="1154" y="184"/>
                </a:lnTo>
                <a:lnTo>
                  <a:pt x="1122" y="182"/>
                </a:lnTo>
                <a:lnTo>
                  <a:pt x="1090" y="180"/>
                </a:lnTo>
                <a:lnTo>
                  <a:pt x="1072" y="180"/>
                </a:lnTo>
                <a:lnTo>
                  <a:pt x="1072" y="180"/>
                </a:lnTo>
                <a:lnTo>
                  <a:pt x="1060" y="180"/>
                </a:lnTo>
                <a:lnTo>
                  <a:pt x="1054" y="182"/>
                </a:lnTo>
                <a:lnTo>
                  <a:pt x="1050" y="184"/>
                </a:lnTo>
                <a:lnTo>
                  <a:pt x="1050" y="184"/>
                </a:lnTo>
                <a:lnTo>
                  <a:pt x="1044" y="186"/>
                </a:lnTo>
                <a:lnTo>
                  <a:pt x="1044" y="186"/>
                </a:lnTo>
                <a:lnTo>
                  <a:pt x="1036" y="186"/>
                </a:lnTo>
                <a:lnTo>
                  <a:pt x="1028" y="188"/>
                </a:lnTo>
                <a:lnTo>
                  <a:pt x="1028" y="188"/>
                </a:lnTo>
                <a:lnTo>
                  <a:pt x="1018" y="192"/>
                </a:lnTo>
                <a:lnTo>
                  <a:pt x="1012" y="194"/>
                </a:lnTo>
                <a:lnTo>
                  <a:pt x="1006" y="194"/>
                </a:lnTo>
                <a:lnTo>
                  <a:pt x="1006" y="194"/>
                </a:lnTo>
                <a:lnTo>
                  <a:pt x="998" y="196"/>
                </a:lnTo>
                <a:lnTo>
                  <a:pt x="990" y="198"/>
                </a:lnTo>
                <a:lnTo>
                  <a:pt x="984" y="202"/>
                </a:lnTo>
                <a:lnTo>
                  <a:pt x="980" y="206"/>
                </a:lnTo>
                <a:lnTo>
                  <a:pt x="980" y="206"/>
                </a:lnTo>
                <a:lnTo>
                  <a:pt x="964" y="210"/>
                </a:lnTo>
                <a:lnTo>
                  <a:pt x="964" y="210"/>
                </a:lnTo>
                <a:lnTo>
                  <a:pt x="946" y="216"/>
                </a:lnTo>
                <a:lnTo>
                  <a:pt x="946" y="216"/>
                </a:lnTo>
                <a:lnTo>
                  <a:pt x="946" y="220"/>
                </a:lnTo>
                <a:lnTo>
                  <a:pt x="944" y="222"/>
                </a:lnTo>
                <a:lnTo>
                  <a:pt x="940" y="224"/>
                </a:lnTo>
                <a:lnTo>
                  <a:pt x="926" y="224"/>
                </a:lnTo>
                <a:lnTo>
                  <a:pt x="926" y="224"/>
                </a:lnTo>
                <a:lnTo>
                  <a:pt x="930" y="228"/>
                </a:lnTo>
                <a:lnTo>
                  <a:pt x="930" y="228"/>
                </a:lnTo>
                <a:lnTo>
                  <a:pt x="926" y="240"/>
                </a:lnTo>
                <a:lnTo>
                  <a:pt x="926" y="240"/>
                </a:lnTo>
                <a:lnTo>
                  <a:pt x="916" y="242"/>
                </a:lnTo>
                <a:lnTo>
                  <a:pt x="908" y="248"/>
                </a:lnTo>
                <a:lnTo>
                  <a:pt x="908" y="248"/>
                </a:lnTo>
                <a:lnTo>
                  <a:pt x="912" y="250"/>
                </a:lnTo>
                <a:lnTo>
                  <a:pt x="912" y="250"/>
                </a:lnTo>
                <a:lnTo>
                  <a:pt x="906" y="254"/>
                </a:lnTo>
                <a:lnTo>
                  <a:pt x="906" y="254"/>
                </a:lnTo>
                <a:lnTo>
                  <a:pt x="912" y="264"/>
                </a:lnTo>
                <a:lnTo>
                  <a:pt x="912" y="264"/>
                </a:lnTo>
                <a:lnTo>
                  <a:pt x="914" y="266"/>
                </a:lnTo>
                <a:lnTo>
                  <a:pt x="916" y="270"/>
                </a:lnTo>
                <a:lnTo>
                  <a:pt x="916" y="270"/>
                </a:lnTo>
                <a:lnTo>
                  <a:pt x="914" y="274"/>
                </a:lnTo>
                <a:lnTo>
                  <a:pt x="912" y="276"/>
                </a:lnTo>
                <a:lnTo>
                  <a:pt x="906" y="282"/>
                </a:lnTo>
                <a:lnTo>
                  <a:pt x="906" y="282"/>
                </a:lnTo>
                <a:lnTo>
                  <a:pt x="904" y="284"/>
                </a:lnTo>
                <a:lnTo>
                  <a:pt x="904" y="284"/>
                </a:lnTo>
                <a:lnTo>
                  <a:pt x="906" y="288"/>
                </a:lnTo>
                <a:lnTo>
                  <a:pt x="904" y="290"/>
                </a:lnTo>
                <a:lnTo>
                  <a:pt x="898" y="292"/>
                </a:lnTo>
                <a:lnTo>
                  <a:pt x="898" y="292"/>
                </a:lnTo>
                <a:lnTo>
                  <a:pt x="896" y="290"/>
                </a:lnTo>
                <a:lnTo>
                  <a:pt x="896" y="290"/>
                </a:lnTo>
                <a:lnTo>
                  <a:pt x="896" y="288"/>
                </a:lnTo>
                <a:lnTo>
                  <a:pt x="896" y="288"/>
                </a:lnTo>
                <a:lnTo>
                  <a:pt x="894" y="288"/>
                </a:lnTo>
                <a:lnTo>
                  <a:pt x="894" y="288"/>
                </a:lnTo>
                <a:lnTo>
                  <a:pt x="892" y="288"/>
                </a:lnTo>
                <a:lnTo>
                  <a:pt x="892" y="288"/>
                </a:lnTo>
                <a:lnTo>
                  <a:pt x="888" y="288"/>
                </a:lnTo>
                <a:lnTo>
                  <a:pt x="888" y="288"/>
                </a:lnTo>
                <a:lnTo>
                  <a:pt x="886" y="286"/>
                </a:lnTo>
                <a:lnTo>
                  <a:pt x="886" y="286"/>
                </a:lnTo>
                <a:lnTo>
                  <a:pt x="890" y="278"/>
                </a:lnTo>
                <a:lnTo>
                  <a:pt x="890" y="278"/>
                </a:lnTo>
                <a:lnTo>
                  <a:pt x="884" y="278"/>
                </a:lnTo>
                <a:lnTo>
                  <a:pt x="884" y="278"/>
                </a:lnTo>
                <a:lnTo>
                  <a:pt x="880" y="282"/>
                </a:lnTo>
                <a:lnTo>
                  <a:pt x="876" y="284"/>
                </a:lnTo>
                <a:lnTo>
                  <a:pt x="868" y="282"/>
                </a:lnTo>
                <a:lnTo>
                  <a:pt x="868" y="282"/>
                </a:lnTo>
                <a:lnTo>
                  <a:pt x="860" y="284"/>
                </a:lnTo>
                <a:lnTo>
                  <a:pt x="854" y="286"/>
                </a:lnTo>
                <a:lnTo>
                  <a:pt x="854" y="286"/>
                </a:lnTo>
                <a:lnTo>
                  <a:pt x="878" y="292"/>
                </a:lnTo>
                <a:lnTo>
                  <a:pt x="878" y="292"/>
                </a:lnTo>
                <a:lnTo>
                  <a:pt x="876" y="296"/>
                </a:lnTo>
                <a:lnTo>
                  <a:pt x="876" y="296"/>
                </a:lnTo>
                <a:lnTo>
                  <a:pt x="874" y="298"/>
                </a:lnTo>
                <a:lnTo>
                  <a:pt x="874" y="298"/>
                </a:lnTo>
                <a:lnTo>
                  <a:pt x="884" y="296"/>
                </a:lnTo>
                <a:lnTo>
                  <a:pt x="884" y="296"/>
                </a:lnTo>
                <a:lnTo>
                  <a:pt x="888" y="296"/>
                </a:lnTo>
                <a:lnTo>
                  <a:pt x="888" y="296"/>
                </a:lnTo>
                <a:lnTo>
                  <a:pt x="884" y="300"/>
                </a:lnTo>
                <a:lnTo>
                  <a:pt x="884" y="302"/>
                </a:lnTo>
                <a:lnTo>
                  <a:pt x="884" y="304"/>
                </a:lnTo>
                <a:lnTo>
                  <a:pt x="884" y="304"/>
                </a:lnTo>
                <a:lnTo>
                  <a:pt x="882" y="306"/>
                </a:lnTo>
                <a:lnTo>
                  <a:pt x="882" y="306"/>
                </a:lnTo>
                <a:lnTo>
                  <a:pt x="876" y="306"/>
                </a:lnTo>
                <a:lnTo>
                  <a:pt x="868" y="302"/>
                </a:lnTo>
                <a:lnTo>
                  <a:pt x="868" y="302"/>
                </a:lnTo>
                <a:lnTo>
                  <a:pt x="854" y="294"/>
                </a:lnTo>
                <a:lnTo>
                  <a:pt x="854" y="294"/>
                </a:lnTo>
                <a:lnTo>
                  <a:pt x="848" y="298"/>
                </a:lnTo>
                <a:lnTo>
                  <a:pt x="840" y="300"/>
                </a:lnTo>
                <a:lnTo>
                  <a:pt x="832" y="300"/>
                </a:lnTo>
                <a:lnTo>
                  <a:pt x="828" y="300"/>
                </a:lnTo>
                <a:lnTo>
                  <a:pt x="828" y="292"/>
                </a:lnTo>
                <a:lnTo>
                  <a:pt x="828" y="292"/>
                </a:lnTo>
                <a:lnTo>
                  <a:pt x="816" y="300"/>
                </a:lnTo>
                <a:lnTo>
                  <a:pt x="804" y="304"/>
                </a:lnTo>
                <a:lnTo>
                  <a:pt x="790" y="306"/>
                </a:lnTo>
                <a:lnTo>
                  <a:pt x="774" y="304"/>
                </a:lnTo>
                <a:lnTo>
                  <a:pt x="774" y="304"/>
                </a:lnTo>
                <a:lnTo>
                  <a:pt x="772" y="308"/>
                </a:lnTo>
                <a:lnTo>
                  <a:pt x="770" y="310"/>
                </a:lnTo>
                <a:lnTo>
                  <a:pt x="760" y="310"/>
                </a:lnTo>
                <a:lnTo>
                  <a:pt x="760" y="310"/>
                </a:lnTo>
                <a:lnTo>
                  <a:pt x="754" y="310"/>
                </a:lnTo>
                <a:lnTo>
                  <a:pt x="754" y="310"/>
                </a:lnTo>
                <a:lnTo>
                  <a:pt x="748" y="300"/>
                </a:lnTo>
                <a:lnTo>
                  <a:pt x="748" y="300"/>
                </a:lnTo>
                <a:lnTo>
                  <a:pt x="740" y="306"/>
                </a:lnTo>
                <a:lnTo>
                  <a:pt x="740" y="310"/>
                </a:lnTo>
                <a:lnTo>
                  <a:pt x="740" y="310"/>
                </a:lnTo>
                <a:lnTo>
                  <a:pt x="736" y="310"/>
                </a:lnTo>
                <a:lnTo>
                  <a:pt x="736" y="310"/>
                </a:lnTo>
                <a:lnTo>
                  <a:pt x="734" y="308"/>
                </a:lnTo>
                <a:lnTo>
                  <a:pt x="734" y="308"/>
                </a:lnTo>
                <a:lnTo>
                  <a:pt x="730" y="304"/>
                </a:lnTo>
                <a:lnTo>
                  <a:pt x="722" y="304"/>
                </a:lnTo>
                <a:lnTo>
                  <a:pt x="722" y="304"/>
                </a:lnTo>
                <a:lnTo>
                  <a:pt x="730" y="310"/>
                </a:lnTo>
                <a:lnTo>
                  <a:pt x="730" y="310"/>
                </a:lnTo>
                <a:lnTo>
                  <a:pt x="730" y="310"/>
                </a:lnTo>
                <a:lnTo>
                  <a:pt x="730" y="310"/>
                </a:lnTo>
                <a:lnTo>
                  <a:pt x="724" y="312"/>
                </a:lnTo>
                <a:lnTo>
                  <a:pt x="724" y="312"/>
                </a:lnTo>
                <a:lnTo>
                  <a:pt x="720" y="314"/>
                </a:lnTo>
                <a:lnTo>
                  <a:pt x="714" y="316"/>
                </a:lnTo>
                <a:lnTo>
                  <a:pt x="708" y="316"/>
                </a:lnTo>
                <a:lnTo>
                  <a:pt x="704" y="320"/>
                </a:lnTo>
                <a:lnTo>
                  <a:pt x="704" y="320"/>
                </a:lnTo>
                <a:lnTo>
                  <a:pt x="702" y="320"/>
                </a:lnTo>
                <a:lnTo>
                  <a:pt x="702" y="320"/>
                </a:lnTo>
                <a:lnTo>
                  <a:pt x="700" y="320"/>
                </a:lnTo>
                <a:lnTo>
                  <a:pt x="702" y="320"/>
                </a:lnTo>
                <a:lnTo>
                  <a:pt x="702" y="320"/>
                </a:lnTo>
                <a:lnTo>
                  <a:pt x="696" y="320"/>
                </a:lnTo>
                <a:lnTo>
                  <a:pt x="696" y="320"/>
                </a:lnTo>
                <a:lnTo>
                  <a:pt x="706" y="322"/>
                </a:lnTo>
                <a:lnTo>
                  <a:pt x="716" y="322"/>
                </a:lnTo>
                <a:lnTo>
                  <a:pt x="716" y="322"/>
                </a:lnTo>
                <a:lnTo>
                  <a:pt x="726" y="324"/>
                </a:lnTo>
                <a:lnTo>
                  <a:pt x="726" y="324"/>
                </a:lnTo>
                <a:lnTo>
                  <a:pt x="730" y="324"/>
                </a:lnTo>
                <a:lnTo>
                  <a:pt x="730" y="324"/>
                </a:lnTo>
                <a:lnTo>
                  <a:pt x="740" y="326"/>
                </a:lnTo>
                <a:lnTo>
                  <a:pt x="740" y="326"/>
                </a:lnTo>
                <a:lnTo>
                  <a:pt x="738" y="328"/>
                </a:lnTo>
                <a:lnTo>
                  <a:pt x="734" y="330"/>
                </a:lnTo>
                <a:lnTo>
                  <a:pt x="734" y="330"/>
                </a:lnTo>
                <a:lnTo>
                  <a:pt x="732" y="332"/>
                </a:lnTo>
                <a:lnTo>
                  <a:pt x="732" y="332"/>
                </a:lnTo>
                <a:lnTo>
                  <a:pt x="732" y="332"/>
                </a:lnTo>
                <a:lnTo>
                  <a:pt x="732" y="332"/>
                </a:lnTo>
                <a:lnTo>
                  <a:pt x="734" y="330"/>
                </a:lnTo>
                <a:lnTo>
                  <a:pt x="734" y="330"/>
                </a:lnTo>
                <a:lnTo>
                  <a:pt x="730" y="334"/>
                </a:lnTo>
                <a:lnTo>
                  <a:pt x="730" y="336"/>
                </a:lnTo>
                <a:lnTo>
                  <a:pt x="732" y="338"/>
                </a:lnTo>
                <a:lnTo>
                  <a:pt x="732" y="338"/>
                </a:lnTo>
                <a:lnTo>
                  <a:pt x="738" y="340"/>
                </a:lnTo>
                <a:lnTo>
                  <a:pt x="742" y="344"/>
                </a:lnTo>
                <a:lnTo>
                  <a:pt x="742" y="348"/>
                </a:lnTo>
                <a:lnTo>
                  <a:pt x="744" y="352"/>
                </a:lnTo>
                <a:lnTo>
                  <a:pt x="744" y="352"/>
                </a:lnTo>
                <a:lnTo>
                  <a:pt x="734" y="352"/>
                </a:lnTo>
                <a:lnTo>
                  <a:pt x="726" y="354"/>
                </a:lnTo>
                <a:lnTo>
                  <a:pt x="726" y="354"/>
                </a:lnTo>
                <a:lnTo>
                  <a:pt x="722" y="354"/>
                </a:lnTo>
                <a:lnTo>
                  <a:pt x="716" y="354"/>
                </a:lnTo>
                <a:lnTo>
                  <a:pt x="708" y="350"/>
                </a:lnTo>
                <a:lnTo>
                  <a:pt x="708" y="350"/>
                </a:lnTo>
                <a:lnTo>
                  <a:pt x="706" y="344"/>
                </a:lnTo>
                <a:lnTo>
                  <a:pt x="706" y="344"/>
                </a:lnTo>
                <a:lnTo>
                  <a:pt x="700" y="344"/>
                </a:lnTo>
                <a:lnTo>
                  <a:pt x="700" y="344"/>
                </a:lnTo>
                <a:lnTo>
                  <a:pt x="684" y="346"/>
                </a:lnTo>
                <a:lnTo>
                  <a:pt x="678" y="344"/>
                </a:lnTo>
                <a:lnTo>
                  <a:pt x="670" y="342"/>
                </a:lnTo>
                <a:lnTo>
                  <a:pt x="670" y="342"/>
                </a:lnTo>
                <a:lnTo>
                  <a:pt x="666" y="342"/>
                </a:lnTo>
                <a:lnTo>
                  <a:pt x="662" y="344"/>
                </a:lnTo>
                <a:lnTo>
                  <a:pt x="662" y="344"/>
                </a:lnTo>
                <a:lnTo>
                  <a:pt x="664" y="350"/>
                </a:lnTo>
                <a:lnTo>
                  <a:pt x="664" y="350"/>
                </a:lnTo>
                <a:lnTo>
                  <a:pt x="626" y="360"/>
                </a:lnTo>
                <a:lnTo>
                  <a:pt x="626" y="360"/>
                </a:lnTo>
                <a:lnTo>
                  <a:pt x="616" y="350"/>
                </a:lnTo>
                <a:lnTo>
                  <a:pt x="616" y="350"/>
                </a:lnTo>
                <a:lnTo>
                  <a:pt x="652" y="346"/>
                </a:lnTo>
                <a:lnTo>
                  <a:pt x="652" y="346"/>
                </a:lnTo>
                <a:lnTo>
                  <a:pt x="634" y="336"/>
                </a:lnTo>
                <a:lnTo>
                  <a:pt x="634" y="336"/>
                </a:lnTo>
                <a:lnTo>
                  <a:pt x="640" y="330"/>
                </a:lnTo>
                <a:lnTo>
                  <a:pt x="640" y="330"/>
                </a:lnTo>
                <a:lnTo>
                  <a:pt x="634" y="330"/>
                </a:lnTo>
                <a:lnTo>
                  <a:pt x="630" y="330"/>
                </a:lnTo>
                <a:lnTo>
                  <a:pt x="628" y="332"/>
                </a:lnTo>
                <a:lnTo>
                  <a:pt x="628" y="332"/>
                </a:lnTo>
                <a:lnTo>
                  <a:pt x="624" y="332"/>
                </a:lnTo>
                <a:lnTo>
                  <a:pt x="620" y="332"/>
                </a:lnTo>
                <a:lnTo>
                  <a:pt x="614" y="332"/>
                </a:lnTo>
                <a:lnTo>
                  <a:pt x="610" y="330"/>
                </a:lnTo>
                <a:lnTo>
                  <a:pt x="610" y="330"/>
                </a:lnTo>
                <a:lnTo>
                  <a:pt x="610" y="328"/>
                </a:lnTo>
                <a:lnTo>
                  <a:pt x="610" y="326"/>
                </a:lnTo>
                <a:lnTo>
                  <a:pt x="614" y="324"/>
                </a:lnTo>
                <a:lnTo>
                  <a:pt x="614" y="324"/>
                </a:lnTo>
                <a:lnTo>
                  <a:pt x="626" y="324"/>
                </a:lnTo>
                <a:lnTo>
                  <a:pt x="626" y="324"/>
                </a:lnTo>
                <a:lnTo>
                  <a:pt x="632" y="322"/>
                </a:lnTo>
                <a:lnTo>
                  <a:pt x="636" y="320"/>
                </a:lnTo>
                <a:lnTo>
                  <a:pt x="636" y="320"/>
                </a:lnTo>
                <a:lnTo>
                  <a:pt x="624" y="320"/>
                </a:lnTo>
                <a:lnTo>
                  <a:pt x="616" y="322"/>
                </a:lnTo>
                <a:lnTo>
                  <a:pt x="616" y="322"/>
                </a:lnTo>
                <a:lnTo>
                  <a:pt x="606" y="324"/>
                </a:lnTo>
                <a:lnTo>
                  <a:pt x="600" y="322"/>
                </a:lnTo>
                <a:lnTo>
                  <a:pt x="600" y="322"/>
                </a:lnTo>
                <a:lnTo>
                  <a:pt x="596" y="320"/>
                </a:lnTo>
                <a:lnTo>
                  <a:pt x="592" y="320"/>
                </a:lnTo>
                <a:lnTo>
                  <a:pt x="586" y="320"/>
                </a:lnTo>
                <a:lnTo>
                  <a:pt x="586" y="320"/>
                </a:lnTo>
                <a:lnTo>
                  <a:pt x="564" y="318"/>
                </a:lnTo>
                <a:lnTo>
                  <a:pt x="556" y="316"/>
                </a:lnTo>
                <a:lnTo>
                  <a:pt x="546" y="310"/>
                </a:lnTo>
                <a:lnTo>
                  <a:pt x="546" y="310"/>
                </a:lnTo>
                <a:lnTo>
                  <a:pt x="542" y="308"/>
                </a:lnTo>
                <a:lnTo>
                  <a:pt x="542" y="308"/>
                </a:lnTo>
                <a:lnTo>
                  <a:pt x="526" y="306"/>
                </a:lnTo>
                <a:lnTo>
                  <a:pt x="526" y="306"/>
                </a:lnTo>
                <a:lnTo>
                  <a:pt x="526" y="304"/>
                </a:lnTo>
                <a:lnTo>
                  <a:pt x="524" y="302"/>
                </a:lnTo>
                <a:lnTo>
                  <a:pt x="520" y="302"/>
                </a:lnTo>
                <a:lnTo>
                  <a:pt x="520" y="302"/>
                </a:lnTo>
                <a:lnTo>
                  <a:pt x="494" y="306"/>
                </a:lnTo>
                <a:lnTo>
                  <a:pt x="494" y="306"/>
                </a:lnTo>
                <a:lnTo>
                  <a:pt x="506" y="322"/>
                </a:lnTo>
                <a:lnTo>
                  <a:pt x="506" y="322"/>
                </a:lnTo>
                <a:lnTo>
                  <a:pt x="492" y="322"/>
                </a:lnTo>
                <a:lnTo>
                  <a:pt x="492" y="322"/>
                </a:lnTo>
                <a:lnTo>
                  <a:pt x="478" y="326"/>
                </a:lnTo>
                <a:lnTo>
                  <a:pt x="478" y="326"/>
                </a:lnTo>
                <a:lnTo>
                  <a:pt x="472" y="324"/>
                </a:lnTo>
                <a:lnTo>
                  <a:pt x="472" y="324"/>
                </a:lnTo>
                <a:lnTo>
                  <a:pt x="484" y="316"/>
                </a:lnTo>
                <a:lnTo>
                  <a:pt x="484" y="314"/>
                </a:lnTo>
                <a:lnTo>
                  <a:pt x="484" y="312"/>
                </a:lnTo>
                <a:lnTo>
                  <a:pt x="484" y="312"/>
                </a:lnTo>
                <a:lnTo>
                  <a:pt x="478" y="312"/>
                </a:lnTo>
                <a:lnTo>
                  <a:pt x="474" y="316"/>
                </a:lnTo>
                <a:lnTo>
                  <a:pt x="468" y="322"/>
                </a:lnTo>
                <a:lnTo>
                  <a:pt x="468" y="322"/>
                </a:lnTo>
                <a:lnTo>
                  <a:pt x="466" y="326"/>
                </a:lnTo>
                <a:lnTo>
                  <a:pt x="462" y="328"/>
                </a:lnTo>
                <a:lnTo>
                  <a:pt x="458" y="328"/>
                </a:lnTo>
                <a:lnTo>
                  <a:pt x="450" y="328"/>
                </a:lnTo>
                <a:lnTo>
                  <a:pt x="450" y="328"/>
                </a:lnTo>
                <a:lnTo>
                  <a:pt x="454" y="324"/>
                </a:lnTo>
                <a:lnTo>
                  <a:pt x="454" y="324"/>
                </a:lnTo>
                <a:lnTo>
                  <a:pt x="444" y="320"/>
                </a:lnTo>
                <a:lnTo>
                  <a:pt x="444" y="320"/>
                </a:lnTo>
                <a:lnTo>
                  <a:pt x="448" y="316"/>
                </a:lnTo>
                <a:lnTo>
                  <a:pt x="454" y="314"/>
                </a:lnTo>
                <a:lnTo>
                  <a:pt x="454" y="314"/>
                </a:lnTo>
                <a:lnTo>
                  <a:pt x="458" y="312"/>
                </a:lnTo>
                <a:lnTo>
                  <a:pt x="462" y="310"/>
                </a:lnTo>
                <a:lnTo>
                  <a:pt x="466" y="304"/>
                </a:lnTo>
                <a:lnTo>
                  <a:pt x="466" y="304"/>
                </a:lnTo>
                <a:lnTo>
                  <a:pt x="472" y="298"/>
                </a:lnTo>
                <a:lnTo>
                  <a:pt x="480" y="294"/>
                </a:lnTo>
                <a:lnTo>
                  <a:pt x="480" y="294"/>
                </a:lnTo>
                <a:lnTo>
                  <a:pt x="488" y="298"/>
                </a:lnTo>
                <a:lnTo>
                  <a:pt x="488" y="298"/>
                </a:lnTo>
                <a:lnTo>
                  <a:pt x="500" y="296"/>
                </a:lnTo>
                <a:lnTo>
                  <a:pt x="500" y="296"/>
                </a:lnTo>
                <a:lnTo>
                  <a:pt x="492" y="288"/>
                </a:lnTo>
                <a:lnTo>
                  <a:pt x="492" y="288"/>
                </a:lnTo>
                <a:lnTo>
                  <a:pt x="476" y="292"/>
                </a:lnTo>
                <a:lnTo>
                  <a:pt x="476" y="292"/>
                </a:lnTo>
                <a:lnTo>
                  <a:pt x="484" y="284"/>
                </a:lnTo>
                <a:lnTo>
                  <a:pt x="484" y="284"/>
                </a:lnTo>
                <a:lnTo>
                  <a:pt x="478" y="282"/>
                </a:lnTo>
                <a:lnTo>
                  <a:pt x="476" y="280"/>
                </a:lnTo>
                <a:lnTo>
                  <a:pt x="474" y="278"/>
                </a:lnTo>
                <a:lnTo>
                  <a:pt x="474" y="278"/>
                </a:lnTo>
                <a:lnTo>
                  <a:pt x="472" y="274"/>
                </a:lnTo>
                <a:lnTo>
                  <a:pt x="468" y="272"/>
                </a:lnTo>
                <a:lnTo>
                  <a:pt x="462" y="272"/>
                </a:lnTo>
                <a:lnTo>
                  <a:pt x="454" y="274"/>
                </a:lnTo>
                <a:lnTo>
                  <a:pt x="454" y="274"/>
                </a:lnTo>
                <a:lnTo>
                  <a:pt x="464" y="282"/>
                </a:lnTo>
                <a:lnTo>
                  <a:pt x="464" y="282"/>
                </a:lnTo>
                <a:lnTo>
                  <a:pt x="438" y="284"/>
                </a:lnTo>
                <a:lnTo>
                  <a:pt x="438" y="284"/>
                </a:lnTo>
                <a:lnTo>
                  <a:pt x="430" y="278"/>
                </a:lnTo>
                <a:lnTo>
                  <a:pt x="430" y="278"/>
                </a:lnTo>
                <a:lnTo>
                  <a:pt x="428" y="278"/>
                </a:lnTo>
                <a:lnTo>
                  <a:pt x="428" y="278"/>
                </a:lnTo>
                <a:lnTo>
                  <a:pt x="420" y="280"/>
                </a:lnTo>
                <a:lnTo>
                  <a:pt x="414" y="280"/>
                </a:lnTo>
                <a:lnTo>
                  <a:pt x="412" y="278"/>
                </a:lnTo>
                <a:lnTo>
                  <a:pt x="408" y="272"/>
                </a:lnTo>
                <a:lnTo>
                  <a:pt x="408" y="272"/>
                </a:lnTo>
                <a:lnTo>
                  <a:pt x="406" y="270"/>
                </a:lnTo>
                <a:lnTo>
                  <a:pt x="404" y="268"/>
                </a:lnTo>
                <a:lnTo>
                  <a:pt x="404" y="268"/>
                </a:lnTo>
                <a:lnTo>
                  <a:pt x="398" y="266"/>
                </a:lnTo>
                <a:lnTo>
                  <a:pt x="394" y="264"/>
                </a:lnTo>
                <a:lnTo>
                  <a:pt x="388" y="258"/>
                </a:lnTo>
                <a:lnTo>
                  <a:pt x="388" y="258"/>
                </a:lnTo>
                <a:lnTo>
                  <a:pt x="370" y="256"/>
                </a:lnTo>
                <a:lnTo>
                  <a:pt x="370" y="256"/>
                </a:lnTo>
                <a:lnTo>
                  <a:pt x="368" y="248"/>
                </a:lnTo>
                <a:lnTo>
                  <a:pt x="368" y="248"/>
                </a:lnTo>
                <a:lnTo>
                  <a:pt x="358" y="248"/>
                </a:lnTo>
                <a:lnTo>
                  <a:pt x="358" y="248"/>
                </a:lnTo>
                <a:lnTo>
                  <a:pt x="380" y="268"/>
                </a:lnTo>
                <a:lnTo>
                  <a:pt x="380" y="268"/>
                </a:lnTo>
                <a:lnTo>
                  <a:pt x="382" y="270"/>
                </a:lnTo>
                <a:lnTo>
                  <a:pt x="382" y="270"/>
                </a:lnTo>
                <a:lnTo>
                  <a:pt x="404" y="278"/>
                </a:lnTo>
                <a:lnTo>
                  <a:pt x="404" y="278"/>
                </a:lnTo>
                <a:lnTo>
                  <a:pt x="414" y="284"/>
                </a:lnTo>
                <a:lnTo>
                  <a:pt x="422" y="290"/>
                </a:lnTo>
                <a:lnTo>
                  <a:pt x="422" y="290"/>
                </a:lnTo>
                <a:lnTo>
                  <a:pt x="428" y="294"/>
                </a:lnTo>
                <a:lnTo>
                  <a:pt x="432" y="302"/>
                </a:lnTo>
                <a:lnTo>
                  <a:pt x="432" y="302"/>
                </a:lnTo>
                <a:lnTo>
                  <a:pt x="434" y="302"/>
                </a:lnTo>
                <a:lnTo>
                  <a:pt x="434" y="302"/>
                </a:lnTo>
                <a:lnTo>
                  <a:pt x="442" y="302"/>
                </a:lnTo>
                <a:lnTo>
                  <a:pt x="444" y="304"/>
                </a:lnTo>
                <a:lnTo>
                  <a:pt x="446" y="306"/>
                </a:lnTo>
                <a:lnTo>
                  <a:pt x="446" y="306"/>
                </a:lnTo>
                <a:lnTo>
                  <a:pt x="444" y="308"/>
                </a:lnTo>
                <a:lnTo>
                  <a:pt x="442" y="310"/>
                </a:lnTo>
                <a:lnTo>
                  <a:pt x="436" y="312"/>
                </a:lnTo>
                <a:lnTo>
                  <a:pt x="436" y="312"/>
                </a:lnTo>
                <a:lnTo>
                  <a:pt x="426" y="312"/>
                </a:lnTo>
                <a:lnTo>
                  <a:pt x="416" y="316"/>
                </a:lnTo>
                <a:lnTo>
                  <a:pt x="416" y="316"/>
                </a:lnTo>
                <a:lnTo>
                  <a:pt x="412" y="314"/>
                </a:lnTo>
                <a:lnTo>
                  <a:pt x="408" y="312"/>
                </a:lnTo>
                <a:lnTo>
                  <a:pt x="408" y="312"/>
                </a:lnTo>
                <a:lnTo>
                  <a:pt x="400" y="308"/>
                </a:lnTo>
                <a:lnTo>
                  <a:pt x="390" y="308"/>
                </a:lnTo>
                <a:lnTo>
                  <a:pt x="390" y="308"/>
                </a:lnTo>
                <a:lnTo>
                  <a:pt x="382" y="308"/>
                </a:lnTo>
                <a:lnTo>
                  <a:pt x="376" y="306"/>
                </a:lnTo>
                <a:lnTo>
                  <a:pt x="362" y="302"/>
                </a:lnTo>
                <a:lnTo>
                  <a:pt x="362" y="302"/>
                </a:lnTo>
                <a:lnTo>
                  <a:pt x="354" y="304"/>
                </a:lnTo>
                <a:lnTo>
                  <a:pt x="344" y="302"/>
                </a:lnTo>
                <a:lnTo>
                  <a:pt x="344" y="302"/>
                </a:lnTo>
                <a:lnTo>
                  <a:pt x="338" y="304"/>
                </a:lnTo>
                <a:lnTo>
                  <a:pt x="330" y="306"/>
                </a:lnTo>
                <a:lnTo>
                  <a:pt x="330" y="306"/>
                </a:lnTo>
                <a:lnTo>
                  <a:pt x="322" y="310"/>
                </a:lnTo>
                <a:lnTo>
                  <a:pt x="314" y="312"/>
                </a:lnTo>
                <a:lnTo>
                  <a:pt x="306" y="312"/>
                </a:lnTo>
                <a:lnTo>
                  <a:pt x="296" y="310"/>
                </a:lnTo>
                <a:lnTo>
                  <a:pt x="296" y="310"/>
                </a:lnTo>
                <a:lnTo>
                  <a:pt x="290" y="308"/>
                </a:lnTo>
                <a:lnTo>
                  <a:pt x="290" y="308"/>
                </a:lnTo>
                <a:lnTo>
                  <a:pt x="284" y="306"/>
                </a:lnTo>
                <a:lnTo>
                  <a:pt x="280" y="304"/>
                </a:lnTo>
                <a:lnTo>
                  <a:pt x="280" y="302"/>
                </a:lnTo>
                <a:lnTo>
                  <a:pt x="280" y="298"/>
                </a:lnTo>
                <a:lnTo>
                  <a:pt x="280" y="298"/>
                </a:lnTo>
                <a:lnTo>
                  <a:pt x="278" y="292"/>
                </a:lnTo>
                <a:lnTo>
                  <a:pt x="278" y="292"/>
                </a:lnTo>
                <a:lnTo>
                  <a:pt x="276" y="290"/>
                </a:lnTo>
                <a:lnTo>
                  <a:pt x="274" y="288"/>
                </a:lnTo>
                <a:lnTo>
                  <a:pt x="272" y="284"/>
                </a:lnTo>
                <a:lnTo>
                  <a:pt x="272" y="284"/>
                </a:lnTo>
                <a:lnTo>
                  <a:pt x="264" y="286"/>
                </a:lnTo>
                <a:lnTo>
                  <a:pt x="258" y="288"/>
                </a:lnTo>
                <a:lnTo>
                  <a:pt x="254" y="286"/>
                </a:lnTo>
                <a:lnTo>
                  <a:pt x="248" y="282"/>
                </a:lnTo>
                <a:lnTo>
                  <a:pt x="248" y="282"/>
                </a:lnTo>
                <a:lnTo>
                  <a:pt x="262" y="270"/>
                </a:lnTo>
                <a:lnTo>
                  <a:pt x="262" y="270"/>
                </a:lnTo>
                <a:lnTo>
                  <a:pt x="254" y="268"/>
                </a:lnTo>
                <a:lnTo>
                  <a:pt x="254" y="268"/>
                </a:lnTo>
                <a:lnTo>
                  <a:pt x="248" y="270"/>
                </a:lnTo>
                <a:lnTo>
                  <a:pt x="242" y="270"/>
                </a:lnTo>
                <a:lnTo>
                  <a:pt x="230" y="266"/>
                </a:lnTo>
                <a:lnTo>
                  <a:pt x="230" y="266"/>
                </a:lnTo>
                <a:lnTo>
                  <a:pt x="220" y="266"/>
                </a:lnTo>
                <a:lnTo>
                  <a:pt x="220" y="266"/>
                </a:lnTo>
                <a:lnTo>
                  <a:pt x="212" y="264"/>
                </a:lnTo>
                <a:lnTo>
                  <a:pt x="206" y="260"/>
                </a:lnTo>
                <a:lnTo>
                  <a:pt x="206" y="260"/>
                </a:lnTo>
                <a:lnTo>
                  <a:pt x="202" y="258"/>
                </a:lnTo>
                <a:lnTo>
                  <a:pt x="198" y="256"/>
                </a:lnTo>
                <a:lnTo>
                  <a:pt x="196" y="258"/>
                </a:lnTo>
                <a:lnTo>
                  <a:pt x="192" y="260"/>
                </a:lnTo>
                <a:lnTo>
                  <a:pt x="192" y="260"/>
                </a:lnTo>
                <a:lnTo>
                  <a:pt x="196" y="262"/>
                </a:lnTo>
                <a:lnTo>
                  <a:pt x="200" y="266"/>
                </a:lnTo>
                <a:lnTo>
                  <a:pt x="204" y="268"/>
                </a:lnTo>
                <a:lnTo>
                  <a:pt x="208" y="272"/>
                </a:lnTo>
                <a:lnTo>
                  <a:pt x="208" y="272"/>
                </a:lnTo>
                <a:lnTo>
                  <a:pt x="208" y="274"/>
                </a:lnTo>
                <a:lnTo>
                  <a:pt x="208" y="274"/>
                </a:lnTo>
                <a:lnTo>
                  <a:pt x="214" y="276"/>
                </a:lnTo>
                <a:lnTo>
                  <a:pt x="218" y="280"/>
                </a:lnTo>
                <a:lnTo>
                  <a:pt x="222" y="288"/>
                </a:lnTo>
                <a:lnTo>
                  <a:pt x="222" y="288"/>
                </a:lnTo>
                <a:lnTo>
                  <a:pt x="224" y="290"/>
                </a:lnTo>
                <a:lnTo>
                  <a:pt x="226" y="294"/>
                </a:lnTo>
                <a:lnTo>
                  <a:pt x="232" y="296"/>
                </a:lnTo>
                <a:lnTo>
                  <a:pt x="236" y="296"/>
                </a:lnTo>
                <a:lnTo>
                  <a:pt x="236" y="296"/>
                </a:lnTo>
                <a:lnTo>
                  <a:pt x="242" y="298"/>
                </a:lnTo>
                <a:lnTo>
                  <a:pt x="242" y="298"/>
                </a:lnTo>
                <a:lnTo>
                  <a:pt x="248" y="302"/>
                </a:lnTo>
                <a:lnTo>
                  <a:pt x="256" y="306"/>
                </a:lnTo>
                <a:lnTo>
                  <a:pt x="270" y="312"/>
                </a:lnTo>
                <a:lnTo>
                  <a:pt x="270" y="312"/>
                </a:lnTo>
                <a:lnTo>
                  <a:pt x="276" y="316"/>
                </a:lnTo>
                <a:lnTo>
                  <a:pt x="278" y="318"/>
                </a:lnTo>
                <a:lnTo>
                  <a:pt x="280" y="322"/>
                </a:lnTo>
                <a:lnTo>
                  <a:pt x="280" y="322"/>
                </a:lnTo>
                <a:lnTo>
                  <a:pt x="272" y="322"/>
                </a:lnTo>
                <a:lnTo>
                  <a:pt x="264" y="322"/>
                </a:lnTo>
                <a:lnTo>
                  <a:pt x="248" y="326"/>
                </a:lnTo>
                <a:lnTo>
                  <a:pt x="248" y="326"/>
                </a:lnTo>
                <a:lnTo>
                  <a:pt x="272" y="328"/>
                </a:lnTo>
                <a:lnTo>
                  <a:pt x="272" y="328"/>
                </a:lnTo>
                <a:lnTo>
                  <a:pt x="278" y="330"/>
                </a:lnTo>
                <a:lnTo>
                  <a:pt x="278" y="334"/>
                </a:lnTo>
                <a:lnTo>
                  <a:pt x="278" y="334"/>
                </a:lnTo>
                <a:lnTo>
                  <a:pt x="262" y="334"/>
                </a:lnTo>
                <a:lnTo>
                  <a:pt x="256" y="334"/>
                </a:lnTo>
                <a:lnTo>
                  <a:pt x="252" y="338"/>
                </a:lnTo>
                <a:lnTo>
                  <a:pt x="252" y="338"/>
                </a:lnTo>
                <a:lnTo>
                  <a:pt x="274" y="342"/>
                </a:lnTo>
                <a:lnTo>
                  <a:pt x="274" y="342"/>
                </a:lnTo>
                <a:lnTo>
                  <a:pt x="280" y="342"/>
                </a:lnTo>
                <a:lnTo>
                  <a:pt x="286" y="340"/>
                </a:lnTo>
                <a:lnTo>
                  <a:pt x="286" y="340"/>
                </a:lnTo>
                <a:lnTo>
                  <a:pt x="282" y="334"/>
                </a:lnTo>
                <a:lnTo>
                  <a:pt x="282" y="334"/>
                </a:lnTo>
                <a:lnTo>
                  <a:pt x="288" y="332"/>
                </a:lnTo>
                <a:lnTo>
                  <a:pt x="288" y="332"/>
                </a:lnTo>
                <a:lnTo>
                  <a:pt x="302" y="336"/>
                </a:lnTo>
                <a:lnTo>
                  <a:pt x="302" y="336"/>
                </a:lnTo>
                <a:lnTo>
                  <a:pt x="308" y="338"/>
                </a:lnTo>
                <a:lnTo>
                  <a:pt x="310" y="340"/>
                </a:lnTo>
                <a:lnTo>
                  <a:pt x="310" y="342"/>
                </a:lnTo>
                <a:lnTo>
                  <a:pt x="310" y="342"/>
                </a:lnTo>
                <a:lnTo>
                  <a:pt x="310" y="346"/>
                </a:lnTo>
                <a:lnTo>
                  <a:pt x="310" y="346"/>
                </a:lnTo>
                <a:lnTo>
                  <a:pt x="324" y="348"/>
                </a:lnTo>
                <a:lnTo>
                  <a:pt x="324" y="348"/>
                </a:lnTo>
                <a:lnTo>
                  <a:pt x="322" y="352"/>
                </a:lnTo>
                <a:lnTo>
                  <a:pt x="320" y="356"/>
                </a:lnTo>
                <a:lnTo>
                  <a:pt x="314" y="358"/>
                </a:lnTo>
                <a:lnTo>
                  <a:pt x="308" y="360"/>
                </a:lnTo>
                <a:lnTo>
                  <a:pt x="308" y="360"/>
                </a:lnTo>
                <a:lnTo>
                  <a:pt x="304" y="360"/>
                </a:lnTo>
                <a:lnTo>
                  <a:pt x="302" y="362"/>
                </a:lnTo>
                <a:lnTo>
                  <a:pt x="300" y="366"/>
                </a:lnTo>
                <a:lnTo>
                  <a:pt x="300" y="366"/>
                </a:lnTo>
                <a:lnTo>
                  <a:pt x="288" y="366"/>
                </a:lnTo>
                <a:lnTo>
                  <a:pt x="280" y="366"/>
                </a:lnTo>
                <a:lnTo>
                  <a:pt x="272" y="364"/>
                </a:lnTo>
                <a:lnTo>
                  <a:pt x="262" y="360"/>
                </a:lnTo>
                <a:lnTo>
                  <a:pt x="262" y="360"/>
                </a:lnTo>
                <a:lnTo>
                  <a:pt x="268" y="356"/>
                </a:lnTo>
                <a:lnTo>
                  <a:pt x="268" y="356"/>
                </a:lnTo>
                <a:lnTo>
                  <a:pt x="266" y="354"/>
                </a:lnTo>
                <a:lnTo>
                  <a:pt x="266" y="354"/>
                </a:lnTo>
                <a:lnTo>
                  <a:pt x="260" y="356"/>
                </a:lnTo>
                <a:lnTo>
                  <a:pt x="256" y="358"/>
                </a:lnTo>
                <a:lnTo>
                  <a:pt x="244" y="356"/>
                </a:lnTo>
                <a:lnTo>
                  <a:pt x="244" y="356"/>
                </a:lnTo>
                <a:lnTo>
                  <a:pt x="250" y="352"/>
                </a:lnTo>
                <a:lnTo>
                  <a:pt x="250" y="352"/>
                </a:lnTo>
                <a:lnTo>
                  <a:pt x="242" y="348"/>
                </a:lnTo>
                <a:lnTo>
                  <a:pt x="242" y="348"/>
                </a:lnTo>
                <a:lnTo>
                  <a:pt x="236" y="348"/>
                </a:lnTo>
                <a:lnTo>
                  <a:pt x="236" y="348"/>
                </a:lnTo>
                <a:lnTo>
                  <a:pt x="228" y="348"/>
                </a:lnTo>
                <a:lnTo>
                  <a:pt x="220" y="346"/>
                </a:lnTo>
                <a:lnTo>
                  <a:pt x="220" y="346"/>
                </a:lnTo>
                <a:lnTo>
                  <a:pt x="214" y="346"/>
                </a:lnTo>
                <a:lnTo>
                  <a:pt x="208" y="348"/>
                </a:lnTo>
                <a:lnTo>
                  <a:pt x="208" y="348"/>
                </a:lnTo>
                <a:lnTo>
                  <a:pt x="202" y="348"/>
                </a:lnTo>
                <a:lnTo>
                  <a:pt x="202" y="348"/>
                </a:lnTo>
                <a:lnTo>
                  <a:pt x="194" y="350"/>
                </a:lnTo>
                <a:lnTo>
                  <a:pt x="194" y="350"/>
                </a:lnTo>
                <a:lnTo>
                  <a:pt x="196" y="352"/>
                </a:lnTo>
                <a:lnTo>
                  <a:pt x="200" y="352"/>
                </a:lnTo>
                <a:lnTo>
                  <a:pt x="200" y="354"/>
                </a:lnTo>
                <a:lnTo>
                  <a:pt x="200" y="356"/>
                </a:lnTo>
                <a:lnTo>
                  <a:pt x="200" y="356"/>
                </a:lnTo>
                <a:lnTo>
                  <a:pt x="194" y="358"/>
                </a:lnTo>
                <a:lnTo>
                  <a:pt x="194" y="358"/>
                </a:lnTo>
                <a:lnTo>
                  <a:pt x="184" y="354"/>
                </a:lnTo>
                <a:lnTo>
                  <a:pt x="184" y="354"/>
                </a:lnTo>
                <a:lnTo>
                  <a:pt x="178" y="358"/>
                </a:lnTo>
                <a:lnTo>
                  <a:pt x="172" y="360"/>
                </a:lnTo>
                <a:lnTo>
                  <a:pt x="172" y="360"/>
                </a:lnTo>
                <a:lnTo>
                  <a:pt x="166" y="360"/>
                </a:lnTo>
                <a:lnTo>
                  <a:pt x="160" y="362"/>
                </a:lnTo>
                <a:lnTo>
                  <a:pt x="154" y="364"/>
                </a:lnTo>
                <a:lnTo>
                  <a:pt x="148" y="366"/>
                </a:lnTo>
                <a:lnTo>
                  <a:pt x="148" y="366"/>
                </a:lnTo>
                <a:lnTo>
                  <a:pt x="144" y="370"/>
                </a:lnTo>
                <a:lnTo>
                  <a:pt x="138" y="374"/>
                </a:lnTo>
                <a:lnTo>
                  <a:pt x="132" y="376"/>
                </a:lnTo>
                <a:lnTo>
                  <a:pt x="126" y="380"/>
                </a:lnTo>
                <a:lnTo>
                  <a:pt x="126" y="380"/>
                </a:lnTo>
                <a:lnTo>
                  <a:pt x="122" y="382"/>
                </a:lnTo>
                <a:lnTo>
                  <a:pt x="116" y="382"/>
                </a:lnTo>
                <a:lnTo>
                  <a:pt x="116" y="382"/>
                </a:lnTo>
                <a:lnTo>
                  <a:pt x="114" y="380"/>
                </a:lnTo>
                <a:lnTo>
                  <a:pt x="114" y="378"/>
                </a:lnTo>
                <a:lnTo>
                  <a:pt x="116" y="376"/>
                </a:lnTo>
                <a:lnTo>
                  <a:pt x="116" y="376"/>
                </a:lnTo>
                <a:lnTo>
                  <a:pt x="114" y="374"/>
                </a:lnTo>
                <a:lnTo>
                  <a:pt x="114" y="374"/>
                </a:lnTo>
                <a:lnTo>
                  <a:pt x="110" y="374"/>
                </a:lnTo>
                <a:lnTo>
                  <a:pt x="108" y="376"/>
                </a:lnTo>
                <a:lnTo>
                  <a:pt x="104" y="380"/>
                </a:lnTo>
                <a:lnTo>
                  <a:pt x="104" y="380"/>
                </a:lnTo>
                <a:lnTo>
                  <a:pt x="98" y="384"/>
                </a:lnTo>
                <a:lnTo>
                  <a:pt x="90" y="386"/>
                </a:lnTo>
                <a:lnTo>
                  <a:pt x="90" y="386"/>
                </a:lnTo>
                <a:lnTo>
                  <a:pt x="78" y="388"/>
                </a:lnTo>
                <a:lnTo>
                  <a:pt x="72" y="390"/>
                </a:lnTo>
                <a:lnTo>
                  <a:pt x="66" y="394"/>
                </a:lnTo>
                <a:lnTo>
                  <a:pt x="66" y="394"/>
                </a:lnTo>
                <a:lnTo>
                  <a:pt x="62" y="396"/>
                </a:lnTo>
                <a:lnTo>
                  <a:pt x="62" y="396"/>
                </a:lnTo>
                <a:lnTo>
                  <a:pt x="38" y="410"/>
                </a:lnTo>
                <a:lnTo>
                  <a:pt x="38" y="410"/>
                </a:lnTo>
                <a:lnTo>
                  <a:pt x="32" y="412"/>
                </a:lnTo>
                <a:lnTo>
                  <a:pt x="30" y="414"/>
                </a:lnTo>
                <a:lnTo>
                  <a:pt x="30" y="414"/>
                </a:lnTo>
                <a:lnTo>
                  <a:pt x="28" y="420"/>
                </a:lnTo>
                <a:lnTo>
                  <a:pt x="24" y="422"/>
                </a:lnTo>
                <a:lnTo>
                  <a:pt x="18" y="430"/>
                </a:lnTo>
                <a:lnTo>
                  <a:pt x="18" y="430"/>
                </a:lnTo>
                <a:lnTo>
                  <a:pt x="24" y="432"/>
                </a:lnTo>
                <a:lnTo>
                  <a:pt x="28" y="432"/>
                </a:lnTo>
                <a:lnTo>
                  <a:pt x="28" y="432"/>
                </a:lnTo>
                <a:lnTo>
                  <a:pt x="34" y="436"/>
                </a:lnTo>
                <a:lnTo>
                  <a:pt x="42" y="438"/>
                </a:lnTo>
                <a:lnTo>
                  <a:pt x="42" y="438"/>
                </a:lnTo>
                <a:lnTo>
                  <a:pt x="46" y="438"/>
                </a:lnTo>
                <a:lnTo>
                  <a:pt x="48" y="440"/>
                </a:lnTo>
                <a:lnTo>
                  <a:pt x="48" y="442"/>
                </a:lnTo>
                <a:lnTo>
                  <a:pt x="44" y="446"/>
                </a:lnTo>
                <a:lnTo>
                  <a:pt x="44" y="446"/>
                </a:lnTo>
                <a:lnTo>
                  <a:pt x="42" y="450"/>
                </a:lnTo>
                <a:lnTo>
                  <a:pt x="42" y="450"/>
                </a:lnTo>
                <a:lnTo>
                  <a:pt x="42" y="458"/>
                </a:lnTo>
                <a:lnTo>
                  <a:pt x="42" y="460"/>
                </a:lnTo>
                <a:lnTo>
                  <a:pt x="38" y="464"/>
                </a:lnTo>
                <a:lnTo>
                  <a:pt x="38" y="464"/>
                </a:lnTo>
                <a:lnTo>
                  <a:pt x="38" y="468"/>
                </a:lnTo>
                <a:lnTo>
                  <a:pt x="40" y="472"/>
                </a:lnTo>
                <a:lnTo>
                  <a:pt x="40" y="472"/>
                </a:lnTo>
                <a:lnTo>
                  <a:pt x="40" y="476"/>
                </a:lnTo>
                <a:lnTo>
                  <a:pt x="36" y="488"/>
                </a:lnTo>
                <a:lnTo>
                  <a:pt x="22" y="522"/>
                </a:lnTo>
                <a:lnTo>
                  <a:pt x="0" y="574"/>
                </a:lnTo>
                <a:lnTo>
                  <a:pt x="0" y="574"/>
                </a:lnTo>
                <a:lnTo>
                  <a:pt x="0" y="578"/>
                </a:lnTo>
                <a:lnTo>
                  <a:pt x="0" y="584"/>
                </a:lnTo>
                <a:lnTo>
                  <a:pt x="4" y="594"/>
                </a:lnTo>
                <a:lnTo>
                  <a:pt x="4" y="594"/>
                </a:lnTo>
                <a:lnTo>
                  <a:pt x="6" y="598"/>
                </a:lnTo>
                <a:lnTo>
                  <a:pt x="10" y="602"/>
                </a:lnTo>
                <a:lnTo>
                  <a:pt x="10" y="602"/>
                </a:lnTo>
                <a:lnTo>
                  <a:pt x="16" y="606"/>
                </a:lnTo>
                <a:lnTo>
                  <a:pt x="16" y="610"/>
                </a:lnTo>
                <a:lnTo>
                  <a:pt x="16" y="614"/>
                </a:lnTo>
                <a:lnTo>
                  <a:pt x="16" y="614"/>
                </a:lnTo>
                <a:lnTo>
                  <a:pt x="10" y="618"/>
                </a:lnTo>
                <a:lnTo>
                  <a:pt x="10" y="618"/>
                </a:lnTo>
                <a:lnTo>
                  <a:pt x="6" y="622"/>
                </a:lnTo>
                <a:lnTo>
                  <a:pt x="6" y="624"/>
                </a:lnTo>
                <a:lnTo>
                  <a:pt x="10" y="626"/>
                </a:lnTo>
                <a:lnTo>
                  <a:pt x="10" y="626"/>
                </a:lnTo>
                <a:lnTo>
                  <a:pt x="14" y="628"/>
                </a:lnTo>
                <a:lnTo>
                  <a:pt x="14" y="628"/>
                </a:lnTo>
                <a:lnTo>
                  <a:pt x="12" y="658"/>
                </a:lnTo>
                <a:lnTo>
                  <a:pt x="10" y="718"/>
                </a:lnTo>
                <a:lnTo>
                  <a:pt x="10" y="778"/>
                </a:lnTo>
                <a:lnTo>
                  <a:pt x="8" y="806"/>
                </a:lnTo>
                <a:lnTo>
                  <a:pt x="8" y="806"/>
                </a:lnTo>
                <a:lnTo>
                  <a:pt x="20" y="808"/>
                </a:lnTo>
                <a:lnTo>
                  <a:pt x="28" y="814"/>
                </a:lnTo>
                <a:lnTo>
                  <a:pt x="28" y="814"/>
                </a:lnTo>
                <a:lnTo>
                  <a:pt x="34" y="818"/>
                </a:lnTo>
                <a:lnTo>
                  <a:pt x="42" y="816"/>
                </a:lnTo>
                <a:lnTo>
                  <a:pt x="42" y="816"/>
                </a:lnTo>
                <a:lnTo>
                  <a:pt x="52" y="816"/>
                </a:lnTo>
                <a:lnTo>
                  <a:pt x="52" y="816"/>
                </a:lnTo>
                <a:lnTo>
                  <a:pt x="52" y="818"/>
                </a:lnTo>
                <a:lnTo>
                  <a:pt x="52" y="818"/>
                </a:lnTo>
                <a:lnTo>
                  <a:pt x="40" y="820"/>
                </a:lnTo>
                <a:lnTo>
                  <a:pt x="40" y="820"/>
                </a:lnTo>
                <a:lnTo>
                  <a:pt x="34" y="822"/>
                </a:lnTo>
                <a:lnTo>
                  <a:pt x="32" y="828"/>
                </a:lnTo>
                <a:lnTo>
                  <a:pt x="32" y="828"/>
                </a:lnTo>
                <a:lnTo>
                  <a:pt x="32" y="834"/>
                </a:lnTo>
                <a:lnTo>
                  <a:pt x="32" y="834"/>
                </a:lnTo>
                <a:lnTo>
                  <a:pt x="6" y="838"/>
                </a:lnTo>
                <a:lnTo>
                  <a:pt x="6" y="838"/>
                </a:lnTo>
                <a:lnTo>
                  <a:pt x="20" y="842"/>
                </a:lnTo>
                <a:lnTo>
                  <a:pt x="20" y="842"/>
                </a:lnTo>
                <a:lnTo>
                  <a:pt x="10" y="846"/>
                </a:lnTo>
                <a:lnTo>
                  <a:pt x="10" y="846"/>
                </a:lnTo>
                <a:lnTo>
                  <a:pt x="34" y="856"/>
                </a:lnTo>
                <a:lnTo>
                  <a:pt x="34" y="856"/>
                </a:lnTo>
                <a:lnTo>
                  <a:pt x="20" y="858"/>
                </a:lnTo>
                <a:lnTo>
                  <a:pt x="20" y="858"/>
                </a:lnTo>
                <a:lnTo>
                  <a:pt x="22" y="862"/>
                </a:lnTo>
                <a:lnTo>
                  <a:pt x="26" y="862"/>
                </a:lnTo>
                <a:lnTo>
                  <a:pt x="32" y="862"/>
                </a:lnTo>
                <a:lnTo>
                  <a:pt x="32" y="862"/>
                </a:lnTo>
                <a:lnTo>
                  <a:pt x="48" y="862"/>
                </a:lnTo>
                <a:lnTo>
                  <a:pt x="48" y="862"/>
                </a:lnTo>
                <a:lnTo>
                  <a:pt x="44" y="868"/>
                </a:lnTo>
                <a:lnTo>
                  <a:pt x="44" y="868"/>
                </a:lnTo>
                <a:lnTo>
                  <a:pt x="38" y="868"/>
                </a:lnTo>
                <a:lnTo>
                  <a:pt x="38" y="868"/>
                </a:lnTo>
                <a:lnTo>
                  <a:pt x="32" y="868"/>
                </a:lnTo>
                <a:lnTo>
                  <a:pt x="28" y="870"/>
                </a:lnTo>
                <a:lnTo>
                  <a:pt x="26" y="872"/>
                </a:lnTo>
                <a:lnTo>
                  <a:pt x="26" y="872"/>
                </a:lnTo>
                <a:lnTo>
                  <a:pt x="26" y="874"/>
                </a:lnTo>
                <a:lnTo>
                  <a:pt x="28" y="876"/>
                </a:lnTo>
                <a:lnTo>
                  <a:pt x="34" y="878"/>
                </a:lnTo>
                <a:lnTo>
                  <a:pt x="34" y="878"/>
                </a:lnTo>
                <a:lnTo>
                  <a:pt x="52" y="880"/>
                </a:lnTo>
                <a:lnTo>
                  <a:pt x="52" y="880"/>
                </a:lnTo>
                <a:lnTo>
                  <a:pt x="50" y="882"/>
                </a:lnTo>
                <a:lnTo>
                  <a:pt x="50" y="882"/>
                </a:lnTo>
                <a:lnTo>
                  <a:pt x="46" y="882"/>
                </a:lnTo>
                <a:lnTo>
                  <a:pt x="46" y="882"/>
                </a:lnTo>
                <a:lnTo>
                  <a:pt x="56" y="884"/>
                </a:lnTo>
                <a:lnTo>
                  <a:pt x="60" y="888"/>
                </a:lnTo>
                <a:lnTo>
                  <a:pt x="60" y="888"/>
                </a:lnTo>
                <a:lnTo>
                  <a:pt x="44" y="896"/>
                </a:lnTo>
                <a:lnTo>
                  <a:pt x="44" y="896"/>
                </a:lnTo>
                <a:lnTo>
                  <a:pt x="58" y="894"/>
                </a:lnTo>
                <a:lnTo>
                  <a:pt x="64" y="896"/>
                </a:lnTo>
                <a:lnTo>
                  <a:pt x="70" y="898"/>
                </a:lnTo>
                <a:lnTo>
                  <a:pt x="70" y="898"/>
                </a:lnTo>
                <a:lnTo>
                  <a:pt x="64" y="900"/>
                </a:lnTo>
                <a:lnTo>
                  <a:pt x="64" y="900"/>
                </a:lnTo>
                <a:lnTo>
                  <a:pt x="64" y="904"/>
                </a:lnTo>
                <a:lnTo>
                  <a:pt x="62" y="906"/>
                </a:lnTo>
                <a:lnTo>
                  <a:pt x="58" y="908"/>
                </a:lnTo>
                <a:lnTo>
                  <a:pt x="58" y="908"/>
                </a:lnTo>
                <a:lnTo>
                  <a:pt x="54" y="914"/>
                </a:lnTo>
                <a:lnTo>
                  <a:pt x="52" y="916"/>
                </a:lnTo>
                <a:lnTo>
                  <a:pt x="52" y="918"/>
                </a:lnTo>
                <a:lnTo>
                  <a:pt x="52" y="918"/>
                </a:lnTo>
                <a:lnTo>
                  <a:pt x="76" y="922"/>
                </a:lnTo>
                <a:lnTo>
                  <a:pt x="76" y="922"/>
                </a:lnTo>
                <a:lnTo>
                  <a:pt x="78" y="932"/>
                </a:lnTo>
                <a:lnTo>
                  <a:pt x="78" y="932"/>
                </a:lnTo>
                <a:lnTo>
                  <a:pt x="100" y="936"/>
                </a:lnTo>
                <a:lnTo>
                  <a:pt x="100" y="936"/>
                </a:lnTo>
                <a:lnTo>
                  <a:pt x="92" y="940"/>
                </a:lnTo>
                <a:lnTo>
                  <a:pt x="92" y="940"/>
                </a:lnTo>
                <a:lnTo>
                  <a:pt x="96" y="948"/>
                </a:lnTo>
                <a:lnTo>
                  <a:pt x="96" y="948"/>
                </a:lnTo>
                <a:lnTo>
                  <a:pt x="86" y="946"/>
                </a:lnTo>
                <a:lnTo>
                  <a:pt x="86" y="946"/>
                </a:lnTo>
                <a:lnTo>
                  <a:pt x="84" y="948"/>
                </a:lnTo>
                <a:lnTo>
                  <a:pt x="84" y="948"/>
                </a:lnTo>
                <a:lnTo>
                  <a:pt x="94" y="956"/>
                </a:lnTo>
                <a:lnTo>
                  <a:pt x="100" y="960"/>
                </a:lnTo>
                <a:lnTo>
                  <a:pt x="108" y="962"/>
                </a:lnTo>
                <a:lnTo>
                  <a:pt x="108" y="962"/>
                </a:lnTo>
                <a:lnTo>
                  <a:pt x="112" y="964"/>
                </a:lnTo>
                <a:lnTo>
                  <a:pt x="116" y="968"/>
                </a:lnTo>
                <a:lnTo>
                  <a:pt x="116" y="968"/>
                </a:lnTo>
                <a:lnTo>
                  <a:pt x="120" y="972"/>
                </a:lnTo>
                <a:lnTo>
                  <a:pt x="124" y="974"/>
                </a:lnTo>
                <a:lnTo>
                  <a:pt x="130" y="974"/>
                </a:lnTo>
                <a:lnTo>
                  <a:pt x="130" y="974"/>
                </a:lnTo>
                <a:lnTo>
                  <a:pt x="136" y="976"/>
                </a:lnTo>
                <a:lnTo>
                  <a:pt x="142" y="978"/>
                </a:lnTo>
                <a:lnTo>
                  <a:pt x="142" y="978"/>
                </a:lnTo>
                <a:lnTo>
                  <a:pt x="148" y="980"/>
                </a:lnTo>
                <a:lnTo>
                  <a:pt x="156" y="982"/>
                </a:lnTo>
                <a:lnTo>
                  <a:pt x="170" y="980"/>
                </a:lnTo>
                <a:lnTo>
                  <a:pt x="170" y="980"/>
                </a:lnTo>
                <a:lnTo>
                  <a:pt x="182" y="978"/>
                </a:lnTo>
                <a:lnTo>
                  <a:pt x="188" y="980"/>
                </a:lnTo>
                <a:lnTo>
                  <a:pt x="196" y="982"/>
                </a:lnTo>
                <a:lnTo>
                  <a:pt x="196" y="982"/>
                </a:lnTo>
                <a:lnTo>
                  <a:pt x="192" y="990"/>
                </a:lnTo>
                <a:lnTo>
                  <a:pt x="192" y="990"/>
                </a:lnTo>
                <a:lnTo>
                  <a:pt x="204" y="994"/>
                </a:lnTo>
                <a:lnTo>
                  <a:pt x="204" y="994"/>
                </a:lnTo>
                <a:lnTo>
                  <a:pt x="228" y="986"/>
                </a:lnTo>
                <a:lnTo>
                  <a:pt x="228" y="986"/>
                </a:lnTo>
                <a:lnTo>
                  <a:pt x="222" y="982"/>
                </a:lnTo>
                <a:lnTo>
                  <a:pt x="222" y="982"/>
                </a:lnTo>
                <a:lnTo>
                  <a:pt x="236" y="980"/>
                </a:lnTo>
                <a:lnTo>
                  <a:pt x="236" y="980"/>
                </a:lnTo>
                <a:lnTo>
                  <a:pt x="236" y="978"/>
                </a:lnTo>
                <a:lnTo>
                  <a:pt x="236" y="978"/>
                </a:lnTo>
                <a:lnTo>
                  <a:pt x="222" y="974"/>
                </a:lnTo>
                <a:lnTo>
                  <a:pt x="222" y="974"/>
                </a:lnTo>
                <a:lnTo>
                  <a:pt x="236" y="968"/>
                </a:lnTo>
                <a:lnTo>
                  <a:pt x="236" y="968"/>
                </a:lnTo>
                <a:lnTo>
                  <a:pt x="236" y="964"/>
                </a:lnTo>
                <a:lnTo>
                  <a:pt x="240" y="960"/>
                </a:lnTo>
                <a:lnTo>
                  <a:pt x="240" y="960"/>
                </a:lnTo>
                <a:lnTo>
                  <a:pt x="236" y="956"/>
                </a:lnTo>
                <a:lnTo>
                  <a:pt x="236" y="956"/>
                </a:lnTo>
                <a:lnTo>
                  <a:pt x="256" y="956"/>
                </a:lnTo>
                <a:lnTo>
                  <a:pt x="266" y="956"/>
                </a:lnTo>
                <a:lnTo>
                  <a:pt x="274" y="952"/>
                </a:lnTo>
                <a:lnTo>
                  <a:pt x="274" y="952"/>
                </a:lnTo>
                <a:lnTo>
                  <a:pt x="278" y="952"/>
                </a:lnTo>
                <a:lnTo>
                  <a:pt x="282" y="956"/>
                </a:lnTo>
                <a:lnTo>
                  <a:pt x="282" y="956"/>
                </a:lnTo>
                <a:lnTo>
                  <a:pt x="286" y="956"/>
                </a:lnTo>
                <a:lnTo>
                  <a:pt x="286" y="956"/>
                </a:lnTo>
                <a:lnTo>
                  <a:pt x="288" y="950"/>
                </a:lnTo>
                <a:lnTo>
                  <a:pt x="288" y="950"/>
                </a:lnTo>
                <a:lnTo>
                  <a:pt x="308" y="956"/>
                </a:lnTo>
                <a:lnTo>
                  <a:pt x="308" y="956"/>
                </a:lnTo>
                <a:lnTo>
                  <a:pt x="306" y="958"/>
                </a:lnTo>
                <a:lnTo>
                  <a:pt x="306" y="958"/>
                </a:lnTo>
                <a:lnTo>
                  <a:pt x="302" y="962"/>
                </a:lnTo>
                <a:lnTo>
                  <a:pt x="300" y="966"/>
                </a:lnTo>
                <a:lnTo>
                  <a:pt x="300" y="968"/>
                </a:lnTo>
                <a:lnTo>
                  <a:pt x="300" y="972"/>
                </a:lnTo>
                <a:lnTo>
                  <a:pt x="300" y="972"/>
                </a:lnTo>
                <a:lnTo>
                  <a:pt x="322" y="978"/>
                </a:lnTo>
                <a:lnTo>
                  <a:pt x="322" y="978"/>
                </a:lnTo>
                <a:lnTo>
                  <a:pt x="332" y="978"/>
                </a:lnTo>
                <a:lnTo>
                  <a:pt x="338" y="976"/>
                </a:lnTo>
                <a:lnTo>
                  <a:pt x="342" y="974"/>
                </a:lnTo>
                <a:lnTo>
                  <a:pt x="342" y="974"/>
                </a:lnTo>
                <a:lnTo>
                  <a:pt x="346" y="972"/>
                </a:lnTo>
                <a:lnTo>
                  <a:pt x="350" y="974"/>
                </a:lnTo>
                <a:lnTo>
                  <a:pt x="350" y="974"/>
                </a:lnTo>
                <a:lnTo>
                  <a:pt x="360" y="980"/>
                </a:lnTo>
                <a:lnTo>
                  <a:pt x="360" y="980"/>
                </a:lnTo>
                <a:lnTo>
                  <a:pt x="350" y="984"/>
                </a:lnTo>
                <a:lnTo>
                  <a:pt x="350" y="984"/>
                </a:lnTo>
                <a:lnTo>
                  <a:pt x="346" y="980"/>
                </a:lnTo>
                <a:lnTo>
                  <a:pt x="346" y="980"/>
                </a:lnTo>
                <a:lnTo>
                  <a:pt x="342" y="980"/>
                </a:lnTo>
                <a:lnTo>
                  <a:pt x="340" y="982"/>
                </a:lnTo>
                <a:lnTo>
                  <a:pt x="340" y="982"/>
                </a:lnTo>
                <a:lnTo>
                  <a:pt x="334" y="990"/>
                </a:lnTo>
                <a:lnTo>
                  <a:pt x="334" y="990"/>
                </a:lnTo>
                <a:lnTo>
                  <a:pt x="336" y="992"/>
                </a:lnTo>
                <a:lnTo>
                  <a:pt x="338" y="994"/>
                </a:lnTo>
                <a:lnTo>
                  <a:pt x="338" y="994"/>
                </a:lnTo>
                <a:lnTo>
                  <a:pt x="356" y="1002"/>
                </a:lnTo>
                <a:lnTo>
                  <a:pt x="356" y="1002"/>
                </a:lnTo>
                <a:lnTo>
                  <a:pt x="356" y="1006"/>
                </a:lnTo>
                <a:lnTo>
                  <a:pt x="358" y="1010"/>
                </a:lnTo>
                <a:lnTo>
                  <a:pt x="362" y="1010"/>
                </a:lnTo>
                <a:lnTo>
                  <a:pt x="370" y="1012"/>
                </a:lnTo>
                <a:lnTo>
                  <a:pt x="370" y="1012"/>
                </a:lnTo>
                <a:lnTo>
                  <a:pt x="376" y="1012"/>
                </a:lnTo>
                <a:lnTo>
                  <a:pt x="376" y="1012"/>
                </a:lnTo>
                <a:lnTo>
                  <a:pt x="382" y="1014"/>
                </a:lnTo>
                <a:lnTo>
                  <a:pt x="382" y="1014"/>
                </a:lnTo>
                <a:lnTo>
                  <a:pt x="382" y="1018"/>
                </a:lnTo>
                <a:lnTo>
                  <a:pt x="382" y="1018"/>
                </a:lnTo>
                <a:lnTo>
                  <a:pt x="370" y="1020"/>
                </a:lnTo>
                <a:lnTo>
                  <a:pt x="370" y="1020"/>
                </a:lnTo>
                <a:lnTo>
                  <a:pt x="384" y="1022"/>
                </a:lnTo>
                <a:lnTo>
                  <a:pt x="390" y="1024"/>
                </a:lnTo>
                <a:lnTo>
                  <a:pt x="392" y="1028"/>
                </a:lnTo>
                <a:lnTo>
                  <a:pt x="392" y="1028"/>
                </a:lnTo>
                <a:lnTo>
                  <a:pt x="402" y="1026"/>
                </a:lnTo>
                <a:lnTo>
                  <a:pt x="406" y="1028"/>
                </a:lnTo>
                <a:lnTo>
                  <a:pt x="408" y="1030"/>
                </a:lnTo>
                <a:lnTo>
                  <a:pt x="408" y="1030"/>
                </a:lnTo>
                <a:lnTo>
                  <a:pt x="404" y="1034"/>
                </a:lnTo>
                <a:lnTo>
                  <a:pt x="400" y="1038"/>
                </a:lnTo>
                <a:lnTo>
                  <a:pt x="400" y="1038"/>
                </a:lnTo>
                <a:lnTo>
                  <a:pt x="412" y="1040"/>
                </a:lnTo>
                <a:lnTo>
                  <a:pt x="412" y="1040"/>
                </a:lnTo>
                <a:lnTo>
                  <a:pt x="420" y="1040"/>
                </a:lnTo>
                <a:lnTo>
                  <a:pt x="420" y="1040"/>
                </a:lnTo>
                <a:lnTo>
                  <a:pt x="424" y="1040"/>
                </a:lnTo>
                <a:lnTo>
                  <a:pt x="426" y="1036"/>
                </a:lnTo>
                <a:lnTo>
                  <a:pt x="432" y="1022"/>
                </a:lnTo>
                <a:lnTo>
                  <a:pt x="440" y="984"/>
                </a:lnTo>
                <a:lnTo>
                  <a:pt x="440" y="984"/>
                </a:lnTo>
                <a:lnTo>
                  <a:pt x="448" y="980"/>
                </a:lnTo>
                <a:lnTo>
                  <a:pt x="448" y="980"/>
                </a:lnTo>
                <a:lnTo>
                  <a:pt x="456" y="980"/>
                </a:lnTo>
                <a:lnTo>
                  <a:pt x="462" y="980"/>
                </a:lnTo>
                <a:lnTo>
                  <a:pt x="478" y="982"/>
                </a:lnTo>
                <a:lnTo>
                  <a:pt x="478" y="982"/>
                </a:lnTo>
                <a:lnTo>
                  <a:pt x="480" y="984"/>
                </a:lnTo>
                <a:lnTo>
                  <a:pt x="482" y="986"/>
                </a:lnTo>
                <a:lnTo>
                  <a:pt x="480" y="990"/>
                </a:lnTo>
                <a:lnTo>
                  <a:pt x="480" y="990"/>
                </a:lnTo>
                <a:lnTo>
                  <a:pt x="474" y="992"/>
                </a:lnTo>
                <a:lnTo>
                  <a:pt x="474" y="992"/>
                </a:lnTo>
                <a:lnTo>
                  <a:pt x="482" y="998"/>
                </a:lnTo>
                <a:lnTo>
                  <a:pt x="482" y="998"/>
                </a:lnTo>
                <a:lnTo>
                  <a:pt x="494" y="990"/>
                </a:lnTo>
                <a:lnTo>
                  <a:pt x="502" y="988"/>
                </a:lnTo>
                <a:lnTo>
                  <a:pt x="512" y="986"/>
                </a:lnTo>
                <a:lnTo>
                  <a:pt x="524" y="984"/>
                </a:lnTo>
                <a:lnTo>
                  <a:pt x="524" y="984"/>
                </a:lnTo>
                <a:lnTo>
                  <a:pt x="524" y="990"/>
                </a:lnTo>
                <a:lnTo>
                  <a:pt x="518" y="992"/>
                </a:lnTo>
                <a:lnTo>
                  <a:pt x="518" y="992"/>
                </a:lnTo>
                <a:lnTo>
                  <a:pt x="502" y="994"/>
                </a:lnTo>
                <a:lnTo>
                  <a:pt x="502" y="994"/>
                </a:lnTo>
                <a:lnTo>
                  <a:pt x="514" y="1004"/>
                </a:lnTo>
                <a:lnTo>
                  <a:pt x="514" y="1004"/>
                </a:lnTo>
                <a:lnTo>
                  <a:pt x="506" y="1010"/>
                </a:lnTo>
                <a:lnTo>
                  <a:pt x="506" y="1010"/>
                </a:lnTo>
                <a:lnTo>
                  <a:pt x="516" y="1014"/>
                </a:lnTo>
                <a:lnTo>
                  <a:pt x="516" y="1014"/>
                </a:lnTo>
                <a:lnTo>
                  <a:pt x="522" y="1014"/>
                </a:lnTo>
                <a:lnTo>
                  <a:pt x="526" y="1016"/>
                </a:lnTo>
                <a:lnTo>
                  <a:pt x="528" y="1018"/>
                </a:lnTo>
                <a:lnTo>
                  <a:pt x="528" y="1018"/>
                </a:lnTo>
                <a:lnTo>
                  <a:pt x="518" y="1022"/>
                </a:lnTo>
                <a:lnTo>
                  <a:pt x="518" y="1022"/>
                </a:lnTo>
                <a:lnTo>
                  <a:pt x="512" y="1024"/>
                </a:lnTo>
                <a:lnTo>
                  <a:pt x="508" y="1024"/>
                </a:lnTo>
                <a:lnTo>
                  <a:pt x="504" y="1024"/>
                </a:lnTo>
                <a:lnTo>
                  <a:pt x="496" y="1022"/>
                </a:lnTo>
                <a:lnTo>
                  <a:pt x="496" y="1022"/>
                </a:lnTo>
                <a:lnTo>
                  <a:pt x="484" y="1026"/>
                </a:lnTo>
                <a:lnTo>
                  <a:pt x="484" y="1026"/>
                </a:lnTo>
                <a:lnTo>
                  <a:pt x="480" y="1024"/>
                </a:lnTo>
                <a:lnTo>
                  <a:pt x="476" y="1024"/>
                </a:lnTo>
                <a:lnTo>
                  <a:pt x="470" y="1024"/>
                </a:lnTo>
                <a:lnTo>
                  <a:pt x="466" y="1026"/>
                </a:lnTo>
                <a:lnTo>
                  <a:pt x="466" y="1026"/>
                </a:lnTo>
                <a:lnTo>
                  <a:pt x="456" y="1022"/>
                </a:lnTo>
                <a:lnTo>
                  <a:pt x="452" y="1024"/>
                </a:lnTo>
                <a:lnTo>
                  <a:pt x="450" y="1026"/>
                </a:lnTo>
                <a:lnTo>
                  <a:pt x="450" y="1026"/>
                </a:lnTo>
                <a:lnTo>
                  <a:pt x="454" y="1030"/>
                </a:lnTo>
                <a:lnTo>
                  <a:pt x="454" y="1030"/>
                </a:lnTo>
                <a:lnTo>
                  <a:pt x="452" y="1034"/>
                </a:lnTo>
                <a:lnTo>
                  <a:pt x="452" y="1034"/>
                </a:lnTo>
                <a:lnTo>
                  <a:pt x="464" y="1036"/>
                </a:lnTo>
                <a:lnTo>
                  <a:pt x="470" y="1038"/>
                </a:lnTo>
                <a:lnTo>
                  <a:pt x="470" y="1038"/>
                </a:lnTo>
                <a:lnTo>
                  <a:pt x="466" y="1040"/>
                </a:lnTo>
                <a:lnTo>
                  <a:pt x="460" y="1042"/>
                </a:lnTo>
                <a:lnTo>
                  <a:pt x="454" y="1044"/>
                </a:lnTo>
                <a:lnTo>
                  <a:pt x="450" y="1048"/>
                </a:lnTo>
                <a:lnTo>
                  <a:pt x="450" y="1048"/>
                </a:lnTo>
                <a:lnTo>
                  <a:pt x="458" y="1046"/>
                </a:lnTo>
                <a:lnTo>
                  <a:pt x="464" y="1044"/>
                </a:lnTo>
                <a:lnTo>
                  <a:pt x="464" y="1044"/>
                </a:lnTo>
                <a:lnTo>
                  <a:pt x="472" y="1046"/>
                </a:lnTo>
                <a:lnTo>
                  <a:pt x="480" y="1046"/>
                </a:lnTo>
                <a:lnTo>
                  <a:pt x="492" y="1040"/>
                </a:lnTo>
                <a:lnTo>
                  <a:pt x="492" y="1040"/>
                </a:lnTo>
                <a:lnTo>
                  <a:pt x="490" y="1036"/>
                </a:lnTo>
                <a:lnTo>
                  <a:pt x="492" y="1032"/>
                </a:lnTo>
                <a:lnTo>
                  <a:pt x="492" y="1032"/>
                </a:lnTo>
                <a:lnTo>
                  <a:pt x="496" y="1034"/>
                </a:lnTo>
                <a:lnTo>
                  <a:pt x="498" y="1036"/>
                </a:lnTo>
                <a:lnTo>
                  <a:pt x="498" y="1036"/>
                </a:lnTo>
                <a:lnTo>
                  <a:pt x="504" y="1038"/>
                </a:lnTo>
                <a:lnTo>
                  <a:pt x="510" y="1038"/>
                </a:lnTo>
                <a:lnTo>
                  <a:pt x="510" y="1038"/>
                </a:lnTo>
                <a:lnTo>
                  <a:pt x="510" y="1042"/>
                </a:lnTo>
                <a:lnTo>
                  <a:pt x="510" y="1042"/>
                </a:lnTo>
                <a:lnTo>
                  <a:pt x="516" y="1040"/>
                </a:lnTo>
                <a:lnTo>
                  <a:pt x="520" y="1038"/>
                </a:lnTo>
                <a:lnTo>
                  <a:pt x="520" y="1038"/>
                </a:lnTo>
                <a:lnTo>
                  <a:pt x="522" y="1034"/>
                </a:lnTo>
                <a:lnTo>
                  <a:pt x="526" y="1032"/>
                </a:lnTo>
                <a:lnTo>
                  <a:pt x="534" y="1032"/>
                </a:lnTo>
                <a:lnTo>
                  <a:pt x="534" y="1032"/>
                </a:lnTo>
                <a:lnTo>
                  <a:pt x="544" y="1032"/>
                </a:lnTo>
                <a:lnTo>
                  <a:pt x="544" y="1032"/>
                </a:lnTo>
                <a:lnTo>
                  <a:pt x="542" y="1028"/>
                </a:lnTo>
                <a:lnTo>
                  <a:pt x="540" y="1026"/>
                </a:lnTo>
                <a:lnTo>
                  <a:pt x="530" y="1024"/>
                </a:lnTo>
                <a:lnTo>
                  <a:pt x="530" y="1024"/>
                </a:lnTo>
                <a:lnTo>
                  <a:pt x="542" y="1016"/>
                </a:lnTo>
                <a:lnTo>
                  <a:pt x="542" y="1016"/>
                </a:lnTo>
                <a:lnTo>
                  <a:pt x="554" y="1026"/>
                </a:lnTo>
                <a:lnTo>
                  <a:pt x="554" y="1026"/>
                </a:lnTo>
                <a:lnTo>
                  <a:pt x="558" y="1016"/>
                </a:lnTo>
                <a:lnTo>
                  <a:pt x="558" y="1016"/>
                </a:lnTo>
                <a:lnTo>
                  <a:pt x="568" y="1020"/>
                </a:lnTo>
                <a:lnTo>
                  <a:pt x="568" y="1020"/>
                </a:lnTo>
                <a:lnTo>
                  <a:pt x="574" y="1024"/>
                </a:lnTo>
                <a:lnTo>
                  <a:pt x="580" y="1024"/>
                </a:lnTo>
                <a:lnTo>
                  <a:pt x="586" y="1022"/>
                </a:lnTo>
                <a:lnTo>
                  <a:pt x="594" y="1020"/>
                </a:lnTo>
                <a:lnTo>
                  <a:pt x="594" y="1020"/>
                </a:lnTo>
                <a:lnTo>
                  <a:pt x="592" y="1018"/>
                </a:lnTo>
                <a:lnTo>
                  <a:pt x="592" y="1018"/>
                </a:lnTo>
                <a:lnTo>
                  <a:pt x="588" y="1014"/>
                </a:lnTo>
                <a:lnTo>
                  <a:pt x="588" y="1014"/>
                </a:lnTo>
                <a:lnTo>
                  <a:pt x="600" y="1010"/>
                </a:lnTo>
                <a:lnTo>
                  <a:pt x="612" y="1010"/>
                </a:lnTo>
                <a:lnTo>
                  <a:pt x="624" y="1012"/>
                </a:lnTo>
                <a:lnTo>
                  <a:pt x="636" y="1010"/>
                </a:lnTo>
                <a:lnTo>
                  <a:pt x="636" y="1010"/>
                </a:lnTo>
                <a:lnTo>
                  <a:pt x="638" y="1008"/>
                </a:lnTo>
                <a:lnTo>
                  <a:pt x="644" y="1006"/>
                </a:lnTo>
                <a:lnTo>
                  <a:pt x="656" y="1004"/>
                </a:lnTo>
                <a:lnTo>
                  <a:pt x="656" y="1004"/>
                </a:lnTo>
                <a:lnTo>
                  <a:pt x="682" y="1006"/>
                </a:lnTo>
                <a:lnTo>
                  <a:pt x="682" y="1006"/>
                </a:lnTo>
                <a:lnTo>
                  <a:pt x="682" y="1010"/>
                </a:lnTo>
                <a:lnTo>
                  <a:pt x="684" y="1010"/>
                </a:lnTo>
                <a:lnTo>
                  <a:pt x="686" y="1012"/>
                </a:lnTo>
                <a:lnTo>
                  <a:pt x="690" y="1014"/>
                </a:lnTo>
                <a:lnTo>
                  <a:pt x="690" y="1014"/>
                </a:lnTo>
                <a:lnTo>
                  <a:pt x="682" y="1018"/>
                </a:lnTo>
                <a:lnTo>
                  <a:pt x="682" y="1018"/>
                </a:lnTo>
                <a:lnTo>
                  <a:pt x="676" y="1020"/>
                </a:lnTo>
                <a:lnTo>
                  <a:pt x="670" y="1020"/>
                </a:lnTo>
                <a:lnTo>
                  <a:pt x="670" y="1020"/>
                </a:lnTo>
                <a:lnTo>
                  <a:pt x="666" y="1018"/>
                </a:lnTo>
                <a:lnTo>
                  <a:pt x="660" y="1018"/>
                </a:lnTo>
                <a:lnTo>
                  <a:pt x="650" y="1018"/>
                </a:lnTo>
                <a:lnTo>
                  <a:pt x="650" y="1018"/>
                </a:lnTo>
                <a:lnTo>
                  <a:pt x="636" y="1022"/>
                </a:lnTo>
                <a:lnTo>
                  <a:pt x="636" y="1022"/>
                </a:lnTo>
                <a:lnTo>
                  <a:pt x="644" y="1024"/>
                </a:lnTo>
                <a:lnTo>
                  <a:pt x="650" y="1024"/>
                </a:lnTo>
                <a:lnTo>
                  <a:pt x="662" y="1022"/>
                </a:lnTo>
                <a:lnTo>
                  <a:pt x="662" y="1022"/>
                </a:lnTo>
                <a:lnTo>
                  <a:pt x="674" y="1022"/>
                </a:lnTo>
                <a:lnTo>
                  <a:pt x="674" y="1022"/>
                </a:lnTo>
                <a:lnTo>
                  <a:pt x="682" y="1026"/>
                </a:lnTo>
                <a:lnTo>
                  <a:pt x="690" y="1028"/>
                </a:lnTo>
                <a:lnTo>
                  <a:pt x="690" y="1028"/>
                </a:lnTo>
                <a:lnTo>
                  <a:pt x="696" y="1028"/>
                </a:lnTo>
                <a:lnTo>
                  <a:pt x="698" y="1030"/>
                </a:lnTo>
                <a:lnTo>
                  <a:pt x="704" y="1030"/>
                </a:lnTo>
                <a:lnTo>
                  <a:pt x="708" y="1030"/>
                </a:lnTo>
                <a:lnTo>
                  <a:pt x="708" y="1030"/>
                </a:lnTo>
                <a:lnTo>
                  <a:pt x="700" y="1036"/>
                </a:lnTo>
                <a:lnTo>
                  <a:pt x="690" y="1038"/>
                </a:lnTo>
                <a:lnTo>
                  <a:pt x="690" y="1038"/>
                </a:lnTo>
                <a:lnTo>
                  <a:pt x="686" y="1038"/>
                </a:lnTo>
                <a:lnTo>
                  <a:pt x="682" y="1040"/>
                </a:lnTo>
                <a:lnTo>
                  <a:pt x="680" y="1042"/>
                </a:lnTo>
                <a:lnTo>
                  <a:pt x="680" y="1046"/>
                </a:lnTo>
                <a:lnTo>
                  <a:pt x="680" y="1046"/>
                </a:lnTo>
                <a:lnTo>
                  <a:pt x="694" y="1046"/>
                </a:lnTo>
                <a:lnTo>
                  <a:pt x="694" y="1046"/>
                </a:lnTo>
                <a:lnTo>
                  <a:pt x="652" y="1070"/>
                </a:lnTo>
                <a:lnTo>
                  <a:pt x="652" y="1070"/>
                </a:lnTo>
                <a:lnTo>
                  <a:pt x="658" y="1070"/>
                </a:lnTo>
                <a:lnTo>
                  <a:pt x="668" y="1074"/>
                </a:lnTo>
                <a:lnTo>
                  <a:pt x="668" y="1074"/>
                </a:lnTo>
                <a:lnTo>
                  <a:pt x="712" y="1044"/>
                </a:lnTo>
                <a:lnTo>
                  <a:pt x="712" y="1044"/>
                </a:lnTo>
                <a:lnTo>
                  <a:pt x="708" y="1044"/>
                </a:lnTo>
                <a:lnTo>
                  <a:pt x="704" y="1042"/>
                </a:lnTo>
                <a:lnTo>
                  <a:pt x="704" y="1042"/>
                </a:lnTo>
                <a:lnTo>
                  <a:pt x="702" y="1042"/>
                </a:lnTo>
                <a:lnTo>
                  <a:pt x="702" y="1042"/>
                </a:lnTo>
                <a:lnTo>
                  <a:pt x="704" y="1038"/>
                </a:lnTo>
                <a:lnTo>
                  <a:pt x="708" y="1036"/>
                </a:lnTo>
                <a:lnTo>
                  <a:pt x="708" y="1036"/>
                </a:lnTo>
                <a:lnTo>
                  <a:pt x="714" y="1036"/>
                </a:lnTo>
                <a:lnTo>
                  <a:pt x="718" y="1040"/>
                </a:lnTo>
                <a:lnTo>
                  <a:pt x="718" y="1040"/>
                </a:lnTo>
                <a:lnTo>
                  <a:pt x="722" y="1042"/>
                </a:lnTo>
                <a:lnTo>
                  <a:pt x="726" y="1044"/>
                </a:lnTo>
                <a:lnTo>
                  <a:pt x="732" y="1046"/>
                </a:lnTo>
                <a:lnTo>
                  <a:pt x="738" y="1046"/>
                </a:lnTo>
                <a:lnTo>
                  <a:pt x="738" y="1046"/>
                </a:lnTo>
                <a:lnTo>
                  <a:pt x="740" y="1048"/>
                </a:lnTo>
                <a:lnTo>
                  <a:pt x="740" y="1048"/>
                </a:lnTo>
                <a:lnTo>
                  <a:pt x="740" y="1050"/>
                </a:lnTo>
                <a:lnTo>
                  <a:pt x="740" y="1050"/>
                </a:lnTo>
                <a:lnTo>
                  <a:pt x="750" y="1042"/>
                </a:lnTo>
                <a:lnTo>
                  <a:pt x="754" y="1042"/>
                </a:lnTo>
                <a:lnTo>
                  <a:pt x="756" y="1044"/>
                </a:lnTo>
                <a:lnTo>
                  <a:pt x="756" y="1044"/>
                </a:lnTo>
                <a:lnTo>
                  <a:pt x="768" y="1042"/>
                </a:lnTo>
                <a:lnTo>
                  <a:pt x="768" y="1042"/>
                </a:lnTo>
                <a:lnTo>
                  <a:pt x="766" y="1050"/>
                </a:lnTo>
                <a:lnTo>
                  <a:pt x="766" y="1050"/>
                </a:lnTo>
                <a:lnTo>
                  <a:pt x="780" y="1048"/>
                </a:lnTo>
                <a:lnTo>
                  <a:pt x="784" y="1048"/>
                </a:lnTo>
                <a:lnTo>
                  <a:pt x="786" y="1050"/>
                </a:lnTo>
                <a:lnTo>
                  <a:pt x="786" y="1050"/>
                </a:lnTo>
                <a:lnTo>
                  <a:pt x="782" y="1054"/>
                </a:lnTo>
                <a:lnTo>
                  <a:pt x="782" y="1054"/>
                </a:lnTo>
                <a:lnTo>
                  <a:pt x="782" y="1056"/>
                </a:lnTo>
                <a:lnTo>
                  <a:pt x="782" y="1056"/>
                </a:lnTo>
                <a:lnTo>
                  <a:pt x="778" y="1058"/>
                </a:lnTo>
                <a:lnTo>
                  <a:pt x="778" y="1058"/>
                </a:lnTo>
                <a:lnTo>
                  <a:pt x="786" y="1058"/>
                </a:lnTo>
                <a:lnTo>
                  <a:pt x="786" y="1058"/>
                </a:lnTo>
                <a:lnTo>
                  <a:pt x="790" y="1060"/>
                </a:lnTo>
                <a:lnTo>
                  <a:pt x="796" y="1062"/>
                </a:lnTo>
                <a:lnTo>
                  <a:pt x="796" y="1062"/>
                </a:lnTo>
                <a:lnTo>
                  <a:pt x="810" y="1064"/>
                </a:lnTo>
                <a:lnTo>
                  <a:pt x="810" y="1064"/>
                </a:lnTo>
                <a:lnTo>
                  <a:pt x="808" y="1074"/>
                </a:lnTo>
                <a:lnTo>
                  <a:pt x="808" y="1074"/>
                </a:lnTo>
                <a:lnTo>
                  <a:pt x="814" y="1072"/>
                </a:lnTo>
                <a:lnTo>
                  <a:pt x="814" y="1072"/>
                </a:lnTo>
                <a:lnTo>
                  <a:pt x="812" y="1064"/>
                </a:lnTo>
                <a:lnTo>
                  <a:pt x="812" y="1064"/>
                </a:lnTo>
                <a:lnTo>
                  <a:pt x="816" y="1062"/>
                </a:lnTo>
                <a:lnTo>
                  <a:pt x="820" y="1060"/>
                </a:lnTo>
                <a:lnTo>
                  <a:pt x="820" y="1060"/>
                </a:lnTo>
                <a:lnTo>
                  <a:pt x="822" y="1060"/>
                </a:lnTo>
                <a:lnTo>
                  <a:pt x="822" y="1060"/>
                </a:lnTo>
                <a:lnTo>
                  <a:pt x="814" y="1080"/>
                </a:lnTo>
                <a:lnTo>
                  <a:pt x="814" y="1080"/>
                </a:lnTo>
                <a:lnTo>
                  <a:pt x="814" y="1080"/>
                </a:lnTo>
                <a:lnTo>
                  <a:pt x="814" y="1080"/>
                </a:lnTo>
                <a:lnTo>
                  <a:pt x="814" y="1080"/>
                </a:lnTo>
                <a:lnTo>
                  <a:pt x="814" y="1080"/>
                </a:lnTo>
                <a:lnTo>
                  <a:pt x="812" y="1088"/>
                </a:lnTo>
                <a:lnTo>
                  <a:pt x="812" y="1088"/>
                </a:lnTo>
                <a:lnTo>
                  <a:pt x="808" y="1086"/>
                </a:lnTo>
                <a:lnTo>
                  <a:pt x="806" y="1084"/>
                </a:lnTo>
                <a:lnTo>
                  <a:pt x="802" y="1086"/>
                </a:lnTo>
                <a:lnTo>
                  <a:pt x="802" y="1086"/>
                </a:lnTo>
                <a:lnTo>
                  <a:pt x="796" y="1084"/>
                </a:lnTo>
                <a:lnTo>
                  <a:pt x="796" y="1084"/>
                </a:lnTo>
                <a:lnTo>
                  <a:pt x="788" y="1080"/>
                </a:lnTo>
                <a:lnTo>
                  <a:pt x="786" y="1078"/>
                </a:lnTo>
                <a:lnTo>
                  <a:pt x="784" y="1074"/>
                </a:lnTo>
                <a:lnTo>
                  <a:pt x="784" y="1074"/>
                </a:lnTo>
                <a:lnTo>
                  <a:pt x="802" y="1072"/>
                </a:lnTo>
                <a:lnTo>
                  <a:pt x="802" y="1072"/>
                </a:lnTo>
                <a:lnTo>
                  <a:pt x="800" y="1068"/>
                </a:lnTo>
                <a:lnTo>
                  <a:pt x="798" y="1068"/>
                </a:lnTo>
                <a:lnTo>
                  <a:pt x="794" y="1068"/>
                </a:lnTo>
                <a:lnTo>
                  <a:pt x="794" y="1068"/>
                </a:lnTo>
                <a:lnTo>
                  <a:pt x="784" y="1070"/>
                </a:lnTo>
                <a:lnTo>
                  <a:pt x="776" y="1074"/>
                </a:lnTo>
                <a:lnTo>
                  <a:pt x="776" y="1074"/>
                </a:lnTo>
                <a:lnTo>
                  <a:pt x="770" y="1076"/>
                </a:lnTo>
                <a:lnTo>
                  <a:pt x="766" y="1078"/>
                </a:lnTo>
                <a:lnTo>
                  <a:pt x="764" y="1078"/>
                </a:lnTo>
                <a:lnTo>
                  <a:pt x="758" y="1074"/>
                </a:lnTo>
                <a:lnTo>
                  <a:pt x="758" y="1074"/>
                </a:lnTo>
                <a:lnTo>
                  <a:pt x="750" y="1072"/>
                </a:lnTo>
                <a:lnTo>
                  <a:pt x="750" y="1072"/>
                </a:lnTo>
                <a:lnTo>
                  <a:pt x="746" y="1072"/>
                </a:lnTo>
                <a:lnTo>
                  <a:pt x="746" y="1072"/>
                </a:lnTo>
                <a:lnTo>
                  <a:pt x="746" y="1072"/>
                </a:lnTo>
                <a:lnTo>
                  <a:pt x="746" y="1072"/>
                </a:lnTo>
                <a:lnTo>
                  <a:pt x="742" y="1074"/>
                </a:lnTo>
                <a:lnTo>
                  <a:pt x="740" y="1080"/>
                </a:lnTo>
                <a:lnTo>
                  <a:pt x="740" y="1080"/>
                </a:lnTo>
                <a:lnTo>
                  <a:pt x="734" y="1072"/>
                </a:lnTo>
                <a:lnTo>
                  <a:pt x="734" y="1072"/>
                </a:lnTo>
                <a:lnTo>
                  <a:pt x="728" y="1076"/>
                </a:lnTo>
                <a:lnTo>
                  <a:pt x="728" y="1076"/>
                </a:lnTo>
                <a:lnTo>
                  <a:pt x="732" y="1080"/>
                </a:lnTo>
                <a:lnTo>
                  <a:pt x="732" y="1080"/>
                </a:lnTo>
                <a:lnTo>
                  <a:pt x="712" y="1080"/>
                </a:lnTo>
                <a:lnTo>
                  <a:pt x="712" y="1080"/>
                </a:lnTo>
                <a:lnTo>
                  <a:pt x="718" y="1088"/>
                </a:lnTo>
                <a:lnTo>
                  <a:pt x="718" y="1088"/>
                </a:lnTo>
                <a:lnTo>
                  <a:pt x="708" y="1090"/>
                </a:lnTo>
                <a:lnTo>
                  <a:pt x="708" y="1090"/>
                </a:lnTo>
                <a:lnTo>
                  <a:pt x="706" y="1090"/>
                </a:lnTo>
                <a:lnTo>
                  <a:pt x="706" y="1090"/>
                </a:lnTo>
                <a:lnTo>
                  <a:pt x="708" y="1090"/>
                </a:lnTo>
                <a:lnTo>
                  <a:pt x="708" y="1090"/>
                </a:lnTo>
                <a:lnTo>
                  <a:pt x="700" y="1088"/>
                </a:lnTo>
                <a:lnTo>
                  <a:pt x="700" y="1088"/>
                </a:lnTo>
                <a:lnTo>
                  <a:pt x="702" y="1086"/>
                </a:lnTo>
                <a:lnTo>
                  <a:pt x="704" y="1084"/>
                </a:lnTo>
                <a:lnTo>
                  <a:pt x="702" y="1082"/>
                </a:lnTo>
                <a:lnTo>
                  <a:pt x="700" y="1080"/>
                </a:lnTo>
                <a:lnTo>
                  <a:pt x="700" y="1080"/>
                </a:lnTo>
                <a:lnTo>
                  <a:pt x="684" y="1082"/>
                </a:lnTo>
                <a:lnTo>
                  <a:pt x="684" y="1082"/>
                </a:lnTo>
                <a:lnTo>
                  <a:pt x="678" y="1082"/>
                </a:lnTo>
                <a:lnTo>
                  <a:pt x="672" y="1082"/>
                </a:lnTo>
                <a:lnTo>
                  <a:pt x="672" y="1082"/>
                </a:lnTo>
                <a:lnTo>
                  <a:pt x="662" y="1086"/>
                </a:lnTo>
                <a:lnTo>
                  <a:pt x="654" y="1084"/>
                </a:lnTo>
                <a:lnTo>
                  <a:pt x="654" y="1084"/>
                </a:lnTo>
                <a:lnTo>
                  <a:pt x="648" y="1090"/>
                </a:lnTo>
                <a:lnTo>
                  <a:pt x="648" y="1090"/>
                </a:lnTo>
                <a:lnTo>
                  <a:pt x="656" y="1090"/>
                </a:lnTo>
                <a:lnTo>
                  <a:pt x="662" y="1092"/>
                </a:lnTo>
                <a:lnTo>
                  <a:pt x="662" y="1092"/>
                </a:lnTo>
                <a:lnTo>
                  <a:pt x="664" y="1094"/>
                </a:lnTo>
                <a:lnTo>
                  <a:pt x="668" y="1096"/>
                </a:lnTo>
                <a:lnTo>
                  <a:pt x="676" y="1094"/>
                </a:lnTo>
                <a:lnTo>
                  <a:pt x="676" y="1094"/>
                </a:lnTo>
                <a:lnTo>
                  <a:pt x="670" y="1100"/>
                </a:lnTo>
                <a:lnTo>
                  <a:pt x="670" y="1100"/>
                </a:lnTo>
                <a:lnTo>
                  <a:pt x="666" y="1102"/>
                </a:lnTo>
                <a:lnTo>
                  <a:pt x="662" y="1100"/>
                </a:lnTo>
                <a:lnTo>
                  <a:pt x="662" y="1100"/>
                </a:lnTo>
                <a:lnTo>
                  <a:pt x="654" y="1096"/>
                </a:lnTo>
                <a:lnTo>
                  <a:pt x="648" y="1094"/>
                </a:lnTo>
                <a:lnTo>
                  <a:pt x="648" y="1094"/>
                </a:lnTo>
                <a:lnTo>
                  <a:pt x="644" y="1096"/>
                </a:lnTo>
                <a:lnTo>
                  <a:pt x="640" y="1098"/>
                </a:lnTo>
                <a:lnTo>
                  <a:pt x="640" y="1098"/>
                </a:lnTo>
                <a:lnTo>
                  <a:pt x="634" y="1100"/>
                </a:lnTo>
                <a:lnTo>
                  <a:pt x="634" y="1100"/>
                </a:lnTo>
                <a:lnTo>
                  <a:pt x="630" y="1100"/>
                </a:lnTo>
                <a:lnTo>
                  <a:pt x="626" y="1102"/>
                </a:lnTo>
                <a:lnTo>
                  <a:pt x="626" y="1102"/>
                </a:lnTo>
                <a:lnTo>
                  <a:pt x="622" y="1104"/>
                </a:lnTo>
                <a:lnTo>
                  <a:pt x="618" y="1106"/>
                </a:lnTo>
                <a:lnTo>
                  <a:pt x="608" y="1108"/>
                </a:lnTo>
                <a:lnTo>
                  <a:pt x="608" y="1108"/>
                </a:lnTo>
                <a:lnTo>
                  <a:pt x="602" y="1102"/>
                </a:lnTo>
                <a:lnTo>
                  <a:pt x="602" y="1102"/>
                </a:lnTo>
                <a:lnTo>
                  <a:pt x="598" y="1104"/>
                </a:lnTo>
                <a:lnTo>
                  <a:pt x="598" y="1104"/>
                </a:lnTo>
                <a:lnTo>
                  <a:pt x="600" y="1098"/>
                </a:lnTo>
                <a:lnTo>
                  <a:pt x="600" y="1098"/>
                </a:lnTo>
                <a:lnTo>
                  <a:pt x="590" y="1094"/>
                </a:lnTo>
                <a:lnTo>
                  <a:pt x="590" y="1094"/>
                </a:lnTo>
                <a:lnTo>
                  <a:pt x="582" y="1090"/>
                </a:lnTo>
                <a:lnTo>
                  <a:pt x="572" y="1090"/>
                </a:lnTo>
                <a:lnTo>
                  <a:pt x="572" y="1090"/>
                </a:lnTo>
                <a:lnTo>
                  <a:pt x="558" y="1094"/>
                </a:lnTo>
                <a:lnTo>
                  <a:pt x="558" y="1094"/>
                </a:lnTo>
                <a:lnTo>
                  <a:pt x="562" y="1114"/>
                </a:lnTo>
                <a:lnTo>
                  <a:pt x="568" y="1136"/>
                </a:lnTo>
                <a:lnTo>
                  <a:pt x="568" y="1136"/>
                </a:lnTo>
                <a:lnTo>
                  <a:pt x="584" y="1134"/>
                </a:lnTo>
                <a:lnTo>
                  <a:pt x="584" y="1134"/>
                </a:lnTo>
                <a:lnTo>
                  <a:pt x="588" y="1134"/>
                </a:lnTo>
                <a:lnTo>
                  <a:pt x="588" y="1134"/>
                </a:lnTo>
                <a:lnTo>
                  <a:pt x="596" y="1110"/>
                </a:lnTo>
                <a:lnTo>
                  <a:pt x="596" y="1110"/>
                </a:lnTo>
                <a:lnTo>
                  <a:pt x="598" y="1112"/>
                </a:lnTo>
                <a:lnTo>
                  <a:pt x="598" y="1112"/>
                </a:lnTo>
                <a:lnTo>
                  <a:pt x="604" y="1110"/>
                </a:lnTo>
                <a:lnTo>
                  <a:pt x="604" y="1110"/>
                </a:lnTo>
                <a:lnTo>
                  <a:pt x="622" y="1114"/>
                </a:lnTo>
                <a:lnTo>
                  <a:pt x="622" y="1118"/>
                </a:lnTo>
                <a:lnTo>
                  <a:pt x="622" y="1118"/>
                </a:lnTo>
                <a:lnTo>
                  <a:pt x="628" y="1118"/>
                </a:lnTo>
                <a:lnTo>
                  <a:pt x="628" y="1118"/>
                </a:lnTo>
                <a:lnTo>
                  <a:pt x="628" y="1112"/>
                </a:lnTo>
                <a:lnTo>
                  <a:pt x="628" y="1110"/>
                </a:lnTo>
                <a:lnTo>
                  <a:pt x="628" y="1110"/>
                </a:lnTo>
                <a:lnTo>
                  <a:pt x="632" y="1110"/>
                </a:lnTo>
                <a:lnTo>
                  <a:pt x="636" y="1110"/>
                </a:lnTo>
                <a:lnTo>
                  <a:pt x="640" y="1112"/>
                </a:lnTo>
                <a:lnTo>
                  <a:pt x="640" y="1112"/>
                </a:lnTo>
                <a:lnTo>
                  <a:pt x="638" y="1118"/>
                </a:lnTo>
                <a:lnTo>
                  <a:pt x="636" y="1122"/>
                </a:lnTo>
                <a:lnTo>
                  <a:pt x="636" y="1122"/>
                </a:lnTo>
                <a:lnTo>
                  <a:pt x="640" y="1124"/>
                </a:lnTo>
                <a:lnTo>
                  <a:pt x="644" y="1126"/>
                </a:lnTo>
                <a:lnTo>
                  <a:pt x="652" y="1128"/>
                </a:lnTo>
                <a:lnTo>
                  <a:pt x="656" y="1126"/>
                </a:lnTo>
                <a:lnTo>
                  <a:pt x="656" y="1126"/>
                </a:lnTo>
                <a:lnTo>
                  <a:pt x="664" y="1120"/>
                </a:lnTo>
                <a:lnTo>
                  <a:pt x="664" y="1120"/>
                </a:lnTo>
                <a:lnTo>
                  <a:pt x="672" y="1118"/>
                </a:lnTo>
                <a:lnTo>
                  <a:pt x="672" y="1124"/>
                </a:lnTo>
                <a:lnTo>
                  <a:pt x="672" y="1124"/>
                </a:lnTo>
                <a:lnTo>
                  <a:pt x="680" y="1124"/>
                </a:lnTo>
                <a:lnTo>
                  <a:pt x="680" y="1124"/>
                </a:lnTo>
                <a:lnTo>
                  <a:pt x="684" y="1116"/>
                </a:lnTo>
                <a:lnTo>
                  <a:pt x="684" y="1116"/>
                </a:lnTo>
                <a:lnTo>
                  <a:pt x="684" y="1106"/>
                </a:lnTo>
                <a:lnTo>
                  <a:pt x="684" y="1106"/>
                </a:lnTo>
                <a:lnTo>
                  <a:pt x="682" y="1106"/>
                </a:lnTo>
                <a:lnTo>
                  <a:pt x="682" y="1106"/>
                </a:lnTo>
                <a:lnTo>
                  <a:pt x="678" y="1110"/>
                </a:lnTo>
                <a:lnTo>
                  <a:pt x="678" y="1110"/>
                </a:lnTo>
                <a:lnTo>
                  <a:pt x="678" y="1112"/>
                </a:lnTo>
                <a:lnTo>
                  <a:pt x="678" y="1112"/>
                </a:lnTo>
                <a:lnTo>
                  <a:pt x="678" y="1110"/>
                </a:lnTo>
                <a:lnTo>
                  <a:pt x="678" y="1110"/>
                </a:lnTo>
                <a:lnTo>
                  <a:pt x="682" y="1106"/>
                </a:lnTo>
                <a:lnTo>
                  <a:pt x="682" y="1106"/>
                </a:lnTo>
                <a:lnTo>
                  <a:pt x="684" y="1106"/>
                </a:lnTo>
                <a:lnTo>
                  <a:pt x="684" y="1106"/>
                </a:lnTo>
                <a:lnTo>
                  <a:pt x="684" y="1098"/>
                </a:lnTo>
                <a:lnTo>
                  <a:pt x="684" y="1098"/>
                </a:lnTo>
                <a:lnTo>
                  <a:pt x="702" y="1100"/>
                </a:lnTo>
                <a:lnTo>
                  <a:pt x="702" y="1100"/>
                </a:lnTo>
                <a:lnTo>
                  <a:pt x="704" y="1096"/>
                </a:lnTo>
                <a:lnTo>
                  <a:pt x="708" y="1094"/>
                </a:lnTo>
                <a:lnTo>
                  <a:pt x="708" y="1094"/>
                </a:lnTo>
                <a:lnTo>
                  <a:pt x="710" y="1094"/>
                </a:lnTo>
                <a:lnTo>
                  <a:pt x="710" y="1094"/>
                </a:lnTo>
                <a:lnTo>
                  <a:pt x="712" y="1100"/>
                </a:lnTo>
                <a:lnTo>
                  <a:pt x="712" y="1100"/>
                </a:lnTo>
                <a:lnTo>
                  <a:pt x="710" y="1094"/>
                </a:lnTo>
                <a:lnTo>
                  <a:pt x="710" y="1094"/>
                </a:lnTo>
                <a:lnTo>
                  <a:pt x="726" y="1094"/>
                </a:lnTo>
                <a:lnTo>
                  <a:pt x="726" y="1094"/>
                </a:lnTo>
                <a:lnTo>
                  <a:pt x="730" y="1096"/>
                </a:lnTo>
                <a:lnTo>
                  <a:pt x="730" y="1096"/>
                </a:lnTo>
                <a:lnTo>
                  <a:pt x="730" y="1098"/>
                </a:lnTo>
                <a:lnTo>
                  <a:pt x="730" y="1102"/>
                </a:lnTo>
                <a:lnTo>
                  <a:pt x="730" y="1102"/>
                </a:lnTo>
                <a:lnTo>
                  <a:pt x="722" y="1104"/>
                </a:lnTo>
                <a:lnTo>
                  <a:pt x="722" y="1104"/>
                </a:lnTo>
                <a:lnTo>
                  <a:pt x="732" y="1108"/>
                </a:lnTo>
                <a:lnTo>
                  <a:pt x="732" y="1108"/>
                </a:lnTo>
                <a:lnTo>
                  <a:pt x="722" y="1122"/>
                </a:lnTo>
                <a:lnTo>
                  <a:pt x="722" y="1122"/>
                </a:lnTo>
                <a:lnTo>
                  <a:pt x="724" y="1124"/>
                </a:lnTo>
                <a:lnTo>
                  <a:pt x="726" y="1124"/>
                </a:lnTo>
                <a:lnTo>
                  <a:pt x="730" y="1124"/>
                </a:lnTo>
                <a:lnTo>
                  <a:pt x="736" y="1122"/>
                </a:lnTo>
                <a:lnTo>
                  <a:pt x="738" y="1124"/>
                </a:lnTo>
                <a:lnTo>
                  <a:pt x="740" y="1126"/>
                </a:lnTo>
                <a:lnTo>
                  <a:pt x="740" y="1126"/>
                </a:lnTo>
                <a:lnTo>
                  <a:pt x="734" y="1126"/>
                </a:lnTo>
                <a:lnTo>
                  <a:pt x="734" y="1126"/>
                </a:lnTo>
                <a:lnTo>
                  <a:pt x="726" y="1130"/>
                </a:lnTo>
                <a:lnTo>
                  <a:pt x="726" y="1130"/>
                </a:lnTo>
                <a:lnTo>
                  <a:pt x="718" y="1114"/>
                </a:lnTo>
                <a:lnTo>
                  <a:pt x="718" y="1114"/>
                </a:lnTo>
                <a:lnTo>
                  <a:pt x="716" y="1116"/>
                </a:lnTo>
                <a:lnTo>
                  <a:pt x="716" y="1116"/>
                </a:lnTo>
                <a:lnTo>
                  <a:pt x="702" y="1124"/>
                </a:lnTo>
                <a:lnTo>
                  <a:pt x="702" y="1124"/>
                </a:lnTo>
                <a:lnTo>
                  <a:pt x="684" y="1116"/>
                </a:lnTo>
                <a:lnTo>
                  <a:pt x="684" y="1116"/>
                </a:lnTo>
                <a:lnTo>
                  <a:pt x="684" y="1116"/>
                </a:lnTo>
                <a:lnTo>
                  <a:pt x="684" y="1116"/>
                </a:lnTo>
                <a:lnTo>
                  <a:pt x="684" y="1142"/>
                </a:lnTo>
                <a:lnTo>
                  <a:pt x="684" y="1142"/>
                </a:lnTo>
                <a:lnTo>
                  <a:pt x="692" y="1144"/>
                </a:lnTo>
                <a:lnTo>
                  <a:pt x="692" y="1144"/>
                </a:lnTo>
                <a:lnTo>
                  <a:pt x="714" y="1138"/>
                </a:lnTo>
                <a:lnTo>
                  <a:pt x="714" y="1138"/>
                </a:lnTo>
                <a:lnTo>
                  <a:pt x="720" y="1136"/>
                </a:lnTo>
                <a:lnTo>
                  <a:pt x="724" y="1138"/>
                </a:lnTo>
                <a:lnTo>
                  <a:pt x="724" y="1138"/>
                </a:lnTo>
                <a:lnTo>
                  <a:pt x="724" y="1140"/>
                </a:lnTo>
                <a:lnTo>
                  <a:pt x="728" y="1142"/>
                </a:lnTo>
                <a:lnTo>
                  <a:pt x="734" y="1144"/>
                </a:lnTo>
                <a:lnTo>
                  <a:pt x="734" y="1144"/>
                </a:lnTo>
                <a:lnTo>
                  <a:pt x="734" y="1142"/>
                </a:lnTo>
                <a:lnTo>
                  <a:pt x="734" y="1142"/>
                </a:lnTo>
                <a:lnTo>
                  <a:pt x="744" y="1144"/>
                </a:lnTo>
                <a:lnTo>
                  <a:pt x="744" y="1144"/>
                </a:lnTo>
                <a:lnTo>
                  <a:pt x="762" y="1142"/>
                </a:lnTo>
                <a:lnTo>
                  <a:pt x="772" y="1138"/>
                </a:lnTo>
                <a:lnTo>
                  <a:pt x="772" y="1138"/>
                </a:lnTo>
                <a:lnTo>
                  <a:pt x="772" y="1146"/>
                </a:lnTo>
                <a:lnTo>
                  <a:pt x="772" y="1146"/>
                </a:lnTo>
                <a:lnTo>
                  <a:pt x="766" y="1150"/>
                </a:lnTo>
                <a:lnTo>
                  <a:pt x="766" y="1150"/>
                </a:lnTo>
                <a:lnTo>
                  <a:pt x="770" y="1150"/>
                </a:lnTo>
                <a:lnTo>
                  <a:pt x="770" y="1150"/>
                </a:lnTo>
                <a:lnTo>
                  <a:pt x="768" y="1154"/>
                </a:lnTo>
                <a:lnTo>
                  <a:pt x="768" y="1154"/>
                </a:lnTo>
                <a:lnTo>
                  <a:pt x="772" y="1160"/>
                </a:lnTo>
                <a:lnTo>
                  <a:pt x="772" y="1160"/>
                </a:lnTo>
                <a:lnTo>
                  <a:pt x="776" y="1160"/>
                </a:lnTo>
                <a:lnTo>
                  <a:pt x="776" y="1160"/>
                </a:lnTo>
                <a:lnTo>
                  <a:pt x="782" y="1156"/>
                </a:lnTo>
                <a:lnTo>
                  <a:pt x="782" y="1156"/>
                </a:lnTo>
                <a:lnTo>
                  <a:pt x="792" y="1152"/>
                </a:lnTo>
                <a:lnTo>
                  <a:pt x="792" y="1152"/>
                </a:lnTo>
                <a:lnTo>
                  <a:pt x="778" y="1148"/>
                </a:lnTo>
                <a:lnTo>
                  <a:pt x="778" y="1148"/>
                </a:lnTo>
                <a:lnTo>
                  <a:pt x="776" y="1146"/>
                </a:lnTo>
                <a:lnTo>
                  <a:pt x="776" y="1144"/>
                </a:lnTo>
                <a:lnTo>
                  <a:pt x="776" y="1144"/>
                </a:lnTo>
                <a:lnTo>
                  <a:pt x="782" y="1142"/>
                </a:lnTo>
                <a:lnTo>
                  <a:pt x="782" y="1142"/>
                </a:lnTo>
                <a:lnTo>
                  <a:pt x="784" y="1144"/>
                </a:lnTo>
                <a:lnTo>
                  <a:pt x="784" y="1144"/>
                </a:lnTo>
                <a:lnTo>
                  <a:pt x="786" y="1148"/>
                </a:lnTo>
                <a:lnTo>
                  <a:pt x="786" y="1148"/>
                </a:lnTo>
                <a:lnTo>
                  <a:pt x="794" y="1140"/>
                </a:lnTo>
                <a:lnTo>
                  <a:pt x="794" y="1140"/>
                </a:lnTo>
                <a:lnTo>
                  <a:pt x="802" y="1142"/>
                </a:lnTo>
                <a:lnTo>
                  <a:pt x="802" y="1142"/>
                </a:lnTo>
                <a:lnTo>
                  <a:pt x="804" y="1128"/>
                </a:lnTo>
                <a:lnTo>
                  <a:pt x="804" y="1128"/>
                </a:lnTo>
                <a:lnTo>
                  <a:pt x="804" y="1128"/>
                </a:lnTo>
                <a:lnTo>
                  <a:pt x="804" y="1128"/>
                </a:lnTo>
                <a:lnTo>
                  <a:pt x="804" y="1128"/>
                </a:lnTo>
                <a:lnTo>
                  <a:pt x="804" y="1128"/>
                </a:lnTo>
                <a:lnTo>
                  <a:pt x="804" y="1128"/>
                </a:lnTo>
                <a:lnTo>
                  <a:pt x="804" y="1128"/>
                </a:lnTo>
                <a:lnTo>
                  <a:pt x="804" y="1128"/>
                </a:lnTo>
                <a:lnTo>
                  <a:pt x="804" y="1128"/>
                </a:lnTo>
                <a:lnTo>
                  <a:pt x="808" y="1124"/>
                </a:lnTo>
                <a:lnTo>
                  <a:pt x="808" y="1124"/>
                </a:lnTo>
                <a:lnTo>
                  <a:pt x="814" y="1126"/>
                </a:lnTo>
                <a:lnTo>
                  <a:pt x="820" y="1126"/>
                </a:lnTo>
                <a:lnTo>
                  <a:pt x="820" y="1126"/>
                </a:lnTo>
                <a:lnTo>
                  <a:pt x="820" y="1128"/>
                </a:lnTo>
                <a:lnTo>
                  <a:pt x="820" y="1128"/>
                </a:lnTo>
                <a:lnTo>
                  <a:pt x="820" y="1126"/>
                </a:lnTo>
                <a:lnTo>
                  <a:pt x="820" y="1126"/>
                </a:lnTo>
                <a:lnTo>
                  <a:pt x="820" y="1126"/>
                </a:lnTo>
                <a:lnTo>
                  <a:pt x="820" y="1126"/>
                </a:lnTo>
                <a:lnTo>
                  <a:pt x="822" y="1128"/>
                </a:lnTo>
                <a:lnTo>
                  <a:pt x="822" y="1128"/>
                </a:lnTo>
                <a:lnTo>
                  <a:pt x="818" y="1134"/>
                </a:lnTo>
                <a:lnTo>
                  <a:pt x="818" y="1134"/>
                </a:lnTo>
                <a:lnTo>
                  <a:pt x="816" y="1134"/>
                </a:lnTo>
                <a:lnTo>
                  <a:pt x="816" y="1134"/>
                </a:lnTo>
                <a:lnTo>
                  <a:pt x="814" y="1138"/>
                </a:lnTo>
                <a:lnTo>
                  <a:pt x="814" y="1138"/>
                </a:lnTo>
                <a:lnTo>
                  <a:pt x="816" y="1138"/>
                </a:lnTo>
                <a:lnTo>
                  <a:pt x="816" y="1138"/>
                </a:lnTo>
                <a:lnTo>
                  <a:pt x="816" y="1140"/>
                </a:lnTo>
                <a:lnTo>
                  <a:pt x="816" y="1140"/>
                </a:lnTo>
                <a:lnTo>
                  <a:pt x="816" y="1140"/>
                </a:lnTo>
                <a:lnTo>
                  <a:pt x="816" y="1140"/>
                </a:lnTo>
                <a:lnTo>
                  <a:pt x="818" y="1138"/>
                </a:lnTo>
                <a:lnTo>
                  <a:pt x="818" y="1138"/>
                </a:lnTo>
                <a:lnTo>
                  <a:pt x="818" y="1138"/>
                </a:lnTo>
                <a:lnTo>
                  <a:pt x="818" y="1138"/>
                </a:lnTo>
                <a:lnTo>
                  <a:pt x="818" y="1140"/>
                </a:lnTo>
                <a:lnTo>
                  <a:pt x="818" y="1140"/>
                </a:lnTo>
                <a:lnTo>
                  <a:pt x="818" y="1138"/>
                </a:lnTo>
                <a:lnTo>
                  <a:pt x="818" y="1138"/>
                </a:lnTo>
                <a:lnTo>
                  <a:pt x="818" y="1138"/>
                </a:lnTo>
                <a:lnTo>
                  <a:pt x="818" y="1138"/>
                </a:lnTo>
                <a:lnTo>
                  <a:pt x="816" y="1142"/>
                </a:lnTo>
                <a:lnTo>
                  <a:pt x="816" y="1142"/>
                </a:lnTo>
                <a:lnTo>
                  <a:pt x="816" y="1146"/>
                </a:lnTo>
                <a:lnTo>
                  <a:pt x="816" y="1146"/>
                </a:lnTo>
                <a:lnTo>
                  <a:pt x="822" y="1146"/>
                </a:lnTo>
                <a:lnTo>
                  <a:pt x="826" y="1142"/>
                </a:lnTo>
                <a:lnTo>
                  <a:pt x="836" y="1130"/>
                </a:lnTo>
                <a:lnTo>
                  <a:pt x="846" y="1116"/>
                </a:lnTo>
                <a:lnTo>
                  <a:pt x="850" y="1110"/>
                </a:lnTo>
                <a:lnTo>
                  <a:pt x="854" y="1106"/>
                </a:lnTo>
                <a:lnTo>
                  <a:pt x="854" y="1106"/>
                </a:lnTo>
                <a:lnTo>
                  <a:pt x="844" y="1104"/>
                </a:lnTo>
                <a:lnTo>
                  <a:pt x="844" y="1104"/>
                </a:lnTo>
                <a:lnTo>
                  <a:pt x="846" y="1094"/>
                </a:lnTo>
                <a:lnTo>
                  <a:pt x="846" y="1094"/>
                </a:lnTo>
                <a:lnTo>
                  <a:pt x="852" y="1096"/>
                </a:lnTo>
                <a:lnTo>
                  <a:pt x="852" y="1096"/>
                </a:lnTo>
                <a:lnTo>
                  <a:pt x="852" y="1094"/>
                </a:lnTo>
                <a:lnTo>
                  <a:pt x="852" y="1094"/>
                </a:lnTo>
                <a:lnTo>
                  <a:pt x="864" y="1100"/>
                </a:lnTo>
                <a:lnTo>
                  <a:pt x="864" y="1100"/>
                </a:lnTo>
                <a:lnTo>
                  <a:pt x="864" y="1108"/>
                </a:lnTo>
                <a:lnTo>
                  <a:pt x="864" y="1108"/>
                </a:lnTo>
                <a:lnTo>
                  <a:pt x="860" y="1106"/>
                </a:lnTo>
                <a:lnTo>
                  <a:pt x="860" y="1106"/>
                </a:lnTo>
                <a:lnTo>
                  <a:pt x="864" y="1110"/>
                </a:lnTo>
                <a:lnTo>
                  <a:pt x="864" y="1110"/>
                </a:lnTo>
                <a:lnTo>
                  <a:pt x="872" y="1110"/>
                </a:lnTo>
                <a:lnTo>
                  <a:pt x="882" y="1112"/>
                </a:lnTo>
                <a:lnTo>
                  <a:pt x="890" y="1112"/>
                </a:lnTo>
                <a:lnTo>
                  <a:pt x="900" y="1112"/>
                </a:lnTo>
                <a:lnTo>
                  <a:pt x="900" y="1112"/>
                </a:lnTo>
                <a:lnTo>
                  <a:pt x="896" y="1106"/>
                </a:lnTo>
                <a:lnTo>
                  <a:pt x="896" y="1106"/>
                </a:lnTo>
                <a:lnTo>
                  <a:pt x="890" y="1106"/>
                </a:lnTo>
                <a:lnTo>
                  <a:pt x="886" y="1106"/>
                </a:lnTo>
                <a:lnTo>
                  <a:pt x="886" y="1106"/>
                </a:lnTo>
                <a:lnTo>
                  <a:pt x="898" y="1106"/>
                </a:lnTo>
                <a:lnTo>
                  <a:pt x="898" y="1106"/>
                </a:lnTo>
                <a:lnTo>
                  <a:pt x="912" y="1110"/>
                </a:lnTo>
                <a:lnTo>
                  <a:pt x="912" y="1110"/>
                </a:lnTo>
                <a:lnTo>
                  <a:pt x="912" y="1110"/>
                </a:lnTo>
                <a:lnTo>
                  <a:pt x="912" y="1110"/>
                </a:lnTo>
                <a:lnTo>
                  <a:pt x="912" y="1110"/>
                </a:lnTo>
                <a:lnTo>
                  <a:pt x="912" y="1110"/>
                </a:lnTo>
                <a:lnTo>
                  <a:pt x="912" y="1110"/>
                </a:lnTo>
                <a:lnTo>
                  <a:pt x="920" y="1108"/>
                </a:lnTo>
                <a:lnTo>
                  <a:pt x="920" y="1108"/>
                </a:lnTo>
                <a:lnTo>
                  <a:pt x="922" y="1110"/>
                </a:lnTo>
                <a:lnTo>
                  <a:pt x="924" y="1110"/>
                </a:lnTo>
                <a:lnTo>
                  <a:pt x="924" y="1110"/>
                </a:lnTo>
                <a:lnTo>
                  <a:pt x="932" y="1110"/>
                </a:lnTo>
                <a:lnTo>
                  <a:pt x="934" y="1108"/>
                </a:lnTo>
                <a:lnTo>
                  <a:pt x="936" y="1106"/>
                </a:lnTo>
                <a:lnTo>
                  <a:pt x="936" y="1106"/>
                </a:lnTo>
                <a:lnTo>
                  <a:pt x="938" y="1104"/>
                </a:lnTo>
                <a:lnTo>
                  <a:pt x="940" y="1104"/>
                </a:lnTo>
                <a:lnTo>
                  <a:pt x="940" y="1104"/>
                </a:lnTo>
                <a:lnTo>
                  <a:pt x="948" y="1104"/>
                </a:lnTo>
                <a:lnTo>
                  <a:pt x="956" y="1102"/>
                </a:lnTo>
                <a:lnTo>
                  <a:pt x="964" y="1100"/>
                </a:lnTo>
                <a:lnTo>
                  <a:pt x="974" y="1100"/>
                </a:lnTo>
                <a:lnTo>
                  <a:pt x="974" y="1100"/>
                </a:lnTo>
                <a:lnTo>
                  <a:pt x="980" y="1098"/>
                </a:lnTo>
                <a:lnTo>
                  <a:pt x="990" y="1094"/>
                </a:lnTo>
                <a:lnTo>
                  <a:pt x="990" y="1094"/>
                </a:lnTo>
                <a:lnTo>
                  <a:pt x="990" y="1092"/>
                </a:lnTo>
                <a:lnTo>
                  <a:pt x="990" y="1092"/>
                </a:lnTo>
                <a:lnTo>
                  <a:pt x="986" y="1092"/>
                </a:lnTo>
                <a:lnTo>
                  <a:pt x="984" y="1092"/>
                </a:lnTo>
                <a:lnTo>
                  <a:pt x="978" y="1092"/>
                </a:lnTo>
                <a:lnTo>
                  <a:pt x="978" y="1092"/>
                </a:lnTo>
                <a:lnTo>
                  <a:pt x="972" y="1092"/>
                </a:lnTo>
                <a:lnTo>
                  <a:pt x="970" y="1090"/>
                </a:lnTo>
                <a:lnTo>
                  <a:pt x="970" y="1088"/>
                </a:lnTo>
                <a:lnTo>
                  <a:pt x="970" y="1088"/>
                </a:lnTo>
                <a:lnTo>
                  <a:pt x="970" y="1088"/>
                </a:lnTo>
                <a:lnTo>
                  <a:pt x="972" y="1088"/>
                </a:lnTo>
                <a:lnTo>
                  <a:pt x="972" y="1088"/>
                </a:lnTo>
                <a:lnTo>
                  <a:pt x="976" y="1084"/>
                </a:lnTo>
                <a:lnTo>
                  <a:pt x="982" y="1082"/>
                </a:lnTo>
                <a:lnTo>
                  <a:pt x="994" y="1078"/>
                </a:lnTo>
                <a:lnTo>
                  <a:pt x="994" y="1078"/>
                </a:lnTo>
                <a:lnTo>
                  <a:pt x="988" y="1074"/>
                </a:lnTo>
                <a:lnTo>
                  <a:pt x="988" y="1074"/>
                </a:lnTo>
                <a:lnTo>
                  <a:pt x="992" y="1074"/>
                </a:lnTo>
                <a:lnTo>
                  <a:pt x="992" y="1074"/>
                </a:lnTo>
                <a:lnTo>
                  <a:pt x="1000" y="1076"/>
                </a:lnTo>
                <a:lnTo>
                  <a:pt x="1006" y="1076"/>
                </a:lnTo>
                <a:lnTo>
                  <a:pt x="1012" y="1074"/>
                </a:lnTo>
                <a:lnTo>
                  <a:pt x="1012" y="1074"/>
                </a:lnTo>
                <a:lnTo>
                  <a:pt x="1008" y="1082"/>
                </a:lnTo>
                <a:lnTo>
                  <a:pt x="1008" y="1082"/>
                </a:lnTo>
                <a:lnTo>
                  <a:pt x="1022" y="1082"/>
                </a:lnTo>
                <a:lnTo>
                  <a:pt x="1022" y="1082"/>
                </a:lnTo>
                <a:lnTo>
                  <a:pt x="1020" y="1094"/>
                </a:lnTo>
                <a:lnTo>
                  <a:pt x="1016" y="1114"/>
                </a:lnTo>
                <a:lnTo>
                  <a:pt x="1012" y="1132"/>
                </a:lnTo>
                <a:lnTo>
                  <a:pt x="1010" y="1144"/>
                </a:lnTo>
                <a:lnTo>
                  <a:pt x="1010" y="1144"/>
                </a:lnTo>
                <a:lnTo>
                  <a:pt x="1018" y="1142"/>
                </a:lnTo>
                <a:lnTo>
                  <a:pt x="1024" y="1144"/>
                </a:lnTo>
                <a:lnTo>
                  <a:pt x="1024" y="1144"/>
                </a:lnTo>
                <a:lnTo>
                  <a:pt x="1026" y="1144"/>
                </a:lnTo>
                <a:lnTo>
                  <a:pt x="1026" y="1140"/>
                </a:lnTo>
                <a:lnTo>
                  <a:pt x="1028" y="1126"/>
                </a:lnTo>
                <a:lnTo>
                  <a:pt x="1034" y="1090"/>
                </a:lnTo>
                <a:lnTo>
                  <a:pt x="1034" y="1090"/>
                </a:lnTo>
                <a:lnTo>
                  <a:pt x="1034" y="1092"/>
                </a:lnTo>
                <a:lnTo>
                  <a:pt x="1034" y="1092"/>
                </a:lnTo>
                <a:lnTo>
                  <a:pt x="1034" y="1102"/>
                </a:lnTo>
                <a:lnTo>
                  <a:pt x="1034" y="1102"/>
                </a:lnTo>
                <a:lnTo>
                  <a:pt x="1038" y="1102"/>
                </a:lnTo>
                <a:lnTo>
                  <a:pt x="1038" y="1102"/>
                </a:lnTo>
                <a:lnTo>
                  <a:pt x="1044" y="1116"/>
                </a:lnTo>
                <a:lnTo>
                  <a:pt x="1044" y="1116"/>
                </a:lnTo>
                <a:lnTo>
                  <a:pt x="1040" y="1116"/>
                </a:lnTo>
                <a:lnTo>
                  <a:pt x="1040" y="1116"/>
                </a:lnTo>
                <a:lnTo>
                  <a:pt x="1040" y="1118"/>
                </a:lnTo>
                <a:lnTo>
                  <a:pt x="1040" y="1118"/>
                </a:lnTo>
                <a:lnTo>
                  <a:pt x="1044" y="1118"/>
                </a:lnTo>
                <a:lnTo>
                  <a:pt x="1044" y="1118"/>
                </a:lnTo>
                <a:lnTo>
                  <a:pt x="1046" y="1120"/>
                </a:lnTo>
                <a:lnTo>
                  <a:pt x="1046" y="1120"/>
                </a:lnTo>
                <a:lnTo>
                  <a:pt x="1048" y="1132"/>
                </a:lnTo>
                <a:lnTo>
                  <a:pt x="1050" y="1136"/>
                </a:lnTo>
                <a:lnTo>
                  <a:pt x="1050" y="1136"/>
                </a:lnTo>
                <a:lnTo>
                  <a:pt x="1058" y="1138"/>
                </a:lnTo>
                <a:lnTo>
                  <a:pt x="1062" y="1138"/>
                </a:lnTo>
                <a:lnTo>
                  <a:pt x="1066" y="1136"/>
                </a:lnTo>
                <a:lnTo>
                  <a:pt x="1066" y="1136"/>
                </a:lnTo>
                <a:lnTo>
                  <a:pt x="1060" y="1114"/>
                </a:lnTo>
                <a:lnTo>
                  <a:pt x="1060" y="1114"/>
                </a:lnTo>
                <a:lnTo>
                  <a:pt x="1064" y="1114"/>
                </a:lnTo>
                <a:lnTo>
                  <a:pt x="1068" y="1114"/>
                </a:lnTo>
                <a:lnTo>
                  <a:pt x="1068" y="1114"/>
                </a:lnTo>
                <a:lnTo>
                  <a:pt x="1066" y="1116"/>
                </a:lnTo>
                <a:lnTo>
                  <a:pt x="1064" y="1118"/>
                </a:lnTo>
                <a:lnTo>
                  <a:pt x="1062" y="1118"/>
                </a:lnTo>
                <a:lnTo>
                  <a:pt x="1062" y="1122"/>
                </a:lnTo>
                <a:lnTo>
                  <a:pt x="1062" y="1122"/>
                </a:lnTo>
                <a:lnTo>
                  <a:pt x="1076" y="1120"/>
                </a:lnTo>
                <a:lnTo>
                  <a:pt x="1090" y="1122"/>
                </a:lnTo>
                <a:lnTo>
                  <a:pt x="1090" y="1122"/>
                </a:lnTo>
                <a:lnTo>
                  <a:pt x="1084" y="1126"/>
                </a:lnTo>
                <a:lnTo>
                  <a:pt x="1084" y="1126"/>
                </a:lnTo>
                <a:lnTo>
                  <a:pt x="1100" y="1130"/>
                </a:lnTo>
                <a:lnTo>
                  <a:pt x="1100" y="1130"/>
                </a:lnTo>
                <a:lnTo>
                  <a:pt x="1094" y="1134"/>
                </a:lnTo>
                <a:lnTo>
                  <a:pt x="1094" y="1134"/>
                </a:lnTo>
                <a:lnTo>
                  <a:pt x="1106" y="1138"/>
                </a:lnTo>
                <a:lnTo>
                  <a:pt x="1116" y="1140"/>
                </a:lnTo>
                <a:lnTo>
                  <a:pt x="1116" y="1140"/>
                </a:lnTo>
                <a:lnTo>
                  <a:pt x="1122" y="1138"/>
                </a:lnTo>
                <a:lnTo>
                  <a:pt x="1122" y="1138"/>
                </a:lnTo>
                <a:lnTo>
                  <a:pt x="1120" y="1138"/>
                </a:lnTo>
                <a:lnTo>
                  <a:pt x="1120" y="1138"/>
                </a:lnTo>
                <a:lnTo>
                  <a:pt x="1130" y="1138"/>
                </a:lnTo>
                <a:lnTo>
                  <a:pt x="1130" y="1138"/>
                </a:lnTo>
                <a:lnTo>
                  <a:pt x="1136" y="1140"/>
                </a:lnTo>
                <a:lnTo>
                  <a:pt x="1140" y="1140"/>
                </a:lnTo>
                <a:lnTo>
                  <a:pt x="1144" y="1140"/>
                </a:lnTo>
                <a:lnTo>
                  <a:pt x="1144" y="1140"/>
                </a:lnTo>
                <a:lnTo>
                  <a:pt x="1134" y="1134"/>
                </a:lnTo>
                <a:lnTo>
                  <a:pt x="1134" y="1134"/>
                </a:lnTo>
                <a:lnTo>
                  <a:pt x="1138" y="1130"/>
                </a:lnTo>
                <a:lnTo>
                  <a:pt x="1138" y="1130"/>
                </a:lnTo>
                <a:lnTo>
                  <a:pt x="1138" y="1126"/>
                </a:lnTo>
                <a:lnTo>
                  <a:pt x="1134" y="1122"/>
                </a:lnTo>
                <a:lnTo>
                  <a:pt x="1134" y="1122"/>
                </a:lnTo>
                <a:lnTo>
                  <a:pt x="1134" y="1122"/>
                </a:lnTo>
                <a:lnTo>
                  <a:pt x="1134" y="1122"/>
                </a:lnTo>
                <a:lnTo>
                  <a:pt x="1130" y="1122"/>
                </a:lnTo>
                <a:lnTo>
                  <a:pt x="1130" y="1122"/>
                </a:lnTo>
                <a:lnTo>
                  <a:pt x="1128" y="1122"/>
                </a:lnTo>
                <a:lnTo>
                  <a:pt x="1128" y="1122"/>
                </a:lnTo>
                <a:lnTo>
                  <a:pt x="1122" y="1120"/>
                </a:lnTo>
                <a:lnTo>
                  <a:pt x="1122" y="1120"/>
                </a:lnTo>
                <a:lnTo>
                  <a:pt x="1122" y="1118"/>
                </a:lnTo>
                <a:lnTo>
                  <a:pt x="1122" y="1118"/>
                </a:lnTo>
                <a:lnTo>
                  <a:pt x="1120" y="1116"/>
                </a:lnTo>
                <a:lnTo>
                  <a:pt x="1120" y="1116"/>
                </a:lnTo>
                <a:lnTo>
                  <a:pt x="1118" y="1118"/>
                </a:lnTo>
                <a:lnTo>
                  <a:pt x="1118" y="1118"/>
                </a:lnTo>
                <a:lnTo>
                  <a:pt x="1088" y="1106"/>
                </a:lnTo>
                <a:lnTo>
                  <a:pt x="1088" y="1106"/>
                </a:lnTo>
                <a:lnTo>
                  <a:pt x="1080" y="1104"/>
                </a:lnTo>
                <a:lnTo>
                  <a:pt x="1080" y="1104"/>
                </a:lnTo>
                <a:lnTo>
                  <a:pt x="1064" y="1104"/>
                </a:lnTo>
                <a:lnTo>
                  <a:pt x="1064" y="1104"/>
                </a:lnTo>
                <a:lnTo>
                  <a:pt x="1058" y="1106"/>
                </a:lnTo>
                <a:lnTo>
                  <a:pt x="1058" y="1106"/>
                </a:lnTo>
                <a:lnTo>
                  <a:pt x="1054" y="1094"/>
                </a:lnTo>
                <a:lnTo>
                  <a:pt x="1054" y="1094"/>
                </a:lnTo>
                <a:lnTo>
                  <a:pt x="1058" y="1092"/>
                </a:lnTo>
                <a:lnTo>
                  <a:pt x="1060" y="1090"/>
                </a:lnTo>
                <a:lnTo>
                  <a:pt x="1062" y="1088"/>
                </a:lnTo>
                <a:lnTo>
                  <a:pt x="1062" y="1088"/>
                </a:lnTo>
                <a:lnTo>
                  <a:pt x="1052" y="1088"/>
                </a:lnTo>
                <a:lnTo>
                  <a:pt x="1052" y="1088"/>
                </a:lnTo>
                <a:lnTo>
                  <a:pt x="1050" y="1086"/>
                </a:lnTo>
                <a:lnTo>
                  <a:pt x="1050" y="1086"/>
                </a:lnTo>
                <a:lnTo>
                  <a:pt x="1050" y="1086"/>
                </a:lnTo>
                <a:lnTo>
                  <a:pt x="1050" y="1086"/>
                </a:lnTo>
                <a:lnTo>
                  <a:pt x="1046" y="1082"/>
                </a:lnTo>
                <a:lnTo>
                  <a:pt x="1046" y="1082"/>
                </a:lnTo>
                <a:lnTo>
                  <a:pt x="1046" y="1082"/>
                </a:lnTo>
                <a:lnTo>
                  <a:pt x="1046" y="1082"/>
                </a:lnTo>
                <a:lnTo>
                  <a:pt x="1054" y="1078"/>
                </a:lnTo>
                <a:lnTo>
                  <a:pt x="1054" y="1078"/>
                </a:lnTo>
                <a:lnTo>
                  <a:pt x="1062" y="1080"/>
                </a:lnTo>
                <a:lnTo>
                  <a:pt x="1066" y="1082"/>
                </a:lnTo>
                <a:lnTo>
                  <a:pt x="1066" y="1082"/>
                </a:lnTo>
                <a:lnTo>
                  <a:pt x="1072" y="1088"/>
                </a:lnTo>
                <a:lnTo>
                  <a:pt x="1080" y="1090"/>
                </a:lnTo>
                <a:lnTo>
                  <a:pt x="1080" y="1090"/>
                </a:lnTo>
                <a:lnTo>
                  <a:pt x="1094" y="1092"/>
                </a:lnTo>
                <a:lnTo>
                  <a:pt x="1108" y="1092"/>
                </a:lnTo>
                <a:lnTo>
                  <a:pt x="1108" y="1092"/>
                </a:lnTo>
                <a:lnTo>
                  <a:pt x="1118" y="1090"/>
                </a:lnTo>
                <a:lnTo>
                  <a:pt x="1118" y="1090"/>
                </a:lnTo>
                <a:lnTo>
                  <a:pt x="1108" y="1086"/>
                </a:lnTo>
                <a:lnTo>
                  <a:pt x="1108" y="1086"/>
                </a:lnTo>
                <a:lnTo>
                  <a:pt x="1084" y="1086"/>
                </a:lnTo>
                <a:lnTo>
                  <a:pt x="1084" y="1086"/>
                </a:lnTo>
                <a:lnTo>
                  <a:pt x="1074" y="1086"/>
                </a:lnTo>
                <a:lnTo>
                  <a:pt x="1074" y="1086"/>
                </a:lnTo>
                <a:lnTo>
                  <a:pt x="1082" y="1080"/>
                </a:lnTo>
                <a:lnTo>
                  <a:pt x="1082" y="1080"/>
                </a:lnTo>
                <a:lnTo>
                  <a:pt x="1070" y="1080"/>
                </a:lnTo>
                <a:lnTo>
                  <a:pt x="1070" y="1080"/>
                </a:lnTo>
                <a:lnTo>
                  <a:pt x="1068" y="1080"/>
                </a:lnTo>
                <a:lnTo>
                  <a:pt x="1068" y="1080"/>
                </a:lnTo>
                <a:lnTo>
                  <a:pt x="1062" y="1074"/>
                </a:lnTo>
                <a:lnTo>
                  <a:pt x="1058" y="1072"/>
                </a:lnTo>
                <a:lnTo>
                  <a:pt x="1052" y="1072"/>
                </a:lnTo>
                <a:lnTo>
                  <a:pt x="1046" y="1076"/>
                </a:lnTo>
                <a:lnTo>
                  <a:pt x="1046" y="1076"/>
                </a:lnTo>
                <a:lnTo>
                  <a:pt x="1044" y="1064"/>
                </a:lnTo>
                <a:lnTo>
                  <a:pt x="1044" y="1064"/>
                </a:lnTo>
                <a:lnTo>
                  <a:pt x="1048" y="1064"/>
                </a:lnTo>
                <a:lnTo>
                  <a:pt x="1048" y="1064"/>
                </a:lnTo>
                <a:lnTo>
                  <a:pt x="1058" y="1068"/>
                </a:lnTo>
                <a:lnTo>
                  <a:pt x="1068" y="1068"/>
                </a:lnTo>
                <a:lnTo>
                  <a:pt x="1068" y="1068"/>
                </a:lnTo>
                <a:lnTo>
                  <a:pt x="1072" y="1074"/>
                </a:lnTo>
                <a:lnTo>
                  <a:pt x="1080" y="1076"/>
                </a:lnTo>
                <a:lnTo>
                  <a:pt x="1080" y="1076"/>
                </a:lnTo>
                <a:lnTo>
                  <a:pt x="1076" y="1070"/>
                </a:lnTo>
                <a:lnTo>
                  <a:pt x="1076" y="1070"/>
                </a:lnTo>
                <a:lnTo>
                  <a:pt x="1086" y="1064"/>
                </a:lnTo>
                <a:lnTo>
                  <a:pt x="1088" y="1062"/>
                </a:lnTo>
                <a:lnTo>
                  <a:pt x="1086" y="1056"/>
                </a:lnTo>
                <a:lnTo>
                  <a:pt x="1086" y="1056"/>
                </a:lnTo>
                <a:lnTo>
                  <a:pt x="1080" y="1056"/>
                </a:lnTo>
                <a:lnTo>
                  <a:pt x="1080" y="1056"/>
                </a:lnTo>
                <a:lnTo>
                  <a:pt x="1072" y="1054"/>
                </a:lnTo>
                <a:lnTo>
                  <a:pt x="1064" y="1054"/>
                </a:lnTo>
                <a:lnTo>
                  <a:pt x="1058" y="1056"/>
                </a:lnTo>
                <a:lnTo>
                  <a:pt x="1052" y="1058"/>
                </a:lnTo>
                <a:lnTo>
                  <a:pt x="1052" y="1058"/>
                </a:lnTo>
                <a:lnTo>
                  <a:pt x="1048" y="1060"/>
                </a:lnTo>
                <a:lnTo>
                  <a:pt x="1044" y="1060"/>
                </a:lnTo>
                <a:lnTo>
                  <a:pt x="1044" y="1060"/>
                </a:lnTo>
                <a:lnTo>
                  <a:pt x="1042" y="1056"/>
                </a:lnTo>
                <a:lnTo>
                  <a:pt x="1042" y="1056"/>
                </a:lnTo>
                <a:lnTo>
                  <a:pt x="1044" y="1054"/>
                </a:lnTo>
                <a:lnTo>
                  <a:pt x="1044" y="1054"/>
                </a:lnTo>
                <a:lnTo>
                  <a:pt x="1038" y="1054"/>
                </a:lnTo>
                <a:lnTo>
                  <a:pt x="1038" y="1054"/>
                </a:lnTo>
                <a:lnTo>
                  <a:pt x="1036" y="1052"/>
                </a:lnTo>
                <a:lnTo>
                  <a:pt x="1036" y="1052"/>
                </a:lnTo>
                <a:lnTo>
                  <a:pt x="1036" y="1054"/>
                </a:lnTo>
                <a:lnTo>
                  <a:pt x="1036" y="1054"/>
                </a:lnTo>
                <a:lnTo>
                  <a:pt x="1030" y="1056"/>
                </a:lnTo>
                <a:lnTo>
                  <a:pt x="1030" y="1056"/>
                </a:lnTo>
                <a:lnTo>
                  <a:pt x="1024" y="1056"/>
                </a:lnTo>
                <a:lnTo>
                  <a:pt x="1020" y="1052"/>
                </a:lnTo>
                <a:lnTo>
                  <a:pt x="1020" y="1052"/>
                </a:lnTo>
                <a:lnTo>
                  <a:pt x="1016" y="1048"/>
                </a:lnTo>
                <a:lnTo>
                  <a:pt x="1016" y="1048"/>
                </a:lnTo>
                <a:lnTo>
                  <a:pt x="1012" y="1046"/>
                </a:lnTo>
                <a:lnTo>
                  <a:pt x="1012" y="1046"/>
                </a:lnTo>
                <a:lnTo>
                  <a:pt x="1008" y="1046"/>
                </a:lnTo>
                <a:lnTo>
                  <a:pt x="1004" y="1046"/>
                </a:lnTo>
                <a:lnTo>
                  <a:pt x="1000" y="1042"/>
                </a:lnTo>
                <a:lnTo>
                  <a:pt x="1000" y="1042"/>
                </a:lnTo>
                <a:lnTo>
                  <a:pt x="984" y="1044"/>
                </a:lnTo>
                <a:lnTo>
                  <a:pt x="984" y="1044"/>
                </a:lnTo>
                <a:lnTo>
                  <a:pt x="968" y="1046"/>
                </a:lnTo>
                <a:lnTo>
                  <a:pt x="968" y="1046"/>
                </a:lnTo>
                <a:lnTo>
                  <a:pt x="972" y="1040"/>
                </a:lnTo>
                <a:lnTo>
                  <a:pt x="972" y="1040"/>
                </a:lnTo>
                <a:lnTo>
                  <a:pt x="966" y="1038"/>
                </a:lnTo>
                <a:lnTo>
                  <a:pt x="964" y="1036"/>
                </a:lnTo>
                <a:lnTo>
                  <a:pt x="964" y="1032"/>
                </a:lnTo>
                <a:lnTo>
                  <a:pt x="964" y="1030"/>
                </a:lnTo>
                <a:lnTo>
                  <a:pt x="964" y="1030"/>
                </a:lnTo>
                <a:lnTo>
                  <a:pt x="960" y="1026"/>
                </a:lnTo>
                <a:lnTo>
                  <a:pt x="956" y="1026"/>
                </a:lnTo>
                <a:lnTo>
                  <a:pt x="952" y="1024"/>
                </a:lnTo>
                <a:lnTo>
                  <a:pt x="950" y="1022"/>
                </a:lnTo>
                <a:lnTo>
                  <a:pt x="950" y="1022"/>
                </a:lnTo>
                <a:lnTo>
                  <a:pt x="990" y="1020"/>
                </a:lnTo>
                <a:lnTo>
                  <a:pt x="990" y="1020"/>
                </a:lnTo>
                <a:lnTo>
                  <a:pt x="988" y="1012"/>
                </a:lnTo>
                <a:lnTo>
                  <a:pt x="988" y="1012"/>
                </a:lnTo>
                <a:lnTo>
                  <a:pt x="1002" y="1016"/>
                </a:lnTo>
                <a:lnTo>
                  <a:pt x="1002" y="1016"/>
                </a:lnTo>
                <a:lnTo>
                  <a:pt x="1018" y="1008"/>
                </a:lnTo>
                <a:lnTo>
                  <a:pt x="1018" y="1008"/>
                </a:lnTo>
                <a:lnTo>
                  <a:pt x="1014" y="1002"/>
                </a:lnTo>
                <a:lnTo>
                  <a:pt x="1008" y="1000"/>
                </a:lnTo>
                <a:lnTo>
                  <a:pt x="1000" y="996"/>
                </a:lnTo>
                <a:lnTo>
                  <a:pt x="990" y="994"/>
                </a:lnTo>
                <a:lnTo>
                  <a:pt x="990" y="994"/>
                </a:lnTo>
                <a:lnTo>
                  <a:pt x="990" y="994"/>
                </a:lnTo>
                <a:lnTo>
                  <a:pt x="990" y="994"/>
                </a:lnTo>
                <a:lnTo>
                  <a:pt x="990" y="994"/>
                </a:lnTo>
                <a:lnTo>
                  <a:pt x="990" y="994"/>
                </a:lnTo>
                <a:lnTo>
                  <a:pt x="990" y="994"/>
                </a:lnTo>
                <a:lnTo>
                  <a:pt x="962" y="984"/>
                </a:lnTo>
                <a:lnTo>
                  <a:pt x="962" y="984"/>
                </a:lnTo>
                <a:lnTo>
                  <a:pt x="964" y="990"/>
                </a:lnTo>
                <a:lnTo>
                  <a:pt x="936" y="990"/>
                </a:lnTo>
                <a:lnTo>
                  <a:pt x="936" y="990"/>
                </a:lnTo>
                <a:lnTo>
                  <a:pt x="952" y="978"/>
                </a:lnTo>
                <a:lnTo>
                  <a:pt x="952" y="978"/>
                </a:lnTo>
                <a:lnTo>
                  <a:pt x="970" y="976"/>
                </a:lnTo>
                <a:lnTo>
                  <a:pt x="970" y="976"/>
                </a:lnTo>
                <a:lnTo>
                  <a:pt x="982" y="976"/>
                </a:lnTo>
                <a:lnTo>
                  <a:pt x="982" y="976"/>
                </a:lnTo>
                <a:lnTo>
                  <a:pt x="980" y="972"/>
                </a:lnTo>
                <a:lnTo>
                  <a:pt x="980" y="968"/>
                </a:lnTo>
                <a:lnTo>
                  <a:pt x="978" y="966"/>
                </a:lnTo>
                <a:lnTo>
                  <a:pt x="972" y="964"/>
                </a:lnTo>
                <a:lnTo>
                  <a:pt x="972" y="964"/>
                </a:lnTo>
                <a:lnTo>
                  <a:pt x="988" y="960"/>
                </a:lnTo>
                <a:lnTo>
                  <a:pt x="988" y="960"/>
                </a:lnTo>
                <a:lnTo>
                  <a:pt x="992" y="964"/>
                </a:lnTo>
                <a:lnTo>
                  <a:pt x="992" y="968"/>
                </a:lnTo>
                <a:lnTo>
                  <a:pt x="990" y="970"/>
                </a:lnTo>
                <a:lnTo>
                  <a:pt x="990" y="974"/>
                </a:lnTo>
                <a:lnTo>
                  <a:pt x="990" y="974"/>
                </a:lnTo>
                <a:lnTo>
                  <a:pt x="1006" y="980"/>
                </a:lnTo>
                <a:lnTo>
                  <a:pt x="1006" y="980"/>
                </a:lnTo>
                <a:lnTo>
                  <a:pt x="1002" y="968"/>
                </a:lnTo>
                <a:lnTo>
                  <a:pt x="1002" y="968"/>
                </a:lnTo>
                <a:lnTo>
                  <a:pt x="1018" y="964"/>
                </a:lnTo>
                <a:lnTo>
                  <a:pt x="1018" y="964"/>
                </a:lnTo>
                <a:lnTo>
                  <a:pt x="1024" y="970"/>
                </a:lnTo>
                <a:lnTo>
                  <a:pt x="1024" y="970"/>
                </a:lnTo>
                <a:lnTo>
                  <a:pt x="1026" y="964"/>
                </a:lnTo>
                <a:lnTo>
                  <a:pt x="1026" y="964"/>
                </a:lnTo>
                <a:lnTo>
                  <a:pt x="1032" y="962"/>
                </a:lnTo>
                <a:lnTo>
                  <a:pt x="1040" y="962"/>
                </a:lnTo>
                <a:lnTo>
                  <a:pt x="1046" y="964"/>
                </a:lnTo>
                <a:lnTo>
                  <a:pt x="1054" y="964"/>
                </a:lnTo>
                <a:lnTo>
                  <a:pt x="1054" y="964"/>
                </a:lnTo>
                <a:lnTo>
                  <a:pt x="1042" y="954"/>
                </a:lnTo>
                <a:lnTo>
                  <a:pt x="1042" y="954"/>
                </a:lnTo>
                <a:lnTo>
                  <a:pt x="1054" y="954"/>
                </a:lnTo>
                <a:lnTo>
                  <a:pt x="1056" y="956"/>
                </a:lnTo>
                <a:lnTo>
                  <a:pt x="1058" y="958"/>
                </a:lnTo>
                <a:lnTo>
                  <a:pt x="1058" y="958"/>
                </a:lnTo>
                <a:lnTo>
                  <a:pt x="1076" y="958"/>
                </a:lnTo>
                <a:lnTo>
                  <a:pt x="1084" y="954"/>
                </a:lnTo>
                <a:lnTo>
                  <a:pt x="1088" y="950"/>
                </a:lnTo>
                <a:lnTo>
                  <a:pt x="1088" y="950"/>
                </a:lnTo>
                <a:lnTo>
                  <a:pt x="1106" y="954"/>
                </a:lnTo>
                <a:lnTo>
                  <a:pt x="1106" y="954"/>
                </a:lnTo>
                <a:lnTo>
                  <a:pt x="1106" y="956"/>
                </a:lnTo>
                <a:lnTo>
                  <a:pt x="1106" y="956"/>
                </a:lnTo>
                <a:lnTo>
                  <a:pt x="1100" y="956"/>
                </a:lnTo>
                <a:lnTo>
                  <a:pt x="1100" y="956"/>
                </a:lnTo>
                <a:lnTo>
                  <a:pt x="1090" y="958"/>
                </a:lnTo>
                <a:lnTo>
                  <a:pt x="1090" y="958"/>
                </a:lnTo>
                <a:lnTo>
                  <a:pt x="1096" y="962"/>
                </a:lnTo>
                <a:lnTo>
                  <a:pt x="1096" y="962"/>
                </a:lnTo>
                <a:lnTo>
                  <a:pt x="1098" y="964"/>
                </a:lnTo>
                <a:lnTo>
                  <a:pt x="1098" y="968"/>
                </a:lnTo>
                <a:lnTo>
                  <a:pt x="1098" y="968"/>
                </a:lnTo>
                <a:lnTo>
                  <a:pt x="1106" y="964"/>
                </a:lnTo>
                <a:lnTo>
                  <a:pt x="1106" y="964"/>
                </a:lnTo>
                <a:lnTo>
                  <a:pt x="1108" y="964"/>
                </a:lnTo>
                <a:lnTo>
                  <a:pt x="1108" y="964"/>
                </a:lnTo>
                <a:lnTo>
                  <a:pt x="1116" y="966"/>
                </a:lnTo>
                <a:lnTo>
                  <a:pt x="1124" y="966"/>
                </a:lnTo>
                <a:lnTo>
                  <a:pt x="1124" y="966"/>
                </a:lnTo>
                <a:lnTo>
                  <a:pt x="1130" y="966"/>
                </a:lnTo>
                <a:lnTo>
                  <a:pt x="1136" y="966"/>
                </a:lnTo>
                <a:lnTo>
                  <a:pt x="1136" y="966"/>
                </a:lnTo>
                <a:lnTo>
                  <a:pt x="1138" y="976"/>
                </a:lnTo>
                <a:lnTo>
                  <a:pt x="1138" y="976"/>
                </a:lnTo>
                <a:lnTo>
                  <a:pt x="1150" y="978"/>
                </a:lnTo>
                <a:lnTo>
                  <a:pt x="1150" y="978"/>
                </a:lnTo>
                <a:lnTo>
                  <a:pt x="1140" y="980"/>
                </a:lnTo>
                <a:lnTo>
                  <a:pt x="1134" y="980"/>
                </a:lnTo>
                <a:lnTo>
                  <a:pt x="1130" y="978"/>
                </a:lnTo>
                <a:lnTo>
                  <a:pt x="1130" y="978"/>
                </a:lnTo>
                <a:lnTo>
                  <a:pt x="1130" y="984"/>
                </a:lnTo>
                <a:lnTo>
                  <a:pt x="1130" y="984"/>
                </a:lnTo>
                <a:lnTo>
                  <a:pt x="1126" y="990"/>
                </a:lnTo>
                <a:lnTo>
                  <a:pt x="1126" y="990"/>
                </a:lnTo>
                <a:lnTo>
                  <a:pt x="1136" y="988"/>
                </a:lnTo>
                <a:lnTo>
                  <a:pt x="1146" y="986"/>
                </a:lnTo>
                <a:lnTo>
                  <a:pt x="1154" y="986"/>
                </a:lnTo>
                <a:lnTo>
                  <a:pt x="1162" y="990"/>
                </a:lnTo>
                <a:lnTo>
                  <a:pt x="1162" y="990"/>
                </a:lnTo>
                <a:lnTo>
                  <a:pt x="1168" y="984"/>
                </a:lnTo>
                <a:lnTo>
                  <a:pt x="1168" y="984"/>
                </a:lnTo>
                <a:lnTo>
                  <a:pt x="1172" y="984"/>
                </a:lnTo>
                <a:lnTo>
                  <a:pt x="1176" y="984"/>
                </a:lnTo>
                <a:lnTo>
                  <a:pt x="1186" y="984"/>
                </a:lnTo>
                <a:lnTo>
                  <a:pt x="1186" y="984"/>
                </a:lnTo>
                <a:lnTo>
                  <a:pt x="1206" y="986"/>
                </a:lnTo>
                <a:lnTo>
                  <a:pt x="1206" y="986"/>
                </a:lnTo>
                <a:lnTo>
                  <a:pt x="1188" y="1000"/>
                </a:lnTo>
                <a:lnTo>
                  <a:pt x="1188" y="1000"/>
                </a:lnTo>
                <a:lnTo>
                  <a:pt x="1184" y="1002"/>
                </a:lnTo>
                <a:lnTo>
                  <a:pt x="1178" y="1002"/>
                </a:lnTo>
                <a:lnTo>
                  <a:pt x="1178" y="1002"/>
                </a:lnTo>
                <a:lnTo>
                  <a:pt x="1172" y="1000"/>
                </a:lnTo>
                <a:lnTo>
                  <a:pt x="1164" y="1002"/>
                </a:lnTo>
                <a:lnTo>
                  <a:pt x="1164" y="1002"/>
                </a:lnTo>
                <a:lnTo>
                  <a:pt x="1166" y="1008"/>
                </a:lnTo>
                <a:lnTo>
                  <a:pt x="1166" y="1008"/>
                </a:lnTo>
                <a:lnTo>
                  <a:pt x="1148" y="1012"/>
                </a:lnTo>
                <a:lnTo>
                  <a:pt x="1140" y="1014"/>
                </a:lnTo>
                <a:lnTo>
                  <a:pt x="1130" y="1014"/>
                </a:lnTo>
                <a:lnTo>
                  <a:pt x="1130" y="1014"/>
                </a:lnTo>
                <a:lnTo>
                  <a:pt x="1130" y="1012"/>
                </a:lnTo>
                <a:lnTo>
                  <a:pt x="1130" y="1012"/>
                </a:lnTo>
                <a:lnTo>
                  <a:pt x="1138" y="1010"/>
                </a:lnTo>
                <a:lnTo>
                  <a:pt x="1138" y="1010"/>
                </a:lnTo>
                <a:lnTo>
                  <a:pt x="1126" y="1004"/>
                </a:lnTo>
                <a:lnTo>
                  <a:pt x="1126" y="1004"/>
                </a:lnTo>
                <a:lnTo>
                  <a:pt x="1114" y="1004"/>
                </a:lnTo>
                <a:lnTo>
                  <a:pt x="1114" y="1004"/>
                </a:lnTo>
                <a:lnTo>
                  <a:pt x="1114" y="1008"/>
                </a:lnTo>
                <a:lnTo>
                  <a:pt x="1112" y="1010"/>
                </a:lnTo>
                <a:lnTo>
                  <a:pt x="1112" y="1010"/>
                </a:lnTo>
                <a:lnTo>
                  <a:pt x="1108" y="1012"/>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096" y="1020"/>
                </a:lnTo>
                <a:lnTo>
                  <a:pt x="1096" y="1020"/>
                </a:lnTo>
                <a:lnTo>
                  <a:pt x="1088" y="1018"/>
                </a:lnTo>
                <a:lnTo>
                  <a:pt x="1080" y="1016"/>
                </a:lnTo>
                <a:lnTo>
                  <a:pt x="1072" y="1014"/>
                </a:lnTo>
                <a:lnTo>
                  <a:pt x="1064" y="1010"/>
                </a:lnTo>
                <a:lnTo>
                  <a:pt x="1064" y="1010"/>
                </a:lnTo>
                <a:lnTo>
                  <a:pt x="1056" y="1004"/>
                </a:lnTo>
                <a:lnTo>
                  <a:pt x="1056" y="1004"/>
                </a:lnTo>
                <a:lnTo>
                  <a:pt x="1050" y="1008"/>
                </a:lnTo>
                <a:lnTo>
                  <a:pt x="1050" y="1008"/>
                </a:lnTo>
                <a:lnTo>
                  <a:pt x="1032" y="1008"/>
                </a:lnTo>
                <a:lnTo>
                  <a:pt x="1032" y="1008"/>
                </a:lnTo>
                <a:lnTo>
                  <a:pt x="1028" y="1012"/>
                </a:lnTo>
                <a:lnTo>
                  <a:pt x="1026" y="1014"/>
                </a:lnTo>
                <a:lnTo>
                  <a:pt x="1026" y="1014"/>
                </a:lnTo>
                <a:lnTo>
                  <a:pt x="1056" y="1014"/>
                </a:lnTo>
                <a:lnTo>
                  <a:pt x="1056" y="1014"/>
                </a:lnTo>
                <a:lnTo>
                  <a:pt x="1064" y="1016"/>
                </a:lnTo>
                <a:lnTo>
                  <a:pt x="1064" y="1016"/>
                </a:lnTo>
                <a:lnTo>
                  <a:pt x="1086" y="1024"/>
                </a:lnTo>
                <a:lnTo>
                  <a:pt x="1086" y="1024"/>
                </a:lnTo>
                <a:lnTo>
                  <a:pt x="1080" y="1028"/>
                </a:lnTo>
                <a:lnTo>
                  <a:pt x="1080" y="1028"/>
                </a:lnTo>
                <a:lnTo>
                  <a:pt x="1072" y="1030"/>
                </a:lnTo>
                <a:lnTo>
                  <a:pt x="1072" y="1030"/>
                </a:lnTo>
                <a:lnTo>
                  <a:pt x="1064" y="1032"/>
                </a:lnTo>
                <a:lnTo>
                  <a:pt x="1062" y="1030"/>
                </a:lnTo>
                <a:lnTo>
                  <a:pt x="1058" y="1026"/>
                </a:lnTo>
                <a:lnTo>
                  <a:pt x="1058" y="1026"/>
                </a:lnTo>
                <a:lnTo>
                  <a:pt x="1050" y="1026"/>
                </a:lnTo>
                <a:lnTo>
                  <a:pt x="1050" y="1026"/>
                </a:lnTo>
                <a:lnTo>
                  <a:pt x="1052" y="1032"/>
                </a:lnTo>
                <a:lnTo>
                  <a:pt x="1052" y="1032"/>
                </a:lnTo>
                <a:lnTo>
                  <a:pt x="1046" y="1038"/>
                </a:lnTo>
                <a:lnTo>
                  <a:pt x="1046" y="1038"/>
                </a:lnTo>
                <a:lnTo>
                  <a:pt x="1050" y="1038"/>
                </a:lnTo>
                <a:lnTo>
                  <a:pt x="1054" y="1036"/>
                </a:lnTo>
                <a:lnTo>
                  <a:pt x="1054" y="1036"/>
                </a:lnTo>
                <a:lnTo>
                  <a:pt x="1060" y="1034"/>
                </a:lnTo>
                <a:lnTo>
                  <a:pt x="1066" y="1034"/>
                </a:lnTo>
                <a:lnTo>
                  <a:pt x="1076" y="1034"/>
                </a:lnTo>
                <a:lnTo>
                  <a:pt x="1076" y="1034"/>
                </a:lnTo>
                <a:lnTo>
                  <a:pt x="1082" y="1034"/>
                </a:lnTo>
                <a:lnTo>
                  <a:pt x="1088" y="1032"/>
                </a:lnTo>
                <a:lnTo>
                  <a:pt x="1088" y="1032"/>
                </a:lnTo>
                <a:lnTo>
                  <a:pt x="1100" y="1024"/>
                </a:lnTo>
                <a:lnTo>
                  <a:pt x="1100" y="1024"/>
                </a:lnTo>
                <a:lnTo>
                  <a:pt x="1114" y="1026"/>
                </a:lnTo>
                <a:lnTo>
                  <a:pt x="1120" y="1024"/>
                </a:lnTo>
                <a:lnTo>
                  <a:pt x="1126" y="1020"/>
                </a:lnTo>
                <a:lnTo>
                  <a:pt x="1126" y="1020"/>
                </a:lnTo>
                <a:lnTo>
                  <a:pt x="1144" y="1030"/>
                </a:lnTo>
                <a:lnTo>
                  <a:pt x="1144" y="1030"/>
                </a:lnTo>
                <a:lnTo>
                  <a:pt x="1150" y="1024"/>
                </a:lnTo>
                <a:lnTo>
                  <a:pt x="1150" y="1024"/>
                </a:lnTo>
                <a:lnTo>
                  <a:pt x="1158" y="1022"/>
                </a:lnTo>
                <a:lnTo>
                  <a:pt x="1158" y="1022"/>
                </a:lnTo>
                <a:lnTo>
                  <a:pt x="1162" y="1024"/>
                </a:lnTo>
                <a:lnTo>
                  <a:pt x="1162" y="1024"/>
                </a:lnTo>
                <a:lnTo>
                  <a:pt x="1156" y="1028"/>
                </a:lnTo>
                <a:lnTo>
                  <a:pt x="1156" y="1028"/>
                </a:lnTo>
                <a:lnTo>
                  <a:pt x="1154" y="1030"/>
                </a:lnTo>
                <a:lnTo>
                  <a:pt x="1154" y="1030"/>
                </a:lnTo>
                <a:lnTo>
                  <a:pt x="1156" y="1036"/>
                </a:lnTo>
                <a:lnTo>
                  <a:pt x="1156" y="1036"/>
                </a:lnTo>
                <a:lnTo>
                  <a:pt x="1132" y="1042"/>
                </a:lnTo>
                <a:lnTo>
                  <a:pt x="1132" y="1042"/>
                </a:lnTo>
                <a:lnTo>
                  <a:pt x="1118" y="1038"/>
                </a:lnTo>
                <a:lnTo>
                  <a:pt x="1104" y="1040"/>
                </a:lnTo>
                <a:lnTo>
                  <a:pt x="1104" y="1040"/>
                </a:lnTo>
                <a:lnTo>
                  <a:pt x="1112" y="1046"/>
                </a:lnTo>
                <a:lnTo>
                  <a:pt x="1112" y="1046"/>
                </a:lnTo>
                <a:lnTo>
                  <a:pt x="1118" y="1042"/>
                </a:lnTo>
                <a:lnTo>
                  <a:pt x="1122" y="1040"/>
                </a:lnTo>
                <a:lnTo>
                  <a:pt x="1126" y="1042"/>
                </a:lnTo>
                <a:lnTo>
                  <a:pt x="1126" y="1042"/>
                </a:lnTo>
                <a:lnTo>
                  <a:pt x="1134" y="1046"/>
                </a:lnTo>
                <a:lnTo>
                  <a:pt x="1142" y="1048"/>
                </a:lnTo>
                <a:lnTo>
                  <a:pt x="1142" y="1048"/>
                </a:lnTo>
                <a:lnTo>
                  <a:pt x="1146" y="1052"/>
                </a:lnTo>
                <a:lnTo>
                  <a:pt x="1146" y="1052"/>
                </a:lnTo>
                <a:lnTo>
                  <a:pt x="1140" y="1054"/>
                </a:lnTo>
                <a:lnTo>
                  <a:pt x="1136" y="1058"/>
                </a:lnTo>
                <a:lnTo>
                  <a:pt x="1136" y="1058"/>
                </a:lnTo>
                <a:lnTo>
                  <a:pt x="1132" y="1064"/>
                </a:lnTo>
                <a:lnTo>
                  <a:pt x="1124" y="1068"/>
                </a:lnTo>
                <a:lnTo>
                  <a:pt x="1124" y="1068"/>
                </a:lnTo>
                <a:lnTo>
                  <a:pt x="1122" y="1070"/>
                </a:lnTo>
                <a:lnTo>
                  <a:pt x="1124" y="1072"/>
                </a:lnTo>
                <a:lnTo>
                  <a:pt x="1124" y="1072"/>
                </a:lnTo>
                <a:lnTo>
                  <a:pt x="1148" y="1070"/>
                </a:lnTo>
                <a:lnTo>
                  <a:pt x="1148" y="1070"/>
                </a:lnTo>
                <a:lnTo>
                  <a:pt x="1166" y="1066"/>
                </a:lnTo>
                <a:lnTo>
                  <a:pt x="1184" y="1064"/>
                </a:lnTo>
                <a:lnTo>
                  <a:pt x="1184" y="1064"/>
                </a:lnTo>
                <a:lnTo>
                  <a:pt x="1194" y="1062"/>
                </a:lnTo>
                <a:lnTo>
                  <a:pt x="1204" y="1064"/>
                </a:lnTo>
                <a:lnTo>
                  <a:pt x="1204" y="1064"/>
                </a:lnTo>
                <a:lnTo>
                  <a:pt x="1204" y="1062"/>
                </a:lnTo>
                <a:lnTo>
                  <a:pt x="1206" y="1060"/>
                </a:lnTo>
                <a:lnTo>
                  <a:pt x="1210" y="1058"/>
                </a:lnTo>
                <a:lnTo>
                  <a:pt x="1216" y="1058"/>
                </a:lnTo>
                <a:lnTo>
                  <a:pt x="1220" y="1056"/>
                </a:lnTo>
                <a:lnTo>
                  <a:pt x="1220" y="1056"/>
                </a:lnTo>
                <a:lnTo>
                  <a:pt x="1214" y="1050"/>
                </a:lnTo>
                <a:lnTo>
                  <a:pt x="1202" y="1050"/>
                </a:lnTo>
                <a:lnTo>
                  <a:pt x="1202" y="1050"/>
                </a:lnTo>
                <a:lnTo>
                  <a:pt x="1210" y="1044"/>
                </a:lnTo>
                <a:lnTo>
                  <a:pt x="1210" y="1044"/>
                </a:lnTo>
                <a:lnTo>
                  <a:pt x="1196" y="1040"/>
                </a:lnTo>
                <a:lnTo>
                  <a:pt x="1196" y="1040"/>
                </a:lnTo>
                <a:lnTo>
                  <a:pt x="1192" y="1044"/>
                </a:lnTo>
                <a:lnTo>
                  <a:pt x="1190" y="1046"/>
                </a:lnTo>
                <a:lnTo>
                  <a:pt x="1186" y="1050"/>
                </a:lnTo>
                <a:lnTo>
                  <a:pt x="1180" y="1050"/>
                </a:lnTo>
                <a:lnTo>
                  <a:pt x="1180" y="1050"/>
                </a:lnTo>
                <a:lnTo>
                  <a:pt x="1176" y="1046"/>
                </a:lnTo>
                <a:lnTo>
                  <a:pt x="1170" y="1044"/>
                </a:lnTo>
                <a:lnTo>
                  <a:pt x="1170" y="1044"/>
                </a:lnTo>
                <a:lnTo>
                  <a:pt x="1156" y="1040"/>
                </a:lnTo>
                <a:lnTo>
                  <a:pt x="1156" y="1040"/>
                </a:lnTo>
                <a:lnTo>
                  <a:pt x="1162" y="1034"/>
                </a:lnTo>
                <a:lnTo>
                  <a:pt x="1168" y="1030"/>
                </a:lnTo>
                <a:lnTo>
                  <a:pt x="1178" y="1018"/>
                </a:lnTo>
                <a:lnTo>
                  <a:pt x="1178" y="1018"/>
                </a:lnTo>
                <a:lnTo>
                  <a:pt x="1186" y="1014"/>
                </a:lnTo>
                <a:lnTo>
                  <a:pt x="1196" y="1012"/>
                </a:lnTo>
                <a:lnTo>
                  <a:pt x="1196" y="1012"/>
                </a:lnTo>
                <a:lnTo>
                  <a:pt x="1204" y="1012"/>
                </a:lnTo>
                <a:lnTo>
                  <a:pt x="1204" y="1012"/>
                </a:lnTo>
                <a:lnTo>
                  <a:pt x="1204" y="1012"/>
                </a:lnTo>
                <a:lnTo>
                  <a:pt x="1204" y="1012"/>
                </a:lnTo>
                <a:lnTo>
                  <a:pt x="1192" y="1004"/>
                </a:lnTo>
                <a:lnTo>
                  <a:pt x="1192" y="1004"/>
                </a:lnTo>
                <a:lnTo>
                  <a:pt x="1198" y="1002"/>
                </a:lnTo>
                <a:lnTo>
                  <a:pt x="1198" y="1002"/>
                </a:lnTo>
                <a:lnTo>
                  <a:pt x="1214" y="998"/>
                </a:lnTo>
                <a:lnTo>
                  <a:pt x="1214" y="998"/>
                </a:lnTo>
                <a:lnTo>
                  <a:pt x="1214" y="994"/>
                </a:lnTo>
                <a:lnTo>
                  <a:pt x="1214" y="990"/>
                </a:lnTo>
                <a:lnTo>
                  <a:pt x="1214" y="990"/>
                </a:lnTo>
                <a:lnTo>
                  <a:pt x="1220" y="988"/>
                </a:lnTo>
                <a:lnTo>
                  <a:pt x="1226" y="986"/>
                </a:lnTo>
                <a:lnTo>
                  <a:pt x="1226" y="986"/>
                </a:lnTo>
                <a:lnTo>
                  <a:pt x="1226" y="978"/>
                </a:lnTo>
                <a:lnTo>
                  <a:pt x="1226" y="974"/>
                </a:lnTo>
                <a:lnTo>
                  <a:pt x="1220" y="970"/>
                </a:lnTo>
                <a:lnTo>
                  <a:pt x="1214" y="968"/>
                </a:lnTo>
                <a:lnTo>
                  <a:pt x="1214" y="968"/>
                </a:lnTo>
                <a:lnTo>
                  <a:pt x="1214" y="966"/>
                </a:lnTo>
                <a:lnTo>
                  <a:pt x="1218" y="966"/>
                </a:lnTo>
                <a:lnTo>
                  <a:pt x="1224" y="966"/>
                </a:lnTo>
                <a:lnTo>
                  <a:pt x="1224" y="966"/>
                </a:lnTo>
                <a:lnTo>
                  <a:pt x="1230" y="970"/>
                </a:lnTo>
                <a:lnTo>
                  <a:pt x="1230" y="970"/>
                </a:lnTo>
                <a:lnTo>
                  <a:pt x="1238" y="972"/>
                </a:lnTo>
                <a:lnTo>
                  <a:pt x="1244" y="970"/>
                </a:lnTo>
                <a:lnTo>
                  <a:pt x="1244" y="970"/>
                </a:lnTo>
                <a:lnTo>
                  <a:pt x="1258" y="968"/>
                </a:lnTo>
                <a:lnTo>
                  <a:pt x="1270" y="970"/>
                </a:lnTo>
                <a:lnTo>
                  <a:pt x="1270" y="970"/>
                </a:lnTo>
                <a:lnTo>
                  <a:pt x="1278" y="970"/>
                </a:lnTo>
                <a:lnTo>
                  <a:pt x="1278" y="970"/>
                </a:lnTo>
                <a:lnTo>
                  <a:pt x="1268" y="964"/>
                </a:lnTo>
                <a:lnTo>
                  <a:pt x="1264" y="962"/>
                </a:lnTo>
                <a:lnTo>
                  <a:pt x="1256" y="962"/>
                </a:lnTo>
                <a:lnTo>
                  <a:pt x="1256" y="962"/>
                </a:lnTo>
                <a:lnTo>
                  <a:pt x="1250" y="960"/>
                </a:lnTo>
                <a:lnTo>
                  <a:pt x="1250" y="960"/>
                </a:lnTo>
                <a:lnTo>
                  <a:pt x="1256" y="954"/>
                </a:lnTo>
                <a:lnTo>
                  <a:pt x="1256" y="954"/>
                </a:lnTo>
                <a:lnTo>
                  <a:pt x="1260" y="948"/>
                </a:lnTo>
                <a:lnTo>
                  <a:pt x="1260" y="948"/>
                </a:lnTo>
                <a:lnTo>
                  <a:pt x="1256" y="938"/>
                </a:lnTo>
                <a:lnTo>
                  <a:pt x="1256" y="938"/>
                </a:lnTo>
                <a:lnTo>
                  <a:pt x="1252" y="942"/>
                </a:lnTo>
                <a:lnTo>
                  <a:pt x="1248" y="944"/>
                </a:lnTo>
                <a:lnTo>
                  <a:pt x="1244" y="944"/>
                </a:lnTo>
                <a:lnTo>
                  <a:pt x="1238" y="944"/>
                </a:lnTo>
                <a:lnTo>
                  <a:pt x="1238" y="944"/>
                </a:lnTo>
                <a:lnTo>
                  <a:pt x="1234" y="942"/>
                </a:lnTo>
                <a:lnTo>
                  <a:pt x="1228" y="944"/>
                </a:lnTo>
                <a:lnTo>
                  <a:pt x="1222" y="942"/>
                </a:lnTo>
                <a:lnTo>
                  <a:pt x="1218" y="940"/>
                </a:lnTo>
                <a:lnTo>
                  <a:pt x="1218" y="940"/>
                </a:lnTo>
                <a:lnTo>
                  <a:pt x="1224" y="940"/>
                </a:lnTo>
                <a:lnTo>
                  <a:pt x="1224" y="940"/>
                </a:lnTo>
                <a:lnTo>
                  <a:pt x="1232" y="938"/>
                </a:lnTo>
                <a:lnTo>
                  <a:pt x="1236" y="936"/>
                </a:lnTo>
                <a:lnTo>
                  <a:pt x="1238" y="932"/>
                </a:lnTo>
                <a:lnTo>
                  <a:pt x="1238" y="932"/>
                </a:lnTo>
                <a:lnTo>
                  <a:pt x="1240" y="930"/>
                </a:lnTo>
                <a:lnTo>
                  <a:pt x="1242" y="928"/>
                </a:lnTo>
                <a:lnTo>
                  <a:pt x="1250" y="928"/>
                </a:lnTo>
                <a:lnTo>
                  <a:pt x="1250" y="928"/>
                </a:lnTo>
                <a:lnTo>
                  <a:pt x="1274" y="934"/>
                </a:lnTo>
                <a:lnTo>
                  <a:pt x="1274" y="934"/>
                </a:lnTo>
                <a:lnTo>
                  <a:pt x="1270" y="930"/>
                </a:lnTo>
                <a:lnTo>
                  <a:pt x="1270" y="930"/>
                </a:lnTo>
                <a:lnTo>
                  <a:pt x="1270" y="928"/>
                </a:lnTo>
                <a:lnTo>
                  <a:pt x="1270" y="928"/>
                </a:lnTo>
                <a:lnTo>
                  <a:pt x="1274" y="926"/>
                </a:lnTo>
                <a:lnTo>
                  <a:pt x="1274" y="926"/>
                </a:lnTo>
                <a:lnTo>
                  <a:pt x="1292" y="932"/>
                </a:lnTo>
                <a:lnTo>
                  <a:pt x="1292" y="932"/>
                </a:lnTo>
                <a:lnTo>
                  <a:pt x="1282" y="938"/>
                </a:lnTo>
                <a:lnTo>
                  <a:pt x="1282" y="938"/>
                </a:lnTo>
                <a:lnTo>
                  <a:pt x="1284" y="940"/>
                </a:lnTo>
                <a:lnTo>
                  <a:pt x="1284" y="942"/>
                </a:lnTo>
                <a:lnTo>
                  <a:pt x="1282" y="946"/>
                </a:lnTo>
                <a:lnTo>
                  <a:pt x="1276" y="950"/>
                </a:lnTo>
                <a:lnTo>
                  <a:pt x="1272" y="952"/>
                </a:lnTo>
                <a:lnTo>
                  <a:pt x="1272" y="952"/>
                </a:lnTo>
                <a:lnTo>
                  <a:pt x="1280" y="952"/>
                </a:lnTo>
                <a:lnTo>
                  <a:pt x="1280" y="952"/>
                </a:lnTo>
                <a:lnTo>
                  <a:pt x="1286" y="950"/>
                </a:lnTo>
                <a:lnTo>
                  <a:pt x="1290" y="950"/>
                </a:lnTo>
                <a:lnTo>
                  <a:pt x="1292" y="952"/>
                </a:lnTo>
                <a:lnTo>
                  <a:pt x="1294" y="954"/>
                </a:lnTo>
                <a:lnTo>
                  <a:pt x="1294" y="954"/>
                </a:lnTo>
                <a:lnTo>
                  <a:pt x="1292" y="960"/>
                </a:lnTo>
                <a:lnTo>
                  <a:pt x="1290" y="964"/>
                </a:lnTo>
                <a:lnTo>
                  <a:pt x="1290" y="964"/>
                </a:lnTo>
                <a:lnTo>
                  <a:pt x="1286" y="966"/>
                </a:lnTo>
                <a:lnTo>
                  <a:pt x="1286" y="968"/>
                </a:lnTo>
                <a:lnTo>
                  <a:pt x="1286" y="972"/>
                </a:lnTo>
                <a:lnTo>
                  <a:pt x="1286" y="972"/>
                </a:lnTo>
                <a:lnTo>
                  <a:pt x="1298" y="974"/>
                </a:lnTo>
                <a:lnTo>
                  <a:pt x="1298" y="974"/>
                </a:lnTo>
                <a:lnTo>
                  <a:pt x="1298" y="972"/>
                </a:lnTo>
                <a:lnTo>
                  <a:pt x="1300" y="968"/>
                </a:lnTo>
                <a:lnTo>
                  <a:pt x="1310" y="966"/>
                </a:lnTo>
                <a:lnTo>
                  <a:pt x="1310" y="966"/>
                </a:lnTo>
                <a:lnTo>
                  <a:pt x="1318" y="964"/>
                </a:lnTo>
                <a:lnTo>
                  <a:pt x="1324" y="964"/>
                </a:lnTo>
                <a:lnTo>
                  <a:pt x="1324" y="964"/>
                </a:lnTo>
                <a:lnTo>
                  <a:pt x="1328" y="962"/>
                </a:lnTo>
                <a:lnTo>
                  <a:pt x="1332" y="962"/>
                </a:lnTo>
                <a:lnTo>
                  <a:pt x="1342" y="962"/>
                </a:lnTo>
                <a:lnTo>
                  <a:pt x="1342" y="962"/>
                </a:lnTo>
                <a:lnTo>
                  <a:pt x="1364" y="952"/>
                </a:lnTo>
                <a:lnTo>
                  <a:pt x="1364" y="952"/>
                </a:lnTo>
                <a:lnTo>
                  <a:pt x="1350" y="946"/>
                </a:lnTo>
                <a:lnTo>
                  <a:pt x="1350" y="946"/>
                </a:lnTo>
                <a:lnTo>
                  <a:pt x="1356" y="944"/>
                </a:lnTo>
                <a:lnTo>
                  <a:pt x="1362" y="942"/>
                </a:lnTo>
                <a:lnTo>
                  <a:pt x="1362" y="942"/>
                </a:lnTo>
                <a:lnTo>
                  <a:pt x="1364" y="938"/>
                </a:lnTo>
                <a:lnTo>
                  <a:pt x="1368" y="938"/>
                </a:lnTo>
                <a:lnTo>
                  <a:pt x="1378" y="936"/>
                </a:lnTo>
                <a:lnTo>
                  <a:pt x="1378" y="936"/>
                </a:lnTo>
                <a:lnTo>
                  <a:pt x="1384" y="938"/>
                </a:lnTo>
                <a:lnTo>
                  <a:pt x="1386" y="942"/>
                </a:lnTo>
                <a:lnTo>
                  <a:pt x="1386" y="942"/>
                </a:lnTo>
                <a:lnTo>
                  <a:pt x="1384" y="950"/>
                </a:lnTo>
                <a:lnTo>
                  <a:pt x="1384" y="950"/>
                </a:lnTo>
                <a:lnTo>
                  <a:pt x="1394" y="948"/>
                </a:lnTo>
                <a:lnTo>
                  <a:pt x="1394" y="948"/>
                </a:lnTo>
                <a:lnTo>
                  <a:pt x="1388" y="944"/>
                </a:lnTo>
                <a:lnTo>
                  <a:pt x="1388" y="944"/>
                </a:lnTo>
                <a:lnTo>
                  <a:pt x="1392" y="942"/>
                </a:lnTo>
                <a:lnTo>
                  <a:pt x="1396" y="940"/>
                </a:lnTo>
                <a:lnTo>
                  <a:pt x="1406" y="940"/>
                </a:lnTo>
                <a:lnTo>
                  <a:pt x="1406" y="940"/>
                </a:lnTo>
                <a:lnTo>
                  <a:pt x="1406" y="946"/>
                </a:lnTo>
                <a:lnTo>
                  <a:pt x="1408" y="954"/>
                </a:lnTo>
                <a:lnTo>
                  <a:pt x="1414" y="960"/>
                </a:lnTo>
                <a:lnTo>
                  <a:pt x="1420" y="966"/>
                </a:lnTo>
                <a:lnTo>
                  <a:pt x="1420" y="966"/>
                </a:lnTo>
                <a:lnTo>
                  <a:pt x="1412" y="966"/>
                </a:lnTo>
                <a:lnTo>
                  <a:pt x="1412" y="966"/>
                </a:lnTo>
                <a:lnTo>
                  <a:pt x="1402" y="964"/>
                </a:lnTo>
                <a:lnTo>
                  <a:pt x="1396" y="960"/>
                </a:lnTo>
                <a:lnTo>
                  <a:pt x="1396" y="960"/>
                </a:lnTo>
                <a:lnTo>
                  <a:pt x="1392" y="956"/>
                </a:lnTo>
                <a:lnTo>
                  <a:pt x="1388" y="956"/>
                </a:lnTo>
                <a:lnTo>
                  <a:pt x="1384" y="956"/>
                </a:lnTo>
                <a:lnTo>
                  <a:pt x="1380" y="960"/>
                </a:lnTo>
                <a:lnTo>
                  <a:pt x="1380" y="960"/>
                </a:lnTo>
                <a:lnTo>
                  <a:pt x="1376" y="964"/>
                </a:lnTo>
                <a:lnTo>
                  <a:pt x="1376" y="964"/>
                </a:lnTo>
                <a:lnTo>
                  <a:pt x="1352" y="970"/>
                </a:lnTo>
                <a:lnTo>
                  <a:pt x="1352" y="970"/>
                </a:lnTo>
                <a:lnTo>
                  <a:pt x="1354" y="972"/>
                </a:lnTo>
                <a:lnTo>
                  <a:pt x="1352" y="974"/>
                </a:lnTo>
                <a:lnTo>
                  <a:pt x="1342" y="976"/>
                </a:lnTo>
                <a:lnTo>
                  <a:pt x="1342" y="976"/>
                </a:lnTo>
                <a:lnTo>
                  <a:pt x="1348" y="978"/>
                </a:lnTo>
                <a:lnTo>
                  <a:pt x="1352" y="978"/>
                </a:lnTo>
                <a:lnTo>
                  <a:pt x="1358" y="976"/>
                </a:lnTo>
                <a:lnTo>
                  <a:pt x="1358" y="976"/>
                </a:lnTo>
                <a:lnTo>
                  <a:pt x="1364" y="976"/>
                </a:lnTo>
                <a:lnTo>
                  <a:pt x="1366" y="978"/>
                </a:lnTo>
                <a:lnTo>
                  <a:pt x="1366" y="980"/>
                </a:lnTo>
                <a:lnTo>
                  <a:pt x="1366" y="980"/>
                </a:lnTo>
                <a:lnTo>
                  <a:pt x="1386" y="982"/>
                </a:lnTo>
                <a:lnTo>
                  <a:pt x="1386" y="982"/>
                </a:lnTo>
                <a:lnTo>
                  <a:pt x="1380" y="984"/>
                </a:lnTo>
                <a:lnTo>
                  <a:pt x="1380" y="984"/>
                </a:lnTo>
                <a:lnTo>
                  <a:pt x="1394" y="996"/>
                </a:lnTo>
                <a:lnTo>
                  <a:pt x="1394" y="996"/>
                </a:lnTo>
                <a:lnTo>
                  <a:pt x="1398" y="998"/>
                </a:lnTo>
                <a:lnTo>
                  <a:pt x="1402" y="998"/>
                </a:lnTo>
                <a:lnTo>
                  <a:pt x="1408" y="1000"/>
                </a:lnTo>
                <a:lnTo>
                  <a:pt x="1412" y="1004"/>
                </a:lnTo>
                <a:lnTo>
                  <a:pt x="1412" y="1004"/>
                </a:lnTo>
                <a:lnTo>
                  <a:pt x="1400" y="1004"/>
                </a:lnTo>
                <a:lnTo>
                  <a:pt x="1394" y="1004"/>
                </a:lnTo>
                <a:lnTo>
                  <a:pt x="1388" y="1002"/>
                </a:lnTo>
                <a:lnTo>
                  <a:pt x="1388" y="1002"/>
                </a:lnTo>
                <a:lnTo>
                  <a:pt x="1380" y="1002"/>
                </a:lnTo>
                <a:lnTo>
                  <a:pt x="1380" y="1002"/>
                </a:lnTo>
                <a:lnTo>
                  <a:pt x="1378" y="1004"/>
                </a:lnTo>
                <a:lnTo>
                  <a:pt x="1376" y="1006"/>
                </a:lnTo>
                <a:lnTo>
                  <a:pt x="1376" y="1006"/>
                </a:lnTo>
                <a:lnTo>
                  <a:pt x="1380" y="1006"/>
                </a:lnTo>
                <a:lnTo>
                  <a:pt x="1380" y="1006"/>
                </a:lnTo>
                <a:lnTo>
                  <a:pt x="1388" y="1008"/>
                </a:lnTo>
                <a:lnTo>
                  <a:pt x="1388" y="1008"/>
                </a:lnTo>
                <a:lnTo>
                  <a:pt x="1388" y="1010"/>
                </a:lnTo>
                <a:lnTo>
                  <a:pt x="1388" y="1010"/>
                </a:lnTo>
                <a:lnTo>
                  <a:pt x="1376" y="1010"/>
                </a:lnTo>
                <a:lnTo>
                  <a:pt x="1376" y="1010"/>
                </a:lnTo>
                <a:lnTo>
                  <a:pt x="1364" y="1016"/>
                </a:lnTo>
                <a:lnTo>
                  <a:pt x="1364" y="1016"/>
                </a:lnTo>
                <a:lnTo>
                  <a:pt x="1380" y="1022"/>
                </a:lnTo>
                <a:lnTo>
                  <a:pt x="1380" y="1022"/>
                </a:lnTo>
                <a:lnTo>
                  <a:pt x="1390" y="1020"/>
                </a:lnTo>
                <a:lnTo>
                  <a:pt x="1390" y="1020"/>
                </a:lnTo>
                <a:lnTo>
                  <a:pt x="1398" y="1020"/>
                </a:lnTo>
                <a:lnTo>
                  <a:pt x="1400" y="1020"/>
                </a:lnTo>
                <a:lnTo>
                  <a:pt x="1402" y="1024"/>
                </a:lnTo>
                <a:lnTo>
                  <a:pt x="1402" y="1024"/>
                </a:lnTo>
                <a:lnTo>
                  <a:pt x="1406" y="1026"/>
                </a:lnTo>
                <a:lnTo>
                  <a:pt x="1410" y="1026"/>
                </a:lnTo>
                <a:lnTo>
                  <a:pt x="1410" y="1026"/>
                </a:lnTo>
                <a:lnTo>
                  <a:pt x="1410" y="1028"/>
                </a:lnTo>
                <a:lnTo>
                  <a:pt x="1406" y="1030"/>
                </a:lnTo>
                <a:lnTo>
                  <a:pt x="1400" y="1032"/>
                </a:lnTo>
                <a:lnTo>
                  <a:pt x="1400" y="1032"/>
                </a:lnTo>
                <a:lnTo>
                  <a:pt x="1384" y="1036"/>
                </a:lnTo>
                <a:lnTo>
                  <a:pt x="1384" y="1036"/>
                </a:lnTo>
                <a:lnTo>
                  <a:pt x="1386" y="1038"/>
                </a:lnTo>
                <a:lnTo>
                  <a:pt x="1386" y="1040"/>
                </a:lnTo>
                <a:lnTo>
                  <a:pt x="1380" y="1044"/>
                </a:lnTo>
                <a:lnTo>
                  <a:pt x="1380" y="1044"/>
                </a:lnTo>
                <a:lnTo>
                  <a:pt x="1380" y="1044"/>
                </a:lnTo>
                <a:lnTo>
                  <a:pt x="1380" y="1044"/>
                </a:lnTo>
                <a:lnTo>
                  <a:pt x="1380" y="1044"/>
                </a:lnTo>
                <a:lnTo>
                  <a:pt x="1380" y="1044"/>
                </a:lnTo>
                <a:lnTo>
                  <a:pt x="1380" y="1044"/>
                </a:lnTo>
                <a:lnTo>
                  <a:pt x="1380" y="1044"/>
                </a:lnTo>
                <a:lnTo>
                  <a:pt x="1380" y="1044"/>
                </a:lnTo>
                <a:lnTo>
                  <a:pt x="1368" y="1048"/>
                </a:lnTo>
                <a:lnTo>
                  <a:pt x="1368" y="1048"/>
                </a:lnTo>
                <a:lnTo>
                  <a:pt x="1374" y="1054"/>
                </a:lnTo>
                <a:lnTo>
                  <a:pt x="1374" y="1054"/>
                </a:lnTo>
                <a:lnTo>
                  <a:pt x="1364" y="1062"/>
                </a:lnTo>
                <a:lnTo>
                  <a:pt x="1364" y="1062"/>
                </a:lnTo>
                <a:lnTo>
                  <a:pt x="1366" y="1070"/>
                </a:lnTo>
                <a:lnTo>
                  <a:pt x="1366" y="1074"/>
                </a:lnTo>
                <a:lnTo>
                  <a:pt x="1364" y="1080"/>
                </a:lnTo>
                <a:lnTo>
                  <a:pt x="1358" y="1086"/>
                </a:lnTo>
                <a:lnTo>
                  <a:pt x="1358" y="1086"/>
                </a:lnTo>
                <a:lnTo>
                  <a:pt x="1350" y="1092"/>
                </a:lnTo>
                <a:lnTo>
                  <a:pt x="1350" y="1092"/>
                </a:lnTo>
                <a:lnTo>
                  <a:pt x="1350" y="1094"/>
                </a:lnTo>
                <a:lnTo>
                  <a:pt x="1350" y="1098"/>
                </a:lnTo>
                <a:lnTo>
                  <a:pt x="1350" y="1098"/>
                </a:lnTo>
                <a:lnTo>
                  <a:pt x="1354" y="1094"/>
                </a:lnTo>
                <a:lnTo>
                  <a:pt x="1354" y="1094"/>
                </a:lnTo>
                <a:lnTo>
                  <a:pt x="1360" y="1090"/>
                </a:lnTo>
                <a:lnTo>
                  <a:pt x="1366" y="1088"/>
                </a:lnTo>
                <a:lnTo>
                  <a:pt x="1374" y="1088"/>
                </a:lnTo>
                <a:lnTo>
                  <a:pt x="1382" y="1090"/>
                </a:lnTo>
                <a:lnTo>
                  <a:pt x="1382" y="1090"/>
                </a:lnTo>
                <a:lnTo>
                  <a:pt x="1392" y="1092"/>
                </a:lnTo>
                <a:lnTo>
                  <a:pt x="1400" y="1088"/>
                </a:lnTo>
                <a:lnTo>
                  <a:pt x="1400" y="1088"/>
                </a:lnTo>
                <a:lnTo>
                  <a:pt x="1408" y="1084"/>
                </a:lnTo>
                <a:lnTo>
                  <a:pt x="1408" y="1084"/>
                </a:lnTo>
                <a:lnTo>
                  <a:pt x="1408" y="1076"/>
                </a:lnTo>
                <a:lnTo>
                  <a:pt x="1408" y="1076"/>
                </a:lnTo>
                <a:lnTo>
                  <a:pt x="1394" y="1074"/>
                </a:lnTo>
                <a:lnTo>
                  <a:pt x="1394" y="1074"/>
                </a:lnTo>
                <a:lnTo>
                  <a:pt x="1402" y="1070"/>
                </a:lnTo>
                <a:lnTo>
                  <a:pt x="1402" y="1070"/>
                </a:lnTo>
                <a:lnTo>
                  <a:pt x="1394" y="1070"/>
                </a:lnTo>
                <a:lnTo>
                  <a:pt x="1386" y="1070"/>
                </a:lnTo>
                <a:lnTo>
                  <a:pt x="1380" y="1072"/>
                </a:lnTo>
                <a:lnTo>
                  <a:pt x="1372" y="1070"/>
                </a:lnTo>
                <a:lnTo>
                  <a:pt x="1372" y="1070"/>
                </a:lnTo>
                <a:lnTo>
                  <a:pt x="1374" y="1066"/>
                </a:lnTo>
                <a:lnTo>
                  <a:pt x="1374" y="1066"/>
                </a:lnTo>
                <a:lnTo>
                  <a:pt x="1374" y="1062"/>
                </a:lnTo>
                <a:lnTo>
                  <a:pt x="1376" y="1058"/>
                </a:lnTo>
                <a:lnTo>
                  <a:pt x="1382" y="1056"/>
                </a:lnTo>
                <a:lnTo>
                  <a:pt x="1388" y="1056"/>
                </a:lnTo>
                <a:lnTo>
                  <a:pt x="1388" y="1056"/>
                </a:lnTo>
                <a:lnTo>
                  <a:pt x="1394" y="1054"/>
                </a:lnTo>
                <a:lnTo>
                  <a:pt x="1400" y="1052"/>
                </a:lnTo>
                <a:lnTo>
                  <a:pt x="1400" y="1052"/>
                </a:lnTo>
                <a:lnTo>
                  <a:pt x="1404" y="1048"/>
                </a:lnTo>
                <a:lnTo>
                  <a:pt x="1410" y="1046"/>
                </a:lnTo>
                <a:lnTo>
                  <a:pt x="1422" y="1046"/>
                </a:lnTo>
                <a:lnTo>
                  <a:pt x="1422" y="1046"/>
                </a:lnTo>
                <a:lnTo>
                  <a:pt x="1432" y="1046"/>
                </a:lnTo>
                <a:lnTo>
                  <a:pt x="1440" y="1044"/>
                </a:lnTo>
                <a:lnTo>
                  <a:pt x="1440" y="1044"/>
                </a:lnTo>
                <a:lnTo>
                  <a:pt x="1446" y="1046"/>
                </a:lnTo>
                <a:lnTo>
                  <a:pt x="1446" y="1046"/>
                </a:lnTo>
                <a:lnTo>
                  <a:pt x="1448" y="1046"/>
                </a:lnTo>
                <a:lnTo>
                  <a:pt x="1448" y="1046"/>
                </a:lnTo>
                <a:lnTo>
                  <a:pt x="1442" y="1038"/>
                </a:lnTo>
                <a:lnTo>
                  <a:pt x="1442" y="1038"/>
                </a:lnTo>
                <a:lnTo>
                  <a:pt x="1450" y="1032"/>
                </a:lnTo>
                <a:lnTo>
                  <a:pt x="1450" y="1032"/>
                </a:lnTo>
                <a:lnTo>
                  <a:pt x="1454" y="1034"/>
                </a:lnTo>
                <a:lnTo>
                  <a:pt x="1454" y="1034"/>
                </a:lnTo>
                <a:lnTo>
                  <a:pt x="1464" y="1030"/>
                </a:lnTo>
                <a:lnTo>
                  <a:pt x="1464" y="1030"/>
                </a:lnTo>
                <a:lnTo>
                  <a:pt x="1468" y="1034"/>
                </a:lnTo>
                <a:lnTo>
                  <a:pt x="1472" y="1036"/>
                </a:lnTo>
                <a:lnTo>
                  <a:pt x="1480" y="1036"/>
                </a:lnTo>
                <a:lnTo>
                  <a:pt x="1488" y="1034"/>
                </a:lnTo>
                <a:lnTo>
                  <a:pt x="1496" y="1032"/>
                </a:lnTo>
                <a:lnTo>
                  <a:pt x="1496" y="1032"/>
                </a:lnTo>
                <a:lnTo>
                  <a:pt x="1496" y="1030"/>
                </a:lnTo>
                <a:lnTo>
                  <a:pt x="1496" y="1028"/>
                </a:lnTo>
                <a:lnTo>
                  <a:pt x="1502" y="1026"/>
                </a:lnTo>
                <a:lnTo>
                  <a:pt x="1502" y="1026"/>
                </a:lnTo>
                <a:lnTo>
                  <a:pt x="1506" y="1026"/>
                </a:lnTo>
                <a:lnTo>
                  <a:pt x="1510" y="1028"/>
                </a:lnTo>
                <a:lnTo>
                  <a:pt x="1510" y="1028"/>
                </a:lnTo>
                <a:lnTo>
                  <a:pt x="1512" y="1030"/>
                </a:lnTo>
                <a:lnTo>
                  <a:pt x="1512" y="1034"/>
                </a:lnTo>
                <a:lnTo>
                  <a:pt x="1506" y="1040"/>
                </a:lnTo>
                <a:lnTo>
                  <a:pt x="1506" y="1040"/>
                </a:lnTo>
                <a:lnTo>
                  <a:pt x="1512" y="1044"/>
                </a:lnTo>
                <a:lnTo>
                  <a:pt x="1518" y="1048"/>
                </a:lnTo>
                <a:lnTo>
                  <a:pt x="1518" y="1048"/>
                </a:lnTo>
                <a:lnTo>
                  <a:pt x="1528" y="1048"/>
                </a:lnTo>
                <a:lnTo>
                  <a:pt x="1538" y="1048"/>
                </a:lnTo>
                <a:lnTo>
                  <a:pt x="1546" y="1046"/>
                </a:lnTo>
                <a:lnTo>
                  <a:pt x="1554" y="1040"/>
                </a:lnTo>
                <a:lnTo>
                  <a:pt x="1554" y="1040"/>
                </a:lnTo>
                <a:lnTo>
                  <a:pt x="1560" y="1040"/>
                </a:lnTo>
                <a:lnTo>
                  <a:pt x="1560" y="1040"/>
                </a:lnTo>
                <a:lnTo>
                  <a:pt x="1570" y="1038"/>
                </a:lnTo>
                <a:lnTo>
                  <a:pt x="1578" y="1038"/>
                </a:lnTo>
                <a:lnTo>
                  <a:pt x="1578" y="1038"/>
                </a:lnTo>
                <a:lnTo>
                  <a:pt x="1592" y="1040"/>
                </a:lnTo>
                <a:lnTo>
                  <a:pt x="1600" y="1038"/>
                </a:lnTo>
                <a:lnTo>
                  <a:pt x="1606" y="1036"/>
                </a:lnTo>
                <a:lnTo>
                  <a:pt x="1606" y="1036"/>
                </a:lnTo>
                <a:lnTo>
                  <a:pt x="1614" y="1042"/>
                </a:lnTo>
                <a:lnTo>
                  <a:pt x="1614" y="1042"/>
                </a:lnTo>
                <a:lnTo>
                  <a:pt x="1620" y="1042"/>
                </a:lnTo>
                <a:lnTo>
                  <a:pt x="1626" y="1044"/>
                </a:lnTo>
                <a:lnTo>
                  <a:pt x="1638" y="1050"/>
                </a:lnTo>
                <a:lnTo>
                  <a:pt x="1628" y="1050"/>
                </a:lnTo>
                <a:lnTo>
                  <a:pt x="1628" y="1050"/>
                </a:lnTo>
                <a:lnTo>
                  <a:pt x="1632" y="1054"/>
                </a:lnTo>
                <a:lnTo>
                  <a:pt x="1636" y="1054"/>
                </a:lnTo>
                <a:lnTo>
                  <a:pt x="1642" y="1054"/>
                </a:lnTo>
                <a:lnTo>
                  <a:pt x="1646" y="1056"/>
                </a:lnTo>
                <a:lnTo>
                  <a:pt x="1646" y="1056"/>
                </a:lnTo>
                <a:lnTo>
                  <a:pt x="1632" y="1062"/>
                </a:lnTo>
                <a:lnTo>
                  <a:pt x="1632" y="1062"/>
                </a:lnTo>
                <a:lnTo>
                  <a:pt x="1646" y="1068"/>
                </a:lnTo>
                <a:lnTo>
                  <a:pt x="1646" y="1068"/>
                </a:lnTo>
                <a:lnTo>
                  <a:pt x="1648" y="1078"/>
                </a:lnTo>
                <a:lnTo>
                  <a:pt x="1648" y="1078"/>
                </a:lnTo>
                <a:lnTo>
                  <a:pt x="1656" y="1074"/>
                </a:lnTo>
                <a:lnTo>
                  <a:pt x="1656" y="1074"/>
                </a:lnTo>
                <a:lnTo>
                  <a:pt x="1662" y="1070"/>
                </a:lnTo>
                <a:lnTo>
                  <a:pt x="1662" y="1070"/>
                </a:lnTo>
                <a:lnTo>
                  <a:pt x="1666" y="1068"/>
                </a:lnTo>
                <a:lnTo>
                  <a:pt x="1672" y="1068"/>
                </a:lnTo>
                <a:lnTo>
                  <a:pt x="1682" y="1068"/>
                </a:lnTo>
                <a:lnTo>
                  <a:pt x="1682" y="1068"/>
                </a:lnTo>
                <a:lnTo>
                  <a:pt x="1696" y="1072"/>
                </a:lnTo>
                <a:lnTo>
                  <a:pt x="1700" y="1074"/>
                </a:lnTo>
                <a:lnTo>
                  <a:pt x="1704" y="1078"/>
                </a:lnTo>
                <a:lnTo>
                  <a:pt x="1704" y="1078"/>
                </a:lnTo>
                <a:lnTo>
                  <a:pt x="1710" y="1074"/>
                </a:lnTo>
                <a:lnTo>
                  <a:pt x="1716" y="1074"/>
                </a:lnTo>
                <a:lnTo>
                  <a:pt x="1728" y="1074"/>
                </a:lnTo>
                <a:lnTo>
                  <a:pt x="1728" y="1074"/>
                </a:lnTo>
                <a:lnTo>
                  <a:pt x="1724" y="1080"/>
                </a:lnTo>
                <a:lnTo>
                  <a:pt x="1724" y="1080"/>
                </a:lnTo>
                <a:lnTo>
                  <a:pt x="1758" y="1084"/>
                </a:lnTo>
                <a:lnTo>
                  <a:pt x="1758" y="1084"/>
                </a:lnTo>
                <a:lnTo>
                  <a:pt x="1742" y="1090"/>
                </a:lnTo>
                <a:lnTo>
                  <a:pt x="1742" y="1090"/>
                </a:lnTo>
                <a:lnTo>
                  <a:pt x="1746" y="1102"/>
                </a:lnTo>
                <a:lnTo>
                  <a:pt x="1746" y="1102"/>
                </a:lnTo>
                <a:lnTo>
                  <a:pt x="1758" y="1114"/>
                </a:lnTo>
                <a:lnTo>
                  <a:pt x="1758" y="1114"/>
                </a:lnTo>
                <a:lnTo>
                  <a:pt x="1748" y="1116"/>
                </a:lnTo>
                <a:lnTo>
                  <a:pt x="1748" y="1116"/>
                </a:lnTo>
                <a:lnTo>
                  <a:pt x="1752" y="1120"/>
                </a:lnTo>
                <a:lnTo>
                  <a:pt x="1752" y="1120"/>
                </a:lnTo>
                <a:lnTo>
                  <a:pt x="1738" y="1120"/>
                </a:lnTo>
                <a:lnTo>
                  <a:pt x="1726" y="1124"/>
                </a:lnTo>
                <a:lnTo>
                  <a:pt x="1726" y="1124"/>
                </a:lnTo>
                <a:lnTo>
                  <a:pt x="1726" y="1124"/>
                </a:lnTo>
                <a:lnTo>
                  <a:pt x="1726" y="1124"/>
                </a:lnTo>
                <a:lnTo>
                  <a:pt x="1720" y="1124"/>
                </a:lnTo>
                <a:lnTo>
                  <a:pt x="1716" y="1124"/>
                </a:lnTo>
                <a:lnTo>
                  <a:pt x="1708" y="1128"/>
                </a:lnTo>
                <a:lnTo>
                  <a:pt x="1708" y="1128"/>
                </a:lnTo>
                <a:lnTo>
                  <a:pt x="1706" y="1126"/>
                </a:lnTo>
                <a:lnTo>
                  <a:pt x="1704" y="1124"/>
                </a:lnTo>
                <a:lnTo>
                  <a:pt x="1700" y="1124"/>
                </a:lnTo>
                <a:lnTo>
                  <a:pt x="1694" y="1124"/>
                </a:lnTo>
                <a:lnTo>
                  <a:pt x="1688" y="1124"/>
                </a:lnTo>
                <a:lnTo>
                  <a:pt x="1688" y="1124"/>
                </a:lnTo>
                <a:lnTo>
                  <a:pt x="1692" y="1126"/>
                </a:lnTo>
                <a:lnTo>
                  <a:pt x="1694" y="1130"/>
                </a:lnTo>
                <a:lnTo>
                  <a:pt x="1692" y="1132"/>
                </a:lnTo>
                <a:lnTo>
                  <a:pt x="1688" y="1134"/>
                </a:lnTo>
                <a:lnTo>
                  <a:pt x="1688" y="1134"/>
                </a:lnTo>
                <a:lnTo>
                  <a:pt x="1686" y="1138"/>
                </a:lnTo>
                <a:lnTo>
                  <a:pt x="1684" y="1140"/>
                </a:lnTo>
                <a:lnTo>
                  <a:pt x="1684" y="1140"/>
                </a:lnTo>
                <a:lnTo>
                  <a:pt x="1684" y="1144"/>
                </a:lnTo>
                <a:lnTo>
                  <a:pt x="1686" y="1148"/>
                </a:lnTo>
                <a:lnTo>
                  <a:pt x="1686" y="1148"/>
                </a:lnTo>
                <a:lnTo>
                  <a:pt x="1678" y="1150"/>
                </a:lnTo>
                <a:lnTo>
                  <a:pt x="1670" y="1152"/>
                </a:lnTo>
                <a:lnTo>
                  <a:pt x="1670" y="1152"/>
                </a:lnTo>
                <a:lnTo>
                  <a:pt x="1662" y="1152"/>
                </a:lnTo>
                <a:lnTo>
                  <a:pt x="1656" y="1152"/>
                </a:lnTo>
                <a:lnTo>
                  <a:pt x="1656" y="1152"/>
                </a:lnTo>
                <a:lnTo>
                  <a:pt x="1648" y="1150"/>
                </a:lnTo>
                <a:lnTo>
                  <a:pt x="1642" y="1154"/>
                </a:lnTo>
                <a:lnTo>
                  <a:pt x="1642" y="1154"/>
                </a:lnTo>
                <a:lnTo>
                  <a:pt x="1636" y="1156"/>
                </a:lnTo>
                <a:lnTo>
                  <a:pt x="1636" y="1156"/>
                </a:lnTo>
                <a:lnTo>
                  <a:pt x="1640" y="1160"/>
                </a:lnTo>
                <a:lnTo>
                  <a:pt x="1644" y="1160"/>
                </a:lnTo>
                <a:lnTo>
                  <a:pt x="1654" y="1158"/>
                </a:lnTo>
                <a:lnTo>
                  <a:pt x="1654" y="1158"/>
                </a:lnTo>
                <a:lnTo>
                  <a:pt x="1664" y="1158"/>
                </a:lnTo>
                <a:lnTo>
                  <a:pt x="1664" y="1158"/>
                </a:lnTo>
                <a:lnTo>
                  <a:pt x="1666" y="1160"/>
                </a:lnTo>
                <a:lnTo>
                  <a:pt x="1666" y="1160"/>
                </a:lnTo>
                <a:lnTo>
                  <a:pt x="1660" y="1162"/>
                </a:lnTo>
                <a:lnTo>
                  <a:pt x="1660" y="1162"/>
                </a:lnTo>
                <a:lnTo>
                  <a:pt x="1662" y="1164"/>
                </a:lnTo>
                <a:lnTo>
                  <a:pt x="1684" y="1164"/>
                </a:lnTo>
                <a:lnTo>
                  <a:pt x="1684" y="1164"/>
                </a:lnTo>
                <a:lnTo>
                  <a:pt x="1684" y="1168"/>
                </a:lnTo>
                <a:lnTo>
                  <a:pt x="1686" y="1170"/>
                </a:lnTo>
                <a:lnTo>
                  <a:pt x="1694" y="1172"/>
                </a:lnTo>
                <a:lnTo>
                  <a:pt x="1694" y="1172"/>
                </a:lnTo>
                <a:lnTo>
                  <a:pt x="1700" y="1174"/>
                </a:lnTo>
                <a:lnTo>
                  <a:pt x="1704" y="1176"/>
                </a:lnTo>
                <a:lnTo>
                  <a:pt x="1706" y="1178"/>
                </a:lnTo>
                <a:lnTo>
                  <a:pt x="1706" y="1178"/>
                </a:lnTo>
                <a:lnTo>
                  <a:pt x="1696" y="1182"/>
                </a:lnTo>
                <a:lnTo>
                  <a:pt x="1696" y="1182"/>
                </a:lnTo>
                <a:lnTo>
                  <a:pt x="1696" y="1184"/>
                </a:lnTo>
                <a:lnTo>
                  <a:pt x="1696" y="1186"/>
                </a:lnTo>
                <a:lnTo>
                  <a:pt x="1696" y="1186"/>
                </a:lnTo>
                <a:lnTo>
                  <a:pt x="1694" y="1188"/>
                </a:lnTo>
                <a:lnTo>
                  <a:pt x="1688" y="1190"/>
                </a:lnTo>
                <a:lnTo>
                  <a:pt x="1678" y="1190"/>
                </a:lnTo>
                <a:lnTo>
                  <a:pt x="1678" y="1190"/>
                </a:lnTo>
                <a:lnTo>
                  <a:pt x="1686" y="1194"/>
                </a:lnTo>
                <a:lnTo>
                  <a:pt x="1686" y="1194"/>
                </a:lnTo>
                <a:lnTo>
                  <a:pt x="1690" y="1198"/>
                </a:lnTo>
                <a:lnTo>
                  <a:pt x="1690" y="1198"/>
                </a:lnTo>
                <a:lnTo>
                  <a:pt x="1708" y="1202"/>
                </a:lnTo>
                <a:lnTo>
                  <a:pt x="1708" y="1202"/>
                </a:lnTo>
                <a:lnTo>
                  <a:pt x="1714" y="1196"/>
                </a:lnTo>
                <a:lnTo>
                  <a:pt x="1714" y="1196"/>
                </a:lnTo>
                <a:lnTo>
                  <a:pt x="1718" y="1196"/>
                </a:lnTo>
                <a:lnTo>
                  <a:pt x="1718" y="1196"/>
                </a:lnTo>
                <a:lnTo>
                  <a:pt x="1720" y="1196"/>
                </a:lnTo>
                <a:lnTo>
                  <a:pt x="1720" y="1196"/>
                </a:lnTo>
                <a:lnTo>
                  <a:pt x="1724" y="1196"/>
                </a:lnTo>
                <a:lnTo>
                  <a:pt x="1728" y="1200"/>
                </a:lnTo>
                <a:lnTo>
                  <a:pt x="1728" y="1200"/>
                </a:lnTo>
                <a:lnTo>
                  <a:pt x="1732" y="1202"/>
                </a:lnTo>
                <a:lnTo>
                  <a:pt x="1736" y="1204"/>
                </a:lnTo>
                <a:lnTo>
                  <a:pt x="1736" y="1204"/>
                </a:lnTo>
                <a:lnTo>
                  <a:pt x="1748" y="1206"/>
                </a:lnTo>
                <a:lnTo>
                  <a:pt x="1748" y="1206"/>
                </a:lnTo>
                <a:lnTo>
                  <a:pt x="1754" y="1206"/>
                </a:lnTo>
                <a:lnTo>
                  <a:pt x="1754" y="1206"/>
                </a:lnTo>
                <a:lnTo>
                  <a:pt x="1758" y="1202"/>
                </a:lnTo>
                <a:lnTo>
                  <a:pt x="1758" y="1202"/>
                </a:lnTo>
                <a:lnTo>
                  <a:pt x="1764" y="1204"/>
                </a:lnTo>
                <a:lnTo>
                  <a:pt x="1764" y="1204"/>
                </a:lnTo>
                <a:lnTo>
                  <a:pt x="1766" y="1204"/>
                </a:lnTo>
                <a:lnTo>
                  <a:pt x="1766" y="1204"/>
                </a:lnTo>
                <a:lnTo>
                  <a:pt x="1764" y="1206"/>
                </a:lnTo>
                <a:lnTo>
                  <a:pt x="1764" y="1206"/>
                </a:lnTo>
                <a:lnTo>
                  <a:pt x="1766" y="1208"/>
                </a:lnTo>
                <a:lnTo>
                  <a:pt x="1766" y="1208"/>
                </a:lnTo>
                <a:lnTo>
                  <a:pt x="1736" y="1206"/>
                </a:lnTo>
                <a:lnTo>
                  <a:pt x="1736" y="1206"/>
                </a:lnTo>
                <a:lnTo>
                  <a:pt x="1744" y="1210"/>
                </a:lnTo>
                <a:lnTo>
                  <a:pt x="1744" y="1210"/>
                </a:lnTo>
                <a:lnTo>
                  <a:pt x="1732" y="1216"/>
                </a:lnTo>
                <a:lnTo>
                  <a:pt x="1732" y="1216"/>
                </a:lnTo>
                <a:lnTo>
                  <a:pt x="1736" y="1218"/>
                </a:lnTo>
                <a:lnTo>
                  <a:pt x="1738" y="1220"/>
                </a:lnTo>
                <a:lnTo>
                  <a:pt x="1738" y="1220"/>
                </a:lnTo>
                <a:lnTo>
                  <a:pt x="1738" y="1224"/>
                </a:lnTo>
                <a:lnTo>
                  <a:pt x="1740" y="1226"/>
                </a:lnTo>
                <a:lnTo>
                  <a:pt x="1746" y="1226"/>
                </a:lnTo>
                <a:lnTo>
                  <a:pt x="1746" y="1226"/>
                </a:lnTo>
                <a:lnTo>
                  <a:pt x="1746" y="1232"/>
                </a:lnTo>
                <a:lnTo>
                  <a:pt x="1752" y="1232"/>
                </a:lnTo>
                <a:lnTo>
                  <a:pt x="1752" y="1232"/>
                </a:lnTo>
                <a:lnTo>
                  <a:pt x="1750" y="1230"/>
                </a:lnTo>
                <a:lnTo>
                  <a:pt x="1748" y="1228"/>
                </a:lnTo>
                <a:lnTo>
                  <a:pt x="1750" y="1226"/>
                </a:lnTo>
                <a:lnTo>
                  <a:pt x="1752" y="1224"/>
                </a:lnTo>
                <a:lnTo>
                  <a:pt x="1752" y="1224"/>
                </a:lnTo>
                <a:lnTo>
                  <a:pt x="1750" y="1222"/>
                </a:lnTo>
                <a:lnTo>
                  <a:pt x="1748" y="1220"/>
                </a:lnTo>
                <a:lnTo>
                  <a:pt x="1748" y="1220"/>
                </a:lnTo>
                <a:lnTo>
                  <a:pt x="1750" y="1218"/>
                </a:lnTo>
                <a:lnTo>
                  <a:pt x="1754" y="1216"/>
                </a:lnTo>
                <a:lnTo>
                  <a:pt x="1754" y="1216"/>
                </a:lnTo>
                <a:lnTo>
                  <a:pt x="1766" y="1216"/>
                </a:lnTo>
                <a:lnTo>
                  <a:pt x="1780" y="1218"/>
                </a:lnTo>
                <a:lnTo>
                  <a:pt x="1780" y="1218"/>
                </a:lnTo>
                <a:lnTo>
                  <a:pt x="1780" y="1210"/>
                </a:lnTo>
                <a:lnTo>
                  <a:pt x="1780" y="1210"/>
                </a:lnTo>
                <a:lnTo>
                  <a:pt x="1780" y="1210"/>
                </a:lnTo>
                <a:lnTo>
                  <a:pt x="1780" y="1210"/>
                </a:lnTo>
                <a:lnTo>
                  <a:pt x="1772" y="1210"/>
                </a:lnTo>
                <a:lnTo>
                  <a:pt x="1768" y="1208"/>
                </a:lnTo>
                <a:lnTo>
                  <a:pt x="1768" y="1208"/>
                </a:lnTo>
                <a:lnTo>
                  <a:pt x="1766" y="1208"/>
                </a:lnTo>
                <a:lnTo>
                  <a:pt x="1766" y="1208"/>
                </a:lnTo>
                <a:lnTo>
                  <a:pt x="1770" y="1206"/>
                </a:lnTo>
                <a:lnTo>
                  <a:pt x="1770" y="1206"/>
                </a:lnTo>
                <a:lnTo>
                  <a:pt x="1780" y="1206"/>
                </a:lnTo>
                <a:lnTo>
                  <a:pt x="1780" y="1206"/>
                </a:lnTo>
                <a:lnTo>
                  <a:pt x="1782" y="1204"/>
                </a:lnTo>
                <a:lnTo>
                  <a:pt x="1782" y="1204"/>
                </a:lnTo>
                <a:lnTo>
                  <a:pt x="1778" y="1206"/>
                </a:lnTo>
                <a:lnTo>
                  <a:pt x="1778" y="1200"/>
                </a:lnTo>
                <a:lnTo>
                  <a:pt x="1778" y="1200"/>
                </a:lnTo>
                <a:lnTo>
                  <a:pt x="1782" y="1200"/>
                </a:lnTo>
                <a:lnTo>
                  <a:pt x="1782" y="1200"/>
                </a:lnTo>
                <a:lnTo>
                  <a:pt x="1784" y="1174"/>
                </a:lnTo>
                <a:lnTo>
                  <a:pt x="1784" y="1174"/>
                </a:lnTo>
                <a:lnTo>
                  <a:pt x="1788" y="1176"/>
                </a:lnTo>
                <a:lnTo>
                  <a:pt x="1792" y="1178"/>
                </a:lnTo>
                <a:lnTo>
                  <a:pt x="1792" y="1178"/>
                </a:lnTo>
                <a:lnTo>
                  <a:pt x="1792" y="1184"/>
                </a:lnTo>
                <a:lnTo>
                  <a:pt x="1792" y="1190"/>
                </a:lnTo>
                <a:lnTo>
                  <a:pt x="1792" y="1190"/>
                </a:lnTo>
                <a:lnTo>
                  <a:pt x="1790" y="1190"/>
                </a:lnTo>
                <a:lnTo>
                  <a:pt x="1786" y="1192"/>
                </a:lnTo>
                <a:lnTo>
                  <a:pt x="1786" y="1192"/>
                </a:lnTo>
                <a:lnTo>
                  <a:pt x="1796" y="1194"/>
                </a:lnTo>
                <a:lnTo>
                  <a:pt x="1796" y="1194"/>
                </a:lnTo>
                <a:lnTo>
                  <a:pt x="1802" y="1200"/>
                </a:lnTo>
                <a:lnTo>
                  <a:pt x="1802" y="1200"/>
                </a:lnTo>
                <a:lnTo>
                  <a:pt x="1794" y="1200"/>
                </a:lnTo>
                <a:lnTo>
                  <a:pt x="1794" y="1200"/>
                </a:lnTo>
                <a:lnTo>
                  <a:pt x="1782" y="1204"/>
                </a:lnTo>
                <a:lnTo>
                  <a:pt x="1782" y="1204"/>
                </a:lnTo>
                <a:lnTo>
                  <a:pt x="1782" y="1206"/>
                </a:lnTo>
                <a:lnTo>
                  <a:pt x="1782" y="1206"/>
                </a:lnTo>
                <a:lnTo>
                  <a:pt x="1786" y="1208"/>
                </a:lnTo>
                <a:lnTo>
                  <a:pt x="1786" y="1208"/>
                </a:lnTo>
                <a:lnTo>
                  <a:pt x="1786" y="1208"/>
                </a:lnTo>
                <a:lnTo>
                  <a:pt x="1786" y="1208"/>
                </a:lnTo>
                <a:lnTo>
                  <a:pt x="1802" y="1212"/>
                </a:lnTo>
                <a:lnTo>
                  <a:pt x="1802" y="1212"/>
                </a:lnTo>
                <a:lnTo>
                  <a:pt x="1798" y="1214"/>
                </a:lnTo>
                <a:lnTo>
                  <a:pt x="1794" y="1214"/>
                </a:lnTo>
                <a:lnTo>
                  <a:pt x="1794" y="1214"/>
                </a:lnTo>
                <a:lnTo>
                  <a:pt x="1790" y="1212"/>
                </a:lnTo>
                <a:lnTo>
                  <a:pt x="1784" y="1210"/>
                </a:lnTo>
                <a:lnTo>
                  <a:pt x="1784" y="1210"/>
                </a:lnTo>
                <a:lnTo>
                  <a:pt x="1780" y="1218"/>
                </a:lnTo>
                <a:lnTo>
                  <a:pt x="1780" y="1218"/>
                </a:lnTo>
                <a:lnTo>
                  <a:pt x="1782" y="1218"/>
                </a:lnTo>
                <a:lnTo>
                  <a:pt x="1782" y="1218"/>
                </a:lnTo>
                <a:lnTo>
                  <a:pt x="1778" y="1224"/>
                </a:lnTo>
                <a:lnTo>
                  <a:pt x="1778" y="1224"/>
                </a:lnTo>
                <a:lnTo>
                  <a:pt x="1786" y="1230"/>
                </a:lnTo>
                <a:lnTo>
                  <a:pt x="1786" y="1230"/>
                </a:lnTo>
                <a:lnTo>
                  <a:pt x="1776" y="1234"/>
                </a:lnTo>
                <a:lnTo>
                  <a:pt x="1776" y="1234"/>
                </a:lnTo>
                <a:lnTo>
                  <a:pt x="1788" y="1240"/>
                </a:lnTo>
                <a:lnTo>
                  <a:pt x="1788" y="1240"/>
                </a:lnTo>
                <a:lnTo>
                  <a:pt x="1782" y="1246"/>
                </a:lnTo>
                <a:lnTo>
                  <a:pt x="1782" y="1246"/>
                </a:lnTo>
                <a:lnTo>
                  <a:pt x="1774" y="1246"/>
                </a:lnTo>
                <a:lnTo>
                  <a:pt x="1770" y="1248"/>
                </a:lnTo>
                <a:lnTo>
                  <a:pt x="1768" y="1250"/>
                </a:lnTo>
                <a:lnTo>
                  <a:pt x="1766" y="1254"/>
                </a:lnTo>
                <a:lnTo>
                  <a:pt x="1748" y="1254"/>
                </a:lnTo>
                <a:lnTo>
                  <a:pt x="1748" y="1254"/>
                </a:lnTo>
                <a:lnTo>
                  <a:pt x="1760" y="1258"/>
                </a:lnTo>
                <a:lnTo>
                  <a:pt x="1764" y="1262"/>
                </a:lnTo>
                <a:lnTo>
                  <a:pt x="1766" y="1264"/>
                </a:lnTo>
                <a:lnTo>
                  <a:pt x="1764" y="1268"/>
                </a:lnTo>
                <a:lnTo>
                  <a:pt x="1764" y="1268"/>
                </a:lnTo>
                <a:lnTo>
                  <a:pt x="1756" y="1262"/>
                </a:lnTo>
                <a:lnTo>
                  <a:pt x="1756" y="1262"/>
                </a:lnTo>
                <a:lnTo>
                  <a:pt x="1754" y="1266"/>
                </a:lnTo>
                <a:lnTo>
                  <a:pt x="1752" y="1268"/>
                </a:lnTo>
                <a:lnTo>
                  <a:pt x="1746" y="1268"/>
                </a:lnTo>
                <a:lnTo>
                  <a:pt x="1738" y="1270"/>
                </a:lnTo>
                <a:lnTo>
                  <a:pt x="1732" y="1270"/>
                </a:lnTo>
                <a:lnTo>
                  <a:pt x="1732" y="1270"/>
                </a:lnTo>
                <a:lnTo>
                  <a:pt x="1734" y="1274"/>
                </a:lnTo>
                <a:lnTo>
                  <a:pt x="1732" y="1276"/>
                </a:lnTo>
                <a:lnTo>
                  <a:pt x="1732" y="1276"/>
                </a:lnTo>
                <a:lnTo>
                  <a:pt x="1728" y="1280"/>
                </a:lnTo>
                <a:lnTo>
                  <a:pt x="1726" y="1282"/>
                </a:lnTo>
                <a:lnTo>
                  <a:pt x="1726" y="1288"/>
                </a:lnTo>
                <a:lnTo>
                  <a:pt x="1726" y="1288"/>
                </a:lnTo>
                <a:lnTo>
                  <a:pt x="1722" y="1292"/>
                </a:lnTo>
                <a:lnTo>
                  <a:pt x="1722" y="1292"/>
                </a:lnTo>
                <a:lnTo>
                  <a:pt x="1720" y="1296"/>
                </a:lnTo>
                <a:lnTo>
                  <a:pt x="1720" y="1296"/>
                </a:lnTo>
                <a:lnTo>
                  <a:pt x="1728" y="1298"/>
                </a:lnTo>
                <a:lnTo>
                  <a:pt x="1728" y="1298"/>
                </a:lnTo>
                <a:lnTo>
                  <a:pt x="1734" y="1296"/>
                </a:lnTo>
                <a:lnTo>
                  <a:pt x="1734" y="1296"/>
                </a:lnTo>
                <a:lnTo>
                  <a:pt x="1734" y="1294"/>
                </a:lnTo>
                <a:lnTo>
                  <a:pt x="1734" y="1292"/>
                </a:lnTo>
                <a:lnTo>
                  <a:pt x="1738" y="1286"/>
                </a:lnTo>
                <a:lnTo>
                  <a:pt x="1744" y="1284"/>
                </a:lnTo>
                <a:lnTo>
                  <a:pt x="1748" y="1280"/>
                </a:lnTo>
                <a:lnTo>
                  <a:pt x="1748" y="1280"/>
                </a:lnTo>
                <a:lnTo>
                  <a:pt x="1758" y="1278"/>
                </a:lnTo>
                <a:lnTo>
                  <a:pt x="1768" y="1280"/>
                </a:lnTo>
                <a:lnTo>
                  <a:pt x="1788" y="1286"/>
                </a:lnTo>
                <a:lnTo>
                  <a:pt x="1788" y="1286"/>
                </a:lnTo>
                <a:lnTo>
                  <a:pt x="1788" y="1278"/>
                </a:lnTo>
                <a:lnTo>
                  <a:pt x="1792" y="1276"/>
                </a:lnTo>
                <a:lnTo>
                  <a:pt x="1796" y="1274"/>
                </a:lnTo>
                <a:lnTo>
                  <a:pt x="1796" y="1274"/>
                </a:lnTo>
                <a:lnTo>
                  <a:pt x="1798" y="1272"/>
                </a:lnTo>
                <a:lnTo>
                  <a:pt x="1798" y="1272"/>
                </a:lnTo>
                <a:lnTo>
                  <a:pt x="1798" y="1268"/>
                </a:lnTo>
                <a:lnTo>
                  <a:pt x="1800" y="1266"/>
                </a:lnTo>
                <a:lnTo>
                  <a:pt x="1808" y="1262"/>
                </a:lnTo>
                <a:lnTo>
                  <a:pt x="1808" y="1262"/>
                </a:lnTo>
                <a:lnTo>
                  <a:pt x="1818" y="1266"/>
                </a:lnTo>
                <a:lnTo>
                  <a:pt x="1820" y="1266"/>
                </a:lnTo>
                <a:lnTo>
                  <a:pt x="1824" y="1264"/>
                </a:lnTo>
                <a:lnTo>
                  <a:pt x="1824" y="1264"/>
                </a:lnTo>
                <a:lnTo>
                  <a:pt x="1790" y="1248"/>
                </a:lnTo>
                <a:lnTo>
                  <a:pt x="1790" y="1248"/>
                </a:lnTo>
                <a:lnTo>
                  <a:pt x="1796" y="1242"/>
                </a:lnTo>
                <a:lnTo>
                  <a:pt x="1796" y="1242"/>
                </a:lnTo>
                <a:lnTo>
                  <a:pt x="1796" y="1240"/>
                </a:lnTo>
                <a:lnTo>
                  <a:pt x="1796" y="1240"/>
                </a:lnTo>
                <a:lnTo>
                  <a:pt x="1796" y="1240"/>
                </a:lnTo>
                <a:lnTo>
                  <a:pt x="1794" y="1236"/>
                </a:lnTo>
                <a:lnTo>
                  <a:pt x="1794" y="1232"/>
                </a:lnTo>
                <a:lnTo>
                  <a:pt x="1796" y="1224"/>
                </a:lnTo>
                <a:lnTo>
                  <a:pt x="1796" y="1224"/>
                </a:lnTo>
                <a:lnTo>
                  <a:pt x="1802" y="1222"/>
                </a:lnTo>
                <a:lnTo>
                  <a:pt x="1802" y="1222"/>
                </a:lnTo>
                <a:lnTo>
                  <a:pt x="1808" y="1218"/>
                </a:lnTo>
                <a:lnTo>
                  <a:pt x="1816" y="1220"/>
                </a:lnTo>
                <a:lnTo>
                  <a:pt x="1816" y="1220"/>
                </a:lnTo>
                <a:lnTo>
                  <a:pt x="1816" y="1222"/>
                </a:lnTo>
                <a:lnTo>
                  <a:pt x="1816" y="1222"/>
                </a:lnTo>
                <a:lnTo>
                  <a:pt x="1816" y="1224"/>
                </a:lnTo>
                <a:lnTo>
                  <a:pt x="1818" y="1226"/>
                </a:lnTo>
                <a:lnTo>
                  <a:pt x="1822" y="1230"/>
                </a:lnTo>
                <a:lnTo>
                  <a:pt x="1822" y="1230"/>
                </a:lnTo>
                <a:lnTo>
                  <a:pt x="1830" y="1228"/>
                </a:lnTo>
                <a:lnTo>
                  <a:pt x="1834" y="1226"/>
                </a:lnTo>
                <a:lnTo>
                  <a:pt x="1834" y="1226"/>
                </a:lnTo>
                <a:lnTo>
                  <a:pt x="1840" y="1220"/>
                </a:lnTo>
                <a:lnTo>
                  <a:pt x="1846" y="1218"/>
                </a:lnTo>
                <a:lnTo>
                  <a:pt x="1846" y="1218"/>
                </a:lnTo>
                <a:lnTo>
                  <a:pt x="1850" y="1220"/>
                </a:lnTo>
                <a:lnTo>
                  <a:pt x="1850" y="1220"/>
                </a:lnTo>
                <a:lnTo>
                  <a:pt x="1854" y="1216"/>
                </a:lnTo>
                <a:lnTo>
                  <a:pt x="1854" y="1216"/>
                </a:lnTo>
                <a:lnTo>
                  <a:pt x="1862" y="1218"/>
                </a:lnTo>
                <a:lnTo>
                  <a:pt x="1862" y="1218"/>
                </a:lnTo>
                <a:lnTo>
                  <a:pt x="1860" y="1216"/>
                </a:lnTo>
                <a:lnTo>
                  <a:pt x="1860" y="1216"/>
                </a:lnTo>
                <a:lnTo>
                  <a:pt x="1860" y="1216"/>
                </a:lnTo>
                <a:lnTo>
                  <a:pt x="1860" y="1216"/>
                </a:lnTo>
                <a:lnTo>
                  <a:pt x="1860" y="1214"/>
                </a:lnTo>
                <a:lnTo>
                  <a:pt x="1860" y="1214"/>
                </a:lnTo>
                <a:lnTo>
                  <a:pt x="1858" y="1214"/>
                </a:lnTo>
                <a:lnTo>
                  <a:pt x="1858" y="1214"/>
                </a:lnTo>
                <a:lnTo>
                  <a:pt x="1868" y="1210"/>
                </a:lnTo>
                <a:lnTo>
                  <a:pt x="1880" y="1210"/>
                </a:lnTo>
                <a:lnTo>
                  <a:pt x="1880" y="1210"/>
                </a:lnTo>
                <a:lnTo>
                  <a:pt x="1884" y="1208"/>
                </a:lnTo>
                <a:lnTo>
                  <a:pt x="1884" y="1208"/>
                </a:lnTo>
                <a:lnTo>
                  <a:pt x="1884" y="1216"/>
                </a:lnTo>
                <a:lnTo>
                  <a:pt x="1884" y="1216"/>
                </a:lnTo>
                <a:lnTo>
                  <a:pt x="1886" y="1214"/>
                </a:lnTo>
                <a:lnTo>
                  <a:pt x="1886" y="1206"/>
                </a:lnTo>
                <a:lnTo>
                  <a:pt x="1886" y="1206"/>
                </a:lnTo>
                <a:lnTo>
                  <a:pt x="1910" y="1192"/>
                </a:lnTo>
                <a:lnTo>
                  <a:pt x="1928" y="1178"/>
                </a:lnTo>
                <a:lnTo>
                  <a:pt x="1928" y="1178"/>
                </a:lnTo>
                <a:lnTo>
                  <a:pt x="1938" y="1180"/>
                </a:lnTo>
                <a:lnTo>
                  <a:pt x="1938" y="1180"/>
                </a:lnTo>
                <a:lnTo>
                  <a:pt x="1938" y="1178"/>
                </a:lnTo>
                <a:lnTo>
                  <a:pt x="1940" y="1176"/>
                </a:lnTo>
                <a:lnTo>
                  <a:pt x="1946" y="1174"/>
                </a:lnTo>
                <a:lnTo>
                  <a:pt x="1952" y="1174"/>
                </a:lnTo>
                <a:lnTo>
                  <a:pt x="1958" y="1172"/>
                </a:lnTo>
                <a:lnTo>
                  <a:pt x="1958" y="1172"/>
                </a:lnTo>
                <a:lnTo>
                  <a:pt x="1940" y="1166"/>
                </a:lnTo>
                <a:lnTo>
                  <a:pt x="1940" y="1166"/>
                </a:lnTo>
                <a:lnTo>
                  <a:pt x="1950" y="1156"/>
                </a:lnTo>
                <a:lnTo>
                  <a:pt x="1952" y="1148"/>
                </a:lnTo>
                <a:lnTo>
                  <a:pt x="1952" y="1142"/>
                </a:lnTo>
                <a:lnTo>
                  <a:pt x="1948" y="1136"/>
                </a:lnTo>
                <a:lnTo>
                  <a:pt x="1948" y="1136"/>
                </a:lnTo>
                <a:lnTo>
                  <a:pt x="1952" y="1138"/>
                </a:lnTo>
                <a:lnTo>
                  <a:pt x="1956" y="1140"/>
                </a:lnTo>
                <a:lnTo>
                  <a:pt x="1956" y="1140"/>
                </a:lnTo>
                <a:lnTo>
                  <a:pt x="1958" y="1142"/>
                </a:lnTo>
                <a:lnTo>
                  <a:pt x="1962" y="1140"/>
                </a:lnTo>
                <a:lnTo>
                  <a:pt x="1962" y="1140"/>
                </a:lnTo>
                <a:lnTo>
                  <a:pt x="1956" y="1132"/>
                </a:lnTo>
                <a:lnTo>
                  <a:pt x="1956" y="1132"/>
                </a:lnTo>
                <a:lnTo>
                  <a:pt x="1980" y="1132"/>
                </a:lnTo>
                <a:lnTo>
                  <a:pt x="1992" y="1134"/>
                </a:lnTo>
                <a:lnTo>
                  <a:pt x="2002" y="1138"/>
                </a:lnTo>
                <a:lnTo>
                  <a:pt x="2002" y="1138"/>
                </a:lnTo>
                <a:lnTo>
                  <a:pt x="2004" y="1138"/>
                </a:lnTo>
                <a:lnTo>
                  <a:pt x="2008" y="1140"/>
                </a:lnTo>
                <a:lnTo>
                  <a:pt x="2008" y="1140"/>
                </a:lnTo>
                <a:lnTo>
                  <a:pt x="2012" y="1140"/>
                </a:lnTo>
                <a:lnTo>
                  <a:pt x="2016" y="1140"/>
                </a:lnTo>
                <a:lnTo>
                  <a:pt x="2018" y="1144"/>
                </a:lnTo>
                <a:lnTo>
                  <a:pt x="2018" y="1144"/>
                </a:lnTo>
                <a:lnTo>
                  <a:pt x="2020" y="1148"/>
                </a:lnTo>
                <a:lnTo>
                  <a:pt x="2024" y="1152"/>
                </a:lnTo>
                <a:lnTo>
                  <a:pt x="2024" y="1152"/>
                </a:lnTo>
                <a:lnTo>
                  <a:pt x="2028" y="1152"/>
                </a:lnTo>
                <a:lnTo>
                  <a:pt x="2032" y="1156"/>
                </a:lnTo>
                <a:lnTo>
                  <a:pt x="2034" y="1160"/>
                </a:lnTo>
                <a:lnTo>
                  <a:pt x="2034" y="1160"/>
                </a:lnTo>
                <a:lnTo>
                  <a:pt x="2046" y="1162"/>
                </a:lnTo>
                <a:lnTo>
                  <a:pt x="2056" y="1162"/>
                </a:lnTo>
                <a:lnTo>
                  <a:pt x="2076" y="1156"/>
                </a:lnTo>
                <a:lnTo>
                  <a:pt x="2076" y="1156"/>
                </a:lnTo>
                <a:lnTo>
                  <a:pt x="2080" y="1150"/>
                </a:lnTo>
                <a:lnTo>
                  <a:pt x="2080" y="1150"/>
                </a:lnTo>
                <a:lnTo>
                  <a:pt x="2084" y="1150"/>
                </a:lnTo>
                <a:lnTo>
                  <a:pt x="2086" y="1150"/>
                </a:lnTo>
                <a:lnTo>
                  <a:pt x="2094" y="1148"/>
                </a:lnTo>
                <a:lnTo>
                  <a:pt x="2094" y="1148"/>
                </a:lnTo>
                <a:lnTo>
                  <a:pt x="2096" y="1140"/>
                </a:lnTo>
                <a:lnTo>
                  <a:pt x="2096" y="1140"/>
                </a:lnTo>
                <a:lnTo>
                  <a:pt x="2092" y="1136"/>
                </a:lnTo>
                <a:lnTo>
                  <a:pt x="2092" y="1136"/>
                </a:lnTo>
                <a:lnTo>
                  <a:pt x="2084" y="1138"/>
                </a:lnTo>
                <a:lnTo>
                  <a:pt x="2084" y="1138"/>
                </a:lnTo>
                <a:lnTo>
                  <a:pt x="2092" y="1136"/>
                </a:lnTo>
                <a:lnTo>
                  <a:pt x="2092" y="1136"/>
                </a:lnTo>
                <a:lnTo>
                  <a:pt x="2092" y="1136"/>
                </a:lnTo>
                <a:lnTo>
                  <a:pt x="2092" y="1136"/>
                </a:lnTo>
                <a:lnTo>
                  <a:pt x="2092" y="1136"/>
                </a:lnTo>
                <a:lnTo>
                  <a:pt x="2092" y="1136"/>
                </a:lnTo>
                <a:lnTo>
                  <a:pt x="2092" y="1136"/>
                </a:lnTo>
                <a:lnTo>
                  <a:pt x="2092" y="1136"/>
                </a:lnTo>
                <a:lnTo>
                  <a:pt x="2092" y="1136"/>
                </a:lnTo>
                <a:lnTo>
                  <a:pt x="2092" y="1136"/>
                </a:lnTo>
                <a:lnTo>
                  <a:pt x="2096" y="1140"/>
                </a:lnTo>
                <a:lnTo>
                  <a:pt x="2096" y="1140"/>
                </a:lnTo>
                <a:lnTo>
                  <a:pt x="2104" y="1118"/>
                </a:lnTo>
                <a:lnTo>
                  <a:pt x="2108" y="1108"/>
                </a:lnTo>
                <a:lnTo>
                  <a:pt x="2110" y="1102"/>
                </a:lnTo>
                <a:lnTo>
                  <a:pt x="2110" y="1102"/>
                </a:lnTo>
                <a:lnTo>
                  <a:pt x="2106" y="1120"/>
                </a:lnTo>
                <a:lnTo>
                  <a:pt x="2100" y="1142"/>
                </a:lnTo>
                <a:lnTo>
                  <a:pt x="2100" y="1142"/>
                </a:lnTo>
                <a:lnTo>
                  <a:pt x="2100" y="1142"/>
                </a:lnTo>
                <a:lnTo>
                  <a:pt x="2100" y="1142"/>
                </a:lnTo>
                <a:lnTo>
                  <a:pt x="2106" y="1122"/>
                </a:lnTo>
                <a:lnTo>
                  <a:pt x="2112" y="1102"/>
                </a:lnTo>
                <a:lnTo>
                  <a:pt x="2112" y="1102"/>
                </a:lnTo>
                <a:lnTo>
                  <a:pt x="2112" y="1102"/>
                </a:lnTo>
                <a:lnTo>
                  <a:pt x="2112" y="1102"/>
                </a:lnTo>
                <a:lnTo>
                  <a:pt x="2116" y="1104"/>
                </a:lnTo>
                <a:lnTo>
                  <a:pt x="2118" y="1106"/>
                </a:lnTo>
                <a:lnTo>
                  <a:pt x="2122" y="1106"/>
                </a:lnTo>
                <a:lnTo>
                  <a:pt x="2128" y="1104"/>
                </a:lnTo>
                <a:lnTo>
                  <a:pt x="2128" y="1104"/>
                </a:lnTo>
                <a:lnTo>
                  <a:pt x="2136" y="1100"/>
                </a:lnTo>
                <a:lnTo>
                  <a:pt x="2142" y="1100"/>
                </a:lnTo>
                <a:lnTo>
                  <a:pt x="2150" y="1100"/>
                </a:lnTo>
                <a:lnTo>
                  <a:pt x="2158" y="1102"/>
                </a:lnTo>
                <a:lnTo>
                  <a:pt x="2158" y="1102"/>
                </a:lnTo>
                <a:lnTo>
                  <a:pt x="2164" y="1104"/>
                </a:lnTo>
                <a:lnTo>
                  <a:pt x="2170" y="1102"/>
                </a:lnTo>
                <a:lnTo>
                  <a:pt x="2170" y="1102"/>
                </a:lnTo>
                <a:lnTo>
                  <a:pt x="2180" y="1098"/>
                </a:lnTo>
                <a:lnTo>
                  <a:pt x="2180" y="1098"/>
                </a:lnTo>
                <a:lnTo>
                  <a:pt x="2186" y="1102"/>
                </a:lnTo>
                <a:lnTo>
                  <a:pt x="2196" y="1104"/>
                </a:lnTo>
                <a:lnTo>
                  <a:pt x="2204" y="1104"/>
                </a:lnTo>
                <a:lnTo>
                  <a:pt x="2212" y="1108"/>
                </a:lnTo>
                <a:lnTo>
                  <a:pt x="2212" y="1108"/>
                </a:lnTo>
                <a:lnTo>
                  <a:pt x="2212" y="1112"/>
                </a:lnTo>
                <a:lnTo>
                  <a:pt x="2214" y="1114"/>
                </a:lnTo>
                <a:lnTo>
                  <a:pt x="2222" y="1118"/>
                </a:lnTo>
                <a:lnTo>
                  <a:pt x="2222" y="1118"/>
                </a:lnTo>
                <a:lnTo>
                  <a:pt x="2206" y="1130"/>
                </a:lnTo>
                <a:lnTo>
                  <a:pt x="2206" y="1130"/>
                </a:lnTo>
                <a:lnTo>
                  <a:pt x="2198" y="1122"/>
                </a:lnTo>
                <a:lnTo>
                  <a:pt x="2198" y="1122"/>
                </a:lnTo>
                <a:lnTo>
                  <a:pt x="2190" y="1126"/>
                </a:lnTo>
                <a:lnTo>
                  <a:pt x="2190" y="1126"/>
                </a:lnTo>
                <a:lnTo>
                  <a:pt x="2186" y="1124"/>
                </a:lnTo>
                <a:lnTo>
                  <a:pt x="2186" y="1124"/>
                </a:lnTo>
                <a:lnTo>
                  <a:pt x="2188" y="1120"/>
                </a:lnTo>
                <a:lnTo>
                  <a:pt x="2188" y="1120"/>
                </a:lnTo>
                <a:lnTo>
                  <a:pt x="2182" y="1118"/>
                </a:lnTo>
                <a:lnTo>
                  <a:pt x="2176" y="1116"/>
                </a:lnTo>
                <a:lnTo>
                  <a:pt x="2162" y="1118"/>
                </a:lnTo>
                <a:lnTo>
                  <a:pt x="2162" y="1118"/>
                </a:lnTo>
                <a:lnTo>
                  <a:pt x="2172" y="1122"/>
                </a:lnTo>
                <a:lnTo>
                  <a:pt x="2172" y="1122"/>
                </a:lnTo>
                <a:lnTo>
                  <a:pt x="2184" y="1132"/>
                </a:lnTo>
                <a:lnTo>
                  <a:pt x="2192" y="1134"/>
                </a:lnTo>
                <a:lnTo>
                  <a:pt x="2202" y="1134"/>
                </a:lnTo>
                <a:lnTo>
                  <a:pt x="2202" y="1134"/>
                </a:lnTo>
                <a:lnTo>
                  <a:pt x="2202" y="1134"/>
                </a:lnTo>
                <a:lnTo>
                  <a:pt x="2202" y="1134"/>
                </a:lnTo>
                <a:lnTo>
                  <a:pt x="2216" y="1136"/>
                </a:lnTo>
                <a:lnTo>
                  <a:pt x="2226" y="1134"/>
                </a:lnTo>
                <a:lnTo>
                  <a:pt x="2226" y="1134"/>
                </a:lnTo>
                <a:lnTo>
                  <a:pt x="2244" y="1144"/>
                </a:lnTo>
                <a:lnTo>
                  <a:pt x="2244" y="1144"/>
                </a:lnTo>
                <a:lnTo>
                  <a:pt x="2228" y="1148"/>
                </a:lnTo>
                <a:lnTo>
                  <a:pt x="2228" y="1148"/>
                </a:lnTo>
                <a:lnTo>
                  <a:pt x="2228" y="1150"/>
                </a:lnTo>
                <a:lnTo>
                  <a:pt x="2228" y="1150"/>
                </a:lnTo>
                <a:lnTo>
                  <a:pt x="2240" y="1150"/>
                </a:lnTo>
                <a:lnTo>
                  <a:pt x="2240" y="1150"/>
                </a:lnTo>
                <a:lnTo>
                  <a:pt x="2240" y="1152"/>
                </a:lnTo>
                <a:lnTo>
                  <a:pt x="2240" y="1152"/>
                </a:lnTo>
                <a:lnTo>
                  <a:pt x="2230" y="1156"/>
                </a:lnTo>
                <a:lnTo>
                  <a:pt x="2230" y="1156"/>
                </a:lnTo>
                <a:lnTo>
                  <a:pt x="2240" y="1160"/>
                </a:lnTo>
                <a:lnTo>
                  <a:pt x="2240" y="1160"/>
                </a:lnTo>
                <a:lnTo>
                  <a:pt x="2250" y="1156"/>
                </a:lnTo>
                <a:lnTo>
                  <a:pt x="2250" y="1156"/>
                </a:lnTo>
                <a:lnTo>
                  <a:pt x="2256" y="1168"/>
                </a:lnTo>
                <a:lnTo>
                  <a:pt x="2256" y="1168"/>
                </a:lnTo>
                <a:lnTo>
                  <a:pt x="2258" y="1168"/>
                </a:lnTo>
                <a:lnTo>
                  <a:pt x="2258" y="1168"/>
                </a:lnTo>
                <a:lnTo>
                  <a:pt x="2262" y="1164"/>
                </a:lnTo>
                <a:lnTo>
                  <a:pt x="2262" y="1164"/>
                </a:lnTo>
                <a:lnTo>
                  <a:pt x="2270" y="1168"/>
                </a:lnTo>
                <a:lnTo>
                  <a:pt x="2270" y="1168"/>
                </a:lnTo>
                <a:lnTo>
                  <a:pt x="2252" y="1176"/>
                </a:lnTo>
                <a:lnTo>
                  <a:pt x="2252" y="1176"/>
                </a:lnTo>
                <a:lnTo>
                  <a:pt x="2258" y="1184"/>
                </a:lnTo>
                <a:lnTo>
                  <a:pt x="2258" y="1184"/>
                </a:lnTo>
                <a:lnTo>
                  <a:pt x="2268" y="1180"/>
                </a:lnTo>
                <a:lnTo>
                  <a:pt x="2268" y="1180"/>
                </a:lnTo>
                <a:lnTo>
                  <a:pt x="2276" y="1178"/>
                </a:lnTo>
                <a:lnTo>
                  <a:pt x="2286" y="1180"/>
                </a:lnTo>
                <a:lnTo>
                  <a:pt x="2286" y="1180"/>
                </a:lnTo>
                <a:lnTo>
                  <a:pt x="2278" y="1180"/>
                </a:lnTo>
                <a:lnTo>
                  <a:pt x="2274" y="1182"/>
                </a:lnTo>
                <a:lnTo>
                  <a:pt x="2272" y="1184"/>
                </a:lnTo>
                <a:lnTo>
                  <a:pt x="2272" y="1184"/>
                </a:lnTo>
                <a:lnTo>
                  <a:pt x="2276" y="1186"/>
                </a:lnTo>
                <a:lnTo>
                  <a:pt x="2278" y="1186"/>
                </a:lnTo>
                <a:lnTo>
                  <a:pt x="2286" y="1184"/>
                </a:lnTo>
                <a:lnTo>
                  <a:pt x="2286" y="1184"/>
                </a:lnTo>
                <a:lnTo>
                  <a:pt x="2292" y="1182"/>
                </a:lnTo>
                <a:lnTo>
                  <a:pt x="2298" y="1184"/>
                </a:lnTo>
                <a:lnTo>
                  <a:pt x="2298" y="1184"/>
                </a:lnTo>
                <a:lnTo>
                  <a:pt x="2302" y="1190"/>
                </a:lnTo>
                <a:lnTo>
                  <a:pt x="2302" y="1190"/>
                </a:lnTo>
                <a:lnTo>
                  <a:pt x="2306" y="1196"/>
                </a:lnTo>
                <a:lnTo>
                  <a:pt x="2306" y="1196"/>
                </a:lnTo>
                <a:lnTo>
                  <a:pt x="2308" y="1198"/>
                </a:lnTo>
                <a:lnTo>
                  <a:pt x="2310" y="1200"/>
                </a:lnTo>
                <a:lnTo>
                  <a:pt x="2318" y="1198"/>
                </a:lnTo>
                <a:lnTo>
                  <a:pt x="2318" y="1198"/>
                </a:lnTo>
                <a:lnTo>
                  <a:pt x="2306" y="1188"/>
                </a:lnTo>
                <a:lnTo>
                  <a:pt x="2306" y="1188"/>
                </a:lnTo>
                <a:lnTo>
                  <a:pt x="2322" y="1186"/>
                </a:lnTo>
                <a:lnTo>
                  <a:pt x="2322" y="1186"/>
                </a:lnTo>
                <a:lnTo>
                  <a:pt x="2340" y="1182"/>
                </a:lnTo>
                <a:lnTo>
                  <a:pt x="2340" y="1182"/>
                </a:lnTo>
                <a:lnTo>
                  <a:pt x="2344" y="1178"/>
                </a:lnTo>
                <a:lnTo>
                  <a:pt x="2348" y="1176"/>
                </a:lnTo>
                <a:lnTo>
                  <a:pt x="2348" y="1176"/>
                </a:lnTo>
                <a:lnTo>
                  <a:pt x="2358" y="1174"/>
                </a:lnTo>
                <a:lnTo>
                  <a:pt x="2364" y="1174"/>
                </a:lnTo>
                <a:lnTo>
                  <a:pt x="2370" y="1174"/>
                </a:lnTo>
                <a:lnTo>
                  <a:pt x="2370" y="1174"/>
                </a:lnTo>
                <a:lnTo>
                  <a:pt x="2374" y="1180"/>
                </a:lnTo>
                <a:lnTo>
                  <a:pt x="2382" y="1180"/>
                </a:lnTo>
                <a:lnTo>
                  <a:pt x="2382" y="1180"/>
                </a:lnTo>
                <a:lnTo>
                  <a:pt x="2384" y="1178"/>
                </a:lnTo>
                <a:lnTo>
                  <a:pt x="2386" y="1176"/>
                </a:lnTo>
                <a:lnTo>
                  <a:pt x="2386" y="1176"/>
                </a:lnTo>
                <a:lnTo>
                  <a:pt x="2374" y="1172"/>
                </a:lnTo>
                <a:lnTo>
                  <a:pt x="2374" y="1172"/>
                </a:lnTo>
                <a:lnTo>
                  <a:pt x="2374" y="1170"/>
                </a:lnTo>
                <a:lnTo>
                  <a:pt x="2374" y="1170"/>
                </a:lnTo>
                <a:lnTo>
                  <a:pt x="2394" y="1170"/>
                </a:lnTo>
                <a:lnTo>
                  <a:pt x="2394" y="1170"/>
                </a:lnTo>
                <a:lnTo>
                  <a:pt x="2396" y="1162"/>
                </a:lnTo>
                <a:lnTo>
                  <a:pt x="2396" y="1162"/>
                </a:lnTo>
                <a:lnTo>
                  <a:pt x="2402" y="1170"/>
                </a:lnTo>
                <a:lnTo>
                  <a:pt x="2402" y="1170"/>
                </a:lnTo>
                <a:lnTo>
                  <a:pt x="2404" y="1172"/>
                </a:lnTo>
                <a:lnTo>
                  <a:pt x="2402" y="1176"/>
                </a:lnTo>
                <a:lnTo>
                  <a:pt x="2402" y="1176"/>
                </a:lnTo>
                <a:lnTo>
                  <a:pt x="2400" y="1180"/>
                </a:lnTo>
                <a:lnTo>
                  <a:pt x="2398" y="1182"/>
                </a:lnTo>
                <a:lnTo>
                  <a:pt x="2402" y="1184"/>
                </a:lnTo>
                <a:lnTo>
                  <a:pt x="2406" y="1186"/>
                </a:lnTo>
                <a:lnTo>
                  <a:pt x="2406" y="1186"/>
                </a:lnTo>
                <a:lnTo>
                  <a:pt x="2426" y="1186"/>
                </a:lnTo>
                <a:lnTo>
                  <a:pt x="2426" y="1186"/>
                </a:lnTo>
                <a:lnTo>
                  <a:pt x="2444" y="1184"/>
                </a:lnTo>
                <a:lnTo>
                  <a:pt x="2444" y="1184"/>
                </a:lnTo>
                <a:lnTo>
                  <a:pt x="2446" y="1184"/>
                </a:lnTo>
                <a:lnTo>
                  <a:pt x="2446" y="1184"/>
                </a:lnTo>
                <a:lnTo>
                  <a:pt x="2440" y="1190"/>
                </a:lnTo>
                <a:lnTo>
                  <a:pt x="2440" y="1190"/>
                </a:lnTo>
                <a:lnTo>
                  <a:pt x="2454" y="1190"/>
                </a:lnTo>
                <a:lnTo>
                  <a:pt x="2454" y="1190"/>
                </a:lnTo>
                <a:lnTo>
                  <a:pt x="2472" y="1188"/>
                </a:lnTo>
                <a:lnTo>
                  <a:pt x="2472" y="1188"/>
                </a:lnTo>
                <a:lnTo>
                  <a:pt x="2476" y="1188"/>
                </a:lnTo>
                <a:lnTo>
                  <a:pt x="2478" y="1190"/>
                </a:lnTo>
                <a:lnTo>
                  <a:pt x="2476" y="1196"/>
                </a:lnTo>
                <a:lnTo>
                  <a:pt x="2476" y="1196"/>
                </a:lnTo>
                <a:lnTo>
                  <a:pt x="2470" y="1192"/>
                </a:lnTo>
                <a:lnTo>
                  <a:pt x="2470" y="1192"/>
                </a:lnTo>
                <a:lnTo>
                  <a:pt x="2458" y="1196"/>
                </a:lnTo>
                <a:lnTo>
                  <a:pt x="2458" y="1196"/>
                </a:lnTo>
                <a:lnTo>
                  <a:pt x="2462" y="1198"/>
                </a:lnTo>
                <a:lnTo>
                  <a:pt x="2464" y="1200"/>
                </a:lnTo>
                <a:lnTo>
                  <a:pt x="2468" y="1200"/>
                </a:lnTo>
                <a:lnTo>
                  <a:pt x="2472" y="1198"/>
                </a:lnTo>
                <a:lnTo>
                  <a:pt x="2472" y="1198"/>
                </a:lnTo>
                <a:lnTo>
                  <a:pt x="2478" y="1198"/>
                </a:lnTo>
                <a:lnTo>
                  <a:pt x="2484" y="1198"/>
                </a:lnTo>
                <a:lnTo>
                  <a:pt x="2484" y="1198"/>
                </a:lnTo>
                <a:lnTo>
                  <a:pt x="2480" y="1202"/>
                </a:lnTo>
                <a:lnTo>
                  <a:pt x="2474" y="1204"/>
                </a:lnTo>
                <a:lnTo>
                  <a:pt x="2468" y="1206"/>
                </a:lnTo>
                <a:lnTo>
                  <a:pt x="2462" y="1210"/>
                </a:lnTo>
                <a:lnTo>
                  <a:pt x="2462" y="1210"/>
                </a:lnTo>
                <a:lnTo>
                  <a:pt x="2474" y="1208"/>
                </a:lnTo>
                <a:lnTo>
                  <a:pt x="2484" y="1208"/>
                </a:lnTo>
                <a:lnTo>
                  <a:pt x="2502" y="1214"/>
                </a:lnTo>
                <a:lnTo>
                  <a:pt x="2502" y="1214"/>
                </a:lnTo>
                <a:lnTo>
                  <a:pt x="2494" y="1220"/>
                </a:lnTo>
                <a:lnTo>
                  <a:pt x="2494" y="1220"/>
                </a:lnTo>
                <a:lnTo>
                  <a:pt x="2496" y="1222"/>
                </a:lnTo>
                <a:lnTo>
                  <a:pt x="2500" y="1220"/>
                </a:lnTo>
                <a:lnTo>
                  <a:pt x="2504" y="1218"/>
                </a:lnTo>
                <a:lnTo>
                  <a:pt x="2504" y="1218"/>
                </a:lnTo>
                <a:lnTo>
                  <a:pt x="2516" y="1218"/>
                </a:lnTo>
                <a:lnTo>
                  <a:pt x="2516" y="1218"/>
                </a:lnTo>
                <a:lnTo>
                  <a:pt x="2510" y="1230"/>
                </a:lnTo>
                <a:lnTo>
                  <a:pt x="2510" y="1230"/>
                </a:lnTo>
                <a:lnTo>
                  <a:pt x="2524" y="1224"/>
                </a:lnTo>
                <a:lnTo>
                  <a:pt x="2524" y="1224"/>
                </a:lnTo>
                <a:lnTo>
                  <a:pt x="2520" y="1214"/>
                </a:lnTo>
                <a:lnTo>
                  <a:pt x="2520" y="1214"/>
                </a:lnTo>
                <a:lnTo>
                  <a:pt x="2506" y="1216"/>
                </a:lnTo>
                <a:lnTo>
                  <a:pt x="2506" y="1216"/>
                </a:lnTo>
                <a:lnTo>
                  <a:pt x="2506" y="1214"/>
                </a:lnTo>
                <a:lnTo>
                  <a:pt x="2506" y="1212"/>
                </a:lnTo>
                <a:lnTo>
                  <a:pt x="2512" y="1210"/>
                </a:lnTo>
                <a:lnTo>
                  <a:pt x="2512" y="1210"/>
                </a:lnTo>
                <a:lnTo>
                  <a:pt x="2524" y="1212"/>
                </a:lnTo>
                <a:lnTo>
                  <a:pt x="2534" y="1214"/>
                </a:lnTo>
                <a:lnTo>
                  <a:pt x="2534" y="1214"/>
                </a:lnTo>
                <a:lnTo>
                  <a:pt x="2536" y="1218"/>
                </a:lnTo>
                <a:lnTo>
                  <a:pt x="2538" y="1220"/>
                </a:lnTo>
                <a:lnTo>
                  <a:pt x="2538" y="1224"/>
                </a:lnTo>
                <a:lnTo>
                  <a:pt x="2542" y="1226"/>
                </a:lnTo>
                <a:lnTo>
                  <a:pt x="2528" y="1226"/>
                </a:lnTo>
                <a:lnTo>
                  <a:pt x="2528" y="1226"/>
                </a:lnTo>
                <a:lnTo>
                  <a:pt x="2532" y="1228"/>
                </a:lnTo>
                <a:lnTo>
                  <a:pt x="2538" y="1230"/>
                </a:lnTo>
                <a:lnTo>
                  <a:pt x="2548" y="1228"/>
                </a:lnTo>
                <a:lnTo>
                  <a:pt x="2548" y="1228"/>
                </a:lnTo>
                <a:lnTo>
                  <a:pt x="2554" y="1226"/>
                </a:lnTo>
                <a:lnTo>
                  <a:pt x="2560" y="1228"/>
                </a:lnTo>
                <a:lnTo>
                  <a:pt x="2566" y="1228"/>
                </a:lnTo>
                <a:lnTo>
                  <a:pt x="2570" y="1230"/>
                </a:lnTo>
                <a:lnTo>
                  <a:pt x="2570" y="1230"/>
                </a:lnTo>
                <a:lnTo>
                  <a:pt x="2578" y="1234"/>
                </a:lnTo>
                <a:lnTo>
                  <a:pt x="2584" y="1232"/>
                </a:lnTo>
                <a:lnTo>
                  <a:pt x="2590" y="1230"/>
                </a:lnTo>
                <a:lnTo>
                  <a:pt x="2596" y="1230"/>
                </a:lnTo>
                <a:lnTo>
                  <a:pt x="2596" y="1230"/>
                </a:lnTo>
                <a:lnTo>
                  <a:pt x="2596" y="1234"/>
                </a:lnTo>
                <a:lnTo>
                  <a:pt x="2596" y="1236"/>
                </a:lnTo>
                <a:lnTo>
                  <a:pt x="2604" y="1238"/>
                </a:lnTo>
                <a:lnTo>
                  <a:pt x="2604" y="1238"/>
                </a:lnTo>
                <a:lnTo>
                  <a:pt x="2610" y="1240"/>
                </a:lnTo>
                <a:lnTo>
                  <a:pt x="2612" y="1244"/>
                </a:lnTo>
                <a:lnTo>
                  <a:pt x="2612" y="1244"/>
                </a:lnTo>
                <a:lnTo>
                  <a:pt x="2600" y="1244"/>
                </a:lnTo>
                <a:lnTo>
                  <a:pt x="2594" y="1244"/>
                </a:lnTo>
                <a:lnTo>
                  <a:pt x="2590" y="1242"/>
                </a:lnTo>
                <a:lnTo>
                  <a:pt x="2590" y="1242"/>
                </a:lnTo>
                <a:lnTo>
                  <a:pt x="2586" y="1240"/>
                </a:lnTo>
                <a:lnTo>
                  <a:pt x="2586" y="1240"/>
                </a:lnTo>
                <a:lnTo>
                  <a:pt x="2578" y="1242"/>
                </a:lnTo>
                <a:lnTo>
                  <a:pt x="2570" y="1240"/>
                </a:lnTo>
                <a:lnTo>
                  <a:pt x="2556" y="1234"/>
                </a:lnTo>
                <a:lnTo>
                  <a:pt x="2556" y="1234"/>
                </a:lnTo>
                <a:lnTo>
                  <a:pt x="2552" y="1234"/>
                </a:lnTo>
                <a:lnTo>
                  <a:pt x="2548" y="1232"/>
                </a:lnTo>
                <a:lnTo>
                  <a:pt x="2540" y="1234"/>
                </a:lnTo>
                <a:lnTo>
                  <a:pt x="2540" y="1234"/>
                </a:lnTo>
                <a:lnTo>
                  <a:pt x="2538" y="1236"/>
                </a:lnTo>
                <a:lnTo>
                  <a:pt x="2538" y="1236"/>
                </a:lnTo>
                <a:lnTo>
                  <a:pt x="2534" y="1238"/>
                </a:lnTo>
                <a:lnTo>
                  <a:pt x="2534" y="1238"/>
                </a:lnTo>
                <a:lnTo>
                  <a:pt x="2548" y="1240"/>
                </a:lnTo>
                <a:lnTo>
                  <a:pt x="2548" y="1240"/>
                </a:lnTo>
                <a:lnTo>
                  <a:pt x="2534" y="1244"/>
                </a:lnTo>
                <a:lnTo>
                  <a:pt x="2534" y="1244"/>
                </a:lnTo>
                <a:lnTo>
                  <a:pt x="2538" y="1246"/>
                </a:lnTo>
                <a:lnTo>
                  <a:pt x="2540" y="1246"/>
                </a:lnTo>
                <a:lnTo>
                  <a:pt x="2546" y="1246"/>
                </a:lnTo>
                <a:lnTo>
                  <a:pt x="2546" y="1246"/>
                </a:lnTo>
                <a:lnTo>
                  <a:pt x="2554" y="1246"/>
                </a:lnTo>
                <a:lnTo>
                  <a:pt x="2556" y="1248"/>
                </a:lnTo>
                <a:lnTo>
                  <a:pt x="2558" y="1250"/>
                </a:lnTo>
                <a:lnTo>
                  <a:pt x="2558" y="1250"/>
                </a:lnTo>
                <a:lnTo>
                  <a:pt x="2560" y="1252"/>
                </a:lnTo>
                <a:lnTo>
                  <a:pt x="2560" y="1252"/>
                </a:lnTo>
                <a:lnTo>
                  <a:pt x="2576" y="1252"/>
                </a:lnTo>
                <a:lnTo>
                  <a:pt x="2576" y="1252"/>
                </a:lnTo>
                <a:lnTo>
                  <a:pt x="2572" y="1260"/>
                </a:lnTo>
                <a:lnTo>
                  <a:pt x="2572" y="1260"/>
                </a:lnTo>
                <a:lnTo>
                  <a:pt x="2562" y="1260"/>
                </a:lnTo>
                <a:lnTo>
                  <a:pt x="2552" y="1266"/>
                </a:lnTo>
                <a:lnTo>
                  <a:pt x="2552" y="1266"/>
                </a:lnTo>
                <a:lnTo>
                  <a:pt x="2544" y="1268"/>
                </a:lnTo>
                <a:lnTo>
                  <a:pt x="2536" y="1268"/>
                </a:lnTo>
                <a:lnTo>
                  <a:pt x="2536" y="1268"/>
                </a:lnTo>
                <a:lnTo>
                  <a:pt x="2538" y="1260"/>
                </a:lnTo>
                <a:lnTo>
                  <a:pt x="2514" y="1260"/>
                </a:lnTo>
                <a:lnTo>
                  <a:pt x="2514" y="1260"/>
                </a:lnTo>
                <a:lnTo>
                  <a:pt x="2516" y="1256"/>
                </a:lnTo>
                <a:lnTo>
                  <a:pt x="2514" y="1252"/>
                </a:lnTo>
                <a:lnTo>
                  <a:pt x="2512" y="1248"/>
                </a:lnTo>
                <a:lnTo>
                  <a:pt x="2508" y="1246"/>
                </a:lnTo>
                <a:lnTo>
                  <a:pt x="2508" y="1246"/>
                </a:lnTo>
                <a:lnTo>
                  <a:pt x="2490" y="1246"/>
                </a:lnTo>
                <a:lnTo>
                  <a:pt x="2490" y="1246"/>
                </a:lnTo>
                <a:lnTo>
                  <a:pt x="2492" y="1252"/>
                </a:lnTo>
                <a:lnTo>
                  <a:pt x="2496" y="1258"/>
                </a:lnTo>
                <a:lnTo>
                  <a:pt x="2502" y="1260"/>
                </a:lnTo>
                <a:lnTo>
                  <a:pt x="2514" y="1260"/>
                </a:lnTo>
                <a:lnTo>
                  <a:pt x="2514" y="1260"/>
                </a:lnTo>
                <a:lnTo>
                  <a:pt x="2502" y="1264"/>
                </a:lnTo>
                <a:lnTo>
                  <a:pt x="2502" y="1264"/>
                </a:lnTo>
                <a:lnTo>
                  <a:pt x="2512" y="1272"/>
                </a:lnTo>
                <a:lnTo>
                  <a:pt x="2512" y="1272"/>
                </a:lnTo>
                <a:lnTo>
                  <a:pt x="2506" y="1276"/>
                </a:lnTo>
                <a:lnTo>
                  <a:pt x="2502" y="1278"/>
                </a:lnTo>
                <a:lnTo>
                  <a:pt x="2502" y="1282"/>
                </a:lnTo>
                <a:lnTo>
                  <a:pt x="2502" y="1282"/>
                </a:lnTo>
                <a:lnTo>
                  <a:pt x="2496" y="1284"/>
                </a:lnTo>
                <a:lnTo>
                  <a:pt x="2496" y="1284"/>
                </a:lnTo>
                <a:lnTo>
                  <a:pt x="2488" y="1284"/>
                </a:lnTo>
                <a:lnTo>
                  <a:pt x="2488" y="1284"/>
                </a:lnTo>
                <a:lnTo>
                  <a:pt x="2486" y="1286"/>
                </a:lnTo>
                <a:lnTo>
                  <a:pt x="2486" y="1288"/>
                </a:lnTo>
                <a:lnTo>
                  <a:pt x="2486" y="1288"/>
                </a:lnTo>
                <a:lnTo>
                  <a:pt x="2488" y="1290"/>
                </a:lnTo>
                <a:lnTo>
                  <a:pt x="2490" y="1290"/>
                </a:lnTo>
                <a:lnTo>
                  <a:pt x="2490" y="1290"/>
                </a:lnTo>
                <a:lnTo>
                  <a:pt x="2498" y="1288"/>
                </a:lnTo>
                <a:lnTo>
                  <a:pt x="2498" y="1288"/>
                </a:lnTo>
                <a:lnTo>
                  <a:pt x="2508" y="1282"/>
                </a:lnTo>
                <a:lnTo>
                  <a:pt x="2508" y="1282"/>
                </a:lnTo>
                <a:lnTo>
                  <a:pt x="2510" y="1280"/>
                </a:lnTo>
                <a:lnTo>
                  <a:pt x="2514" y="1280"/>
                </a:lnTo>
                <a:lnTo>
                  <a:pt x="2516" y="1280"/>
                </a:lnTo>
                <a:lnTo>
                  <a:pt x="2516" y="1284"/>
                </a:lnTo>
                <a:lnTo>
                  <a:pt x="2516" y="1284"/>
                </a:lnTo>
                <a:lnTo>
                  <a:pt x="2528" y="1282"/>
                </a:lnTo>
                <a:lnTo>
                  <a:pt x="2528" y="1282"/>
                </a:lnTo>
                <a:lnTo>
                  <a:pt x="2536" y="1280"/>
                </a:lnTo>
                <a:lnTo>
                  <a:pt x="2544" y="1282"/>
                </a:lnTo>
                <a:lnTo>
                  <a:pt x="2556" y="1286"/>
                </a:lnTo>
                <a:lnTo>
                  <a:pt x="2556" y="1286"/>
                </a:lnTo>
                <a:lnTo>
                  <a:pt x="2560" y="1288"/>
                </a:lnTo>
                <a:lnTo>
                  <a:pt x="2562" y="1290"/>
                </a:lnTo>
                <a:lnTo>
                  <a:pt x="2562" y="1292"/>
                </a:lnTo>
                <a:lnTo>
                  <a:pt x="2560" y="1296"/>
                </a:lnTo>
                <a:lnTo>
                  <a:pt x="2560" y="1296"/>
                </a:lnTo>
                <a:lnTo>
                  <a:pt x="2568" y="1298"/>
                </a:lnTo>
                <a:lnTo>
                  <a:pt x="2568" y="1298"/>
                </a:lnTo>
                <a:lnTo>
                  <a:pt x="2572" y="1298"/>
                </a:lnTo>
                <a:lnTo>
                  <a:pt x="2576" y="1296"/>
                </a:lnTo>
                <a:lnTo>
                  <a:pt x="2576" y="1296"/>
                </a:lnTo>
                <a:lnTo>
                  <a:pt x="2578" y="1294"/>
                </a:lnTo>
                <a:lnTo>
                  <a:pt x="2576" y="1290"/>
                </a:lnTo>
                <a:lnTo>
                  <a:pt x="2576" y="1290"/>
                </a:lnTo>
                <a:lnTo>
                  <a:pt x="2570" y="1284"/>
                </a:lnTo>
                <a:lnTo>
                  <a:pt x="2564" y="1280"/>
                </a:lnTo>
                <a:lnTo>
                  <a:pt x="2564" y="1280"/>
                </a:lnTo>
                <a:lnTo>
                  <a:pt x="2560" y="1276"/>
                </a:lnTo>
                <a:lnTo>
                  <a:pt x="2558" y="1276"/>
                </a:lnTo>
                <a:lnTo>
                  <a:pt x="2550" y="1278"/>
                </a:lnTo>
                <a:lnTo>
                  <a:pt x="2550" y="1278"/>
                </a:lnTo>
                <a:lnTo>
                  <a:pt x="2550" y="1278"/>
                </a:lnTo>
                <a:lnTo>
                  <a:pt x="2550" y="1278"/>
                </a:lnTo>
                <a:lnTo>
                  <a:pt x="2546" y="1274"/>
                </a:lnTo>
                <a:lnTo>
                  <a:pt x="2546" y="1272"/>
                </a:lnTo>
                <a:lnTo>
                  <a:pt x="2552" y="1270"/>
                </a:lnTo>
                <a:lnTo>
                  <a:pt x="2562" y="1270"/>
                </a:lnTo>
                <a:lnTo>
                  <a:pt x="2562" y="1270"/>
                </a:lnTo>
                <a:lnTo>
                  <a:pt x="2562" y="1264"/>
                </a:lnTo>
                <a:lnTo>
                  <a:pt x="2562" y="1264"/>
                </a:lnTo>
                <a:lnTo>
                  <a:pt x="2578" y="1262"/>
                </a:lnTo>
                <a:lnTo>
                  <a:pt x="2586" y="1262"/>
                </a:lnTo>
                <a:lnTo>
                  <a:pt x="2594" y="1264"/>
                </a:lnTo>
                <a:lnTo>
                  <a:pt x="2594" y="1264"/>
                </a:lnTo>
                <a:lnTo>
                  <a:pt x="2602" y="1262"/>
                </a:lnTo>
                <a:lnTo>
                  <a:pt x="2602" y="1262"/>
                </a:lnTo>
                <a:lnTo>
                  <a:pt x="2594" y="1258"/>
                </a:lnTo>
                <a:lnTo>
                  <a:pt x="2594" y="1258"/>
                </a:lnTo>
                <a:lnTo>
                  <a:pt x="2588" y="1256"/>
                </a:lnTo>
                <a:lnTo>
                  <a:pt x="2588" y="1256"/>
                </a:lnTo>
                <a:lnTo>
                  <a:pt x="2588" y="1254"/>
                </a:lnTo>
                <a:lnTo>
                  <a:pt x="2588" y="1254"/>
                </a:lnTo>
                <a:lnTo>
                  <a:pt x="2606" y="1256"/>
                </a:lnTo>
                <a:lnTo>
                  <a:pt x="2606" y="1256"/>
                </a:lnTo>
                <a:lnTo>
                  <a:pt x="2604" y="1262"/>
                </a:lnTo>
                <a:lnTo>
                  <a:pt x="2604" y="1262"/>
                </a:lnTo>
                <a:lnTo>
                  <a:pt x="2620" y="1264"/>
                </a:lnTo>
                <a:lnTo>
                  <a:pt x="2628" y="1266"/>
                </a:lnTo>
                <a:lnTo>
                  <a:pt x="2636" y="1264"/>
                </a:lnTo>
                <a:lnTo>
                  <a:pt x="2636" y="1264"/>
                </a:lnTo>
                <a:lnTo>
                  <a:pt x="2640" y="1264"/>
                </a:lnTo>
                <a:lnTo>
                  <a:pt x="2640" y="1264"/>
                </a:lnTo>
                <a:lnTo>
                  <a:pt x="2644" y="1266"/>
                </a:lnTo>
                <a:lnTo>
                  <a:pt x="2648" y="1264"/>
                </a:lnTo>
                <a:lnTo>
                  <a:pt x="2648" y="1264"/>
                </a:lnTo>
                <a:lnTo>
                  <a:pt x="2654" y="1262"/>
                </a:lnTo>
                <a:lnTo>
                  <a:pt x="2654" y="1262"/>
                </a:lnTo>
                <a:lnTo>
                  <a:pt x="2678" y="1262"/>
                </a:lnTo>
                <a:lnTo>
                  <a:pt x="2678" y="1262"/>
                </a:lnTo>
                <a:lnTo>
                  <a:pt x="2690" y="1262"/>
                </a:lnTo>
                <a:lnTo>
                  <a:pt x="2694" y="1262"/>
                </a:lnTo>
                <a:lnTo>
                  <a:pt x="2700" y="1264"/>
                </a:lnTo>
                <a:lnTo>
                  <a:pt x="2700" y="1264"/>
                </a:lnTo>
                <a:lnTo>
                  <a:pt x="2686" y="1274"/>
                </a:lnTo>
                <a:lnTo>
                  <a:pt x="2686" y="1274"/>
                </a:lnTo>
                <a:lnTo>
                  <a:pt x="2682" y="1270"/>
                </a:lnTo>
                <a:lnTo>
                  <a:pt x="2676" y="1270"/>
                </a:lnTo>
                <a:lnTo>
                  <a:pt x="2670" y="1268"/>
                </a:lnTo>
                <a:lnTo>
                  <a:pt x="2666" y="1266"/>
                </a:lnTo>
                <a:lnTo>
                  <a:pt x="2666" y="1266"/>
                </a:lnTo>
                <a:lnTo>
                  <a:pt x="2660" y="1266"/>
                </a:lnTo>
                <a:lnTo>
                  <a:pt x="2658" y="1268"/>
                </a:lnTo>
                <a:lnTo>
                  <a:pt x="2656" y="1270"/>
                </a:lnTo>
                <a:lnTo>
                  <a:pt x="2656" y="1270"/>
                </a:lnTo>
                <a:lnTo>
                  <a:pt x="2664" y="1272"/>
                </a:lnTo>
                <a:lnTo>
                  <a:pt x="2670" y="1274"/>
                </a:lnTo>
                <a:lnTo>
                  <a:pt x="2670" y="1274"/>
                </a:lnTo>
                <a:lnTo>
                  <a:pt x="2674" y="1280"/>
                </a:lnTo>
                <a:lnTo>
                  <a:pt x="2678" y="1282"/>
                </a:lnTo>
                <a:lnTo>
                  <a:pt x="2686" y="1282"/>
                </a:lnTo>
                <a:lnTo>
                  <a:pt x="2692" y="1282"/>
                </a:lnTo>
                <a:lnTo>
                  <a:pt x="2692" y="1282"/>
                </a:lnTo>
                <a:lnTo>
                  <a:pt x="2712" y="1280"/>
                </a:lnTo>
                <a:lnTo>
                  <a:pt x="2732" y="1280"/>
                </a:lnTo>
                <a:lnTo>
                  <a:pt x="2732" y="1280"/>
                </a:lnTo>
                <a:lnTo>
                  <a:pt x="2740" y="1280"/>
                </a:lnTo>
                <a:lnTo>
                  <a:pt x="2744" y="1278"/>
                </a:lnTo>
                <a:lnTo>
                  <a:pt x="2744" y="1278"/>
                </a:lnTo>
                <a:lnTo>
                  <a:pt x="2746" y="1274"/>
                </a:lnTo>
                <a:lnTo>
                  <a:pt x="2748" y="1272"/>
                </a:lnTo>
                <a:lnTo>
                  <a:pt x="2758" y="1272"/>
                </a:lnTo>
                <a:lnTo>
                  <a:pt x="2758" y="1272"/>
                </a:lnTo>
                <a:lnTo>
                  <a:pt x="2778" y="1272"/>
                </a:lnTo>
                <a:lnTo>
                  <a:pt x="2778" y="1272"/>
                </a:lnTo>
                <a:lnTo>
                  <a:pt x="2780" y="1272"/>
                </a:lnTo>
                <a:lnTo>
                  <a:pt x="2780" y="1272"/>
                </a:lnTo>
                <a:lnTo>
                  <a:pt x="2788" y="1274"/>
                </a:lnTo>
                <a:lnTo>
                  <a:pt x="2794" y="1274"/>
                </a:lnTo>
                <a:lnTo>
                  <a:pt x="2800" y="1272"/>
                </a:lnTo>
                <a:lnTo>
                  <a:pt x="2806" y="1272"/>
                </a:lnTo>
                <a:lnTo>
                  <a:pt x="2806" y="1272"/>
                </a:lnTo>
                <a:lnTo>
                  <a:pt x="2804" y="1268"/>
                </a:lnTo>
                <a:lnTo>
                  <a:pt x="2804" y="1268"/>
                </a:lnTo>
                <a:lnTo>
                  <a:pt x="2812" y="1266"/>
                </a:lnTo>
                <a:lnTo>
                  <a:pt x="2818" y="1264"/>
                </a:lnTo>
                <a:lnTo>
                  <a:pt x="2822" y="1260"/>
                </a:lnTo>
                <a:lnTo>
                  <a:pt x="2824" y="1256"/>
                </a:lnTo>
                <a:lnTo>
                  <a:pt x="2824" y="1256"/>
                </a:lnTo>
                <a:lnTo>
                  <a:pt x="2812" y="1252"/>
                </a:lnTo>
                <a:lnTo>
                  <a:pt x="2812" y="1252"/>
                </a:lnTo>
                <a:lnTo>
                  <a:pt x="2814" y="1242"/>
                </a:lnTo>
                <a:lnTo>
                  <a:pt x="2814" y="1242"/>
                </a:lnTo>
                <a:lnTo>
                  <a:pt x="2844" y="1232"/>
                </a:lnTo>
                <a:lnTo>
                  <a:pt x="2844" y="1232"/>
                </a:lnTo>
                <a:lnTo>
                  <a:pt x="2858" y="1230"/>
                </a:lnTo>
                <a:lnTo>
                  <a:pt x="2858" y="1230"/>
                </a:lnTo>
                <a:lnTo>
                  <a:pt x="2874" y="1230"/>
                </a:lnTo>
                <a:lnTo>
                  <a:pt x="2874" y="1230"/>
                </a:lnTo>
                <a:lnTo>
                  <a:pt x="2868" y="1218"/>
                </a:lnTo>
                <a:lnTo>
                  <a:pt x="2868" y="1218"/>
                </a:lnTo>
                <a:lnTo>
                  <a:pt x="2894" y="1216"/>
                </a:lnTo>
                <a:lnTo>
                  <a:pt x="2894" y="1216"/>
                </a:lnTo>
                <a:lnTo>
                  <a:pt x="2898" y="1210"/>
                </a:lnTo>
                <a:lnTo>
                  <a:pt x="2898" y="1210"/>
                </a:lnTo>
                <a:lnTo>
                  <a:pt x="2892" y="1208"/>
                </a:lnTo>
                <a:lnTo>
                  <a:pt x="2892" y="1208"/>
                </a:lnTo>
                <a:lnTo>
                  <a:pt x="2904" y="1208"/>
                </a:lnTo>
                <a:lnTo>
                  <a:pt x="2908" y="1210"/>
                </a:lnTo>
                <a:lnTo>
                  <a:pt x="2912" y="1212"/>
                </a:lnTo>
                <a:lnTo>
                  <a:pt x="2912" y="1212"/>
                </a:lnTo>
                <a:lnTo>
                  <a:pt x="2914" y="1214"/>
                </a:lnTo>
                <a:lnTo>
                  <a:pt x="2920" y="1216"/>
                </a:lnTo>
                <a:lnTo>
                  <a:pt x="2920" y="1216"/>
                </a:lnTo>
                <a:lnTo>
                  <a:pt x="2928" y="1216"/>
                </a:lnTo>
                <a:lnTo>
                  <a:pt x="2936" y="1216"/>
                </a:lnTo>
                <a:lnTo>
                  <a:pt x="2944" y="1216"/>
                </a:lnTo>
                <a:lnTo>
                  <a:pt x="2952" y="1216"/>
                </a:lnTo>
                <a:lnTo>
                  <a:pt x="2952" y="1216"/>
                </a:lnTo>
                <a:lnTo>
                  <a:pt x="2952" y="1210"/>
                </a:lnTo>
                <a:lnTo>
                  <a:pt x="2952" y="1206"/>
                </a:lnTo>
                <a:lnTo>
                  <a:pt x="2956" y="1204"/>
                </a:lnTo>
                <a:lnTo>
                  <a:pt x="2964" y="1202"/>
                </a:lnTo>
                <a:lnTo>
                  <a:pt x="2964" y="1202"/>
                </a:lnTo>
                <a:lnTo>
                  <a:pt x="2964" y="1196"/>
                </a:lnTo>
                <a:lnTo>
                  <a:pt x="2992" y="1196"/>
                </a:lnTo>
                <a:lnTo>
                  <a:pt x="2992" y="1196"/>
                </a:lnTo>
                <a:lnTo>
                  <a:pt x="2990" y="1192"/>
                </a:lnTo>
                <a:lnTo>
                  <a:pt x="2990" y="1192"/>
                </a:lnTo>
                <a:lnTo>
                  <a:pt x="2986" y="1188"/>
                </a:lnTo>
                <a:lnTo>
                  <a:pt x="2986" y="1188"/>
                </a:lnTo>
                <a:lnTo>
                  <a:pt x="2980" y="1188"/>
                </a:lnTo>
                <a:lnTo>
                  <a:pt x="2972" y="1188"/>
                </a:lnTo>
                <a:lnTo>
                  <a:pt x="2966" y="1188"/>
                </a:lnTo>
                <a:lnTo>
                  <a:pt x="2962" y="1190"/>
                </a:lnTo>
                <a:lnTo>
                  <a:pt x="2962" y="1190"/>
                </a:lnTo>
                <a:lnTo>
                  <a:pt x="2958" y="1194"/>
                </a:lnTo>
                <a:lnTo>
                  <a:pt x="2952" y="1196"/>
                </a:lnTo>
                <a:lnTo>
                  <a:pt x="2942" y="1198"/>
                </a:lnTo>
                <a:lnTo>
                  <a:pt x="2942" y="1198"/>
                </a:lnTo>
                <a:lnTo>
                  <a:pt x="2922" y="1200"/>
                </a:lnTo>
                <a:lnTo>
                  <a:pt x="2922" y="1200"/>
                </a:lnTo>
                <a:lnTo>
                  <a:pt x="2920" y="1198"/>
                </a:lnTo>
                <a:lnTo>
                  <a:pt x="2918" y="1196"/>
                </a:lnTo>
                <a:lnTo>
                  <a:pt x="2910" y="1194"/>
                </a:lnTo>
                <a:lnTo>
                  <a:pt x="2910" y="1194"/>
                </a:lnTo>
                <a:lnTo>
                  <a:pt x="2912" y="1190"/>
                </a:lnTo>
                <a:lnTo>
                  <a:pt x="2916" y="1188"/>
                </a:lnTo>
                <a:lnTo>
                  <a:pt x="2926" y="1182"/>
                </a:lnTo>
                <a:lnTo>
                  <a:pt x="2926" y="1182"/>
                </a:lnTo>
                <a:lnTo>
                  <a:pt x="2922" y="1178"/>
                </a:lnTo>
                <a:lnTo>
                  <a:pt x="2922" y="1178"/>
                </a:lnTo>
                <a:lnTo>
                  <a:pt x="2936" y="1174"/>
                </a:lnTo>
                <a:lnTo>
                  <a:pt x="2936" y="1174"/>
                </a:lnTo>
                <a:lnTo>
                  <a:pt x="2934" y="1172"/>
                </a:lnTo>
                <a:lnTo>
                  <a:pt x="2934" y="1172"/>
                </a:lnTo>
                <a:lnTo>
                  <a:pt x="2934" y="1168"/>
                </a:lnTo>
                <a:lnTo>
                  <a:pt x="2934" y="1166"/>
                </a:lnTo>
                <a:lnTo>
                  <a:pt x="2942" y="1166"/>
                </a:lnTo>
                <a:lnTo>
                  <a:pt x="2942" y="1166"/>
                </a:lnTo>
                <a:lnTo>
                  <a:pt x="2950" y="1166"/>
                </a:lnTo>
                <a:lnTo>
                  <a:pt x="2950" y="1166"/>
                </a:lnTo>
                <a:lnTo>
                  <a:pt x="2954" y="1162"/>
                </a:lnTo>
                <a:lnTo>
                  <a:pt x="2954" y="1162"/>
                </a:lnTo>
                <a:lnTo>
                  <a:pt x="2962" y="1164"/>
                </a:lnTo>
                <a:lnTo>
                  <a:pt x="2964" y="1166"/>
                </a:lnTo>
                <a:lnTo>
                  <a:pt x="2968" y="1164"/>
                </a:lnTo>
                <a:lnTo>
                  <a:pt x="2968" y="1164"/>
                </a:lnTo>
                <a:lnTo>
                  <a:pt x="2972" y="1164"/>
                </a:lnTo>
                <a:lnTo>
                  <a:pt x="2976" y="1164"/>
                </a:lnTo>
                <a:lnTo>
                  <a:pt x="2982" y="1168"/>
                </a:lnTo>
                <a:lnTo>
                  <a:pt x="2982" y="1168"/>
                </a:lnTo>
                <a:lnTo>
                  <a:pt x="2990" y="1158"/>
                </a:lnTo>
                <a:lnTo>
                  <a:pt x="2990" y="1158"/>
                </a:lnTo>
                <a:lnTo>
                  <a:pt x="2998" y="1158"/>
                </a:lnTo>
                <a:lnTo>
                  <a:pt x="3006" y="1158"/>
                </a:lnTo>
                <a:lnTo>
                  <a:pt x="3014" y="1160"/>
                </a:lnTo>
                <a:lnTo>
                  <a:pt x="3020" y="1164"/>
                </a:lnTo>
                <a:lnTo>
                  <a:pt x="3020" y="1164"/>
                </a:lnTo>
                <a:lnTo>
                  <a:pt x="3026" y="1166"/>
                </a:lnTo>
                <a:lnTo>
                  <a:pt x="3032" y="1166"/>
                </a:lnTo>
                <a:lnTo>
                  <a:pt x="3032" y="1166"/>
                </a:lnTo>
                <a:lnTo>
                  <a:pt x="3038" y="1166"/>
                </a:lnTo>
                <a:lnTo>
                  <a:pt x="3042" y="1166"/>
                </a:lnTo>
                <a:lnTo>
                  <a:pt x="3042" y="1166"/>
                </a:lnTo>
                <a:lnTo>
                  <a:pt x="3048" y="1168"/>
                </a:lnTo>
                <a:lnTo>
                  <a:pt x="3056" y="1170"/>
                </a:lnTo>
                <a:lnTo>
                  <a:pt x="3068" y="1166"/>
                </a:lnTo>
                <a:lnTo>
                  <a:pt x="3068" y="1166"/>
                </a:lnTo>
                <a:lnTo>
                  <a:pt x="3072" y="1164"/>
                </a:lnTo>
                <a:lnTo>
                  <a:pt x="3074" y="1158"/>
                </a:lnTo>
                <a:lnTo>
                  <a:pt x="3080" y="1140"/>
                </a:lnTo>
                <a:lnTo>
                  <a:pt x="3080" y="1140"/>
                </a:lnTo>
                <a:lnTo>
                  <a:pt x="3070" y="1142"/>
                </a:lnTo>
                <a:lnTo>
                  <a:pt x="3070" y="1142"/>
                </a:lnTo>
                <a:lnTo>
                  <a:pt x="3070" y="1140"/>
                </a:lnTo>
                <a:lnTo>
                  <a:pt x="3068" y="1138"/>
                </a:lnTo>
                <a:lnTo>
                  <a:pt x="3064" y="1138"/>
                </a:lnTo>
                <a:lnTo>
                  <a:pt x="3058" y="1136"/>
                </a:lnTo>
                <a:lnTo>
                  <a:pt x="3054" y="1134"/>
                </a:lnTo>
                <a:lnTo>
                  <a:pt x="3054" y="1134"/>
                </a:lnTo>
                <a:lnTo>
                  <a:pt x="3048" y="1126"/>
                </a:lnTo>
                <a:lnTo>
                  <a:pt x="3040" y="1120"/>
                </a:lnTo>
                <a:lnTo>
                  <a:pt x="3040" y="1120"/>
                </a:lnTo>
                <a:lnTo>
                  <a:pt x="3044" y="1118"/>
                </a:lnTo>
                <a:lnTo>
                  <a:pt x="3044" y="1114"/>
                </a:lnTo>
                <a:lnTo>
                  <a:pt x="3046" y="1110"/>
                </a:lnTo>
                <a:lnTo>
                  <a:pt x="3054" y="1108"/>
                </a:lnTo>
                <a:lnTo>
                  <a:pt x="3054" y="1108"/>
                </a:lnTo>
                <a:lnTo>
                  <a:pt x="3052" y="1122"/>
                </a:lnTo>
                <a:lnTo>
                  <a:pt x="3052" y="1122"/>
                </a:lnTo>
                <a:lnTo>
                  <a:pt x="3060" y="1122"/>
                </a:lnTo>
                <a:lnTo>
                  <a:pt x="3066" y="1120"/>
                </a:lnTo>
                <a:lnTo>
                  <a:pt x="3066" y="1120"/>
                </a:lnTo>
                <a:lnTo>
                  <a:pt x="3076" y="1116"/>
                </a:lnTo>
                <a:lnTo>
                  <a:pt x="3076" y="1116"/>
                </a:lnTo>
                <a:lnTo>
                  <a:pt x="3076" y="1116"/>
                </a:lnTo>
                <a:lnTo>
                  <a:pt x="3076" y="1116"/>
                </a:lnTo>
                <a:lnTo>
                  <a:pt x="3076" y="1116"/>
                </a:lnTo>
                <a:lnTo>
                  <a:pt x="3076" y="1116"/>
                </a:lnTo>
                <a:lnTo>
                  <a:pt x="3076" y="1116"/>
                </a:lnTo>
                <a:lnTo>
                  <a:pt x="3076" y="1116"/>
                </a:lnTo>
                <a:lnTo>
                  <a:pt x="3076" y="1116"/>
                </a:lnTo>
                <a:lnTo>
                  <a:pt x="3078" y="1116"/>
                </a:lnTo>
                <a:lnTo>
                  <a:pt x="3078" y="1116"/>
                </a:lnTo>
                <a:lnTo>
                  <a:pt x="3078" y="1120"/>
                </a:lnTo>
                <a:lnTo>
                  <a:pt x="3078" y="1122"/>
                </a:lnTo>
                <a:lnTo>
                  <a:pt x="3084" y="1124"/>
                </a:lnTo>
                <a:lnTo>
                  <a:pt x="3084" y="1124"/>
                </a:lnTo>
                <a:lnTo>
                  <a:pt x="3086" y="1124"/>
                </a:lnTo>
                <a:lnTo>
                  <a:pt x="3086" y="1124"/>
                </a:lnTo>
                <a:lnTo>
                  <a:pt x="3088" y="1116"/>
                </a:lnTo>
                <a:lnTo>
                  <a:pt x="3088" y="1116"/>
                </a:lnTo>
                <a:lnTo>
                  <a:pt x="3084" y="1116"/>
                </a:lnTo>
                <a:lnTo>
                  <a:pt x="3084" y="1116"/>
                </a:lnTo>
                <a:lnTo>
                  <a:pt x="3084" y="1116"/>
                </a:lnTo>
                <a:lnTo>
                  <a:pt x="3084" y="1116"/>
                </a:lnTo>
                <a:lnTo>
                  <a:pt x="3084" y="1116"/>
                </a:lnTo>
                <a:lnTo>
                  <a:pt x="3084" y="1116"/>
                </a:lnTo>
                <a:lnTo>
                  <a:pt x="3088" y="1116"/>
                </a:lnTo>
                <a:lnTo>
                  <a:pt x="3088" y="1116"/>
                </a:lnTo>
                <a:lnTo>
                  <a:pt x="3088" y="1114"/>
                </a:lnTo>
                <a:lnTo>
                  <a:pt x="3074" y="1114"/>
                </a:lnTo>
                <a:lnTo>
                  <a:pt x="3074" y="1114"/>
                </a:lnTo>
                <a:lnTo>
                  <a:pt x="3074" y="1114"/>
                </a:lnTo>
                <a:lnTo>
                  <a:pt x="3088" y="1114"/>
                </a:lnTo>
                <a:lnTo>
                  <a:pt x="3088" y="1114"/>
                </a:lnTo>
                <a:lnTo>
                  <a:pt x="3090" y="1102"/>
                </a:lnTo>
                <a:lnTo>
                  <a:pt x="3090" y="1102"/>
                </a:lnTo>
                <a:lnTo>
                  <a:pt x="3088" y="1100"/>
                </a:lnTo>
                <a:lnTo>
                  <a:pt x="3088" y="1100"/>
                </a:lnTo>
                <a:lnTo>
                  <a:pt x="3092" y="1100"/>
                </a:lnTo>
                <a:lnTo>
                  <a:pt x="3092" y="1100"/>
                </a:lnTo>
                <a:lnTo>
                  <a:pt x="3094" y="1088"/>
                </a:lnTo>
                <a:lnTo>
                  <a:pt x="3094" y="1088"/>
                </a:lnTo>
                <a:lnTo>
                  <a:pt x="3084" y="1090"/>
                </a:lnTo>
                <a:lnTo>
                  <a:pt x="3084" y="1090"/>
                </a:lnTo>
                <a:lnTo>
                  <a:pt x="3084" y="1090"/>
                </a:lnTo>
                <a:lnTo>
                  <a:pt x="3084" y="1090"/>
                </a:lnTo>
                <a:lnTo>
                  <a:pt x="3094" y="1088"/>
                </a:lnTo>
                <a:lnTo>
                  <a:pt x="3094" y="1088"/>
                </a:lnTo>
                <a:lnTo>
                  <a:pt x="3102" y="1066"/>
                </a:lnTo>
                <a:lnTo>
                  <a:pt x="3106" y="1060"/>
                </a:lnTo>
                <a:lnTo>
                  <a:pt x="3108" y="1058"/>
                </a:lnTo>
                <a:lnTo>
                  <a:pt x="3108" y="1058"/>
                </a:lnTo>
                <a:lnTo>
                  <a:pt x="3108" y="1058"/>
                </a:lnTo>
                <a:lnTo>
                  <a:pt x="3110" y="1056"/>
                </a:lnTo>
                <a:lnTo>
                  <a:pt x="3110" y="1056"/>
                </a:lnTo>
                <a:lnTo>
                  <a:pt x="3106" y="1058"/>
                </a:lnTo>
                <a:lnTo>
                  <a:pt x="3106" y="1058"/>
                </a:lnTo>
                <a:lnTo>
                  <a:pt x="3102" y="1058"/>
                </a:lnTo>
                <a:lnTo>
                  <a:pt x="3102" y="1058"/>
                </a:lnTo>
                <a:lnTo>
                  <a:pt x="3106" y="1054"/>
                </a:lnTo>
                <a:lnTo>
                  <a:pt x="3110" y="1052"/>
                </a:lnTo>
                <a:lnTo>
                  <a:pt x="3110" y="1052"/>
                </a:lnTo>
                <a:lnTo>
                  <a:pt x="3112" y="1054"/>
                </a:lnTo>
                <a:lnTo>
                  <a:pt x="3112" y="1054"/>
                </a:lnTo>
                <a:lnTo>
                  <a:pt x="3114" y="1052"/>
                </a:lnTo>
                <a:lnTo>
                  <a:pt x="3114" y="1052"/>
                </a:lnTo>
                <a:lnTo>
                  <a:pt x="3114" y="1056"/>
                </a:lnTo>
                <a:lnTo>
                  <a:pt x="3114" y="1056"/>
                </a:lnTo>
                <a:lnTo>
                  <a:pt x="3114" y="1056"/>
                </a:lnTo>
                <a:lnTo>
                  <a:pt x="3114" y="1056"/>
                </a:lnTo>
                <a:lnTo>
                  <a:pt x="3114" y="1056"/>
                </a:lnTo>
                <a:lnTo>
                  <a:pt x="3114" y="1056"/>
                </a:lnTo>
                <a:lnTo>
                  <a:pt x="3108" y="1090"/>
                </a:lnTo>
                <a:lnTo>
                  <a:pt x="3108" y="1090"/>
                </a:lnTo>
                <a:lnTo>
                  <a:pt x="3108" y="1090"/>
                </a:lnTo>
                <a:lnTo>
                  <a:pt x="3108" y="1090"/>
                </a:lnTo>
                <a:lnTo>
                  <a:pt x="3108" y="1090"/>
                </a:lnTo>
                <a:lnTo>
                  <a:pt x="3108" y="1090"/>
                </a:lnTo>
                <a:lnTo>
                  <a:pt x="3108" y="1090"/>
                </a:lnTo>
                <a:lnTo>
                  <a:pt x="3108" y="1090"/>
                </a:lnTo>
                <a:lnTo>
                  <a:pt x="3106" y="1104"/>
                </a:lnTo>
                <a:lnTo>
                  <a:pt x="3106" y="1104"/>
                </a:lnTo>
                <a:lnTo>
                  <a:pt x="3108" y="1104"/>
                </a:lnTo>
                <a:lnTo>
                  <a:pt x="3108" y="1104"/>
                </a:lnTo>
                <a:lnTo>
                  <a:pt x="3118" y="1104"/>
                </a:lnTo>
                <a:lnTo>
                  <a:pt x="3118" y="1104"/>
                </a:lnTo>
                <a:lnTo>
                  <a:pt x="3122" y="1142"/>
                </a:lnTo>
                <a:lnTo>
                  <a:pt x="3122" y="1142"/>
                </a:lnTo>
                <a:lnTo>
                  <a:pt x="3120" y="1142"/>
                </a:lnTo>
                <a:lnTo>
                  <a:pt x="3120" y="1142"/>
                </a:lnTo>
                <a:lnTo>
                  <a:pt x="3112" y="1142"/>
                </a:lnTo>
                <a:lnTo>
                  <a:pt x="3104" y="1140"/>
                </a:lnTo>
                <a:lnTo>
                  <a:pt x="3104" y="1140"/>
                </a:lnTo>
                <a:lnTo>
                  <a:pt x="3100" y="1138"/>
                </a:lnTo>
                <a:lnTo>
                  <a:pt x="3100" y="1138"/>
                </a:lnTo>
                <a:lnTo>
                  <a:pt x="3096" y="1148"/>
                </a:lnTo>
                <a:lnTo>
                  <a:pt x="3094" y="1152"/>
                </a:lnTo>
                <a:lnTo>
                  <a:pt x="3094" y="1152"/>
                </a:lnTo>
                <a:lnTo>
                  <a:pt x="3102" y="1150"/>
                </a:lnTo>
                <a:lnTo>
                  <a:pt x="3102" y="1150"/>
                </a:lnTo>
                <a:lnTo>
                  <a:pt x="3102" y="1150"/>
                </a:lnTo>
                <a:lnTo>
                  <a:pt x="3102" y="1150"/>
                </a:lnTo>
                <a:lnTo>
                  <a:pt x="3106" y="1146"/>
                </a:lnTo>
                <a:lnTo>
                  <a:pt x="3106" y="1146"/>
                </a:lnTo>
                <a:lnTo>
                  <a:pt x="3102" y="1144"/>
                </a:lnTo>
                <a:lnTo>
                  <a:pt x="3102" y="1144"/>
                </a:lnTo>
                <a:lnTo>
                  <a:pt x="3102" y="1144"/>
                </a:lnTo>
                <a:lnTo>
                  <a:pt x="3102" y="1144"/>
                </a:lnTo>
                <a:lnTo>
                  <a:pt x="3106" y="1146"/>
                </a:lnTo>
                <a:lnTo>
                  <a:pt x="3106" y="1146"/>
                </a:lnTo>
                <a:lnTo>
                  <a:pt x="3102" y="1150"/>
                </a:lnTo>
                <a:lnTo>
                  <a:pt x="3102" y="1150"/>
                </a:lnTo>
                <a:lnTo>
                  <a:pt x="3118" y="1146"/>
                </a:lnTo>
                <a:lnTo>
                  <a:pt x="3118" y="1146"/>
                </a:lnTo>
                <a:lnTo>
                  <a:pt x="3122" y="1146"/>
                </a:lnTo>
                <a:lnTo>
                  <a:pt x="3122" y="1146"/>
                </a:lnTo>
                <a:lnTo>
                  <a:pt x="3124" y="1166"/>
                </a:lnTo>
                <a:lnTo>
                  <a:pt x="3126" y="1172"/>
                </a:lnTo>
                <a:lnTo>
                  <a:pt x="3128" y="1174"/>
                </a:lnTo>
                <a:lnTo>
                  <a:pt x="3128" y="1174"/>
                </a:lnTo>
                <a:lnTo>
                  <a:pt x="3136" y="1172"/>
                </a:lnTo>
                <a:lnTo>
                  <a:pt x="3146" y="1172"/>
                </a:lnTo>
                <a:lnTo>
                  <a:pt x="3146" y="1172"/>
                </a:lnTo>
                <a:lnTo>
                  <a:pt x="3164" y="1172"/>
                </a:lnTo>
                <a:lnTo>
                  <a:pt x="3180" y="1168"/>
                </a:lnTo>
                <a:lnTo>
                  <a:pt x="3180" y="1168"/>
                </a:lnTo>
                <a:lnTo>
                  <a:pt x="3196" y="1166"/>
                </a:lnTo>
                <a:lnTo>
                  <a:pt x="3212" y="1170"/>
                </a:lnTo>
                <a:lnTo>
                  <a:pt x="3212" y="1170"/>
                </a:lnTo>
                <a:lnTo>
                  <a:pt x="3222" y="1174"/>
                </a:lnTo>
                <a:lnTo>
                  <a:pt x="3232" y="1178"/>
                </a:lnTo>
                <a:lnTo>
                  <a:pt x="3232" y="1178"/>
                </a:lnTo>
                <a:lnTo>
                  <a:pt x="3236" y="1180"/>
                </a:lnTo>
                <a:lnTo>
                  <a:pt x="3242" y="1180"/>
                </a:lnTo>
                <a:lnTo>
                  <a:pt x="3246" y="1182"/>
                </a:lnTo>
                <a:lnTo>
                  <a:pt x="3250" y="1184"/>
                </a:lnTo>
                <a:lnTo>
                  <a:pt x="3250" y="1184"/>
                </a:lnTo>
                <a:lnTo>
                  <a:pt x="3268" y="1176"/>
                </a:lnTo>
                <a:lnTo>
                  <a:pt x="3268" y="1176"/>
                </a:lnTo>
                <a:lnTo>
                  <a:pt x="3254" y="1170"/>
                </a:lnTo>
                <a:lnTo>
                  <a:pt x="3240" y="1168"/>
                </a:lnTo>
                <a:lnTo>
                  <a:pt x="3240" y="1168"/>
                </a:lnTo>
                <a:lnTo>
                  <a:pt x="3232" y="1170"/>
                </a:lnTo>
                <a:lnTo>
                  <a:pt x="3230" y="1168"/>
                </a:lnTo>
                <a:lnTo>
                  <a:pt x="3226" y="1166"/>
                </a:lnTo>
                <a:lnTo>
                  <a:pt x="3226" y="1166"/>
                </a:lnTo>
                <a:lnTo>
                  <a:pt x="3250" y="1160"/>
                </a:lnTo>
                <a:lnTo>
                  <a:pt x="3250" y="1160"/>
                </a:lnTo>
                <a:lnTo>
                  <a:pt x="3258" y="1156"/>
                </a:lnTo>
                <a:lnTo>
                  <a:pt x="3250" y="1156"/>
                </a:lnTo>
                <a:lnTo>
                  <a:pt x="3250" y="1156"/>
                </a:lnTo>
                <a:lnTo>
                  <a:pt x="3250" y="1152"/>
                </a:lnTo>
                <a:lnTo>
                  <a:pt x="3250" y="1150"/>
                </a:lnTo>
                <a:lnTo>
                  <a:pt x="3254" y="1148"/>
                </a:lnTo>
                <a:lnTo>
                  <a:pt x="3260" y="1146"/>
                </a:lnTo>
                <a:lnTo>
                  <a:pt x="3262" y="1144"/>
                </a:lnTo>
                <a:lnTo>
                  <a:pt x="3262" y="1144"/>
                </a:lnTo>
                <a:lnTo>
                  <a:pt x="3252" y="1136"/>
                </a:lnTo>
                <a:lnTo>
                  <a:pt x="3252" y="1136"/>
                </a:lnTo>
                <a:lnTo>
                  <a:pt x="3258" y="1136"/>
                </a:lnTo>
                <a:lnTo>
                  <a:pt x="3264" y="1130"/>
                </a:lnTo>
                <a:lnTo>
                  <a:pt x="3264" y="1130"/>
                </a:lnTo>
                <a:lnTo>
                  <a:pt x="3248" y="1130"/>
                </a:lnTo>
                <a:lnTo>
                  <a:pt x="3248" y="1130"/>
                </a:lnTo>
                <a:lnTo>
                  <a:pt x="3270" y="1128"/>
                </a:lnTo>
                <a:lnTo>
                  <a:pt x="3270" y="1128"/>
                </a:lnTo>
                <a:lnTo>
                  <a:pt x="3270" y="1134"/>
                </a:lnTo>
                <a:lnTo>
                  <a:pt x="3270" y="1134"/>
                </a:lnTo>
                <a:lnTo>
                  <a:pt x="3268" y="1134"/>
                </a:lnTo>
                <a:lnTo>
                  <a:pt x="3268" y="1134"/>
                </a:lnTo>
                <a:lnTo>
                  <a:pt x="3270" y="1136"/>
                </a:lnTo>
                <a:lnTo>
                  <a:pt x="3270" y="1136"/>
                </a:lnTo>
                <a:lnTo>
                  <a:pt x="3266" y="1138"/>
                </a:lnTo>
                <a:lnTo>
                  <a:pt x="3266" y="1138"/>
                </a:lnTo>
                <a:lnTo>
                  <a:pt x="3266" y="1140"/>
                </a:lnTo>
                <a:lnTo>
                  <a:pt x="3266" y="1142"/>
                </a:lnTo>
                <a:lnTo>
                  <a:pt x="3266" y="1142"/>
                </a:lnTo>
                <a:lnTo>
                  <a:pt x="3264" y="1150"/>
                </a:lnTo>
                <a:lnTo>
                  <a:pt x="3258" y="1156"/>
                </a:lnTo>
                <a:lnTo>
                  <a:pt x="3272" y="1156"/>
                </a:lnTo>
                <a:lnTo>
                  <a:pt x="3272" y="1156"/>
                </a:lnTo>
                <a:lnTo>
                  <a:pt x="3270" y="1136"/>
                </a:lnTo>
                <a:lnTo>
                  <a:pt x="3270" y="1136"/>
                </a:lnTo>
                <a:lnTo>
                  <a:pt x="3280" y="1138"/>
                </a:lnTo>
                <a:lnTo>
                  <a:pt x="3284" y="1138"/>
                </a:lnTo>
                <a:lnTo>
                  <a:pt x="3286" y="1136"/>
                </a:lnTo>
                <a:lnTo>
                  <a:pt x="3286" y="1136"/>
                </a:lnTo>
                <a:lnTo>
                  <a:pt x="3290" y="1134"/>
                </a:lnTo>
                <a:lnTo>
                  <a:pt x="3294" y="1134"/>
                </a:lnTo>
                <a:lnTo>
                  <a:pt x="3304" y="1136"/>
                </a:lnTo>
                <a:lnTo>
                  <a:pt x="3304" y="1136"/>
                </a:lnTo>
                <a:lnTo>
                  <a:pt x="3302" y="1132"/>
                </a:lnTo>
                <a:lnTo>
                  <a:pt x="3302" y="1132"/>
                </a:lnTo>
                <a:lnTo>
                  <a:pt x="3314" y="1134"/>
                </a:lnTo>
                <a:lnTo>
                  <a:pt x="3314" y="1134"/>
                </a:lnTo>
                <a:lnTo>
                  <a:pt x="3310" y="1126"/>
                </a:lnTo>
                <a:lnTo>
                  <a:pt x="3310" y="1126"/>
                </a:lnTo>
                <a:lnTo>
                  <a:pt x="3310" y="1126"/>
                </a:lnTo>
                <a:lnTo>
                  <a:pt x="3310" y="1126"/>
                </a:lnTo>
                <a:lnTo>
                  <a:pt x="3322" y="1126"/>
                </a:lnTo>
                <a:lnTo>
                  <a:pt x="3322" y="1126"/>
                </a:lnTo>
                <a:lnTo>
                  <a:pt x="3332" y="1126"/>
                </a:lnTo>
                <a:lnTo>
                  <a:pt x="3338" y="1130"/>
                </a:lnTo>
                <a:lnTo>
                  <a:pt x="3338" y="1130"/>
                </a:lnTo>
                <a:lnTo>
                  <a:pt x="3338" y="1130"/>
                </a:lnTo>
                <a:lnTo>
                  <a:pt x="3338" y="1130"/>
                </a:lnTo>
                <a:lnTo>
                  <a:pt x="3336" y="1132"/>
                </a:lnTo>
                <a:lnTo>
                  <a:pt x="3336" y="1132"/>
                </a:lnTo>
                <a:lnTo>
                  <a:pt x="3334" y="1136"/>
                </a:lnTo>
                <a:lnTo>
                  <a:pt x="3336" y="1140"/>
                </a:lnTo>
                <a:lnTo>
                  <a:pt x="3342" y="1142"/>
                </a:lnTo>
                <a:lnTo>
                  <a:pt x="3348" y="1144"/>
                </a:lnTo>
                <a:lnTo>
                  <a:pt x="3348" y="1144"/>
                </a:lnTo>
                <a:lnTo>
                  <a:pt x="3368" y="1148"/>
                </a:lnTo>
                <a:lnTo>
                  <a:pt x="3378" y="1148"/>
                </a:lnTo>
                <a:lnTo>
                  <a:pt x="3388" y="1148"/>
                </a:lnTo>
                <a:lnTo>
                  <a:pt x="3388" y="1148"/>
                </a:lnTo>
                <a:lnTo>
                  <a:pt x="3400" y="1144"/>
                </a:lnTo>
                <a:lnTo>
                  <a:pt x="3404" y="1140"/>
                </a:lnTo>
                <a:lnTo>
                  <a:pt x="3406" y="1136"/>
                </a:lnTo>
                <a:lnTo>
                  <a:pt x="3406" y="1136"/>
                </a:lnTo>
                <a:lnTo>
                  <a:pt x="3396" y="1132"/>
                </a:lnTo>
                <a:lnTo>
                  <a:pt x="3396" y="1132"/>
                </a:lnTo>
                <a:lnTo>
                  <a:pt x="3408" y="1126"/>
                </a:lnTo>
                <a:lnTo>
                  <a:pt x="3408" y="1126"/>
                </a:lnTo>
                <a:lnTo>
                  <a:pt x="3412" y="1130"/>
                </a:lnTo>
                <a:lnTo>
                  <a:pt x="3412" y="1130"/>
                </a:lnTo>
                <a:lnTo>
                  <a:pt x="3420" y="1130"/>
                </a:lnTo>
                <a:lnTo>
                  <a:pt x="3420" y="1130"/>
                </a:lnTo>
                <a:lnTo>
                  <a:pt x="3422" y="1130"/>
                </a:lnTo>
                <a:lnTo>
                  <a:pt x="3422" y="1130"/>
                </a:lnTo>
                <a:lnTo>
                  <a:pt x="3422" y="1132"/>
                </a:lnTo>
                <a:lnTo>
                  <a:pt x="3422" y="1132"/>
                </a:lnTo>
                <a:lnTo>
                  <a:pt x="3420" y="1136"/>
                </a:lnTo>
                <a:lnTo>
                  <a:pt x="3420" y="1136"/>
                </a:lnTo>
                <a:lnTo>
                  <a:pt x="3422" y="1136"/>
                </a:lnTo>
                <a:lnTo>
                  <a:pt x="3422" y="1136"/>
                </a:lnTo>
                <a:lnTo>
                  <a:pt x="3422" y="1156"/>
                </a:lnTo>
                <a:lnTo>
                  <a:pt x="3422" y="1156"/>
                </a:lnTo>
                <a:lnTo>
                  <a:pt x="3414" y="1158"/>
                </a:lnTo>
                <a:lnTo>
                  <a:pt x="3414" y="1158"/>
                </a:lnTo>
                <a:lnTo>
                  <a:pt x="3408" y="1160"/>
                </a:lnTo>
                <a:lnTo>
                  <a:pt x="3406" y="1164"/>
                </a:lnTo>
                <a:lnTo>
                  <a:pt x="3406" y="1164"/>
                </a:lnTo>
                <a:lnTo>
                  <a:pt x="3422" y="1168"/>
                </a:lnTo>
                <a:lnTo>
                  <a:pt x="3422" y="1168"/>
                </a:lnTo>
                <a:lnTo>
                  <a:pt x="3422" y="1168"/>
                </a:lnTo>
                <a:lnTo>
                  <a:pt x="3424" y="1166"/>
                </a:lnTo>
                <a:lnTo>
                  <a:pt x="3424" y="1166"/>
                </a:lnTo>
                <a:lnTo>
                  <a:pt x="3424" y="1178"/>
                </a:lnTo>
                <a:lnTo>
                  <a:pt x="3426" y="1184"/>
                </a:lnTo>
                <a:lnTo>
                  <a:pt x="3426" y="1184"/>
                </a:lnTo>
                <a:lnTo>
                  <a:pt x="3434" y="1178"/>
                </a:lnTo>
                <a:lnTo>
                  <a:pt x="3436" y="1176"/>
                </a:lnTo>
                <a:lnTo>
                  <a:pt x="3436" y="1172"/>
                </a:lnTo>
                <a:lnTo>
                  <a:pt x="3446" y="1172"/>
                </a:lnTo>
                <a:lnTo>
                  <a:pt x="3446" y="1172"/>
                </a:lnTo>
                <a:lnTo>
                  <a:pt x="3450" y="1176"/>
                </a:lnTo>
                <a:lnTo>
                  <a:pt x="3450" y="1176"/>
                </a:lnTo>
                <a:lnTo>
                  <a:pt x="3452" y="1132"/>
                </a:lnTo>
                <a:lnTo>
                  <a:pt x="3452" y="1132"/>
                </a:lnTo>
                <a:lnTo>
                  <a:pt x="3454" y="1130"/>
                </a:lnTo>
                <a:lnTo>
                  <a:pt x="3454" y="1130"/>
                </a:lnTo>
                <a:lnTo>
                  <a:pt x="3452" y="1130"/>
                </a:lnTo>
                <a:lnTo>
                  <a:pt x="3452" y="1130"/>
                </a:lnTo>
                <a:lnTo>
                  <a:pt x="3452" y="1120"/>
                </a:lnTo>
                <a:lnTo>
                  <a:pt x="3452" y="1120"/>
                </a:lnTo>
                <a:lnTo>
                  <a:pt x="3444" y="1124"/>
                </a:lnTo>
                <a:lnTo>
                  <a:pt x="3444" y="1124"/>
                </a:lnTo>
                <a:lnTo>
                  <a:pt x="3442" y="1124"/>
                </a:lnTo>
                <a:lnTo>
                  <a:pt x="3442" y="1124"/>
                </a:lnTo>
                <a:lnTo>
                  <a:pt x="3428" y="1118"/>
                </a:lnTo>
                <a:lnTo>
                  <a:pt x="3428" y="1118"/>
                </a:lnTo>
                <a:lnTo>
                  <a:pt x="3446" y="1114"/>
                </a:lnTo>
                <a:lnTo>
                  <a:pt x="3446" y="1114"/>
                </a:lnTo>
                <a:lnTo>
                  <a:pt x="3446" y="1114"/>
                </a:lnTo>
                <a:lnTo>
                  <a:pt x="3440" y="1110"/>
                </a:lnTo>
                <a:lnTo>
                  <a:pt x="3438" y="1108"/>
                </a:lnTo>
                <a:lnTo>
                  <a:pt x="3434" y="1108"/>
                </a:lnTo>
                <a:lnTo>
                  <a:pt x="3428" y="1112"/>
                </a:lnTo>
                <a:lnTo>
                  <a:pt x="3428" y="1112"/>
                </a:lnTo>
                <a:lnTo>
                  <a:pt x="3422" y="1116"/>
                </a:lnTo>
                <a:lnTo>
                  <a:pt x="3422" y="1116"/>
                </a:lnTo>
                <a:lnTo>
                  <a:pt x="3422" y="1116"/>
                </a:lnTo>
                <a:lnTo>
                  <a:pt x="3422" y="1116"/>
                </a:lnTo>
                <a:lnTo>
                  <a:pt x="3422" y="1100"/>
                </a:lnTo>
                <a:lnTo>
                  <a:pt x="3422" y="1100"/>
                </a:lnTo>
                <a:lnTo>
                  <a:pt x="3408" y="1102"/>
                </a:lnTo>
                <a:lnTo>
                  <a:pt x="3396" y="1102"/>
                </a:lnTo>
                <a:lnTo>
                  <a:pt x="3396" y="1102"/>
                </a:lnTo>
                <a:lnTo>
                  <a:pt x="3390" y="1102"/>
                </a:lnTo>
                <a:lnTo>
                  <a:pt x="3384" y="1102"/>
                </a:lnTo>
                <a:lnTo>
                  <a:pt x="3384" y="1102"/>
                </a:lnTo>
                <a:lnTo>
                  <a:pt x="3380" y="1102"/>
                </a:lnTo>
                <a:lnTo>
                  <a:pt x="3380" y="1102"/>
                </a:lnTo>
                <a:lnTo>
                  <a:pt x="3346" y="1104"/>
                </a:lnTo>
                <a:lnTo>
                  <a:pt x="3346" y="1104"/>
                </a:lnTo>
                <a:lnTo>
                  <a:pt x="3346" y="1102"/>
                </a:lnTo>
                <a:lnTo>
                  <a:pt x="3346" y="1102"/>
                </a:lnTo>
                <a:lnTo>
                  <a:pt x="3340" y="1102"/>
                </a:lnTo>
                <a:lnTo>
                  <a:pt x="3336" y="1104"/>
                </a:lnTo>
                <a:lnTo>
                  <a:pt x="3336" y="1104"/>
                </a:lnTo>
                <a:lnTo>
                  <a:pt x="3336" y="1104"/>
                </a:lnTo>
                <a:lnTo>
                  <a:pt x="3336" y="1104"/>
                </a:lnTo>
                <a:lnTo>
                  <a:pt x="3336" y="1104"/>
                </a:lnTo>
                <a:lnTo>
                  <a:pt x="3336" y="1104"/>
                </a:lnTo>
                <a:lnTo>
                  <a:pt x="3334" y="1106"/>
                </a:lnTo>
                <a:lnTo>
                  <a:pt x="3334" y="1106"/>
                </a:lnTo>
                <a:lnTo>
                  <a:pt x="3338" y="1106"/>
                </a:lnTo>
                <a:lnTo>
                  <a:pt x="3338" y="1106"/>
                </a:lnTo>
                <a:lnTo>
                  <a:pt x="3336" y="1108"/>
                </a:lnTo>
                <a:lnTo>
                  <a:pt x="3334" y="1110"/>
                </a:lnTo>
                <a:lnTo>
                  <a:pt x="3328" y="1114"/>
                </a:lnTo>
                <a:lnTo>
                  <a:pt x="3340" y="1114"/>
                </a:lnTo>
                <a:lnTo>
                  <a:pt x="3340" y="1114"/>
                </a:lnTo>
                <a:lnTo>
                  <a:pt x="3344" y="1120"/>
                </a:lnTo>
                <a:lnTo>
                  <a:pt x="3346" y="1124"/>
                </a:lnTo>
                <a:lnTo>
                  <a:pt x="3344" y="1128"/>
                </a:lnTo>
                <a:lnTo>
                  <a:pt x="3344" y="1128"/>
                </a:lnTo>
                <a:lnTo>
                  <a:pt x="3336" y="1124"/>
                </a:lnTo>
                <a:lnTo>
                  <a:pt x="3330" y="1122"/>
                </a:lnTo>
                <a:lnTo>
                  <a:pt x="3330" y="1122"/>
                </a:lnTo>
                <a:lnTo>
                  <a:pt x="3320" y="1120"/>
                </a:lnTo>
                <a:lnTo>
                  <a:pt x="3320" y="1120"/>
                </a:lnTo>
                <a:lnTo>
                  <a:pt x="3312" y="1116"/>
                </a:lnTo>
                <a:lnTo>
                  <a:pt x="3312" y="1116"/>
                </a:lnTo>
                <a:lnTo>
                  <a:pt x="3302" y="1122"/>
                </a:lnTo>
                <a:lnTo>
                  <a:pt x="3302" y="1122"/>
                </a:lnTo>
                <a:lnTo>
                  <a:pt x="3306" y="1124"/>
                </a:lnTo>
                <a:lnTo>
                  <a:pt x="3306" y="1124"/>
                </a:lnTo>
                <a:lnTo>
                  <a:pt x="3306" y="1124"/>
                </a:lnTo>
                <a:lnTo>
                  <a:pt x="3306" y="1124"/>
                </a:lnTo>
                <a:lnTo>
                  <a:pt x="3300" y="1124"/>
                </a:lnTo>
                <a:lnTo>
                  <a:pt x="3292" y="1124"/>
                </a:lnTo>
                <a:lnTo>
                  <a:pt x="3292" y="1124"/>
                </a:lnTo>
                <a:lnTo>
                  <a:pt x="3288" y="1124"/>
                </a:lnTo>
                <a:lnTo>
                  <a:pt x="3288" y="1124"/>
                </a:lnTo>
                <a:lnTo>
                  <a:pt x="3282" y="1120"/>
                </a:lnTo>
                <a:lnTo>
                  <a:pt x="3282" y="1120"/>
                </a:lnTo>
                <a:lnTo>
                  <a:pt x="3286" y="1120"/>
                </a:lnTo>
                <a:lnTo>
                  <a:pt x="3286" y="1120"/>
                </a:lnTo>
                <a:lnTo>
                  <a:pt x="3290" y="1118"/>
                </a:lnTo>
                <a:lnTo>
                  <a:pt x="3294" y="1114"/>
                </a:lnTo>
                <a:lnTo>
                  <a:pt x="3294" y="1114"/>
                </a:lnTo>
                <a:lnTo>
                  <a:pt x="3282" y="1114"/>
                </a:lnTo>
                <a:lnTo>
                  <a:pt x="3282" y="1114"/>
                </a:lnTo>
                <a:lnTo>
                  <a:pt x="3278" y="1116"/>
                </a:lnTo>
                <a:lnTo>
                  <a:pt x="3278" y="1118"/>
                </a:lnTo>
                <a:lnTo>
                  <a:pt x="3278" y="1120"/>
                </a:lnTo>
                <a:lnTo>
                  <a:pt x="3270" y="1120"/>
                </a:lnTo>
                <a:lnTo>
                  <a:pt x="3270" y="1120"/>
                </a:lnTo>
                <a:lnTo>
                  <a:pt x="3270" y="1126"/>
                </a:lnTo>
                <a:lnTo>
                  <a:pt x="3270" y="1126"/>
                </a:lnTo>
                <a:lnTo>
                  <a:pt x="3250" y="1124"/>
                </a:lnTo>
                <a:lnTo>
                  <a:pt x="3250" y="1124"/>
                </a:lnTo>
                <a:lnTo>
                  <a:pt x="3246" y="1122"/>
                </a:lnTo>
                <a:lnTo>
                  <a:pt x="3246" y="1122"/>
                </a:lnTo>
                <a:lnTo>
                  <a:pt x="3242" y="1128"/>
                </a:lnTo>
                <a:lnTo>
                  <a:pt x="3242" y="1128"/>
                </a:lnTo>
                <a:lnTo>
                  <a:pt x="3242" y="1128"/>
                </a:lnTo>
                <a:lnTo>
                  <a:pt x="3242" y="1128"/>
                </a:lnTo>
                <a:lnTo>
                  <a:pt x="3246" y="1122"/>
                </a:lnTo>
                <a:lnTo>
                  <a:pt x="3246" y="1122"/>
                </a:lnTo>
                <a:lnTo>
                  <a:pt x="3242" y="1122"/>
                </a:lnTo>
                <a:lnTo>
                  <a:pt x="3242" y="1122"/>
                </a:lnTo>
                <a:lnTo>
                  <a:pt x="3244" y="1122"/>
                </a:lnTo>
                <a:lnTo>
                  <a:pt x="3244" y="1122"/>
                </a:lnTo>
                <a:lnTo>
                  <a:pt x="3246" y="1122"/>
                </a:lnTo>
                <a:lnTo>
                  <a:pt x="3246" y="1122"/>
                </a:lnTo>
                <a:lnTo>
                  <a:pt x="3246" y="1122"/>
                </a:lnTo>
                <a:lnTo>
                  <a:pt x="3246" y="1122"/>
                </a:lnTo>
                <a:lnTo>
                  <a:pt x="3246" y="1122"/>
                </a:lnTo>
                <a:lnTo>
                  <a:pt x="3246" y="1122"/>
                </a:lnTo>
                <a:lnTo>
                  <a:pt x="3246" y="1122"/>
                </a:lnTo>
                <a:lnTo>
                  <a:pt x="3246" y="1122"/>
                </a:lnTo>
                <a:lnTo>
                  <a:pt x="3244" y="1122"/>
                </a:lnTo>
                <a:lnTo>
                  <a:pt x="3244" y="1122"/>
                </a:lnTo>
                <a:lnTo>
                  <a:pt x="3244" y="1122"/>
                </a:lnTo>
                <a:lnTo>
                  <a:pt x="3244" y="1122"/>
                </a:lnTo>
                <a:lnTo>
                  <a:pt x="3242" y="1120"/>
                </a:lnTo>
                <a:lnTo>
                  <a:pt x="3242" y="1120"/>
                </a:lnTo>
                <a:lnTo>
                  <a:pt x="3238" y="1122"/>
                </a:lnTo>
                <a:lnTo>
                  <a:pt x="3238" y="1122"/>
                </a:lnTo>
                <a:lnTo>
                  <a:pt x="3238" y="1122"/>
                </a:lnTo>
                <a:lnTo>
                  <a:pt x="3238" y="1122"/>
                </a:lnTo>
                <a:lnTo>
                  <a:pt x="3232" y="1122"/>
                </a:lnTo>
                <a:lnTo>
                  <a:pt x="3232" y="1122"/>
                </a:lnTo>
                <a:lnTo>
                  <a:pt x="3232" y="1122"/>
                </a:lnTo>
                <a:lnTo>
                  <a:pt x="3232" y="1122"/>
                </a:lnTo>
                <a:lnTo>
                  <a:pt x="3238" y="1122"/>
                </a:lnTo>
                <a:lnTo>
                  <a:pt x="3238" y="1122"/>
                </a:lnTo>
                <a:lnTo>
                  <a:pt x="3238" y="1122"/>
                </a:lnTo>
                <a:lnTo>
                  <a:pt x="3238" y="1122"/>
                </a:lnTo>
                <a:lnTo>
                  <a:pt x="3224" y="1122"/>
                </a:lnTo>
                <a:lnTo>
                  <a:pt x="3208" y="1124"/>
                </a:lnTo>
                <a:lnTo>
                  <a:pt x="3208" y="1124"/>
                </a:lnTo>
                <a:lnTo>
                  <a:pt x="3218" y="1128"/>
                </a:lnTo>
                <a:lnTo>
                  <a:pt x="3218" y="1128"/>
                </a:lnTo>
                <a:lnTo>
                  <a:pt x="3208" y="1128"/>
                </a:lnTo>
                <a:lnTo>
                  <a:pt x="3202" y="1130"/>
                </a:lnTo>
                <a:lnTo>
                  <a:pt x="3198" y="1132"/>
                </a:lnTo>
                <a:lnTo>
                  <a:pt x="3198" y="1132"/>
                </a:lnTo>
                <a:lnTo>
                  <a:pt x="3198" y="1132"/>
                </a:lnTo>
                <a:lnTo>
                  <a:pt x="3198" y="1132"/>
                </a:lnTo>
                <a:lnTo>
                  <a:pt x="3198" y="1130"/>
                </a:lnTo>
                <a:lnTo>
                  <a:pt x="3198" y="1130"/>
                </a:lnTo>
                <a:lnTo>
                  <a:pt x="3202" y="1126"/>
                </a:lnTo>
                <a:lnTo>
                  <a:pt x="3204" y="1124"/>
                </a:lnTo>
                <a:lnTo>
                  <a:pt x="3204" y="1124"/>
                </a:lnTo>
                <a:lnTo>
                  <a:pt x="3196" y="1122"/>
                </a:lnTo>
                <a:lnTo>
                  <a:pt x="3196" y="1122"/>
                </a:lnTo>
                <a:lnTo>
                  <a:pt x="3196" y="1116"/>
                </a:lnTo>
                <a:lnTo>
                  <a:pt x="3196" y="1116"/>
                </a:lnTo>
                <a:lnTo>
                  <a:pt x="3202" y="1116"/>
                </a:lnTo>
                <a:lnTo>
                  <a:pt x="3202" y="1116"/>
                </a:lnTo>
                <a:lnTo>
                  <a:pt x="3210" y="1116"/>
                </a:lnTo>
                <a:lnTo>
                  <a:pt x="3218" y="1118"/>
                </a:lnTo>
                <a:lnTo>
                  <a:pt x="3218" y="1118"/>
                </a:lnTo>
                <a:lnTo>
                  <a:pt x="3214" y="1116"/>
                </a:lnTo>
                <a:lnTo>
                  <a:pt x="3210" y="1114"/>
                </a:lnTo>
                <a:lnTo>
                  <a:pt x="3202" y="1112"/>
                </a:lnTo>
                <a:lnTo>
                  <a:pt x="3202" y="1112"/>
                </a:lnTo>
                <a:lnTo>
                  <a:pt x="3196" y="1112"/>
                </a:lnTo>
                <a:lnTo>
                  <a:pt x="3196" y="1112"/>
                </a:lnTo>
                <a:lnTo>
                  <a:pt x="3196" y="1104"/>
                </a:lnTo>
                <a:lnTo>
                  <a:pt x="3196" y="1104"/>
                </a:lnTo>
                <a:lnTo>
                  <a:pt x="3202" y="1104"/>
                </a:lnTo>
                <a:lnTo>
                  <a:pt x="3202" y="1104"/>
                </a:lnTo>
                <a:lnTo>
                  <a:pt x="3200" y="1104"/>
                </a:lnTo>
                <a:lnTo>
                  <a:pt x="3196" y="1102"/>
                </a:lnTo>
                <a:lnTo>
                  <a:pt x="3196" y="1102"/>
                </a:lnTo>
                <a:lnTo>
                  <a:pt x="3196" y="1096"/>
                </a:lnTo>
                <a:lnTo>
                  <a:pt x="3196" y="1096"/>
                </a:lnTo>
                <a:lnTo>
                  <a:pt x="3204" y="1096"/>
                </a:lnTo>
                <a:lnTo>
                  <a:pt x="3204" y="1096"/>
                </a:lnTo>
                <a:lnTo>
                  <a:pt x="3208" y="1096"/>
                </a:lnTo>
                <a:lnTo>
                  <a:pt x="3212" y="1092"/>
                </a:lnTo>
                <a:lnTo>
                  <a:pt x="3214" y="1090"/>
                </a:lnTo>
                <a:lnTo>
                  <a:pt x="3214" y="1086"/>
                </a:lnTo>
                <a:lnTo>
                  <a:pt x="3214" y="1086"/>
                </a:lnTo>
                <a:lnTo>
                  <a:pt x="3210" y="1080"/>
                </a:lnTo>
                <a:lnTo>
                  <a:pt x="3210" y="1080"/>
                </a:lnTo>
                <a:lnTo>
                  <a:pt x="3222" y="1080"/>
                </a:lnTo>
                <a:lnTo>
                  <a:pt x="3222" y="1080"/>
                </a:lnTo>
                <a:lnTo>
                  <a:pt x="3224" y="1076"/>
                </a:lnTo>
                <a:lnTo>
                  <a:pt x="3228" y="1074"/>
                </a:lnTo>
                <a:lnTo>
                  <a:pt x="3228" y="1074"/>
                </a:lnTo>
                <a:lnTo>
                  <a:pt x="3230" y="1074"/>
                </a:lnTo>
                <a:lnTo>
                  <a:pt x="3230" y="1074"/>
                </a:lnTo>
                <a:lnTo>
                  <a:pt x="3240" y="1072"/>
                </a:lnTo>
                <a:lnTo>
                  <a:pt x="3252" y="1074"/>
                </a:lnTo>
                <a:lnTo>
                  <a:pt x="3252" y="1074"/>
                </a:lnTo>
                <a:lnTo>
                  <a:pt x="3268" y="1072"/>
                </a:lnTo>
                <a:lnTo>
                  <a:pt x="3268" y="1072"/>
                </a:lnTo>
                <a:lnTo>
                  <a:pt x="3268" y="1072"/>
                </a:lnTo>
                <a:lnTo>
                  <a:pt x="3268" y="1072"/>
                </a:lnTo>
                <a:lnTo>
                  <a:pt x="3270" y="1078"/>
                </a:lnTo>
                <a:lnTo>
                  <a:pt x="3270" y="1078"/>
                </a:lnTo>
                <a:lnTo>
                  <a:pt x="3278" y="1080"/>
                </a:lnTo>
                <a:lnTo>
                  <a:pt x="3278" y="1080"/>
                </a:lnTo>
                <a:lnTo>
                  <a:pt x="3288" y="1080"/>
                </a:lnTo>
                <a:lnTo>
                  <a:pt x="3290" y="1080"/>
                </a:lnTo>
                <a:lnTo>
                  <a:pt x="3292" y="1076"/>
                </a:lnTo>
                <a:lnTo>
                  <a:pt x="3292" y="1076"/>
                </a:lnTo>
                <a:lnTo>
                  <a:pt x="3294" y="1072"/>
                </a:lnTo>
                <a:lnTo>
                  <a:pt x="3294" y="1072"/>
                </a:lnTo>
                <a:lnTo>
                  <a:pt x="3298" y="1072"/>
                </a:lnTo>
                <a:lnTo>
                  <a:pt x="3298" y="1072"/>
                </a:lnTo>
                <a:lnTo>
                  <a:pt x="3302" y="1072"/>
                </a:lnTo>
                <a:lnTo>
                  <a:pt x="3304" y="1076"/>
                </a:lnTo>
                <a:lnTo>
                  <a:pt x="3304" y="1076"/>
                </a:lnTo>
                <a:lnTo>
                  <a:pt x="3306" y="1078"/>
                </a:lnTo>
                <a:lnTo>
                  <a:pt x="3306" y="1078"/>
                </a:lnTo>
                <a:lnTo>
                  <a:pt x="3312" y="1076"/>
                </a:lnTo>
                <a:lnTo>
                  <a:pt x="3318" y="1074"/>
                </a:lnTo>
                <a:lnTo>
                  <a:pt x="3318" y="1074"/>
                </a:lnTo>
                <a:lnTo>
                  <a:pt x="3326" y="1072"/>
                </a:lnTo>
                <a:lnTo>
                  <a:pt x="3330" y="1068"/>
                </a:lnTo>
                <a:lnTo>
                  <a:pt x="3330" y="1068"/>
                </a:lnTo>
                <a:lnTo>
                  <a:pt x="3334" y="1068"/>
                </a:lnTo>
                <a:lnTo>
                  <a:pt x="3334" y="1066"/>
                </a:lnTo>
                <a:lnTo>
                  <a:pt x="3336" y="1062"/>
                </a:lnTo>
                <a:lnTo>
                  <a:pt x="3336" y="1062"/>
                </a:lnTo>
                <a:lnTo>
                  <a:pt x="3326" y="1066"/>
                </a:lnTo>
                <a:lnTo>
                  <a:pt x="3326" y="1066"/>
                </a:lnTo>
                <a:lnTo>
                  <a:pt x="3324" y="1066"/>
                </a:lnTo>
                <a:lnTo>
                  <a:pt x="3324" y="1064"/>
                </a:lnTo>
                <a:lnTo>
                  <a:pt x="3326" y="1062"/>
                </a:lnTo>
                <a:lnTo>
                  <a:pt x="3326" y="1062"/>
                </a:lnTo>
                <a:lnTo>
                  <a:pt x="3342" y="1062"/>
                </a:lnTo>
                <a:lnTo>
                  <a:pt x="3342" y="1062"/>
                </a:lnTo>
                <a:lnTo>
                  <a:pt x="3354" y="1064"/>
                </a:lnTo>
                <a:lnTo>
                  <a:pt x="3354" y="1064"/>
                </a:lnTo>
                <a:lnTo>
                  <a:pt x="3354" y="1064"/>
                </a:lnTo>
                <a:lnTo>
                  <a:pt x="3354" y="1064"/>
                </a:lnTo>
                <a:lnTo>
                  <a:pt x="3342" y="1056"/>
                </a:lnTo>
                <a:lnTo>
                  <a:pt x="3330" y="1046"/>
                </a:lnTo>
                <a:lnTo>
                  <a:pt x="3330" y="1046"/>
                </a:lnTo>
                <a:lnTo>
                  <a:pt x="3324" y="1042"/>
                </a:lnTo>
                <a:lnTo>
                  <a:pt x="3316" y="1040"/>
                </a:lnTo>
                <a:lnTo>
                  <a:pt x="3316" y="1040"/>
                </a:lnTo>
                <a:lnTo>
                  <a:pt x="3314" y="1036"/>
                </a:lnTo>
                <a:lnTo>
                  <a:pt x="3310" y="1036"/>
                </a:lnTo>
                <a:lnTo>
                  <a:pt x="3302" y="1036"/>
                </a:lnTo>
                <a:lnTo>
                  <a:pt x="3302" y="1036"/>
                </a:lnTo>
                <a:lnTo>
                  <a:pt x="3276" y="1030"/>
                </a:lnTo>
                <a:lnTo>
                  <a:pt x="3276" y="1030"/>
                </a:lnTo>
                <a:lnTo>
                  <a:pt x="3274" y="1028"/>
                </a:lnTo>
                <a:lnTo>
                  <a:pt x="3270" y="1026"/>
                </a:lnTo>
                <a:lnTo>
                  <a:pt x="3270" y="1026"/>
                </a:lnTo>
                <a:lnTo>
                  <a:pt x="3284" y="1024"/>
                </a:lnTo>
                <a:lnTo>
                  <a:pt x="3284" y="1024"/>
                </a:lnTo>
                <a:lnTo>
                  <a:pt x="3288" y="1024"/>
                </a:lnTo>
                <a:lnTo>
                  <a:pt x="3290" y="1022"/>
                </a:lnTo>
                <a:lnTo>
                  <a:pt x="3290" y="1022"/>
                </a:lnTo>
                <a:lnTo>
                  <a:pt x="3342" y="1046"/>
                </a:lnTo>
                <a:lnTo>
                  <a:pt x="3360" y="1054"/>
                </a:lnTo>
                <a:lnTo>
                  <a:pt x="3370" y="1056"/>
                </a:lnTo>
                <a:lnTo>
                  <a:pt x="3370" y="1056"/>
                </a:lnTo>
                <a:lnTo>
                  <a:pt x="3370" y="1054"/>
                </a:lnTo>
                <a:lnTo>
                  <a:pt x="3372" y="1052"/>
                </a:lnTo>
                <a:lnTo>
                  <a:pt x="3380" y="1052"/>
                </a:lnTo>
                <a:lnTo>
                  <a:pt x="3380" y="1052"/>
                </a:lnTo>
                <a:lnTo>
                  <a:pt x="3376" y="1050"/>
                </a:lnTo>
                <a:lnTo>
                  <a:pt x="3374" y="1048"/>
                </a:lnTo>
                <a:lnTo>
                  <a:pt x="3374" y="1048"/>
                </a:lnTo>
                <a:lnTo>
                  <a:pt x="3378" y="1044"/>
                </a:lnTo>
                <a:lnTo>
                  <a:pt x="3378" y="1044"/>
                </a:lnTo>
                <a:lnTo>
                  <a:pt x="3364" y="1042"/>
                </a:lnTo>
                <a:lnTo>
                  <a:pt x="3364" y="1042"/>
                </a:lnTo>
                <a:lnTo>
                  <a:pt x="3364" y="1036"/>
                </a:lnTo>
                <a:lnTo>
                  <a:pt x="3364" y="1036"/>
                </a:lnTo>
                <a:lnTo>
                  <a:pt x="3332" y="1028"/>
                </a:lnTo>
                <a:lnTo>
                  <a:pt x="3332" y="1028"/>
                </a:lnTo>
                <a:lnTo>
                  <a:pt x="3330" y="1034"/>
                </a:lnTo>
                <a:lnTo>
                  <a:pt x="3328" y="1036"/>
                </a:lnTo>
                <a:lnTo>
                  <a:pt x="3328" y="1036"/>
                </a:lnTo>
                <a:lnTo>
                  <a:pt x="3326" y="1028"/>
                </a:lnTo>
                <a:lnTo>
                  <a:pt x="3326" y="1028"/>
                </a:lnTo>
                <a:lnTo>
                  <a:pt x="3314" y="1022"/>
                </a:lnTo>
                <a:lnTo>
                  <a:pt x="3314" y="1022"/>
                </a:lnTo>
                <a:lnTo>
                  <a:pt x="3324" y="1020"/>
                </a:lnTo>
                <a:lnTo>
                  <a:pt x="3324" y="1020"/>
                </a:lnTo>
                <a:lnTo>
                  <a:pt x="3326" y="1026"/>
                </a:lnTo>
                <a:lnTo>
                  <a:pt x="3326" y="1026"/>
                </a:lnTo>
                <a:lnTo>
                  <a:pt x="3326" y="1020"/>
                </a:lnTo>
                <a:lnTo>
                  <a:pt x="3326" y="1020"/>
                </a:lnTo>
                <a:lnTo>
                  <a:pt x="3334" y="1018"/>
                </a:lnTo>
                <a:lnTo>
                  <a:pt x="3334" y="1018"/>
                </a:lnTo>
                <a:lnTo>
                  <a:pt x="3332" y="1028"/>
                </a:lnTo>
                <a:lnTo>
                  <a:pt x="3332" y="1028"/>
                </a:lnTo>
                <a:lnTo>
                  <a:pt x="3356" y="1024"/>
                </a:lnTo>
                <a:lnTo>
                  <a:pt x="3356" y="1024"/>
                </a:lnTo>
                <a:lnTo>
                  <a:pt x="3356" y="1024"/>
                </a:lnTo>
                <a:lnTo>
                  <a:pt x="3356" y="1024"/>
                </a:lnTo>
                <a:lnTo>
                  <a:pt x="3356" y="1024"/>
                </a:lnTo>
                <a:lnTo>
                  <a:pt x="3356" y="1024"/>
                </a:lnTo>
                <a:lnTo>
                  <a:pt x="3358" y="1022"/>
                </a:lnTo>
                <a:lnTo>
                  <a:pt x="3358" y="1022"/>
                </a:lnTo>
                <a:lnTo>
                  <a:pt x="3366" y="1018"/>
                </a:lnTo>
                <a:lnTo>
                  <a:pt x="3366" y="1018"/>
                </a:lnTo>
                <a:lnTo>
                  <a:pt x="3382" y="1016"/>
                </a:lnTo>
                <a:lnTo>
                  <a:pt x="3398" y="1016"/>
                </a:lnTo>
                <a:lnTo>
                  <a:pt x="3398" y="1016"/>
                </a:lnTo>
                <a:lnTo>
                  <a:pt x="3404" y="1014"/>
                </a:lnTo>
                <a:lnTo>
                  <a:pt x="3404" y="1014"/>
                </a:lnTo>
                <a:lnTo>
                  <a:pt x="3394" y="1012"/>
                </a:lnTo>
                <a:lnTo>
                  <a:pt x="3386" y="1010"/>
                </a:lnTo>
                <a:lnTo>
                  <a:pt x="3386" y="1010"/>
                </a:lnTo>
                <a:lnTo>
                  <a:pt x="3380" y="1006"/>
                </a:lnTo>
                <a:lnTo>
                  <a:pt x="3374" y="1000"/>
                </a:lnTo>
                <a:lnTo>
                  <a:pt x="3374" y="1000"/>
                </a:lnTo>
                <a:lnTo>
                  <a:pt x="3378" y="998"/>
                </a:lnTo>
                <a:lnTo>
                  <a:pt x="3378" y="998"/>
                </a:lnTo>
                <a:lnTo>
                  <a:pt x="3378" y="998"/>
                </a:lnTo>
                <a:lnTo>
                  <a:pt x="3378" y="998"/>
                </a:lnTo>
                <a:lnTo>
                  <a:pt x="3378" y="998"/>
                </a:lnTo>
                <a:lnTo>
                  <a:pt x="3378" y="998"/>
                </a:lnTo>
                <a:lnTo>
                  <a:pt x="3386" y="996"/>
                </a:lnTo>
                <a:lnTo>
                  <a:pt x="3398" y="996"/>
                </a:lnTo>
                <a:lnTo>
                  <a:pt x="3398" y="996"/>
                </a:lnTo>
                <a:lnTo>
                  <a:pt x="3402" y="998"/>
                </a:lnTo>
                <a:lnTo>
                  <a:pt x="3402" y="998"/>
                </a:lnTo>
                <a:lnTo>
                  <a:pt x="3410" y="998"/>
                </a:lnTo>
                <a:lnTo>
                  <a:pt x="3412" y="1004"/>
                </a:lnTo>
                <a:lnTo>
                  <a:pt x="3412" y="1004"/>
                </a:lnTo>
                <a:lnTo>
                  <a:pt x="3422" y="1004"/>
                </a:lnTo>
                <a:lnTo>
                  <a:pt x="3422" y="1004"/>
                </a:lnTo>
                <a:lnTo>
                  <a:pt x="3424" y="1006"/>
                </a:lnTo>
                <a:lnTo>
                  <a:pt x="3424" y="1006"/>
                </a:lnTo>
                <a:lnTo>
                  <a:pt x="3406" y="1006"/>
                </a:lnTo>
                <a:lnTo>
                  <a:pt x="3406" y="1006"/>
                </a:lnTo>
                <a:lnTo>
                  <a:pt x="3420" y="1010"/>
                </a:lnTo>
                <a:lnTo>
                  <a:pt x="3420" y="1010"/>
                </a:lnTo>
                <a:lnTo>
                  <a:pt x="3416" y="1016"/>
                </a:lnTo>
                <a:lnTo>
                  <a:pt x="3416" y="1016"/>
                </a:lnTo>
                <a:lnTo>
                  <a:pt x="3422" y="1016"/>
                </a:lnTo>
                <a:lnTo>
                  <a:pt x="3422" y="1016"/>
                </a:lnTo>
                <a:lnTo>
                  <a:pt x="3420" y="1020"/>
                </a:lnTo>
                <a:lnTo>
                  <a:pt x="3420" y="1020"/>
                </a:lnTo>
                <a:lnTo>
                  <a:pt x="3400" y="1026"/>
                </a:lnTo>
                <a:lnTo>
                  <a:pt x="3396" y="1028"/>
                </a:lnTo>
                <a:lnTo>
                  <a:pt x="3394" y="1028"/>
                </a:lnTo>
                <a:lnTo>
                  <a:pt x="3394" y="1028"/>
                </a:lnTo>
                <a:lnTo>
                  <a:pt x="3404" y="1030"/>
                </a:lnTo>
                <a:lnTo>
                  <a:pt x="3408" y="1028"/>
                </a:lnTo>
                <a:lnTo>
                  <a:pt x="3412" y="1028"/>
                </a:lnTo>
                <a:lnTo>
                  <a:pt x="3412" y="1028"/>
                </a:lnTo>
                <a:lnTo>
                  <a:pt x="3418" y="1024"/>
                </a:lnTo>
                <a:lnTo>
                  <a:pt x="3418" y="1024"/>
                </a:lnTo>
                <a:lnTo>
                  <a:pt x="3416" y="1032"/>
                </a:lnTo>
                <a:lnTo>
                  <a:pt x="3416" y="1032"/>
                </a:lnTo>
                <a:lnTo>
                  <a:pt x="3424" y="1032"/>
                </a:lnTo>
                <a:lnTo>
                  <a:pt x="3426" y="1032"/>
                </a:lnTo>
                <a:lnTo>
                  <a:pt x="3428" y="1036"/>
                </a:lnTo>
                <a:lnTo>
                  <a:pt x="3428" y="1036"/>
                </a:lnTo>
                <a:lnTo>
                  <a:pt x="3410" y="1036"/>
                </a:lnTo>
                <a:lnTo>
                  <a:pt x="3410" y="1036"/>
                </a:lnTo>
                <a:lnTo>
                  <a:pt x="3412" y="1040"/>
                </a:lnTo>
                <a:lnTo>
                  <a:pt x="3416" y="1042"/>
                </a:lnTo>
                <a:lnTo>
                  <a:pt x="3424" y="1046"/>
                </a:lnTo>
                <a:lnTo>
                  <a:pt x="3424" y="1046"/>
                </a:lnTo>
                <a:lnTo>
                  <a:pt x="3442" y="1040"/>
                </a:lnTo>
                <a:lnTo>
                  <a:pt x="3442" y="1040"/>
                </a:lnTo>
                <a:lnTo>
                  <a:pt x="3440" y="1044"/>
                </a:lnTo>
                <a:lnTo>
                  <a:pt x="3440" y="1048"/>
                </a:lnTo>
                <a:lnTo>
                  <a:pt x="3440" y="1048"/>
                </a:lnTo>
                <a:lnTo>
                  <a:pt x="3436" y="1050"/>
                </a:lnTo>
                <a:lnTo>
                  <a:pt x="3436" y="1050"/>
                </a:lnTo>
                <a:lnTo>
                  <a:pt x="3434" y="1048"/>
                </a:lnTo>
                <a:lnTo>
                  <a:pt x="3434" y="1048"/>
                </a:lnTo>
                <a:lnTo>
                  <a:pt x="3430" y="1050"/>
                </a:lnTo>
                <a:lnTo>
                  <a:pt x="3430" y="1050"/>
                </a:lnTo>
                <a:lnTo>
                  <a:pt x="3426" y="1050"/>
                </a:lnTo>
                <a:lnTo>
                  <a:pt x="3426" y="1050"/>
                </a:lnTo>
                <a:lnTo>
                  <a:pt x="3424" y="1050"/>
                </a:lnTo>
                <a:lnTo>
                  <a:pt x="3424" y="1050"/>
                </a:lnTo>
                <a:lnTo>
                  <a:pt x="3418" y="1050"/>
                </a:lnTo>
                <a:lnTo>
                  <a:pt x="3418" y="1050"/>
                </a:lnTo>
                <a:lnTo>
                  <a:pt x="3410" y="1052"/>
                </a:lnTo>
                <a:lnTo>
                  <a:pt x="3410" y="1052"/>
                </a:lnTo>
                <a:lnTo>
                  <a:pt x="3386" y="1052"/>
                </a:lnTo>
                <a:lnTo>
                  <a:pt x="3386" y="1052"/>
                </a:lnTo>
                <a:lnTo>
                  <a:pt x="3386" y="1054"/>
                </a:lnTo>
                <a:lnTo>
                  <a:pt x="3386" y="1054"/>
                </a:lnTo>
                <a:lnTo>
                  <a:pt x="3408" y="1052"/>
                </a:lnTo>
                <a:lnTo>
                  <a:pt x="3408" y="1052"/>
                </a:lnTo>
                <a:lnTo>
                  <a:pt x="3404" y="1054"/>
                </a:lnTo>
                <a:lnTo>
                  <a:pt x="3404" y="1054"/>
                </a:lnTo>
                <a:lnTo>
                  <a:pt x="3404" y="1056"/>
                </a:lnTo>
                <a:lnTo>
                  <a:pt x="3406" y="1058"/>
                </a:lnTo>
                <a:lnTo>
                  <a:pt x="3408" y="1062"/>
                </a:lnTo>
                <a:lnTo>
                  <a:pt x="3408" y="1062"/>
                </a:lnTo>
                <a:lnTo>
                  <a:pt x="3414" y="1068"/>
                </a:lnTo>
                <a:lnTo>
                  <a:pt x="3424" y="1072"/>
                </a:lnTo>
                <a:lnTo>
                  <a:pt x="3424" y="1072"/>
                </a:lnTo>
                <a:lnTo>
                  <a:pt x="3420" y="1076"/>
                </a:lnTo>
                <a:lnTo>
                  <a:pt x="3414" y="1080"/>
                </a:lnTo>
                <a:lnTo>
                  <a:pt x="3408" y="1082"/>
                </a:lnTo>
                <a:lnTo>
                  <a:pt x="3402" y="1082"/>
                </a:lnTo>
                <a:lnTo>
                  <a:pt x="3402" y="1082"/>
                </a:lnTo>
                <a:lnTo>
                  <a:pt x="3390" y="1082"/>
                </a:lnTo>
                <a:lnTo>
                  <a:pt x="3378" y="1086"/>
                </a:lnTo>
                <a:lnTo>
                  <a:pt x="3378" y="1086"/>
                </a:lnTo>
                <a:lnTo>
                  <a:pt x="3370" y="1080"/>
                </a:lnTo>
                <a:lnTo>
                  <a:pt x="3370" y="1080"/>
                </a:lnTo>
                <a:lnTo>
                  <a:pt x="3374" y="1076"/>
                </a:lnTo>
                <a:lnTo>
                  <a:pt x="3376" y="1076"/>
                </a:lnTo>
                <a:lnTo>
                  <a:pt x="3384" y="1074"/>
                </a:lnTo>
                <a:lnTo>
                  <a:pt x="3392" y="1074"/>
                </a:lnTo>
                <a:lnTo>
                  <a:pt x="3398" y="1074"/>
                </a:lnTo>
                <a:lnTo>
                  <a:pt x="3398" y="1074"/>
                </a:lnTo>
                <a:lnTo>
                  <a:pt x="3394" y="1070"/>
                </a:lnTo>
                <a:lnTo>
                  <a:pt x="3388" y="1068"/>
                </a:lnTo>
                <a:lnTo>
                  <a:pt x="3376" y="1066"/>
                </a:lnTo>
                <a:lnTo>
                  <a:pt x="3376" y="1066"/>
                </a:lnTo>
                <a:lnTo>
                  <a:pt x="3372" y="1066"/>
                </a:lnTo>
                <a:lnTo>
                  <a:pt x="3368" y="1068"/>
                </a:lnTo>
                <a:lnTo>
                  <a:pt x="3368" y="1068"/>
                </a:lnTo>
                <a:lnTo>
                  <a:pt x="3372" y="1068"/>
                </a:lnTo>
                <a:lnTo>
                  <a:pt x="3372" y="1070"/>
                </a:lnTo>
                <a:lnTo>
                  <a:pt x="3372" y="1070"/>
                </a:lnTo>
                <a:lnTo>
                  <a:pt x="3364" y="1076"/>
                </a:lnTo>
                <a:lnTo>
                  <a:pt x="3354" y="1078"/>
                </a:lnTo>
                <a:lnTo>
                  <a:pt x="3344" y="1082"/>
                </a:lnTo>
                <a:lnTo>
                  <a:pt x="3336" y="1086"/>
                </a:lnTo>
                <a:lnTo>
                  <a:pt x="3336" y="1086"/>
                </a:lnTo>
                <a:lnTo>
                  <a:pt x="3334" y="1086"/>
                </a:lnTo>
                <a:lnTo>
                  <a:pt x="3334" y="1086"/>
                </a:lnTo>
                <a:lnTo>
                  <a:pt x="3326" y="1086"/>
                </a:lnTo>
                <a:lnTo>
                  <a:pt x="3320" y="1088"/>
                </a:lnTo>
                <a:lnTo>
                  <a:pt x="3320" y="1088"/>
                </a:lnTo>
                <a:lnTo>
                  <a:pt x="3306" y="1086"/>
                </a:lnTo>
                <a:lnTo>
                  <a:pt x="3292" y="1084"/>
                </a:lnTo>
                <a:lnTo>
                  <a:pt x="3292" y="1084"/>
                </a:lnTo>
                <a:lnTo>
                  <a:pt x="3280" y="1086"/>
                </a:lnTo>
                <a:lnTo>
                  <a:pt x="3270" y="1088"/>
                </a:lnTo>
                <a:lnTo>
                  <a:pt x="3270" y="1088"/>
                </a:lnTo>
                <a:lnTo>
                  <a:pt x="3270" y="1090"/>
                </a:lnTo>
                <a:lnTo>
                  <a:pt x="3270" y="1090"/>
                </a:lnTo>
                <a:lnTo>
                  <a:pt x="3264" y="1088"/>
                </a:lnTo>
                <a:lnTo>
                  <a:pt x="3264" y="1088"/>
                </a:lnTo>
                <a:lnTo>
                  <a:pt x="3270" y="1088"/>
                </a:lnTo>
                <a:lnTo>
                  <a:pt x="3270" y="1088"/>
                </a:lnTo>
                <a:lnTo>
                  <a:pt x="3270" y="1078"/>
                </a:lnTo>
                <a:lnTo>
                  <a:pt x="3270" y="1078"/>
                </a:lnTo>
                <a:lnTo>
                  <a:pt x="3264" y="1078"/>
                </a:lnTo>
                <a:lnTo>
                  <a:pt x="3264" y="1078"/>
                </a:lnTo>
                <a:lnTo>
                  <a:pt x="3260" y="1076"/>
                </a:lnTo>
                <a:lnTo>
                  <a:pt x="3252" y="1074"/>
                </a:lnTo>
                <a:lnTo>
                  <a:pt x="3252" y="1074"/>
                </a:lnTo>
                <a:lnTo>
                  <a:pt x="3236" y="1076"/>
                </a:lnTo>
                <a:lnTo>
                  <a:pt x="3236" y="1076"/>
                </a:lnTo>
                <a:lnTo>
                  <a:pt x="3230" y="1076"/>
                </a:lnTo>
                <a:lnTo>
                  <a:pt x="3226" y="1078"/>
                </a:lnTo>
                <a:lnTo>
                  <a:pt x="3222" y="1082"/>
                </a:lnTo>
                <a:lnTo>
                  <a:pt x="3222" y="1086"/>
                </a:lnTo>
                <a:lnTo>
                  <a:pt x="3222" y="1086"/>
                </a:lnTo>
                <a:lnTo>
                  <a:pt x="3236" y="1086"/>
                </a:lnTo>
                <a:lnTo>
                  <a:pt x="3236" y="1086"/>
                </a:lnTo>
                <a:lnTo>
                  <a:pt x="3238" y="1086"/>
                </a:lnTo>
                <a:lnTo>
                  <a:pt x="3238" y="1086"/>
                </a:lnTo>
                <a:lnTo>
                  <a:pt x="3226" y="1090"/>
                </a:lnTo>
                <a:lnTo>
                  <a:pt x="3226" y="1090"/>
                </a:lnTo>
                <a:lnTo>
                  <a:pt x="3222" y="1092"/>
                </a:lnTo>
                <a:lnTo>
                  <a:pt x="3222" y="1094"/>
                </a:lnTo>
                <a:lnTo>
                  <a:pt x="3222" y="1098"/>
                </a:lnTo>
                <a:lnTo>
                  <a:pt x="3224" y="1100"/>
                </a:lnTo>
                <a:lnTo>
                  <a:pt x="3224" y="1100"/>
                </a:lnTo>
                <a:lnTo>
                  <a:pt x="3228" y="1096"/>
                </a:lnTo>
                <a:lnTo>
                  <a:pt x="3232" y="1094"/>
                </a:lnTo>
                <a:lnTo>
                  <a:pt x="3232" y="1094"/>
                </a:lnTo>
                <a:lnTo>
                  <a:pt x="3236" y="1094"/>
                </a:lnTo>
                <a:lnTo>
                  <a:pt x="3240" y="1092"/>
                </a:lnTo>
                <a:lnTo>
                  <a:pt x="3242" y="1086"/>
                </a:lnTo>
                <a:lnTo>
                  <a:pt x="3242" y="1086"/>
                </a:lnTo>
                <a:lnTo>
                  <a:pt x="3244" y="1086"/>
                </a:lnTo>
                <a:lnTo>
                  <a:pt x="3244" y="1086"/>
                </a:lnTo>
                <a:lnTo>
                  <a:pt x="3254" y="1086"/>
                </a:lnTo>
                <a:lnTo>
                  <a:pt x="3262" y="1088"/>
                </a:lnTo>
                <a:lnTo>
                  <a:pt x="3262" y="1088"/>
                </a:lnTo>
                <a:lnTo>
                  <a:pt x="3258" y="1088"/>
                </a:lnTo>
                <a:lnTo>
                  <a:pt x="3258" y="1088"/>
                </a:lnTo>
                <a:lnTo>
                  <a:pt x="3264" y="1096"/>
                </a:lnTo>
                <a:lnTo>
                  <a:pt x="3264" y="1096"/>
                </a:lnTo>
                <a:lnTo>
                  <a:pt x="3270" y="1096"/>
                </a:lnTo>
                <a:lnTo>
                  <a:pt x="3270" y="1096"/>
                </a:lnTo>
                <a:lnTo>
                  <a:pt x="3270" y="1118"/>
                </a:lnTo>
                <a:lnTo>
                  <a:pt x="3270" y="1118"/>
                </a:lnTo>
                <a:lnTo>
                  <a:pt x="3276" y="1110"/>
                </a:lnTo>
                <a:lnTo>
                  <a:pt x="3276" y="1110"/>
                </a:lnTo>
                <a:lnTo>
                  <a:pt x="3278" y="1108"/>
                </a:lnTo>
                <a:lnTo>
                  <a:pt x="3282" y="1106"/>
                </a:lnTo>
                <a:lnTo>
                  <a:pt x="3282" y="1106"/>
                </a:lnTo>
                <a:lnTo>
                  <a:pt x="3298" y="1102"/>
                </a:lnTo>
                <a:lnTo>
                  <a:pt x="3314" y="1102"/>
                </a:lnTo>
                <a:lnTo>
                  <a:pt x="3314" y="1102"/>
                </a:lnTo>
                <a:lnTo>
                  <a:pt x="3320" y="1100"/>
                </a:lnTo>
                <a:lnTo>
                  <a:pt x="3324" y="1098"/>
                </a:lnTo>
                <a:lnTo>
                  <a:pt x="3324" y="1098"/>
                </a:lnTo>
                <a:lnTo>
                  <a:pt x="3332" y="1094"/>
                </a:lnTo>
                <a:lnTo>
                  <a:pt x="3340" y="1094"/>
                </a:lnTo>
                <a:lnTo>
                  <a:pt x="3348" y="1094"/>
                </a:lnTo>
                <a:lnTo>
                  <a:pt x="3356" y="1094"/>
                </a:lnTo>
                <a:lnTo>
                  <a:pt x="3356" y="1094"/>
                </a:lnTo>
                <a:lnTo>
                  <a:pt x="3368" y="1098"/>
                </a:lnTo>
                <a:lnTo>
                  <a:pt x="3368" y="1098"/>
                </a:lnTo>
                <a:lnTo>
                  <a:pt x="3374" y="1102"/>
                </a:lnTo>
                <a:lnTo>
                  <a:pt x="3378" y="1102"/>
                </a:lnTo>
                <a:lnTo>
                  <a:pt x="3382" y="1100"/>
                </a:lnTo>
                <a:lnTo>
                  <a:pt x="3388" y="1096"/>
                </a:lnTo>
                <a:lnTo>
                  <a:pt x="3388" y="1096"/>
                </a:lnTo>
                <a:lnTo>
                  <a:pt x="3390" y="1094"/>
                </a:lnTo>
                <a:lnTo>
                  <a:pt x="3390" y="1094"/>
                </a:lnTo>
                <a:lnTo>
                  <a:pt x="3378" y="1090"/>
                </a:lnTo>
                <a:lnTo>
                  <a:pt x="3378" y="1090"/>
                </a:lnTo>
                <a:lnTo>
                  <a:pt x="3390" y="1086"/>
                </a:lnTo>
                <a:lnTo>
                  <a:pt x="3390" y="1086"/>
                </a:lnTo>
                <a:lnTo>
                  <a:pt x="3398" y="1088"/>
                </a:lnTo>
                <a:lnTo>
                  <a:pt x="3398" y="1088"/>
                </a:lnTo>
                <a:lnTo>
                  <a:pt x="3404" y="1086"/>
                </a:lnTo>
                <a:lnTo>
                  <a:pt x="3406" y="1086"/>
                </a:lnTo>
                <a:lnTo>
                  <a:pt x="3408" y="1088"/>
                </a:lnTo>
                <a:lnTo>
                  <a:pt x="3408" y="1088"/>
                </a:lnTo>
                <a:lnTo>
                  <a:pt x="3408" y="1090"/>
                </a:lnTo>
                <a:lnTo>
                  <a:pt x="3408" y="1092"/>
                </a:lnTo>
                <a:lnTo>
                  <a:pt x="3404" y="1096"/>
                </a:lnTo>
                <a:lnTo>
                  <a:pt x="3404" y="1096"/>
                </a:lnTo>
                <a:lnTo>
                  <a:pt x="3404" y="1096"/>
                </a:lnTo>
                <a:lnTo>
                  <a:pt x="3404" y="1096"/>
                </a:lnTo>
                <a:lnTo>
                  <a:pt x="3424" y="1096"/>
                </a:lnTo>
                <a:lnTo>
                  <a:pt x="3424" y="1096"/>
                </a:lnTo>
                <a:lnTo>
                  <a:pt x="3434" y="1098"/>
                </a:lnTo>
                <a:lnTo>
                  <a:pt x="3446" y="1096"/>
                </a:lnTo>
                <a:lnTo>
                  <a:pt x="3446" y="1096"/>
                </a:lnTo>
                <a:lnTo>
                  <a:pt x="3424" y="1090"/>
                </a:lnTo>
                <a:lnTo>
                  <a:pt x="3424" y="1090"/>
                </a:lnTo>
                <a:lnTo>
                  <a:pt x="3434" y="1086"/>
                </a:lnTo>
                <a:lnTo>
                  <a:pt x="3434" y="1086"/>
                </a:lnTo>
                <a:lnTo>
                  <a:pt x="3426" y="1080"/>
                </a:lnTo>
                <a:lnTo>
                  <a:pt x="3426" y="1080"/>
                </a:lnTo>
                <a:lnTo>
                  <a:pt x="3430" y="1074"/>
                </a:lnTo>
                <a:lnTo>
                  <a:pt x="3432" y="1070"/>
                </a:lnTo>
                <a:lnTo>
                  <a:pt x="3432" y="1070"/>
                </a:lnTo>
                <a:lnTo>
                  <a:pt x="3434" y="1068"/>
                </a:lnTo>
                <a:lnTo>
                  <a:pt x="3436" y="1066"/>
                </a:lnTo>
                <a:lnTo>
                  <a:pt x="3440" y="1066"/>
                </a:lnTo>
                <a:lnTo>
                  <a:pt x="3440" y="1064"/>
                </a:lnTo>
                <a:lnTo>
                  <a:pt x="3440" y="1064"/>
                </a:lnTo>
                <a:lnTo>
                  <a:pt x="3438" y="1062"/>
                </a:lnTo>
                <a:lnTo>
                  <a:pt x="3434" y="1060"/>
                </a:lnTo>
                <a:lnTo>
                  <a:pt x="3426" y="1060"/>
                </a:lnTo>
                <a:lnTo>
                  <a:pt x="3426" y="1060"/>
                </a:lnTo>
                <a:lnTo>
                  <a:pt x="3436" y="1054"/>
                </a:lnTo>
                <a:lnTo>
                  <a:pt x="3436" y="1054"/>
                </a:lnTo>
                <a:lnTo>
                  <a:pt x="3438" y="1052"/>
                </a:lnTo>
                <a:lnTo>
                  <a:pt x="3438" y="1052"/>
                </a:lnTo>
                <a:lnTo>
                  <a:pt x="3454" y="1050"/>
                </a:lnTo>
                <a:lnTo>
                  <a:pt x="3454" y="1050"/>
                </a:lnTo>
                <a:lnTo>
                  <a:pt x="3454" y="1048"/>
                </a:lnTo>
                <a:lnTo>
                  <a:pt x="3450" y="1044"/>
                </a:lnTo>
                <a:lnTo>
                  <a:pt x="3450" y="1044"/>
                </a:lnTo>
                <a:lnTo>
                  <a:pt x="3444" y="1040"/>
                </a:lnTo>
                <a:lnTo>
                  <a:pt x="3444" y="1040"/>
                </a:lnTo>
                <a:lnTo>
                  <a:pt x="3452" y="1038"/>
                </a:lnTo>
                <a:lnTo>
                  <a:pt x="3456" y="1038"/>
                </a:lnTo>
                <a:lnTo>
                  <a:pt x="3456" y="1038"/>
                </a:lnTo>
                <a:lnTo>
                  <a:pt x="3458" y="1034"/>
                </a:lnTo>
                <a:lnTo>
                  <a:pt x="3460" y="1030"/>
                </a:lnTo>
                <a:lnTo>
                  <a:pt x="3462" y="1026"/>
                </a:lnTo>
                <a:lnTo>
                  <a:pt x="3472" y="1026"/>
                </a:lnTo>
                <a:lnTo>
                  <a:pt x="3472" y="1026"/>
                </a:lnTo>
                <a:lnTo>
                  <a:pt x="3464" y="1022"/>
                </a:lnTo>
                <a:lnTo>
                  <a:pt x="3464" y="1022"/>
                </a:lnTo>
                <a:lnTo>
                  <a:pt x="3464" y="1020"/>
                </a:lnTo>
                <a:lnTo>
                  <a:pt x="3464" y="1018"/>
                </a:lnTo>
                <a:lnTo>
                  <a:pt x="3464" y="1018"/>
                </a:lnTo>
                <a:lnTo>
                  <a:pt x="3470" y="1016"/>
                </a:lnTo>
                <a:lnTo>
                  <a:pt x="3470" y="1016"/>
                </a:lnTo>
                <a:lnTo>
                  <a:pt x="3472" y="1016"/>
                </a:lnTo>
                <a:lnTo>
                  <a:pt x="3472" y="1016"/>
                </a:lnTo>
                <a:lnTo>
                  <a:pt x="3474" y="1018"/>
                </a:lnTo>
                <a:lnTo>
                  <a:pt x="3474" y="1018"/>
                </a:lnTo>
                <a:lnTo>
                  <a:pt x="3478" y="1018"/>
                </a:lnTo>
                <a:lnTo>
                  <a:pt x="3478" y="1018"/>
                </a:lnTo>
                <a:lnTo>
                  <a:pt x="3480" y="1018"/>
                </a:lnTo>
                <a:lnTo>
                  <a:pt x="3480" y="1018"/>
                </a:lnTo>
                <a:lnTo>
                  <a:pt x="3482" y="1022"/>
                </a:lnTo>
                <a:lnTo>
                  <a:pt x="3482" y="1022"/>
                </a:lnTo>
                <a:lnTo>
                  <a:pt x="3476" y="1024"/>
                </a:lnTo>
                <a:lnTo>
                  <a:pt x="3476" y="1024"/>
                </a:lnTo>
                <a:lnTo>
                  <a:pt x="3482" y="1024"/>
                </a:lnTo>
                <a:lnTo>
                  <a:pt x="3482" y="1024"/>
                </a:lnTo>
                <a:lnTo>
                  <a:pt x="3484" y="1022"/>
                </a:lnTo>
                <a:lnTo>
                  <a:pt x="3484" y="1020"/>
                </a:lnTo>
                <a:lnTo>
                  <a:pt x="3484" y="1020"/>
                </a:lnTo>
                <a:lnTo>
                  <a:pt x="3486" y="1022"/>
                </a:lnTo>
                <a:lnTo>
                  <a:pt x="3486" y="1022"/>
                </a:lnTo>
                <a:lnTo>
                  <a:pt x="3488" y="1034"/>
                </a:lnTo>
                <a:lnTo>
                  <a:pt x="3490" y="1038"/>
                </a:lnTo>
                <a:lnTo>
                  <a:pt x="3490" y="1038"/>
                </a:lnTo>
                <a:lnTo>
                  <a:pt x="3488" y="1032"/>
                </a:lnTo>
                <a:lnTo>
                  <a:pt x="3488" y="1032"/>
                </a:lnTo>
                <a:lnTo>
                  <a:pt x="3506" y="1032"/>
                </a:lnTo>
                <a:lnTo>
                  <a:pt x="3506" y="1032"/>
                </a:lnTo>
                <a:lnTo>
                  <a:pt x="3506" y="1012"/>
                </a:lnTo>
                <a:lnTo>
                  <a:pt x="3506" y="1012"/>
                </a:lnTo>
                <a:lnTo>
                  <a:pt x="3510" y="1014"/>
                </a:lnTo>
                <a:lnTo>
                  <a:pt x="3510" y="1014"/>
                </a:lnTo>
                <a:lnTo>
                  <a:pt x="3512" y="1018"/>
                </a:lnTo>
                <a:lnTo>
                  <a:pt x="3510" y="1022"/>
                </a:lnTo>
                <a:lnTo>
                  <a:pt x="3510" y="1022"/>
                </a:lnTo>
                <a:lnTo>
                  <a:pt x="3508" y="1024"/>
                </a:lnTo>
                <a:lnTo>
                  <a:pt x="3508" y="1026"/>
                </a:lnTo>
                <a:lnTo>
                  <a:pt x="3512" y="1030"/>
                </a:lnTo>
                <a:lnTo>
                  <a:pt x="3512" y="1030"/>
                </a:lnTo>
                <a:lnTo>
                  <a:pt x="3526" y="1038"/>
                </a:lnTo>
                <a:lnTo>
                  <a:pt x="3526" y="1038"/>
                </a:lnTo>
                <a:lnTo>
                  <a:pt x="3520" y="1040"/>
                </a:lnTo>
                <a:lnTo>
                  <a:pt x="3516" y="1044"/>
                </a:lnTo>
                <a:lnTo>
                  <a:pt x="3514" y="1048"/>
                </a:lnTo>
                <a:lnTo>
                  <a:pt x="3512" y="1052"/>
                </a:lnTo>
                <a:lnTo>
                  <a:pt x="3512" y="1052"/>
                </a:lnTo>
                <a:lnTo>
                  <a:pt x="3520" y="1054"/>
                </a:lnTo>
                <a:lnTo>
                  <a:pt x="3524" y="1054"/>
                </a:lnTo>
                <a:lnTo>
                  <a:pt x="3526" y="1058"/>
                </a:lnTo>
                <a:lnTo>
                  <a:pt x="3526" y="1058"/>
                </a:lnTo>
                <a:lnTo>
                  <a:pt x="3514" y="1062"/>
                </a:lnTo>
                <a:lnTo>
                  <a:pt x="3514" y="1062"/>
                </a:lnTo>
                <a:lnTo>
                  <a:pt x="3520" y="1064"/>
                </a:lnTo>
                <a:lnTo>
                  <a:pt x="3526" y="1064"/>
                </a:lnTo>
                <a:lnTo>
                  <a:pt x="3526" y="1064"/>
                </a:lnTo>
                <a:lnTo>
                  <a:pt x="3540" y="1056"/>
                </a:lnTo>
                <a:lnTo>
                  <a:pt x="3552" y="1050"/>
                </a:lnTo>
                <a:lnTo>
                  <a:pt x="3552" y="1050"/>
                </a:lnTo>
                <a:lnTo>
                  <a:pt x="3556" y="1046"/>
                </a:lnTo>
                <a:lnTo>
                  <a:pt x="3560" y="1044"/>
                </a:lnTo>
                <a:lnTo>
                  <a:pt x="3566" y="1044"/>
                </a:lnTo>
                <a:lnTo>
                  <a:pt x="3572" y="1044"/>
                </a:lnTo>
                <a:lnTo>
                  <a:pt x="3572" y="1044"/>
                </a:lnTo>
                <a:lnTo>
                  <a:pt x="3582" y="1046"/>
                </a:lnTo>
                <a:lnTo>
                  <a:pt x="3592" y="1044"/>
                </a:lnTo>
                <a:lnTo>
                  <a:pt x="3592" y="1044"/>
                </a:lnTo>
                <a:lnTo>
                  <a:pt x="3602" y="1038"/>
                </a:lnTo>
                <a:lnTo>
                  <a:pt x="3602" y="1038"/>
                </a:lnTo>
                <a:lnTo>
                  <a:pt x="3608" y="1036"/>
                </a:lnTo>
                <a:lnTo>
                  <a:pt x="3614" y="1038"/>
                </a:lnTo>
                <a:lnTo>
                  <a:pt x="3614" y="1038"/>
                </a:lnTo>
                <a:lnTo>
                  <a:pt x="3614" y="1040"/>
                </a:lnTo>
                <a:lnTo>
                  <a:pt x="3612" y="1042"/>
                </a:lnTo>
                <a:lnTo>
                  <a:pt x="3612" y="1042"/>
                </a:lnTo>
                <a:lnTo>
                  <a:pt x="3616" y="1044"/>
                </a:lnTo>
                <a:lnTo>
                  <a:pt x="3616" y="1044"/>
                </a:lnTo>
                <a:lnTo>
                  <a:pt x="3618" y="1046"/>
                </a:lnTo>
                <a:lnTo>
                  <a:pt x="3618" y="1048"/>
                </a:lnTo>
                <a:lnTo>
                  <a:pt x="3614" y="1052"/>
                </a:lnTo>
                <a:lnTo>
                  <a:pt x="3614" y="1052"/>
                </a:lnTo>
                <a:lnTo>
                  <a:pt x="3608" y="1054"/>
                </a:lnTo>
                <a:lnTo>
                  <a:pt x="3608" y="1054"/>
                </a:lnTo>
                <a:lnTo>
                  <a:pt x="3602" y="1068"/>
                </a:lnTo>
                <a:lnTo>
                  <a:pt x="3602" y="1068"/>
                </a:lnTo>
                <a:lnTo>
                  <a:pt x="3590" y="1074"/>
                </a:lnTo>
                <a:lnTo>
                  <a:pt x="3590" y="1074"/>
                </a:lnTo>
                <a:lnTo>
                  <a:pt x="3584" y="1076"/>
                </a:lnTo>
                <a:lnTo>
                  <a:pt x="3582" y="1074"/>
                </a:lnTo>
                <a:lnTo>
                  <a:pt x="3582" y="1074"/>
                </a:lnTo>
                <a:lnTo>
                  <a:pt x="3578" y="1070"/>
                </a:lnTo>
                <a:lnTo>
                  <a:pt x="3576" y="1068"/>
                </a:lnTo>
                <a:lnTo>
                  <a:pt x="3572" y="1068"/>
                </a:lnTo>
                <a:lnTo>
                  <a:pt x="3566" y="1068"/>
                </a:lnTo>
                <a:lnTo>
                  <a:pt x="3566" y="1068"/>
                </a:lnTo>
                <a:lnTo>
                  <a:pt x="3554" y="1072"/>
                </a:lnTo>
                <a:lnTo>
                  <a:pt x="3554" y="1072"/>
                </a:lnTo>
                <a:lnTo>
                  <a:pt x="3574" y="1082"/>
                </a:lnTo>
                <a:lnTo>
                  <a:pt x="3574" y="1082"/>
                </a:lnTo>
                <a:lnTo>
                  <a:pt x="3572" y="1086"/>
                </a:lnTo>
                <a:lnTo>
                  <a:pt x="3572" y="1088"/>
                </a:lnTo>
                <a:lnTo>
                  <a:pt x="3576" y="1092"/>
                </a:lnTo>
                <a:lnTo>
                  <a:pt x="3576" y="1092"/>
                </a:lnTo>
                <a:lnTo>
                  <a:pt x="3576" y="1096"/>
                </a:lnTo>
                <a:lnTo>
                  <a:pt x="3576" y="1096"/>
                </a:lnTo>
                <a:lnTo>
                  <a:pt x="3566" y="1092"/>
                </a:lnTo>
                <a:lnTo>
                  <a:pt x="3566" y="1092"/>
                </a:lnTo>
                <a:lnTo>
                  <a:pt x="3560" y="1098"/>
                </a:lnTo>
                <a:lnTo>
                  <a:pt x="3560" y="1098"/>
                </a:lnTo>
                <a:lnTo>
                  <a:pt x="3566" y="1100"/>
                </a:lnTo>
                <a:lnTo>
                  <a:pt x="3566" y="1104"/>
                </a:lnTo>
                <a:lnTo>
                  <a:pt x="3568" y="1110"/>
                </a:lnTo>
                <a:lnTo>
                  <a:pt x="3570" y="1114"/>
                </a:lnTo>
                <a:lnTo>
                  <a:pt x="3570" y="1114"/>
                </a:lnTo>
                <a:lnTo>
                  <a:pt x="3556" y="1114"/>
                </a:lnTo>
                <a:lnTo>
                  <a:pt x="3556" y="1114"/>
                </a:lnTo>
                <a:lnTo>
                  <a:pt x="3548" y="1114"/>
                </a:lnTo>
                <a:lnTo>
                  <a:pt x="3538" y="1114"/>
                </a:lnTo>
                <a:lnTo>
                  <a:pt x="3530" y="1116"/>
                </a:lnTo>
                <a:lnTo>
                  <a:pt x="3524" y="1122"/>
                </a:lnTo>
                <a:lnTo>
                  <a:pt x="3524" y="1122"/>
                </a:lnTo>
                <a:lnTo>
                  <a:pt x="3518" y="1124"/>
                </a:lnTo>
                <a:lnTo>
                  <a:pt x="3518" y="1124"/>
                </a:lnTo>
                <a:lnTo>
                  <a:pt x="3522" y="1124"/>
                </a:lnTo>
                <a:lnTo>
                  <a:pt x="3526" y="1124"/>
                </a:lnTo>
                <a:lnTo>
                  <a:pt x="3532" y="1122"/>
                </a:lnTo>
                <a:lnTo>
                  <a:pt x="3532" y="1122"/>
                </a:lnTo>
                <a:lnTo>
                  <a:pt x="3536" y="1120"/>
                </a:lnTo>
                <a:lnTo>
                  <a:pt x="3544" y="1118"/>
                </a:lnTo>
                <a:lnTo>
                  <a:pt x="3550" y="1118"/>
                </a:lnTo>
                <a:lnTo>
                  <a:pt x="3556" y="1120"/>
                </a:lnTo>
                <a:lnTo>
                  <a:pt x="3556" y="1120"/>
                </a:lnTo>
                <a:lnTo>
                  <a:pt x="3560" y="1122"/>
                </a:lnTo>
                <a:lnTo>
                  <a:pt x="3564" y="1124"/>
                </a:lnTo>
                <a:lnTo>
                  <a:pt x="3576" y="1124"/>
                </a:lnTo>
                <a:lnTo>
                  <a:pt x="3576" y="1124"/>
                </a:lnTo>
                <a:lnTo>
                  <a:pt x="3580" y="1126"/>
                </a:lnTo>
                <a:lnTo>
                  <a:pt x="3580" y="1126"/>
                </a:lnTo>
                <a:lnTo>
                  <a:pt x="3586" y="1124"/>
                </a:lnTo>
                <a:lnTo>
                  <a:pt x="3590" y="1122"/>
                </a:lnTo>
                <a:lnTo>
                  <a:pt x="3592" y="1120"/>
                </a:lnTo>
                <a:lnTo>
                  <a:pt x="3592" y="1114"/>
                </a:lnTo>
                <a:lnTo>
                  <a:pt x="3592" y="1114"/>
                </a:lnTo>
                <a:lnTo>
                  <a:pt x="3578" y="1118"/>
                </a:lnTo>
                <a:lnTo>
                  <a:pt x="3578" y="1108"/>
                </a:lnTo>
                <a:lnTo>
                  <a:pt x="3578" y="1108"/>
                </a:lnTo>
                <a:lnTo>
                  <a:pt x="3586" y="1108"/>
                </a:lnTo>
                <a:lnTo>
                  <a:pt x="3586" y="1108"/>
                </a:lnTo>
                <a:lnTo>
                  <a:pt x="3582" y="1102"/>
                </a:lnTo>
                <a:lnTo>
                  <a:pt x="3582" y="1100"/>
                </a:lnTo>
                <a:lnTo>
                  <a:pt x="3584" y="1098"/>
                </a:lnTo>
                <a:lnTo>
                  <a:pt x="3584" y="1098"/>
                </a:lnTo>
                <a:lnTo>
                  <a:pt x="3596" y="1098"/>
                </a:lnTo>
                <a:lnTo>
                  <a:pt x="3596" y="1098"/>
                </a:lnTo>
                <a:lnTo>
                  <a:pt x="3604" y="1100"/>
                </a:lnTo>
                <a:lnTo>
                  <a:pt x="3608" y="1100"/>
                </a:lnTo>
                <a:lnTo>
                  <a:pt x="3612" y="1096"/>
                </a:lnTo>
                <a:lnTo>
                  <a:pt x="3612" y="1096"/>
                </a:lnTo>
                <a:lnTo>
                  <a:pt x="3616" y="1096"/>
                </a:lnTo>
                <a:lnTo>
                  <a:pt x="3620" y="1094"/>
                </a:lnTo>
                <a:lnTo>
                  <a:pt x="3620" y="1094"/>
                </a:lnTo>
                <a:lnTo>
                  <a:pt x="3624" y="1094"/>
                </a:lnTo>
                <a:lnTo>
                  <a:pt x="3628" y="1092"/>
                </a:lnTo>
                <a:lnTo>
                  <a:pt x="3628" y="1092"/>
                </a:lnTo>
                <a:lnTo>
                  <a:pt x="3632" y="1090"/>
                </a:lnTo>
                <a:lnTo>
                  <a:pt x="3634" y="1090"/>
                </a:lnTo>
                <a:lnTo>
                  <a:pt x="3642" y="1090"/>
                </a:lnTo>
                <a:lnTo>
                  <a:pt x="3642" y="1090"/>
                </a:lnTo>
                <a:lnTo>
                  <a:pt x="3648" y="1092"/>
                </a:lnTo>
                <a:lnTo>
                  <a:pt x="3656" y="1092"/>
                </a:lnTo>
                <a:lnTo>
                  <a:pt x="3656" y="1092"/>
                </a:lnTo>
                <a:lnTo>
                  <a:pt x="3662" y="1092"/>
                </a:lnTo>
                <a:lnTo>
                  <a:pt x="3662" y="1092"/>
                </a:lnTo>
                <a:lnTo>
                  <a:pt x="3666" y="1098"/>
                </a:lnTo>
                <a:lnTo>
                  <a:pt x="3666" y="1098"/>
                </a:lnTo>
                <a:lnTo>
                  <a:pt x="3670" y="1102"/>
                </a:lnTo>
                <a:lnTo>
                  <a:pt x="3670" y="1102"/>
                </a:lnTo>
                <a:lnTo>
                  <a:pt x="3668" y="1104"/>
                </a:lnTo>
                <a:lnTo>
                  <a:pt x="3668" y="1104"/>
                </a:lnTo>
                <a:lnTo>
                  <a:pt x="3664" y="1110"/>
                </a:lnTo>
                <a:lnTo>
                  <a:pt x="3662" y="1114"/>
                </a:lnTo>
                <a:lnTo>
                  <a:pt x="3664" y="1118"/>
                </a:lnTo>
                <a:lnTo>
                  <a:pt x="3670" y="1124"/>
                </a:lnTo>
                <a:lnTo>
                  <a:pt x="3670" y="1124"/>
                </a:lnTo>
                <a:lnTo>
                  <a:pt x="3672" y="1128"/>
                </a:lnTo>
                <a:lnTo>
                  <a:pt x="3674" y="1132"/>
                </a:lnTo>
                <a:lnTo>
                  <a:pt x="3674" y="1132"/>
                </a:lnTo>
                <a:lnTo>
                  <a:pt x="3684" y="1132"/>
                </a:lnTo>
                <a:lnTo>
                  <a:pt x="3694" y="1132"/>
                </a:lnTo>
                <a:lnTo>
                  <a:pt x="3704" y="1130"/>
                </a:lnTo>
                <a:lnTo>
                  <a:pt x="3714" y="1128"/>
                </a:lnTo>
                <a:lnTo>
                  <a:pt x="3714" y="1128"/>
                </a:lnTo>
                <a:lnTo>
                  <a:pt x="3706" y="1122"/>
                </a:lnTo>
                <a:lnTo>
                  <a:pt x="3706" y="1122"/>
                </a:lnTo>
                <a:lnTo>
                  <a:pt x="3716" y="1118"/>
                </a:lnTo>
                <a:lnTo>
                  <a:pt x="3716" y="1118"/>
                </a:lnTo>
                <a:lnTo>
                  <a:pt x="3724" y="1122"/>
                </a:lnTo>
                <a:lnTo>
                  <a:pt x="3730" y="1122"/>
                </a:lnTo>
                <a:lnTo>
                  <a:pt x="3734" y="1122"/>
                </a:lnTo>
                <a:lnTo>
                  <a:pt x="3734" y="1122"/>
                </a:lnTo>
                <a:lnTo>
                  <a:pt x="3726" y="1116"/>
                </a:lnTo>
                <a:lnTo>
                  <a:pt x="3716" y="1114"/>
                </a:lnTo>
                <a:lnTo>
                  <a:pt x="3716" y="1114"/>
                </a:lnTo>
                <a:lnTo>
                  <a:pt x="3706" y="1112"/>
                </a:lnTo>
                <a:lnTo>
                  <a:pt x="3706" y="1112"/>
                </a:lnTo>
                <a:lnTo>
                  <a:pt x="3706" y="1108"/>
                </a:lnTo>
                <a:lnTo>
                  <a:pt x="3708" y="1104"/>
                </a:lnTo>
                <a:lnTo>
                  <a:pt x="3716" y="1096"/>
                </a:lnTo>
                <a:lnTo>
                  <a:pt x="3716" y="1096"/>
                </a:lnTo>
                <a:lnTo>
                  <a:pt x="3718" y="1100"/>
                </a:lnTo>
                <a:lnTo>
                  <a:pt x="3718" y="1100"/>
                </a:lnTo>
                <a:lnTo>
                  <a:pt x="3720" y="1100"/>
                </a:lnTo>
                <a:lnTo>
                  <a:pt x="3720" y="1100"/>
                </a:lnTo>
                <a:lnTo>
                  <a:pt x="3720" y="1094"/>
                </a:lnTo>
                <a:lnTo>
                  <a:pt x="3720" y="1094"/>
                </a:lnTo>
                <a:lnTo>
                  <a:pt x="3726" y="1094"/>
                </a:lnTo>
                <a:lnTo>
                  <a:pt x="3730" y="1094"/>
                </a:lnTo>
                <a:lnTo>
                  <a:pt x="3732" y="1090"/>
                </a:lnTo>
                <a:lnTo>
                  <a:pt x="3732" y="1090"/>
                </a:lnTo>
                <a:lnTo>
                  <a:pt x="3720" y="1086"/>
                </a:lnTo>
                <a:lnTo>
                  <a:pt x="3720" y="1086"/>
                </a:lnTo>
                <a:lnTo>
                  <a:pt x="3718" y="1084"/>
                </a:lnTo>
                <a:lnTo>
                  <a:pt x="3716" y="1082"/>
                </a:lnTo>
                <a:lnTo>
                  <a:pt x="3716" y="1082"/>
                </a:lnTo>
                <a:lnTo>
                  <a:pt x="3718" y="1080"/>
                </a:lnTo>
                <a:lnTo>
                  <a:pt x="3720" y="1080"/>
                </a:lnTo>
                <a:lnTo>
                  <a:pt x="3724" y="1080"/>
                </a:lnTo>
                <a:lnTo>
                  <a:pt x="3724" y="1080"/>
                </a:lnTo>
                <a:lnTo>
                  <a:pt x="3736" y="1082"/>
                </a:lnTo>
                <a:lnTo>
                  <a:pt x="3748" y="1082"/>
                </a:lnTo>
                <a:lnTo>
                  <a:pt x="3748" y="1082"/>
                </a:lnTo>
                <a:lnTo>
                  <a:pt x="3756" y="1082"/>
                </a:lnTo>
                <a:lnTo>
                  <a:pt x="3764" y="1086"/>
                </a:lnTo>
                <a:lnTo>
                  <a:pt x="3764" y="1086"/>
                </a:lnTo>
                <a:lnTo>
                  <a:pt x="3762" y="1092"/>
                </a:lnTo>
                <a:lnTo>
                  <a:pt x="3762" y="1092"/>
                </a:lnTo>
                <a:lnTo>
                  <a:pt x="3772" y="1092"/>
                </a:lnTo>
                <a:lnTo>
                  <a:pt x="3772" y="1092"/>
                </a:lnTo>
                <a:lnTo>
                  <a:pt x="3770" y="1086"/>
                </a:lnTo>
                <a:lnTo>
                  <a:pt x="3770" y="1086"/>
                </a:lnTo>
                <a:lnTo>
                  <a:pt x="3784" y="1090"/>
                </a:lnTo>
                <a:lnTo>
                  <a:pt x="3784" y="1090"/>
                </a:lnTo>
                <a:lnTo>
                  <a:pt x="3804" y="1078"/>
                </a:lnTo>
                <a:lnTo>
                  <a:pt x="3804" y="1078"/>
                </a:lnTo>
                <a:lnTo>
                  <a:pt x="3788" y="1080"/>
                </a:lnTo>
                <a:lnTo>
                  <a:pt x="3780" y="1078"/>
                </a:lnTo>
                <a:lnTo>
                  <a:pt x="3772" y="1078"/>
                </a:lnTo>
                <a:lnTo>
                  <a:pt x="3772" y="1078"/>
                </a:lnTo>
                <a:lnTo>
                  <a:pt x="3752" y="1074"/>
                </a:lnTo>
                <a:lnTo>
                  <a:pt x="3732" y="1070"/>
                </a:lnTo>
                <a:lnTo>
                  <a:pt x="3732" y="1070"/>
                </a:lnTo>
                <a:lnTo>
                  <a:pt x="3722" y="1070"/>
                </a:lnTo>
                <a:lnTo>
                  <a:pt x="3716" y="1070"/>
                </a:lnTo>
                <a:lnTo>
                  <a:pt x="3712" y="1072"/>
                </a:lnTo>
                <a:lnTo>
                  <a:pt x="3712" y="1072"/>
                </a:lnTo>
                <a:lnTo>
                  <a:pt x="3706" y="1074"/>
                </a:lnTo>
                <a:lnTo>
                  <a:pt x="3702" y="1072"/>
                </a:lnTo>
                <a:lnTo>
                  <a:pt x="3700" y="1070"/>
                </a:lnTo>
                <a:lnTo>
                  <a:pt x="3700" y="1070"/>
                </a:lnTo>
                <a:lnTo>
                  <a:pt x="3706" y="1068"/>
                </a:lnTo>
                <a:lnTo>
                  <a:pt x="3706" y="1068"/>
                </a:lnTo>
                <a:lnTo>
                  <a:pt x="3710" y="1066"/>
                </a:lnTo>
                <a:lnTo>
                  <a:pt x="3712" y="1066"/>
                </a:lnTo>
                <a:lnTo>
                  <a:pt x="3710" y="1064"/>
                </a:lnTo>
                <a:lnTo>
                  <a:pt x="3708" y="1062"/>
                </a:lnTo>
                <a:lnTo>
                  <a:pt x="3708" y="1062"/>
                </a:lnTo>
                <a:lnTo>
                  <a:pt x="3704" y="1060"/>
                </a:lnTo>
                <a:lnTo>
                  <a:pt x="3698" y="1060"/>
                </a:lnTo>
                <a:lnTo>
                  <a:pt x="3698" y="1060"/>
                </a:lnTo>
                <a:lnTo>
                  <a:pt x="3694" y="1060"/>
                </a:lnTo>
                <a:lnTo>
                  <a:pt x="3690" y="1060"/>
                </a:lnTo>
                <a:lnTo>
                  <a:pt x="3690" y="1060"/>
                </a:lnTo>
                <a:lnTo>
                  <a:pt x="3690" y="1058"/>
                </a:lnTo>
                <a:lnTo>
                  <a:pt x="3690" y="1058"/>
                </a:lnTo>
                <a:lnTo>
                  <a:pt x="3696" y="1056"/>
                </a:lnTo>
                <a:lnTo>
                  <a:pt x="3702" y="1056"/>
                </a:lnTo>
                <a:lnTo>
                  <a:pt x="3702" y="1056"/>
                </a:lnTo>
                <a:lnTo>
                  <a:pt x="3708" y="1056"/>
                </a:lnTo>
                <a:lnTo>
                  <a:pt x="3712" y="1054"/>
                </a:lnTo>
                <a:lnTo>
                  <a:pt x="3720" y="1048"/>
                </a:lnTo>
                <a:lnTo>
                  <a:pt x="3720" y="1048"/>
                </a:lnTo>
                <a:lnTo>
                  <a:pt x="3724" y="1042"/>
                </a:lnTo>
                <a:lnTo>
                  <a:pt x="3732" y="1038"/>
                </a:lnTo>
                <a:lnTo>
                  <a:pt x="3732" y="1038"/>
                </a:lnTo>
                <a:lnTo>
                  <a:pt x="3714" y="1034"/>
                </a:lnTo>
                <a:lnTo>
                  <a:pt x="3714" y="1034"/>
                </a:lnTo>
                <a:lnTo>
                  <a:pt x="3714" y="1034"/>
                </a:lnTo>
                <a:lnTo>
                  <a:pt x="3712" y="1030"/>
                </a:lnTo>
                <a:lnTo>
                  <a:pt x="3712" y="1030"/>
                </a:lnTo>
                <a:lnTo>
                  <a:pt x="3712" y="1030"/>
                </a:lnTo>
                <a:lnTo>
                  <a:pt x="3712" y="1030"/>
                </a:lnTo>
                <a:lnTo>
                  <a:pt x="3706" y="1034"/>
                </a:lnTo>
                <a:lnTo>
                  <a:pt x="3704" y="1036"/>
                </a:lnTo>
                <a:lnTo>
                  <a:pt x="3704" y="1040"/>
                </a:lnTo>
                <a:lnTo>
                  <a:pt x="3704" y="1040"/>
                </a:lnTo>
                <a:lnTo>
                  <a:pt x="3702" y="1042"/>
                </a:lnTo>
                <a:lnTo>
                  <a:pt x="3698" y="1042"/>
                </a:lnTo>
                <a:lnTo>
                  <a:pt x="3698" y="1042"/>
                </a:lnTo>
                <a:lnTo>
                  <a:pt x="3690" y="1046"/>
                </a:lnTo>
                <a:lnTo>
                  <a:pt x="3690" y="1048"/>
                </a:lnTo>
                <a:lnTo>
                  <a:pt x="3692" y="1052"/>
                </a:lnTo>
                <a:lnTo>
                  <a:pt x="3692" y="1052"/>
                </a:lnTo>
                <a:lnTo>
                  <a:pt x="3674" y="1056"/>
                </a:lnTo>
                <a:lnTo>
                  <a:pt x="3674" y="1056"/>
                </a:lnTo>
                <a:lnTo>
                  <a:pt x="3656" y="1066"/>
                </a:lnTo>
                <a:lnTo>
                  <a:pt x="3656" y="1066"/>
                </a:lnTo>
                <a:lnTo>
                  <a:pt x="3652" y="1068"/>
                </a:lnTo>
                <a:lnTo>
                  <a:pt x="3652" y="1068"/>
                </a:lnTo>
                <a:lnTo>
                  <a:pt x="3646" y="1070"/>
                </a:lnTo>
                <a:lnTo>
                  <a:pt x="3644" y="1074"/>
                </a:lnTo>
                <a:lnTo>
                  <a:pt x="3642" y="1078"/>
                </a:lnTo>
                <a:lnTo>
                  <a:pt x="3644" y="1082"/>
                </a:lnTo>
                <a:lnTo>
                  <a:pt x="3644" y="1082"/>
                </a:lnTo>
                <a:lnTo>
                  <a:pt x="3640" y="1082"/>
                </a:lnTo>
                <a:lnTo>
                  <a:pt x="3636" y="1082"/>
                </a:lnTo>
                <a:lnTo>
                  <a:pt x="3634" y="1078"/>
                </a:lnTo>
                <a:lnTo>
                  <a:pt x="3632" y="1072"/>
                </a:lnTo>
                <a:lnTo>
                  <a:pt x="3632" y="1072"/>
                </a:lnTo>
                <a:lnTo>
                  <a:pt x="3646" y="1064"/>
                </a:lnTo>
                <a:lnTo>
                  <a:pt x="3646" y="1064"/>
                </a:lnTo>
                <a:lnTo>
                  <a:pt x="3634" y="1062"/>
                </a:lnTo>
                <a:lnTo>
                  <a:pt x="3634" y="1062"/>
                </a:lnTo>
                <a:lnTo>
                  <a:pt x="3634" y="1058"/>
                </a:lnTo>
                <a:lnTo>
                  <a:pt x="3638" y="1056"/>
                </a:lnTo>
                <a:lnTo>
                  <a:pt x="3646" y="1054"/>
                </a:lnTo>
                <a:lnTo>
                  <a:pt x="3646" y="1054"/>
                </a:lnTo>
                <a:lnTo>
                  <a:pt x="3642" y="1048"/>
                </a:lnTo>
                <a:lnTo>
                  <a:pt x="3640" y="1046"/>
                </a:lnTo>
                <a:lnTo>
                  <a:pt x="3640" y="1042"/>
                </a:lnTo>
                <a:lnTo>
                  <a:pt x="3640" y="1042"/>
                </a:lnTo>
                <a:lnTo>
                  <a:pt x="3646" y="1040"/>
                </a:lnTo>
                <a:lnTo>
                  <a:pt x="3652" y="1038"/>
                </a:lnTo>
                <a:lnTo>
                  <a:pt x="3666" y="1034"/>
                </a:lnTo>
                <a:lnTo>
                  <a:pt x="3666" y="1034"/>
                </a:lnTo>
                <a:lnTo>
                  <a:pt x="3678" y="1034"/>
                </a:lnTo>
                <a:lnTo>
                  <a:pt x="3684" y="1034"/>
                </a:lnTo>
                <a:lnTo>
                  <a:pt x="3688" y="1036"/>
                </a:lnTo>
                <a:lnTo>
                  <a:pt x="3688" y="1036"/>
                </a:lnTo>
                <a:lnTo>
                  <a:pt x="3696" y="1036"/>
                </a:lnTo>
                <a:lnTo>
                  <a:pt x="3696" y="1036"/>
                </a:lnTo>
                <a:lnTo>
                  <a:pt x="3684" y="1026"/>
                </a:lnTo>
                <a:lnTo>
                  <a:pt x="3684" y="1026"/>
                </a:lnTo>
                <a:lnTo>
                  <a:pt x="3696" y="1018"/>
                </a:lnTo>
                <a:lnTo>
                  <a:pt x="3696" y="1018"/>
                </a:lnTo>
                <a:lnTo>
                  <a:pt x="3690" y="1014"/>
                </a:lnTo>
                <a:lnTo>
                  <a:pt x="3690" y="1014"/>
                </a:lnTo>
                <a:lnTo>
                  <a:pt x="3692" y="1008"/>
                </a:lnTo>
                <a:lnTo>
                  <a:pt x="3694" y="1004"/>
                </a:lnTo>
                <a:lnTo>
                  <a:pt x="3698" y="1002"/>
                </a:lnTo>
                <a:lnTo>
                  <a:pt x="3698" y="1002"/>
                </a:lnTo>
                <a:lnTo>
                  <a:pt x="3696" y="998"/>
                </a:lnTo>
                <a:lnTo>
                  <a:pt x="3696" y="998"/>
                </a:lnTo>
                <a:lnTo>
                  <a:pt x="3700" y="1000"/>
                </a:lnTo>
                <a:lnTo>
                  <a:pt x="3700" y="1000"/>
                </a:lnTo>
                <a:lnTo>
                  <a:pt x="3702" y="994"/>
                </a:lnTo>
                <a:lnTo>
                  <a:pt x="3702" y="994"/>
                </a:lnTo>
                <a:lnTo>
                  <a:pt x="3704" y="994"/>
                </a:lnTo>
                <a:lnTo>
                  <a:pt x="3704" y="994"/>
                </a:lnTo>
                <a:lnTo>
                  <a:pt x="3704" y="1002"/>
                </a:lnTo>
                <a:lnTo>
                  <a:pt x="3704" y="1002"/>
                </a:lnTo>
                <a:lnTo>
                  <a:pt x="3706" y="1006"/>
                </a:lnTo>
                <a:lnTo>
                  <a:pt x="3710" y="1008"/>
                </a:lnTo>
                <a:lnTo>
                  <a:pt x="3710" y="1008"/>
                </a:lnTo>
                <a:lnTo>
                  <a:pt x="3708" y="994"/>
                </a:lnTo>
                <a:lnTo>
                  <a:pt x="3708" y="994"/>
                </a:lnTo>
                <a:lnTo>
                  <a:pt x="3718" y="994"/>
                </a:lnTo>
                <a:lnTo>
                  <a:pt x="3722" y="996"/>
                </a:lnTo>
                <a:lnTo>
                  <a:pt x="3724" y="998"/>
                </a:lnTo>
                <a:lnTo>
                  <a:pt x="3724" y="998"/>
                </a:lnTo>
                <a:lnTo>
                  <a:pt x="3724" y="1000"/>
                </a:lnTo>
                <a:lnTo>
                  <a:pt x="3722" y="1002"/>
                </a:lnTo>
                <a:lnTo>
                  <a:pt x="3716" y="1004"/>
                </a:lnTo>
                <a:lnTo>
                  <a:pt x="3716" y="1004"/>
                </a:lnTo>
                <a:lnTo>
                  <a:pt x="3718" y="1008"/>
                </a:lnTo>
                <a:lnTo>
                  <a:pt x="3718" y="1008"/>
                </a:lnTo>
                <a:lnTo>
                  <a:pt x="3722" y="1006"/>
                </a:lnTo>
                <a:lnTo>
                  <a:pt x="3722" y="1006"/>
                </a:lnTo>
                <a:lnTo>
                  <a:pt x="3738" y="1004"/>
                </a:lnTo>
                <a:lnTo>
                  <a:pt x="3738" y="1004"/>
                </a:lnTo>
                <a:lnTo>
                  <a:pt x="3732" y="1000"/>
                </a:lnTo>
                <a:lnTo>
                  <a:pt x="3732" y="1000"/>
                </a:lnTo>
                <a:lnTo>
                  <a:pt x="3730" y="1000"/>
                </a:lnTo>
                <a:lnTo>
                  <a:pt x="3730" y="1000"/>
                </a:lnTo>
                <a:lnTo>
                  <a:pt x="3732" y="1000"/>
                </a:lnTo>
                <a:lnTo>
                  <a:pt x="3732" y="1000"/>
                </a:lnTo>
                <a:lnTo>
                  <a:pt x="3724" y="998"/>
                </a:lnTo>
                <a:lnTo>
                  <a:pt x="3724" y="998"/>
                </a:lnTo>
                <a:lnTo>
                  <a:pt x="3724" y="994"/>
                </a:lnTo>
                <a:lnTo>
                  <a:pt x="3720" y="992"/>
                </a:lnTo>
                <a:lnTo>
                  <a:pt x="3720" y="992"/>
                </a:lnTo>
                <a:lnTo>
                  <a:pt x="3716" y="990"/>
                </a:lnTo>
                <a:lnTo>
                  <a:pt x="3714" y="988"/>
                </a:lnTo>
                <a:lnTo>
                  <a:pt x="3714" y="982"/>
                </a:lnTo>
                <a:lnTo>
                  <a:pt x="3714" y="982"/>
                </a:lnTo>
                <a:lnTo>
                  <a:pt x="3716" y="980"/>
                </a:lnTo>
                <a:lnTo>
                  <a:pt x="3718" y="978"/>
                </a:lnTo>
                <a:lnTo>
                  <a:pt x="3726" y="978"/>
                </a:lnTo>
                <a:lnTo>
                  <a:pt x="3726" y="978"/>
                </a:lnTo>
                <a:lnTo>
                  <a:pt x="3734" y="980"/>
                </a:lnTo>
                <a:lnTo>
                  <a:pt x="3734" y="980"/>
                </a:lnTo>
                <a:lnTo>
                  <a:pt x="3738" y="980"/>
                </a:lnTo>
                <a:lnTo>
                  <a:pt x="3738" y="980"/>
                </a:lnTo>
                <a:lnTo>
                  <a:pt x="3744" y="982"/>
                </a:lnTo>
                <a:lnTo>
                  <a:pt x="3744" y="982"/>
                </a:lnTo>
                <a:lnTo>
                  <a:pt x="3744" y="988"/>
                </a:lnTo>
                <a:lnTo>
                  <a:pt x="3744" y="988"/>
                </a:lnTo>
                <a:lnTo>
                  <a:pt x="3748" y="992"/>
                </a:lnTo>
                <a:lnTo>
                  <a:pt x="3748" y="992"/>
                </a:lnTo>
                <a:lnTo>
                  <a:pt x="3744" y="988"/>
                </a:lnTo>
                <a:lnTo>
                  <a:pt x="3744" y="988"/>
                </a:lnTo>
                <a:lnTo>
                  <a:pt x="3746" y="1004"/>
                </a:lnTo>
                <a:lnTo>
                  <a:pt x="3746" y="1004"/>
                </a:lnTo>
                <a:lnTo>
                  <a:pt x="3756" y="1004"/>
                </a:lnTo>
                <a:lnTo>
                  <a:pt x="3756" y="1004"/>
                </a:lnTo>
                <a:lnTo>
                  <a:pt x="3758" y="994"/>
                </a:lnTo>
                <a:lnTo>
                  <a:pt x="3758" y="994"/>
                </a:lnTo>
                <a:lnTo>
                  <a:pt x="3756" y="994"/>
                </a:lnTo>
                <a:lnTo>
                  <a:pt x="3756" y="994"/>
                </a:lnTo>
                <a:lnTo>
                  <a:pt x="3758" y="994"/>
                </a:lnTo>
                <a:lnTo>
                  <a:pt x="3758" y="994"/>
                </a:lnTo>
                <a:lnTo>
                  <a:pt x="3762" y="982"/>
                </a:lnTo>
                <a:lnTo>
                  <a:pt x="3762" y="982"/>
                </a:lnTo>
                <a:lnTo>
                  <a:pt x="3764" y="980"/>
                </a:lnTo>
                <a:lnTo>
                  <a:pt x="3764" y="980"/>
                </a:lnTo>
                <a:lnTo>
                  <a:pt x="3768" y="980"/>
                </a:lnTo>
                <a:lnTo>
                  <a:pt x="3770" y="982"/>
                </a:lnTo>
                <a:lnTo>
                  <a:pt x="3772" y="986"/>
                </a:lnTo>
                <a:lnTo>
                  <a:pt x="3772" y="986"/>
                </a:lnTo>
                <a:lnTo>
                  <a:pt x="3780" y="990"/>
                </a:lnTo>
                <a:lnTo>
                  <a:pt x="3780" y="990"/>
                </a:lnTo>
                <a:lnTo>
                  <a:pt x="3780" y="988"/>
                </a:lnTo>
                <a:lnTo>
                  <a:pt x="3780" y="988"/>
                </a:lnTo>
                <a:lnTo>
                  <a:pt x="3780" y="990"/>
                </a:lnTo>
                <a:lnTo>
                  <a:pt x="3780" y="990"/>
                </a:lnTo>
                <a:lnTo>
                  <a:pt x="3784" y="990"/>
                </a:lnTo>
                <a:lnTo>
                  <a:pt x="3784" y="990"/>
                </a:lnTo>
                <a:lnTo>
                  <a:pt x="3790" y="992"/>
                </a:lnTo>
                <a:lnTo>
                  <a:pt x="3790" y="992"/>
                </a:lnTo>
                <a:lnTo>
                  <a:pt x="3792" y="982"/>
                </a:lnTo>
                <a:lnTo>
                  <a:pt x="3792" y="982"/>
                </a:lnTo>
                <a:lnTo>
                  <a:pt x="3796" y="978"/>
                </a:lnTo>
                <a:lnTo>
                  <a:pt x="3796" y="978"/>
                </a:lnTo>
                <a:lnTo>
                  <a:pt x="3792" y="974"/>
                </a:lnTo>
                <a:lnTo>
                  <a:pt x="3792" y="974"/>
                </a:lnTo>
                <a:lnTo>
                  <a:pt x="3794" y="968"/>
                </a:lnTo>
                <a:lnTo>
                  <a:pt x="3796" y="968"/>
                </a:lnTo>
                <a:lnTo>
                  <a:pt x="3796" y="968"/>
                </a:lnTo>
                <a:lnTo>
                  <a:pt x="3800" y="972"/>
                </a:lnTo>
                <a:lnTo>
                  <a:pt x="3800" y="972"/>
                </a:lnTo>
                <a:lnTo>
                  <a:pt x="3802" y="986"/>
                </a:lnTo>
                <a:lnTo>
                  <a:pt x="3802" y="986"/>
                </a:lnTo>
                <a:lnTo>
                  <a:pt x="3806" y="986"/>
                </a:lnTo>
                <a:lnTo>
                  <a:pt x="3808" y="986"/>
                </a:lnTo>
                <a:lnTo>
                  <a:pt x="3808" y="986"/>
                </a:lnTo>
                <a:lnTo>
                  <a:pt x="3814" y="986"/>
                </a:lnTo>
                <a:lnTo>
                  <a:pt x="3814" y="986"/>
                </a:lnTo>
                <a:lnTo>
                  <a:pt x="3812" y="982"/>
                </a:lnTo>
                <a:lnTo>
                  <a:pt x="3812" y="982"/>
                </a:lnTo>
                <a:lnTo>
                  <a:pt x="3810" y="982"/>
                </a:lnTo>
                <a:lnTo>
                  <a:pt x="3810" y="982"/>
                </a:lnTo>
                <a:lnTo>
                  <a:pt x="3812" y="982"/>
                </a:lnTo>
                <a:lnTo>
                  <a:pt x="3812" y="982"/>
                </a:lnTo>
                <a:lnTo>
                  <a:pt x="3812" y="980"/>
                </a:lnTo>
                <a:lnTo>
                  <a:pt x="3812" y="980"/>
                </a:lnTo>
                <a:lnTo>
                  <a:pt x="3816" y="978"/>
                </a:lnTo>
                <a:lnTo>
                  <a:pt x="3816" y="978"/>
                </a:lnTo>
                <a:lnTo>
                  <a:pt x="3822" y="978"/>
                </a:lnTo>
                <a:lnTo>
                  <a:pt x="3826" y="978"/>
                </a:lnTo>
                <a:lnTo>
                  <a:pt x="3828" y="980"/>
                </a:lnTo>
                <a:lnTo>
                  <a:pt x="3828" y="980"/>
                </a:lnTo>
                <a:lnTo>
                  <a:pt x="3822" y="982"/>
                </a:lnTo>
                <a:lnTo>
                  <a:pt x="3822" y="982"/>
                </a:lnTo>
                <a:lnTo>
                  <a:pt x="3820" y="982"/>
                </a:lnTo>
                <a:lnTo>
                  <a:pt x="3818" y="982"/>
                </a:lnTo>
                <a:lnTo>
                  <a:pt x="3818" y="982"/>
                </a:lnTo>
                <a:lnTo>
                  <a:pt x="3820" y="986"/>
                </a:lnTo>
                <a:lnTo>
                  <a:pt x="3820" y="986"/>
                </a:lnTo>
                <a:lnTo>
                  <a:pt x="3824" y="984"/>
                </a:lnTo>
                <a:lnTo>
                  <a:pt x="3828" y="980"/>
                </a:lnTo>
                <a:lnTo>
                  <a:pt x="3828" y="980"/>
                </a:lnTo>
                <a:lnTo>
                  <a:pt x="3832" y="980"/>
                </a:lnTo>
                <a:lnTo>
                  <a:pt x="3832" y="980"/>
                </a:lnTo>
                <a:lnTo>
                  <a:pt x="3836" y="980"/>
                </a:lnTo>
                <a:lnTo>
                  <a:pt x="3836" y="980"/>
                </a:lnTo>
                <a:lnTo>
                  <a:pt x="3840" y="978"/>
                </a:lnTo>
                <a:lnTo>
                  <a:pt x="3840" y="978"/>
                </a:lnTo>
                <a:lnTo>
                  <a:pt x="3842" y="976"/>
                </a:lnTo>
                <a:lnTo>
                  <a:pt x="3840" y="972"/>
                </a:lnTo>
                <a:lnTo>
                  <a:pt x="3838" y="970"/>
                </a:lnTo>
                <a:lnTo>
                  <a:pt x="3836" y="968"/>
                </a:lnTo>
                <a:lnTo>
                  <a:pt x="3836" y="968"/>
                </a:lnTo>
                <a:lnTo>
                  <a:pt x="3854" y="968"/>
                </a:lnTo>
                <a:lnTo>
                  <a:pt x="3854" y="968"/>
                </a:lnTo>
                <a:lnTo>
                  <a:pt x="3862" y="968"/>
                </a:lnTo>
                <a:lnTo>
                  <a:pt x="3864" y="970"/>
                </a:lnTo>
                <a:lnTo>
                  <a:pt x="3868" y="974"/>
                </a:lnTo>
                <a:lnTo>
                  <a:pt x="3868" y="974"/>
                </a:lnTo>
                <a:lnTo>
                  <a:pt x="3860" y="980"/>
                </a:lnTo>
                <a:lnTo>
                  <a:pt x="3860" y="980"/>
                </a:lnTo>
                <a:lnTo>
                  <a:pt x="3872" y="986"/>
                </a:lnTo>
                <a:lnTo>
                  <a:pt x="3880" y="994"/>
                </a:lnTo>
                <a:lnTo>
                  <a:pt x="3880" y="994"/>
                </a:lnTo>
                <a:lnTo>
                  <a:pt x="3884" y="994"/>
                </a:lnTo>
                <a:lnTo>
                  <a:pt x="3884" y="994"/>
                </a:lnTo>
                <a:lnTo>
                  <a:pt x="3884" y="996"/>
                </a:lnTo>
                <a:lnTo>
                  <a:pt x="3884" y="996"/>
                </a:lnTo>
                <a:lnTo>
                  <a:pt x="3884" y="996"/>
                </a:lnTo>
                <a:lnTo>
                  <a:pt x="3882" y="996"/>
                </a:lnTo>
                <a:lnTo>
                  <a:pt x="3882" y="996"/>
                </a:lnTo>
                <a:lnTo>
                  <a:pt x="3884" y="1004"/>
                </a:lnTo>
                <a:lnTo>
                  <a:pt x="3884" y="1004"/>
                </a:lnTo>
                <a:lnTo>
                  <a:pt x="3890" y="1004"/>
                </a:lnTo>
                <a:lnTo>
                  <a:pt x="3892" y="1002"/>
                </a:lnTo>
                <a:lnTo>
                  <a:pt x="3896" y="998"/>
                </a:lnTo>
                <a:lnTo>
                  <a:pt x="3896" y="998"/>
                </a:lnTo>
                <a:lnTo>
                  <a:pt x="3896" y="1024"/>
                </a:lnTo>
                <a:lnTo>
                  <a:pt x="3896" y="1024"/>
                </a:lnTo>
                <a:lnTo>
                  <a:pt x="3888" y="1022"/>
                </a:lnTo>
                <a:lnTo>
                  <a:pt x="3878" y="1022"/>
                </a:lnTo>
                <a:lnTo>
                  <a:pt x="3878" y="1022"/>
                </a:lnTo>
                <a:lnTo>
                  <a:pt x="3862" y="1024"/>
                </a:lnTo>
                <a:lnTo>
                  <a:pt x="3856" y="1024"/>
                </a:lnTo>
                <a:lnTo>
                  <a:pt x="3848" y="1022"/>
                </a:lnTo>
                <a:lnTo>
                  <a:pt x="3848" y="1022"/>
                </a:lnTo>
                <a:lnTo>
                  <a:pt x="3840" y="1020"/>
                </a:lnTo>
                <a:lnTo>
                  <a:pt x="3832" y="1020"/>
                </a:lnTo>
                <a:lnTo>
                  <a:pt x="3818" y="1024"/>
                </a:lnTo>
                <a:lnTo>
                  <a:pt x="3818" y="1024"/>
                </a:lnTo>
                <a:lnTo>
                  <a:pt x="3816" y="1024"/>
                </a:lnTo>
                <a:lnTo>
                  <a:pt x="3816" y="1024"/>
                </a:lnTo>
                <a:lnTo>
                  <a:pt x="3816" y="1016"/>
                </a:lnTo>
                <a:lnTo>
                  <a:pt x="3816" y="1016"/>
                </a:lnTo>
                <a:lnTo>
                  <a:pt x="3810" y="1018"/>
                </a:lnTo>
                <a:lnTo>
                  <a:pt x="3810" y="1018"/>
                </a:lnTo>
                <a:lnTo>
                  <a:pt x="3814" y="1012"/>
                </a:lnTo>
                <a:lnTo>
                  <a:pt x="3814" y="1012"/>
                </a:lnTo>
                <a:lnTo>
                  <a:pt x="3814" y="1012"/>
                </a:lnTo>
                <a:lnTo>
                  <a:pt x="3814" y="1012"/>
                </a:lnTo>
                <a:lnTo>
                  <a:pt x="3816" y="1010"/>
                </a:lnTo>
                <a:lnTo>
                  <a:pt x="3816" y="1010"/>
                </a:lnTo>
                <a:lnTo>
                  <a:pt x="3814" y="990"/>
                </a:lnTo>
                <a:lnTo>
                  <a:pt x="3814" y="990"/>
                </a:lnTo>
                <a:lnTo>
                  <a:pt x="3810" y="992"/>
                </a:lnTo>
                <a:lnTo>
                  <a:pt x="3804" y="994"/>
                </a:lnTo>
                <a:lnTo>
                  <a:pt x="3804" y="994"/>
                </a:lnTo>
                <a:lnTo>
                  <a:pt x="3802" y="994"/>
                </a:lnTo>
                <a:lnTo>
                  <a:pt x="3802" y="994"/>
                </a:lnTo>
                <a:lnTo>
                  <a:pt x="3804" y="1004"/>
                </a:lnTo>
                <a:lnTo>
                  <a:pt x="3804" y="1004"/>
                </a:lnTo>
                <a:lnTo>
                  <a:pt x="3814" y="1012"/>
                </a:lnTo>
                <a:lnTo>
                  <a:pt x="3814" y="1012"/>
                </a:lnTo>
                <a:lnTo>
                  <a:pt x="3804" y="1012"/>
                </a:lnTo>
                <a:lnTo>
                  <a:pt x="3804" y="1012"/>
                </a:lnTo>
                <a:lnTo>
                  <a:pt x="3808" y="1030"/>
                </a:lnTo>
                <a:lnTo>
                  <a:pt x="3812" y="1034"/>
                </a:lnTo>
                <a:lnTo>
                  <a:pt x="3814" y="1038"/>
                </a:lnTo>
                <a:lnTo>
                  <a:pt x="3814" y="1038"/>
                </a:lnTo>
                <a:lnTo>
                  <a:pt x="3816" y="1030"/>
                </a:lnTo>
                <a:lnTo>
                  <a:pt x="3816" y="1030"/>
                </a:lnTo>
                <a:lnTo>
                  <a:pt x="3822" y="1030"/>
                </a:lnTo>
                <a:lnTo>
                  <a:pt x="3822" y="1030"/>
                </a:lnTo>
                <a:lnTo>
                  <a:pt x="3828" y="1030"/>
                </a:lnTo>
                <a:lnTo>
                  <a:pt x="3832" y="1030"/>
                </a:lnTo>
                <a:lnTo>
                  <a:pt x="3832" y="1030"/>
                </a:lnTo>
                <a:lnTo>
                  <a:pt x="3838" y="1036"/>
                </a:lnTo>
                <a:lnTo>
                  <a:pt x="3848" y="1038"/>
                </a:lnTo>
                <a:lnTo>
                  <a:pt x="3864" y="1036"/>
                </a:lnTo>
                <a:lnTo>
                  <a:pt x="3864" y="1036"/>
                </a:lnTo>
                <a:lnTo>
                  <a:pt x="3874" y="1036"/>
                </a:lnTo>
                <a:lnTo>
                  <a:pt x="3884" y="1038"/>
                </a:lnTo>
                <a:lnTo>
                  <a:pt x="3884" y="1038"/>
                </a:lnTo>
                <a:lnTo>
                  <a:pt x="3886" y="1044"/>
                </a:lnTo>
                <a:lnTo>
                  <a:pt x="3888" y="1048"/>
                </a:lnTo>
                <a:lnTo>
                  <a:pt x="3894" y="1052"/>
                </a:lnTo>
                <a:lnTo>
                  <a:pt x="3902" y="1054"/>
                </a:lnTo>
                <a:lnTo>
                  <a:pt x="3902" y="1054"/>
                </a:lnTo>
                <a:lnTo>
                  <a:pt x="3896" y="1042"/>
                </a:lnTo>
                <a:lnTo>
                  <a:pt x="3896" y="1042"/>
                </a:lnTo>
                <a:lnTo>
                  <a:pt x="3932" y="1040"/>
                </a:lnTo>
                <a:lnTo>
                  <a:pt x="3932" y="1040"/>
                </a:lnTo>
                <a:lnTo>
                  <a:pt x="3940" y="1040"/>
                </a:lnTo>
                <a:lnTo>
                  <a:pt x="3948" y="1034"/>
                </a:lnTo>
                <a:lnTo>
                  <a:pt x="3948" y="1034"/>
                </a:lnTo>
                <a:lnTo>
                  <a:pt x="3948" y="1034"/>
                </a:lnTo>
                <a:lnTo>
                  <a:pt x="3936" y="1028"/>
                </a:lnTo>
                <a:lnTo>
                  <a:pt x="3928" y="1028"/>
                </a:lnTo>
                <a:lnTo>
                  <a:pt x="3920" y="1028"/>
                </a:lnTo>
                <a:lnTo>
                  <a:pt x="3920" y="1028"/>
                </a:lnTo>
                <a:lnTo>
                  <a:pt x="3912" y="1028"/>
                </a:lnTo>
                <a:lnTo>
                  <a:pt x="3904" y="1026"/>
                </a:lnTo>
                <a:lnTo>
                  <a:pt x="3904" y="1026"/>
                </a:lnTo>
                <a:lnTo>
                  <a:pt x="3898" y="1024"/>
                </a:lnTo>
                <a:lnTo>
                  <a:pt x="3898" y="1024"/>
                </a:lnTo>
                <a:lnTo>
                  <a:pt x="3902" y="1020"/>
                </a:lnTo>
                <a:lnTo>
                  <a:pt x="3902" y="1020"/>
                </a:lnTo>
                <a:lnTo>
                  <a:pt x="3914" y="1018"/>
                </a:lnTo>
                <a:lnTo>
                  <a:pt x="3914" y="1018"/>
                </a:lnTo>
                <a:lnTo>
                  <a:pt x="3926" y="1012"/>
                </a:lnTo>
                <a:lnTo>
                  <a:pt x="3926" y="1012"/>
                </a:lnTo>
                <a:lnTo>
                  <a:pt x="3924" y="1002"/>
                </a:lnTo>
                <a:lnTo>
                  <a:pt x="3924" y="1002"/>
                </a:lnTo>
                <a:lnTo>
                  <a:pt x="3922" y="1002"/>
                </a:lnTo>
                <a:lnTo>
                  <a:pt x="3916" y="1000"/>
                </a:lnTo>
                <a:lnTo>
                  <a:pt x="3914" y="998"/>
                </a:lnTo>
                <a:lnTo>
                  <a:pt x="3914" y="994"/>
                </a:lnTo>
                <a:lnTo>
                  <a:pt x="3914" y="994"/>
                </a:lnTo>
                <a:lnTo>
                  <a:pt x="3922" y="992"/>
                </a:lnTo>
                <a:lnTo>
                  <a:pt x="3924" y="990"/>
                </a:lnTo>
                <a:lnTo>
                  <a:pt x="3924" y="986"/>
                </a:lnTo>
                <a:lnTo>
                  <a:pt x="3924" y="986"/>
                </a:lnTo>
                <a:lnTo>
                  <a:pt x="3914" y="982"/>
                </a:lnTo>
                <a:lnTo>
                  <a:pt x="3914" y="982"/>
                </a:lnTo>
                <a:lnTo>
                  <a:pt x="3924" y="976"/>
                </a:lnTo>
                <a:lnTo>
                  <a:pt x="3934" y="976"/>
                </a:lnTo>
                <a:lnTo>
                  <a:pt x="3934" y="976"/>
                </a:lnTo>
                <a:lnTo>
                  <a:pt x="3942" y="964"/>
                </a:lnTo>
                <a:lnTo>
                  <a:pt x="3942" y="964"/>
                </a:lnTo>
                <a:lnTo>
                  <a:pt x="3926" y="958"/>
                </a:lnTo>
                <a:lnTo>
                  <a:pt x="3926" y="958"/>
                </a:lnTo>
                <a:lnTo>
                  <a:pt x="3924" y="956"/>
                </a:lnTo>
                <a:lnTo>
                  <a:pt x="3924" y="954"/>
                </a:lnTo>
                <a:lnTo>
                  <a:pt x="3924" y="954"/>
                </a:lnTo>
                <a:lnTo>
                  <a:pt x="3930" y="952"/>
                </a:lnTo>
                <a:lnTo>
                  <a:pt x="3930" y="952"/>
                </a:lnTo>
                <a:lnTo>
                  <a:pt x="3970" y="950"/>
                </a:lnTo>
                <a:lnTo>
                  <a:pt x="3970" y="950"/>
                </a:lnTo>
                <a:lnTo>
                  <a:pt x="3966" y="946"/>
                </a:lnTo>
                <a:lnTo>
                  <a:pt x="3966" y="942"/>
                </a:lnTo>
                <a:lnTo>
                  <a:pt x="3966" y="936"/>
                </a:lnTo>
                <a:lnTo>
                  <a:pt x="3964" y="932"/>
                </a:lnTo>
                <a:lnTo>
                  <a:pt x="3964" y="932"/>
                </a:lnTo>
                <a:lnTo>
                  <a:pt x="3970" y="930"/>
                </a:lnTo>
                <a:lnTo>
                  <a:pt x="3976" y="928"/>
                </a:lnTo>
                <a:lnTo>
                  <a:pt x="3988" y="930"/>
                </a:lnTo>
                <a:lnTo>
                  <a:pt x="3988" y="930"/>
                </a:lnTo>
                <a:lnTo>
                  <a:pt x="4006" y="934"/>
                </a:lnTo>
                <a:lnTo>
                  <a:pt x="4006" y="934"/>
                </a:lnTo>
                <a:lnTo>
                  <a:pt x="4014" y="936"/>
                </a:lnTo>
                <a:lnTo>
                  <a:pt x="4024" y="934"/>
                </a:lnTo>
                <a:lnTo>
                  <a:pt x="4024" y="934"/>
                </a:lnTo>
                <a:lnTo>
                  <a:pt x="4018" y="922"/>
                </a:lnTo>
                <a:lnTo>
                  <a:pt x="4018" y="922"/>
                </a:lnTo>
                <a:lnTo>
                  <a:pt x="4022" y="922"/>
                </a:lnTo>
                <a:lnTo>
                  <a:pt x="4022" y="922"/>
                </a:lnTo>
                <a:lnTo>
                  <a:pt x="4034" y="920"/>
                </a:lnTo>
                <a:lnTo>
                  <a:pt x="4044" y="918"/>
                </a:lnTo>
                <a:lnTo>
                  <a:pt x="4044" y="918"/>
                </a:lnTo>
                <a:lnTo>
                  <a:pt x="4056" y="914"/>
                </a:lnTo>
                <a:lnTo>
                  <a:pt x="4066" y="914"/>
                </a:lnTo>
                <a:lnTo>
                  <a:pt x="4066" y="914"/>
                </a:lnTo>
                <a:lnTo>
                  <a:pt x="4076" y="914"/>
                </a:lnTo>
                <a:lnTo>
                  <a:pt x="4084" y="914"/>
                </a:lnTo>
                <a:lnTo>
                  <a:pt x="4094" y="914"/>
                </a:lnTo>
                <a:lnTo>
                  <a:pt x="4102" y="918"/>
                </a:lnTo>
                <a:lnTo>
                  <a:pt x="4102" y="918"/>
                </a:lnTo>
                <a:lnTo>
                  <a:pt x="4106" y="918"/>
                </a:lnTo>
                <a:lnTo>
                  <a:pt x="4106" y="918"/>
                </a:lnTo>
                <a:lnTo>
                  <a:pt x="4112" y="916"/>
                </a:lnTo>
                <a:lnTo>
                  <a:pt x="4118" y="918"/>
                </a:lnTo>
                <a:lnTo>
                  <a:pt x="4126" y="922"/>
                </a:lnTo>
                <a:lnTo>
                  <a:pt x="4126" y="922"/>
                </a:lnTo>
                <a:lnTo>
                  <a:pt x="4126" y="924"/>
                </a:lnTo>
                <a:lnTo>
                  <a:pt x="4126" y="924"/>
                </a:lnTo>
                <a:lnTo>
                  <a:pt x="4126" y="928"/>
                </a:lnTo>
                <a:lnTo>
                  <a:pt x="4126" y="928"/>
                </a:lnTo>
                <a:lnTo>
                  <a:pt x="4134" y="930"/>
                </a:lnTo>
                <a:lnTo>
                  <a:pt x="4134" y="930"/>
                </a:lnTo>
                <a:lnTo>
                  <a:pt x="4146" y="926"/>
                </a:lnTo>
                <a:lnTo>
                  <a:pt x="4146" y="926"/>
                </a:lnTo>
                <a:lnTo>
                  <a:pt x="4158" y="926"/>
                </a:lnTo>
                <a:lnTo>
                  <a:pt x="4164" y="926"/>
                </a:lnTo>
                <a:lnTo>
                  <a:pt x="4170" y="928"/>
                </a:lnTo>
                <a:lnTo>
                  <a:pt x="4170" y="928"/>
                </a:lnTo>
                <a:lnTo>
                  <a:pt x="4180" y="932"/>
                </a:lnTo>
                <a:lnTo>
                  <a:pt x="4190" y="934"/>
                </a:lnTo>
                <a:lnTo>
                  <a:pt x="4190" y="934"/>
                </a:lnTo>
                <a:lnTo>
                  <a:pt x="4214" y="934"/>
                </a:lnTo>
                <a:lnTo>
                  <a:pt x="4214" y="934"/>
                </a:lnTo>
                <a:lnTo>
                  <a:pt x="4226" y="936"/>
                </a:lnTo>
                <a:lnTo>
                  <a:pt x="4230" y="938"/>
                </a:lnTo>
                <a:lnTo>
                  <a:pt x="4234" y="942"/>
                </a:lnTo>
                <a:lnTo>
                  <a:pt x="4234" y="942"/>
                </a:lnTo>
                <a:lnTo>
                  <a:pt x="4242" y="950"/>
                </a:lnTo>
                <a:lnTo>
                  <a:pt x="4242" y="950"/>
                </a:lnTo>
                <a:lnTo>
                  <a:pt x="4258" y="942"/>
                </a:lnTo>
                <a:lnTo>
                  <a:pt x="4258" y="942"/>
                </a:lnTo>
                <a:lnTo>
                  <a:pt x="4258" y="946"/>
                </a:lnTo>
                <a:lnTo>
                  <a:pt x="4258" y="946"/>
                </a:lnTo>
                <a:lnTo>
                  <a:pt x="4262" y="948"/>
                </a:lnTo>
                <a:lnTo>
                  <a:pt x="4266" y="950"/>
                </a:lnTo>
                <a:lnTo>
                  <a:pt x="4270" y="956"/>
                </a:lnTo>
                <a:lnTo>
                  <a:pt x="4270" y="956"/>
                </a:lnTo>
                <a:lnTo>
                  <a:pt x="4278" y="956"/>
                </a:lnTo>
                <a:lnTo>
                  <a:pt x="4282" y="954"/>
                </a:lnTo>
                <a:lnTo>
                  <a:pt x="4286" y="952"/>
                </a:lnTo>
                <a:lnTo>
                  <a:pt x="4286" y="952"/>
                </a:lnTo>
                <a:lnTo>
                  <a:pt x="4292" y="950"/>
                </a:lnTo>
                <a:lnTo>
                  <a:pt x="4292" y="950"/>
                </a:lnTo>
                <a:lnTo>
                  <a:pt x="4296" y="956"/>
                </a:lnTo>
                <a:lnTo>
                  <a:pt x="4300" y="960"/>
                </a:lnTo>
                <a:lnTo>
                  <a:pt x="4306" y="966"/>
                </a:lnTo>
                <a:lnTo>
                  <a:pt x="4314" y="968"/>
                </a:lnTo>
                <a:lnTo>
                  <a:pt x="4314" y="968"/>
                </a:lnTo>
                <a:lnTo>
                  <a:pt x="4306" y="978"/>
                </a:lnTo>
                <a:lnTo>
                  <a:pt x="4306" y="978"/>
                </a:lnTo>
                <a:lnTo>
                  <a:pt x="4320" y="980"/>
                </a:lnTo>
                <a:lnTo>
                  <a:pt x="4320" y="980"/>
                </a:lnTo>
                <a:lnTo>
                  <a:pt x="4328" y="982"/>
                </a:lnTo>
                <a:lnTo>
                  <a:pt x="4330" y="984"/>
                </a:lnTo>
                <a:lnTo>
                  <a:pt x="4332" y="986"/>
                </a:lnTo>
                <a:lnTo>
                  <a:pt x="4332" y="986"/>
                </a:lnTo>
                <a:lnTo>
                  <a:pt x="4336" y="998"/>
                </a:lnTo>
                <a:lnTo>
                  <a:pt x="4336" y="998"/>
                </a:lnTo>
                <a:lnTo>
                  <a:pt x="4328" y="1004"/>
                </a:lnTo>
                <a:lnTo>
                  <a:pt x="4328" y="1004"/>
                </a:lnTo>
                <a:lnTo>
                  <a:pt x="4334" y="1006"/>
                </a:lnTo>
                <a:lnTo>
                  <a:pt x="4334" y="1006"/>
                </a:lnTo>
                <a:lnTo>
                  <a:pt x="4334" y="1012"/>
                </a:lnTo>
                <a:lnTo>
                  <a:pt x="4338" y="1014"/>
                </a:lnTo>
                <a:lnTo>
                  <a:pt x="4348" y="1018"/>
                </a:lnTo>
                <a:lnTo>
                  <a:pt x="4348" y="1018"/>
                </a:lnTo>
                <a:lnTo>
                  <a:pt x="4354" y="1020"/>
                </a:lnTo>
                <a:lnTo>
                  <a:pt x="4356" y="1024"/>
                </a:lnTo>
                <a:lnTo>
                  <a:pt x="4358" y="1028"/>
                </a:lnTo>
                <a:lnTo>
                  <a:pt x="4358" y="1032"/>
                </a:lnTo>
                <a:lnTo>
                  <a:pt x="4358" y="1032"/>
                </a:lnTo>
                <a:lnTo>
                  <a:pt x="4360" y="1034"/>
                </a:lnTo>
                <a:lnTo>
                  <a:pt x="4362" y="1036"/>
                </a:lnTo>
                <a:lnTo>
                  <a:pt x="4362" y="1036"/>
                </a:lnTo>
                <a:lnTo>
                  <a:pt x="4364" y="1028"/>
                </a:lnTo>
                <a:lnTo>
                  <a:pt x="4368" y="1022"/>
                </a:lnTo>
                <a:lnTo>
                  <a:pt x="4368" y="1022"/>
                </a:lnTo>
                <a:lnTo>
                  <a:pt x="4374" y="1016"/>
                </a:lnTo>
                <a:lnTo>
                  <a:pt x="4382" y="1010"/>
                </a:lnTo>
                <a:lnTo>
                  <a:pt x="4382" y="1010"/>
                </a:lnTo>
                <a:lnTo>
                  <a:pt x="4374" y="1004"/>
                </a:lnTo>
                <a:lnTo>
                  <a:pt x="4372" y="1000"/>
                </a:lnTo>
                <a:lnTo>
                  <a:pt x="4372" y="996"/>
                </a:lnTo>
                <a:lnTo>
                  <a:pt x="4372" y="996"/>
                </a:lnTo>
                <a:lnTo>
                  <a:pt x="4370" y="994"/>
                </a:lnTo>
                <a:lnTo>
                  <a:pt x="4368" y="992"/>
                </a:lnTo>
                <a:lnTo>
                  <a:pt x="4372" y="988"/>
                </a:lnTo>
                <a:lnTo>
                  <a:pt x="4372" y="988"/>
                </a:lnTo>
                <a:lnTo>
                  <a:pt x="4370" y="986"/>
                </a:lnTo>
                <a:lnTo>
                  <a:pt x="4370" y="982"/>
                </a:lnTo>
                <a:lnTo>
                  <a:pt x="4370" y="978"/>
                </a:lnTo>
                <a:lnTo>
                  <a:pt x="4368" y="976"/>
                </a:lnTo>
                <a:lnTo>
                  <a:pt x="4368" y="976"/>
                </a:lnTo>
                <a:lnTo>
                  <a:pt x="4382" y="974"/>
                </a:lnTo>
                <a:lnTo>
                  <a:pt x="4382" y="974"/>
                </a:lnTo>
                <a:lnTo>
                  <a:pt x="4380" y="970"/>
                </a:lnTo>
                <a:lnTo>
                  <a:pt x="4380" y="968"/>
                </a:lnTo>
                <a:lnTo>
                  <a:pt x="4382" y="966"/>
                </a:lnTo>
                <a:lnTo>
                  <a:pt x="4386" y="964"/>
                </a:lnTo>
                <a:lnTo>
                  <a:pt x="4386" y="964"/>
                </a:lnTo>
                <a:lnTo>
                  <a:pt x="4388" y="962"/>
                </a:lnTo>
                <a:lnTo>
                  <a:pt x="4386" y="960"/>
                </a:lnTo>
                <a:lnTo>
                  <a:pt x="4382" y="958"/>
                </a:lnTo>
                <a:lnTo>
                  <a:pt x="4382" y="958"/>
                </a:lnTo>
                <a:lnTo>
                  <a:pt x="4378" y="956"/>
                </a:lnTo>
                <a:lnTo>
                  <a:pt x="4376" y="952"/>
                </a:lnTo>
                <a:lnTo>
                  <a:pt x="4378" y="950"/>
                </a:lnTo>
                <a:lnTo>
                  <a:pt x="4382" y="946"/>
                </a:lnTo>
                <a:lnTo>
                  <a:pt x="4382" y="946"/>
                </a:lnTo>
                <a:lnTo>
                  <a:pt x="4384" y="942"/>
                </a:lnTo>
                <a:lnTo>
                  <a:pt x="4384" y="942"/>
                </a:lnTo>
                <a:lnTo>
                  <a:pt x="4372" y="940"/>
                </a:lnTo>
                <a:lnTo>
                  <a:pt x="4372" y="940"/>
                </a:lnTo>
                <a:lnTo>
                  <a:pt x="4366" y="940"/>
                </a:lnTo>
                <a:lnTo>
                  <a:pt x="4364" y="938"/>
                </a:lnTo>
                <a:lnTo>
                  <a:pt x="4364" y="938"/>
                </a:lnTo>
                <a:lnTo>
                  <a:pt x="4362" y="934"/>
                </a:lnTo>
                <a:lnTo>
                  <a:pt x="4360" y="932"/>
                </a:lnTo>
                <a:lnTo>
                  <a:pt x="4352" y="926"/>
                </a:lnTo>
                <a:lnTo>
                  <a:pt x="4352" y="926"/>
                </a:lnTo>
                <a:lnTo>
                  <a:pt x="4348" y="920"/>
                </a:lnTo>
                <a:lnTo>
                  <a:pt x="4348" y="920"/>
                </a:lnTo>
                <a:lnTo>
                  <a:pt x="4354" y="922"/>
                </a:lnTo>
                <a:lnTo>
                  <a:pt x="4354" y="922"/>
                </a:lnTo>
                <a:lnTo>
                  <a:pt x="4360" y="924"/>
                </a:lnTo>
                <a:lnTo>
                  <a:pt x="4364" y="924"/>
                </a:lnTo>
                <a:lnTo>
                  <a:pt x="4374" y="922"/>
                </a:lnTo>
                <a:lnTo>
                  <a:pt x="4374" y="922"/>
                </a:lnTo>
                <a:lnTo>
                  <a:pt x="4380" y="916"/>
                </a:lnTo>
                <a:lnTo>
                  <a:pt x="4380" y="916"/>
                </a:lnTo>
                <a:lnTo>
                  <a:pt x="4386" y="914"/>
                </a:lnTo>
                <a:lnTo>
                  <a:pt x="4388" y="910"/>
                </a:lnTo>
                <a:lnTo>
                  <a:pt x="4388" y="908"/>
                </a:lnTo>
                <a:lnTo>
                  <a:pt x="4386" y="904"/>
                </a:lnTo>
                <a:lnTo>
                  <a:pt x="4386" y="904"/>
                </a:lnTo>
                <a:lnTo>
                  <a:pt x="4388" y="900"/>
                </a:lnTo>
                <a:lnTo>
                  <a:pt x="4388" y="896"/>
                </a:lnTo>
                <a:lnTo>
                  <a:pt x="4386" y="894"/>
                </a:lnTo>
                <a:lnTo>
                  <a:pt x="4380" y="892"/>
                </a:lnTo>
                <a:lnTo>
                  <a:pt x="4380" y="892"/>
                </a:lnTo>
                <a:lnTo>
                  <a:pt x="4368" y="888"/>
                </a:lnTo>
                <a:lnTo>
                  <a:pt x="4368" y="888"/>
                </a:lnTo>
                <a:lnTo>
                  <a:pt x="4362" y="886"/>
                </a:lnTo>
                <a:lnTo>
                  <a:pt x="4364" y="884"/>
                </a:lnTo>
                <a:lnTo>
                  <a:pt x="4366" y="880"/>
                </a:lnTo>
                <a:lnTo>
                  <a:pt x="4366" y="880"/>
                </a:lnTo>
                <a:lnTo>
                  <a:pt x="4370" y="876"/>
                </a:lnTo>
                <a:lnTo>
                  <a:pt x="4378" y="872"/>
                </a:lnTo>
                <a:lnTo>
                  <a:pt x="4378" y="872"/>
                </a:lnTo>
                <a:lnTo>
                  <a:pt x="4382" y="870"/>
                </a:lnTo>
                <a:lnTo>
                  <a:pt x="4386" y="868"/>
                </a:lnTo>
                <a:lnTo>
                  <a:pt x="4386" y="868"/>
                </a:lnTo>
                <a:lnTo>
                  <a:pt x="4380" y="862"/>
                </a:lnTo>
                <a:lnTo>
                  <a:pt x="4380" y="862"/>
                </a:lnTo>
                <a:lnTo>
                  <a:pt x="4386" y="862"/>
                </a:lnTo>
                <a:lnTo>
                  <a:pt x="4392" y="864"/>
                </a:lnTo>
                <a:lnTo>
                  <a:pt x="4396" y="868"/>
                </a:lnTo>
                <a:lnTo>
                  <a:pt x="4402" y="870"/>
                </a:lnTo>
                <a:lnTo>
                  <a:pt x="4402" y="870"/>
                </a:lnTo>
                <a:lnTo>
                  <a:pt x="4418" y="882"/>
                </a:lnTo>
                <a:lnTo>
                  <a:pt x="4418" y="882"/>
                </a:lnTo>
                <a:lnTo>
                  <a:pt x="4444" y="880"/>
                </a:lnTo>
                <a:lnTo>
                  <a:pt x="4444" y="880"/>
                </a:lnTo>
                <a:lnTo>
                  <a:pt x="4450" y="884"/>
                </a:lnTo>
                <a:lnTo>
                  <a:pt x="4456" y="884"/>
                </a:lnTo>
                <a:lnTo>
                  <a:pt x="4458" y="884"/>
                </a:lnTo>
                <a:lnTo>
                  <a:pt x="4460" y="880"/>
                </a:lnTo>
                <a:lnTo>
                  <a:pt x="4460" y="880"/>
                </a:lnTo>
                <a:lnTo>
                  <a:pt x="4436" y="872"/>
                </a:lnTo>
                <a:lnTo>
                  <a:pt x="4436" y="872"/>
                </a:lnTo>
                <a:lnTo>
                  <a:pt x="4434" y="870"/>
                </a:lnTo>
                <a:lnTo>
                  <a:pt x="4436" y="868"/>
                </a:lnTo>
                <a:lnTo>
                  <a:pt x="4438" y="864"/>
                </a:lnTo>
                <a:lnTo>
                  <a:pt x="4444" y="862"/>
                </a:lnTo>
                <a:lnTo>
                  <a:pt x="4446" y="860"/>
                </a:lnTo>
                <a:lnTo>
                  <a:pt x="4446" y="860"/>
                </a:lnTo>
                <a:lnTo>
                  <a:pt x="4452" y="862"/>
                </a:lnTo>
                <a:lnTo>
                  <a:pt x="4452" y="862"/>
                </a:lnTo>
                <a:lnTo>
                  <a:pt x="4452" y="864"/>
                </a:lnTo>
                <a:lnTo>
                  <a:pt x="4450" y="868"/>
                </a:lnTo>
                <a:lnTo>
                  <a:pt x="4450" y="868"/>
                </a:lnTo>
                <a:lnTo>
                  <a:pt x="4464" y="870"/>
                </a:lnTo>
                <a:lnTo>
                  <a:pt x="4464" y="870"/>
                </a:lnTo>
                <a:lnTo>
                  <a:pt x="4464" y="872"/>
                </a:lnTo>
                <a:lnTo>
                  <a:pt x="4466" y="874"/>
                </a:lnTo>
                <a:lnTo>
                  <a:pt x="4466" y="874"/>
                </a:lnTo>
                <a:lnTo>
                  <a:pt x="4472" y="870"/>
                </a:lnTo>
                <a:lnTo>
                  <a:pt x="4486" y="860"/>
                </a:lnTo>
                <a:lnTo>
                  <a:pt x="4508" y="844"/>
                </a:lnTo>
                <a:lnTo>
                  <a:pt x="4508" y="844"/>
                </a:lnTo>
                <a:lnTo>
                  <a:pt x="4524" y="838"/>
                </a:lnTo>
                <a:lnTo>
                  <a:pt x="4524" y="838"/>
                </a:lnTo>
                <a:lnTo>
                  <a:pt x="4554" y="828"/>
                </a:lnTo>
                <a:lnTo>
                  <a:pt x="4554" y="828"/>
                </a:lnTo>
                <a:lnTo>
                  <a:pt x="4550" y="822"/>
                </a:lnTo>
                <a:lnTo>
                  <a:pt x="4550" y="822"/>
                </a:lnTo>
                <a:lnTo>
                  <a:pt x="4554" y="808"/>
                </a:lnTo>
                <a:lnTo>
                  <a:pt x="4562" y="784"/>
                </a:lnTo>
                <a:lnTo>
                  <a:pt x="4566" y="760"/>
                </a:lnTo>
                <a:lnTo>
                  <a:pt x="4566" y="752"/>
                </a:lnTo>
                <a:lnTo>
                  <a:pt x="4564" y="746"/>
                </a:lnTo>
                <a:lnTo>
                  <a:pt x="4564" y="746"/>
                </a:lnTo>
                <a:close/>
                <a:moveTo>
                  <a:pt x="3632" y="204"/>
                </a:moveTo>
                <a:lnTo>
                  <a:pt x="3632" y="204"/>
                </a:lnTo>
                <a:lnTo>
                  <a:pt x="3624" y="202"/>
                </a:lnTo>
                <a:lnTo>
                  <a:pt x="3624" y="202"/>
                </a:lnTo>
                <a:lnTo>
                  <a:pt x="3626" y="200"/>
                </a:lnTo>
                <a:lnTo>
                  <a:pt x="3632" y="198"/>
                </a:lnTo>
                <a:lnTo>
                  <a:pt x="3642" y="198"/>
                </a:lnTo>
                <a:lnTo>
                  <a:pt x="3642" y="198"/>
                </a:lnTo>
                <a:lnTo>
                  <a:pt x="3638" y="202"/>
                </a:lnTo>
                <a:lnTo>
                  <a:pt x="3632" y="204"/>
                </a:lnTo>
                <a:lnTo>
                  <a:pt x="3632" y="204"/>
                </a:lnTo>
                <a:close/>
                <a:moveTo>
                  <a:pt x="2520" y="96"/>
                </a:moveTo>
                <a:lnTo>
                  <a:pt x="2520" y="96"/>
                </a:lnTo>
                <a:lnTo>
                  <a:pt x="2524" y="88"/>
                </a:lnTo>
                <a:lnTo>
                  <a:pt x="2524" y="88"/>
                </a:lnTo>
                <a:lnTo>
                  <a:pt x="2524" y="88"/>
                </a:lnTo>
                <a:lnTo>
                  <a:pt x="2524" y="88"/>
                </a:lnTo>
                <a:lnTo>
                  <a:pt x="2522" y="96"/>
                </a:lnTo>
                <a:lnTo>
                  <a:pt x="2522" y="96"/>
                </a:lnTo>
                <a:lnTo>
                  <a:pt x="2518" y="96"/>
                </a:lnTo>
                <a:lnTo>
                  <a:pt x="2518" y="96"/>
                </a:lnTo>
                <a:lnTo>
                  <a:pt x="2520" y="96"/>
                </a:lnTo>
                <a:lnTo>
                  <a:pt x="2520" y="96"/>
                </a:lnTo>
                <a:close/>
                <a:moveTo>
                  <a:pt x="318" y="324"/>
                </a:moveTo>
                <a:lnTo>
                  <a:pt x="318" y="324"/>
                </a:lnTo>
                <a:lnTo>
                  <a:pt x="316" y="324"/>
                </a:lnTo>
                <a:lnTo>
                  <a:pt x="312" y="324"/>
                </a:lnTo>
                <a:lnTo>
                  <a:pt x="312" y="324"/>
                </a:lnTo>
                <a:lnTo>
                  <a:pt x="316" y="324"/>
                </a:lnTo>
                <a:lnTo>
                  <a:pt x="318" y="324"/>
                </a:lnTo>
                <a:lnTo>
                  <a:pt x="318" y="324"/>
                </a:lnTo>
                <a:lnTo>
                  <a:pt x="318" y="322"/>
                </a:lnTo>
                <a:lnTo>
                  <a:pt x="318" y="322"/>
                </a:lnTo>
                <a:lnTo>
                  <a:pt x="318" y="322"/>
                </a:lnTo>
                <a:lnTo>
                  <a:pt x="318" y="322"/>
                </a:lnTo>
                <a:lnTo>
                  <a:pt x="318" y="324"/>
                </a:lnTo>
                <a:lnTo>
                  <a:pt x="318" y="324"/>
                </a:lnTo>
                <a:close/>
                <a:moveTo>
                  <a:pt x="104" y="888"/>
                </a:moveTo>
                <a:lnTo>
                  <a:pt x="104" y="888"/>
                </a:lnTo>
                <a:lnTo>
                  <a:pt x="108" y="888"/>
                </a:lnTo>
                <a:lnTo>
                  <a:pt x="110" y="886"/>
                </a:lnTo>
                <a:lnTo>
                  <a:pt x="110" y="886"/>
                </a:lnTo>
                <a:lnTo>
                  <a:pt x="106" y="884"/>
                </a:lnTo>
                <a:lnTo>
                  <a:pt x="106" y="884"/>
                </a:lnTo>
                <a:lnTo>
                  <a:pt x="110" y="886"/>
                </a:lnTo>
                <a:lnTo>
                  <a:pt x="110" y="886"/>
                </a:lnTo>
                <a:lnTo>
                  <a:pt x="108" y="888"/>
                </a:lnTo>
                <a:lnTo>
                  <a:pt x="104" y="888"/>
                </a:lnTo>
                <a:lnTo>
                  <a:pt x="104" y="888"/>
                </a:lnTo>
                <a:close/>
                <a:moveTo>
                  <a:pt x="124" y="884"/>
                </a:moveTo>
                <a:lnTo>
                  <a:pt x="124" y="884"/>
                </a:lnTo>
                <a:lnTo>
                  <a:pt x="124" y="884"/>
                </a:lnTo>
                <a:lnTo>
                  <a:pt x="124" y="884"/>
                </a:lnTo>
                <a:lnTo>
                  <a:pt x="130" y="882"/>
                </a:lnTo>
                <a:lnTo>
                  <a:pt x="130" y="882"/>
                </a:lnTo>
                <a:lnTo>
                  <a:pt x="130" y="880"/>
                </a:lnTo>
                <a:lnTo>
                  <a:pt x="130" y="880"/>
                </a:lnTo>
                <a:lnTo>
                  <a:pt x="130" y="880"/>
                </a:lnTo>
                <a:lnTo>
                  <a:pt x="130" y="880"/>
                </a:lnTo>
                <a:lnTo>
                  <a:pt x="130" y="882"/>
                </a:lnTo>
                <a:lnTo>
                  <a:pt x="130" y="882"/>
                </a:lnTo>
                <a:lnTo>
                  <a:pt x="124" y="884"/>
                </a:lnTo>
                <a:lnTo>
                  <a:pt x="124" y="884"/>
                </a:lnTo>
                <a:close/>
                <a:moveTo>
                  <a:pt x="562" y="334"/>
                </a:moveTo>
                <a:lnTo>
                  <a:pt x="562" y="334"/>
                </a:lnTo>
                <a:lnTo>
                  <a:pt x="562" y="334"/>
                </a:lnTo>
                <a:lnTo>
                  <a:pt x="562" y="334"/>
                </a:lnTo>
                <a:lnTo>
                  <a:pt x="566" y="336"/>
                </a:lnTo>
                <a:lnTo>
                  <a:pt x="566" y="336"/>
                </a:lnTo>
                <a:lnTo>
                  <a:pt x="562" y="338"/>
                </a:lnTo>
                <a:lnTo>
                  <a:pt x="562" y="338"/>
                </a:lnTo>
                <a:lnTo>
                  <a:pt x="562" y="338"/>
                </a:lnTo>
                <a:lnTo>
                  <a:pt x="562" y="338"/>
                </a:lnTo>
                <a:lnTo>
                  <a:pt x="566" y="336"/>
                </a:lnTo>
                <a:lnTo>
                  <a:pt x="566" y="336"/>
                </a:lnTo>
                <a:lnTo>
                  <a:pt x="562" y="334"/>
                </a:lnTo>
                <a:lnTo>
                  <a:pt x="562" y="334"/>
                </a:lnTo>
                <a:close/>
                <a:moveTo>
                  <a:pt x="560" y="948"/>
                </a:moveTo>
                <a:lnTo>
                  <a:pt x="560" y="948"/>
                </a:lnTo>
                <a:lnTo>
                  <a:pt x="562" y="948"/>
                </a:lnTo>
                <a:lnTo>
                  <a:pt x="562" y="948"/>
                </a:lnTo>
                <a:lnTo>
                  <a:pt x="562" y="948"/>
                </a:lnTo>
                <a:lnTo>
                  <a:pt x="562" y="948"/>
                </a:lnTo>
                <a:lnTo>
                  <a:pt x="556" y="950"/>
                </a:lnTo>
                <a:lnTo>
                  <a:pt x="556" y="950"/>
                </a:lnTo>
                <a:lnTo>
                  <a:pt x="556" y="950"/>
                </a:lnTo>
                <a:lnTo>
                  <a:pt x="556" y="950"/>
                </a:lnTo>
                <a:lnTo>
                  <a:pt x="562" y="948"/>
                </a:lnTo>
                <a:lnTo>
                  <a:pt x="562" y="948"/>
                </a:lnTo>
                <a:lnTo>
                  <a:pt x="560" y="948"/>
                </a:lnTo>
                <a:lnTo>
                  <a:pt x="560" y="948"/>
                </a:lnTo>
                <a:close/>
                <a:moveTo>
                  <a:pt x="554" y="932"/>
                </a:moveTo>
                <a:lnTo>
                  <a:pt x="554" y="932"/>
                </a:lnTo>
                <a:lnTo>
                  <a:pt x="554" y="932"/>
                </a:lnTo>
                <a:lnTo>
                  <a:pt x="554" y="932"/>
                </a:lnTo>
                <a:lnTo>
                  <a:pt x="556" y="936"/>
                </a:lnTo>
                <a:lnTo>
                  <a:pt x="556" y="936"/>
                </a:lnTo>
                <a:lnTo>
                  <a:pt x="550" y="936"/>
                </a:lnTo>
                <a:lnTo>
                  <a:pt x="550" y="936"/>
                </a:lnTo>
                <a:lnTo>
                  <a:pt x="550" y="936"/>
                </a:lnTo>
                <a:lnTo>
                  <a:pt x="550" y="936"/>
                </a:lnTo>
                <a:lnTo>
                  <a:pt x="554" y="936"/>
                </a:lnTo>
                <a:lnTo>
                  <a:pt x="554" y="936"/>
                </a:lnTo>
                <a:lnTo>
                  <a:pt x="554" y="932"/>
                </a:lnTo>
                <a:lnTo>
                  <a:pt x="554" y="932"/>
                </a:lnTo>
                <a:close/>
                <a:moveTo>
                  <a:pt x="492" y="912"/>
                </a:moveTo>
                <a:lnTo>
                  <a:pt x="492" y="912"/>
                </a:lnTo>
                <a:lnTo>
                  <a:pt x="492" y="910"/>
                </a:lnTo>
                <a:lnTo>
                  <a:pt x="492" y="910"/>
                </a:lnTo>
                <a:lnTo>
                  <a:pt x="492" y="910"/>
                </a:lnTo>
                <a:lnTo>
                  <a:pt x="492" y="910"/>
                </a:lnTo>
                <a:lnTo>
                  <a:pt x="492" y="912"/>
                </a:lnTo>
                <a:lnTo>
                  <a:pt x="492" y="912"/>
                </a:lnTo>
                <a:lnTo>
                  <a:pt x="490" y="912"/>
                </a:lnTo>
                <a:lnTo>
                  <a:pt x="490" y="912"/>
                </a:lnTo>
                <a:lnTo>
                  <a:pt x="490" y="912"/>
                </a:lnTo>
                <a:lnTo>
                  <a:pt x="490" y="912"/>
                </a:lnTo>
                <a:lnTo>
                  <a:pt x="492" y="912"/>
                </a:lnTo>
                <a:lnTo>
                  <a:pt x="492" y="912"/>
                </a:lnTo>
                <a:close/>
                <a:moveTo>
                  <a:pt x="484" y="920"/>
                </a:moveTo>
                <a:lnTo>
                  <a:pt x="484" y="920"/>
                </a:lnTo>
                <a:lnTo>
                  <a:pt x="500" y="926"/>
                </a:lnTo>
                <a:lnTo>
                  <a:pt x="500" y="926"/>
                </a:lnTo>
                <a:lnTo>
                  <a:pt x="500" y="926"/>
                </a:lnTo>
                <a:lnTo>
                  <a:pt x="500" y="926"/>
                </a:lnTo>
                <a:lnTo>
                  <a:pt x="484" y="920"/>
                </a:lnTo>
                <a:lnTo>
                  <a:pt x="484" y="920"/>
                </a:lnTo>
                <a:lnTo>
                  <a:pt x="476" y="922"/>
                </a:lnTo>
                <a:lnTo>
                  <a:pt x="472" y="924"/>
                </a:lnTo>
                <a:lnTo>
                  <a:pt x="468" y="928"/>
                </a:lnTo>
                <a:lnTo>
                  <a:pt x="468" y="928"/>
                </a:lnTo>
                <a:lnTo>
                  <a:pt x="468" y="928"/>
                </a:lnTo>
                <a:lnTo>
                  <a:pt x="472" y="924"/>
                </a:lnTo>
                <a:lnTo>
                  <a:pt x="476" y="922"/>
                </a:lnTo>
                <a:lnTo>
                  <a:pt x="484" y="920"/>
                </a:lnTo>
                <a:lnTo>
                  <a:pt x="484" y="920"/>
                </a:lnTo>
                <a:close/>
                <a:moveTo>
                  <a:pt x="466" y="814"/>
                </a:moveTo>
                <a:lnTo>
                  <a:pt x="466" y="814"/>
                </a:lnTo>
                <a:lnTo>
                  <a:pt x="466" y="814"/>
                </a:lnTo>
                <a:lnTo>
                  <a:pt x="466" y="814"/>
                </a:lnTo>
                <a:lnTo>
                  <a:pt x="466" y="814"/>
                </a:lnTo>
                <a:lnTo>
                  <a:pt x="466" y="814"/>
                </a:lnTo>
                <a:lnTo>
                  <a:pt x="466" y="814"/>
                </a:lnTo>
                <a:lnTo>
                  <a:pt x="466" y="814"/>
                </a:lnTo>
                <a:lnTo>
                  <a:pt x="460" y="814"/>
                </a:lnTo>
                <a:lnTo>
                  <a:pt x="460" y="814"/>
                </a:lnTo>
                <a:lnTo>
                  <a:pt x="460" y="814"/>
                </a:lnTo>
                <a:lnTo>
                  <a:pt x="460" y="814"/>
                </a:lnTo>
                <a:lnTo>
                  <a:pt x="466" y="814"/>
                </a:lnTo>
                <a:lnTo>
                  <a:pt x="466" y="814"/>
                </a:lnTo>
                <a:close/>
                <a:moveTo>
                  <a:pt x="454" y="864"/>
                </a:moveTo>
                <a:lnTo>
                  <a:pt x="454" y="864"/>
                </a:lnTo>
                <a:lnTo>
                  <a:pt x="466" y="858"/>
                </a:lnTo>
                <a:lnTo>
                  <a:pt x="466" y="858"/>
                </a:lnTo>
                <a:lnTo>
                  <a:pt x="466" y="858"/>
                </a:lnTo>
                <a:lnTo>
                  <a:pt x="466" y="858"/>
                </a:lnTo>
                <a:lnTo>
                  <a:pt x="454" y="864"/>
                </a:lnTo>
                <a:lnTo>
                  <a:pt x="454" y="864"/>
                </a:lnTo>
                <a:lnTo>
                  <a:pt x="454" y="864"/>
                </a:lnTo>
                <a:lnTo>
                  <a:pt x="454" y="864"/>
                </a:lnTo>
                <a:close/>
                <a:moveTo>
                  <a:pt x="464" y="922"/>
                </a:moveTo>
                <a:lnTo>
                  <a:pt x="464" y="922"/>
                </a:lnTo>
                <a:lnTo>
                  <a:pt x="458" y="924"/>
                </a:lnTo>
                <a:lnTo>
                  <a:pt x="456" y="924"/>
                </a:lnTo>
                <a:lnTo>
                  <a:pt x="456" y="924"/>
                </a:lnTo>
                <a:lnTo>
                  <a:pt x="458" y="924"/>
                </a:lnTo>
                <a:lnTo>
                  <a:pt x="464" y="922"/>
                </a:lnTo>
                <a:lnTo>
                  <a:pt x="464" y="922"/>
                </a:lnTo>
                <a:lnTo>
                  <a:pt x="464" y="922"/>
                </a:lnTo>
                <a:lnTo>
                  <a:pt x="464" y="922"/>
                </a:lnTo>
                <a:close/>
                <a:moveTo>
                  <a:pt x="448" y="912"/>
                </a:moveTo>
                <a:lnTo>
                  <a:pt x="448" y="912"/>
                </a:lnTo>
                <a:lnTo>
                  <a:pt x="450" y="912"/>
                </a:lnTo>
                <a:lnTo>
                  <a:pt x="450" y="912"/>
                </a:lnTo>
                <a:lnTo>
                  <a:pt x="454" y="910"/>
                </a:lnTo>
                <a:lnTo>
                  <a:pt x="454" y="910"/>
                </a:lnTo>
                <a:lnTo>
                  <a:pt x="454" y="906"/>
                </a:lnTo>
                <a:lnTo>
                  <a:pt x="454" y="906"/>
                </a:lnTo>
                <a:lnTo>
                  <a:pt x="454" y="906"/>
                </a:lnTo>
                <a:lnTo>
                  <a:pt x="454" y="906"/>
                </a:lnTo>
                <a:lnTo>
                  <a:pt x="454" y="910"/>
                </a:lnTo>
                <a:lnTo>
                  <a:pt x="454" y="912"/>
                </a:lnTo>
                <a:lnTo>
                  <a:pt x="450" y="912"/>
                </a:lnTo>
                <a:lnTo>
                  <a:pt x="450" y="912"/>
                </a:lnTo>
                <a:lnTo>
                  <a:pt x="448" y="912"/>
                </a:lnTo>
                <a:lnTo>
                  <a:pt x="448" y="912"/>
                </a:lnTo>
                <a:lnTo>
                  <a:pt x="448" y="912"/>
                </a:lnTo>
                <a:lnTo>
                  <a:pt x="448" y="912"/>
                </a:lnTo>
                <a:close/>
                <a:moveTo>
                  <a:pt x="440" y="870"/>
                </a:moveTo>
                <a:lnTo>
                  <a:pt x="440" y="870"/>
                </a:lnTo>
                <a:lnTo>
                  <a:pt x="442" y="870"/>
                </a:lnTo>
                <a:lnTo>
                  <a:pt x="442" y="870"/>
                </a:lnTo>
                <a:lnTo>
                  <a:pt x="446" y="874"/>
                </a:lnTo>
                <a:lnTo>
                  <a:pt x="446" y="874"/>
                </a:lnTo>
                <a:lnTo>
                  <a:pt x="446" y="874"/>
                </a:lnTo>
                <a:lnTo>
                  <a:pt x="446" y="874"/>
                </a:lnTo>
                <a:lnTo>
                  <a:pt x="442" y="870"/>
                </a:lnTo>
                <a:lnTo>
                  <a:pt x="442" y="870"/>
                </a:lnTo>
                <a:lnTo>
                  <a:pt x="440" y="870"/>
                </a:lnTo>
                <a:lnTo>
                  <a:pt x="440" y="870"/>
                </a:lnTo>
                <a:lnTo>
                  <a:pt x="440" y="870"/>
                </a:lnTo>
                <a:lnTo>
                  <a:pt x="440" y="870"/>
                </a:lnTo>
                <a:close/>
                <a:moveTo>
                  <a:pt x="438" y="928"/>
                </a:moveTo>
                <a:lnTo>
                  <a:pt x="438" y="928"/>
                </a:lnTo>
                <a:lnTo>
                  <a:pt x="438" y="928"/>
                </a:lnTo>
                <a:lnTo>
                  <a:pt x="438" y="928"/>
                </a:lnTo>
                <a:lnTo>
                  <a:pt x="438" y="930"/>
                </a:lnTo>
                <a:lnTo>
                  <a:pt x="438" y="930"/>
                </a:lnTo>
                <a:lnTo>
                  <a:pt x="438" y="930"/>
                </a:lnTo>
                <a:lnTo>
                  <a:pt x="438" y="930"/>
                </a:lnTo>
                <a:lnTo>
                  <a:pt x="438" y="928"/>
                </a:lnTo>
                <a:lnTo>
                  <a:pt x="438" y="928"/>
                </a:lnTo>
                <a:close/>
                <a:moveTo>
                  <a:pt x="438" y="884"/>
                </a:moveTo>
                <a:lnTo>
                  <a:pt x="438" y="884"/>
                </a:lnTo>
                <a:lnTo>
                  <a:pt x="438" y="882"/>
                </a:lnTo>
                <a:lnTo>
                  <a:pt x="438" y="882"/>
                </a:lnTo>
                <a:lnTo>
                  <a:pt x="438" y="884"/>
                </a:lnTo>
                <a:lnTo>
                  <a:pt x="438" y="884"/>
                </a:lnTo>
                <a:close/>
                <a:moveTo>
                  <a:pt x="442" y="914"/>
                </a:moveTo>
                <a:lnTo>
                  <a:pt x="442" y="914"/>
                </a:lnTo>
                <a:lnTo>
                  <a:pt x="444" y="916"/>
                </a:lnTo>
                <a:lnTo>
                  <a:pt x="444" y="916"/>
                </a:lnTo>
                <a:lnTo>
                  <a:pt x="440" y="918"/>
                </a:lnTo>
                <a:lnTo>
                  <a:pt x="440" y="918"/>
                </a:lnTo>
                <a:lnTo>
                  <a:pt x="440" y="918"/>
                </a:lnTo>
                <a:lnTo>
                  <a:pt x="440" y="918"/>
                </a:lnTo>
                <a:lnTo>
                  <a:pt x="444" y="916"/>
                </a:lnTo>
                <a:lnTo>
                  <a:pt x="444" y="916"/>
                </a:lnTo>
                <a:lnTo>
                  <a:pt x="442" y="914"/>
                </a:lnTo>
                <a:lnTo>
                  <a:pt x="442" y="914"/>
                </a:lnTo>
                <a:close/>
                <a:moveTo>
                  <a:pt x="440" y="880"/>
                </a:moveTo>
                <a:lnTo>
                  <a:pt x="440" y="880"/>
                </a:lnTo>
                <a:lnTo>
                  <a:pt x="442" y="878"/>
                </a:lnTo>
                <a:lnTo>
                  <a:pt x="442" y="878"/>
                </a:lnTo>
                <a:lnTo>
                  <a:pt x="440" y="880"/>
                </a:lnTo>
                <a:lnTo>
                  <a:pt x="440" y="880"/>
                </a:lnTo>
                <a:close/>
                <a:moveTo>
                  <a:pt x="442" y="878"/>
                </a:moveTo>
                <a:lnTo>
                  <a:pt x="442" y="878"/>
                </a:lnTo>
                <a:lnTo>
                  <a:pt x="444" y="878"/>
                </a:lnTo>
                <a:lnTo>
                  <a:pt x="444" y="878"/>
                </a:lnTo>
                <a:lnTo>
                  <a:pt x="444" y="878"/>
                </a:lnTo>
                <a:lnTo>
                  <a:pt x="444" y="878"/>
                </a:lnTo>
                <a:lnTo>
                  <a:pt x="442" y="878"/>
                </a:lnTo>
                <a:lnTo>
                  <a:pt x="442" y="878"/>
                </a:lnTo>
                <a:close/>
                <a:moveTo>
                  <a:pt x="438" y="858"/>
                </a:moveTo>
                <a:lnTo>
                  <a:pt x="438" y="858"/>
                </a:lnTo>
                <a:lnTo>
                  <a:pt x="438" y="858"/>
                </a:lnTo>
                <a:lnTo>
                  <a:pt x="438" y="858"/>
                </a:lnTo>
                <a:lnTo>
                  <a:pt x="438" y="854"/>
                </a:lnTo>
                <a:lnTo>
                  <a:pt x="436" y="854"/>
                </a:lnTo>
                <a:lnTo>
                  <a:pt x="436" y="854"/>
                </a:lnTo>
                <a:lnTo>
                  <a:pt x="438" y="854"/>
                </a:lnTo>
                <a:lnTo>
                  <a:pt x="438" y="858"/>
                </a:lnTo>
                <a:lnTo>
                  <a:pt x="438" y="858"/>
                </a:lnTo>
                <a:close/>
                <a:moveTo>
                  <a:pt x="422" y="940"/>
                </a:moveTo>
                <a:lnTo>
                  <a:pt x="422" y="940"/>
                </a:lnTo>
                <a:lnTo>
                  <a:pt x="424" y="940"/>
                </a:lnTo>
                <a:lnTo>
                  <a:pt x="424" y="940"/>
                </a:lnTo>
                <a:lnTo>
                  <a:pt x="430" y="910"/>
                </a:lnTo>
                <a:lnTo>
                  <a:pt x="438" y="884"/>
                </a:lnTo>
                <a:lnTo>
                  <a:pt x="438" y="884"/>
                </a:lnTo>
                <a:lnTo>
                  <a:pt x="430" y="910"/>
                </a:lnTo>
                <a:lnTo>
                  <a:pt x="424" y="940"/>
                </a:lnTo>
                <a:lnTo>
                  <a:pt x="424" y="940"/>
                </a:lnTo>
                <a:lnTo>
                  <a:pt x="426" y="940"/>
                </a:lnTo>
                <a:lnTo>
                  <a:pt x="426" y="940"/>
                </a:lnTo>
                <a:lnTo>
                  <a:pt x="428" y="944"/>
                </a:lnTo>
                <a:lnTo>
                  <a:pt x="428" y="944"/>
                </a:lnTo>
                <a:lnTo>
                  <a:pt x="426" y="944"/>
                </a:lnTo>
                <a:lnTo>
                  <a:pt x="426" y="944"/>
                </a:lnTo>
                <a:lnTo>
                  <a:pt x="426" y="940"/>
                </a:lnTo>
                <a:lnTo>
                  <a:pt x="426" y="940"/>
                </a:lnTo>
                <a:lnTo>
                  <a:pt x="424" y="940"/>
                </a:lnTo>
                <a:lnTo>
                  <a:pt x="424" y="940"/>
                </a:lnTo>
                <a:lnTo>
                  <a:pt x="420" y="950"/>
                </a:lnTo>
                <a:lnTo>
                  <a:pt x="418" y="954"/>
                </a:lnTo>
                <a:lnTo>
                  <a:pt x="418" y="954"/>
                </a:lnTo>
                <a:lnTo>
                  <a:pt x="418" y="954"/>
                </a:lnTo>
                <a:lnTo>
                  <a:pt x="418" y="954"/>
                </a:lnTo>
                <a:lnTo>
                  <a:pt x="420" y="950"/>
                </a:lnTo>
                <a:lnTo>
                  <a:pt x="424" y="940"/>
                </a:lnTo>
                <a:lnTo>
                  <a:pt x="424" y="940"/>
                </a:lnTo>
                <a:lnTo>
                  <a:pt x="422" y="940"/>
                </a:lnTo>
                <a:lnTo>
                  <a:pt x="422" y="940"/>
                </a:lnTo>
                <a:lnTo>
                  <a:pt x="422" y="940"/>
                </a:lnTo>
                <a:lnTo>
                  <a:pt x="422" y="940"/>
                </a:lnTo>
                <a:close/>
                <a:moveTo>
                  <a:pt x="420" y="918"/>
                </a:moveTo>
                <a:lnTo>
                  <a:pt x="420" y="918"/>
                </a:lnTo>
                <a:lnTo>
                  <a:pt x="418" y="916"/>
                </a:lnTo>
                <a:lnTo>
                  <a:pt x="418" y="916"/>
                </a:lnTo>
                <a:lnTo>
                  <a:pt x="418" y="916"/>
                </a:lnTo>
                <a:lnTo>
                  <a:pt x="418" y="916"/>
                </a:lnTo>
                <a:lnTo>
                  <a:pt x="420" y="918"/>
                </a:lnTo>
                <a:lnTo>
                  <a:pt x="420" y="918"/>
                </a:lnTo>
                <a:lnTo>
                  <a:pt x="414" y="918"/>
                </a:lnTo>
                <a:lnTo>
                  <a:pt x="414" y="918"/>
                </a:lnTo>
                <a:lnTo>
                  <a:pt x="414" y="918"/>
                </a:lnTo>
                <a:lnTo>
                  <a:pt x="414" y="918"/>
                </a:lnTo>
                <a:lnTo>
                  <a:pt x="420" y="918"/>
                </a:lnTo>
                <a:lnTo>
                  <a:pt x="420" y="918"/>
                </a:lnTo>
                <a:close/>
                <a:moveTo>
                  <a:pt x="414" y="984"/>
                </a:moveTo>
                <a:lnTo>
                  <a:pt x="414" y="984"/>
                </a:lnTo>
                <a:lnTo>
                  <a:pt x="418" y="986"/>
                </a:lnTo>
                <a:lnTo>
                  <a:pt x="420" y="992"/>
                </a:lnTo>
                <a:lnTo>
                  <a:pt x="420" y="992"/>
                </a:lnTo>
                <a:lnTo>
                  <a:pt x="420" y="992"/>
                </a:lnTo>
                <a:lnTo>
                  <a:pt x="420" y="992"/>
                </a:lnTo>
                <a:lnTo>
                  <a:pt x="418" y="986"/>
                </a:lnTo>
                <a:lnTo>
                  <a:pt x="414" y="984"/>
                </a:lnTo>
                <a:lnTo>
                  <a:pt x="414" y="984"/>
                </a:lnTo>
                <a:lnTo>
                  <a:pt x="404" y="982"/>
                </a:lnTo>
                <a:lnTo>
                  <a:pt x="398" y="978"/>
                </a:lnTo>
                <a:lnTo>
                  <a:pt x="398" y="978"/>
                </a:lnTo>
                <a:lnTo>
                  <a:pt x="398" y="978"/>
                </a:lnTo>
                <a:lnTo>
                  <a:pt x="398" y="978"/>
                </a:lnTo>
                <a:lnTo>
                  <a:pt x="404" y="982"/>
                </a:lnTo>
                <a:lnTo>
                  <a:pt x="414" y="984"/>
                </a:lnTo>
                <a:lnTo>
                  <a:pt x="414" y="984"/>
                </a:lnTo>
                <a:close/>
                <a:moveTo>
                  <a:pt x="406" y="992"/>
                </a:moveTo>
                <a:lnTo>
                  <a:pt x="406" y="992"/>
                </a:lnTo>
                <a:lnTo>
                  <a:pt x="402" y="992"/>
                </a:lnTo>
                <a:lnTo>
                  <a:pt x="402" y="992"/>
                </a:lnTo>
                <a:lnTo>
                  <a:pt x="402" y="992"/>
                </a:lnTo>
                <a:lnTo>
                  <a:pt x="402" y="992"/>
                </a:lnTo>
                <a:lnTo>
                  <a:pt x="406" y="992"/>
                </a:lnTo>
                <a:lnTo>
                  <a:pt x="406" y="992"/>
                </a:lnTo>
                <a:close/>
                <a:moveTo>
                  <a:pt x="404" y="918"/>
                </a:moveTo>
                <a:lnTo>
                  <a:pt x="404" y="918"/>
                </a:lnTo>
                <a:lnTo>
                  <a:pt x="400" y="914"/>
                </a:lnTo>
                <a:lnTo>
                  <a:pt x="400" y="914"/>
                </a:lnTo>
                <a:lnTo>
                  <a:pt x="404" y="918"/>
                </a:lnTo>
                <a:lnTo>
                  <a:pt x="404" y="918"/>
                </a:lnTo>
                <a:lnTo>
                  <a:pt x="398" y="918"/>
                </a:lnTo>
                <a:lnTo>
                  <a:pt x="398" y="918"/>
                </a:lnTo>
                <a:lnTo>
                  <a:pt x="398" y="918"/>
                </a:lnTo>
                <a:lnTo>
                  <a:pt x="398" y="918"/>
                </a:lnTo>
                <a:lnTo>
                  <a:pt x="404" y="918"/>
                </a:lnTo>
                <a:lnTo>
                  <a:pt x="404" y="918"/>
                </a:lnTo>
                <a:close/>
                <a:moveTo>
                  <a:pt x="386" y="844"/>
                </a:moveTo>
                <a:lnTo>
                  <a:pt x="386" y="844"/>
                </a:lnTo>
                <a:lnTo>
                  <a:pt x="396" y="846"/>
                </a:lnTo>
                <a:lnTo>
                  <a:pt x="396" y="846"/>
                </a:lnTo>
                <a:lnTo>
                  <a:pt x="396" y="844"/>
                </a:lnTo>
                <a:lnTo>
                  <a:pt x="396" y="844"/>
                </a:lnTo>
                <a:lnTo>
                  <a:pt x="394" y="842"/>
                </a:lnTo>
                <a:lnTo>
                  <a:pt x="394" y="842"/>
                </a:lnTo>
                <a:lnTo>
                  <a:pt x="396" y="844"/>
                </a:lnTo>
                <a:lnTo>
                  <a:pt x="396" y="844"/>
                </a:lnTo>
                <a:lnTo>
                  <a:pt x="396" y="846"/>
                </a:lnTo>
                <a:lnTo>
                  <a:pt x="396" y="846"/>
                </a:lnTo>
                <a:lnTo>
                  <a:pt x="386" y="844"/>
                </a:lnTo>
                <a:lnTo>
                  <a:pt x="386" y="844"/>
                </a:lnTo>
                <a:lnTo>
                  <a:pt x="386" y="844"/>
                </a:lnTo>
                <a:lnTo>
                  <a:pt x="386" y="844"/>
                </a:lnTo>
                <a:close/>
                <a:moveTo>
                  <a:pt x="390" y="918"/>
                </a:moveTo>
                <a:lnTo>
                  <a:pt x="390" y="918"/>
                </a:lnTo>
                <a:lnTo>
                  <a:pt x="390" y="918"/>
                </a:lnTo>
                <a:lnTo>
                  <a:pt x="390" y="918"/>
                </a:lnTo>
                <a:lnTo>
                  <a:pt x="372" y="920"/>
                </a:lnTo>
                <a:lnTo>
                  <a:pt x="372" y="920"/>
                </a:lnTo>
                <a:lnTo>
                  <a:pt x="372" y="920"/>
                </a:lnTo>
                <a:lnTo>
                  <a:pt x="372" y="920"/>
                </a:lnTo>
                <a:lnTo>
                  <a:pt x="390" y="918"/>
                </a:lnTo>
                <a:lnTo>
                  <a:pt x="390" y="918"/>
                </a:lnTo>
                <a:close/>
                <a:moveTo>
                  <a:pt x="376" y="842"/>
                </a:moveTo>
                <a:lnTo>
                  <a:pt x="376" y="842"/>
                </a:lnTo>
                <a:lnTo>
                  <a:pt x="376" y="842"/>
                </a:lnTo>
                <a:lnTo>
                  <a:pt x="376" y="842"/>
                </a:lnTo>
                <a:lnTo>
                  <a:pt x="376" y="842"/>
                </a:lnTo>
                <a:lnTo>
                  <a:pt x="376" y="842"/>
                </a:lnTo>
                <a:lnTo>
                  <a:pt x="380" y="840"/>
                </a:lnTo>
                <a:lnTo>
                  <a:pt x="380" y="840"/>
                </a:lnTo>
                <a:lnTo>
                  <a:pt x="376" y="840"/>
                </a:lnTo>
                <a:lnTo>
                  <a:pt x="376" y="840"/>
                </a:lnTo>
                <a:lnTo>
                  <a:pt x="376" y="840"/>
                </a:lnTo>
                <a:lnTo>
                  <a:pt x="376" y="840"/>
                </a:lnTo>
                <a:lnTo>
                  <a:pt x="380" y="840"/>
                </a:lnTo>
                <a:lnTo>
                  <a:pt x="380" y="840"/>
                </a:lnTo>
                <a:lnTo>
                  <a:pt x="376" y="842"/>
                </a:lnTo>
                <a:lnTo>
                  <a:pt x="376" y="842"/>
                </a:lnTo>
                <a:close/>
                <a:moveTo>
                  <a:pt x="362" y="310"/>
                </a:moveTo>
                <a:lnTo>
                  <a:pt x="362" y="310"/>
                </a:lnTo>
                <a:lnTo>
                  <a:pt x="374" y="312"/>
                </a:lnTo>
                <a:lnTo>
                  <a:pt x="374" y="312"/>
                </a:lnTo>
                <a:lnTo>
                  <a:pt x="378" y="316"/>
                </a:lnTo>
                <a:lnTo>
                  <a:pt x="376" y="318"/>
                </a:lnTo>
                <a:lnTo>
                  <a:pt x="376" y="318"/>
                </a:lnTo>
                <a:lnTo>
                  <a:pt x="376" y="318"/>
                </a:lnTo>
                <a:lnTo>
                  <a:pt x="376" y="318"/>
                </a:lnTo>
                <a:lnTo>
                  <a:pt x="378" y="316"/>
                </a:lnTo>
                <a:lnTo>
                  <a:pt x="374" y="312"/>
                </a:lnTo>
                <a:lnTo>
                  <a:pt x="374" y="312"/>
                </a:lnTo>
                <a:lnTo>
                  <a:pt x="362" y="310"/>
                </a:lnTo>
                <a:lnTo>
                  <a:pt x="362" y="310"/>
                </a:lnTo>
                <a:lnTo>
                  <a:pt x="362" y="310"/>
                </a:lnTo>
                <a:lnTo>
                  <a:pt x="362" y="310"/>
                </a:lnTo>
                <a:close/>
                <a:moveTo>
                  <a:pt x="364" y="840"/>
                </a:moveTo>
                <a:lnTo>
                  <a:pt x="364" y="840"/>
                </a:lnTo>
                <a:lnTo>
                  <a:pt x="362" y="840"/>
                </a:lnTo>
                <a:lnTo>
                  <a:pt x="362" y="840"/>
                </a:lnTo>
                <a:lnTo>
                  <a:pt x="364" y="840"/>
                </a:lnTo>
                <a:lnTo>
                  <a:pt x="364" y="840"/>
                </a:lnTo>
                <a:lnTo>
                  <a:pt x="366" y="842"/>
                </a:lnTo>
                <a:lnTo>
                  <a:pt x="366" y="844"/>
                </a:lnTo>
                <a:lnTo>
                  <a:pt x="366" y="844"/>
                </a:lnTo>
                <a:lnTo>
                  <a:pt x="362" y="844"/>
                </a:lnTo>
                <a:lnTo>
                  <a:pt x="360" y="846"/>
                </a:lnTo>
                <a:lnTo>
                  <a:pt x="360" y="846"/>
                </a:lnTo>
                <a:lnTo>
                  <a:pt x="364" y="844"/>
                </a:lnTo>
                <a:lnTo>
                  <a:pt x="364" y="844"/>
                </a:lnTo>
                <a:lnTo>
                  <a:pt x="366" y="842"/>
                </a:lnTo>
                <a:lnTo>
                  <a:pt x="364" y="840"/>
                </a:lnTo>
                <a:lnTo>
                  <a:pt x="364" y="840"/>
                </a:lnTo>
                <a:close/>
                <a:moveTo>
                  <a:pt x="358" y="864"/>
                </a:moveTo>
                <a:lnTo>
                  <a:pt x="358" y="864"/>
                </a:lnTo>
                <a:lnTo>
                  <a:pt x="358" y="864"/>
                </a:lnTo>
                <a:lnTo>
                  <a:pt x="354" y="866"/>
                </a:lnTo>
                <a:lnTo>
                  <a:pt x="350" y="868"/>
                </a:lnTo>
                <a:lnTo>
                  <a:pt x="342" y="864"/>
                </a:lnTo>
                <a:lnTo>
                  <a:pt x="342" y="864"/>
                </a:lnTo>
                <a:lnTo>
                  <a:pt x="342" y="864"/>
                </a:lnTo>
                <a:lnTo>
                  <a:pt x="350" y="868"/>
                </a:lnTo>
                <a:lnTo>
                  <a:pt x="354" y="866"/>
                </a:lnTo>
                <a:lnTo>
                  <a:pt x="358" y="864"/>
                </a:lnTo>
                <a:lnTo>
                  <a:pt x="358" y="864"/>
                </a:lnTo>
                <a:close/>
                <a:moveTo>
                  <a:pt x="338" y="850"/>
                </a:moveTo>
                <a:lnTo>
                  <a:pt x="338" y="850"/>
                </a:lnTo>
                <a:lnTo>
                  <a:pt x="344" y="850"/>
                </a:lnTo>
                <a:lnTo>
                  <a:pt x="346" y="848"/>
                </a:lnTo>
                <a:lnTo>
                  <a:pt x="346" y="848"/>
                </a:lnTo>
                <a:lnTo>
                  <a:pt x="346" y="846"/>
                </a:lnTo>
                <a:lnTo>
                  <a:pt x="346" y="846"/>
                </a:lnTo>
                <a:lnTo>
                  <a:pt x="346" y="846"/>
                </a:lnTo>
                <a:lnTo>
                  <a:pt x="346" y="846"/>
                </a:lnTo>
                <a:lnTo>
                  <a:pt x="346" y="848"/>
                </a:lnTo>
                <a:lnTo>
                  <a:pt x="346" y="848"/>
                </a:lnTo>
                <a:lnTo>
                  <a:pt x="344" y="850"/>
                </a:lnTo>
                <a:lnTo>
                  <a:pt x="338" y="850"/>
                </a:lnTo>
                <a:lnTo>
                  <a:pt x="338" y="850"/>
                </a:lnTo>
                <a:lnTo>
                  <a:pt x="338" y="850"/>
                </a:lnTo>
                <a:lnTo>
                  <a:pt x="338" y="850"/>
                </a:lnTo>
                <a:lnTo>
                  <a:pt x="338" y="850"/>
                </a:lnTo>
                <a:lnTo>
                  <a:pt x="338" y="850"/>
                </a:lnTo>
                <a:close/>
                <a:moveTo>
                  <a:pt x="336" y="864"/>
                </a:moveTo>
                <a:lnTo>
                  <a:pt x="336" y="864"/>
                </a:lnTo>
                <a:lnTo>
                  <a:pt x="336" y="862"/>
                </a:lnTo>
                <a:lnTo>
                  <a:pt x="336" y="862"/>
                </a:lnTo>
                <a:lnTo>
                  <a:pt x="336" y="862"/>
                </a:lnTo>
                <a:lnTo>
                  <a:pt x="336" y="862"/>
                </a:lnTo>
                <a:lnTo>
                  <a:pt x="336" y="864"/>
                </a:lnTo>
                <a:lnTo>
                  <a:pt x="336" y="864"/>
                </a:lnTo>
                <a:lnTo>
                  <a:pt x="330" y="868"/>
                </a:lnTo>
                <a:lnTo>
                  <a:pt x="330" y="868"/>
                </a:lnTo>
                <a:lnTo>
                  <a:pt x="322" y="866"/>
                </a:lnTo>
                <a:lnTo>
                  <a:pt x="322" y="866"/>
                </a:lnTo>
                <a:lnTo>
                  <a:pt x="322" y="866"/>
                </a:lnTo>
                <a:lnTo>
                  <a:pt x="322" y="866"/>
                </a:lnTo>
                <a:lnTo>
                  <a:pt x="330" y="868"/>
                </a:lnTo>
                <a:lnTo>
                  <a:pt x="330" y="868"/>
                </a:lnTo>
                <a:lnTo>
                  <a:pt x="336" y="864"/>
                </a:lnTo>
                <a:lnTo>
                  <a:pt x="336" y="864"/>
                </a:lnTo>
                <a:close/>
                <a:moveTo>
                  <a:pt x="302" y="846"/>
                </a:moveTo>
                <a:lnTo>
                  <a:pt x="302" y="846"/>
                </a:lnTo>
                <a:lnTo>
                  <a:pt x="316" y="844"/>
                </a:lnTo>
                <a:lnTo>
                  <a:pt x="316" y="844"/>
                </a:lnTo>
                <a:lnTo>
                  <a:pt x="320" y="846"/>
                </a:lnTo>
                <a:lnTo>
                  <a:pt x="324" y="848"/>
                </a:lnTo>
                <a:lnTo>
                  <a:pt x="324" y="848"/>
                </a:lnTo>
                <a:lnTo>
                  <a:pt x="316" y="850"/>
                </a:lnTo>
                <a:lnTo>
                  <a:pt x="308" y="850"/>
                </a:lnTo>
                <a:lnTo>
                  <a:pt x="292" y="850"/>
                </a:lnTo>
                <a:lnTo>
                  <a:pt x="292" y="850"/>
                </a:lnTo>
                <a:lnTo>
                  <a:pt x="290" y="848"/>
                </a:lnTo>
                <a:lnTo>
                  <a:pt x="288" y="846"/>
                </a:lnTo>
                <a:lnTo>
                  <a:pt x="288" y="846"/>
                </a:lnTo>
                <a:lnTo>
                  <a:pt x="302" y="846"/>
                </a:lnTo>
                <a:lnTo>
                  <a:pt x="302" y="846"/>
                </a:lnTo>
                <a:close/>
                <a:moveTo>
                  <a:pt x="320" y="860"/>
                </a:moveTo>
                <a:lnTo>
                  <a:pt x="320" y="860"/>
                </a:lnTo>
                <a:lnTo>
                  <a:pt x="320" y="860"/>
                </a:lnTo>
                <a:lnTo>
                  <a:pt x="320" y="860"/>
                </a:lnTo>
                <a:lnTo>
                  <a:pt x="320" y="864"/>
                </a:lnTo>
                <a:lnTo>
                  <a:pt x="318" y="864"/>
                </a:lnTo>
                <a:lnTo>
                  <a:pt x="316" y="866"/>
                </a:lnTo>
                <a:lnTo>
                  <a:pt x="316" y="866"/>
                </a:lnTo>
                <a:lnTo>
                  <a:pt x="314" y="864"/>
                </a:lnTo>
                <a:lnTo>
                  <a:pt x="314" y="864"/>
                </a:lnTo>
                <a:lnTo>
                  <a:pt x="316" y="866"/>
                </a:lnTo>
                <a:lnTo>
                  <a:pt x="316" y="866"/>
                </a:lnTo>
                <a:lnTo>
                  <a:pt x="318" y="864"/>
                </a:lnTo>
                <a:lnTo>
                  <a:pt x="320" y="864"/>
                </a:lnTo>
                <a:lnTo>
                  <a:pt x="320" y="860"/>
                </a:lnTo>
                <a:lnTo>
                  <a:pt x="320" y="860"/>
                </a:lnTo>
                <a:close/>
                <a:moveTo>
                  <a:pt x="280" y="624"/>
                </a:moveTo>
                <a:lnTo>
                  <a:pt x="280" y="624"/>
                </a:lnTo>
                <a:lnTo>
                  <a:pt x="290" y="626"/>
                </a:lnTo>
                <a:lnTo>
                  <a:pt x="290" y="626"/>
                </a:lnTo>
                <a:lnTo>
                  <a:pt x="284" y="628"/>
                </a:lnTo>
                <a:lnTo>
                  <a:pt x="280" y="628"/>
                </a:lnTo>
                <a:lnTo>
                  <a:pt x="280" y="628"/>
                </a:lnTo>
                <a:lnTo>
                  <a:pt x="290" y="626"/>
                </a:lnTo>
                <a:lnTo>
                  <a:pt x="290" y="626"/>
                </a:lnTo>
                <a:lnTo>
                  <a:pt x="280" y="624"/>
                </a:lnTo>
                <a:lnTo>
                  <a:pt x="280" y="624"/>
                </a:lnTo>
                <a:close/>
                <a:moveTo>
                  <a:pt x="268" y="630"/>
                </a:moveTo>
                <a:lnTo>
                  <a:pt x="268" y="630"/>
                </a:lnTo>
                <a:lnTo>
                  <a:pt x="268" y="802"/>
                </a:lnTo>
                <a:lnTo>
                  <a:pt x="268" y="802"/>
                </a:lnTo>
                <a:lnTo>
                  <a:pt x="268" y="802"/>
                </a:lnTo>
                <a:lnTo>
                  <a:pt x="268" y="802"/>
                </a:lnTo>
                <a:lnTo>
                  <a:pt x="268" y="630"/>
                </a:lnTo>
                <a:lnTo>
                  <a:pt x="268" y="630"/>
                </a:lnTo>
                <a:close/>
                <a:moveTo>
                  <a:pt x="262" y="630"/>
                </a:moveTo>
                <a:lnTo>
                  <a:pt x="262" y="630"/>
                </a:lnTo>
                <a:lnTo>
                  <a:pt x="262" y="636"/>
                </a:lnTo>
                <a:lnTo>
                  <a:pt x="262" y="636"/>
                </a:lnTo>
                <a:lnTo>
                  <a:pt x="262" y="630"/>
                </a:lnTo>
                <a:lnTo>
                  <a:pt x="262" y="630"/>
                </a:lnTo>
                <a:close/>
                <a:moveTo>
                  <a:pt x="244" y="804"/>
                </a:moveTo>
                <a:lnTo>
                  <a:pt x="244" y="804"/>
                </a:lnTo>
                <a:lnTo>
                  <a:pt x="254" y="806"/>
                </a:lnTo>
                <a:lnTo>
                  <a:pt x="254" y="806"/>
                </a:lnTo>
                <a:lnTo>
                  <a:pt x="248" y="808"/>
                </a:lnTo>
                <a:lnTo>
                  <a:pt x="242" y="808"/>
                </a:lnTo>
                <a:lnTo>
                  <a:pt x="242" y="808"/>
                </a:lnTo>
                <a:lnTo>
                  <a:pt x="248" y="808"/>
                </a:lnTo>
                <a:lnTo>
                  <a:pt x="254" y="806"/>
                </a:lnTo>
                <a:lnTo>
                  <a:pt x="254" y="806"/>
                </a:lnTo>
                <a:lnTo>
                  <a:pt x="244" y="804"/>
                </a:lnTo>
                <a:lnTo>
                  <a:pt x="244" y="804"/>
                </a:lnTo>
                <a:close/>
                <a:moveTo>
                  <a:pt x="244" y="816"/>
                </a:moveTo>
                <a:lnTo>
                  <a:pt x="244" y="816"/>
                </a:lnTo>
                <a:lnTo>
                  <a:pt x="244" y="816"/>
                </a:lnTo>
                <a:lnTo>
                  <a:pt x="244" y="816"/>
                </a:lnTo>
                <a:lnTo>
                  <a:pt x="248" y="822"/>
                </a:lnTo>
                <a:lnTo>
                  <a:pt x="248" y="822"/>
                </a:lnTo>
                <a:lnTo>
                  <a:pt x="244" y="824"/>
                </a:lnTo>
                <a:lnTo>
                  <a:pt x="244" y="824"/>
                </a:lnTo>
                <a:lnTo>
                  <a:pt x="242" y="822"/>
                </a:lnTo>
                <a:lnTo>
                  <a:pt x="242" y="822"/>
                </a:lnTo>
                <a:lnTo>
                  <a:pt x="244" y="824"/>
                </a:lnTo>
                <a:lnTo>
                  <a:pt x="244" y="824"/>
                </a:lnTo>
                <a:lnTo>
                  <a:pt x="248" y="822"/>
                </a:lnTo>
                <a:lnTo>
                  <a:pt x="248" y="822"/>
                </a:lnTo>
                <a:lnTo>
                  <a:pt x="244" y="816"/>
                </a:lnTo>
                <a:lnTo>
                  <a:pt x="244" y="816"/>
                </a:lnTo>
                <a:close/>
                <a:moveTo>
                  <a:pt x="244" y="880"/>
                </a:moveTo>
                <a:lnTo>
                  <a:pt x="244" y="880"/>
                </a:lnTo>
                <a:lnTo>
                  <a:pt x="250" y="882"/>
                </a:lnTo>
                <a:lnTo>
                  <a:pt x="250" y="882"/>
                </a:lnTo>
                <a:lnTo>
                  <a:pt x="250" y="880"/>
                </a:lnTo>
                <a:lnTo>
                  <a:pt x="250" y="880"/>
                </a:lnTo>
                <a:lnTo>
                  <a:pt x="250" y="880"/>
                </a:lnTo>
                <a:lnTo>
                  <a:pt x="250" y="882"/>
                </a:lnTo>
                <a:lnTo>
                  <a:pt x="250" y="882"/>
                </a:lnTo>
                <a:lnTo>
                  <a:pt x="244" y="880"/>
                </a:lnTo>
                <a:lnTo>
                  <a:pt x="244" y="880"/>
                </a:lnTo>
                <a:lnTo>
                  <a:pt x="244" y="880"/>
                </a:lnTo>
                <a:lnTo>
                  <a:pt x="244" y="880"/>
                </a:lnTo>
                <a:close/>
                <a:moveTo>
                  <a:pt x="190" y="918"/>
                </a:moveTo>
                <a:lnTo>
                  <a:pt x="190" y="918"/>
                </a:lnTo>
                <a:lnTo>
                  <a:pt x="190" y="916"/>
                </a:lnTo>
                <a:lnTo>
                  <a:pt x="190" y="916"/>
                </a:lnTo>
                <a:lnTo>
                  <a:pt x="190" y="916"/>
                </a:lnTo>
                <a:lnTo>
                  <a:pt x="190" y="916"/>
                </a:lnTo>
                <a:lnTo>
                  <a:pt x="190" y="918"/>
                </a:lnTo>
                <a:lnTo>
                  <a:pt x="190" y="918"/>
                </a:lnTo>
                <a:lnTo>
                  <a:pt x="186" y="920"/>
                </a:lnTo>
                <a:lnTo>
                  <a:pt x="184" y="918"/>
                </a:lnTo>
                <a:lnTo>
                  <a:pt x="184" y="918"/>
                </a:lnTo>
                <a:lnTo>
                  <a:pt x="190" y="918"/>
                </a:lnTo>
                <a:lnTo>
                  <a:pt x="190" y="918"/>
                </a:lnTo>
                <a:close/>
                <a:moveTo>
                  <a:pt x="182" y="876"/>
                </a:moveTo>
                <a:lnTo>
                  <a:pt x="182" y="876"/>
                </a:lnTo>
                <a:lnTo>
                  <a:pt x="182" y="876"/>
                </a:lnTo>
                <a:lnTo>
                  <a:pt x="182" y="876"/>
                </a:lnTo>
                <a:lnTo>
                  <a:pt x="182" y="876"/>
                </a:lnTo>
                <a:lnTo>
                  <a:pt x="182" y="876"/>
                </a:lnTo>
                <a:lnTo>
                  <a:pt x="182" y="876"/>
                </a:lnTo>
                <a:lnTo>
                  <a:pt x="182" y="876"/>
                </a:lnTo>
                <a:lnTo>
                  <a:pt x="172" y="876"/>
                </a:lnTo>
                <a:lnTo>
                  <a:pt x="172" y="876"/>
                </a:lnTo>
                <a:lnTo>
                  <a:pt x="172" y="876"/>
                </a:lnTo>
                <a:lnTo>
                  <a:pt x="182" y="876"/>
                </a:lnTo>
                <a:close/>
                <a:moveTo>
                  <a:pt x="168" y="860"/>
                </a:moveTo>
                <a:lnTo>
                  <a:pt x="168" y="860"/>
                </a:lnTo>
                <a:lnTo>
                  <a:pt x="172" y="858"/>
                </a:lnTo>
                <a:lnTo>
                  <a:pt x="172" y="856"/>
                </a:lnTo>
                <a:lnTo>
                  <a:pt x="170" y="852"/>
                </a:lnTo>
                <a:lnTo>
                  <a:pt x="170" y="852"/>
                </a:lnTo>
                <a:lnTo>
                  <a:pt x="170" y="852"/>
                </a:lnTo>
                <a:lnTo>
                  <a:pt x="170" y="852"/>
                </a:lnTo>
                <a:lnTo>
                  <a:pt x="172" y="856"/>
                </a:lnTo>
                <a:lnTo>
                  <a:pt x="172" y="858"/>
                </a:lnTo>
                <a:lnTo>
                  <a:pt x="168" y="860"/>
                </a:lnTo>
                <a:lnTo>
                  <a:pt x="168" y="860"/>
                </a:lnTo>
                <a:lnTo>
                  <a:pt x="166" y="860"/>
                </a:lnTo>
                <a:lnTo>
                  <a:pt x="166" y="860"/>
                </a:lnTo>
                <a:lnTo>
                  <a:pt x="168" y="860"/>
                </a:lnTo>
                <a:lnTo>
                  <a:pt x="168" y="860"/>
                </a:lnTo>
                <a:close/>
                <a:moveTo>
                  <a:pt x="154" y="882"/>
                </a:moveTo>
                <a:lnTo>
                  <a:pt x="154" y="882"/>
                </a:lnTo>
                <a:lnTo>
                  <a:pt x="162" y="876"/>
                </a:lnTo>
                <a:lnTo>
                  <a:pt x="162" y="876"/>
                </a:lnTo>
                <a:lnTo>
                  <a:pt x="184" y="884"/>
                </a:lnTo>
                <a:lnTo>
                  <a:pt x="184" y="884"/>
                </a:lnTo>
                <a:lnTo>
                  <a:pt x="180" y="884"/>
                </a:lnTo>
                <a:lnTo>
                  <a:pt x="176" y="884"/>
                </a:lnTo>
                <a:lnTo>
                  <a:pt x="168" y="884"/>
                </a:lnTo>
                <a:lnTo>
                  <a:pt x="168" y="884"/>
                </a:lnTo>
                <a:lnTo>
                  <a:pt x="162" y="884"/>
                </a:lnTo>
                <a:lnTo>
                  <a:pt x="158" y="884"/>
                </a:lnTo>
                <a:lnTo>
                  <a:pt x="154" y="882"/>
                </a:lnTo>
                <a:lnTo>
                  <a:pt x="154" y="882"/>
                </a:lnTo>
                <a:close/>
                <a:moveTo>
                  <a:pt x="164" y="966"/>
                </a:moveTo>
                <a:lnTo>
                  <a:pt x="164" y="966"/>
                </a:lnTo>
                <a:lnTo>
                  <a:pt x="174" y="966"/>
                </a:lnTo>
                <a:lnTo>
                  <a:pt x="174" y="966"/>
                </a:lnTo>
                <a:lnTo>
                  <a:pt x="174" y="966"/>
                </a:lnTo>
                <a:lnTo>
                  <a:pt x="174" y="966"/>
                </a:lnTo>
                <a:lnTo>
                  <a:pt x="164" y="966"/>
                </a:lnTo>
                <a:lnTo>
                  <a:pt x="164" y="966"/>
                </a:lnTo>
                <a:close/>
                <a:moveTo>
                  <a:pt x="176" y="930"/>
                </a:moveTo>
                <a:lnTo>
                  <a:pt x="176" y="930"/>
                </a:lnTo>
                <a:lnTo>
                  <a:pt x="178" y="928"/>
                </a:lnTo>
                <a:lnTo>
                  <a:pt x="178" y="928"/>
                </a:lnTo>
                <a:lnTo>
                  <a:pt x="176" y="928"/>
                </a:lnTo>
                <a:lnTo>
                  <a:pt x="176" y="928"/>
                </a:lnTo>
                <a:lnTo>
                  <a:pt x="176" y="928"/>
                </a:lnTo>
                <a:lnTo>
                  <a:pt x="176" y="928"/>
                </a:lnTo>
                <a:lnTo>
                  <a:pt x="178" y="928"/>
                </a:lnTo>
                <a:lnTo>
                  <a:pt x="178" y="928"/>
                </a:lnTo>
                <a:lnTo>
                  <a:pt x="176" y="930"/>
                </a:lnTo>
                <a:lnTo>
                  <a:pt x="176" y="930"/>
                </a:lnTo>
                <a:lnTo>
                  <a:pt x="176" y="930"/>
                </a:lnTo>
                <a:lnTo>
                  <a:pt x="176" y="930"/>
                </a:lnTo>
                <a:close/>
                <a:moveTo>
                  <a:pt x="182" y="954"/>
                </a:moveTo>
                <a:lnTo>
                  <a:pt x="182" y="954"/>
                </a:lnTo>
                <a:lnTo>
                  <a:pt x="190" y="952"/>
                </a:lnTo>
                <a:lnTo>
                  <a:pt x="190" y="952"/>
                </a:lnTo>
                <a:lnTo>
                  <a:pt x="178" y="950"/>
                </a:lnTo>
                <a:lnTo>
                  <a:pt x="178" y="950"/>
                </a:lnTo>
                <a:lnTo>
                  <a:pt x="190" y="952"/>
                </a:lnTo>
                <a:lnTo>
                  <a:pt x="190" y="952"/>
                </a:lnTo>
                <a:lnTo>
                  <a:pt x="182" y="954"/>
                </a:lnTo>
                <a:lnTo>
                  <a:pt x="182" y="954"/>
                </a:lnTo>
                <a:close/>
                <a:moveTo>
                  <a:pt x="192" y="872"/>
                </a:moveTo>
                <a:lnTo>
                  <a:pt x="192" y="872"/>
                </a:lnTo>
                <a:lnTo>
                  <a:pt x="200" y="872"/>
                </a:lnTo>
                <a:lnTo>
                  <a:pt x="200" y="872"/>
                </a:lnTo>
                <a:lnTo>
                  <a:pt x="200" y="870"/>
                </a:lnTo>
                <a:lnTo>
                  <a:pt x="200" y="870"/>
                </a:lnTo>
                <a:lnTo>
                  <a:pt x="200" y="870"/>
                </a:lnTo>
                <a:lnTo>
                  <a:pt x="200" y="872"/>
                </a:lnTo>
                <a:lnTo>
                  <a:pt x="200" y="872"/>
                </a:lnTo>
                <a:lnTo>
                  <a:pt x="192" y="872"/>
                </a:lnTo>
                <a:lnTo>
                  <a:pt x="192" y="872"/>
                </a:lnTo>
                <a:lnTo>
                  <a:pt x="192" y="872"/>
                </a:lnTo>
                <a:lnTo>
                  <a:pt x="192" y="872"/>
                </a:lnTo>
                <a:close/>
                <a:moveTo>
                  <a:pt x="194" y="958"/>
                </a:moveTo>
                <a:lnTo>
                  <a:pt x="194" y="958"/>
                </a:lnTo>
                <a:lnTo>
                  <a:pt x="198" y="958"/>
                </a:lnTo>
                <a:lnTo>
                  <a:pt x="202" y="954"/>
                </a:lnTo>
                <a:lnTo>
                  <a:pt x="202" y="954"/>
                </a:lnTo>
                <a:lnTo>
                  <a:pt x="202" y="954"/>
                </a:lnTo>
                <a:lnTo>
                  <a:pt x="202" y="954"/>
                </a:lnTo>
                <a:lnTo>
                  <a:pt x="198" y="958"/>
                </a:lnTo>
                <a:lnTo>
                  <a:pt x="194" y="958"/>
                </a:lnTo>
                <a:lnTo>
                  <a:pt x="194" y="958"/>
                </a:lnTo>
                <a:close/>
                <a:moveTo>
                  <a:pt x="202" y="908"/>
                </a:moveTo>
                <a:lnTo>
                  <a:pt x="202" y="908"/>
                </a:lnTo>
                <a:lnTo>
                  <a:pt x="210" y="908"/>
                </a:lnTo>
                <a:lnTo>
                  <a:pt x="210" y="908"/>
                </a:lnTo>
                <a:lnTo>
                  <a:pt x="210" y="908"/>
                </a:lnTo>
                <a:lnTo>
                  <a:pt x="210" y="908"/>
                </a:lnTo>
                <a:lnTo>
                  <a:pt x="202" y="908"/>
                </a:lnTo>
                <a:lnTo>
                  <a:pt x="202" y="908"/>
                </a:lnTo>
                <a:close/>
                <a:moveTo>
                  <a:pt x="208" y="892"/>
                </a:moveTo>
                <a:lnTo>
                  <a:pt x="208" y="892"/>
                </a:lnTo>
                <a:lnTo>
                  <a:pt x="208" y="892"/>
                </a:lnTo>
                <a:lnTo>
                  <a:pt x="208" y="892"/>
                </a:lnTo>
                <a:lnTo>
                  <a:pt x="214" y="890"/>
                </a:lnTo>
                <a:lnTo>
                  <a:pt x="214" y="890"/>
                </a:lnTo>
                <a:lnTo>
                  <a:pt x="214" y="888"/>
                </a:lnTo>
                <a:lnTo>
                  <a:pt x="214" y="888"/>
                </a:lnTo>
                <a:lnTo>
                  <a:pt x="212" y="888"/>
                </a:lnTo>
                <a:lnTo>
                  <a:pt x="212" y="888"/>
                </a:lnTo>
                <a:lnTo>
                  <a:pt x="214" y="888"/>
                </a:lnTo>
                <a:lnTo>
                  <a:pt x="214" y="888"/>
                </a:lnTo>
                <a:lnTo>
                  <a:pt x="214" y="890"/>
                </a:lnTo>
                <a:lnTo>
                  <a:pt x="214" y="890"/>
                </a:lnTo>
                <a:lnTo>
                  <a:pt x="208" y="892"/>
                </a:lnTo>
                <a:lnTo>
                  <a:pt x="208" y="892"/>
                </a:lnTo>
                <a:close/>
                <a:moveTo>
                  <a:pt x="220" y="888"/>
                </a:moveTo>
                <a:lnTo>
                  <a:pt x="220" y="888"/>
                </a:lnTo>
                <a:lnTo>
                  <a:pt x="220" y="882"/>
                </a:lnTo>
                <a:lnTo>
                  <a:pt x="220" y="882"/>
                </a:lnTo>
                <a:lnTo>
                  <a:pt x="232" y="880"/>
                </a:lnTo>
                <a:lnTo>
                  <a:pt x="238" y="882"/>
                </a:lnTo>
                <a:lnTo>
                  <a:pt x="244" y="886"/>
                </a:lnTo>
                <a:lnTo>
                  <a:pt x="244" y="886"/>
                </a:lnTo>
                <a:lnTo>
                  <a:pt x="230" y="892"/>
                </a:lnTo>
                <a:lnTo>
                  <a:pt x="230" y="892"/>
                </a:lnTo>
                <a:lnTo>
                  <a:pt x="224" y="892"/>
                </a:lnTo>
                <a:lnTo>
                  <a:pt x="220" y="888"/>
                </a:lnTo>
                <a:lnTo>
                  <a:pt x="220" y="888"/>
                </a:lnTo>
                <a:close/>
                <a:moveTo>
                  <a:pt x="226" y="908"/>
                </a:moveTo>
                <a:lnTo>
                  <a:pt x="226" y="908"/>
                </a:lnTo>
                <a:lnTo>
                  <a:pt x="232" y="908"/>
                </a:lnTo>
                <a:lnTo>
                  <a:pt x="232" y="908"/>
                </a:lnTo>
                <a:lnTo>
                  <a:pt x="230" y="910"/>
                </a:lnTo>
                <a:lnTo>
                  <a:pt x="230" y="910"/>
                </a:lnTo>
                <a:lnTo>
                  <a:pt x="230" y="910"/>
                </a:lnTo>
                <a:lnTo>
                  <a:pt x="230" y="910"/>
                </a:lnTo>
                <a:lnTo>
                  <a:pt x="232" y="908"/>
                </a:lnTo>
                <a:lnTo>
                  <a:pt x="232" y="908"/>
                </a:lnTo>
                <a:lnTo>
                  <a:pt x="226" y="908"/>
                </a:lnTo>
                <a:lnTo>
                  <a:pt x="226" y="908"/>
                </a:lnTo>
                <a:lnTo>
                  <a:pt x="226" y="908"/>
                </a:lnTo>
                <a:lnTo>
                  <a:pt x="226" y="908"/>
                </a:lnTo>
                <a:close/>
                <a:moveTo>
                  <a:pt x="240" y="942"/>
                </a:moveTo>
                <a:lnTo>
                  <a:pt x="240" y="942"/>
                </a:lnTo>
                <a:lnTo>
                  <a:pt x="248" y="940"/>
                </a:lnTo>
                <a:lnTo>
                  <a:pt x="248" y="940"/>
                </a:lnTo>
                <a:lnTo>
                  <a:pt x="242" y="936"/>
                </a:lnTo>
                <a:lnTo>
                  <a:pt x="242" y="936"/>
                </a:lnTo>
                <a:lnTo>
                  <a:pt x="248" y="940"/>
                </a:lnTo>
                <a:lnTo>
                  <a:pt x="248" y="940"/>
                </a:lnTo>
                <a:lnTo>
                  <a:pt x="244" y="942"/>
                </a:lnTo>
                <a:lnTo>
                  <a:pt x="240" y="942"/>
                </a:lnTo>
                <a:lnTo>
                  <a:pt x="240" y="942"/>
                </a:lnTo>
                <a:close/>
                <a:moveTo>
                  <a:pt x="248" y="936"/>
                </a:moveTo>
                <a:lnTo>
                  <a:pt x="248" y="936"/>
                </a:lnTo>
                <a:lnTo>
                  <a:pt x="238" y="930"/>
                </a:lnTo>
                <a:lnTo>
                  <a:pt x="238" y="930"/>
                </a:lnTo>
                <a:lnTo>
                  <a:pt x="230" y="926"/>
                </a:lnTo>
                <a:lnTo>
                  <a:pt x="230" y="926"/>
                </a:lnTo>
                <a:lnTo>
                  <a:pt x="234" y="922"/>
                </a:lnTo>
                <a:lnTo>
                  <a:pt x="240" y="920"/>
                </a:lnTo>
                <a:lnTo>
                  <a:pt x="252" y="922"/>
                </a:lnTo>
                <a:lnTo>
                  <a:pt x="252" y="922"/>
                </a:lnTo>
                <a:lnTo>
                  <a:pt x="256" y="916"/>
                </a:lnTo>
                <a:lnTo>
                  <a:pt x="256" y="916"/>
                </a:lnTo>
                <a:lnTo>
                  <a:pt x="264" y="916"/>
                </a:lnTo>
                <a:lnTo>
                  <a:pt x="264" y="916"/>
                </a:lnTo>
                <a:lnTo>
                  <a:pt x="274" y="916"/>
                </a:lnTo>
                <a:lnTo>
                  <a:pt x="274" y="916"/>
                </a:lnTo>
                <a:lnTo>
                  <a:pt x="248" y="936"/>
                </a:lnTo>
                <a:lnTo>
                  <a:pt x="248" y="936"/>
                </a:lnTo>
                <a:close/>
                <a:moveTo>
                  <a:pt x="268" y="940"/>
                </a:moveTo>
                <a:lnTo>
                  <a:pt x="268" y="940"/>
                </a:lnTo>
                <a:lnTo>
                  <a:pt x="268" y="940"/>
                </a:lnTo>
                <a:lnTo>
                  <a:pt x="268" y="940"/>
                </a:lnTo>
                <a:lnTo>
                  <a:pt x="278" y="940"/>
                </a:lnTo>
                <a:lnTo>
                  <a:pt x="286" y="936"/>
                </a:lnTo>
                <a:lnTo>
                  <a:pt x="286" y="936"/>
                </a:lnTo>
                <a:lnTo>
                  <a:pt x="278" y="934"/>
                </a:lnTo>
                <a:lnTo>
                  <a:pt x="278" y="934"/>
                </a:lnTo>
                <a:lnTo>
                  <a:pt x="286" y="936"/>
                </a:lnTo>
                <a:lnTo>
                  <a:pt x="286" y="936"/>
                </a:lnTo>
                <a:lnTo>
                  <a:pt x="278" y="940"/>
                </a:lnTo>
                <a:lnTo>
                  <a:pt x="268" y="940"/>
                </a:lnTo>
                <a:lnTo>
                  <a:pt x="268" y="940"/>
                </a:lnTo>
                <a:close/>
                <a:moveTo>
                  <a:pt x="278" y="900"/>
                </a:moveTo>
                <a:lnTo>
                  <a:pt x="278" y="900"/>
                </a:lnTo>
                <a:lnTo>
                  <a:pt x="274" y="904"/>
                </a:lnTo>
                <a:lnTo>
                  <a:pt x="268" y="902"/>
                </a:lnTo>
                <a:lnTo>
                  <a:pt x="262" y="902"/>
                </a:lnTo>
                <a:lnTo>
                  <a:pt x="256" y="902"/>
                </a:lnTo>
                <a:lnTo>
                  <a:pt x="256" y="902"/>
                </a:lnTo>
                <a:lnTo>
                  <a:pt x="260" y="898"/>
                </a:lnTo>
                <a:lnTo>
                  <a:pt x="264" y="896"/>
                </a:lnTo>
                <a:lnTo>
                  <a:pt x="268" y="894"/>
                </a:lnTo>
                <a:lnTo>
                  <a:pt x="274" y="894"/>
                </a:lnTo>
                <a:lnTo>
                  <a:pt x="274" y="894"/>
                </a:lnTo>
                <a:lnTo>
                  <a:pt x="286" y="894"/>
                </a:lnTo>
                <a:lnTo>
                  <a:pt x="292" y="896"/>
                </a:lnTo>
                <a:lnTo>
                  <a:pt x="296" y="900"/>
                </a:lnTo>
                <a:lnTo>
                  <a:pt x="296" y="900"/>
                </a:lnTo>
                <a:lnTo>
                  <a:pt x="292" y="904"/>
                </a:lnTo>
                <a:lnTo>
                  <a:pt x="288" y="904"/>
                </a:lnTo>
                <a:lnTo>
                  <a:pt x="284" y="904"/>
                </a:lnTo>
                <a:lnTo>
                  <a:pt x="278" y="900"/>
                </a:lnTo>
                <a:lnTo>
                  <a:pt x="278" y="900"/>
                </a:lnTo>
                <a:close/>
                <a:moveTo>
                  <a:pt x="338" y="970"/>
                </a:moveTo>
                <a:lnTo>
                  <a:pt x="338" y="970"/>
                </a:lnTo>
                <a:lnTo>
                  <a:pt x="338" y="970"/>
                </a:lnTo>
                <a:lnTo>
                  <a:pt x="338" y="970"/>
                </a:lnTo>
                <a:lnTo>
                  <a:pt x="340" y="968"/>
                </a:lnTo>
                <a:lnTo>
                  <a:pt x="340" y="968"/>
                </a:lnTo>
                <a:lnTo>
                  <a:pt x="338" y="966"/>
                </a:lnTo>
                <a:lnTo>
                  <a:pt x="338" y="966"/>
                </a:lnTo>
                <a:lnTo>
                  <a:pt x="338" y="966"/>
                </a:lnTo>
                <a:lnTo>
                  <a:pt x="338" y="966"/>
                </a:lnTo>
                <a:lnTo>
                  <a:pt x="340" y="968"/>
                </a:lnTo>
                <a:lnTo>
                  <a:pt x="340" y="968"/>
                </a:lnTo>
                <a:lnTo>
                  <a:pt x="338" y="970"/>
                </a:lnTo>
                <a:lnTo>
                  <a:pt x="338" y="970"/>
                </a:lnTo>
                <a:close/>
                <a:moveTo>
                  <a:pt x="376" y="972"/>
                </a:moveTo>
                <a:lnTo>
                  <a:pt x="376" y="972"/>
                </a:lnTo>
                <a:lnTo>
                  <a:pt x="360" y="954"/>
                </a:lnTo>
                <a:lnTo>
                  <a:pt x="360" y="954"/>
                </a:lnTo>
                <a:lnTo>
                  <a:pt x="368" y="956"/>
                </a:lnTo>
                <a:lnTo>
                  <a:pt x="372" y="956"/>
                </a:lnTo>
                <a:lnTo>
                  <a:pt x="376" y="954"/>
                </a:lnTo>
                <a:lnTo>
                  <a:pt x="376" y="954"/>
                </a:lnTo>
                <a:lnTo>
                  <a:pt x="372" y="952"/>
                </a:lnTo>
                <a:lnTo>
                  <a:pt x="368" y="952"/>
                </a:lnTo>
                <a:lnTo>
                  <a:pt x="360" y="952"/>
                </a:lnTo>
                <a:lnTo>
                  <a:pt x="360" y="952"/>
                </a:lnTo>
                <a:lnTo>
                  <a:pt x="358" y="954"/>
                </a:lnTo>
                <a:lnTo>
                  <a:pt x="356" y="958"/>
                </a:lnTo>
                <a:lnTo>
                  <a:pt x="356" y="958"/>
                </a:lnTo>
                <a:lnTo>
                  <a:pt x="354" y="960"/>
                </a:lnTo>
                <a:lnTo>
                  <a:pt x="352" y="962"/>
                </a:lnTo>
                <a:lnTo>
                  <a:pt x="352" y="962"/>
                </a:lnTo>
                <a:lnTo>
                  <a:pt x="346" y="962"/>
                </a:lnTo>
                <a:lnTo>
                  <a:pt x="342" y="960"/>
                </a:lnTo>
                <a:lnTo>
                  <a:pt x="342" y="960"/>
                </a:lnTo>
                <a:lnTo>
                  <a:pt x="338" y="958"/>
                </a:lnTo>
                <a:lnTo>
                  <a:pt x="334" y="956"/>
                </a:lnTo>
                <a:lnTo>
                  <a:pt x="326" y="952"/>
                </a:lnTo>
                <a:lnTo>
                  <a:pt x="326" y="952"/>
                </a:lnTo>
                <a:lnTo>
                  <a:pt x="322" y="956"/>
                </a:lnTo>
                <a:lnTo>
                  <a:pt x="320" y="960"/>
                </a:lnTo>
                <a:lnTo>
                  <a:pt x="316" y="962"/>
                </a:lnTo>
                <a:lnTo>
                  <a:pt x="310" y="964"/>
                </a:lnTo>
                <a:lnTo>
                  <a:pt x="310" y="964"/>
                </a:lnTo>
                <a:lnTo>
                  <a:pt x="308" y="956"/>
                </a:lnTo>
                <a:lnTo>
                  <a:pt x="308" y="956"/>
                </a:lnTo>
                <a:lnTo>
                  <a:pt x="308" y="956"/>
                </a:lnTo>
                <a:lnTo>
                  <a:pt x="308" y="956"/>
                </a:lnTo>
                <a:lnTo>
                  <a:pt x="302" y="950"/>
                </a:lnTo>
                <a:lnTo>
                  <a:pt x="302" y="950"/>
                </a:lnTo>
                <a:lnTo>
                  <a:pt x="312" y="942"/>
                </a:lnTo>
                <a:lnTo>
                  <a:pt x="312" y="942"/>
                </a:lnTo>
                <a:lnTo>
                  <a:pt x="304" y="938"/>
                </a:lnTo>
                <a:lnTo>
                  <a:pt x="304" y="938"/>
                </a:lnTo>
                <a:lnTo>
                  <a:pt x="316" y="936"/>
                </a:lnTo>
                <a:lnTo>
                  <a:pt x="316" y="936"/>
                </a:lnTo>
                <a:lnTo>
                  <a:pt x="324" y="930"/>
                </a:lnTo>
                <a:lnTo>
                  <a:pt x="330" y="926"/>
                </a:lnTo>
                <a:lnTo>
                  <a:pt x="336" y="924"/>
                </a:lnTo>
                <a:lnTo>
                  <a:pt x="336" y="924"/>
                </a:lnTo>
                <a:lnTo>
                  <a:pt x="334" y="916"/>
                </a:lnTo>
                <a:lnTo>
                  <a:pt x="334" y="916"/>
                </a:lnTo>
                <a:lnTo>
                  <a:pt x="318" y="914"/>
                </a:lnTo>
                <a:lnTo>
                  <a:pt x="318" y="914"/>
                </a:lnTo>
                <a:lnTo>
                  <a:pt x="328" y="908"/>
                </a:lnTo>
                <a:lnTo>
                  <a:pt x="328" y="908"/>
                </a:lnTo>
                <a:lnTo>
                  <a:pt x="332" y="910"/>
                </a:lnTo>
                <a:lnTo>
                  <a:pt x="334" y="912"/>
                </a:lnTo>
                <a:lnTo>
                  <a:pt x="334" y="912"/>
                </a:lnTo>
                <a:lnTo>
                  <a:pt x="344" y="910"/>
                </a:lnTo>
                <a:lnTo>
                  <a:pt x="344" y="910"/>
                </a:lnTo>
                <a:lnTo>
                  <a:pt x="346" y="910"/>
                </a:lnTo>
                <a:lnTo>
                  <a:pt x="346" y="910"/>
                </a:lnTo>
                <a:lnTo>
                  <a:pt x="358" y="908"/>
                </a:lnTo>
                <a:lnTo>
                  <a:pt x="362" y="910"/>
                </a:lnTo>
                <a:lnTo>
                  <a:pt x="366" y="910"/>
                </a:lnTo>
                <a:lnTo>
                  <a:pt x="366" y="910"/>
                </a:lnTo>
                <a:lnTo>
                  <a:pt x="368" y="914"/>
                </a:lnTo>
                <a:lnTo>
                  <a:pt x="368" y="916"/>
                </a:lnTo>
                <a:lnTo>
                  <a:pt x="366" y="920"/>
                </a:lnTo>
                <a:lnTo>
                  <a:pt x="362" y="924"/>
                </a:lnTo>
                <a:lnTo>
                  <a:pt x="362" y="924"/>
                </a:lnTo>
                <a:lnTo>
                  <a:pt x="358" y="922"/>
                </a:lnTo>
                <a:lnTo>
                  <a:pt x="354" y="920"/>
                </a:lnTo>
                <a:lnTo>
                  <a:pt x="350" y="920"/>
                </a:lnTo>
                <a:lnTo>
                  <a:pt x="344" y="922"/>
                </a:lnTo>
                <a:lnTo>
                  <a:pt x="344" y="922"/>
                </a:lnTo>
                <a:lnTo>
                  <a:pt x="358" y="924"/>
                </a:lnTo>
                <a:lnTo>
                  <a:pt x="358" y="924"/>
                </a:lnTo>
                <a:lnTo>
                  <a:pt x="374" y="930"/>
                </a:lnTo>
                <a:lnTo>
                  <a:pt x="374" y="930"/>
                </a:lnTo>
                <a:lnTo>
                  <a:pt x="362" y="936"/>
                </a:lnTo>
                <a:lnTo>
                  <a:pt x="356" y="938"/>
                </a:lnTo>
                <a:lnTo>
                  <a:pt x="348" y="938"/>
                </a:lnTo>
                <a:lnTo>
                  <a:pt x="348" y="938"/>
                </a:lnTo>
                <a:lnTo>
                  <a:pt x="354" y="942"/>
                </a:lnTo>
                <a:lnTo>
                  <a:pt x="354" y="942"/>
                </a:lnTo>
                <a:lnTo>
                  <a:pt x="356" y="944"/>
                </a:lnTo>
                <a:lnTo>
                  <a:pt x="356" y="948"/>
                </a:lnTo>
                <a:lnTo>
                  <a:pt x="356" y="948"/>
                </a:lnTo>
                <a:lnTo>
                  <a:pt x="364" y="944"/>
                </a:lnTo>
                <a:lnTo>
                  <a:pt x="364" y="944"/>
                </a:lnTo>
                <a:lnTo>
                  <a:pt x="376" y="942"/>
                </a:lnTo>
                <a:lnTo>
                  <a:pt x="376" y="942"/>
                </a:lnTo>
                <a:lnTo>
                  <a:pt x="372" y="938"/>
                </a:lnTo>
                <a:lnTo>
                  <a:pt x="372" y="938"/>
                </a:lnTo>
                <a:lnTo>
                  <a:pt x="378" y="936"/>
                </a:lnTo>
                <a:lnTo>
                  <a:pt x="378" y="936"/>
                </a:lnTo>
                <a:lnTo>
                  <a:pt x="380" y="946"/>
                </a:lnTo>
                <a:lnTo>
                  <a:pt x="380" y="946"/>
                </a:lnTo>
                <a:lnTo>
                  <a:pt x="388" y="950"/>
                </a:lnTo>
                <a:lnTo>
                  <a:pt x="388" y="950"/>
                </a:lnTo>
                <a:lnTo>
                  <a:pt x="384" y="954"/>
                </a:lnTo>
                <a:lnTo>
                  <a:pt x="384" y="954"/>
                </a:lnTo>
                <a:lnTo>
                  <a:pt x="384" y="956"/>
                </a:lnTo>
                <a:lnTo>
                  <a:pt x="386" y="958"/>
                </a:lnTo>
                <a:lnTo>
                  <a:pt x="392" y="960"/>
                </a:lnTo>
                <a:lnTo>
                  <a:pt x="398" y="962"/>
                </a:lnTo>
                <a:lnTo>
                  <a:pt x="400" y="964"/>
                </a:lnTo>
                <a:lnTo>
                  <a:pt x="400" y="968"/>
                </a:lnTo>
                <a:lnTo>
                  <a:pt x="400" y="968"/>
                </a:lnTo>
                <a:lnTo>
                  <a:pt x="394" y="970"/>
                </a:lnTo>
                <a:lnTo>
                  <a:pt x="388" y="970"/>
                </a:lnTo>
                <a:lnTo>
                  <a:pt x="380" y="970"/>
                </a:lnTo>
                <a:lnTo>
                  <a:pt x="376" y="972"/>
                </a:lnTo>
                <a:lnTo>
                  <a:pt x="376" y="972"/>
                </a:lnTo>
                <a:close/>
                <a:moveTo>
                  <a:pt x="412" y="1018"/>
                </a:moveTo>
                <a:lnTo>
                  <a:pt x="412" y="1018"/>
                </a:lnTo>
                <a:lnTo>
                  <a:pt x="406" y="1016"/>
                </a:lnTo>
                <a:lnTo>
                  <a:pt x="402" y="1014"/>
                </a:lnTo>
                <a:lnTo>
                  <a:pt x="400" y="1010"/>
                </a:lnTo>
                <a:lnTo>
                  <a:pt x="400" y="1006"/>
                </a:lnTo>
                <a:lnTo>
                  <a:pt x="400" y="1006"/>
                </a:lnTo>
                <a:lnTo>
                  <a:pt x="394" y="1006"/>
                </a:lnTo>
                <a:lnTo>
                  <a:pt x="392" y="1006"/>
                </a:lnTo>
                <a:lnTo>
                  <a:pt x="392" y="1006"/>
                </a:lnTo>
                <a:lnTo>
                  <a:pt x="394" y="1006"/>
                </a:lnTo>
                <a:lnTo>
                  <a:pt x="400" y="1006"/>
                </a:lnTo>
                <a:lnTo>
                  <a:pt x="400" y="1006"/>
                </a:lnTo>
                <a:lnTo>
                  <a:pt x="400" y="1010"/>
                </a:lnTo>
                <a:lnTo>
                  <a:pt x="402" y="1014"/>
                </a:lnTo>
                <a:lnTo>
                  <a:pt x="406" y="1016"/>
                </a:lnTo>
                <a:lnTo>
                  <a:pt x="412" y="1018"/>
                </a:lnTo>
                <a:lnTo>
                  <a:pt x="412" y="1018"/>
                </a:lnTo>
                <a:lnTo>
                  <a:pt x="412" y="1018"/>
                </a:lnTo>
                <a:lnTo>
                  <a:pt x="412" y="1018"/>
                </a:lnTo>
                <a:close/>
                <a:moveTo>
                  <a:pt x="568" y="964"/>
                </a:moveTo>
                <a:lnTo>
                  <a:pt x="568" y="964"/>
                </a:lnTo>
                <a:lnTo>
                  <a:pt x="558" y="968"/>
                </a:lnTo>
                <a:lnTo>
                  <a:pt x="546" y="968"/>
                </a:lnTo>
                <a:lnTo>
                  <a:pt x="546" y="968"/>
                </a:lnTo>
                <a:lnTo>
                  <a:pt x="540" y="968"/>
                </a:lnTo>
                <a:lnTo>
                  <a:pt x="536" y="970"/>
                </a:lnTo>
                <a:lnTo>
                  <a:pt x="532" y="972"/>
                </a:lnTo>
                <a:lnTo>
                  <a:pt x="528" y="974"/>
                </a:lnTo>
                <a:lnTo>
                  <a:pt x="528" y="974"/>
                </a:lnTo>
                <a:lnTo>
                  <a:pt x="524" y="976"/>
                </a:lnTo>
                <a:lnTo>
                  <a:pt x="524" y="976"/>
                </a:lnTo>
                <a:lnTo>
                  <a:pt x="508" y="974"/>
                </a:lnTo>
                <a:lnTo>
                  <a:pt x="508" y="974"/>
                </a:lnTo>
                <a:lnTo>
                  <a:pt x="508" y="972"/>
                </a:lnTo>
                <a:lnTo>
                  <a:pt x="508" y="972"/>
                </a:lnTo>
                <a:lnTo>
                  <a:pt x="524" y="968"/>
                </a:lnTo>
                <a:lnTo>
                  <a:pt x="524" y="968"/>
                </a:lnTo>
                <a:lnTo>
                  <a:pt x="490" y="970"/>
                </a:lnTo>
                <a:lnTo>
                  <a:pt x="474" y="972"/>
                </a:lnTo>
                <a:lnTo>
                  <a:pt x="460" y="976"/>
                </a:lnTo>
                <a:lnTo>
                  <a:pt x="460" y="976"/>
                </a:lnTo>
                <a:lnTo>
                  <a:pt x="452" y="970"/>
                </a:lnTo>
                <a:lnTo>
                  <a:pt x="448" y="970"/>
                </a:lnTo>
                <a:lnTo>
                  <a:pt x="444" y="972"/>
                </a:lnTo>
                <a:lnTo>
                  <a:pt x="444" y="972"/>
                </a:lnTo>
                <a:lnTo>
                  <a:pt x="444" y="968"/>
                </a:lnTo>
                <a:lnTo>
                  <a:pt x="444" y="968"/>
                </a:lnTo>
                <a:lnTo>
                  <a:pt x="442" y="972"/>
                </a:lnTo>
                <a:lnTo>
                  <a:pt x="442" y="972"/>
                </a:lnTo>
                <a:lnTo>
                  <a:pt x="438" y="974"/>
                </a:lnTo>
                <a:lnTo>
                  <a:pt x="438" y="974"/>
                </a:lnTo>
                <a:lnTo>
                  <a:pt x="436" y="976"/>
                </a:lnTo>
                <a:lnTo>
                  <a:pt x="434" y="978"/>
                </a:lnTo>
                <a:lnTo>
                  <a:pt x="436" y="980"/>
                </a:lnTo>
                <a:lnTo>
                  <a:pt x="438" y="984"/>
                </a:lnTo>
                <a:lnTo>
                  <a:pt x="438" y="984"/>
                </a:lnTo>
                <a:lnTo>
                  <a:pt x="428" y="1004"/>
                </a:lnTo>
                <a:lnTo>
                  <a:pt x="422" y="1012"/>
                </a:lnTo>
                <a:lnTo>
                  <a:pt x="420" y="1012"/>
                </a:lnTo>
                <a:lnTo>
                  <a:pt x="416" y="1012"/>
                </a:lnTo>
                <a:lnTo>
                  <a:pt x="416" y="1012"/>
                </a:lnTo>
                <a:lnTo>
                  <a:pt x="420" y="1008"/>
                </a:lnTo>
                <a:lnTo>
                  <a:pt x="422" y="1000"/>
                </a:lnTo>
                <a:lnTo>
                  <a:pt x="422" y="1000"/>
                </a:lnTo>
                <a:lnTo>
                  <a:pt x="418" y="998"/>
                </a:lnTo>
                <a:lnTo>
                  <a:pt x="414" y="996"/>
                </a:lnTo>
                <a:lnTo>
                  <a:pt x="414" y="996"/>
                </a:lnTo>
                <a:lnTo>
                  <a:pt x="410" y="994"/>
                </a:lnTo>
                <a:lnTo>
                  <a:pt x="408" y="992"/>
                </a:lnTo>
                <a:lnTo>
                  <a:pt x="400" y="992"/>
                </a:lnTo>
                <a:lnTo>
                  <a:pt x="400" y="992"/>
                </a:lnTo>
                <a:lnTo>
                  <a:pt x="400" y="992"/>
                </a:lnTo>
                <a:lnTo>
                  <a:pt x="400" y="992"/>
                </a:lnTo>
                <a:lnTo>
                  <a:pt x="408" y="992"/>
                </a:lnTo>
                <a:lnTo>
                  <a:pt x="410" y="994"/>
                </a:lnTo>
                <a:lnTo>
                  <a:pt x="414" y="996"/>
                </a:lnTo>
                <a:lnTo>
                  <a:pt x="414" y="996"/>
                </a:lnTo>
                <a:lnTo>
                  <a:pt x="418" y="998"/>
                </a:lnTo>
                <a:lnTo>
                  <a:pt x="422" y="1000"/>
                </a:lnTo>
                <a:lnTo>
                  <a:pt x="422" y="1000"/>
                </a:lnTo>
                <a:lnTo>
                  <a:pt x="430" y="968"/>
                </a:lnTo>
                <a:lnTo>
                  <a:pt x="432" y="952"/>
                </a:lnTo>
                <a:lnTo>
                  <a:pt x="436" y="942"/>
                </a:lnTo>
                <a:lnTo>
                  <a:pt x="436" y="942"/>
                </a:lnTo>
                <a:lnTo>
                  <a:pt x="438" y="930"/>
                </a:lnTo>
                <a:lnTo>
                  <a:pt x="438" y="930"/>
                </a:lnTo>
                <a:lnTo>
                  <a:pt x="438" y="930"/>
                </a:lnTo>
                <a:lnTo>
                  <a:pt x="438" y="930"/>
                </a:lnTo>
                <a:lnTo>
                  <a:pt x="436" y="942"/>
                </a:lnTo>
                <a:lnTo>
                  <a:pt x="436" y="942"/>
                </a:lnTo>
                <a:lnTo>
                  <a:pt x="436" y="940"/>
                </a:lnTo>
                <a:lnTo>
                  <a:pt x="436" y="940"/>
                </a:lnTo>
                <a:lnTo>
                  <a:pt x="434" y="976"/>
                </a:lnTo>
                <a:lnTo>
                  <a:pt x="432" y="990"/>
                </a:lnTo>
                <a:lnTo>
                  <a:pt x="430" y="998"/>
                </a:lnTo>
                <a:lnTo>
                  <a:pt x="430" y="998"/>
                </a:lnTo>
                <a:lnTo>
                  <a:pt x="432" y="990"/>
                </a:lnTo>
                <a:lnTo>
                  <a:pt x="434" y="976"/>
                </a:lnTo>
                <a:lnTo>
                  <a:pt x="438" y="940"/>
                </a:lnTo>
                <a:lnTo>
                  <a:pt x="438" y="940"/>
                </a:lnTo>
                <a:lnTo>
                  <a:pt x="438" y="940"/>
                </a:lnTo>
                <a:lnTo>
                  <a:pt x="438" y="940"/>
                </a:lnTo>
                <a:lnTo>
                  <a:pt x="444" y="940"/>
                </a:lnTo>
                <a:lnTo>
                  <a:pt x="444" y="940"/>
                </a:lnTo>
                <a:lnTo>
                  <a:pt x="458" y="936"/>
                </a:lnTo>
                <a:lnTo>
                  <a:pt x="458" y="936"/>
                </a:lnTo>
                <a:lnTo>
                  <a:pt x="452" y="930"/>
                </a:lnTo>
                <a:lnTo>
                  <a:pt x="452" y="930"/>
                </a:lnTo>
                <a:lnTo>
                  <a:pt x="480" y="932"/>
                </a:lnTo>
                <a:lnTo>
                  <a:pt x="480" y="932"/>
                </a:lnTo>
                <a:lnTo>
                  <a:pt x="480" y="934"/>
                </a:lnTo>
                <a:lnTo>
                  <a:pt x="480" y="934"/>
                </a:lnTo>
                <a:lnTo>
                  <a:pt x="482" y="936"/>
                </a:lnTo>
                <a:lnTo>
                  <a:pt x="482" y="936"/>
                </a:lnTo>
                <a:lnTo>
                  <a:pt x="486" y="936"/>
                </a:lnTo>
                <a:lnTo>
                  <a:pt x="486" y="938"/>
                </a:lnTo>
                <a:lnTo>
                  <a:pt x="486" y="938"/>
                </a:lnTo>
                <a:lnTo>
                  <a:pt x="488" y="944"/>
                </a:lnTo>
                <a:lnTo>
                  <a:pt x="490" y="946"/>
                </a:lnTo>
                <a:lnTo>
                  <a:pt x="500" y="952"/>
                </a:lnTo>
                <a:lnTo>
                  <a:pt x="500" y="952"/>
                </a:lnTo>
                <a:lnTo>
                  <a:pt x="498" y="954"/>
                </a:lnTo>
                <a:lnTo>
                  <a:pt x="494" y="954"/>
                </a:lnTo>
                <a:lnTo>
                  <a:pt x="490" y="954"/>
                </a:lnTo>
                <a:lnTo>
                  <a:pt x="486" y="954"/>
                </a:lnTo>
                <a:lnTo>
                  <a:pt x="486" y="954"/>
                </a:lnTo>
                <a:lnTo>
                  <a:pt x="494" y="958"/>
                </a:lnTo>
                <a:lnTo>
                  <a:pt x="498" y="960"/>
                </a:lnTo>
                <a:lnTo>
                  <a:pt x="502" y="958"/>
                </a:lnTo>
                <a:lnTo>
                  <a:pt x="502" y="958"/>
                </a:lnTo>
                <a:lnTo>
                  <a:pt x="506" y="958"/>
                </a:lnTo>
                <a:lnTo>
                  <a:pt x="506" y="958"/>
                </a:lnTo>
                <a:lnTo>
                  <a:pt x="512" y="960"/>
                </a:lnTo>
                <a:lnTo>
                  <a:pt x="518" y="960"/>
                </a:lnTo>
                <a:lnTo>
                  <a:pt x="530" y="956"/>
                </a:lnTo>
                <a:lnTo>
                  <a:pt x="530" y="956"/>
                </a:lnTo>
                <a:lnTo>
                  <a:pt x="540" y="954"/>
                </a:lnTo>
                <a:lnTo>
                  <a:pt x="540" y="954"/>
                </a:lnTo>
                <a:lnTo>
                  <a:pt x="552" y="954"/>
                </a:lnTo>
                <a:lnTo>
                  <a:pt x="558" y="958"/>
                </a:lnTo>
                <a:lnTo>
                  <a:pt x="564" y="960"/>
                </a:lnTo>
                <a:lnTo>
                  <a:pt x="564" y="960"/>
                </a:lnTo>
                <a:lnTo>
                  <a:pt x="564" y="956"/>
                </a:lnTo>
                <a:lnTo>
                  <a:pt x="566" y="954"/>
                </a:lnTo>
                <a:lnTo>
                  <a:pt x="570" y="954"/>
                </a:lnTo>
                <a:lnTo>
                  <a:pt x="570" y="954"/>
                </a:lnTo>
                <a:lnTo>
                  <a:pt x="570" y="960"/>
                </a:lnTo>
                <a:lnTo>
                  <a:pt x="570" y="962"/>
                </a:lnTo>
                <a:lnTo>
                  <a:pt x="568" y="964"/>
                </a:lnTo>
                <a:lnTo>
                  <a:pt x="568" y="964"/>
                </a:lnTo>
                <a:close/>
                <a:moveTo>
                  <a:pt x="700" y="978"/>
                </a:moveTo>
                <a:lnTo>
                  <a:pt x="700" y="978"/>
                </a:lnTo>
                <a:lnTo>
                  <a:pt x="704" y="978"/>
                </a:lnTo>
                <a:lnTo>
                  <a:pt x="704" y="978"/>
                </a:lnTo>
                <a:lnTo>
                  <a:pt x="704" y="976"/>
                </a:lnTo>
                <a:lnTo>
                  <a:pt x="704" y="976"/>
                </a:lnTo>
                <a:lnTo>
                  <a:pt x="704" y="976"/>
                </a:lnTo>
                <a:lnTo>
                  <a:pt x="706" y="978"/>
                </a:lnTo>
                <a:lnTo>
                  <a:pt x="706" y="978"/>
                </a:lnTo>
                <a:lnTo>
                  <a:pt x="700" y="978"/>
                </a:lnTo>
                <a:lnTo>
                  <a:pt x="700" y="978"/>
                </a:lnTo>
                <a:lnTo>
                  <a:pt x="700" y="978"/>
                </a:lnTo>
                <a:lnTo>
                  <a:pt x="700" y="978"/>
                </a:lnTo>
                <a:close/>
                <a:moveTo>
                  <a:pt x="704" y="1006"/>
                </a:moveTo>
                <a:lnTo>
                  <a:pt x="704" y="1006"/>
                </a:lnTo>
                <a:lnTo>
                  <a:pt x="704" y="1006"/>
                </a:lnTo>
                <a:lnTo>
                  <a:pt x="704" y="1006"/>
                </a:lnTo>
                <a:lnTo>
                  <a:pt x="706" y="1004"/>
                </a:lnTo>
                <a:lnTo>
                  <a:pt x="706" y="1004"/>
                </a:lnTo>
                <a:lnTo>
                  <a:pt x="704" y="1004"/>
                </a:lnTo>
                <a:lnTo>
                  <a:pt x="704" y="1004"/>
                </a:lnTo>
                <a:lnTo>
                  <a:pt x="704" y="1004"/>
                </a:lnTo>
                <a:lnTo>
                  <a:pt x="704" y="1004"/>
                </a:lnTo>
                <a:lnTo>
                  <a:pt x="706" y="1004"/>
                </a:lnTo>
                <a:lnTo>
                  <a:pt x="706" y="1004"/>
                </a:lnTo>
                <a:lnTo>
                  <a:pt x="704" y="1006"/>
                </a:lnTo>
                <a:lnTo>
                  <a:pt x="704" y="1006"/>
                </a:lnTo>
                <a:close/>
                <a:moveTo>
                  <a:pt x="648" y="1110"/>
                </a:moveTo>
                <a:lnTo>
                  <a:pt x="648" y="1110"/>
                </a:lnTo>
                <a:lnTo>
                  <a:pt x="658" y="1112"/>
                </a:lnTo>
                <a:lnTo>
                  <a:pt x="658" y="1112"/>
                </a:lnTo>
                <a:lnTo>
                  <a:pt x="658" y="1114"/>
                </a:lnTo>
                <a:lnTo>
                  <a:pt x="658" y="1114"/>
                </a:lnTo>
                <a:lnTo>
                  <a:pt x="658" y="1114"/>
                </a:lnTo>
                <a:lnTo>
                  <a:pt x="658" y="1114"/>
                </a:lnTo>
                <a:lnTo>
                  <a:pt x="658" y="1112"/>
                </a:lnTo>
                <a:lnTo>
                  <a:pt x="656" y="1112"/>
                </a:lnTo>
                <a:lnTo>
                  <a:pt x="648" y="1110"/>
                </a:lnTo>
                <a:lnTo>
                  <a:pt x="648" y="1110"/>
                </a:lnTo>
                <a:lnTo>
                  <a:pt x="648" y="1110"/>
                </a:lnTo>
                <a:lnTo>
                  <a:pt x="648" y="1110"/>
                </a:lnTo>
                <a:close/>
                <a:moveTo>
                  <a:pt x="658" y="1116"/>
                </a:moveTo>
                <a:lnTo>
                  <a:pt x="658" y="1116"/>
                </a:lnTo>
                <a:lnTo>
                  <a:pt x="658" y="1116"/>
                </a:lnTo>
                <a:lnTo>
                  <a:pt x="658" y="1116"/>
                </a:lnTo>
                <a:lnTo>
                  <a:pt x="658" y="1116"/>
                </a:lnTo>
                <a:lnTo>
                  <a:pt x="658" y="1116"/>
                </a:lnTo>
                <a:lnTo>
                  <a:pt x="658" y="1116"/>
                </a:lnTo>
                <a:lnTo>
                  <a:pt x="658" y="1116"/>
                </a:lnTo>
                <a:lnTo>
                  <a:pt x="658" y="1116"/>
                </a:lnTo>
                <a:close/>
                <a:moveTo>
                  <a:pt x="756" y="1122"/>
                </a:moveTo>
                <a:lnTo>
                  <a:pt x="756" y="1122"/>
                </a:lnTo>
                <a:lnTo>
                  <a:pt x="756" y="1122"/>
                </a:lnTo>
                <a:lnTo>
                  <a:pt x="756" y="1122"/>
                </a:lnTo>
                <a:lnTo>
                  <a:pt x="756" y="1122"/>
                </a:lnTo>
                <a:lnTo>
                  <a:pt x="756" y="1122"/>
                </a:lnTo>
                <a:lnTo>
                  <a:pt x="756" y="1122"/>
                </a:lnTo>
                <a:lnTo>
                  <a:pt x="756" y="1122"/>
                </a:lnTo>
                <a:lnTo>
                  <a:pt x="756" y="1122"/>
                </a:lnTo>
                <a:lnTo>
                  <a:pt x="756" y="1122"/>
                </a:lnTo>
                <a:close/>
                <a:moveTo>
                  <a:pt x="784" y="1108"/>
                </a:moveTo>
                <a:lnTo>
                  <a:pt x="784" y="1108"/>
                </a:lnTo>
                <a:lnTo>
                  <a:pt x="784" y="1108"/>
                </a:lnTo>
                <a:lnTo>
                  <a:pt x="784" y="1108"/>
                </a:lnTo>
                <a:lnTo>
                  <a:pt x="782" y="1106"/>
                </a:lnTo>
                <a:lnTo>
                  <a:pt x="782" y="1106"/>
                </a:lnTo>
                <a:lnTo>
                  <a:pt x="784" y="1108"/>
                </a:lnTo>
                <a:lnTo>
                  <a:pt x="784" y="1108"/>
                </a:lnTo>
                <a:close/>
                <a:moveTo>
                  <a:pt x="784" y="1124"/>
                </a:moveTo>
                <a:lnTo>
                  <a:pt x="784" y="1124"/>
                </a:lnTo>
                <a:lnTo>
                  <a:pt x="784" y="1124"/>
                </a:lnTo>
                <a:lnTo>
                  <a:pt x="784" y="1124"/>
                </a:lnTo>
                <a:lnTo>
                  <a:pt x="782" y="1124"/>
                </a:lnTo>
                <a:lnTo>
                  <a:pt x="782" y="1124"/>
                </a:lnTo>
                <a:lnTo>
                  <a:pt x="782" y="1124"/>
                </a:lnTo>
                <a:lnTo>
                  <a:pt x="782" y="1124"/>
                </a:lnTo>
                <a:lnTo>
                  <a:pt x="784" y="1124"/>
                </a:lnTo>
                <a:lnTo>
                  <a:pt x="784" y="1124"/>
                </a:lnTo>
                <a:close/>
                <a:moveTo>
                  <a:pt x="1110" y="1130"/>
                </a:moveTo>
                <a:lnTo>
                  <a:pt x="1110" y="1130"/>
                </a:lnTo>
                <a:lnTo>
                  <a:pt x="1118" y="1130"/>
                </a:lnTo>
                <a:lnTo>
                  <a:pt x="1124" y="1134"/>
                </a:lnTo>
                <a:lnTo>
                  <a:pt x="1124" y="1134"/>
                </a:lnTo>
                <a:lnTo>
                  <a:pt x="1126" y="1136"/>
                </a:lnTo>
                <a:lnTo>
                  <a:pt x="1126" y="1136"/>
                </a:lnTo>
                <a:lnTo>
                  <a:pt x="1120" y="1138"/>
                </a:lnTo>
                <a:lnTo>
                  <a:pt x="1120" y="1138"/>
                </a:lnTo>
                <a:lnTo>
                  <a:pt x="1112" y="1136"/>
                </a:lnTo>
                <a:lnTo>
                  <a:pt x="1110" y="1134"/>
                </a:lnTo>
                <a:lnTo>
                  <a:pt x="1110" y="1130"/>
                </a:lnTo>
                <a:lnTo>
                  <a:pt x="1110" y="1130"/>
                </a:lnTo>
                <a:close/>
                <a:moveTo>
                  <a:pt x="1072" y="1058"/>
                </a:moveTo>
                <a:lnTo>
                  <a:pt x="1072" y="1058"/>
                </a:lnTo>
                <a:lnTo>
                  <a:pt x="1082" y="1062"/>
                </a:lnTo>
                <a:lnTo>
                  <a:pt x="1082" y="1062"/>
                </a:lnTo>
                <a:lnTo>
                  <a:pt x="1074" y="1068"/>
                </a:lnTo>
                <a:lnTo>
                  <a:pt x="1074" y="1068"/>
                </a:lnTo>
                <a:lnTo>
                  <a:pt x="1074" y="1068"/>
                </a:lnTo>
                <a:lnTo>
                  <a:pt x="1074" y="1068"/>
                </a:lnTo>
                <a:lnTo>
                  <a:pt x="1082" y="1062"/>
                </a:lnTo>
                <a:lnTo>
                  <a:pt x="1082" y="1062"/>
                </a:lnTo>
                <a:lnTo>
                  <a:pt x="1072" y="1058"/>
                </a:lnTo>
                <a:lnTo>
                  <a:pt x="1072" y="1058"/>
                </a:lnTo>
                <a:lnTo>
                  <a:pt x="1072" y="1058"/>
                </a:lnTo>
                <a:lnTo>
                  <a:pt x="1072" y="1058"/>
                </a:lnTo>
                <a:close/>
                <a:moveTo>
                  <a:pt x="992" y="934"/>
                </a:moveTo>
                <a:lnTo>
                  <a:pt x="992" y="934"/>
                </a:lnTo>
                <a:lnTo>
                  <a:pt x="1000" y="934"/>
                </a:lnTo>
                <a:lnTo>
                  <a:pt x="1002" y="934"/>
                </a:lnTo>
                <a:lnTo>
                  <a:pt x="1004" y="932"/>
                </a:lnTo>
                <a:lnTo>
                  <a:pt x="1004" y="932"/>
                </a:lnTo>
                <a:lnTo>
                  <a:pt x="1004" y="932"/>
                </a:lnTo>
                <a:lnTo>
                  <a:pt x="1004" y="932"/>
                </a:lnTo>
                <a:lnTo>
                  <a:pt x="1002" y="934"/>
                </a:lnTo>
                <a:lnTo>
                  <a:pt x="1000" y="934"/>
                </a:lnTo>
                <a:lnTo>
                  <a:pt x="992" y="934"/>
                </a:lnTo>
                <a:lnTo>
                  <a:pt x="992" y="934"/>
                </a:lnTo>
                <a:lnTo>
                  <a:pt x="992" y="934"/>
                </a:lnTo>
                <a:lnTo>
                  <a:pt x="992" y="934"/>
                </a:lnTo>
                <a:close/>
                <a:moveTo>
                  <a:pt x="980" y="912"/>
                </a:moveTo>
                <a:lnTo>
                  <a:pt x="980" y="912"/>
                </a:lnTo>
                <a:lnTo>
                  <a:pt x="980" y="912"/>
                </a:lnTo>
                <a:lnTo>
                  <a:pt x="952" y="912"/>
                </a:lnTo>
                <a:lnTo>
                  <a:pt x="952" y="912"/>
                </a:lnTo>
                <a:lnTo>
                  <a:pt x="952" y="912"/>
                </a:lnTo>
                <a:lnTo>
                  <a:pt x="980" y="912"/>
                </a:lnTo>
                <a:close/>
                <a:moveTo>
                  <a:pt x="924" y="978"/>
                </a:moveTo>
                <a:lnTo>
                  <a:pt x="924" y="978"/>
                </a:lnTo>
                <a:lnTo>
                  <a:pt x="920" y="982"/>
                </a:lnTo>
                <a:lnTo>
                  <a:pt x="914" y="982"/>
                </a:lnTo>
                <a:lnTo>
                  <a:pt x="906" y="984"/>
                </a:lnTo>
                <a:lnTo>
                  <a:pt x="906" y="984"/>
                </a:lnTo>
                <a:lnTo>
                  <a:pt x="888" y="990"/>
                </a:lnTo>
                <a:lnTo>
                  <a:pt x="888" y="990"/>
                </a:lnTo>
                <a:lnTo>
                  <a:pt x="892" y="982"/>
                </a:lnTo>
                <a:lnTo>
                  <a:pt x="892" y="982"/>
                </a:lnTo>
                <a:lnTo>
                  <a:pt x="886" y="978"/>
                </a:lnTo>
                <a:lnTo>
                  <a:pt x="886" y="978"/>
                </a:lnTo>
                <a:lnTo>
                  <a:pt x="896" y="976"/>
                </a:lnTo>
                <a:lnTo>
                  <a:pt x="906" y="976"/>
                </a:lnTo>
                <a:lnTo>
                  <a:pt x="924" y="978"/>
                </a:lnTo>
                <a:lnTo>
                  <a:pt x="924" y="978"/>
                </a:lnTo>
                <a:close/>
                <a:moveTo>
                  <a:pt x="904" y="994"/>
                </a:moveTo>
                <a:lnTo>
                  <a:pt x="904" y="994"/>
                </a:lnTo>
                <a:lnTo>
                  <a:pt x="904" y="994"/>
                </a:lnTo>
                <a:lnTo>
                  <a:pt x="904" y="994"/>
                </a:lnTo>
                <a:lnTo>
                  <a:pt x="920" y="998"/>
                </a:lnTo>
                <a:lnTo>
                  <a:pt x="920" y="1000"/>
                </a:lnTo>
                <a:lnTo>
                  <a:pt x="920" y="1000"/>
                </a:lnTo>
                <a:lnTo>
                  <a:pt x="920" y="1000"/>
                </a:lnTo>
                <a:lnTo>
                  <a:pt x="920" y="1000"/>
                </a:lnTo>
                <a:lnTo>
                  <a:pt x="920" y="998"/>
                </a:lnTo>
                <a:lnTo>
                  <a:pt x="920" y="998"/>
                </a:lnTo>
                <a:lnTo>
                  <a:pt x="904" y="994"/>
                </a:lnTo>
                <a:lnTo>
                  <a:pt x="904" y="994"/>
                </a:lnTo>
                <a:close/>
                <a:moveTo>
                  <a:pt x="938" y="1038"/>
                </a:moveTo>
                <a:lnTo>
                  <a:pt x="938" y="1038"/>
                </a:lnTo>
                <a:lnTo>
                  <a:pt x="942" y="1042"/>
                </a:lnTo>
                <a:lnTo>
                  <a:pt x="942" y="1042"/>
                </a:lnTo>
                <a:lnTo>
                  <a:pt x="936" y="1042"/>
                </a:lnTo>
                <a:lnTo>
                  <a:pt x="936" y="1042"/>
                </a:lnTo>
                <a:lnTo>
                  <a:pt x="940" y="1042"/>
                </a:lnTo>
                <a:lnTo>
                  <a:pt x="940" y="1042"/>
                </a:lnTo>
                <a:lnTo>
                  <a:pt x="938" y="1038"/>
                </a:lnTo>
                <a:lnTo>
                  <a:pt x="938" y="1038"/>
                </a:lnTo>
                <a:close/>
                <a:moveTo>
                  <a:pt x="940" y="1046"/>
                </a:moveTo>
                <a:lnTo>
                  <a:pt x="940" y="1046"/>
                </a:lnTo>
                <a:lnTo>
                  <a:pt x="940" y="1046"/>
                </a:lnTo>
                <a:lnTo>
                  <a:pt x="940" y="1046"/>
                </a:lnTo>
                <a:lnTo>
                  <a:pt x="946" y="1048"/>
                </a:lnTo>
                <a:lnTo>
                  <a:pt x="946" y="1048"/>
                </a:lnTo>
                <a:lnTo>
                  <a:pt x="944" y="1048"/>
                </a:lnTo>
                <a:lnTo>
                  <a:pt x="944" y="1048"/>
                </a:lnTo>
                <a:lnTo>
                  <a:pt x="944" y="1048"/>
                </a:lnTo>
                <a:lnTo>
                  <a:pt x="944" y="1048"/>
                </a:lnTo>
                <a:lnTo>
                  <a:pt x="946" y="1048"/>
                </a:lnTo>
                <a:lnTo>
                  <a:pt x="946" y="1048"/>
                </a:lnTo>
                <a:lnTo>
                  <a:pt x="940" y="1046"/>
                </a:lnTo>
                <a:lnTo>
                  <a:pt x="940" y="1046"/>
                </a:lnTo>
                <a:close/>
                <a:moveTo>
                  <a:pt x="936" y="1052"/>
                </a:moveTo>
                <a:lnTo>
                  <a:pt x="936" y="1052"/>
                </a:lnTo>
                <a:lnTo>
                  <a:pt x="936" y="1052"/>
                </a:lnTo>
                <a:lnTo>
                  <a:pt x="936" y="1052"/>
                </a:lnTo>
                <a:lnTo>
                  <a:pt x="940" y="1054"/>
                </a:lnTo>
                <a:lnTo>
                  <a:pt x="940" y="1054"/>
                </a:lnTo>
                <a:lnTo>
                  <a:pt x="936" y="1056"/>
                </a:lnTo>
                <a:lnTo>
                  <a:pt x="936" y="1056"/>
                </a:lnTo>
                <a:lnTo>
                  <a:pt x="936" y="1056"/>
                </a:lnTo>
                <a:lnTo>
                  <a:pt x="936" y="1056"/>
                </a:lnTo>
                <a:lnTo>
                  <a:pt x="940" y="1054"/>
                </a:lnTo>
                <a:lnTo>
                  <a:pt x="940" y="1054"/>
                </a:lnTo>
                <a:lnTo>
                  <a:pt x="936" y="1052"/>
                </a:lnTo>
                <a:lnTo>
                  <a:pt x="936" y="1052"/>
                </a:lnTo>
                <a:close/>
                <a:moveTo>
                  <a:pt x="848" y="1038"/>
                </a:moveTo>
                <a:lnTo>
                  <a:pt x="848" y="1038"/>
                </a:lnTo>
                <a:lnTo>
                  <a:pt x="848" y="1038"/>
                </a:lnTo>
                <a:lnTo>
                  <a:pt x="848" y="1038"/>
                </a:lnTo>
                <a:lnTo>
                  <a:pt x="848" y="1040"/>
                </a:lnTo>
                <a:lnTo>
                  <a:pt x="848" y="1040"/>
                </a:lnTo>
                <a:lnTo>
                  <a:pt x="850" y="1038"/>
                </a:lnTo>
                <a:lnTo>
                  <a:pt x="850" y="1038"/>
                </a:lnTo>
                <a:lnTo>
                  <a:pt x="848" y="1040"/>
                </a:lnTo>
                <a:lnTo>
                  <a:pt x="848" y="1040"/>
                </a:lnTo>
                <a:lnTo>
                  <a:pt x="856" y="1048"/>
                </a:lnTo>
                <a:lnTo>
                  <a:pt x="856" y="1048"/>
                </a:lnTo>
                <a:lnTo>
                  <a:pt x="850" y="1050"/>
                </a:lnTo>
                <a:lnTo>
                  <a:pt x="850" y="1050"/>
                </a:lnTo>
                <a:lnTo>
                  <a:pt x="856" y="1048"/>
                </a:lnTo>
                <a:lnTo>
                  <a:pt x="856" y="1048"/>
                </a:lnTo>
                <a:lnTo>
                  <a:pt x="848" y="1040"/>
                </a:lnTo>
                <a:lnTo>
                  <a:pt x="848" y="1040"/>
                </a:lnTo>
                <a:lnTo>
                  <a:pt x="842" y="1052"/>
                </a:lnTo>
                <a:lnTo>
                  <a:pt x="842" y="1052"/>
                </a:lnTo>
                <a:lnTo>
                  <a:pt x="840" y="1052"/>
                </a:lnTo>
                <a:lnTo>
                  <a:pt x="840" y="1052"/>
                </a:lnTo>
                <a:lnTo>
                  <a:pt x="838" y="1050"/>
                </a:lnTo>
                <a:lnTo>
                  <a:pt x="838" y="1050"/>
                </a:lnTo>
                <a:lnTo>
                  <a:pt x="848" y="1040"/>
                </a:lnTo>
                <a:lnTo>
                  <a:pt x="848" y="1040"/>
                </a:lnTo>
                <a:lnTo>
                  <a:pt x="848" y="1038"/>
                </a:lnTo>
                <a:lnTo>
                  <a:pt x="848" y="1038"/>
                </a:lnTo>
                <a:close/>
                <a:moveTo>
                  <a:pt x="856" y="1052"/>
                </a:moveTo>
                <a:lnTo>
                  <a:pt x="856" y="1052"/>
                </a:lnTo>
                <a:lnTo>
                  <a:pt x="856" y="1050"/>
                </a:lnTo>
                <a:lnTo>
                  <a:pt x="856" y="1050"/>
                </a:lnTo>
                <a:lnTo>
                  <a:pt x="858" y="1050"/>
                </a:lnTo>
                <a:lnTo>
                  <a:pt x="858" y="1050"/>
                </a:lnTo>
                <a:lnTo>
                  <a:pt x="856" y="1052"/>
                </a:lnTo>
                <a:lnTo>
                  <a:pt x="856" y="1052"/>
                </a:lnTo>
                <a:close/>
                <a:moveTo>
                  <a:pt x="834" y="1056"/>
                </a:moveTo>
                <a:lnTo>
                  <a:pt x="834" y="1056"/>
                </a:lnTo>
                <a:lnTo>
                  <a:pt x="832" y="1056"/>
                </a:lnTo>
                <a:lnTo>
                  <a:pt x="832" y="1056"/>
                </a:lnTo>
                <a:lnTo>
                  <a:pt x="834" y="1054"/>
                </a:lnTo>
                <a:lnTo>
                  <a:pt x="834" y="1054"/>
                </a:lnTo>
                <a:lnTo>
                  <a:pt x="834" y="1056"/>
                </a:lnTo>
                <a:lnTo>
                  <a:pt x="834" y="1056"/>
                </a:lnTo>
                <a:close/>
                <a:moveTo>
                  <a:pt x="826" y="1072"/>
                </a:moveTo>
                <a:lnTo>
                  <a:pt x="826" y="1072"/>
                </a:lnTo>
                <a:lnTo>
                  <a:pt x="826" y="1076"/>
                </a:lnTo>
                <a:lnTo>
                  <a:pt x="826" y="1076"/>
                </a:lnTo>
                <a:lnTo>
                  <a:pt x="826" y="1072"/>
                </a:lnTo>
                <a:lnTo>
                  <a:pt x="826" y="1072"/>
                </a:lnTo>
                <a:lnTo>
                  <a:pt x="826" y="1072"/>
                </a:lnTo>
                <a:lnTo>
                  <a:pt x="826" y="1072"/>
                </a:lnTo>
                <a:close/>
                <a:moveTo>
                  <a:pt x="928" y="1050"/>
                </a:moveTo>
                <a:lnTo>
                  <a:pt x="928" y="1050"/>
                </a:lnTo>
                <a:lnTo>
                  <a:pt x="928" y="1050"/>
                </a:lnTo>
                <a:lnTo>
                  <a:pt x="928" y="1050"/>
                </a:lnTo>
                <a:lnTo>
                  <a:pt x="930" y="1048"/>
                </a:lnTo>
                <a:lnTo>
                  <a:pt x="930" y="1044"/>
                </a:lnTo>
                <a:lnTo>
                  <a:pt x="930" y="1044"/>
                </a:lnTo>
                <a:lnTo>
                  <a:pt x="914" y="1042"/>
                </a:lnTo>
                <a:lnTo>
                  <a:pt x="914" y="1042"/>
                </a:lnTo>
                <a:lnTo>
                  <a:pt x="914" y="1042"/>
                </a:lnTo>
                <a:lnTo>
                  <a:pt x="914" y="1042"/>
                </a:lnTo>
                <a:lnTo>
                  <a:pt x="930" y="1044"/>
                </a:lnTo>
                <a:lnTo>
                  <a:pt x="930" y="1044"/>
                </a:lnTo>
                <a:lnTo>
                  <a:pt x="930" y="1048"/>
                </a:lnTo>
                <a:lnTo>
                  <a:pt x="928" y="1050"/>
                </a:lnTo>
                <a:lnTo>
                  <a:pt x="928" y="1050"/>
                </a:lnTo>
                <a:close/>
                <a:moveTo>
                  <a:pt x="916" y="1050"/>
                </a:moveTo>
                <a:lnTo>
                  <a:pt x="916" y="1050"/>
                </a:lnTo>
                <a:lnTo>
                  <a:pt x="916" y="1050"/>
                </a:lnTo>
                <a:lnTo>
                  <a:pt x="916" y="1050"/>
                </a:lnTo>
                <a:lnTo>
                  <a:pt x="916" y="1054"/>
                </a:lnTo>
                <a:lnTo>
                  <a:pt x="916" y="1054"/>
                </a:lnTo>
                <a:lnTo>
                  <a:pt x="916" y="1054"/>
                </a:lnTo>
                <a:lnTo>
                  <a:pt x="916" y="1054"/>
                </a:lnTo>
                <a:lnTo>
                  <a:pt x="916" y="1050"/>
                </a:lnTo>
                <a:lnTo>
                  <a:pt x="916" y="1050"/>
                </a:lnTo>
                <a:close/>
                <a:moveTo>
                  <a:pt x="866" y="994"/>
                </a:moveTo>
                <a:lnTo>
                  <a:pt x="866" y="994"/>
                </a:lnTo>
                <a:lnTo>
                  <a:pt x="866" y="994"/>
                </a:lnTo>
                <a:lnTo>
                  <a:pt x="866" y="994"/>
                </a:lnTo>
                <a:lnTo>
                  <a:pt x="874" y="990"/>
                </a:lnTo>
                <a:lnTo>
                  <a:pt x="878" y="990"/>
                </a:lnTo>
                <a:lnTo>
                  <a:pt x="882" y="990"/>
                </a:lnTo>
                <a:lnTo>
                  <a:pt x="882" y="990"/>
                </a:lnTo>
                <a:lnTo>
                  <a:pt x="880" y="994"/>
                </a:lnTo>
                <a:lnTo>
                  <a:pt x="878" y="996"/>
                </a:lnTo>
                <a:lnTo>
                  <a:pt x="878" y="996"/>
                </a:lnTo>
                <a:lnTo>
                  <a:pt x="882" y="990"/>
                </a:lnTo>
                <a:lnTo>
                  <a:pt x="882" y="990"/>
                </a:lnTo>
                <a:lnTo>
                  <a:pt x="878" y="990"/>
                </a:lnTo>
                <a:lnTo>
                  <a:pt x="874" y="990"/>
                </a:lnTo>
                <a:lnTo>
                  <a:pt x="866" y="994"/>
                </a:lnTo>
                <a:lnTo>
                  <a:pt x="866" y="994"/>
                </a:lnTo>
                <a:close/>
                <a:moveTo>
                  <a:pt x="896" y="1012"/>
                </a:moveTo>
                <a:lnTo>
                  <a:pt x="896" y="1012"/>
                </a:lnTo>
                <a:lnTo>
                  <a:pt x="890" y="1010"/>
                </a:lnTo>
                <a:lnTo>
                  <a:pt x="890" y="1010"/>
                </a:lnTo>
                <a:lnTo>
                  <a:pt x="896" y="1012"/>
                </a:lnTo>
                <a:lnTo>
                  <a:pt x="896" y="1012"/>
                </a:lnTo>
                <a:lnTo>
                  <a:pt x="894" y="1016"/>
                </a:lnTo>
                <a:lnTo>
                  <a:pt x="890" y="1018"/>
                </a:lnTo>
                <a:lnTo>
                  <a:pt x="886" y="1020"/>
                </a:lnTo>
                <a:lnTo>
                  <a:pt x="880" y="1020"/>
                </a:lnTo>
                <a:lnTo>
                  <a:pt x="880" y="1020"/>
                </a:lnTo>
                <a:lnTo>
                  <a:pt x="886" y="1020"/>
                </a:lnTo>
                <a:lnTo>
                  <a:pt x="890" y="1018"/>
                </a:lnTo>
                <a:lnTo>
                  <a:pt x="894" y="1016"/>
                </a:lnTo>
                <a:lnTo>
                  <a:pt x="896" y="1012"/>
                </a:lnTo>
                <a:lnTo>
                  <a:pt x="896" y="1012"/>
                </a:lnTo>
                <a:close/>
                <a:moveTo>
                  <a:pt x="888" y="998"/>
                </a:moveTo>
                <a:lnTo>
                  <a:pt x="888" y="998"/>
                </a:lnTo>
                <a:lnTo>
                  <a:pt x="888" y="998"/>
                </a:lnTo>
                <a:lnTo>
                  <a:pt x="888" y="998"/>
                </a:lnTo>
                <a:lnTo>
                  <a:pt x="890" y="1000"/>
                </a:lnTo>
                <a:lnTo>
                  <a:pt x="890" y="1000"/>
                </a:lnTo>
                <a:lnTo>
                  <a:pt x="882" y="1002"/>
                </a:lnTo>
                <a:lnTo>
                  <a:pt x="882" y="1002"/>
                </a:lnTo>
                <a:lnTo>
                  <a:pt x="882" y="1002"/>
                </a:lnTo>
                <a:lnTo>
                  <a:pt x="882" y="1002"/>
                </a:lnTo>
                <a:lnTo>
                  <a:pt x="888" y="1000"/>
                </a:lnTo>
                <a:lnTo>
                  <a:pt x="888" y="1000"/>
                </a:lnTo>
                <a:lnTo>
                  <a:pt x="888" y="998"/>
                </a:lnTo>
                <a:lnTo>
                  <a:pt x="888" y="998"/>
                </a:lnTo>
                <a:close/>
                <a:moveTo>
                  <a:pt x="898" y="1022"/>
                </a:moveTo>
                <a:lnTo>
                  <a:pt x="898" y="1022"/>
                </a:lnTo>
                <a:lnTo>
                  <a:pt x="898" y="1022"/>
                </a:lnTo>
                <a:lnTo>
                  <a:pt x="898" y="1022"/>
                </a:lnTo>
                <a:lnTo>
                  <a:pt x="894" y="1026"/>
                </a:lnTo>
                <a:lnTo>
                  <a:pt x="890" y="1026"/>
                </a:lnTo>
                <a:lnTo>
                  <a:pt x="890" y="1026"/>
                </a:lnTo>
                <a:lnTo>
                  <a:pt x="894" y="1026"/>
                </a:lnTo>
                <a:lnTo>
                  <a:pt x="898" y="1022"/>
                </a:lnTo>
                <a:lnTo>
                  <a:pt x="898" y="1022"/>
                </a:lnTo>
                <a:close/>
                <a:moveTo>
                  <a:pt x="896" y="968"/>
                </a:moveTo>
                <a:lnTo>
                  <a:pt x="896" y="968"/>
                </a:lnTo>
                <a:lnTo>
                  <a:pt x="896" y="968"/>
                </a:lnTo>
                <a:lnTo>
                  <a:pt x="896" y="968"/>
                </a:lnTo>
                <a:lnTo>
                  <a:pt x="898" y="970"/>
                </a:lnTo>
                <a:lnTo>
                  <a:pt x="898" y="970"/>
                </a:lnTo>
                <a:lnTo>
                  <a:pt x="896" y="972"/>
                </a:lnTo>
                <a:lnTo>
                  <a:pt x="896" y="972"/>
                </a:lnTo>
                <a:lnTo>
                  <a:pt x="896" y="972"/>
                </a:lnTo>
                <a:lnTo>
                  <a:pt x="896" y="972"/>
                </a:lnTo>
                <a:lnTo>
                  <a:pt x="898" y="970"/>
                </a:lnTo>
                <a:lnTo>
                  <a:pt x="898" y="970"/>
                </a:lnTo>
                <a:lnTo>
                  <a:pt x="896" y="968"/>
                </a:lnTo>
                <a:lnTo>
                  <a:pt x="896" y="968"/>
                </a:lnTo>
                <a:close/>
                <a:moveTo>
                  <a:pt x="904" y="294"/>
                </a:moveTo>
                <a:lnTo>
                  <a:pt x="904" y="294"/>
                </a:lnTo>
                <a:lnTo>
                  <a:pt x="902" y="298"/>
                </a:lnTo>
                <a:lnTo>
                  <a:pt x="902" y="298"/>
                </a:lnTo>
                <a:lnTo>
                  <a:pt x="898" y="300"/>
                </a:lnTo>
                <a:lnTo>
                  <a:pt x="898" y="300"/>
                </a:lnTo>
                <a:lnTo>
                  <a:pt x="896" y="300"/>
                </a:lnTo>
                <a:lnTo>
                  <a:pt x="896" y="300"/>
                </a:lnTo>
                <a:lnTo>
                  <a:pt x="892" y="302"/>
                </a:lnTo>
                <a:lnTo>
                  <a:pt x="892" y="302"/>
                </a:lnTo>
                <a:lnTo>
                  <a:pt x="894" y="296"/>
                </a:lnTo>
                <a:lnTo>
                  <a:pt x="894" y="296"/>
                </a:lnTo>
                <a:lnTo>
                  <a:pt x="896" y="294"/>
                </a:lnTo>
                <a:lnTo>
                  <a:pt x="896" y="294"/>
                </a:lnTo>
                <a:lnTo>
                  <a:pt x="904" y="294"/>
                </a:lnTo>
                <a:lnTo>
                  <a:pt x="904" y="294"/>
                </a:lnTo>
                <a:close/>
                <a:moveTo>
                  <a:pt x="888" y="310"/>
                </a:moveTo>
                <a:lnTo>
                  <a:pt x="888" y="310"/>
                </a:lnTo>
                <a:lnTo>
                  <a:pt x="892" y="312"/>
                </a:lnTo>
                <a:lnTo>
                  <a:pt x="894" y="316"/>
                </a:lnTo>
                <a:lnTo>
                  <a:pt x="896" y="324"/>
                </a:lnTo>
                <a:lnTo>
                  <a:pt x="896" y="324"/>
                </a:lnTo>
                <a:lnTo>
                  <a:pt x="880" y="330"/>
                </a:lnTo>
                <a:lnTo>
                  <a:pt x="880" y="330"/>
                </a:lnTo>
                <a:lnTo>
                  <a:pt x="888" y="310"/>
                </a:lnTo>
                <a:lnTo>
                  <a:pt x="888" y="310"/>
                </a:lnTo>
                <a:close/>
                <a:moveTo>
                  <a:pt x="882" y="334"/>
                </a:moveTo>
                <a:lnTo>
                  <a:pt x="882" y="334"/>
                </a:lnTo>
                <a:lnTo>
                  <a:pt x="878" y="336"/>
                </a:lnTo>
                <a:lnTo>
                  <a:pt x="878" y="336"/>
                </a:lnTo>
                <a:lnTo>
                  <a:pt x="880" y="332"/>
                </a:lnTo>
                <a:lnTo>
                  <a:pt x="880" y="332"/>
                </a:lnTo>
                <a:lnTo>
                  <a:pt x="882" y="334"/>
                </a:lnTo>
                <a:lnTo>
                  <a:pt x="882" y="334"/>
                </a:lnTo>
                <a:close/>
                <a:moveTo>
                  <a:pt x="876" y="344"/>
                </a:moveTo>
                <a:lnTo>
                  <a:pt x="876" y="344"/>
                </a:lnTo>
                <a:lnTo>
                  <a:pt x="882" y="346"/>
                </a:lnTo>
                <a:lnTo>
                  <a:pt x="884" y="348"/>
                </a:lnTo>
                <a:lnTo>
                  <a:pt x="886" y="352"/>
                </a:lnTo>
                <a:lnTo>
                  <a:pt x="886" y="352"/>
                </a:lnTo>
                <a:lnTo>
                  <a:pt x="886" y="358"/>
                </a:lnTo>
                <a:lnTo>
                  <a:pt x="890" y="364"/>
                </a:lnTo>
                <a:lnTo>
                  <a:pt x="890" y="364"/>
                </a:lnTo>
                <a:lnTo>
                  <a:pt x="878" y="366"/>
                </a:lnTo>
                <a:lnTo>
                  <a:pt x="874" y="368"/>
                </a:lnTo>
                <a:lnTo>
                  <a:pt x="872" y="372"/>
                </a:lnTo>
                <a:lnTo>
                  <a:pt x="872" y="372"/>
                </a:lnTo>
                <a:lnTo>
                  <a:pt x="886" y="370"/>
                </a:lnTo>
                <a:lnTo>
                  <a:pt x="886" y="370"/>
                </a:lnTo>
                <a:lnTo>
                  <a:pt x="882" y="374"/>
                </a:lnTo>
                <a:lnTo>
                  <a:pt x="876" y="376"/>
                </a:lnTo>
                <a:lnTo>
                  <a:pt x="862" y="378"/>
                </a:lnTo>
                <a:lnTo>
                  <a:pt x="862" y="378"/>
                </a:lnTo>
                <a:lnTo>
                  <a:pt x="866" y="368"/>
                </a:lnTo>
                <a:lnTo>
                  <a:pt x="876" y="344"/>
                </a:lnTo>
                <a:lnTo>
                  <a:pt x="876" y="344"/>
                </a:lnTo>
                <a:close/>
                <a:moveTo>
                  <a:pt x="870" y="962"/>
                </a:moveTo>
                <a:lnTo>
                  <a:pt x="870" y="962"/>
                </a:lnTo>
                <a:lnTo>
                  <a:pt x="870" y="962"/>
                </a:lnTo>
                <a:lnTo>
                  <a:pt x="870" y="962"/>
                </a:lnTo>
                <a:lnTo>
                  <a:pt x="872" y="964"/>
                </a:lnTo>
                <a:lnTo>
                  <a:pt x="872" y="964"/>
                </a:lnTo>
                <a:lnTo>
                  <a:pt x="870" y="966"/>
                </a:lnTo>
                <a:lnTo>
                  <a:pt x="870" y="966"/>
                </a:lnTo>
                <a:lnTo>
                  <a:pt x="870" y="966"/>
                </a:lnTo>
                <a:lnTo>
                  <a:pt x="870" y="966"/>
                </a:lnTo>
                <a:lnTo>
                  <a:pt x="872" y="964"/>
                </a:lnTo>
                <a:lnTo>
                  <a:pt x="872" y="964"/>
                </a:lnTo>
                <a:lnTo>
                  <a:pt x="870" y="962"/>
                </a:lnTo>
                <a:lnTo>
                  <a:pt x="870" y="962"/>
                </a:lnTo>
                <a:close/>
                <a:moveTo>
                  <a:pt x="844" y="974"/>
                </a:moveTo>
                <a:lnTo>
                  <a:pt x="844" y="974"/>
                </a:lnTo>
                <a:lnTo>
                  <a:pt x="852" y="974"/>
                </a:lnTo>
                <a:lnTo>
                  <a:pt x="858" y="972"/>
                </a:lnTo>
                <a:lnTo>
                  <a:pt x="858" y="972"/>
                </a:lnTo>
                <a:lnTo>
                  <a:pt x="868" y="970"/>
                </a:lnTo>
                <a:lnTo>
                  <a:pt x="876" y="972"/>
                </a:lnTo>
                <a:lnTo>
                  <a:pt x="876" y="972"/>
                </a:lnTo>
                <a:lnTo>
                  <a:pt x="880" y="974"/>
                </a:lnTo>
                <a:lnTo>
                  <a:pt x="882" y="976"/>
                </a:lnTo>
                <a:lnTo>
                  <a:pt x="882" y="976"/>
                </a:lnTo>
                <a:lnTo>
                  <a:pt x="882" y="976"/>
                </a:lnTo>
                <a:lnTo>
                  <a:pt x="858" y="978"/>
                </a:lnTo>
                <a:lnTo>
                  <a:pt x="848" y="978"/>
                </a:lnTo>
                <a:lnTo>
                  <a:pt x="836" y="976"/>
                </a:lnTo>
                <a:lnTo>
                  <a:pt x="836" y="976"/>
                </a:lnTo>
                <a:lnTo>
                  <a:pt x="840" y="972"/>
                </a:lnTo>
                <a:lnTo>
                  <a:pt x="844" y="974"/>
                </a:lnTo>
                <a:lnTo>
                  <a:pt x="844" y="974"/>
                </a:lnTo>
                <a:close/>
                <a:moveTo>
                  <a:pt x="822" y="1006"/>
                </a:moveTo>
                <a:lnTo>
                  <a:pt x="822" y="1006"/>
                </a:lnTo>
                <a:lnTo>
                  <a:pt x="824" y="1006"/>
                </a:lnTo>
                <a:lnTo>
                  <a:pt x="824" y="1006"/>
                </a:lnTo>
                <a:lnTo>
                  <a:pt x="824" y="1006"/>
                </a:lnTo>
                <a:lnTo>
                  <a:pt x="824" y="1006"/>
                </a:lnTo>
                <a:lnTo>
                  <a:pt x="822" y="1006"/>
                </a:lnTo>
                <a:lnTo>
                  <a:pt x="822" y="1006"/>
                </a:lnTo>
                <a:lnTo>
                  <a:pt x="818" y="1006"/>
                </a:lnTo>
                <a:lnTo>
                  <a:pt x="818" y="1006"/>
                </a:lnTo>
                <a:lnTo>
                  <a:pt x="818" y="1006"/>
                </a:lnTo>
                <a:lnTo>
                  <a:pt x="818" y="1006"/>
                </a:lnTo>
                <a:lnTo>
                  <a:pt x="822" y="1006"/>
                </a:lnTo>
                <a:lnTo>
                  <a:pt x="822" y="1006"/>
                </a:lnTo>
                <a:close/>
                <a:moveTo>
                  <a:pt x="768" y="1046"/>
                </a:moveTo>
                <a:lnTo>
                  <a:pt x="768" y="1046"/>
                </a:lnTo>
                <a:lnTo>
                  <a:pt x="780" y="1044"/>
                </a:lnTo>
                <a:lnTo>
                  <a:pt x="780" y="1044"/>
                </a:lnTo>
                <a:lnTo>
                  <a:pt x="776" y="1042"/>
                </a:lnTo>
                <a:lnTo>
                  <a:pt x="774" y="1040"/>
                </a:lnTo>
                <a:lnTo>
                  <a:pt x="774" y="1040"/>
                </a:lnTo>
                <a:lnTo>
                  <a:pt x="776" y="1042"/>
                </a:lnTo>
                <a:lnTo>
                  <a:pt x="780" y="1044"/>
                </a:lnTo>
                <a:lnTo>
                  <a:pt x="780" y="1044"/>
                </a:lnTo>
                <a:lnTo>
                  <a:pt x="768" y="1046"/>
                </a:lnTo>
                <a:lnTo>
                  <a:pt x="768" y="1046"/>
                </a:lnTo>
                <a:close/>
                <a:moveTo>
                  <a:pt x="790" y="1034"/>
                </a:moveTo>
                <a:lnTo>
                  <a:pt x="790" y="1034"/>
                </a:lnTo>
                <a:lnTo>
                  <a:pt x="774" y="1034"/>
                </a:lnTo>
                <a:lnTo>
                  <a:pt x="774" y="1034"/>
                </a:lnTo>
                <a:lnTo>
                  <a:pt x="770" y="1026"/>
                </a:lnTo>
                <a:lnTo>
                  <a:pt x="770" y="1026"/>
                </a:lnTo>
                <a:lnTo>
                  <a:pt x="792" y="1026"/>
                </a:lnTo>
                <a:lnTo>
                  <a:pt x="792" y="1026"/>
                </a:lnTo>
                <a:lnTo>
                  <a:pt x="796" y="1022"/>
                </a:lnTo>
                <a:lnTo>
                  <a:pt x="800" y="1020"/>
                </a:lnTo>
                <a:lnTo>
                  <a:pt x="804" y="1020"/>
                </a:lnTo>
                <a:lnTo>
                  <a:pt x="810" y="1020"/>
                </a:lnTo>
                <a:lnTo>
                  <a:pt x="810" y="1020"/>
                </a:lnTo>
                <a:lnTo>
                  <a:pt x="820" y="1020"/>
                </a:lnTo>
                <a:lnTo>
                  <a:pt x="820" y="1020"/>
                </a:lnTo>
                <a:lnTo>
                  <a:pt x="816" y="1030"/>
                </a:lnTo>
                <a:lnTo>
                  <a:pt x="812" y="1034"/>
                </a:lnTo>
                <a:lnTo>
                  <a:pt x="812" y="1034"/>
                </a:lnTo>
                <a:lnTo>
                  <a:pt x="818" y="1034"/>
                </a:lnTo>
                <a:lnTo>
                  <a:pt x="822" y="1032"/>
                </a:lnTo>
                <a:lnTo>
                  <a:pt x="826" y="1026"/>
                </a:lnTo>
                <a:lnTo>
                  <a:pt x="830" y="1020"/>
                </a:lnTo>
                <a:lnTo>
                  <a:pt x="830" y="1020"/>
                </a:lnTo>
                <a:lnTo>
                  <a:pt x="826" y="1034"/>
                </a:lnTo>
                <a:lnTo>
                  <a:pt x="824" y="1040"/>
                </a:lnTo>
                <a:lnTo>
                  <a:pt x="824" y="1040"/>
                </a:lnTo>
                <a:lnTo>
                  <a:pt x="824" y="1040"/>
                </a:lnTo>
                <a:lnTo>
                  <a:pt x="826" y="1042"/>
                </a:lnTo>
                <a:lnTo>
                  <a:pt x="824" y="1046"/>
                </a:lnTo>
                <a:lnTo>
                  <a:pt x="824" y="1046"/>
                </a:lnTo>
                <a:lnTo>
                  <a:pt x="824" y="1046"/>
                </a:lnTo>
                <a:lnTo>
                  <a:pt x="824" y="1046"/>
                </a:lnTo>
                <a:lnTo>
                  <a:pt x="814" y="1044"/>
                </a:lnTo>
                <a:lnTo>
                  <a:pt x="814" y="1044"/>
                </a:lnTo>
                <a:lnTo>
                  <a:pt x="820" y="1038"/>
                </a:lnTo>
                <a:lnTo>
                  <a:pt x="820" y="1038"/>
                </a:lnTo>
                <a:lnTo>
                  <a:pt x="814" y="1040"/>
                </a:lnTo>
                <a:lnTo>
                  <a:pt x="804" y="1044"/>
                </a:lnTo>
                <a:lnTo>
                  <a:pt x="804" y="1044"/>
                </a:lnTo>
                <a:lnTo>
                  <a:pt x="796" y="1040"/>
                </a:lnTo>
                <a:lnTo>
                  <a:pt x="790" y="1034"/>
                </a:lnTo>
                <a:lnTo>
                  <a:pt x="790" y="1034"/>
                </a:lnTo>
                <a:close/>
                <a:moveTo>
                  <a:pt x="822" y="1058"/>
                </a:moveTo>
                <a:lnTo>
                  <a:pt x="822" y="1058"/>
                </a:lnTo>
                <a:lnTo>
                  <a:pt x="824" y="1056"/>
                </a:lnTo>
                <a:lnTo>
                  <a:pt x="824" y="1056"/>
                </a:lnTo>
                <a:lnTo>
                  <a:pt x="822" y="1058"/>
                </a:lnTo>
                <a:lnTo>
                  <a:pt x="822" y="1058"/>
                </a:lnTo>
                <a:lnTo>
                  <a:pt x="822" y="1058"/>
                </a:lnTo>
                <a:lnTo>
                  <a:pt x="822" y="1058"/>
                </a:lnTo>
                <a:close/>
                <a:moveTo>
                  <a:pt x="832" y="1050"/>
                </a:moveTo>
                <a:lnTo>
                  <a:pt x="832" y="1050"/>
                </a:lnTo>
                <a:lnTo>
                  <a:pt x="830" y="1048"/>
                </a:lnTo>
                <a:lnTo>
                  <a:pt x="830" y="1048"/>
                </a:lnTo>
                <a:lnTo>
                  <a:pt x="830" y="1048"/>
                </a:lnTo>
                <a:lnTo>
                  <a:pt x="830" y="1048"/>
                </a:lnTo>
                <a:lnTo>
                  <a:pt x="830" y="1044"/>
                </a:lnTo>
                <a:lnTo>
                  <a:pt x="830" y="1044"/>
                </a:lnTo>
                <a:lnTo>
                  <a:pt x="834" y="1038"/>
                </a:lnTo>
                <a:lnTo>
                  <a:pt x="836" y="1036"/>
                </a:lnTo>
                <a:lnTo>
                  <a:pt x="836" y="1038"/>
                </a:lnTo>
                <a:lnTo>
                  <a:pt x="836" y="1038"/>
                </a:lnTo>
                <a:lnTo>
                  <a:pt x="842" y="1024"/>
                </a:lnTo>
                <a:lnTo>
                  <a:pt x="842" y="1024"/>
                </a:lnTo>
                <a:lnTo>
                  <a:pt x="840" y="1022"/>
                </a:lnTo>
                <a:lnTo>
                  <a:pt x="840" y="1022"/>
                </a:lnTo>
                <a:lnTo>
                  <a:pt x="834" y="1034"/>
                </a:lnTo>
                <a:lnTo>
                  <a:pt x="830" y="1040"/>
                </a:lnTo>
                <a:lnTo>
                  <a:pt x="830" y="1040"/>
                </a:lnTo>
                <a:lnTo>
                  <a:pt x="834" y="1010"/>
                </a:lnTo>
                <a:lnTo>
                  <a:pt x="834" y="1010"/>
                </a:lnTo>
                <a:lnTo>
                  <a:pt x="840" y="996"/>
                </a:lnTo>
                <a:lnTo>
                  <a:pt x="840" y="996"/>
                </a:lnTo>
                <a:lnTo>
                  <a:pt x="830" y="992"/>
                </a:lnTo>
                <a:lnTo>
                  <a:pt x="830" y="992"/>
                </a:lnTo>
                <a:lnTo>
                  <a:pt x="832" y="984"/>
                </a:lnTo>
                <a:lnTo>
                  <a:pt x="832" y="984"/>
                </a:lnTo>
                <a:lnTo>
                  <a:pt x="834" y="986"/>
                </a:lnTo>
                <a:lnTo>
                  <a:pt x="836" y="988"/>
                </a:lnTo>
                <a:lnTo>
                  <a:pt x="844" y="988"/>
                </a:lnTo>
                <a:lnTo>
                  <a:pt x="844" y="988"/>
                </a:lnTo>
                <a:lnTo>
                  <a:pt x="844" y="994"/>
                </a:lnTo>
                <a:lnTo>
                  <a:pt x="844" y="994"/>
                </a:lnTo>
                <a:lnTo>
                  <a:pt x="852" y="990"/>
                </a:lnTo>
                <a:lnTo>
                  <a:pt x="852" y="990"/>
                </a:lnTo>
                <a:lnTo>
                  <a:pt x="854" y="994"/>
                </a:lnTo>
                <a:lnTo>
                  <a:pt x="854" y="994"/>
                </a:lnTo>
                <a:lnTo>
                  <a:pt x="854" y="996"/>
                </a:lnTo>
                <a:lnTo>
                  <a:pt x="854" y="998"/>
                </a:lnTo>
                <a:lnTo>
                  <a:pt x="860" y="1000"/>
                </a:lnTo>
                <a:lnTo>
                  <a:pt x="860" y="1000"/>
                </a:lnTo>
                <a:lnTo>
                  <a:pt x="864" y="1000"/>
                </a:lnTo>
                <a:lnTo>
                  <a:pt x="868" y="1002"/>
                </a:lnTo>
                <a:lnTo>
                  <a:pt x="874" y="1008"/>
                </a:lnTo>
                <a:lnTo>
                  <a:pt x="874" y="1008"/>
                </a:lnTo>
                <a:lnTo>
                  <a:pt x="868" y="1014"/>
                </a:lnTo>
                <a:lnTo>
                  <a:pt x="860" y="1016"/>
                </a:lnTo>
                <a:lnTo>
                  <a:pt x="860" y="1016"/>
                </a:lnTo>
                <a:lnTo>
                  <a:pt x="862" y="1026"/>
                </a:lnTo>
                <a:lnTo>
                  <a:pt x="862" y="1026"/>
                </a:lnTo>
                <a:lnTo>
                  <a:pt x="866" y="1022"/>
                </a:lnTo>
                <a:lnTo>
                  <a:pt x="870" y="1020"/>
                </a:lnTo>
                <a:lnTo>
                  <a:pt x="880" y="1020"/>
                </a:lnTo>
                <a:lnTo>
                  <a:pt x="880" y="1020"/>
                </a:lnTo>
                <a:lnTo>
                  <a:pt x="872" y="1026"/>
                </a:lnTo>
                <a:lnTo>
                  <a:pt x="872" y="1026"/>
                </a:lnTo>
                <a:lnTo>
                  <a:pt x="878" y="1032"/>
                </a:lnTo>
                <a:lnTo>
                  <a:pt x="878" y="1032"/>
                </a:lnTo>
                <a:lnTo>
                  <a:pt x="872" y="1034"/>
                </a:lnTo>
                <a:lnTo>
                  <a:pt x="872" y="1034"/>
                </a:lnTo>
                <a:lnTo>
                  <a:pt x="876" y="1036"/>
                </a:lnTo>
                <a:lnTo>
                  <a:pt x="882" y="1034"/>
                </a:lnTo>
                <a:lnTo>
                  <a:pt x="888" y="1034"/>
                </a:lnTo>
                <a:lnTo>
                  <a:pt x="894" y="1034"/>
                </a:lnTo>
                <a:lnTo>
                  <a:pt x="894" y="1034"/>
                </a:lnTo>
                <a:lnTo>
                  <a:pt x="880" y="1040"/>
                </a:lnTo>
                <a:lnTo>
                  <a:pt x="880" y="1040"/>
                </a:lnTo>
                <a:lnTo>
                  <a:pt x="892" y="1042"/>
                </a:lnTo>
                <a:lnTo>
                  <a:pt x="892" y="1042"/>
                </a:lnTo>
                <a:lnTo>
                  <a:pt x="884" y="1044"/>
                </a:lnTo>
                <a:lnTo>
                  <a:pt x="876" y="1042"/>
                </a:lnTo>
                <a:lnTo>
                  <a:pt x="876" y="1042"/>
                </a:lnTo>
                <a:lnTo>
                  <a:pt x="870" y="1042"/>
                </a:lnTo>
                <a:lnTo>
                  <a:pt x="870" y="1042"/>
                </a:lnTo>
                <a:lnTo>
                  <a:pt x="864" y="1042"/>
                </a:lnTo>
                <a:lnTo>
                  <a:pt x="858" y="1042"/>
                </a:lnTo>
                <a:lnTo>
                  <a:pt x="850" y="1038"/>
                </a:lnTo>
                <a:lnTo>
                  <a:pt x="850" y="1038"/>
                </a:lnTo>
                <a:lnTo>
                  <a:pt x="858" y="1028"/>
                </a:lnTo>
                <a:lnTo>
                  <a:pt x="860" y="1024"/>
                </a:lnTo>
                <a:lnTo>
                  <a:pt x="858" y="1024"/>
                </a:lnTo>
                <a:lnTo>
                  <a:pt x="858" y="1024"/>
                </a:lnTo>
                <a:lnTo>
                  <a:pt x="850" y="1038"/>
                </a:lnTo>
                <a:lnTo>
                  <a:pt x="850" y="1038"/>
                </a:lnTo>
                <a:lnTo>
                  <a:pt x="848" y="1036"/>
                </a:lnTo>
                <a:lnTo>
                  <a:pt x="848" y="1036"/>
                </a:lnTo>
                <a:lnTo>
                  <a:pt x="842" y="1034"/>
                </a:lnTo>
                <a:lnTo>
                  <a:pt x="842" y="1034"/>
                </a:lnTo>
                <a:lnTo>
                  <a:pt x="838" y="1040"/>
                </a:lnTo>
                <a:lnTo>
                  <a:pt x="838" y="1040"/>
                </a:lnTo>
                <a:lnTo>
                  <a:pt x="840" y="1040"/>
                </a:lnTo>
                <a:lnTo>
                  <a:pt x="840" y="1040"/>
                </a:lnTo>
                <a:lnTo>
                  <a:pt x="840" y="1040"/>
                </a:lnTo>
                <a:lnTo>
                  <a:pt x="840" y="1042"/>
                </a:lnTo>
                <a:lnTo>
                  <a:pt x="836" y="1050"/>
                </a:lnTo>
                <a:lnTo>
                  <a:pt x="836" y="1050"/>
                </a:lnTo>
                <a:lnTo>
                  <a:pt x="834" y="1050"/>
                </a:lnTo>
                <a:lnTo>
                  <a:pt x="834" y="1050"/>
                </a:lnTo>
                <a:lnTo>
                  <a:pt x="832" y="1058"/>
                </a:lnTo>
                <a:lnTo>
                  <a:pt x="832" y="1058"/>
                </a:lnTo>
                <a:lnTo>
                  <a:pt x="826" y="1062"/>
                </a:lnTo>
                <a:lnTo>
                  <a:pt x="826" y="1066"/>
                </a:lnTo>
                <a:lnTo>
                  <a:pt x="826" y="1070"/>
                </a:lnTo>
                <a:lnTo>
                  <a:pt x="826" y="1070"/>
                </a:lnTo>
                <a:lnTo>
                  <a:pt x="820" y="1078"/>
                </a:lnTo>
                <a:lnTo>
                  <a:pt x="820" y="1078"/>
                </a:lnTo>
                <a:lnTo>
                  <a:pt x="832" y="1050"/>
                </a:lnTo>
                <a:lnTo>
                  <a:pt x="832" y="1050"/>
                </a:lnTo>
                <a:close/>
                <a:moveTo>
                  <a:pt x="820" y="1082"/>
                </a:moveTo>
                <a:lnTo>
                  <a:pt x="820" y="1082"/>
                </a:lnTo>
                <a:lnTo>
                  <a:pt x="822" y="1082"/>
                </a:lnTo>
                <a:lnTo>
                  <a:pt x="822" y="1082"/>
                </a:lnTo>
                <a:lnTo>
                  <a:pt x="820" y="1088"/>
                </a:lnTo>
                <a:lnTo>
                  <a:pt x="820" y="1088"/>
                </a:lnTo>
                <a:lnTo>
                  <a:pt x="818" y="1086"/>
                </a:lnTo>
                <a:lnTo>
                  <a:pt x="818" y="1082"/>
                </a:lnTo>
                <a:lnTo>
                  <a:pt x="818" y="1082"/>
                </a:lnTo>
                <a:lnTo>
                  <a:pt x="820" y="1082"/>
                </a:lnTo>
                <a:lnTo>
                  <a:pt x="820" y="1082"/>
                </a:lnTo>
                <a:close/>
                <a:moveTo>
                  <a:pt x="824" y="1116"/>
                </a:moveTo>
                <a:lnTo>
                  <a:pt x="824" y="1116"/>
                </a:lnTo>
                <a:lnTo>
                  <a:pt x="824" y="1114"/>
                </a:lnTo>
                <a:lnTo>
                  <a:pt x="824" y="1114"/>
                </a:lnTo>
                <a:lnTo>
                  <a:pt x="820" y="1118"/>
                </a:lnTo>
                <a:lnTo>
                  <a:pt x="814" y="1118"/>
                </a:lnTo>
                <a:lnTo>
                  <a:pt x="814" y="1118"/>
                </a:lnTo>
                <a:lnTo>
                  <a:pt x="818" y="1116"/>
                </a:lnTo>
                <a:lnTo>
                  <a:pt x="816" y="1116"/>
                </a:lnTo>
                <a:lnTo>
                  <a:pt x="816" y="1116"/>
                </a:lnTo>
                <a:lnTo>
                  <a:pt x="820" y="1114"/>
                </a:lnTo>
                <a:lnTo>
                  <a:pt x="820" y="1114"/>
                </a:lnTo>
                <a:lnTo>
                  <a:pt x="820" y="1112"/>
                </a:lnTo>
                <a:lnTo>
                  <a:pt x="820" y="1112"/>
                </a:lnTo>
                <a:lnTo>
                  <a:pt x="814" y="1114"/>
                </a:lnTo>
                <a:lnTo>
                  <a:pt x="814" y="1114"/>
                </a:lnTo>
                <a:lnTo>
                  <a:pt x="816" y="1114"/>
                </a:lnTo>
                <a:lnTo>
                  <a:pt x="816" y="1114"/>
                </a:lnTo>
                <a:lnTo>
                  <a:pt x="812" y="1112"/>
                </a:lnTo>
                <a:lnTo>
                  <a:pt x="812" y="1110"/>
                </a:lnTo>
                <a:lnTo>
                  <a:pt x="814" y="1108"/>
                </a:lnTo>
                <a:lnTo>
                  <a:pt x="814" y="1108"/>
                </a:lnTo>
                <a:lnTo>
                  <a:pt x="816" y="1110"/>
                </a:lnTo>
                <a:lnTo>
                  <a:pt x="818" y="1108"/>
                </a:lnTo>
                <a:lnTo>
                  <a:pt x="818" y="1108"/>
                </a:lnTo>
                <a:lnTo>
                  <a:pt x="820" y="1112"/>
                </a:lnTo>
                <a:lnTo>
                  <a:pt x="820" y="1112"/>
                </a:lnTo>
                <a:lnTo>
                  <a:pt x="826" y="1106"/>
                </a:lnTo>
                <a:lnTo>
                  <a:pt x="826" y="1106"/>
                </a:lnTo>
                <a:lnTo>
                  <a:pt x="824" y="1106"/>
                </a:lnTo>
                <a:lnTo>
                  <a:pt x="824" y="1106"/>
                </a:lnTo>
                <a:lnTo>
                  <a:pt x="826" y="1104"/>
                </a:lnTo>
                <a:lnTo>
                  <a:pt x="826" y="1104"/>
                </a:lnTo>
                <a:lnTo>
                  <a:pt x="824" y="1102"/>
                </a:lnTo>
                <a:lnTo>
                  <a:pt x="824" y="1102"/>
                </a:lnTo>
                <a:lnTo>
                  <a:pt x="824" y="1102"/>
                </a:lnTo>
                <a:lnTo>
                  <a:pt x="824" y="1102"/>
                </a:lnTo>
                <a:lnTo>
                  <a:pt x="826" y="1104"/>
                </a:lnTo>
                <a:lnTo>
                  <a:pt x="826" y="1104"/>
                </a:lnTo>
                <a:lnTo>
                  <a:pt x="828" y="1096"/>
                </a:lnTo>
                <a:lnTo>
                  <a:pt x="828" y="1096"/>
                </a:lnTo>
                <a:lnTo>
                  <a:pt x="828" y="1098"/>
                </a:lnTo>
                <a:lnTo>
                  <a:pt x="828" y="1098"/>
                </a:lnTo>
                <a:lnTo>
                  <a:pt x="830" y="1092"/>
                </a:lnTo>
                <a:lnTo>
                  <a:pt x="830" y="1092"/>
                </a:lnTo>
                <a:lnTo>
                  <a:pt x="830" y="1086"/>
                </a:lnTo>
                <a:lnTo>
                  <a:pt x="830" y="1086"/>
                </a:lnTo>
                <a:lnTo>
                  <a:pt x="832" y="1086"/>
                </a:lnTo>
                <a:lnTo>
                  <a:pt x="832" y="1086"/>
                </a:lnTo>
                <a:lnTo>
                  <a:pt x="830" y="1086"/>
                </a:lnTo>
                <a:lnTo>
                  <a:pt x="830" y="1086"/>
                </a:lnTo>
                <a:lnTo>
                  <a:pt x="832" y="1078"/>
                </a:lnTo>
                <a:lnTo>
                  <a:pt x="832" y="1078"/>
                </a:lnTo>
                <a:lnTo>
                  <a:pt x="834" y="1080"/>
                </a:lnTo>
                <a:lnTo>
                  <a:pt x="834" y="1080"/>
                </a:lnTo>
                <a:lnTo>
                  <a:pt x="832" y="1086"/>
                </a:lnTo>
                <a:lnTo>
                  <a:pt x="832" y="1086"/>
                </a:lnTo>
                <a:lnTo>
                  <a:pt x="838" y="1084"/>
                </a:lnTo>
                <a:lnTo>
                  <a:pt x="838" y="1084"/>
                </a:lnTo>
                <a:lnTo>
                  <a:pt x="838" y="1082"/>
                </a:lnTo>
                <a:lnTo>
                  <a:pt x="838" y="1082"/>
                </a:lnTo>
                <a:lnTo>
                  <a:pt x="838" y="1084"/>
                </a:lnTo>
                <a:lnTo>
                  <a:pt x="838" y="1084"/>
                </a:lnTo>
                <a:lnTo>
                  <a:pt x="838" y="1084"/>
                </a:lnTo>
                <a:lnTo>
                  <a:pt x="838" y="1084"/>
                </a:lnTo>
                <a:lnTo>
                  <a:pt x="834" y="1094"/>
                </a:lnTo>
                <a:lnTo>
                  <a:pt x="834" y="1094"/>
                </a:lnTo>
                <a:lnTo>
                  <a:pt x="840" y="1084"/>
                </a:lnTo>
                <a:lnTo>
                  <a:pt x="840" y="1084"/>
                </a:lnTo>
                <a:lnTo>
                  <a:pt x="844" y="1088"/>
                </a:lnTo>
                <a:lnTo>
                  <a:pt x="844" y="1088"/>
                </a:lnTo>
                <a:lnTo>
                  <a:pt x="842" y="1088"/>
                </a:lnTo>
                <a:lnTo>
                  <a:pt x="842" y="1088"/>
                </a:lnTo>
                <a:lnTo>
                  <a:pt x="842" y="1088"/>
                </a:lnTo>
                <a:lnTo>
                  <a:pt x="842" y="1088"/>
                </a:lnTo>
                <a:lnTo>
                  <a:pt x="842" y="1090"/>
                </a:lnTo>
                <a:lnTo>
                  <a:pt x="842" y="1090"/>
                </a:lnTo>
                <a:lnTo>
                  <a:pt x="838" y="1096"/>
                </a:lnTo>
                <a:lnTo>
                  <a:pt x="838" y="1096"/>
                </a:lnTo>
                <a:lnTo>
                  <a:pt x="838" y="1098"/>
                </a:lnTo>
                <a:lnTo>
                  <a:pt x="838" y="1098"/>
                </a:lnTo>
                <a:lnTo>
                  <a:pt x="838" y="1098"/>
                </a:lnTo>
                <a:lnTo>
                  <a:pt x="838" y="1098"/>
                </a:lnTo>
                <a:lnTo>
                  <a:pt x="834" y="1104"/>
                </a:lnTo>
                <a:lnTo>
                  <a:pt x="834" y="1104"/>
                </a:lnTo>
                <a:lnTo>
                  <a:pt x="834" y="1104"/>
                </a:lnTo>
                <a:lnTo>
                  <a:pt x="834" y="1104"/>
                </a:lnTo>
                <a:lnTo>
                  <a:pt x="834" y="1104"/>
                </a:lnTo>
                <a:lnTo>
                  <a:pt x="834" y="1104"/>
                </a:lnTo>
                <a:lnTo>
                  <a:pt x="830" y="1110"/>
                </a:lnTo>
                <a:lnTo>
                  <a:pt x="830" y="1110"/>
                </a:lnTo>
                <a:lnTo>
                  <a:pt x="832" y="1106"/>
                </a:lnTo>
                <a:lnTo>
                  <a:pt x="832" y="1106"/>
                </a:lnTo>
                <a:lnTo>
                  <a:pt x="830" y="1106"/>
                </a:lnTo>
                <a:lnTo>
                  <a:pt x="830" y="1106"/>
                </a:lnTo>
                <a:lnTo>
                  <a:pt x="830" y="1110"/>
                </a:lnTo>
                <a:lnTo>
                  <a:pt x="830" y="1110"/>
                </a:lnTo>
                <a:lnTo>
                  <a:pt x="830" y="1108"/>
                </a:lnTo>
                <a:lnTo>
                  <a:pt x="830" y="1108"/>
                </a:lnTo>
                <a:lnTo>
                  <a:pt x="830" y="1108"/>
                </a:lnTo>
                <a:lnTo>
                  <a:pt x="830" y="1108"/>
                </a:lnTo>
                <a:lnTo>
                  <a:pt x="830" y="1108"/>
                </a:lnTo>
                <a:lnTo>
                  <a:pt x="830" y="1108"/>
                </a:lnTo>
                <a:lnTo>
                  <a:pt x="830" y="1108"/>
                </a:lnTo>
                <a:lnTo>
                  <a:pt x="830" y="1108"/>
                </a:lnTo>
                <a:lnTo>
                  <a:pt x="830" y="1108"/>
                </a:lnTo>
                <a:lnTo>
                  <a:pt x="830" y="1108"/>
                </a:lnTo>
                <a:lnTo>
                  <a:pt x="826" y="1114"/>
                </a:lnTo>
                <a:lnTo>
                  <a:pt x="826" y="1114"/>
                </a:lnTo>
                <a:lnTo>
                  <a:pt x="826" y="1114"/>
                </a:lnTo>
                <a:lnTo>
                  <a:pt x="826" y="1114"/>
                </a:lnTo>
                <a:lnTo>
                  <a:pt x="826" y="1116"/>
                </a:lnTo>
                <a:lnTo>
                  <a:pt x="826" y="1116"/>
                </a:lnTo>
                <a:lnTo>
                  <a:pt x="826" y="1120"/>
                </a:lnTo>
                <a:lnTo>
                  <a:pt x="826" y="1120"/>
                </a:lnTo>
                <a:lnTo>
                  <a:pt x="824" y="1120"/>
                </a:lnTo>
                <a:lnTo>
                  <a:pt x="824" y="1120"/>
                </a:lnTo>
                <a:lnTo>
                  <a:pt x="824" y="1122"/>
                </a:lnTo>
                <a:lnTo>
                  <a:pt x="824" y="1122"/>
                </a:lnTo>
                <a:lnTo>
                  <a:pt x="824" y="1122"/>
                </a:lnTo>
                <a:lnTo>
                  <a:pt x="824" y="1122"/>
                </a:lnTo>
                <a:lnTo>
                  <a:pt x="824" y="1120"/>
                </a:lnTo>
                <a:lnTo>
                  <a:pt x="824" y="1120"/>
                </a:lnTo>
                <a:lnTo>
                  <a:pt x="824" y="1120"/>
                </a:lnTo>
                <a:lnTo>
                  <a:pt x="824" y="1120"/>
                </a:lnTo>
                <a:lnTo>
                  <a:pt x="824" y="1120"/>
                </a:lnTo>
                <a:lnTo>
                  <a:pt x="824" y="1120"/>
                </a:lnTo>
                <a:lnTo>
                  <a:pt x="824" y="1122"/>
                </a:lnTo>
                <a:lnTo>
                  <a:pt x="824" y="1122"/>
                </a:lnTo>
                <a:lnTo>
                  <a:pt x="822" y="1118"/>
                </a:lnTo>
                <a:lnTo>
                  <a:pt x="824" y="1116"/>
                </a:lnTo>
                <a:lnTo>
                  <a:pt x="824" y="1116"/>
                </a:lnTo>
                <a:close/>
                <a:moveTo>
                  <a:pt x="820" y="1136"/>
                </a:moveTo>
                <a:lnTo>
                  <a:pt x="820" y="1136"/>
                </a:lnTo>
                <a:lnTo>
                  <a:pt x="820" y="1134"/>
                </a:lnTo>
                <a:lnTo>
                  <a:pt x="820" y="1134"/>
                </a:lnTo>
                <a:lnTo>
                  <a:pt x="820" y="1134"/>
                </a:lnTo>
                <a:lnTo>
                  <a:pt x="820" y="1134"/>
                </a:lnTo>
                <a:lnTo>
                  <a:pt x="820" y="1132"/>
                </a:lnTo>
                <a:lnTo>
                  <a:pt x="820" y="1132"/>
                </a:lnTo>
                <a:lnTo>
                  <a:pt x="822" y="1128"/>
                </a:lnTo>
                <a:lnTo>
                  <a:pt x="822" y="1128"/>
                </a:lnTo>
                <a:lnTo>
                  <a:pt x="822" y="1128"/>
                </a:lnTo>
                <a:lnTo>
                  <a:pt x="822" y="1128"/>
                </a:lnTo>
                <a:lnTo>
                  <a:pt x="820" y="1132"/>
                </a:lnTo>
                <a:lnTo>
                  <a:pt x="820" y="1132"/>
                </a:lnTo>
                <a:lnTo>
                  <a:pt x="822" y="1130"/>
                </a:lnTo>
                <a:lnTo>
                  <a:pt x="822" y="1130"/>
                </a:lnTo>
                <a:lnTo>
                  <a:pt x="820" y="1134"/>
                </a:lnTo>
                <a:lnTo>
                  <a:pt x="820" y="1134"/>
                </a:lnTo>
                <a:lnTo>
                  <a:pt x="820" y="1134"/>
                </a:lnTo>
                <a:lnTo>
                  <a:pt x="820" y="1134"/>
                </a:lnTo>
                <a:lnTo>
                  <a:pt x="820" y="1136"/>
                </a:lnTo>
                <a:lnTo>
                  <a:pt x="820" y="1136"/>
                </a:lnTo>
                <a:close/>
                <a:moveTo>
                  <a:pt x="846" y="1090"/>
                </a:moveTo>
                <a:lnTo>
                  <a:pt x="846" y="1090"/>
                </a:lnTo>
                <a:lnTo>
                  <a:pt x="848" y="1090"/>
                </a:lnTo>
                <a:lnTo>
                  <a:pt x="848" y="1090"/>
                </a:lnTo>
                <a:lnTo>
                  <a:pt x="848" y="1090"/>
                </a:lnTo>
                <a:lnTo>
                  <a:pt x="848" y="1090"/>
                </a:lnTo>
                <a:lnTo>
                  <a:pt x="846" y="1090"/>
                </a:lnTo>
                <a:lnTo>
                  <a:pt x="846" y="1090"/>
                </a:lnTo>
                <a:close/>
                <a:moveTo>
                  <a:pt x="972" y="1058"/>
                </a:moveTo>
                <a:lnTo>
                  <a:pt x="972" y="1058"/>
                </a:lnTo>
                <a:lnTo>
                  <a:pt x="968" y="1054"/>
                </a:lnTo>
                <a:lnTo>
                  <a:pt x="968" y="1054"/>
                </a:lnTo>
                <a:lnTo>
                  <a:pt x="970" y="1052"/>
                </a:lnTo>
                <a:lnTo>
                  <a:pt x="972" y="1050"/>
                </a:lnTo>
                <a:lnTo>
                  <a:pt x="978" y="1050"/>
                </a:lnTo>
                <a:lnTo>
                  <a:pt x="978" y="1050"/>
                </a:lnTo>
                <a:lnTo>
                  <a:pt x="986" y="1052"/>
                </a:lnTo>
                <a:lnTo>
                  <a:pt x="992" y="1052"/>
                </a:lnTo>
                <a:lnTo>
                  <a:pt x="992" y="1052"/>
                </a:lnTo>
                <a:lnTo>
                  <a:pt x="998" y="1050"/>
                </a:lnTo>
                <a:lnTo>
                  <a:pt x="1002" y="1052"/>
                </a:lnTo>
                <a:lnTo>
                  <a:pt x="1006" y="1054"/>
                </a:lnTo>
                <a:lnTo>
                  <a:pt x="1006" y="1054"/>
                </a:lnTo>
                <a:lnTo>
                  <a:pt x="1012" y="1058"/>
                </a:lnTo>
                <a:lnTo>
                  <a:pt x="1018" y="1058"/>
                </a:lnTo>
                <a:lnTo>
                  <a:pt x="1018" y="1058"/>
                </a:lnTo>
                <a:lnTo>
                  <a:pt x="1022" y="1060"/>
                </a:lnTo>
                <a:lnTo>
                  <a:pt x="1024" y="1066"/>
                </a:lnTo>
                <a:lnTo>
                  <a:pt x="1024" y="1066"/>
                </a:lnTo>
                <a:lnTo>
                  <a:pt x="1030" y="1064"/>
                </a:lnTo>
                <a:lnTo>
                  <a:pt x="1034" y="1062"/>
                </a:lnTo>
                <a:lnTo>
                  <a:pt x="1034" y="1062"/>
                </a:lnTo>
                <a:lnTo>
                  <a:pt x="1034" y="1080"/>
                </a:lnTo>
                <a:lnTo>
                  <a:pt x="1034" y="1080"/>
                </a:lnTo>
                <a:lnTo>
                  <a:pt x="1030" y="1080"/>
                </a:lnTo>
                <a:lnTo>
                  <a:pt x="1030" y="1080"/>
                </a:lnTo>
                <a:lnTo>
                  <a:pt x="1024" y="1066"/>
                </a:lnTo>
                <a:lnTo>
                  <a:pt x="1024" y="1066"/>
                </a:lnTo>
                <a:lnTo>
                  <a:pt x="1022" y="1068"/>
                </a:lnTo>
                <a:lnTo>
                  <a:pt x="1022" y="1068"/>
                </a:lnTo>
                <a:lnTo>
                  <a:pt x="1018" y="1060"/>
                </a:lnTo>
                <a:lnTo>
                  <a:pt x="1018" y="1060"/>
                </a:lnTo>
                <a:lnTo>
                  <a:pt x="998" y="1058"/>
                </a:lnTo>
                <a:lnTo>
                  <a:pt x="998" y="1058"/>
                </a:lnTo>
                <a:lnTo>
                  <a:pt x="972" y="1058"/>
                </a:lnTo>
                <a:lnTo>
                  <a:pt x="972" y="1058"/>
                </a:lnTo>
                <a:lnTo>
                  <a:pt x="974" y="1058"/>
                </a:lnTo>
                <a:lnTo>
                  <a:pt x="974" y="1058"/>
                </a:lnTo>
                <a:lnTo>
                  <a:pt x="976" y="1062"/>
                </a:lnTo>
                <a:lnTo>
                  <a:pt x="976" y="1062"/>
                </a:lnTo>
                <a:lnTo>
                  <a:pt x="984" y="1066"/>
                </a:lnTo>
                <a:lnTo>
                  <a:pt x="984" y="1066"/>
                </a:lnTo>
                <a:lnTo>
                  <a:pt x="976" y="1070"/>
                </a:lnTo>
                <a:lnTo>
                  <a:pt x="976" y="1070"/>
                </a:lnTo>
                <a:lnTo>
                  <a:pt x="974" y="1074"/>
                </a:lnTo>
                <a:lnTo>
                  <a:pt x="974" y="1074"/>
                </a:lnTo>
                <a:lnTo>
                  <a:pt x="972" y="1072"/>
                </a:lnTo>
                <a:lnTo>
                  <a:pt x="972" y="1072"/>
                </a:lnTo>
                <a:lnTo>
                  <a:pt x="968" y="1074"/>
                </a:lnTo>
                <a:lnTo>
                  <a:pt x="968" y="1074"/>
                </a:lnTo>
                <a:lnTo>
                  <a:pt x="962" y="1068"/>
                </a:lnTo>
                <a:lnTo>
                  <a:pt x="952" y="1062"/>
                </a:lnTo>
                <a:lnTo>
                  <a:pt x="952" y="1062"/>
                </a:lnTo>
                <a:lnTo>
                  <a:pt x="954" y="1062"/>
                </a:lnTo>
                <a:lnTo>
                  <a:pt x="954" y="1062"/>
                </a:lnTo>
                <a:lnTo>
                  <a:pt x="954" y="1062"/>
                </a:lnTo>
                <a:lnTo>
                  <a:pt x="954" y="1062"/>
                </a:lnTo>
                <a:lnTo>
                  <a:pt x="950" y="1062"/>
                </a:lnTo>
                <a:lnTo>
                  <a:pt x="948" y="1060"/>
                </a:lnTo>
                <a:lnTo>
                  <a:pt x="946" y="1054"/>
                </a:lnTo>
                <a:lnTo>
                  <a:pt x="946" y="1054"/>
                </a:lnTo>
                <a:lnTo>
                  <a:pt x="960" y="1056"/>
                </a:lnTo>
                <a:lnTo>
                  <a:pt x="972" y="1058"/>
                </a:lnTo>
                <a:lnTo>
                  <a:pt x="972" y="1058"/>
                </a:lnTo>
                <a:close/>
                <a:moveTo>
                  <a:pt x="990" y="994"/>
                </a:moveTo>
                <a:lnTo>
                  <a:pt x="990" y="994"/>
                </a:lnTo>
                <a:lnTo>
                  <a:pt x="990" y="994"/>
                </a:lnTo>
                <a:lnTo>
                  <a:pt x="990" y="994"/>
                </a:lnTo>
                <a:lnTo>
                  <a:pt x="990" y="994"/>
                </a:lnTo>
                <a:lnTo>
                  <a:pt x="990" y="994"/>
                </a:lnTo>
                <a:lnTo>
                  <a:pt x="990" y="998"/>
                </a:lnTo>
                <a:lnTo>
                  <a:pt x="990" y="998"/>
                </a:lnTo>
                <a:lnTo>
                  <a:pt x="988" y="1002"/>
                </a:lnTo>
                <a:lnTo>
                  <a:pt x="984" y="1002"/>
                </a:lnTo>
                <a:lnTo>
                  <a:pt x="984" y="1002"/>
                </a:lnTo>
                <a:lnTo>
                  <a:pt x="988" y="1000"/>
                </a:lnTo>
                <a:lnTo>
                  <a:pt x="990" y="998"/>
                </a:lnTo>
                <a:lnTo>
                  <a:pt x="990" y="998"/>
                </a:lnTo>
                <a:lnTo>
                  <a:pt x="990" y="994"/>
                </a:lnTo>
                <a:lnTo>
                  <a:pt x="990" y="994"/>
                </a:lnTo>
                <a:lnTo>
                  <a:pt x="980" y="996"/>
                </a:lnTo>
                <a:lnTo>
                  <a:pt x="968" y="992"/>
                </a:lnTo>
                <a:lnTo>
                  <a:pt x="968" y="992"/>
                </a:lnTo>
                <a:lnTo>
                  <a:pt x="968" y="992"/>
                </a:lnTo>
                <a:lnTo>
                  <a:pt x="968" y="992"/>
                </a:lnTo>
                <a:lnTo>
                  <a:pt x="980" y="996"/>
                </a:lnTo>
                <a:lnTo>
                  <a:pt x="990" y="994"/>
                </a:lnTo>
                <a:lnTo>
                  <a:pt x="990" y="994"/>
                </a:lnTo>
                <a:close/>
                <a:moveTo>
                  <a:pt x="960" y="994"/>
                </a:moveTo>
                <a:lnTo>
                  <a:pt x="960" y="994"/>
                </a:lnTo>
                <a:lnTo>
                  <a:pt x="968" y="998"/>
                </a:lnTo>
                <a:lnTo>
                  <a:pt x="968" y="998"/>
                </a:lnTo>
                <a:lnTo>
                  <a:pt x="968" y="998"/>
                </a:lnTo>
                <a:lnTo>
                  <a:pt x="968" y="998"/>
                </a:lnTo>
                <a:lnTo>
                  <a:pt x="968" y="998"/>
                </a:lnTo>
                <a:lnTo>
                  <a:pt x="968" y="998"/>
                </a:lnTo>
                <a:lnTo>
                  <a:pt x="966" y="1000"/>
                </a:lnTo>
                <a:lnTo>
                  <a:pt x="964" y="1002"/>
                </a:lnTo>
                <a:lnTo>
                  <a:pt x="964" y="1002"/>
                </a:lnTo>
                <a:lnTo>
                  <a:pt x="956" y="1004"/>
                </a:lnTo>
                <a:lnTo>
                  <a:pt x="956" y="1004"/>
                </a:lnTo>
                <a:lnTo>
                  <a:pt x="964" y="1002"/>
                </a:lnTo>
                <a:lnTo>
                  <a:pt x="964" y="1002"/>
                </a:lnTo>
                <a:lnTo>
                  <a:pt x="966" y="1000"/>
                </a:lnTo>
                <a:lnTo>
                  <a:pt x="968" y="998"/>
                </a:lnTo>
                <a:lnTo>
                  <a:pt x="968" y="998"/>
                </a:lnTo>
                <a:lnTo>
                  <a:pt x="960" y="994"/>
                </a:lnTo>
                <a:lnTo>
                  <a:pt x="960" y="994"/>
                </a:lnTo>
                <a:lnTo>
                  <a:pt x="954" y="994"/>
                </a:lnTo>
                <a:lnTo>
                  <a:pt x="954" y="994"/>
                </a:lnTo>
                <a:lnTo>
                  <a:pt x="960" y="994"/>
                </a:lnTo>
                <a:lnTo>
                  <a:pt x="960" y="994"/>
                </a:lnTo>
                <a:close/>
                <a:moveTo>
                  <a:pt x="950" y="1004"/>
                </a:moveTo>
                <a:lnTo>
                  <a:pt x="950" y="1004"/>
                </a:lnTo>
                <a:lnTo>
                  <a:pt x="956" y="1004"/>
                </a:lnTo>
                <a:lnTo>
                  <a:pt x="956" y="1004"/>
                </a:lnTo>
                <a:lnTo>
                  <a:pt x="950" y="1004"/>
                </a:lnTo>
                <a:lnTo>
                  <a:pt x="950" y="1004"/>
                </a:lnTo>
                <a:close/>
                <a:moveTo>
                  <a:pt x="932" y="1014"/>
                </a:moveTo>
                <a:lnTo>
                  <a:pt x="932" y="1014"/>
                </a:lnTo>
                <a:lnTo>
                  <a:pt x="928" y="1014"/>
                </a:lnTo>
                <a:lnTo>
                  <a:pt x="928" y="1014"/>
                </a:lnTo>
                <a:lnTo>
                  <a:pt x="922" y="1016"/>
                </a:lnTo>
                <a:lnTo>
                  <a:pt x="916" y="1016"/>
                </a:lnTo>
                <a:lnTo>
                  <a:pt x="908" y="1016"/>
                </a:lnTo>
                <a:lnTo>
                  <a:pt x="902" y="1016"/>
                </a:lnTo>
                <a:lnTo>
                  <a:pt x="902" y="1016"/>
                </a:lnTo>
                <a:lnTo>
                  <a:pt x="898" y="1014"/>
                </a:lnTo>
                <a:lnTo>
                  <a:pt x="898" y="1014"/>
                </a:lnTo>
                <a:lnTo>
                  <a:pt x="908" y="1008"/>
                </a:lnTo>
                <a:lnTo>
                  <a:pt x="918" y="1006"/>
                </a:lnTo>
                <a:lnTo>
                  <a:pt x="918" y="1006"/>
                </a:lnTo>
                <a:lnTo>
                  <a:pt x="936" y="1006"/>
                </a:lnTo>
                <a:lnTo>
                  <a:pt x="936" y="1006"/>
                </a:lnTo>
                <a:lnTo>
                  <a:pt x="948" y="1004"/>
                </a:lnTo>
                <a:lnTo>
                  <a:pt x="948" y="1004"/>
                </a:lnTo>
                <a:lnTo>
                  <a:pt x="942" y="1010"/>
                </a:lnTo>
                <a:lnTo>
                  <a:pt x="938" y="1012"/>
                </a:lnTo>
                <a:lnTo>
                  <a:pt x="932" y="1014"/>
                </a:lnTo>
                <a:lnTo>
                  <a:pt x="932" y="1014"/>
                </a:lnTo>
                <a:close/>
                <a:moveTo>
                  <a:pt x="940" y="996"/>
                </a:moveTo>
                <a:lnTo>
                  <a:pt x="940" y="996"/>
                </a:lnTo>
                <a:lnTo>
                  <a:pt x="940" y="996"/>
                </a:lnTo>
                <a:lnTo>
                  <a:pt x="940" y="996"/>
                </a:lnTo>
                <a:lnTo>
                  <a:pt x="940" y="998"/>
                </a:lnTo>
                <a:lnTo>
                  <a:pt x="940" y="998"/>
                </a:lnTo>
                <a:lnTo>
                  <a:pt x="934" y="1000"/>
                </a:lnTo>
                <a:lnTo>
                  <a:pt x="934" y="1000"/>
                </a:lnTo>
                <a:lnTo>
                  <a:pt x="934" y="998"/>
                </a:lnTo>
                <a:lnTo>
                  <a:pt x="934" y="998"/>
                </a:lnTo>
                <a:lnTo>
                  <a:pt x="940" y="998"/>
                </a:lnTo>
                <a:lnTo>
                  <a:pt x="940" y="998"/>
                </a:lnTo>
                <a:lnTo>
                  <a:pt x="940" y="996"/>
                </a:lnTo>
                <a:lnTo>
                  <a:pt x="940" y="996"/>
                </a:lnTo>
                <a:close/>
                <a:moveTo>
                  <a:pt x="924" y="940"/>
                </a:moveTo>
                <a:lnTo>
                  <a:pt x="924" y="940"/>
                </a:lnTo>
                <a:lnTo>
                  <a:pt x="924" y="940"/>
                </a:lnTo>
                <a:lnTo>
                  <a:pt x="924" y="940"/>
                </a:lnTo>
                <a:lnTo>
                  <a:pt x="938" y="932"/>
                </a:lnTo>
                <a:lnTo>
                  <a:pt x="938" y="932"/>
                </a:lnTo>
                <a:lnTo>
                  <a:pt x="928" y="932"/>
                </a:lnTo>
                <a:lnTo>
                  <a:pt x="920" y="932"/>
                </a:lnTo>
                <a:lnTo>
                  <a:pt x="920" y="932"/>
                </a:lnTo>
                <a:lnTo>
                  <a:pt x="928" y="932"/>
                </a:lnTo>
                <a:lnTo>
                  <a:pt x="938" y="932"/>
                </a:lnTo>
                <a:lnTo>
                  <a:pt x="938" y="932"/>
                </a:lnTo>
                <a:lnTo>
                  <a:pt x="924" y="940"/>
                </a:lnTo>
                <a:lnTo>
                  <a:pt x="924" y="940"/>
                </a:lnTo>
                <a:close/>
                <a:moveTo>
                  <a:pt x="944" y="982"/>
                </a:moveTo>
                <a:lnTo>
                  <a:pt x="944" y="982"/>
                </a:lnTo>
                <a:lnTo>
                  <a:pt x="938" y="982"/>
                </a:lnTo>
                <a:lnTo>
                  <a:pt x="938" y="982"/>
                </a:lnTo>
                <a:lnTo>
                  <a:pt x="938" y="982"/>
                </a:lnTo>
                <a:lnTo>
                  <a:pt x="938" y="982"/>
                </a:lnTo>
                <a:lnTo>
                  <a:pt x="944" y="982"/>
                </a:lnTo>
                <a:lnTo>
                  <a:pt x="944" y="982"/>
                </a:lnTo>
                <a:lnTo>
                  <a:pt x="944" y="980"/>
                </a:lnTo>
                <a:lnTo>
                  <a:pt x="944" y="980"/>
                </a:lnTo>
                <a:lnTo>
                  <a:pt x="944" y="980"/>
                </a:lnTo>
                <a:lnTo>
                  <a:pt x="944" y="980"/>
                </a:lnTo>
                <a:lnTo>
                  <a:pt x="944" y="982"/>
                </a:lnTo>
                <a:lnTo>
                  <a:pt x="944" y="982"/>
                </a:lnTo>
                <a:close/>
                <a:moveTo>
                  <a:pt x="938" y="956"/>
                </a:moveTo>
                <a:lnTo>
                  <a:pt x="938" y="956"/>
                </a:lnTo>
                <a:lnTo>
                  <a:pt x="938" y="956"/>
                </a:lnTo>
                <a:lnTo>
                  <a:pt x="938" y="956"/>
                </a:lnTo>
                <a:lnTo>
                  <a:pt x="948" y="954"/>
                </a:lnTo>
                <a:lnTo>
                  <a:pt x="948" y="954"/>
                </a:lnTo>
                <a:lnTo>
                  <a:pt x="944" y="952"/>
                </a:lnTo>
                <a:lnTo>
                  <a:pt x="944" y="952"/>
                </a:lnTo>
                <a:lnTo>
                  <a:pt x="948" y="954"/>
                </a:lnTo>
                <a:lnTo>
                  <a:pt x="948" y="954"/>
                </a:lnTo>
                <a:lnTo>
                  <a:pt x="938" y="956"/>
                </a:lnTo>
                <a:lnTo>
                  <a:pt x="938" y="956"/>
                </a:lnTo>
                <a:close/>
                <a:moveTo>
                  <a:pt x="958" y="944"/>
                </a:moveTo>
                <a:lnTo>
                  <a:pt x="958" y="944"/>
                </a:lnTo>
                <a:lnTo>
                  <a:pt x="958" y="944"/>
                </a:lnTo>
                <a:lnTo>
                  <a:pt x="958" y="944"/>
                </a:lnTo>
                <a:lnTo>
                  <a:pt x="958" y="946"/>
                </a:lnTo>
                <a:lnTo>
                  <a:pt x="958" y="946"/>
                </a:lnTo>
                <a:lnTo>
                  <a:pt x="956" y="948"/>
                </a:lnTo>
                <a:lnTo>
                  <a:pt x="952" y="948"/>
                </a:lnTo>
                <a:lnTo>
                  <a:pt x="944" y="946"/>
                </a:lnTo>
                <a:lnTo>
                  <a:pt x="944" y="946"/>
                </a:lnTo>
                <a:lnTo>
                  <a:pt x="944" y="946"/>
                </a:lnTo>
                <a:lnTo>
                  <a:pt x="944" y="946"/>
                </a:lnTo>
                <a:lnTo>
                  <a:pt x="952" y="948"/>
                </a:lnTo>
                <a:lnTo>
                  <a:pt x="956" y="948"/>
                </a:lnTo>
                <a:lnTo>
                  <a:pt x="958" y="946"/>
                </a:lnTo>
                <a:lnTo>
                  <a:pt x="958" y="946"/>
                </a:lnTo>
                <a:lnTo>
                  <a:pt x="958" y="944"/>
                </a:lnTo>
                <a:lnTo>
                  <a:pt x="958" y="944"/>
                </a:lnTo>
                <a:close/>
                <a:moveTo>
                  <a:pt x="952" y="978"/>
                </a:moveTo>
                <a:lnTo>
                  <a:pt x="952" y="978"/>
                </a:lnTo>
                <a:lnTo>
                  <a:pt x="950" y="974"/>
                </a:lnTo>
                <a:lnTo>
                  <a:pt x="950" y="974"/>
                </a:lnTo>
                <a:lnTo>
                  <a:pt x="950" y="974"/>
                </a:lnTo>
                <a:lnTo>
                  <a:pt x="952" y="978"/>
                </a:lnTo>
                <a:lnTo>
                  <a:pt x="952" y="978"/>
                </a:lnTo>
                <a:lnTo>
                  <a:pt x="952" y="978"/>
                </a:lnTo>
                <a:lnTo>
                  <a:pt x="952" y="978"/>
                </a:lnTo>
                <a:close/>
                <a:moveTo>
                  <a:pt x="972" y="968"/>
                </a:moveTo>
                <a:lnTo>
                  <a:pt x="972" y="968"/>
                </a:lnTo>
                <a:lnTo>
                  <a:pt x="966" y="972"/>
                </a:lnTo>
                <a:lnTo>
                  <a:pt x="962" y="974"/>
                </a:lnTo>
                <a:lnTo>
                  <a:pt x="958" y="972"/>
                </a:lnTo>
                <a:lnTo>
                  <a:pt x="958" y="972"/>
                </a:lnTo>
                <a:lnTo>
                  <a:pt x="950" y="974"/>
                </a:lnTo>
                <a:lnTo>
                  <a:pt x="950" y="974"/>
                </a:lnTo>
                <a:lnTo>
                  <a:pt x="950" y="974"/>
                </a:lnTo>
                <a:lnTo>
                  <a:pt x="950" y="974"/>
                </a:lnTo>
                <a:lnTo>
                  <a:pt x="958" y="972"/>
                </a:lnTo>
                <a:lnTo>
                  <a:pt x="958" y="972"/>
                </a:lnTo>
                <a:lnTo>
                  <a:pt x="962" y="974"/>
                </a:lnTo>
                <a:lnTo>
                  <a:pt x="966" y="972"/>
                </a:lnTo>
                <a:lnTo>
                  <a:pt x="972" y="968"/>
                </a:lnTo>
                <a:lnTo>
                  <a:pt x="972" y="968"/>
                </a:lnTo>
                <a:lnTo>
                  <a:pt x="970" y="966"/>
                </a:lnTo>
                <a:lnTo>
                  <a:pt x="970" y="966"/>
                </a:lnTo>
                <a:lnTo>
                  <a:pt x="972" y="968"/>
                </a:lnTo>
                <a:lnTo>
                  <a:pt x="972" y="968"/>
                </a:lnTo>
                <a:close/>
                <a:moveTo>
                  <a:pt x="976" y="950"/>
                </a:moveTo>
                <a:lnTo>
                  <a:pt x="976" y="950"/>
                </a:lnTo>
                <a:lnTo>
                  <a:pt x="976" y="950"/>
                </a:lnTo>
                <a:lnTo>
                  <a:pt x="976" y="950"/>
                </a:lnTo>
                <a:lnTo>
                  <a:pt x="978" y="946"/>
                </a:lnTo>
                <a:lnTo>
                  <a:pt x="974" y="944"/>
                </a:lnTo>
                <a:lnTo>
                  <a:pt x="974" y="944"/>
                </a:lnTo>
                <a:lnTo>
                  <a:pt x="970" y="944"/>
                </a:lnTo>
                <a:lnTo>
                  <a:pt x="966" y="944"/>
                </a:lnTo>
                <a:lnTo>
                  <a:pt x="962" y="950"/>
                </a:lnTo>
                <a:lnTo>
                  <a:pt x="962" y="950"/>
                </a:lnTo>
                <a:lnTo>
                  <a:pt x="962" y="950"/>
                </a:lnTo>
                <a:lnTo>
                  <a:pt x="966" y="944"/>
                </a:lnTo>
                <a:lnTo>
                  <a:pt x="970" y="944"/>
                </a:lnTo>
                <a:lnTo>
                  <a:pt x="974" y="944"/>
                </a:lnTo>
                <a:lnTo>
                  <a:pt x="974" y="944"/>
                </a:lnTo>
                <a:lnTo>
                  <a:pt x="978" y="946"/>
                </a:lnTo>
                <a:lnTo>
                  <a:pt x="976" y="950"/>
                </a:lnTo>
                <a:lnTo>
                  <a:pt x="976" y="950"/>
                </a:lnTo>
                <a:close/>
                <a:moveTo>
                  <a:pt x="954" y="928"/>
                </a:moveTo>
                <a:lnTo>
                  <a:pt x="954" y="928"/>
                </a:lnTo>
                <a:lnTo>
                  <a:pt x="946" y="928"/>
                </a:lnTo>
                <a:lnTo>
                  <a:pt x="946" y="928"/>
                </a:lnTo>
                <a:lnTo>
                  <a:pt x="920" y="922"/>
                </a:lnTo>
                <a:lnTo>
                  <a:pt x="920" y="922"/>
                </a:lnTo>
                <a:lnTo>
                  <a:pt x="924" y="918"/>
                </a:lnTo>
                <a:lnTo>
                  <a:pt x="926" y="918"/>
                </a:lnTo>
                <a:lnTo>
                  <a:pt x="932" y="918"/>
                </a:lnTo>
                <a:lnTo>
                  <a:pt x="938" y="920"/>
                </a:lnTo>
                <a:lnTo>
                  <a:pt x="938" y="920"/>
                </a:lnTo>
                <a:lnTo>
                  <a:pt x="944" y="916"/>
                </a:lnTo>
                <a:lnTo>
                  <a:pt x="950" y="916"/>
                </a:lnTo>
                <a:lnTo>
                  <a:pt x="962" y="920"/>
                </a:lnTo>
                <a:lnTo>
                  <a:pt x="962" y="920"/>
                </a:lnTo>
                <a:lnTo>
                  <a:pt x="972" y="922"/>
                </a:lnTo>
                <a:lnTo>
                  <a:pt x="972" y="922"/>
                </a:lnTo>
                <a:lnTo>
                  <a:pt x="990" y="920"/>
                </a:lnTo>
                <a:lnTo>
                  <a:pt x="990" y="920"/>
                </a:lnTo>
                <a:lnTo>
                  <a:pt x="988" y="924"/>
                </a:lnTo>
                <a:lnTo>
                  <a:pt x="986" y="924"/>
                </a:lnTo>
                <a:lnTo>
                  <a:pt x="980" y="926"/>
                </a:lnTo>
                <a:lnTo>
                  <a:pt x="980" y="926"/>
                </a:lnTo>
                <a:lnTo>
                  <a:pt x="966" y="926"/>
                </a:lnTo>
                <a:lnTo>
                  <a:pt x="954" y="928"/>
                </a:lnTo>
                <a:lnTo>
                  <a:pt x="954" y="928"/>
                </a:lnTo>
                <a:close/>
                <a:moveTo>
                  <a:pt x="986" y="942"/>
                </a:moveTo>
                <a:lnTo>
                  <a:pt x="986" y="942"/>
                </a:lnTo>
                <a:lnTo>
                  <a:pt x="986" y="942"/>
                </a:lnTo>
                <a:lnTo>
                  <a:pt x="986" y="942"/>
                </a:lnTo>
                <a:lnTo>
                  <a:pt x="990" y="940"/>
                </a:lnTo>
                <a:lnTo>
                  <a:pt x="990" y="940"/>
                </a:lnTo>
                <a:lnTo>
                  <a:pt x="990" y="938"/>
                </a:lnTo>
                <a:lnTo>
                  <a:pt x="990" y="938"/>
                </a:lnTo>
                <a:lnTo>
                  <a:pt x="990" y="938"/>
                </a:lnTo>
                <a:lnTo>
                  <a:pt x="990" y="938"/>
                </a:lnTo>
                <a:lnTo>
                  <a:pt x="992" y="940"/>
                </a:lnTo>
                <a:lnTo>
                  <a:pt x="992" y="940"/>
                </a:lnTo>
                <a:lnTo>
                  <a:pt x="986" y="942"/>
                </a:lnTo>
                <a:lnTo>
                  <a:pt x="986" y="942"/>
                </a:lnTo>
                <a:close/>
                <a:moveTo>
                  <a:pt x="1010" y="956"/>
                </a:moveTo>
                <a:lnTo>
                  <a:pt x="1010" y="956"/>
                </a:lnTo>
                <a:lnTo>
                  <a:pt x="1010" y="956"/>
                </a:lnTo>
                <a:lnTo>
                  <a:pt x="1010" y="956"/>
                </a:lnTo>
                <a:lnTo>
                  <a:pt x="1010" y="956"/>
                </a:lnTo>
                <a:lnTo>
                  <a:pt x="1012" y="952"/>
                </a:lnTo>
                <a:lnTo>
                  <a:pt x="1008" y="950"/>
                </a:lnTo>
                <a:lnTo>
                  <a:pt x="1008" y="950"/>
                </a:lnTo>
                <a:lnTo>
                  <a:pt x="996" y="950"/>
                </a:lnTo>
                <a:lnTo>
                  <a:pt x="996" y="950"/>
                </a:lnTo>
                <a:lnTo>
                  <a:pt x="988" y="952"/>
                </a:lnTo>
                <a:lnTo>
                  <a:pt x="988" y="952"/>
                </a:lnTo>
                <a:lnTo>
                  <a:pt x="988" y="952"/>
                </a:lnTo>
                <a:lnTo>
                  <a:pt x="988" y="952"/>
                </a:lnTo>
                <a:lnTo>
                  <a:pt x="996" y="950"/>
                </a:lnTo>
                <a:lnTo>
                  <a:pt x="996" y="950"/>
                </a:lnTo>
                <a:lnTo>
                  <a:pt x="1008" y="950"/>
                </a:lnTo>
                <a:lnTo>
                  <a:pt x="1008" y="950"/>
                </a:lnTo>
                <a:lnTo>
                  <a:pt x="1012" y="952"/>
                </a:lnTo>
                <a:lnTo>
                  <a:pt x="1010" y="956"/>
                </a:lnTo>
                <a:lnTo>
                  <a:pt x="1010" y="956"/>
                </a:lnTo>
                <a:close/>
                <a:moveTo>
                  <a:pt x="1014" y="962"/>
                </a:moveTo>
                <a:lnTo>
                  <a:pt x="1014" y="962"/>
                </a:lnTo>
                <a:lnTo>
                  <a:pt x="1014" y="962"/>
                </a:lnTo>
                <a:lnTo>
                  <a:pt x="1014" y="962"/>
                </a:lnTo>
                <a:lnTo>
                  <a:pt x="1020" y="962"/>
                </a:lnTo>
                <a:lnTo>
                  <a:pt x="1022" y="960"/>
                </a:lnTo>
                <a:lnTo>
                  <a:pt x="1022" y="958"/>
                </a:lnTo>
                <a:lnTo>
                  <a:pt x="1022" y="958"/>
                </a:lnTo>
                <a:lnTo>
                  <a:pt x="1022" y="958"/>
                </a:lnTo>
                <a:lnTo>
                  <a:pt x="1022" y="958"/>
                </a:lnTo>
                <a:lnTo>
                  <a:pt x="1022" y="960"/>
                </a:lnTo>
                <a:lnTo>
                  <a:pt x="1020" y="962"/>
                </a:lnTo>
                <a:lnTo>
                  <a:pt x="1014" y="962"/>
                </a:lnTo>
                <a:lnTo>
                  <a:pt x="1014" y="962"/>
                </a:lnTo>
                <a:close/>
                <a:moveTo>
                  <a:pt x="1020" y="956"/>
                </a:moveTo>
                <a:lnTo>
                  <a:pt x="1020" y="956"/>
                </a:lnTo>
                <a:lnTo>
                  <a:pt x="1020" y="956"/>
                </a:lnTo>
                <a:lnTo>
                  <a:pt x="1020" y="956"/>
                </a:lnTo>
                <a:lnTo>
                  <a:pt x="1024" y="952"/>
                </a:lnTo>
                <a:lnTo>
                  <a:pt x="1024" y="952"/>
                </a:lnTo>
                <a:lnTo>
                  <a:pt x="1024" y="952"/>
                </a:lnTo>
                <a:lnTo>
                  <a:pt x="1024" y="952"/>
                </a:lnTo>
                <a:lnTo>
                  <a:pt x="1020" y="956"/>
                </a:lnTo>
                <a:lnTo>
                  <a:pt x="1020" y="956"/>
                </a:lnTo>
                <a:close/>
                <a:moveTo>
                  <a:pt x="1102" y="1018"/>
                </a:moveTo>
                <a:lnTo>
                  <a:pt x="1102" y="1018"/>
                </a:lnTo>
                <a:lnTo>
                  <a:pt x="1102" y="1018"/>
                </a:lnTo>
                <a:lnTo>
                  <a:pt x="1102" y="1018"/>
                </a:lnTo>
                <a:lnTo>
                  <a:pt x="1114" y="1018"/>
                </a:lnTo>
                <a:lnTo>
                  <a:pt x="1114" y="1018"/>
                </a:lnTo>
                <a:lnTo>
                  <a:pt x="1112" y="1016"/>
                </a:lnTo>
                <a:lnTo>
                  <a:pt x="1108" y="1014"/>
                </a:lnTo>
                <a:lnTo>
                  <a:pt x="1108" y="1014"/>
                </a:lnTo>
                <a:lnTo>
                  <a:pt x="1112" y="1016"/>
                </a:lnTo>
                <a:lnTo>
                  <a:pt x="1114" y="1018"/>
                </a:lnTo>
                <a:lnTo>
                  <a:pt x="1114" y="1018"/>
                </a:lnTo>
                <a:lnTo>
                  <a:pt x="1102" y="1018"/>
                </a:lnTo>
                <a:lnTo>
                  <a:pt x="1102" y="1018"/>
                </a:lnTo>
                <a:close/>
                <a:moveTo>
                  <a:pt x="1192" y="1052"/>
                </a:moveTo>
                <a:lnTo>
                  <a:pt x="1192" y="1052"/>
                </a:lnTo>
                <a:lnTo>
                  <a:pt x="1192" y="1052"/>
                </a:lnTo>
                <a:lnTo>
                  <a:pt x="1192" y="1052"/>
                </a:lnTo>
                <a:lnTo>
                  <a:pt x="1196" y="1054"/>
                </a:lnTo>
                <a:lnTo>
                  <a:pt x="1196" y="1054"/>
                </a:lnTo>
                <a:lnTo>
                  <a:pt x="1192" y="1060"/>
                </a:lnTo>
                <a:lnTo>
                  <a:pt x="1192" y="1060"/>
                </a:lnTo>
                <a:lnTo>
                  <a:pt x="1192" y="1060"/>
                </a:lnTo>
                <a:lnTo>
                  <a:pt x="1192" y="1060"/>
                </a:lnTo>
                <a:lnTo>
                  <a:pt x="1194" y="1054"/>
                </a:lnTo>
                <a:lnTo>
                  <a:pt x="1194" y="1054"/>
                </a:lnTo>
                <a:lnTo>
                  <a:pt x="1192" y="1052"/>
                </a:lnTo>
                <a:lnTo>
                  <a:pt x="1192" y="1052"/>
                </a:lnTo>
                <a:close/>
                <a:moveTo>
                  <a:pt x="1162" y="1056"/>
                </a:moveTo>
                <a:lnTo>
                  <a:pt x="1162" y="1056"/>
                </a:lnTo>
                <a:lnTo>
                  <a:pt x="1174" y="1056"/>
                </a:lnTo>
                <a:lnTo>
                  <a:pt x="1174" y="1056"/>
                </a:lnTo>
                <a:lnTo>
                  <a:pt x="1168" y="1052"/>
                </a:lnTo>
                <a:lnTo>
                  <a:pt x="1168" y="1052"/>
                </a:lnTo>
                <a:lnTo>
                  <a:pt x="1174" y="1056"/>
                </a:lnTo>
                <a:lnTo>
                  <a:pt x="1174" y="1056"/>
                </a:lnTo>
                <a:lnTo>
                  <a:pt x="1162" y="1056"/>
                </a:lnTo>
                <a:lnTo>
                  <a:pt x="1162" y="1056"/>
                </a:lnTo>
                <a:lnTo>
                  <a:pt x="1162" y="1056"/>
                </a:lnTo>
                <a:lnTo>
                  <a:pt x="1162" y="1056"/>
                </a:lnTo>
                <a:close/>
                <a:moveTo>
                  <a:pt x="1200" y="936"/>
                </a:moveTo>
                <a:lnTo>
                  <a:pt x="1200" y="936"/>
                </a:lnTo>
                <a:lnTo>
                  <a:pt x="1200" y="936"/>
                </a:lnTo>
                <a:lnTo>
                  <a:pt x="1200" y="936"/>
                </a:lnTo>
                <a:lnTo>
                  <a:pt x="1198" y="938"/>
                </a:lnTo>
                <a:lnTo>
                  <a:pt x="1194" y="938"/>
                </a:lnTo>
                <a:lnTo>
                  <a:pt x="1194" y="938"/>
                </a:lnTo>
                <a:lnTo>
                  <a:pt x="1198" y="938"/>
                </a:lnTo>
                <a:lnTo>
                  <a:pt x="1200" y="936"/>
                </a:lnTo>
                <a:lnTo>
                  <a:pt x="1200" y="936"/>
                </a:lnTo>
                <a:close/>
                <a:moveTo>
                  <a:pt x="1182" y="942"/>
                </a:moveTo>
                <a:lnTo>
                  <a:pt x="1182" y="942"/>
                </a:lnTo>
                <a:lnTo>
                  <a:pt x="1186" y="940"/>
                </a:lnTo>
                <a:lnTo>
                  <a:pt x="1184" y="936"/>
                </a:lnTo>
                <a:lnTo>
                  <a:pt x="1184" y="936"/>
                </a:lnTo>
                <a:lnTo>
                  <a:pt x="1184" y="936"/>
                </a:lnTo>
                <a:lnTo>
                  <a:pt x="1184" y="936"/>
                </a:lnTo>
                <a:lnTo>
                  <a:pt x="1186" y="940"/>
                </a:lnTo>
                <a:lnTo>
                  <a:pt x="1182" y="942"/>
                </a:lnTo>
                <a:lnTo>
                  <a:pt x="1182" y="942"/>
                </a:lnTo>
                <a:lnTo>
                  <a:pt x="1182" y="942"/>
                </a:lnTo>
                <a:lnTo>
                  <a:pt x="1182" y="942"/>
                </a:lnTo>
                <a:lnTo>
                  <a:pt x="1182" y="942"/>
                </a:lnTo>
                <a:lnTo>
                  <a:pt x="1182" y="942"/>
                </a:lnTo>
                <a:close/>
                <a:moveTo>
                  <a:pt x="1158" y="908"/>
                </a:moveTo>
                <a:lnTo>
                  <a:pt x="1158" y="908"/>
                </a:lnTo>
                <a:lnTo>
                  <a:pt x="1166" y="914"/>
                </a:lnTo>
                <a:lnTo>
                  <a:pt x="1166" y="914"/>
                </a:lnTo>
                <a:lnTo>
                  <a:pt x="1166" y="914"/>
                </a:lnTo>
                <a:lnTo>
                  <a:pt x="1166" y="914"/>
                </a:lnTo>
                <a:lnTo>
                  <a:pt x="1158" y="908"/>
                </a:lnTo>
                <a:lnTo>
                  <a:pt x="1158" y="908"/>
                </a:lnTo>
                <a:lnTo>
                  <a:pt x="1158" y="908"/>
                </a:lnTo>
                <a:lnTo>
                  <a:pt x="1158" y="908"/>
                </a:lnTo>
                <a:close/>
                <a:moveTo>
                  <a:pt x="1158" y="912"/>
                </a:moveTo>
                <a:lnTo>
                  <a:pt x="1158" y="912"/>
                </a:lnTo>
                <a:lnTo>
                  <a:pt x="1152" y="912"/>
                </a:lnTo>
                <a:lnTo>
                  <a:pt x="1144" y="912"/>
                </a:lnTo>
                <a:lnTo>
                  <a:pt x="1144" y="912"/>
                </a:lnTo>
                <a:lnTo>
                  <a:pt x="1144" y="912"/>
                </a:lnTo>
                <a:lnTo>
                  <a:pt x="1144" y="912"/>
                </a:lnTo>
                <a:lnTo>
                  <a:pt x="1152" y="912"/>
                </a:lnTo>
                <a:lnTo>
                  <a:pt x="1158" y="912"/>
                </a:lnTo>
                <a:lnTo>
                  <a:pt x="1158" y="912"/>
                </a:lnTo>
                <a:close/>
                <a:moveTo>
                  <a:pt x="1160" y="926"/>
                </a:moveTo>
                <a:lnTo>
                  <a:pt x="1160" y="926"/>
                </a:lnTo>
                <a:lnTo>
                  <a:pt x="1152" y="930"/>
                </a:lnTo>
                <a:lnTo>
                  <a:pt x="1150" y="934"/>
                </a:lnTo>
                <a:lnTo>
                  <a:pt x="1152" y="938"/>
                </a:lnTo>
                <a:lnTo>
                  <a:pt x="1152" y="938"/>
                </a:lnTo>
                <a:lnTo>
                  <a:pt x="1148" y="938"/>
                </a:lnTo>
                <a:lnTo>
                  <a:pt x="1148" y="938"/>
                </a:lnTo>
                <a:lnTo>
                  <a:pt x="1136" y="932"/>
                </a:lnTo>
                <a:lnTo>
                  <a:pt x="1136" y="932"/>
                </a:lnTo>
                <a:lnTo>
                  <a:pt x="1148" y="926"/>
                </a:lnTo>
                <a:lnTo>
                  <a:pt x="1160" y="926"/>
                </a:lnTo>
                <a:lnTo>
                  <a:pt x="1160" y="926"/>
                </a:lnTo>
                <a:close/>
                <a:moveTo>
                  <a:pt x="1098" y="844"/>
                </a:moveTo>
                <a:lnTo>
                  <a:pt x="1098" y="844"/>
                </a:lnTo>
                <a:lnTo>
                  <a:pt x="1098" y="844"/>
                </a:lnTo>
                <a:lnTo>
                  <a:pt x="1098" y="844"/>
                </a:lnTo>
                <a:lnTo>
                  <a:pt x="1092" y="848"/>
                </a:lnTo>
                <a:lnTo>
                  <a:pt x="1088" y="850"/>
                </a:lnTo>
                <a:lnTo>
                  <a:pt x="1088" y="850"/>
                </a:lnTo>
                <a:lnTo>
                  <a:pt x="1092" y="848"/>
                </a:lnTo>
                <a:lnTo>
                  <a:pt x="1098" y="844"/>
                </a:lnTo>
                <a:lnTo>
                  <a:pt x="1098" y="844"/>
                </a:lnTo>
                <a:close/>
                <a:moveTo>
                  <a:pt x="1060" y="896"/>
                </a:moveTo>
                <a:lnTo>
                  <a:pt x="1060" y="896"/>
                </a:lnTo>
                <a:lnTo>
                  <a:pt x="1054" y="898"/>
                </a:lnTo>
                <a:lnTo>
                  <a:pt x="1054" y="898"/>
                </a:lnTo>
                <a:lnTo>
                  <a:pt x="1060" y="896"/>
                </a:lnTo>
                <a:lnTo>
                  <a:pt x="1060" y="896"/>
                </a:lnTo>
                <a:lnTo>
                  <a:pt x="1052" y="892"/>
                </a:lnTo>
                <a:lnTo>
                  <a:pt x="1052" y="892"/>
                </a:lnTo>
                <a:lnTo>
                  <a:pt x="1060" y="896"/>
                </a:lnTo>
                <a:lnTo>
                  <a:pt x="1060" y="896"/>
                </a:lnTo>
                <a:close/>
                <a:moveTo>
                  <a:pt x="1064" y="946"/>
                </a:moveTo>
                <a:lnTo>
                  <a:pt x="1064" y="946"/>
                </a:lnTo>
                <a:lnTo>
                  <a:pt x="1058" y="944"/>
                </a:lnTo>
                <a:lnTo>
                  <a:pt x="1058" y="944"/>
                </a:lnTo>
                <a:lnTo>
                  <a:pt x="1058" y="942"/>
                </a:lnTo>
                <a:lnTo>
                  <a:pt x="1058" y="942"/>
                </a:lnTo>
                <a:lnTo>
                  <a:pt x="1064" y="946"/>
                </a:lnTo>
                <a:lnTo>
                  <a:pt x="1064" y="946"/>
                </a:lnTo>
                <a:lnTo>
                  <a:pt x="1064" y="946"/>
                </a:lnTo>
                <a:lnTo>
                  <a:pt x="1064" y="946"/>
                </a:lnTo>
                <a:close/>
                <a:moveTo>
                  <a:pt x="1082" y="942"/>
                </a:moveTo>
                <a:lnTo>
                  <a:pt x="1082" y="942"/>
                </a:lnTo>
                <a:lnTo>
                  <a:pt x="1078" y="940"/>
                </a:lnTo>
                <a:lnTo>
                  <a:pt x="1074" y="938"/>
                </a:lnTo>
                <a:lnTo>
                  <a:pt x="1074" y="938"/>
                </a:lnTo>
                <a:lnTo>
                  <a:pt x="1058" y="938"/>
                </a:lnTo>
                <a:lnTo>
                  <a:pt x="1058" y="938"/>
                </a:lnTo>
                <a:lnTo>
                  <a:pt x="1054" y="940"/>
                </a:lnTo>
                <a:lnTo>
                  <a:pt x="1054" y="940"/>
                </a:lnTo>
                <a:lnTo>
                  <a:pt x="1058" y="938"/>
                </a:lnTo>
                <a:lnTo>
                  <a:pt x="1058" y="938"/>
                </a:lnTo>
                <a:lnTo>
                  <a:pt x="1074" y="938"/>
                </a:lnTo>
                <a:lnTo>
                  <a:pt x="1074" y="938"/>
                </a:lnTo>
                <a:lnTo>
                  <a:pt x="1078" y="940"/>
                </a:lnTo>
                <a:lnTo>
                  <a:pt x="1082" y="942"/>
                </a:lnTo>
                <a:lnTo>
                  <a:pt x="1082" y="942"/>
                </a:lnTo>
                <a:lnTo>
                  <a:pt x="1082" y="942"/>
                </a:lnTo>
                <a:lnTo>
                  <a:pt x="1082" y="942"/>
                </a:lnTo>
                <a:close/>
                <a:moveTo>
                  <a:pt x="1088" y="936"/>
                </a:moveTo>
                <a:lnTo>
                  <a:pt x="1088" y="936"/>
                </a:lnTo>
                <a:lnTo>
                  <a:pt x="1074" y="932"/>
                </a:lnTo>
                <a:lnTo>
                  <a:pt x="1074" y="932"/>
                </a:lnTo>
                <a:lnTo>
                  <a:pt x="1070" y="934"/>
                </a:lnTo>
                <a:lnTo>
                  <a:pt x="1066" y="934"/>
                </a:lnTo>
                <a:lnTo>
                  <a:pt x="1056" y="934"/>
                </a:lnTo>
                <a:lnTo>
                  <a:pt x="1056" y="934"/>
                </a:lnTo>
                <a:lnTo>
                  <a:pt x="1042" y="932"/>
                </a:lnTo>
                <a:lnTo>
                  <a:pt x="1036" y="932"/>
                </a:lnTo>
                <a:lnTo>
                  <a:pt x="1030" y="932"/>
                </a:lnTo>
                <a:lnTo>
                  <a:pt x="1030" y="932"/>
                </a:lnTo>
                <a:lnTo>
                  <a:pt x="1026" y="932"/>
                </a:lnTo>
                <a:lnTo>
                  <a:pt x="1026" y="928"/>
                </a:lnTo>
                <a:lnTo>
                  <a:pt x="1026" y="928"/>
                </a:lnTo>
                <a:lnTo>
                  <a:pt x="1026" y="928"/>
                </a:lnTo>
                <a:lnTo>
                  <a:pt x="1042" y="926"/>
                </a:lnTo>
                <a:lnTo>
                  <a:pt x="1042" y="926"/>
                </a:lnTo>
                <a:lnTo>
                  <a:pt x="1046" y="926"/>
                </a:lnTo>
                <a:lnTo>
                  <a:pt x="1046" y="926"/>
                </a:lnTo>
                <a:lnTo>
                  <a:pt x="1052" y="930"/>
                </a:lnTo>
                <a:lnTo>
                  <a:pt x="1056" y="930"/>
                </a:lnTo>
                <a:lnTo>
                  <a:pt x="1060" y="928"/>
                </a:lnTo>
                <a:lnTo>
                  <a:pt x="1066" y="924"/>
                </a:lnTo>
                <a:lnTo>
                  <a:pt x="1066" y="924"/>
                </a:lnTo>
                <a:lnTo>
                  <a:pt x="1068" y="924"/>
                </a:lnTo>
                <a:lnTo>
                  <a:pt x="1068" y="924"/>
                </a:lnTo>
                <a:lnTo>
                  <a:pt x="1070" y="928"/>
                </a:lnTo>
                <a:lnTo>
                  <a:pt x="1070" y="928"/>
                </a:lnTo>
                <a:lnTo>
                  <a:pt x="1102" y="926"/>
                </a:lnTo>
                <a:lnTo>
                  <a:pt x="1102" y="926"/>
                </a:lnTo>
                <a:lnTo>
                  <a:pt x="1112" y="924"/>
                </a:lnTo>
                <a:lnTo>
                  <a:pt x="1112" y="924"/>
                </a:lnTo>
                <a:lnTo>
                  <a:pt x="1110" y="926"/>
                </a:lnTo>
                <a:lnTo>
                  <a:pt x="1108" y="928"/>
                </a:lnTo>
                <a:lnTo>
                  <a:pt x="1092" y="930"/>
                </a:lnTo>
                <a:lnTo>
                  <a:pt x="1092" y="930"/>
                </a:lnTo>
                <a:lnTo>
                  <a:pt x="1088" y="936"/>
                </a:lnTo>
                <a:lnTo>
                  <a:pt x="1088" y="936"/>
                </a:lnTo>
                <a:close/>
                <a:moveTo>
                  <a:pt x="1096" y="946"/>
                </a:moveTo>
                <a:lnTo>
                  <a:pt x="1096" y="946"/>
                </a:lnTo>
                <a:lnTo>
                  <a:pt x="1096" y="946"/>
                </a:lnTo>
                <a:lnTo>
                  <a:pt x="1096" y="946"/>
                </a:lnTo>
                <a:lnTo>
                  <a:pt x="1108" y="946"/>
                </a:lnTo>
                <a:lnTo>
                  <a:pt x="1110" y="944"/>
                </a:lnTo>
                <a:lnTo>
                  <a:pt x="1112" y="942"/>
                </a:lnTo>
                <a:lnTo>
                  <a:pt x="1112" y="942"/>
                </a:lnTo>
                <a:lnTo>
                  <a:pt x="1112" y="942"/>
                </a:lnTo>
                <a:lnTo>
                  <a:pt x="1112" y="942"/>
                </a:lnTo>
                <a:lnTo>
                  <a:pt x="1110" y="944"/>
                </a:lnTo>
                <a:lnTo>
                  <a:pt x="1108" y="946"/>
                </a:lnTo>
                <a:lnTo>
                  <a:pt x="1096" y="946"/>
                </a:lnTo>
                <a:lnTo>
                  <a:pt x="1096" y="946"/>
                </a:lnTo>
                <a:close/>
                <a:moveTo>
                  <a:pt x="1158" y="952"/>
                </a:moveTo>
                <a:lnTo>
                  <a:pt x="1158" y="952"/>
                </a:lnTo>
                <a:lnTo>
                  <a:pt x="1176" y="960"/>
                </a:lnTo>
                <a:lnTo>
                  <a:pt x="1176" y="960"/>
                </a:lnTo>
                <a:lnTo>
                  <a:pt x="1154" y="968"/>
                </a:lnTo>
                <a:lnTo>
                  <a:pt x="1154" y="968"/>
                </a:lnTo>
                <a:lnTo>
                  <a:pt x="1142" y="964"/>
                </a:lnTo>
                <a:lnTo>
                  <a:pt x="1142" y="964"/>
                </a:lnTo>
                <a:lnTo>
                  <a:pt x="1136" y="966"/>
                </a:lnTo>
                <a:lnTo>
                  <a:pt x="1136" y="966"/>
                </a:lnTo>
                <a:lnTo>
                  <a:pt x="1136" y="966"/>
                </a:lnTo>
                <a:lnTo>
                  <a:pt x="1136" y="966"/>
                </a:lnTo>
                <a:lnTo>
                  <a:pt x="1120" y="960"/>
                </a:lnTo>
                <a:lnTo>
                  <a:pt x="1120" y="960"/>
                </a:lnTo>
                <a:lnTo>
                  <a:pt x="1122" y="954"/>
                </a:lnTo>
                <a:lnTo>
                  <a:pt x="1124" y="952"/>
                </a:lnTo>
                <a:lnTo>
                  <a:pt x="1130" y="952"/>
                </a:lnTo>
                <a:lnTo>
                  <a:pt x="1138" y="952"/>
                </a:lnTo>
                <a:lnTo>
                  <a:pt x="1138" y="952"/>
                </a:lnTo>
                <a:lnTo>
                  <a:pt x="1132" y="942"/>
                </a:lnTo>
                <a:lnTo>
                  <a:pt x="1132" y="942"/>
                </a:lnTo>
                <a:lnTo>
                  <a:pt x="1142" y="942"/>
                </a:lnTo>
                <a:lnTo>
                  <a:pt x="1142" y="942"/>
                </a:lnTo>
                <a:lnTo>
                  <a:pt x="1148" y="940"/>
                </a:lnTo>
                <a:lnTo>
                  <a:pt x="1148" y="940"/>
                </a:lnTo>
                <a:lnTo>
                  <a:pt x="1154" y="944"/>
                </a:lnTo>
                <a:lnTo>
                  <a:pt x="1160" y="944"/>
                </a:lnTo>
                <a:lnTo>
                  <a:pt x="1174" y="944"/>
                </a:lnTo>
                <a:lnTo>
                  <a:pt x="1174" y="944"/>
                </a:lnTo>
                <a:lnTo>
                  <a:pt x="1182" y="946"/>
                </a:lnTo>
                <a:lnTo>
                  <a:pt x="1190" y="944"/>
                </a:lnTo>
                <a:lnTo>
                  <a:pt x="1190" y="944"/>
                </a:lnTo>
                <a:lnTo>
                  <a:pt x="1194" y="946"/>
                </a:lnTo>
                <a:lnTo>
                  <a:pt x="1196" y="950"/>
                </a:lnTo>
                <a:lnTo>
                  <a:pt x="1196" y="956"/>
                </a:lnTo>
                <a:lnTo>
                  <a:pt x="1196" y="956"/>
                </a:lnTo>
                <a:lnTo>
                  <a:pt x="1186" y="956"/>
                </a:lnTo>
                <a:lnTo>
                  <a:pt x="1176" y="956"/>
                </a:lnTo>
                <a:lnTo>
                  <a:pt x="1158" y="952"/>
                </a:lnTo>
                <a:lnTo>
                  <a:pt x="1158" y="952"/>
                </a:lnTo>
                <a:close/>
                <a:moveTo>
                  <a:pt x="1194" y="980"/>
                </a:moveTo>
                <a:lnTo>
                  <a:pt x="1194" y="980"/>
                </a:lnTo>
                <a:lnTo>
                  <a:pt x="1194" y="980"/>
                </a:lnTo>
                <a:lnTo>
                  <a:pt x="1194" y="980"/>
                </a:lnTo>
                <a:lnTo>
                  <a:pt x="1202" y="974"/>
                </a:lnTo>
                <a:lnTo>
                  <a:pt x="1206" y="970"/>
                </a:lnTo>
                <a:lnTo>
                  <a:pt x="1212" y="968"/>
                </a:lnTo>
                <a:lnTo>
                  <a:pt x="1212" y="968"/>
                </a:lnTo>
                <a:lnTo>
                  <a:pt x="1212" y="968"/>
                </a:lnTo>
                <a:lnTo>
                  <a:pt x="1212" y="968"/>
                </a:lnTo>
                <a:lnTo>
                  <a:pt x="1206" y="970"/>
                </a:lnTo>
                <a:lnTo>
                  <a:pt x="1202" y="974"/>
                </a:lnTo>
                <a:lnTo>
                  <a:pt x="1194" y="980"/>
                </a:lnTo>
                <a:lnTo>
                  <a:pt x="1194" y="980"/>
                </a:lnTo>
                <a:close/>
                <a:moveTo>
                  <a:pt x="1216" y="930"/>
                </a:moveTo>
                <a:lnTo>
                  <a:pt x="1216" y="930"/>
                </a:lnTo>
                <a:lnTo>
                  <a:pt x="1214" y="930"/>
                </a:lnTo>
                <a:lnTo>
                  <a:pt x="1214" y="930"/>
                </a:lnTo>
                <a:lnTo>
                  <a:pt x="1214" y="930"/>
                </a:lnTo>
                <a:lnTo>
                  <a:pt x="1214" y="930"/>
                </a:lnTo>
                <a:lnTo>
                  <a:pt x="1220" y="930"/>
                </a:lnTo>
                <a:lnTo>
                  <a:pt x="1220" y="928"/>
                </a:lnTo>
                <a:lnTo>
                  <a:pt x="1220" y="926"/>
                </a:lnTo>
                <a:lnTo>
                  <a:pt x="1220" y="926"/>
                </a:lnTo>
                <a:lnTo>
                  <a:pt x="1206" y="924"/>
                </a:lnTo>
                <a:lnTo>
                  <a:pt x="1206" y="924"/>
                </a:lnTo>
                <a:lnTo>
                  <a:pt x="1206" y="924"/>
                </a:lnTo>
                <a:lnTo>
                  <a:pt x="1206" y="924"/>
                </a:lnTo>
                <a:lnTo>
                  <a:pt x="1220" y="926"/>
                </a:lnTo>
                <a:lnTo>
                  <a:pt x="1220" y="926"/>
                </a:lnTo>
                <a:lnTo>
                  <a:pt x="1220" y="928"/>
                </a:lnTo>
                <a:lnTo>
                  <a:pt x="1220" y="930"/>
                </a:lnTo>
                <a:lnTo>
                  <a:pt x="1216" y="930"/>
                </a:lnTo>
                <a:lnTo>
                  <a:pt x="1216" y="930"/>
                </a:lnTo>
                <a:close/>
                <a:moveTo>
                  <a:pt x="1264" y="922"/>
                </a:moveTo>
                <a:lnTo>
                  <a:pt x="1264" y="922"/>
                </a:lnTo>
                <a:lnTo>
                  <a:pt x="1260" y="920"/>
                </a:lnTo>
                <a:lnTo>
                  <a:pt x="1260" y="920"/>
                </a:lnTo>
                <a:lnTo>
                  <a:pt x="1264" y="922"/>
                </a:lnTo>
                <a:lnTo>
                  <a:pt x="1264" y="922"/>
                </a:lnTo>
                <a:lnTo>
                  <a:pt x="1270" y="918"/>
                </a:lnTo>
                <a:lnTo>
                  <a:pt x="1270" y="918"/>
                </a:lnTo>
                <a:lnTo>
                  <a:pt x="1268" y="916"/>
                </a:lnTo>
                <a:lnTo>
                  <a:pt x="1268" y="916"/>
                </a:lnTo>
                <a:lnTo>
                  <a:pt x="1270" y="918"/>
                </a:lnTo>
                <a:lnTo>
                  <a:pt x="1270" y="918"/>
                </a:lnTo>
                <a:lnTo>
                  <a:pt x="1264" y="922"/>
                </a:lnTo>
                <a:lnTo>
                  <a:pt x="1264" y="922"/>
                </a:lnTo>
                <a:close/>
                <a:moveTo>
                  <a:pt x="1404" y="918"/>
                </a:moveTo>
                <a:lnTo>
                  <a:pt x="1404" y="918"/>
                </a:lnTo>
                <a:lnTo>
                  <a:pt x="1404" y="920"/>
                </a:lnTo>
                <a:lnTo>
                  <a:pt x="1404" y="920"/>
                </a:lnTo>
                <a:lnTo>
                  <a:pt x="1404" y="920"/>
                </a:lnTo>
                <a:lnTo>
                  <a:pt x="1404" y="920"/>
                </a:lnTo>
                <a:lnTo>
                  <a:pt x="1404" y="920"/>
                </a:lnTo>
                <a:lnTo>
                  <a:pt x="1404" y="920"/>
                </a:lnTo>
                <a:lnTo>
                  <a:pt x="1404" y="920"/>
                </a:lnTo>
                <a:lnTo>
                  <a:pt x="1404" y="920"/>
                </a:lnTo>
                <a:lnTo>
                  <a:pt x="1404" y="918"/>
                </a:lnTo>
                <a:lnTo>
                  <a:pt x="1404" y="918"/>
                </a:lnTo>
                <a:lnTo>
                  <a:pt x="1404" y="918"/>
                </a:lnTo>
                <a:lnTo>
                  <a:pt x="1404" y="918"/>
                </a:lnTo>
                <a:close/>
                <a:moveTo>
                  <a:pt x="1356" y="904"/>
                </a:moveTo>
                <a:lnTo>
                  <a:pt x="1356" y="904"/>
                </a:lnTo>
                <a:lnTo>
                  <a:pt x="1350" y="904"/>
                </a:lnTo>
                <a:lnTo>
                  <a:pt x="1344" y="902"/>
                </a:lnTo>
                <a:lnTo>
                  <a:pt x="1344" y="902"/>
                </a:lnTo>
                <a:lnTo>
                  <a:pt x="1348" y="900"/>
                </a:lnTo>
                <a:lnTo>
                  <a:pt x="1350" y="900"/>
                </a:lnTo>
                <a:lnTo>
                  <a:pt x="1356" y="904"/>
                </a:lnTo>
                <a:lnTo>
                  <a:pt x="1356" y="904"/>
                </a:lnTo>
                <a:close/>
                <a:moveTo>
                  <a:pt x="1326" y="920"/>
                </a:moveTo>
                <a:lnTo>
                  <a:pt x="1326" y="920"/>
                </a:lnTo>
                <a:lnTo>
                  <a:pt x="1326" y="922"/>
                </a:lnTo>
                <a:lnTo>
                  <a:pt x="1326" y="922"/>
                </a:lnTo>
                <a:lnTo>
                  <a:pt x="1326" y="922"/>
                </a:lnTo>
                <a:lnTo>
                  <a:pt x="1326" y="922"/>
                </a:lnTo>
                <a:lnTo>
                  <a:pt x="1326" y="920"/>
                </a:lnTo>
                <a:lnTo>
                  <a:pt x="1326" y="920"/>
                </a:lnTo>
                <a:lnTo>
                  <a:pt x="1316" y="918"/>
                </a:lnTo>
                <a:lnTo>
                  <a:pt x="1316" y="918"/>
                </a:lnTo>
                <a:lnTo>
                  <a:pt x="1316" y="918"/>
                </a:lnTo>
                <a:lnTo>
                  <a:pt x="1316" y="918"/>
                </a:lnTo>
                <a:lnTo>
                  <a:pt x="1326" y="920"/>
                </a:lnTo>
                <a:lnTo>
                  <a:pt x="1326" y="920"/>
                </a:lnTo>
                <a:close/>
                <a:moveTo>
                  <a:pt x="1308" y="920"/>
                </a:moveTo>
                <a:lnTo>
                  <a:pt x="1308" y="920"/>
                </a:lnTo>
                <a:lnTo>
                  <a:pt x="1318" y="922"/>
                </a:lnTo>
                <a:lnTo>
                  <a:pt x="1318" y="922"/>
                </a:lnTo>
                <a:lnTo>
                  <a:pt x="1318" y="922"/>
                </a:lnTo>
                <a:lnTo>
                  <a:pt x="1318" y="922"/>
                </a:lnTo>
                <a:lnTo>
                  <a:pt x="1318" y="922"/>
                </a:lnTo>
                <a:lnTo>
                  <a:pt x="1318" y="922"/>
                </a:lnTo>
                <a:lnTo>
                  <a:pt x="1318" y="926"/>
                </a:lnTo>
                <a:lnTo>
                  <a:pt x="1318" y="926"/>
                </a:lnTo>
                <a:lnTo>
                  <a:pt x="1318" y="926"/>
                </a:lnTo>
                <a:lnTo>
                  <a:pt x="1318" y="926"/>
                </a:lnTo>
                <a:lnTo>
                  <a:pt x="1318" y="922"/>
                </a:lnTo>
                <a:lnTo>
                  <a:pt x="1318" y="922"/>
                </a:lnTo>
                <a:lnTo>
                  <a:pt x="1308" y="920"/>
                </a:lnTo>
                <a:lnTo>
                  <a:pt x="1308" y="920"/>
                </a:lnTo>
                <a:lnTo>
                  <a:pt x="1308" y="920"/>
                </a:lnTo>
                <a:lnTo>
                  <a:pt x="1308" y="920"/>
                </a:lnTo>
                <a:close/>
                <a:moveTo>
                  <a:pt x="1288" y="920"/>
                </a:moveTo>
                <a:lnTo>
                  <a:pt x="1288" y="920"/>
                </a:lnTo>
                <a:lnTo>
                  <a:pt x="1288" y="920"/>
                </a:lnTo>
                <a:lnTo>
                  <a:pt x="1288" y="920"/>
                </a:lnTo>
                <a:lnTo>
                  <a:pt x="1294" y="920"/>
                </a:lnTo>
                <a:lnTo>
                  <a:pt x="1298" y="916"/>
                </a:lnTo>
                <a:lnTo>
                  <a:pt x="1298" y="916"/>
                </a:lnTo>
                <a:lnTo>
                  <a:pt x="1298" y="916"/>
                </a:lnTo>
                <a:lnTo>
                  <a:pt x="1298" y="916"/>
                </a:lnTo>
                <a:lnTo>
                  <a:pt x="1294" y="920"/>
                </a:lnTo>
                <a:lnTo>
                  <a:pt x="1288" y="920"/>
                </a:lnTo>
                <a:lnTo>
                  <a:pt x="1288" y="920"/>
                </a:lnTo>
                <a:close/>
                <a:moveTo>
                  <a:pt x="1332" y="950"/>
                </a:moveTo>
                <a:lnTo>
                  <a:pt x="1332" y="950"/>
                </a:lnTo>
                <a:lnTo>
                  <a:pt x="1322" y="946"/>
                </a:lnTo>
                <a:lnTo>
                  <a:pt x="1322" y="946"/>
                </a:lnTo>
                <a:lnTo>
                  <a:pt x="1312" y="944"/>
                </a:lnTo>
                <a:lnTo>
                  <a:pt x="1312" y="944"/>
                </a:lnTo>
                <a:lnTo>
                  <a:pt x="1300" y="942"/>
                </a:lnTo>
                <a:lnTo>
                  <a:pt x="1300" y="942"/>
                </a:lnTo>
                <a:lnTo>
                  <a:pt x="1304" y="946"/>
                </a:lnTo>
                <a:lnTo>
                  <a:pt x="1308" y="948"/>
                </a:lnTo>
                <a:lnTo>
                  <a:pt x="1318" y="950"/>
                </a:lnTo>
                <a:lnTo>
                  <a:pt x="1318" y="950"/>
                </a:lnTo>
                <a:lnTo>
                  <a:pt x="1322" y="950"/>
                </a:lnTo>
                <a:lnTo>
                  <a:pt x="1324" y="952"/>
                </a:lnTo>
                <a:lnTo>
                  <a:pt x="1324" y="954"/>
                </a:lnTo>
                <a:lnTo>
                  <a:pt x="1324" y="954"/>
                </a:lnTo>
                <a:lnTo>
                  <a:pt x="1324" y="956"/>
                </a:lnTo>
                <a:lnTo>
                  <a:pt x="1322" y="956"/>
                </a:lnTo>
                <a:lnTo>
                  <a:pt x="1316" y="956"/>
                </a:lnTo>
                <a:lnTo>
                  <a:pt x="1316" y="956"/>
                </a:lnTo>
                <a:lnTo>
                  <a:pt x="1302" y="954"/>
                </a:lnTo>
                <a:lnTo>
                  <a:pt x="1302" y="954"/>
                </a:lnTo>
                <a:lnTo>
                  <a:pt x="1288" y="940"/>
                </a:lnTo>
                <a:lnTo>
                  <a:pt x="1288" y="940"/>
                </a:lnTo>
                <a:lnTo>
                  <a:pt x="1302" y="938"/>
                </a:lnTo>
                <a:lnTo>
                  <a:pt x="1310" y="938"/>
                </a:lnTo>
                <a:lnTo>
                  <a:pt x="1316" y="940"/>
                </a:lnTo>
                <a:lnTo>
                  <a:pt x="1316" y="940"/>
                </a:lnTo>
                <a:lnTo>
                  <a:pt x="1322" y="942"/>
                </a:lnTo>
                <a:lnTo>
                  <a:pt x="1326" y="942"/>
                </a:lnTo>
                <a:lnTo>
                  <a:pt x="1326" y="942"/>
                </a:lnTo>
                <a:lnTo>
                  <a:pt x="1336" y="944"/>
                </a:lnTo>
                <a:lnTo>
                  <a:pt x="1342" y="948"/>
                </a:lnTo>
                <a:lnTo>
                  <a:pt x="1342" y="948"/>
                </a:lnTo>
                <a:lnTo>
                  <a:pt x="1332" y="950"/>
                </a:lnTo>
                <a:lnTo>
                  <a:pt x="1332" y="950"/>
                </a:lnTo>
                <a:close/>
                <a:moveTo>
                  <a:pt x="1338" y="958"/>
                </a:moveTo>
                <a:lnTo>
                  <a:pt x="1338" y="958"/>
                </a:lnTo>
                <a:lnTo>
                  <a:pt x="1338" y="958"/>
                </a:lnTo>
                <a:lnTo>
                  <a:pt x="1338" y="958"/>
                </a:lnTo>
                <a:lnTo>
                  <a:pt x="1338" y="958"/>
                </a:lnTo>
                <a:lnTo>
                  <a:pt x="1338" y="958"/>
                </a:lnTo>
                <a:lnTo>
                  <a:pt x="1342" y="956"/>
                </a:lnTo>
                <a:lnTo>
                  <a:pt x="1342" y="956"/>
                </a:lnTo>
                <a:lnTo>
                  <a:pt x="1342" y="956"/>
                </a:lnTo>
                <a:lnTo>
                  <a:pt x="1342" y="956"/>
                </a:lnTo>
                <a:lnTo>
                  <a:pt x="1338" y="958"/>
                </a:lnTo>
                <a:lnTo>
                  <a:pt x="1338" y="958"/>
                </a:lnTo>
                <a:close/>
                <a:moveTo>
                  <a:pt x="1356" y="938"/>
                </a:moveTo>
                <a:lnTo>
                  <a:pt x="1356" y="938"/>
                </a:lnTo>
                <a:lnTo>
                  <a:pt x="1342" y="932"/>
                </a:lnTo>
                <a:lnTo>
                  <a:pt x="1342" y="932"/>
                </a:lnTo>
                <a:lnTo>
                  <a:pt x="1348" y="928"/>
                </a:lnTo>
                <a:lnTo>
                  <a:pt x="1354" y="928"/>
                </a:lnTo>
                <a:lnTo>
                  <a:pt x="1360" y="930"/>
                </a:lnTo>
                <a:lnTo>
                  <a:pt x="1368" y="932"/>
                </a:lnTo>
                <a:lnTo>
                  <a:pt x="1368" y="932"/>
                </a:lnTo>
                <a:lnTo>
                  <a:pt x="1356" y="938"/>
                </a:lnTo>
                <a:lnTo>
                  <a:pt x="1356" y="938"/>
                </a:lnTo>
                <a:close/>
                <a:moveTo>
                  <a:pt x="1366" y="916"/>
                </a:moveTo>
                <a:lnTo>
                  <a:pt x="1366" y="916"/>
                </a:lnTo>
                <a:lnTo>
                  <a:pt x="1354" y="914"/>
                </a:lnTo>
                <a:lnTo>
                  <a:pt x="1354" y="914"/>
                </a:lnTo>
                <a:lnTo>
                  <a:pt x="1352" y="914"/>
                </a:lnTo>
                <a:lnTo>
                  <a:pt x="1350" y="910"/>
                </a:lnTo>
                <a:lnTo>
                  <a:pt x="1350" y="910"/>
                </a:lnTo>
                <a:lnTo>
                  <a:pt x="1368" y="912"/>
                </a:lnTo>
                <a:lnTo>
                  <a:pt x="1368" y="912"/>
                </a:lnTo>
                <a:lnTo>
                  <a:pt x="1370" y="914"/>
                </a:lnTo>
                <a:lnTo>
                  <a:pt x="1370" y="914"/>
                </a:lnTo>
                <a:lnTo>
                  <a:pt x="1370" y="914"/>
                </a:lnTo>
                <a:lnTo>
                  <a:pt x="1370" y="914"/>
                </a:lnTo>
                <a:lnTo>
                  <a:pt x="1366" y="916"/>
                </a:lnTo>
                <a:lnTo>
                  <a:pt x="1366" y="916"/>
                </a:lnTo>
                <a:close/>
                <a:moveTo>
                  <a:pt x="1370" y="914"/>
                </a:moveTo>
                <a:lnTo>
                  <a:pt x="1370" y="914"/>
                </a:lnTo>
                <a:lnTo>
                  <a:pt x="1386" y="912"/>
                </a:lnTo>
                <a:lnTo>
                  <a:pt x="1396" y="914"/>
                </a:lnTo>
                <a:lnTo>
                  <a:pt x="1396" y="914"/>
                </a:lnTo>
                <a:lnTo>
                  <a:pt x="1382" y="916"/>
                </a:lnTo>
                <a:lnTo>
                  <a:pt x="1370" y="914"/>
                </a:lnTo>
                <a:lnTo>
                  <a:pt x="1370" y="914"/>
                </a:lnTo>
                <a:close/>
                <a:moveTo>
                  <a:pt x="1394" y="930"/>
                </a:moveTo>
                <a:lnTo>
                  <a:pt x="1394" y="930"/>
                </a:lnTo>
                <a:lnTo>
                  <a:pt x="1394" y="930"/>
                </a:lnTo>
                <a:lnTo>
                  <a:pt x="1394" y="930"/>
                </a:lnTo>
                <a:lnTo>
                  <a:pt x="1398" y="932"/>
                </a:lnTo>
                <a:lnTo>
                  <a:pt x="1402" y="932"/>
                </a:lnTo>
                <a:lnTo>
                  <a:pt x="1404" y="930"/>
                </a:lnTo>
                <a:lnTo>
                  <a:pt x="1406" y="928"/>
                </a:lnTo>
                <a:lnTo>
                  <a:pt x="1406" y="928"/>
                </a:lnTo>
                <a:lnTo>
                  <a:pt x="1406" y="928"/>
                </a:lnTo>
                <a:lnTo>
                  <a:pt x="1406" y="928"/>
                </a:lnTo>
                <a:lnTo>
                  <a:pt x="1404" y="930"/>
                </a:lnTo>
                <a:lnTo>
                  <a:pt x="1402" y="932"/>
                </a:lnTo>
                <a:lnTo>
                  <a:pt x="1398" y="932"/>
                </a:lnTo>
                <a:lnTo>
                  <a:pt x="1394" y="930"/>
                </a:lnTo>
                <a:lnTo>
                  <a:pt x="1394" y="930"/>
                </a:lnTo>
                <a:close/>
                <a:moveTo>
                  <a:pt x="1380" y="974"/>
                </a:moveTo>
                <a:lnTo>
                  <a:pt x="1380" y="974"/>
                </a:lnTo>
                <a:lnTo>
                  <a:pt x="1380" y="974"/>
                </a:lnTo>
                <a:lnTo>
                  <a:pt x="1388" y="974"/>
                </a:lnTo>
                <a:lnTo>
                  <a:pt x="1388" y="974"/>
                </a:lnTo>
                <a:lnTo>
                  <a:pt x="1388" y="972"/>
                </a:lnTo>
                <a:lnTo>
                  <a:pt x="1388" y="972"/>
                </a:lnTo>
                <a:lnTo>
                  <a:pt x="1388" y="972"/>
                </a:lnTo>
                <a:lnTo>
                  <a:pt x="1388" y="972"/>
                </a:lnTo>
                <a:lnTo>
                  <a:pt x="1388" y="974"/>
                </a:lnTo>
                <a:lnTo>
                  <a:pt x="1380" y="974"/>
                </a:lnTo>
                <a:close/>
                <a:moveTo>
                  <a:pt x="1396" y="992"/>
                </a:moveTo>
                <a:lnTo>
                  <a:pt x="1396" y="992"/>
                </a:lnTo>
                <a:lnTo>
                  <a:pt x="1392" y="990"/>
                </a:lnTo>
                <a:lnTo>
                  <a:pt x="1392" y="990"/>
                </a:lnTo>
                <a:lnTo>
                  <a:pt x="1396" y="990"/>
                </a:lnTo>
                <a:lnTo>
                  <a:pt x="1396" y="990"/>
                </a:lnTo>
                <a:lnTo>
                  <a:pt x="1398" y="988"/>
                </a:lnTo>
                <a:lnTo>
                  <a:pt x="1398" y="988"/>
                </a:lnTo>
                <a:lnTo>
                  <a:pt x="1396" y="986"/>
                </a:lnTo>
                <a:lnTo>
                  <a:pt x="1396" y="986"/>
                </a:lnTo>
                <a:lnTo>
                  <a:pt x="1398" y="988"/>
                </a:lnTo>
                <a:lnTo>
                  <a:pt x="1398" y="988"/>
                </a:lnTo>
                <a:lnTo>
                  <a:pt x="1396" y="992"/>
                </a:lnTo>
                <a:lnTo>
                  <a:pt x="1396" y="992"/>
                </a:lnTo>
                <a:close/>
                <a:moveTo>
                  <a:pt x="1398" y="1050"/>
                </a:moveTo>
                <a:lnTo>
                  <a:pt x="1398" y="1050"/>
                </a:lnTo>
                <a:lnTo>
                  <a:pt x="1392" y="1046"/>
                </a:lnTo>
                <a:lnTo>
                  <a:pt x="1380" y="1044"/>
                </a:lnTo>
                <a:lnTo>
                  <a:pt x="1380" y="1044"/>
                </a:lnTo>
                <a:lnTo>
                  <a:pt x="1380" y="1044"/>
                </a:lnTo>
                <a:lnTo>
                  <a:pt x="1380" y="1044"/>
                </a:lnTo>
                <a:lnTo>
                  <a:pt x="1392" y="1046"/>
                </a:lnTo>
                <a:lnTo>
                  <a:pt x="1398" y="1050"/>
                </a:lnTo>
                <a:lnTo>
                  <a:pt x="1398" y="1050"/>
                </a:lnTo>
                <a:lnTo>
                  <a:pt x="1398" y="1050"/>
                </a:lnTo>
                <a:lnTo>
                  <a:pt x="1398" y="1050"/>
                </a:lnTo>
                <a:close/>
                <a:moveTo>
                  <a:pt x="1488" y="948"/>
                </a:moveTo>
                <a:lnTo>
                  <a:pt x="1488" y="948"/>
                </a:lnTo>
                <a:lnTo>
                  <a:pt x="1486" y="948"/>
                </a:lnTo>
                <a:lnTo>
                  <a:pt x="1486" y="948"/>
                </a:lnTo>
                <a:lnTo>
                  <a:pt x="1488" y="948"/>
                </a:lnTo>
                <a:lnTo>
                  <a:pt x="1488" y="948"/>
                </a:lnTo>
                <a:lnTo>
                  <a:pt x="1488" y="948"/>
                </a:lnTo>
                <a:lnTo>
                  <a:pt x="1486" y="950"/>
                </a:lnTo>
                <a:lnTo>
                  <a:pt x="1486" y="950"/>
                </a:lnTo>
                <a:lnTo>
                  <a:pt x="1486" y="950"/>
                </a:lnTo>
                <a:lnTo>
                  <a:pt x="1486" y="950"/>
                </a:lnTo>
                <a:lnTo>
                  <a:pt x="1488" y="948"/>
                </a:lnTo>
                <a:lnTo>
                  <a:pt x="1488" y="948"/>
                </a:lnTo>
                <a:close/>
                <a:moveTo>
                  <a:pt x="1448" y="992"/>
                </a:moveTo>
                <a:lnTo>
                  <a:pt x="1448" y="992"/>
                </a:lnTo>
                <a:lnTo>
                  <a:pt x="1448" y="992"/>
                </a:lnTo>
                <a:lnTo>
                  <a:pt x="1442" y="996"/>
                </a:lnTo>
                <a:lnTo>
                  <a:pt x="1442" y="996"/>
                </a:lnTo>
                <a:lnTo>
                  <a:pt x="1440" y="994"/>
                </a:lnTo>
                <a:lnTo>
                  <a:pt x="1440" y="994"/>
                </a:lnTo>
                <a:lnTo>
                  <a:pt x="1442" y="996"/>
                </a:lnTo>
                <a:lnTo>
                  <a:pt x="1442" y="996"/>
                </a:lnTo>
                <a:lnTo>
                  <a:pt x="1448" y="992"/>
                </a:lnTo>
                <a:lnTo>
                  <a:pt x="1448" y="992"/>
                </a:lnTo>
                <a:lnTo>
                  <a:pt x="1448" y="992"/>
                </a:lnTo>
                <a:lnTo>
                  <a:pt x="1448" y="992"/>
                </a:lnTo>
                <a:close/>
                <a:moveTo>
                  <a:pt x="1442" y="958"/>
                </a:moveTo>
                <a:lnTo>
                  <a:pt x="1442" y="958"/>
                </a:lnTo>
                <a:lnTo>
                  <a:pt x="1438" y="960"/>
                </a:lnTo>
                <a:lnTo>
                  <a:pt x="1436" y="962"/>
                </a:lnTo>
                <a:lnTo>
                  <a:pt x="1436" y="962"/>
                </a:lnTo>
                <a:lnTo>
                  <a:pt x="1438" y="966"/>
                </a:lnTo>
                <a:lnTo>
                  <a:pt x="1440" y="968"/>
                </a:lnTo>
                <a:lnTo>
                  <a:pt x="1440" y="968"/>
                </a:lnTo>
                <a:lnTo>
                  <a:pt x="1440" y="968"/>
                </a:lnTo>
                <a:lnTo>
                  <a:pt x="1440" y="968"/>
                </a:lnTo>
                <a:lnTo>
                  <a:pt x="1438" y="966"/>
                </a:lnTo>
                <a:lnTo>
                  <a:pt x="1436" y="964"/>
                </a:lnTo>
                <a:lnTo>
                  <a:pt x="1436" y="964"/>
                </a:lnTo>
                <a:lnTo>
                  <a:pt x="1438" y="960"/>
                </a:lnTo>
                <a:lnTo>
                  <a:pt x="1442" y="958"/>
                </a:lnTo>
                <a:lnTo>
                  <a:pt x="1442" y="958"/>
                </a:lnTo>
                <a:lnTo>
                  <a:pt x="1424" y="960"/>
                </a:lnTo>
                <a:lnTo>
                  <a:pt x="1424" y="960"/>
                </a:lnTo>
                <a:lnTo>
                  <a:pt x="1424" y="960"/>
                </a:lnTo>
                <a:lnTo>
                  <a:pt x="1424" y="960"/>
                </a:lnTo>
                <a:lnTo>
                  <a:pt x="1442" y="958"/>
                </a:lnTo>
                <a:lnTo>
                  <a:pt x="1442" y="958"/>
                </a:lnTo>
                <a:close/>
                <a:moveTo>
                  <a:pt x="1434" y="170"/>
                </a:moveTo>
                <a:lnTo>
                  <a:pt x="1434" y="170"/>
                </a:lnTo>
                <a:lnTo>
                  <a:pt x="1434" y="168"/>
                </a:lnTo>
                <a:lnTo>
                  <a:pt x="1434" y="168"/>
                </a:lnTo>
                <a:lnTo>
                  <a:pt x="1434" y="168"/>
                </a:lnTo>
                <a:lnTo>
                  <a:pt x="1434" y="168"/>
                </a:lnTo>
                <a:lnTo>
                  <a:pt x="1434" y="170"/>
                </a:lnTo>
                <a:lnTo>
                  <a:pt x="1426" y="170"/>
                </a:lnTo>
                <a:lnTo>
                  <a:pt x="1426" y="170"/>
                </a:lnTo>
                <a:lnTo>
                  <a:pt x="1426" y="170"/>
                </a:lnTo>
                <a:lnTo>
                  <a:pt x="1434" y="170"/>
                </a:lnTo>
                <a:close/>
                <a:moveTo>
                  <a:pt x="1412" y="944"/>
                </a:moveTo>
                <a:lnTo>
                  <a:pt x="1412" y="944"/>
                </a:lnTo>
                <a:lnTo>
                  <a:pt x="1412" y="944"/>
                </a:lnTo>
                <a:lnTo>
                  <a:pt x="1412" y="944"/>
                </a:lnTo>
                <a:lnTo>
                  <a:pt x="1418" y="938"/>
                </a:lnTo>
                <a:lnTo>
                  <a:pt x="1422" y="936"/>
                </a:lnTo>
                <a:lnTo>
                  <a:pt x="1428" y="938"/>
                </a:lnTo>
                <a:lnTo>
                  <a:pt x="1434" y="940"/>
                </a:lnTo>
                <a:lnTo>
                  <a:pt x="1434" y="940"/>
                </a:lnTo>
                <a:lnTo>
                  <a:pt x="1434" y="940"/>
                </a:lnTo>
                <a:lnTo>
                  <a:pt x="1434" y="940"/>
                </a:lnTo>
                <a:lnTo>
                  <a:pt x="1428" y="938"/>
                </a:lnTo>
                <a:lnTo>
                  <a:pt x="1422" y="936"/>
                </a:lnTo>
                <a:lnTo>
                  <a:pt x="1418" y="938"/>
                </a:lnTo>
                <a:lnTo>
                  <a:pt x="1412" y="944"/>
                </a:lnTo>
                <a:lnTo>
                  <a:pt x="1412" y="944"/>
                </a:lnTo>
                <a:close/>
                <a:moveTo>
                  <a:pt x="1410" y="1026"/>
                </a:moveTo>
                <a:lnTo>
                  <a:pt x="1410" y="1026"/>
                </a:lnTo>
                <a:lnTo>
                  <a:pt x="1410" y="1026"/>
                </a:lnTo>
                <a:lnTo>
                  <a:pt x="1410" y="1026"/>
                </a:lnTo>
                <a:lnTo>
                  <a:pt x="1418" y="1028"/>
                </a:lnTo>
                <a:lnTo>
                  <a:pt x="1422" y="1030"/>
                </a:lnTo>
                <a:lnTo>
                  <a:pt x="1426" y="1028"/>
                </a:lnTo>
                <a:lnTo>
                  <a:pt x="1426" y="1028"/>
                </a:lnTo>
                <a:lnTo>
                  <a:pt x="1420" y="1022"/>
                </a:lnTo>
                <a:lnTo>
                  <a:pt x="1420" y="1022"/>
                </a:lnTo>
                <a:lnTo>
                  <a:pt x="1426" y="1028"/>
                </a:lnTo>
                <a:lnTo>
                  <a:pt x="1426" y="1028"/>
                </a:lnTo>
                <a:lnTo>
                  <a:pt x="1422" y="1030"/>
                </a:lnTo>
                <a:lnTo>
                  <a:pt x="1418" y="1028"/>
                </a:lnTo>
                <a:lnTo>
                  <a:pt x="1410" y="1026"/>
                </a:lnTo>
                <a:lnTo>
                  <a:pt x="1410" y="1026"/>
                </a:lnTo>
                <a:close/>
                <a:moveTo>
                  <a:pt x="1426" y="974"/>
                </a:moveTo>
                <a:lnTo>
                  <a:pt x="1426" y="974"/>
                </a:lnTo>
                <a:lnTo>
                  <a:pt x="1426" y="974"/>
                </a:lnTo>
                <a:lnTo>
                  <a:pt x="1426" y="974"/>
                </a:lnTo>
                <a:lnTo>
                  <a:pt x="1430" y="974"/>
                </a:lnTo>
                <a:lnTo>
                  <a:pt x="1430" y="974"/>
                </a:lnTo>
                <a:lnTo>
                  <a:pt x="1426" y="972"/>
                </a:lnTo>
                <a:lnTo>
                  <a:pt x="1426" y="972"/>
                </a:lnTo>
                <a:lnTo>
                  <a:pt x="1426" y="972"/>
                </a:lnTo>
                <a:lnTo>
                  <a:pt x="1426" y="972"/>
                </a:lnTo>
                <a:lnTo>
                  <a:pt x="1430" y="974"/>
                </a:lnTo>
                <a:lnTo>
                  <a:pt x="1430" y="974"/>
                </a:lnTo>
                <a:lnTo>
                  <a:pt x="1426" y="974"/>
                </a:lnTo>
                <a:lnTo>
                  <a:pt x="1426" y="974"/>
                </a:lnTo>
                <a:close/>
                <a:moveTo>
                  <a:pt x="1448" y="1026"/>
                </a:moveTo>
                <a:lnTo>
                  <a:pt x="1448" y="1026"/>
                </a:lnTo>
                <a:lnTo>
                  <a:pt x="1448" y="1026"/>
                </a:lnTo>
                <a:lnTo>
                  <a:pt x="1448" y="1026"/>
                </a:lnTo>
                <a:lnTo>
                  <a:pt x="1452" y="1018"/>
                </a:lnTo>
                <a:lnTo>
                  <a:pt x="1452" y="1018"/>
                </a:lnTo>
                <a:lnTo>
                  <a:pt x="1440" y="1014"/>
                </a:lnTo>
                <a:lnTo>
                  <a:pt x="1430" y="1014"/>
                </a:lnTo>
                <a:lnTo>
                  <a:pt x="1430" y="1014"/>
                </a:lnTo>
                <a:lnTo>
                  <a:pt x="1440" y="1014"/>
                </a:lnTo>
                <a:lnTo>
                  <a:pt x="1452" y="1018"/>
                </a:lnTo>
                <a:lnTo>
                  <a:pt x="1452" y="1018"/>
                </a:lnTo>
                <a:lnTo>
                  <a:pt x="1452" y="1018"/>
                </a:lnTo>
                <a:lnTo>
                  <a:pt x="1452" y="1018"/>
                </a:lnTo>
                <a:lnTo>
                  <a:pt x="1452" y="1018"/>
                </a:lnTo>
                <a:lnTo>
                  <a:pt x="1452" y="1018"/>
                </a:lnTo>
                <a:lnTo>
                  <a:pt x="1448" y="1026"/>
                </a:lnTo>
                <a:lnTo>
                  <a:pt x="1448" y="1026"/>
                </a:lnTo>
                <a:close/>
                <a:moveTo>
                  <a:pt x="1454" y="1016"/>
                </a:moveTo>
                <a:lnTo>
                  <a:pt x="1454" y="1016"/>
                </a:lnTo>
                <a:lnTo>
                  <a:pt x="1454" y="1016"/>
                </a:lnTo>
                <a:lnTo>
                  <a:pt x="1454" y="1016"/>
                </a:lnTo>
                <a:lnTo>
                  <a:pt x="1460" y="1012"/>
                </a:lnTo>
                <a:lnTo>
                  <a:pt x="1460" y="1012"/>
                </a:lnTo>
                <a:lnTo>
                  <a:pt x="1456" y="1010"/>
                </a:lnTo>
                <a:lnTo>
                  <a:pt x="1456" y="1010"/>
                </a:lnTo>
                <a:lnTo>
                  <a:pt x="1460" y="1012"/>
                </a:lnTo>
                <a:lnTo>
                  <a:pt x="1460" y="1012"/>
                </a:lnTo>
                <a:lnTo>
                  <a:pt x="1454" y="1016"/>
                </a:lnTo>
                <a:lnTo>
                  <a:pt x="1454" y="1016"/>
                </a:lnTo>
                <a:close/>
                <a:moveTo>
                  <a:pt x="1452" y="994"/>
                </a:moveTo>
                <a:lnTo>
                  <a:pt x="1452" y="994"/>
                </a:lnTo>
                <a:lnTo>
                  <a:pt x="1452" y="994"/>
                </a:lnTo>
                <a:lnTo>
                  <a:pt x="1452" y="994"/>
                </a:lnTo>
                <a:lnTo>
                  <a:pt x="1456" y="996"/>
                </a:lnTo>
                <a:lnTo>
                  <a:pt x="1458" y="996"/>
                </a:lnTo>
                <a:lnTo>
                  <a:pt x="1464" y="996"/>
                </a:lnTo>
                <a:lnTo>
                  <a:pt x="1464" y="996"/>
                </a:lnTo>
                <a:lnTo>
                  <a:pt x="1464" y="996"/>
                </a:lnTo>
                <a:lnTo>
                  <a:pt x="1464" y="996"/>
                </a:lnTo>
                <a:lnTo>
                  <a:pt x="1458" y="996"/>
                </a:lnTo>
                <a:lnTo>
                  <a:pt x="1456" y="996"/>
                </a:lnTo>
                <a:lnTo>
                  <a:pt x="1452" y="994"/>
                </a:lnTo>
                <a:lnTo>
                  <a:pt x="1452" y="994"/>
                </a:lnTo>
                <a:close/>
                <a:moveTo>
                  <a:pt x="1466" y="966"/>
                </a:moveTo>
                <a:lnTo>
                  <a:pt x="1466" y="966"/>
                </a:lnTo>
                <a:lnTo>
                  <a:pt x="1470" y="966"/>
                </a:lnTo>
                <a:lnTo>
                  <a:pt x="1478" y="970"/>
                </a:lnTo>
                <a:lnTo>
                  <a:pt x="1478" y="970"/>
                </a:lnTo>
                <a:lnTo>
                  <a:pt x="1490" y="968"/>
                </a:lnTo>
                <a:lnTo>
                  <a:pt x="1490" y="968"/>
                </a:lnTo>
                <a:lnTo>
                  <a:pt x="1490" y="970"/>
                </a:lnTo>
                <a:lnTo>
                  <a:pt x="1488" y="972"/>
                </a:lnTo>
                <a:lnTo>
                  <a:pt x="1488" y="972"/>
                </a:lnTo>
                <a:lnTo>
                  <a:pt x="1488" y="972"/>
                </a:lnTo>
                <a:lnTo>
                  <a:pt x="1488" y="972"/>
                </a:lnTo>
                <a:lnTo>
                  <a:pt x="1490" y="968"/>
                </a:lnTo>
                <a:lnTo>
                  <a:pt x="1490" y="968"/>
                </a:lnTo>
                <a:lnTo>
                  <a:pt x="1478" y="970"/>
                </a:lnTo>
                <a:lnTo>
                  <a:pt x="1478" y="970"/>
                </a:lnTo>
                <a:lnTo>
                  <a:pt x="1470" y="966"/>
                </a:lnTo>
                <a:lnTo>
                  <a:pt x="1466" y="966"/>
                </a:lnTo>
                <a:lnTo>
                  <a:pt x="1466" y="966"/>
                </a:lnTo>
                <a:close/>
                <a:moveTo>
                  <a:pt x="1488" y="1028"/>
                </a:moveTo>
                <a:lnTo>
                  <a:pt x="1488" y="1028"/>
                </a:lnTo>
                <a:lnTo>
                  <a:pt x="1488" y="1028"/>
                </a:lnTo>
                <a:lnTo>
                  <a:pt x="1488" y="1028"/>
                </a:lnTo>
                <a:lnTo>
                  <a:pt x="1490" y="1026"/>
                </a:lnTo>
                <a:lnTo>
                  <a:pt x="1490" y="1026"/>
                </a:lnTo>
                <a:lnTo>
                  <a:pt x="1486" y="1024"/>
                </a:lnTo>
                <a:lnTo>
                  <a:pt x="1486" y="1024"/>
                </a:lnTo>
                <a:lnTo>
                  <a:pt x="1486" y="1024"/>
                </a:lnTo>
                <a:lnTo>
                  <a:pt x="1486" y="1024"/>
                </a:lnTo>
                <a:lnTo>
                  <a:pt x="1490" y="1026"/>
                </a:lnTo>
                <a:lnTo>
                  <a:pt x="1490" y="1026"/>
                </a:lnTo>
                <a:lnTo>
                  <a:pt x="1488" y="1028"/>
                </a:lnTo>
                <a:lnTo>
                  <a:pt x="1488" y="1028"/>
                </a:lnTo>
                <a:close/>
                <a:moveTo>
                  <a:pt x="1688" y="1020"/>
                </a:moveTo>
                <a:lnTo>
                  <a:pt x="1688" y="1020"/>
                </a:lnTo>
                <a:lnTo>
                  <a:pt x="1690" y="1018"/>
                </a:lnTo>
                <a:lnTo>
                  <a:pt x="1690" y="1018"/>
                </a:lnTo>
                <a:lnTo>
                  <a:pt x="1690" y="1018"/>
                </a:lnTo>
                <a:lnTo>
                  <a:pt x="1690" y="1018"/>
                </a:lnTo>
                <a:lnTo>
                  <a:pt x="1688" y="1020"/>
                </a:lnTo>
                <a:lnTo>
                  <a:pt x="1688" y="1020"/>
                </a:lnTo>
                <a:lnTo>
                  <a:pt x="1684" y="1022"/>
                </a:lnTo>
                <a:lnTo>
                  <a:pt x="1682" y="1020"/>
                </a:lnTo>
                <a:lnTo>
                  <a:pt x="1682" y="1020"/>
                </a:lnTo>
                <a:lnTo>
                  <a:pt x="1684" y="1022"/>
                </a:lnTo>
                <a:lnTo>
                  <a:pt x="1688" y="1020"/>
                </a:lnTo>
                <a:lnTo>
                  <a:pt x="1688" y="1020"/>
                </a:lnTo>
                <a:close/>
                <a:moveTo>
                  <a:pt x="1676" y="980"/>
                </a:moveTo>
                <a:lnTo>
                  <a:pt x="1676" y="980"/>
                </a:lnTo>
                <a:lnTo>
                  <a:pt x="1678" y="982"/>
                </a:lnTo>
                <a:lnTo>
                  <a:pt x="1678" y="984"/>
                </a:lnTo>
                <a:lnTo>
                  <a:pt x="1676" y="988"/>
                </a:lnTo>
                <a:lnTo>
                  <a:pt x="1676" y="988"/>
                </a:lnTo>
                <a:lnTo>
                  <a:pt x="1676" y="988"/>
                </a:lnTo>
                <a:lnTo>
                  <a:pt x="1678" y="984"/>
                </a:lnTo>
                <a:lnTo>
                  <a:pt x="1678" y="982"/>
                </a:lnTo>
                <a:lnTo>
                  <a:pt x="1674" y="980"/>
                </a:lnTo>
                <a:lnTo>
                  <a:pt x="1674" y="980"/>
                </a:lnTo>
                <a:lnTo>
                  <a:pt x="1676" y="980"/>
                </a:lnTo>
                <a:lnTo>
                  <a:pt x="1676" y="980"/>
                </a:lnTo>
                <a:close/>
                <a:moveTo>
                  <a:pt x="1678" y="1030"/>
                </a:moveTo>
                <a:lnTo>
                  <a:pt x="1678" y="1030"/>
                </a:lnTo>
                <a:lnTo>
                  <a:pt x="1678" y="1030"/>
                </a:lnTo>
                <a:lnTo>
                  <a:pt x="1678" y="1030"/>
                </a:lnTo>
                <a:lnTo>
                  <a:pt x="1672" y="1024"/>
                </a:lnTo>
                <a:lnTo>
                  <a:pt x="1666" y="1026"/>
                </a:lnTo>
                <a:lnTo>
                  <a:pt x="1666" y="1026"/>
                </a:lnTo>
                <a:lnTo>
                  <a:pt x="1658" y="1028"/>
                </a:lnTo>
                <a:lnTo>
                  <a:pt x="1658" y="1028"/>
                </a:lnTo>
                <a:lnTo>
                  <a:pt x="1658" y="1028"/>
                </a:lnTo>
                <a:lnTo>
                  <a:pt x="1658" y="1028"/>
                </a:lnTo>
                <a:lnTo>
                  <a:pt x="1666" y="1026"/>
                </a:lnTo>
                <a:lnTo>
                  <a:pt x="1666" y="1026"/>
                </a:lnTo>
                <a:lnTo>
                  <a:pt x="1672" y="1024"/>
                </a:lnTo>
                <a:lnTo>
                  <a:pt x="1678" y="1030"/>
                </a:lnTo>
                <a:lnTo>
                  <a:pt x="1678" y="1030"/>
                </a:lnTo>
                <a:close/>
                <a:moveTo>
                  <a:pt x="1664" y="1038"/>
                </a:moveTo>
                <a:lnTo>
                  <a:pt x="1664" y="1038"/>
                </a:lnTo>
                <a:lnTo>
                  <a:pt x="1662" y="1036"/>
                </a:lnTo>
                <a:lnTo>
                  <a:pt x="1662" y="1036"/>
                </a:lnTo>
                <a:lnTo>
                  <a:pt x="1664" y="1038"/>
                </a:lnTo>
                <a:lnTo>
                  <a:pt x="1664" y="1038"/>
                </a:lnTo>
                <a:lnTo>
                  <a:pt x="1660" y="1042"/>
                </a:lnTo>
                <a:lnTo>
                  <a:pt x="1654" y="1042"/>
                </a:lnTo>
                <a:lnTo>
                  <a:pt x="1654" y="1042"/>
                </a:lnTo>
                <a:lnTo>
                  <a:pt x="1660" y="1042"/>
                </a:lnTo>
                <a:lnTo>
                  <a:pt x="1664" y="1038"/>
                </a:lnTo>
                <a:lnTo>
                  <a:pt x="1664" y="1038"/>
                </a:lnTo>
                <a:close/>
                <a:moveTo>
                  <a:pt x="1650" y="1028"/>
                </a:moveTo>
                <a:lnTo>
                  <a:pt x="1650" y="1028"/>
                </a:lnTo>
                <a:lnTo>
                  <a:pt x="1650" y="1028"/>
                </a:lnTo>
                <a:lnTo>
                  <a:pt x="1654" y="1026"/>
                </a:lnTo>
                <a:lnTo>
                  <a:pt x="1656" y="1028"/>
                </a:lnTo>
                <a:lnTo>
                  <a:pt x="1656" y="1028"/>
                </a:lnTo>
                <a:lnTo>
                  <a:pt x="1656" y="1028"/>
                </a:lnTo>
                <a:lnTo>
                  <a:pt x="1654" y="1026"/>
                </a:lnTo>
                <a:lnTo>
                  <a:pt x="1650" y="1028"/>
                </a:lnTo>
                <a:lnTo>
                  <a:pt x="1650" y="1028"/>
                </a:lnTo>
                <a:close/>
                <a:moveTo>
                  <a:pt x="1612" y="1004"/>
                </a:moveTo>
                <a:lnTo>
                  <a:pt x="1612" y="1004"/>
                </a:lnTo>
                <a:lnTo>
                  <a:pt x="1616" y="1002"/>
                </a:lnTo>
                <a:lnTo>
                  <a:pt x="1616" y="1002"/>
                </a:lnTo>
                <a:lnTo>
                  <a:pt x="1618" y="1000"/>
                </a:lnTo>
                <a:lnTo>
                  <a:pt x="1618" y="1000"/>
                </a:lnTo>
                <a:lnTo>
                  <a:pt x="1616" y="1000"/>
                </a:lnTo>
                <a:lnTo>
                  <a:pt x="1616" y="1000"/>
                </a:lnTo>
                <a:lnTo>
                  <a:pt x="1616" y="1000"/>
                </a:lnTo>
                <a:lnTo>
                  <a:pt x="1616" y="1000"/>
                </a:lnTo>
                <a:lnTo>
                  <a:pt x="1618" y="1000"/>
                </a:lnTo>
                <a:lnTo>
                  <a:pt x="1618" y="1000"/>
                </a:lnTo>
                <a:lnTo>
                  <a:pt x="1616" y="1002"/>
                </a:lnTo>
                <a:lnTo>
                  <a:pt x="1616" y="1002"/>
                </a:lnTo>
                <a:lnTo>
                  <a:pt x="1612" y="1004"/>
                </a:lnTo>
                <a:lnTo>
                  <a:pt x="1612" y="1004"/>
                </a:lnTo>
                <a:lnTo>
                  <a:pt x="1612" y="1004"/>
                </a:lnTo>
                <a:lnTo>
                  <a:pt x="1612" y="1004"/>
                </a:lnTo>
                <a:close/>
                <a:moveTo>
                  <a:pt x="1578" y="996"/>
                </a:moveTo>
                <a:lnTo>
                  <a:pt x="1578" y="996"/>
                </a:lnTo>
                <a:lnTo>
                  <a:pt x="1578" y="996"/>
                </a:lnTo>
                <a:lnTo>
                  <a:pt x="1578" y="996"/>
                </a:lnTo>
                <a:lnTo>
                  <a:pt x="1570" y="994"/>
                </a:lnTo>
                <a:lnTo>
                  <a:pt x="1564" y="994"/>
                </a:lnTo>
                <a:lnTo>
                  <a:pt x="1546" y="998"/>
                </a:lnTo>
                <a:lnTo>
                  <a:pt x="1546" y="998"/>
                </a:lnTo>
                <a:lnTo>
                  <a:pt x="1546" y="998"/>
                </a:lnTo>
                <a:lnTo>
                  <a:pt x="1546" y="998"/>
                </a:lnTo>
                <a:lnTo>
                  <a:pt x="1564" y="994"/>
                </a:lnTo>
                <a:lnTo>
                  <a:pt x="1570" y="994"/>
                </a:lnTo>
                <a:lnTo>
                  <a:pt x="1578" y="996"/>
                </a:lnTo>
                <a:lnTo>
                  <a:pt x="1578" y="996"/>
                </a:lnTo>
                <a:close/>
                <a:moveTo>
                  <a:pt x="1572" y="1006"/>
                </a:moveTo>
                <a:lnTo>
                  <a:pt x="1572" y="1006"/>
                </a:lnTo>
                <a:lnTo>
                  <a:pt x="1572" y="1006"/>
                </a:lnTo>
                <a:lnTo>
                  <a:pt x="1572" y="1006"/>
                </a:lnTo>
                <a:lnTo>
                  <a:pt x="1570" y="1002"/>
                </a:lnTo>
                <a:lnTo>
                  <a:pt x="1570" y="1000"/>
                </a:lnTo>
                <a:lnTo>
                  <a:pt x="1570" y="1000"/>
                </a:lnTo>
                <a:lnTo>
                  <a:pt x="1570" y="1002"/>
                </a:lnTo>
                <a:lnTo>
                  <a:pt x="1572" y="1006"/>
                </a:lnTo>
                <a:lnTo>
                  <a:pt x="1572" y="1006"/>
                </a:lnTo>
                <a:close/>
                <a:moveTo>
                  <a:pt x="1544" y="964"/>
                </a:moveTo>
                <a:lnTo>
                  <a:pt x="1544" y="964"/>
                </a:lnTo>
                <a:lnTo>
                  <a:pt x="1546" y="966"/>
                </a:lnTo>
                <a:lnTo>
                  <a:pt x="1546" y="966"/>
                </a:lnTo>
                <a:lnTo>
                  <a:pt x="1538" y="978"/>
                </a:lnTo>
                <a:lnTo>
                  <a:pt x="1538" y="978"/>
                </a:lnTo>
                <a:lnTo>
                  <a:pt x="1550" y="976"/>
                </a:lnTo>
                <a:lnTo>
                  <a:pt x="1562" y="978"/>
                </a:lnTo>
                <a:lnTo>
                  <a:pt x="1562" y="978"/>
                </a:lnTo>
                <a:lnTo>
                  <a:pt x="1556" y="982"/>
                </a:lnTo>
                <a:lnTo>
                  <a:pt x="1550" y="984"/>
                </a:lnTo>
                <a:lnTo>
                  <a:pt x="1538" y="986"/>
                </a:lnTo>
                <a:lnTo>
                  <a:pt x="1538" y="986"/>
                </a:lnTo>
                <a:lnTo>
                  <a:pt x="1522" y="970"/>
                </a:lnTo>
                <a:lnTo>
                  <a:pt x="1522" y="970"/>
                </a:lnTo>
                <a:lnTo>
                  <a:pt x="1544" y="964"/>
                </a:lnTo>
                <a:lnTo>
                  <a:pt x="1544" y="964"/>
                </a:lnTo>
                <a:close/>
                <a:moveTo>
                  <a:pt x="1544" y="1010"/>
                </a:moveTo>
                <a:lnTo>
                  <a:pt x="1544" y="1010"/>
                </a:lnTo>
                <a:lnTo>
                  <a:pt x="1544" y="1010"/>
                </a:lnTo>
                <a:lnTo>
                  <a:pt x="1544" y="1010"/>
                </a:lnTo>
                <a:lnTo>
                  <a:pt x="1546" y="1014"/>
                </a:lnTo>
                <a:lnTo>
                  <a:pt x="1546" y="1014"/>
                </a:lnTo>
                <a:lnTo>
                  <a:pt x="1542" y="1016"/>
                </a:lnTo>
                <a:lnTo>
                  <a:pt x="1542" y="1016"/>
                </a:lnTo>
                <a:lnTo>
                  <a:pt x="1542" y="1016"/>
                </a:lnTo>
                <a:lnTo>
                  <a:pt x="1546" y="1014"/>
                </a:lnTo>
                <a:lnTo>
                  <a:pt x="1546" y="1014"/>
                </a:lnTo>
                <a:lnTo>
                  <a:pt x="1544" y="1010"/>
                </a:lnTo>
                <a:lnTo>
                  <a:pt x="1544" y="1010"/>
                </a:lnTo>
                <a:close/>
                <a:moveTo>
                  <a:pt x="1520" y="948"/>
                </a:moveTo>
                <a:lnTo>
                  <a:pt x="1520" y="948"/>
                </a:lnTo>
                <a:lnTo>
                  <a:pt x="1522" y="948"/>
                </a:lnTo>
                <a:lnTo>
                  <a:pt x="1522" y="948"/>
                </a:lnTo>
                <a:lnTo>
                  <a:pt x="1524" y="950"/>
                </a:lnTo>
                <a:lnTo>
                  <a:pt x="1524" y="950"/>
                </a:lnTo>
                <a:lnTo>
                  <a:pt x="1520" y="952"/>
                </a:lnTo>
                <a:lnTo>
                  <a:pt x="1520" y="952"/>
                </a:lnTo>
                <a:lnTo>
                  <a:pt x="1520" y="952"/>
                </a:lnTo>
                <a:lnTo>
                  <a:pt x="1520" y="952"/>
                </a:lnTo>
                <a:lnTo>
                  <a:pt x="1522" y="950"/>
                </a:lnTo>
                <a:lnTo>
                  <a:pt x="1522" y="950"/>
                </a:lnTo>
                <a:lnTo>
                  <a:pt x="1520" y="948"/>
                </a:lnTo>
                <a:lnTo>
                  <a:pt x="1520" y="948"/>
                </a:lnTo>
                <a:close/>
                <a:moveTo>
                  <a:pt x="1528" y="1016"/>
                </a:moveTo>
                <a:lnTo>
                  <a:pt x="1528" y="1016"/>
                </a:lnTo>
                <a:lnTo>
                  <a:pt x="1528" y="1014"/>
                </a:lnTo>
                <a:lnTo>
                  <a:pt x="1528" y="1014"/>
                </a:lnTo>
                <a:lnTo>
                  <a:pt x="1526" y="1020"/>
                </a:lnTo>
                <a:lnTo>
                  <a:pt x="1520" y="1022"/>
                </a:lnTo>
                <a:lnTo>
                  <a:pt x="1520" y="1022"/>
                </a:lnTo>
                <a:lnTo>
                  <a:pt x="1526" y="1020"/>
                </a:lnTo>
                <a:lnTo>
                  <a:pt x="1528" y="1016"/>
                </a:lnTo>
                <a:lnTo>
                  <a:pt x="1528" y="1016"/>
                </a:lnTo>
                <a:close/>
                <a:moveTo>
                  <a:pt x="1612" y="1022"/>
                </a:moveTo>
                <a:lnTo>
                  <a:pt x="1612" y="1022"/>
                </a:lnTo>
                <a:lnTo>
                  <a:pt x="1608" y="1022"/>
                </a:lnTo>
                <a:lnTo>
                  <a:pt x="1608" y="1022"/>
                </a:lnTo>
                <a:lnTo>
                  <a:pt x="1600" y="1024"/>
                </a:lnTo>
                <a:lnTo>
                  <a:pt x="1592" y="1024"/>
                </a:lnTo>
                <a:lnTo>
                  <a:pt x="1574" y="1022"/>
                </a:lnTo>
                <a:lnTo>
                  <a:pt x="1574" y="1022"/>
                </a:lnTo>
                <a:lnTo>
                  <a:pt x="1572" y="1022"/>
                </a:lnTo>
                <a:lnTo>
                  <a:pt x="1572" y="1022"/>
                </a:lnTo>
                <a:lnTo>
                  <a:pt x="1572" y="1022"/>
                </a:lnTo>
                <a:lnTo>
                  <a:pt x="1570" y="1028"/>
                </a:lnTo>
                <a:lnTo>
                  <a:pt x="1570" y="1028"/>
                </a:lnTo>
                <a:lnTo>
                  <a:pt x="1564" y="1034"/>
                </a:lnTo>
                <a:lnTo>
                  <a:pt x="1564" y="1034"/>
                </a:lnTo>
                <a:lnTo>
                  <a:pt x="1548" y="1030"/>
                </a:lnTo>
                <a:lnTo>
                  <a:pt x="1548" y="1030"/>
                </a:lnTo>
                <a:lnTo>
                  <a:pt x="1542" y="1030"/>
                </a:lnTo>
                <a:lnTo>
                  <a:pt x="1536" y="1032"/>
                </a:lnTo>
                <a:lnTo>
                  <a:pt x="1530" y="1034"/>
                </a:lnTo>
                <a:lnTo>
                  <a:pt x="1524" y="1032"/>
                </a:lnTo>
                <a:lnTo>
                  <a:pt x="1524" y="1032"/>
                </a:lnTo>
                <a:lnTo>
                  <a:pt x="1526" y="1028"/>
                </a:lnTo>
                <a:lnTo>
                  <a:pt x="1530" y="1026"/>
                </a:lnTo>
                <a:lnTo>
                  <a:pt x="1538" y="1026"/>
                </a:lnTo>
                <a:lnTo>
                  <a:pt x="1538" y="1026"/>
                </a:lnTo>
                <a:lnTo>
                  <a:pt x="1544" y="1020"/>
                </a:lnTo>
                <a:lnTo>
                  <a:pt x="1544" y="1020"/>
                </a:lnTo>
                <a:lnTo>
                  <a:pt x="1548" y="1018"/>
                </a:lnTo>
                <a:lnTo>
                  <a:pt x="1550" y="1016"/>
                </a:lnTo>
                <a:lnTo>
                  <a:pt x="1554" y="1018"/>
                </a:lnTo>
                <a:lnTo>
                  <a:pt x="1556" y="1020"/>
                </a:lnTo>
                <a:lnTo>
                  <a:pt x="1556" y="1020"/>
                </a:lnTo>
                <a:lnTo>
                  <a:pt x="1562" y="1024"/>
                </a:lnTo>
                <a:lnTo>
                  <a:pt x="1564" y="1024"/>
                </a:lnTo>
                <a:lnTo>
                  <a:pt x="1568" y="1022"/>
                </a:lnTo>
                <a:lnTo>
                  <a:pt x="1568" y="1022"/>
                </a:lnTo>
                <a:lnTo>
                  <a:pt x="1566" y="1018"/>
                </a:lnTo>
                <a:lnTo>
                  <a:pt x="1564" y="1016"/>
                </a:lnTo>
                <a:lnTo>
                  <a:pt x="1554" y="1014"/>
                </a:lnTo>
                <a:lnTo>
                  <a:pt x="1554" y="1014"/>
                </a:lnTo>
                <a:lnTo>
                  <a:pt x="1556" y="1012"/>
                </a:lnTo>
                <a:lnTo>
                  <a:pt x="1556" y="1012"/>
                </a:lnTo>
                <a:lnTo>
                  <a:pt x="1566" y="1012"/>
                </a:lnTo>
                <a:lnTo>
                  <a:pt x="1574" y="1010"/>
                </a:lnTo>
                <a:lnTo>
                  <a:pt x="1588" y="1002"/>
                </a:lnTo>
                <a:lnTo>
                  <a:pt x="1588" y="1002"/>
                </a:lnTo>
                <a:lnTo>
                  <a:pt x="1596" y="1000"/>
                </a:lnTo>
                <a:lnTo>
                  <a:pt x="1608" y="1000"/>
                </a:lnTo>
                <a:lnTo>
                  <a:pt x="1608" y="1000"/>
                </a:lnTo>
                <a:lnTo>
                  <a:pt x="1600" y="1006"/>
                </a:lnTo>
                <a:lnTo>
                  <a:pt x="1592" y="1008"/>
                </a:lnTo>
                <a:lnTo>
                  <a:pt x="1592" y="1008"/>
                </a:lnTo>
                <a:lnTo>
                  <a:pt x="1600" y="1010"/>
                </a:lnTo>
                <a:lnTo>
                  <a:pt x="1602" y="1012"/>
                </a:lnTo>
                <a:lnTo>
                  <a:pt x="1604" y="1014"/>
                </a:lnTo>
                <a:lnTo>
                  <a:pt x="1604" y="1014"/>
                </a:lnTo>
                <a:lnTo>
                  <a:pt x="1606" y="1016"/>
                </a:lnTo>
                <a:lnTo>
                  <a:pt x="1606" y="1016"/>
                </a:lnTo>
                <a:lnTo>
                  <a:pt x="1620" y="1016"/>
                </a:lnTo>
                <a:lnTo>
                  <a:pt x="1620" y="1016"/>
                </a:lnTo>
                <a:lnTo>
                  <a:pt x="1626" y="1016"/>
                </a:lnTo>
                <a:lnTo>
                  <a:pt x="1632" y="1012"/>
                </a:lnTo>
                <a:lnTo>
                  <a:pt x="1632" y="1012"/>
                </a:lnTo>
                <a:lnTo>
                  <a:pt x="1638" y="1008"/>
                </a:lnTo>
                <a:lnTo>
                  <a:pt x="1646" y="1006"/>
                </a:lnTo>
                <a:lnTo>
                  <a:pt x="1646" y="1006"/>
                </a:lnTo>
                <a:lnTo>
                  <a:pt x="1664" y="1010"/>
                </a:lnTo>
                <a:lnTo>
                  <a:pt x="1664" y="1010"/>
                </a:lnTo>
                <a:lnTo>
                  <a:pt x="1664" y="1012"/>
                </a:lnTo>
                <a:lnTo>
                  <a:pt x="1662" y="1014"/>
                </a:lnTo>
                <a:lnTo>
                  <a:pt x="1658" y="1014"/>
                </a:lnTo>
                <a:lnTo>
                  <a:pt x="1658" y="1014"/>
                </a:lnTo>
                <a:lnTo>
                  <a:pt x="1646" y="1016"/>
                </a:lnTo>
                <a:lnTo>
                  <a:pt x="1634" y="1018"/>
                </a:lnTo>
                <a:lnTo>
                  <a:pt x="1624" y="1020"/>
                </a:lnTo>
                <a:lnTo>
                  <a:pt x="1612" y="1022"/>
                </a:lnTo>
                <a:lnTo>
                  <a:pt x="1612" y="1022"/>
                </a:lnTo>
                <a:close/>
                <a:moveTo>
                  <a:pt x="1646" y="1036"/>
                </a:moveTo>
                <a:lnTo>
                  <a:pt x="1646" y="1036"/>
                </a:lnTo>
                <a:lnTo>
                  <a:pt x="1646" y="1036"/>
                </a:lnTo>
                <a:lnTo>
                  <a:pt x="1646" y="1036"/>
                </a:lnTo>
                <a:lnTo>
                  <a:pt x="1654" y="1034"/>
                </a:lnTo>
                <a:lnTo>
                  <a:pt x="1654" y="1034"/>
                </a:lnTo>
                <a:lnTo>
                  <a:pt x="1652" y="1032"/>
                </a:lnTo>
                <a:lnTo>
                  <a:pt x="1652" y="1032"/>
                </a:lnTo>
                <a:lnTo>
                  <a:pt x="1652" y="1032"/>
                </a:lnTo>
                <a:lnTo>
                  <a:pt x="1652" y="1032"/>
                </a:lnTo>
                <a:lnTo>
                  <a:pt x="1654" y="1034"/>
                </a:lnTo>
                <a:lnTo>
                  <a:pt x="1654" y="1034"/>
                </a:lnTo>
                <a:lnTo>
                  <a:pt x="1646" y="1036"/>
                </a:lnTo>
                <a:lnTo>
                  <a:pt x="1646" y="1036"/>
                </a:lnTo>
                <a:close/>
                <a:moveTo>
                  <a:pt x="1652" y="1062"/>
                </a:moveTo>
                <a:lnTo>
                  <a:pt x="1652" y="1062"/>
                </a:lnTo>
                <a:lnTo>
                  <a:pt x="1652" y="1062"/>
                </a:lnTo>
                <a:lnTo>
                  <a:pt x="1652" y="1062"/>
                </a:lnTo>
                <a:lnTo>
                  <a:pt x="1658" y="1060"/>
                </a:lnTo>
                <a:lnTo>
                  <a:pt x="1658" y="1058"/>
                </a:lnTo>
                <a:lnTo>
                  <a:pt x="1658" y="1058"/>
                </a:lnTo>
                <a:lnTo>
                  <a:pt x="1658" y="1060"/>
                </a:lnTo>
                <a:lnTo>
                  <a:pt x="1652" y="1062"/>
                </a:lnTo>
                <a:lnTo>
                  <a:pt x="1652" y="1062"/>
                </a:lnTo>
                <a:close/>
                <a:moveTo>
                  <a:pt x="1664" y="1050"/>
                </a:moveTo>
                <a:lnTo>
                  <a:pt x="1664" y="1050"/>
                </a:lnTo>
                <a:lnTo>
                  <a:pt x="1662" y="1050"/>
                </a:lnTo>
                <a:lnTo>
                  <a:pt x="1662" y="1050"/>
                </a:lnTo>
                <a:lnTo>
                  <a:pt x="1664" y="1050"/>
                </a:lnTo>
                <a:lnTo>
                  <a:pt x="1664" y="1050"/>
                </a:lnTo>
                <a:lnTo>
                  <a:pt x="1668" y="1048"/>
                </a:lnTo>
                <a:lnTo>
                  <a:pt x="1668" y="1048"/>
                </a:lnTo>
                <a:lnTo>
                  <a:pt x="1668" y="1046"/>
                </a:lnTo>
                <a:lnTo>
                  <a:pt x="1666" y="1046"/>
                </a:lnTo>
                <a:lnTo>
                  <a:pt x="1666" y="1046"/>
                </a:lnTo>
                <a:lnTo>
                  <a:pt x="1668" y="1046"/>
                </a:lnTo>
                <a:lnTo>
                  <a:pt x="1668" y="1048"/>
                </a:lnTo>
                <a:lnTo>
                  <a:pt x="1668" y="1048"/>
                </a:lnTo>
                <a:lnTo>
                  <a:pt x="1664" y="1050"/>
                </a:lnTo>
                <a:lnTo>
                  <a:pt x="1664" y="1050"/>
                </a:lnTo>
                <a:close/>
                <a:moveTo>
                  <a:pt x="1670" y="1040"/>
                </a:moveTo>
                <a:lnTo>
                  <a:pt x="1670" y="1040"/>
                </a:lnTo>
                <a:lnTo>
                  <a:pt x="1670" y="1040"/>
                </a:lnTo>
                <a:lnTo>
                  <a:pt x="1670" y="1040"/>
                </a:lnTo>
                <a:lnTo>
                  <a:pt x="1678" y="1038"/>
                </a:lnTo>
                <a:lnTo>
                  <a:pt x="1678" y="1038"/>
                </a:lnTo>
                <a:lnTo>
                  <a:pt x="1678" y="1036"/>
                </a:lnTo>
                <a:lnTo>
                  <a:pt x="1678" y="1036"/>
                </a:lnTo>
                <a:lnTo>
                  <a:pt x="1678" y="1036"/>
                </a:lnTo>
                <a:lnTo>
                  <a:pt x="1678" y="1036"/>
                </a:lnTo>
                <a:lnTo>
                  <a:pt x="1678" y="1038"/>
                </a:lnTo>
                <a:lnTo>
                  <a:pt x="1678" y="1038"/>
                </a:lnTo>
                <a:lnTo>
                  <a:pt x="1670" y="1040"/>
                </a:lnTo>
                <a:lnTo>
                  <a:pt x="1670" y="1040"/>
                </a:lnTo>
                <a:close/>
                <a:moveTo>
                  <a:pt x="1708" y="1062"/>
                </a:moveTo>
                <a:lnTo>
                  <a:pt x="1708" y="1062"/>
                </a:lnTo>
                <a:lnTo>
                  <a:pt x="1708" y="1062"/>
                </a:lnTo>
                <a:lnTo>
                  <a:pt x="1708" y="1062"/>
                </a:lnTo>
                <a:lnTo>
                  <a:pt x="1712" y="1056"/>
                </a:lnTo>
                <a:lnTo>
                  <a:pt x="1712" y="1056"/>
                </a:lnTo>
                <a:lnTo>
                  <a:pt x="1712" y="1056"/>
                </a:lnTo>
                <a:lnTo>
                  <a:pt x="1690" y="1058"/>
                </a:lnTo>
                <a:lnTo>
                  <a:pt x="1690" y="1058"/>
                </a:lnTo>
                <a:lnTo>
                  <a:pt x="1684" y="1058"/>
                </a:lnTo>
                <a:lnTo>
                  <a:pt x="1684" y="1058"/>
                </a:lnTo>
                <a:lnTo>
                  <a:pt x="1678" y="1056"/>
                </a:lnTo>
                <a:lnTo>
                  <a:pt x="1674" y="1058"/>
                </a:lnTo>
                <a:lnTo>
                  <a:pt x="1674" y="1058"/>
                </a:lnTo>
                <a:lnTo>
                  <a:pt x="1678" y="1056"/>
                </a:lnTo>
                <a:lnTo>
                  <a:pt x="1684" y="1058"/>
                </a:lnTo>
                <a:lnTo>
                  <a:pt x="1684" y="1058"/>
                </a:lnTo>
                <a:lnTo>
                  <a:pt x="1690" y="1058"/>
                </a:lnTo>
                <a:lnTo>
                  <a:pt x="1690" y="1058"/>
                </a:lnTo>
                <a:lnTo>
                  <a:pt x="1712" y="1056"/>
                </a:lnTo>
                <a:lnTo>
                  <a:pt x="1712" y="1056"/>
                </a:lnTo>
                <a:lnTo>
                  <a:pt x="1708" y="1062"/>
                </a:lnTo>
                <a:lnTo>
                  <a:pt x="1708" y="1062"/>
                </a:lnTo>
                <a:close/>
                <a:moveTo>
                  <a:pt x="1704" y="1038"/>
                </a:moveTo>
                <a:lnTo>
                  <a:pt x="1704" y="1038"/>
                </a:lnTo>
                <a:lnTo>
                  <a:pt x="1708" y="1038"/>
                </a:lnTo>
                <a:lnTo>
                  <a:pt x="1708" y="1038"/>
                </a:lnTo>
                <a:lnTo>
                  <a:pt x="1702" y="1040"/>
                </a:lnTo>
                <a:lnTo>
                  <a:pt x="1696" y="1040"/>
                </a:lnTo>
                <a:lnTo>
                  <a:pt x="1696" y="1040"/>
                </a:lnTo>
                <a:lnTo>
                  <a:pt x="1702" y="1040"/>
                </a:lnTo>
                <a:lnTo>
                  <a:pt x="1708" y="1038"/>
                </a:lnTo>
                <a:lnTo>
                  <a:pt x="1708" y="1038"/>
                </a:lnTo>
                <a:lnTo>
                  <a:pt x="1704" y="1038"/>
                </a:lnTo>
                <a:lnTo>
                  <a:pt x="1704" y="1038"/>
                </a:lnTo>
                <a:close/>
                <a:moveTo>
                  <a:pt x="1704" y="1046"/>
                </a:moveTo>
                <a:lnTo>
                  <a:pt x="1704" y="1046"/>
                </a:lnTo>
                <a:lnTo>
                  <a:pt x="1704" y="1046"/>
                </a:lnTo>
                <a:lnTo>
                  <a:pt x="1704" y="1046"/>
                </a:lnTo>
                <a:lnTo>
                  <a:pt x="1708" y="1048"/>
                </a:lnTo>
                <a:lnTo>
                  <a:pt x="1708" y="1048"/>
                </a:lnTo>
                <a:lnTo>
                  <a:pt x="1706" y="1050"/>
                </a:lnTo>
                <a:lnTo>
                  <a:pt x="1706" y="1050"/>
                </a:lnTo>
                <a:lnTo>
                  <a:pt x="1706" y="1050"/>
                </a:lnTo>
                <a:lnTo>
                  <a:pt x="1706" y="1050"/>
                </a:lnTo>
                <a:lnTo>
                  <a:pt x="1708" y="1048"/>
                </a:lnTo>
                <a:lnTo>
                  <a:pt x="1708" y="1048"/>
                </a:lnTo>
                <a:lnTo>
                  <a:pt x="1704" y="1046"/>
                </a:lnTo>
                <a:lnTo>
                  <a:pt x="1704" y="1046"/>
                </a:lnTo>
                <a:close/>
                <a:moveTo>
                  <a:pt x="1716" y="1020"/>
                </a:moveTo>
                <a:lnTo>
                  <a:pt x="1716" y="1020"/>
                </a:lnTo>
                <a:lnTo>
                  <a:pt x="1712" y="1018"/>
                </a:lnTo>
                <a:lnTo>
                  <a:pt x="1710" y="1016"/>
                </a:lnTo>
                <a:lnTo>
                  <a:pt x="1706" y="1016"/>
                </a:lnTo>
                <a:lnTo>
                  <a:pt x="1702" y="1020"/>
                </a:lnTo>
                <a:lnTo>
                  <a:pt x="1702" y="1020"/>
                </a:lnTo>
                <a:lnTo>
                  <a:pt x="1694" y="1022"/>
                </a:lnTo>
                <a:lnTo>
                  <a:pt x="1694" y="1022"/>
                </a:lnTo>
                <a:lnTo>
                  <a:pt x="1688" y="1026"/>
                </a:lnTo>
                <a:lnTo>
                  <a:pt x="1688" y="1026"/>
                </a:lnTo>
                <a:lnTo>
                  <a:pt x="1688" y="1026"/>
                </a:lnTo>
                <a:lnTo>
                  <a:pt x="1688" y="1026"/>
                </a:lnTo>
                <a:lnTo>
                  <a:pt x="1694" y="1022"/>
                </a:lnTo>
                <a:lnTo>
                  <a:pt x="1694" y="1022"/>
                </a:lnTo>
                <a:lnTo>
                  <a:pt x="1702" y="1020"/>
                </a:lnTo>
                <a:lnTo>
                  <a:pt x="1702" y="1020"/>
                </a:lnTo>
                <a:lnTo>
                  <a:pt x="1706" y="1016"/>
                </a:lnTo>
                <a:lnTo>
                  <a:pt x="1710" y="1016"/>
                </a:lnTo>
                <a:lnTo>
                  <a:pt x="1712" y="1018"/>
                </a:lnTo>
                <a:lnTo>
                  <a:pt x="1716" y="1020"/>
                </a:lnTo>
                <a:lnTo>
                  <a:pt x="1716" y="1020"/>
                </a:lnTo>
                <a:lnTo>
                  <a:pt x="1716" y="1020"/>
                </a:lnTo>
                <a:lnTo>
                  <a:pt x="1716" y="1020"/>
                </a:lnTo>
                <a:close/>
                <a:moveTo>
                  <a:pt x="1738" y="1020"/>
                </a:moveTo>
                <a:lnTo>
                  <a:pt x="1738" y="1020"/>
                </a:lnTo>
                <a:lnTo>
                  <a:pt x="1736" y="1020"/>
                </a:lnTo>
                <a:lnTo>
                  <a:pt x="1736" y="1020"/>
                </a:lnTo>
                <a:lnTo>
                  <a:pt x="1740" y="1018"/>
                </a:lnTo>
                <a:lnTo>
                  <a:pt x="1740" y="1018"/>
                </a:lnTo>
                <a:lnTo>
                  <a:pt x="1736" y="1016"/>
                </a:lnTo>
                <a:lnTo>
                  <a:pt x="1736" y="1016"/>
                </a:lnTo>
                <a:lnTo>
                  <a:pt x="1736" y="1016"/>
                </a:lnTo>
                <a:lnTo>
                  <a:pt x="1736" y="1016"/>
                </a:lnTo>
                <a:lnTo>
                  <a:pt x="1740" y="1018"/>
                </a:lnTo>
                <a:lnTo>
                  <a:pt x="1740" y="1018"/>
                </a:lnTo>
                <a:lnTo>
                  <a:pt x="1738" y="1020"/>
                </a:lnTo>
                <a:lnTo>
                  <a:pt x="1738" y="1020"/>
                </a:lnTo>
                <a:close/>
                <a:moveTo>
                  <a:pt x="1798" y="1260"/>
                </a:moveTo>
                <a:lnTo>
                  <a:pt x="1798" y="1260"/>
                </a:lnTo>
                <a:lnTo>
                  <a:pt x="1798" y="1260"/>
                </a:lnTo>
                <a:lnTo>
                  <a:pt x="1798" y="1260"/>
                </a:lnTo>
                <a:lnTo>
                  <a:pt x="1800" y="1262"/>
                </a:lnTo>
                <a:lnTo>
                  <a:pt x="1800" y="1262"/>
                </a:lnTo>
                <a:lnTo>
                  <a:pt x="1798" y="1264"/>
                </a:lnTo>
                <a:lnTo>
                  <a:pt x="1798" y="1264"/>
                </a:lnTo>
                <a:lnTo>
                  <a:pt x="1798" y="1264"/>
                </a:lnTo>
                <a:lnTo>
                  <a:pt x="1798" y="1264"/>
                </a:lnTo>
                <a:lnTo>
                  <a:pt x="1800" y="1262"/>
                </a:lnTo>
                <a:lnTo>
                  <a:pt x="1800" y="1262"/>
                </a:lnTo>
                <a:lnTo>
                  <a:pt x="1798" y="1260"/>
                </a:lnTo>
                <a:lnTo>
                  <a:pt x="1798" y="1260"/>
                </a:lnTo>
                <a:close/>
                <a:moveTo>
                  <a:pt x="1796" y="1224"/>
                </a:moveTo>
                <a:lnTo>
                  <a:pt x="1796" y="1224"/>
                </a:lnTo>
                <a:lnTo>
                  <a:pt x="1796" y="1224"/>
                </a:lnTo>
                <a:lnTo>
                  <a:pt x="1796" y="1224"/>
                </a:lnTo>
                <a:lnTo>
                  <a:pt x="1796" y="1224"/>
                </a:lnTo>
                <a:lnTo>
                  <a:pt x="1796" y="1224"/>
                </a:lnTo>
                <a:lnTo>
                  <a:pt x="1796" y="1224"/>
                </a:lnTo>
                <a:lnTo>
                  <a:pt x="1796" y="1224"/>
                </a:lnTo>
                <a:lnTo>
                  <a:pt x="1794" y="1220"/>
                </a:lnTo>
                <a:lnTo>
                  <a:pt x="1790" y="1222"/>
                </a:lnTo>
                <a:lnTo>
                  <a:pt x="1790" y="1222"/>
                </a:lnTo>
                <a:lnTo>
                  <a:pt x="1790" y="1222"/>
                </a:lnTo>
                <a:lnTo>
                  <a:pt x="1790" y="1222"/>
                </a:lnTo>
                <a:lnTo>
                  <a:pt x="1794" y="1220"/>
                </a:lnTo>
                <a:lnTo>
                  <a:pt x="1796" y="1224"/>
                </a:lnTo>
                <a:lnTo>
                  <a:pt x="1796" y="1224"/>
                </a:lnTo>
                <a:lnTo>
                  <a:pt x="1796" y="1224"/>
                </a:lnTo>
                <a:lnTo>
                  <a:pt x="1796" y="1224"/>
                </a:lnTo>
                <a:close/>
                <a:moveTo>
                  <a:pt x="1976" y="1060"/>
                </a:moveTo>
                <a:lnTo>
                  <a:pt x="1976" y="1060"/>
                </a:lnTo>
                <a:lnTo>
                  <a:pt x="1962" y="1062"/>
                </a:lnTo>
                <a:lnTo>
                  <a:pt x="1962" y="1062"/>
                </a:lnTo>
                <a:lnTo>
                  <a:pt x="1944" y="1056"/>
                </a:lnTo>
                <a:lnTo>
                  <a:pt x="1944" y="1056"/>
                </a:lnTo>
                <a:lnTo>
                  <a:pt x="1964" y="1048"/>
                </a:lnTo>
                <a:lnTo>
                  <a:pt x="1964" y="1048"/>
                </a:lnTo>
                <a:lnTo>
                  <a:pt x="1976" y="1060"/>
                </a:lnTo>
                <a:lnTo>
                  <a:pt x="1976" y="1060"/>
                </a:lnTo>
                <a:close/>
                <a:moveTo>
                  <a:pt x="1956" y="1064"/>
                </a:moveTo>
                <a:lnTo>
                  <a:pt x="1956" y="1064"/>
                </a:lnTo>
                <a:lnTo>
                  <a:pt x="1956" y="1064"/>
                </a:lnTo>
                <a:lnTo>
                  <a:pt x="1956" y="1064"/>
                </a:lnTo>
                <a:lnTo>
                  <a:pt x="1956" y="1064"/>
                </a:lnTo>
                <a:lnTo>
                  <a:pt x="1954" y="1068"/>
                </a:lnTo>
                <a:lnTo>
                  <a:pt x="1954" y="1068"/>
                </a:lnTo>
                <a:lnTo>
                  <a:pt x="1954" y="1068"/>
                </a:lnTo>
                <a:lnTo>
                  <a:pt x="1954" y="1068"/>
                </a:lnTo>
                <a:lnTo>
                  <a:pt x="1956" y="1064"/>
                </a:lnTo>
                <a:lnTo>
                  <a:pt x="1956" y="1064"/>
                </a:lnTo>
                <a:lnTo>
                  <a:pt x="1956" y="1064"/>
                </a:lnTo>
                <a:lnTo>
                  <a:pt x="1956" y="1064"/>
                </a:lnTo>
                <a:close/>
                <a:moveTo>
                  <a:pt x="1944" y="1036"/>
                </a:moveTo>
                <a:lnTo>
                  <a:pt x="1944" y="1036"/>
                </a:lnTo>
                <a:lnTo>
                  <a:pt x="1944" y="1036"/>
                </a:lnTo>
                <a:lnTo>
                  <a:pt x="1944" y="1036"/>
                </a:lnTo>
                <a:lnTo>
                  <a:pt x="1942" y="1042"/>
                </a:lnTo>
                <a:lnTo>
                  <a:pt x="1938" y="1042"/>
                </a:lnTo>
                <a:lnTo>
                  <a:pt x="1938" y="1042"/>
                </a:lnTo>
                <a:lnTo>
                  <a:pt x="1938" y="1042"/>
                </a:lnTo>
                <a:lnTo>
                  <a:pt x="1938" y="1042"/>
                </a:lnTo>
                <a:lnTo>
                  <a:pt x="1942" y="1042"/>
                </a:lnTo>
                <a:lnTo>
                  <a:pt x="1944" y="1036"/>
                </a:lnTo>
                <a:lnTo>
                  <a:pt x="1944" y="1036"/>
                </a:lnTo>
                <a:close/>
                <a:moveTo>
                  <a:pt x="1938" y="1052"/>
                </a:moveTo>
                <a:lnTo>
                  <a:pt x="1938" y="1052"/>
                </a:lnTo>
                <a:lnTo>
                  <a:pt x="1930" y="1058"/>
                </a:lnTo>
                <a:lnTo>
                  <a:pt x="1930" y="1058"/>
                </a:lnTo>
                <a:lnTo>
                  <a:pt x="1912" y="1052"/>
                </a:lnTo>
                <a:lnTo>
                  <a:pt x="1912" y="1052"/>
                </a:lnTo>
                <a:lnTo>
                  <a:pt x="1922" y="1050"/>
                </a:lnTo>
                <a:lnTo>
                  <a:pt x="1922" y="1050"/>
                </a:lnTo>
                <a:lnTo>
                  <a:pt x="1922" y="1044"/>
                </a:lnTo>
                <a:lnTo>
                  <a:pt x="1922" y="1044"/>
                </a:lnTo>
                <a:lnTo>
                  <a:pt x="1926" y="1046"/>
                </a:lnTo>
                <a:lnTo>
                  <a:pt x="1930" y="1048"/>
                </a:lnTo>
                <a:lnTo>
                  <a:pt x="1938" y="1052"/>
                </a:lnTo>
                <a:lnTo>
                  <a:pt x="1938" y="1052"/>
                </a:lnTo>
                <a:close/>
                <a:moveTo>
                  <a:pt x="1908" y="1044"/>
                </a:moveTo>
                <a:lnTo>
                  <a:pt x="1908" y="1044"/>
                </a:lnTo>
                <a:lnTo>
                  <a:pt x="1912" y="1046"/>
                </a:lnTo>
                <a:lnTo>
                  <a:pt x="1912" y="1046"/>
                </a:lnTo>
                <a:lnTo>
                  <a:pt x="1908" y="1048"/>
                </a:lnTo>
                <a:lnTo>
                  <a:pt x="1908" y="1048"/>
                </a:lnTo>
                <a:lnTo>
                  <a:pt x="1908" y="1048"/>
                </a:lnTo>
                <a:lnTo>
                  <a:pt x="1908" y="1048"/>
                </a:lnTo>
                <a:lnTo>
                  <a:pt x="1912" y="1046"/>
                </a:lnTo>
                <a:lnTo>
                  <a:pt x="1912" y="1046"/>
                </a:lnTo>
                <a:lnTo>
                  <a:pt x="1908" y="1044"/>
                </a:lnTo>
                <a:lnTo>
                  <a:pt x="1908" y="1044"/>
                </a:lnTo>
                <a:close/>
                <a:moveTo>
                  <a:pt x="1914" y="1040"/>
                </a:moveTo>
                <a:lnTo>
                  <a:pt x="1914" y="1040"/>
                </a:lnTo>
                <a:lnTo>
                  <a:pt x="1916" y="1036"/>
                </a:lnTo>
                <a:lnTo>
                  <a:pt x="1916" y="1036"/>
                </a:lnTo>
                <a:lnTo>
                  <a:pt x="1916" y="1036"/>
                </a:lnTo>
                <a:lnTo>
                  <a:pt x="1916" y="1036"/>
                </a:lnTo>
                <a:lnTo>
                  <a:pt x="1914" y="1040"/>
                </a:lnTo>
                <a:lnTo>
                  <a:pt x="1914" y="1040"/>
                </a:lnTo>
                <a:lnTo>
                  <a:pt x="1914" y="1040"/>
                </a:lnTo>
                <a:lnTo>
                  <a:pt x="1914" y="1040"/>
                </a:lnTo>
                <a:close/>
                <a:moveTo>
                  <a:pt x="1914" y="1030"/>
                </a:moveTo>
                <a:lnTo>
                  <a:pt x="1914" y="1030"/>
                </a:lnTo>
                <a:lnTo>
                  <a:pt x="1926" y="1028"/>
                </a:lnTo>
                <a:lnTo>
                  <a:pt x="1926" y="1028"/>
                </a:lnTo>
                <a:lnTo>
                  <a:pt x="1930" y="1030"/>
                </a:lnTo>
                <a:lnTo>
                  <a:pt x="1930" y="1030"/>
                </a:lnTo>
                <a:lnTo>
                  <a:pt x="1930" y="1032"/>
                </a:lnTo>
                <a:lnTo>
                  <a:pt x="1928" y="1034"/>
                </a:lnTo>
                <a:lnTo>
                  <a:pt x="1928" y="1034"/>
                </a:lnTo>
                <a:lnTo>
                  <a:pt x="1930" y="1032"/>
                </a:lnTo>
                <a:lnTo>
                  <a:pt x="1930" y="1030"/>
                </a:lnTo>
                <a:lnTo>
                  <a:pt x="1930" y="1030"/>
                </a:lnTo>
                <a:lnTo>
                  <a:pt x="1926" y="1028"/>
                </a:lnTo>
                <a:lnTo>
                  <a:pt x="1926" y="1028"/>
                </a:lnTo>
                <a:lnTo>
                  <a:pt x="1914" y="1032"/>
                </a:lnTo>
                <a:lnTo>
                  <a:pt x="1914" y="1032"/>
                </a:lnTo>
                <a:lnTo>
                  <a:pt x="1906" y="1034"/>
                </a:lnTo>
                <a:lnTo>
                  <a:pt x="1906" y="1034"/>
                </a:lnTo>
                <a:lnTo>
                  <a:pt x="1906" y="1034"/>
                </a:lnTo>
                <a:lnTo>
                  <a:pt x="1906" y="1034"/>
                </a:lnTo>
                <a:lnTo>
                  <a:pt x="1914" y="1030"/>
                </a:lnTo>
                <a:lnTo>
                  <a:pt x="1914" y="1030"/>
                </a:lnTo>
                <a:close/>
                <a:moveTo>
                  <a:pt x="1892" y="1054"/>
                </a:moveTo>
                <a:lnTo>
                  <a:pt x="1892" y="1054"/>
                </a:lnTo>
                <a:lnTo>
                  <a:pt x="1894" y="1056"/>
                </a:lnTo>
                <a:lnTo>
                  <a:pt x="1894" y="1056"/>
                </a:lnTo>
                <a:lnTo>
                  <a:pt x="1890" y="1058"/>
                </a:lnTo>
                <a:lnTo>
                  <a:pt x="1886" y="1056"/>
                </a:lnTo>
                <a:lnTo>
                  <a:pt x="1886" y="1056"/>
                </a:lnTo>
                <a:lnTo>
                  <a:pt x="1890" y="1058"/>
                </a:lnTo>
                <a:lnTo>
                  <a:pt x="1894" y="1056"/>
                </a:lnTo>
                <a:lnTo>
                  <a:pt x="1894" y="1056"/>
                </a:lnTo>
                <a:lnTo>
                  <a:pt x="1892" y="1054"/>
                </a:lnTo>
                <a:lnTo>
                  <a:pt x="1892" y="1054"/>
                </a:lnTo>
                <a:lnTo>
                  <a:pt x="1892" y="1054"/>
                </a:lnTo>
                <a:lnTo>
                  <a:pt x="1892" y="1054"/>
                </a:lnTo>
                <a:close/>
                <a:moveTo>
                  <a:pt x="1890" y="1024"/>
                </a:moveTo>
                <a:lnTo>
                  <a:pt x="1890" y="1024"/>
                </a:lnTo>
                <a:lnTo>
                  <a:pt x="1890" y="1024"/>
                </a:lnTo>
                <a:lnTo>
                  <a:pt x="1890" y="1024"/>
                </a:lnTo>
                <a:lnTo>
                  <a:pt x="1886" y="1034"/>
                </a:lnTo>
                <a:lnTo>
                  <a:pt x="1886" y="1034"/>
                </a:lnTo>
                <a:lnTo>
                  <a:pt x="1886" y="1034"/>
                </a:lnTo>
                <a:lnTo>
                  <a:pt x="1886" y="1034"/>
                </a:lnTo>
                <a:lnTo>
                  <a:pt x="1890" y="1024"/>
                </a:lnTo>
                <a:lnTo>
                  <a:pt x="1890" y="1024"/>
                </a:lnTo>
                <a:close/>
                <a:moveTo>
                  <a:pt x="1872" y="1052"/>
                </a:moveTo>
                <a:lnTo>
                  <a:pt x="1872" y="1052"/>
                </a:lnTo>
                <a:lnTo>
                  <a:pt x="1880" y="1048"/>
                </a:lnTo>
                <a:lnTo>
                  <a:pt x="1884" y="1046"/>
                </a:lnTo>
                <a:lnTo>
                  <a:pt x="1884" y="1044"/>
                </a:lnTo>
                <a:lnTo>
                  <a:pt x="1884" y="1044"/>
                </a:lnTo>
                <a:lnTo>
                  <a:pt x="1884" y="1044"/>
                </a:lnTo>
                <a:lnTo>
                  <a:pt x="1884" y="1044"/>
                </a:lnTo>
                <a:lnTo>
                  <a:pt x="1884" y="1046"/>
                </a:lnTo>
                <a:lnTo>
                  <a:pt x="1880" y="1048"/>
                </a:lnTo>
                <a:lnTo>
                  <a:pt x="1872" y="1052"/>
                </a:lnTo>
                <a:lnTo>
                  <a:pt x="1872" y="1052"/>
                </a:lnTo>
                <a:lnTo>
                  <a:pt x="1872" y="1052"/>
                </a:lnTo>
                <a:lnTo>
                  <a:pt x="1872" y="1052"/>
                </a:lnTo>
                <a:close/>
                <a:moveTo>
                  <a:pt x="1876" y="1060"/>
                </a:moveTo>
                <a:lnTo>
                  <a:pt x="1876" y="1060"/>
                </a:lnTo>
                <a:lnTo>
                  <a:pt x="1890" y="1060"/>
                </a:lnTo>
                <a:lnTo>
                  <a:pt x="1896" y="1060"/>
                </a:lnTo>
                <a:lnTo>
                  <a:pt x="1902" y="1062"/>
                </a:lnTo>
                <a:lnTo>
                  <a:pt x="1902" y="1062"/>
                </a:lnTo>
                <a:lnTo>
                  <a:pt x="1906" y="1062"/>
                </a:lnTo>
                <a:lnTo>
                  <a:pt x="1910" y="1060"/>
                </a:lnTo>
                <a:lnTo>
                  <a:pt x="1910" y="1060"/>
                </a:lnTo>
                <a:lnTo>
                  <a:pt x="1916" y="1058"/>
                </a:lnTo>
                <a:lnTo>
                  <a:pt x="1916" y="1058"/>
                </a:lnTo>
                <a:lnTo>
                  <a:pt x="1926" y="1062"/>
                </a:lnTo>
                <a:lnTo>
                  <a:pt x="1934" y="1060"/>
                </a:lnTo>
                <a:lnTo>
                  <a:pt x="1934" y="1060"/>
                </a:lnTo>
                <a:lnTo>
                  <a:pt x="1944" y="1058"/>
                </a:lnTo>
                <a:lnTo>
                  <a:pt x="1944" y="1058"/>
                </a:lnTo>
                <a:lnTo>
                  <a:pt x="1934" y="1068"/>
                </a:lnTo>
                <a:lnTo>
                  <a:pt x="1934" y="1068"/>
                </a:lnTo>
                <a:lnTo>
                  <a:pt x="1940" y="1070"/>
                </a:lnTo>
                <a:lnTo>
                  <a:pt x="1948" y="1072"/>
                </a:lnTo>
                <a:lnTo>
                  <a:pt x="1954" y="1072"/>
                </a:lnTo>
                <a:lnTo>
                  <a:pt x="1958" y="1074"/>
                </a:lnTo>
                <a:lnTo>
                  <a:pt x="1960" y="1078"/>
                </a:lnTo>
                <a:lnTo>
                  <a:pt x="1960" y="1078"/>
                </a:lnTo>
                <a:lnTo>
                  <a:pt x="1936" y="1078"/>
                </a:lnTo>
                <a:lnTo>
                  <a:pt x="1936" y="1078"/>
                </a:lnTo>
                <a:lnTo>
                  <a:pt x="1934" y="1078"/>
                </a:lnTo>
                <a:lnTo>
                  <a:pt x="1934" y="1078"/>
                </a:lnTo>
                <a:lnTo>
                  <a:pt x="1928" y="1076"/>
                </a:lnTo>
                <a:lnTo>
                  <a:pt x="1922" y="1074"/>
                </a:lnTo>
                <a:lnTo>
                  <a:pt x="1908" y="1072"/>
                </a:lnTo>
                <a:lnTo>
                  <a:pt x="1908" y="1072"/>
                </a:lnTo>
                <a:lnTo>
                  <a:pt x="1900" y="1070"/>
                </a:lnTo>
                <a:lnTo>
                  <a:pt x="1900" y="1070"/>
                </a:lnTo>
                <a:lnTo>
                  <a:pt x="1886" y="1066"/>
                </a:lnTo>
                <a:lnTo>
                  <a:pt x="1880" y="1066"/>
                </a:lnTo>
                <a:lnTo>
                  <a:pt x="1872" y="1066"/>
                </a:lnTo>
                <a:lnTo>
                  <a:pt x="1872" y="1066"/>
                </a:lnTo>
                <a:lnTo>
                  <a:pt x="1872" y="1062"/>
                </a:lnTo>
                <a:lnTo>
                  <a:pt x="1874" y="1060"/>
                </a:lnTo>
                <a:lnTo>
                  <a:pt x="1876" y="1060"/>
                </a:lnTo>
                <a:lnTo>
                  <a:pt x="1876" y="1060"/>
                </a:lnTo>
                <a:close/>
                <a:moveTo>
                  <a:pt x="1798" y="1080"/>
                </a:moveTo>
                <a:lnTo>
                  <a:pt x="1798" y="1080"/>
                </a:lnTo>
                <a:lnTo>
                  <a:pt x="1798" y="1080"/>
                </a:lnTo>
                <a:lnTo>
                  <a:pt x="1798" y="1080"/>
                </a:lnTo>
                <a:lnTo>
                  <a:pt x="1818" y="1080"/>
                </a:lnTo>
                <a:lnTo>
                  <a:pt x="1818" y="1088"/>
                </a:lnTo>
                <a:lnTo>
                  <a:pt x="1818" y="1088"/>
                </a:lnTo>
                <a:lnTo>
                  <a:pt x="1816" y="1088"/>
                </a:lnTo>
                <a:lnTo>
                  <a:pt x="1816" y="1080"/>
                </a:lnTo>
                <a:lnTo>
                  <a:pt x="1798" y="1080"/>
                </a:lnTo>
                <a:close/>
                <a:moveTo>
                  <a:pt x="1804" y="1108"/>
                </a:moveTo>
                <a:lnTo>
                  <a:pt x="1804" y="1108"/>
                </a:lnTo>
                <a:lnTo>
                  <a:pt x="1810" y="1112"/>
                </a:lnTo>
                <a:lnTo>
                  <a:pt x="1810" y="1112"/>
                </a:lnTo>
                <a:lnTo>
                  <a:pt x="1816" y="1114"/>
                </a:lnTo>
                <a:lnTo>
                  <a:pt x="1816" y="1114"/>
                </a:lnTo>
                <a:lnTo>
                  <a:pt x="1818" y="1112"/>
                </a:lnTo>
                <a:lnTo>
                  <a:pt x="1818" y="1112"/>
                </a:lnTo>
                <a:lnTo>
                  <a:pt x="1816" y="1114"/>
                </a:lnTo>
                <a:lnTo>
                  <a:pt x="1816" y="1114"/>
                </a:lnTo>
                <a:lnTo>
                  <a:pt x="1810" y="1112"/>
                </a:lnTo>
                <a:lnTo>
                  <a:pt x="1810" y="1112"/>
                </a:lnTo>
                <a:lnTo>
                  <a:pt x="1804" y="1108"/>
                </a:lnTo>
                <a:lnTo>
                  <a:pt x="1804" y="1108"/>
                </a:lnTo>
                <a:lnTo>
                  <a:pt x="1804" y="1108"/>
                </a:lnTo>
                <a:lnTo>
                  <a:pt x="1804" y="1108"/>
                </a:lnTo>
                <a:close/>
                <a:moveTo>
                  <a:pt x="1808" y="1116"/>
                </a:moveTo>
                <a:lnTo>
                  <a:pt x="1808" y="1116"/>
                </a:lnTo>
                <a:lnTo>
                  <a:pt x="1808" y="1116"/>
                </a:lnTo>
                <a:lnTo>
                  <a:pt x="1808" y="1116"/>
                </a:lnTo>
                <a:lnTo>
                  <a:pt x="1810" y="1118"/>
                </a:lnTo>
                <a:lnTo>
                  <a:pt x="1810" y="1118"/>
                </a:lnTo>
                <a:lnTo>
                  <a:pt x="1804" y="1120"/>
                </a:lnTo>
                <a:lnTo>
                  <a:pt x="1804" y="1120"/>
                </a:lnTo>
                <a:lnTo>
                  <a:pt x="1804" y="1120"/>
                </a:lnTo>
                <a:lnTo>
                  <a:pt x="1804" y="1120"/>
                </a:lnTo>
                <a:lnTo>
                  <a:pt x="1810" y="1118"/>
                </a:lnTo>
                <a:lnTo>
                  <a:pt x="1810" y="1118"/>
                </a:lnTo>
                <a:lnTo>
                  <a:pt x="1808" y="1116"/>
                </a:lnTo>
                <a:lnTo>
                  <a:pt x="1808" y="1116"/>
                </a:lnTo>
                <a:close/>
                <a:moveTo>
                  <a:pt x="1818" y="1112"/>
                </a:moveTo>
                <a:lnTo>
                  <a:pt x="1818" y="1112"/>
                </a:lnTo>
                <a:lnTo>
                  <a:pt x="1818" y="1112"/>
                </a:lnTo>
                <a:lnTo>
                  <a:pt x="1818" y="1112"/>
                </a:lnTo>
                <a:lnTo>
                  <a:pt x="1818" y="1112"/>
                </a:lnTo>
                <a:lnTo>
                  <a:pt x="1818" y="1112"/>
                </a:lnTo>
                <a:lnTo>
                  <a:pt x="1818" y="1112"/>
                </a:lnTo>
                <a:lnTo>
                  <a:pt x="1818" y="1112"/>
                </a:lnTo>
                <a:close/>
                <a:moveTo>
                  <a:pt x="1840" y="1148"/>
                </a:moveTo>
                <a:lnTo>
                  <a:pt x="1840" y="1148"/>
                </a:lnTo>
                <a:lnTo>
                  <a:pt x="1842" y="1144"/>
                </a:lnTo>
                <a:lnTo>
                  <a:pt x="1842" y="1144"/>
                </a:lnTo>
                <a:lnTo>
                  <a:pt x="1836" y="1150"/>
                </a:lnTo>
                <a:lnTo>
                  <a:pt x="1836" y="1150"/>
                </a:lnTo>
                <a:lnTo>
                  <a:pt x="1830" y="1150"/>
                </a:lnTo>
                <a:lnTo>
                  <a:pt x="1830" y="1150"/>
                </a:lnTo>
                <a:lnTo>
                  <a:pt x="1818" y="1150"/>
                </a:lnTo>
                <a:lnTo>
                  <a:pt x="1818" y="1150"/>
                </a:lnTo>
                <a:lnTo>
                  <a:pt x="1818" y="1148"/>
                </a:lnTo>
                <a:lnTo>
                  <a:pt x="1818" y="1146"/>
                </a:lnTo>
                <a:lnTo>
                  <a:pt x="1822" y="1144"/>
                </a:lnTo>
                <a:lnTo>
                  <a:pt x="1822" y="1144"/>
                </a:lnTo>
                <a:lnTo>
                  <a:pt x="1840" y="1142"/>
                </a:lnTo>
                <a:lnTo>
                  <a:pt x="1840" y="1142"/>
                </a:lnTo>
                <a:lnTo>
                  <a:pt x="1844" y="1142"/>
                </a:lnTo>
                <a:lnTo>
                  <a:pt x="1848" y="1138"/>
                </a:lnTo>
                <a:lnTo>
                  <a:pt x="1848" y="1138"/>
                </a:lnTo>
                <a:lnTo>
                  <a:pt x="1850" y="1136"/>
                </a:lnTo>
                <a:lnTo>
                  <a:pt x="1854" y="1136"/>
                </a:lnTo>
                <a:lnTo>
                  <a:pt x="1860" y="1136"/>
                </a:lnTo>
                <a:lnTo>
                  <a:pt x="1860" y="1136"/>
                </a:lnTo>
                <a:lnTo>
                  <a:pt x="1858" y="1140"/>
                </a:lnTo>
                <a:lnTo>
                  <a:pt x="1858" y="1140"/>
                </a:lnTo>
                <a:lnTo>
                  <a:pt x="1860" y="1140"/>
                </a:lnTo>
                <a:lnTo>
                  <a:pt x="1860" y="1140"/>
                </a:lnTo>
                <a:lnTo>
                  <a:pt x="1840" y="1148"/>
                </a:lnTo>
                <a:lnTo>
                  <a:pt x="1840" y="1148"/>
                </a:lnTo>
                <a:close/>
                <a:moveTo>
                  <a:pt x="1834" y="1122"/>
                </a:moveTo>
                <a:lnTo>
                  <a:pt x="1834" y="1122"/>
                </a:lnTo>
                <a:lnTo>
                  <a:pt x="1834" y="1122"/>
                </a:lnTo>
                <a:lnTo>
                  <a:pt x="1834" y="1122"/>
                </a:lnTo>
                <a:lnTo>
                  <a:pt x="1852" y="1118"/>
                </a:lnTo>
                <a:lnTo>
                  <a:pt x="1852" y="1118"/>
                </a:lnTo>
                <a:lnTo>
                  <a:pt x="1852" y="1118"/>
                </a:lnTo>
                <a:lnTo>
                  <a:pt x="1852" y="1118"/>
                </a:lnTo>
                <a:lnTo>
                  <a:pt x="1834" y="1122"/>
                </a:lnTo>
                <a:lnTo>
                  <a:pt x="1834" y="1122"/>
                </a:lnTo>
                <a:close/>
                <a:moveTo>
                  <a:pt x="1856" y="1122"/>
                </a:moveTo>
                <a:lnTo>
                  <a:pt x="1856" y="1122"/>
                </a:lnTo>
                <a:lnTo>
                  <a:pt x="1862" y="1128"/>
                </a:lnTo>
                <a:lnTo>
                  <a:pt x="1862" y="1128"/>
                </a:lnTo>
                <a:lnTo>
                  <a:pt x="1862" y="1128"/>
                </a:lnTo>
                <a:lnTo>
                  <a:pt x="1862" y="1128"/>
                </a:lnTo>
                <a:lnTo>
                  <a:pt x="1856" y="1122"/>
                </a:lnTo>
                <a:lnTo>
                  <a:pt x="1856" y="1122"/>
                </a:lnTo>
                <a:lnTo>
                  <a:pt x="1840" y="1126"/>
                </a:lnTo>
                <a:lnTo>
                  <a:pt x="1840" y="1126"/>
                </a:lnTo>
                <a:lnTo>
                  <a:pt x="1840" y="1126"/>
                </a:lnTo>
                <a:lnTo>
                  <a:pt x="1840" y="1126"/>
                </a:lnTo>
                <a:lnTo>
                  <a:pt x="1856" y="1122"/>
                </a:lnTo>
                <a:lnTo>
                  <a:pt x="1856" y="1122"/>
                </a:lnTo>
                <a:close/>
                <a:moveTo>
                  <a:pt x="1888" y="1122"/>
                </a:moveTo>
                <a:lnTo>
                  <a:pt x="1888" y="1122"/>
                </a:lnTo>
                <a:lnTo>
                  <a:pt x="1884" y="1118"/>
                </a:lnTo>
                <a:lnTo>
                  <a:pt x="1884" y="1118"/>
                </a:lnTo>
                <a:lnTo>
                  <a:pt x="1888" y="1122"/>
                </a:lnTo>
                <a:lnTo>
                  <a:pt x="1888" y="1122"/>
                </a:lnTo>
                <a:lnTo>
                  <a:pt x="1880" y="1122"/>
                </a:lnTo>
                <a:lnTo>
                  <a:pt x="1874" y="1120"/>
                </a:lnTo>
                <a:lnTo>
                  <a:pt x="1874" y="1120"/>
                </a:lnTo>
                <a:lnTo>
                  <a:pt x="1874" y="1120"/>
                </a:lnTo>
                <a:lnTo>
                  <a:pt x="1874" y="1120"/>
                </a:lnTo>
                <a:lnTo>
                  <a:pt x="1880" y="1122"/>
                </a:lnTo>
                <a:lnTo>
                  <a:pt x="1888" y="1122"/>
                </a:lnTo>
                <a:lnTo>
                  <a:pt x="1888" y="1122"/>
                </a:lnTo>
                <a:close/>
                <a:moveTo>
                  <a:pt x="1882" y="1106"/>
                </a:moveTo>
                <a:lnTo>
                  <a:pt x="1882" y="1106"/>
                </a:lnTo>
                <a:lnTo>
                  <a:pt x="1882" y="1106"/>
                </a:lnTo>
                <a:lnTo>
                  <a:pt x="1882" y="1106"/>
                </a:lnTo>
                <a:lnTo>
                  <a:pt x="1886" y="1108"/>
                </a:lnTo>
                <a:lnTo>
                  <a:pt x="1886" y="1108"/>
                </a:lnTo>
                <a:lnTo>
                  <a:pt x="1892" y="1104"/>
                </a:lnTo>
                <a:lnTo>
                  <a:pt x="1892" y="1104"/>
                </a:lnTo>
                <a:lnTo>
                  <a:pt x="1892" y="1104"/>
                </a:lnTo>
                <a:lnTo>
                  <a:pt x="1892" y="1104"/>
                </a:lnTo>
                <a:lnTo>
                  <a:pt x="1886" y="1108"/>
                </a:lnTo>
                <a:lnTo>
                  <a:pt x="1886" y="1108"/>
                </a:lnTo>
                <a:lnTo>
                  <a:pt x="1882" y="1106"/>
                </a:lnTo>
                <a:lnTo>
                  <a:pt x="1882" y="1106"/>
                </a:lnTo>
                <a:close/>
                <a:moveTo>
                  <a:pt x="1904" y="1132"/>
                </a:moveTo>
                <a:lnTo>
                  <a:pt x="1904" y="1132"/>
                </a:lnTo>
                <a:lnTo>
                  <a:pt x="1898" y="1132"/>
                </a:lnTo>
                <a:lnTo>
                  <a:pt x="1898" y="1132"/>
                </a:lnTo>
                <a:lnTo>
                  <a:pt x="1904" y="1132"/>
                </a:lnTo>
                <a:lnTo>
                  <a:pt x="1904" y="1132"/>
                </a:lnTo>
                <a:lnTo>
                  <a:pt x="1904" y="1132"/>
                </a:lnTo>
                <a:lnTo>
                  <a:pt x="1904" y="1132"/>
                </a:lnTo>
                <a:close/>
                <a:moveTo>
                  <a:pt x="1898" y="1122"/>
                </a:moveTo>
                <a:lnTo>
                  <a:pt x="1898" y="1122"/>
                </a:lnTo>
                <a:lnTo>
                  <a:pt x="1902" y="1122"/>
                </a:lnTo>
                <a:lnTo>
                  <a:pt x="1904" y="1120"/>
                </a:lnTo>
                <a:lnTo>
                  <a:pt x="1904" y="1120"/>
                </a:lnTo>
                <a:lnTo>
                  <a:pt x="1906" y="1120"/>
                </a:lnTo>
                <a:lnTo>
                  <a:pt x="1906" y="1120"/>
                </a:lnTo>
                <a:lnTo>
                  <a:pt x="1902" y="1122"/>
                </a:lnTo>
                <a:lnTo>
                  <a:pt x="1898" y="1122"/>
                </a:lnTo>
                <a:lnTo>
                  <a:pt x="1898" y="1122"/>
                </a:lnTo>
                <a:close/>
                <a:moveTo>
                  <a:pt x="1910" y="1126"/>
                </a:moveTo>
                <a:lnTo>
                  <a:pt x="1910" y="1126"/>
                </a:lnTo>
                <a:lnTo>
                  <a:pt x="1910" y="1126"/>
                </a:lnTo>
                <a:lnTo>
                  <a:pt x="1910" y="1126"/>
                </a:lnTo>
                <a:lnTo>
                  <a:pt x="1916" y="1118"/>
                </a:lnTo>
                <a:lnTo>
                  <a:pt x="1916" y="1118"/>
                </a:lnTo>
                <a:lnTo>
                  <a:pt x="1910" y="1114"/>
                </a:lnTo>
                <a:lnTo>
                  <a:pt x="1910" y="1114"/>
                </a:lnTo>
                <a:lnTo>
                  <a:pt x="1910" y="1114"/>
                </a:lnTo>
                <a:lnTo>
                  <a:pt x="1910" y="1114"/>
                </a:lnTo>
                <a:lnTo>
                  <a:pt x="1916" y="1118"/>
                </a:lnTo>
                <a:lnTo>
                  <a:pt x="1916" y="1118"/>
                </a:lnTo>
                <a:lnTo>
                  <a:pt x="1916" y="1118"/>
                </a:lnTo>
                <a:lnTo>
                  <a:pt x="1916" y="1118"/>
                </a:lnTo>
                <a:lnTo>
                  <a:pt x="1916" y="1118"/>
                </a:lnTo>
                <a:lnTo>
                  <a:pt x="1916" y="1118"/>
                </a:lnTo>
                <a:lnTo>
                  <a:pt x="1916" y="1118"/>
                </a:lnTo>
                <a:lnTo>
                  <a:pt x="1916" y="1118"/>
                </a:lnTo>
                <a:lnTo>
                  <a:pt x="1916" y="1118"/>
                </a:lnTo>
                <a:lnTo>
                  <a:pt x="1916" y="1118"/>
                </a:lnTo>
                <a:lnTo>
                  <a:pt x="1910" y="1126"/>
                </a:lnTo>
                <a:lnTo>
                  <a:pt x="1910" y="1126"/>
                </a:lnTo>
                <a:close/>
                <a:moveTo>
                  <a:pt x="1912" y="1104"/>
                </a:moveTo>
                <a:lnTo>
                  <a:pt x="1912" y="1104"/>
                </a:lnTo>
                <a:lnTo>
                  <a:pt x="1922" y="1100"/>
                </a:lnTo>
                <a:lnTo>
                  <a:pt x="1922" y="1100"/>
                </a:lnTo>
                <a:lnTo>
                  <a:pt x="1894" y="1098"/>
                </a:lnTo>
                <a:lnTo>
                  <a:pt x="1894" y="1098"/>
                </a:lnTo>
                <a:lnTo>
                  <a:pt x="1894" y="1098"/>
                </a:lnTo>
                <a:lnTo>
                  <a:pt x="1894" y="1098"/>
                </a:lnTo>
                <a:lnTo>
                  <a:pt x="1922" y="1100"/>
                </a:lnTo>
                <a:lnTo>
                  <a:pt x="1922" y="1100"/>
                </a:lnTo>
                <a:lnTo>
                  <a:pt x="1912" y="1104"/>
                </a:lnTo>
                <a:lnTo>
                  <a:pt x="1912" y="1104"/>
                </a:lnTo>
                <a:close/>
                <a:moveTo>
                  <a:pt x="1870" y="1114"/>
                </a:moveTo>
                <a:lnTo>
                  <a:pt x="1870" y="1114"/>
                </a:lnTo>
                <a:lnTo>
                  <a:pt x="1874" y="1114"/>
                </a:lnTo>
                <a:lnTo>
                  <a:pt x="1874" y="1114"/>
                </a:lnTo>
                <a:lnTo>
                  <a:pt x="1876" y="1110"/>
                </a:lnTo>
                <a:lnTo>
                  <a:pt x="1876" y="1110"/>
                </a:lnTo>
                <a:lnTo>
                  <a:pt x="1876" y="1110"/>
                </a:lnTo>
                <a:lnTo>
                  <a:pt x="1876" y="1110"/>
                </a:lnTo>
                <a:lnTo>
                  <a:pt x="1874" y="1114"/>
                </a:lnTo>
                <a:lnTo>
                  <a:pt x="1874" y="1114"/>
                </a:lnTo>
                <a:lnTo>
                  <a:pt x="1870" y="1114"/>
                </a:lnTo>
                <a:lnTo>
                  <a:pt x="1870" y="1114"/>
                </a:lnTo>
                <a:lnTo>
                  <a:pt x="1870" y="1114"/>
                </a:lnTo>
                <a:lnTo>
                  <a:pt x="1870" y="1114"/>
                </a:lnTo>
                <a:close/>
                <a:moveTo>
                  <a:pt x="1832" y="1022"/>
                </a:moveTo>
                <a:lnTo>
                  <a:pt x="1832" y="1022"/>
                </a:lnTo>
                <a:lnTo>
                  <a:pt x="1840" y="1020"/>
                </a:lnTo>
                <a:lnTo>
                  <a:pt x="1850" y="1020"/>
                </a:lnTo>
                <a:lnTo>
                  <a:pt x="1850" y="1020"/>
                </a:lnTo>
                <a:lnTo>
                  <a:pt x="1862" y="1026"/>
                </a:lnTo>
                <a:lnTo>
                  <a:pt x="1862" y="1026"/>
                </a:lnTo>
                <a:lnTo>
                  <a:pt x="1856" y="1028"/>
                </a:lnTo>
                <a:lnTo>
                  <a:pt x="1856" y="1028"/>
                </a:lnTo>
                <a:lnTo>
                  <a:pt x="1846" y="1026"/>
                </a:lnTo>
                <a:lnTo>
                  <a:pt x="1836" y="1028"/>
                </a:lnTo>
                <a:lnTo>
                  <a:pt x="1836" y="1028"/>
                </a:lnTo>
                <a:lnTo>
                  <a:pt x="1832" y="1030"/>
                </a:lnTo>
                <a:lnTo>
                  <a:pt x="1828" y="1026"/>
                </a:lnTo>
                <a:lnTo>
                  <a:pt x="1828" y="1026"/>
                </a:lnTo>
                <a:lnTo>
                  <a:pt x="1828" y="1024"/>
                </a:lnTo>
                <a:lnTo>
                  <a:pt x="1832" y="1022"/>
                </a:lnTo>
                <a:lnTo>
                  <a:pt x="1832" y="1022"/>
                </a:lnTo>
                <a:close/>
                <a:moveTo>
                  <a:pt x="1826" y="1036"/>
                </a:moveTo>
                <a:lnTo>
                  <a:pt x="1826" y="1036"/>
                </a:lnTo>
                <a:lnTo>
                  <a:pt x="1826" y="1036"/>
                </a:lnTo>
                <a:lnTo>
                  <a:pt x="1826" y="1036"/>
                </a:lnTo>
                <a:lnTo>
                  <a:pt x="1820" y="1034"/>
                </a:lnTo>
                <a:lnTo>
                  <a:pt x="1816" y="1032"/>
                </a:lnTo>
                <a:lnTo>
                  <a:pt x="1816" y="1032"/>
                </a:lnTo>
                <a:lnTo>
                  <a:pt x="1820" y="1034"/>
                </a:lnTo>
                <a:lnTo>
                  <a:pt x="1826" y="1036"/>
                </a:lnTo>
                <a:lnTo>
                  <a:pt x="1826" y="1036"/>
                </a:lnTo>
                <a:close/>
                <a:moveTo>
                  <a:pt x="1814" y="990"/>
                </a:moveTo>
                <a:lnTo>
                  <a:pt x="1814" y="990"/>
                </a:lnTo>
                <a:lnTo>
                  <a:pt x="1818" y="990"/>
                </a:lnTo>
                <a:lnTo>
                  <a:pt x="1818" y="990"/>
                </a:lnTo>
                <a:lnTo>
                  <a:pt x="1816" y="990"/>
                </a:lnTo>
                <a:lnTo>
                  <a:pt x="1816" y="990"/>
                </a:lnTo>
                <a:lnTo>
                  <a:pt x="1814" y="990"/>
                </a:lnTo>
                <a:lnTo>
                  <a:pt x="1814" y="990"/>
                </a:lnTo>
                <a:lnTo>
                  <a:pt x="1814" y="990"/>
                </a:lnTo>
                <a:lnTo>
                  <a:pt x="1814" y="990"/>
                </a:lnTo>
                <a:close/>
                <a:moveTo>
                  <a:pt x="1816" y="1044"/>
                </a:moveTo>
                <a:lnTo>
                  <a:pt x="1816" y="1044"/>
                </a:lnTo>
                <a:lnTo>
                  <a:pt x="1812" y="1050"/>
                </a:lnTo>
                <a:lnTo>
                  <a:pt x="1812" y="1050"/>
                </a:lnTo>
                <a:lnTo>
                  <a:pt x="1828" y="1054"/>
                </a:lnTo>
                <a:lnTo>
                  <a:pt x="1828" y="1070"/>
                </a:lnTo>
                <a:lnTo>
                  <a:pt x="1828" y="1070"/>
                </a:lnTo>
                <a:lnTo>
                  <a:pt x="1814" y="1064"/>
                </a:lnTo>
                <a:lnTo>
                  <a:pt x="1800" y="1058"/>
                </a:lnTo>
                <a:lnTo>
                  <a:pt x="1800" y="1058"/>
                </a:lnTo>
                <a:lnTo>
                  <a:pt x="1802" y="1056"/>
                </a:lnTo>
                <a:lnTo>
                  <a:pt x="1802" y="1056"/>
                </a:lnTo>
                <a:lnTo>
                  <a:pt x="1816" y="1058"/>
                </a:lnTo>
                <a:lnTo>
                  <a:pt x="1816" y="1058"/>
                </a:lnTo>
                <a:lnTo>
                  <a:pt x="1818" y="1058"/>
                </a:lnTo>
                <a:lnTo>
                  <a:pt x="1818" y="1058"/>
                </a:lnTo>
                <a:lnTo>
                  <a:pt x="1812" y="1056"/>
                </a:lnTo>
                <a:lnTo>
                  <a:pt x="1806" y="1054"/>
                </a:lnTo>
                <a:lnTo>
                  <a:pt x="1800" y="1052"/>
                </a:lnTo>
                <a:lnTo>
                  <a:pt x="1796" y="1050"/>
                </a:lnTo>
                <a:lnTo>
                  <a:pt x="1796" y="1050"/>
                </a:lnTo>
                <a:lnTo>
                  <a:pt x="1814" y="1042"/>
                </a:lnTo>
                <a:lnTo>
                  <a:pt x="1814" y="1042"/>
                </a:lnTo>
                <a:lnTo>
                  <a:pt x="1816" y="1044"/>
                </a:lnTo>
                <a:lnTo>
                  <a:pt x="1816" y="1044"/>
                </a:lnTo>
                <a:close/>
                <a:moveTo>
                  <a:pt x="1806" y="1014"/>
                </a:moveTo>
                <a:lnTo>
                  <a:pt x="1806" y="1014"/>
                </a:lnTo>
                <a:lnTo>
                  <a:pt x="1806" y="1014"/>
                </a:lnTo>
                <a:lnTo>
                  <a:pt x="1806" y="1014"/>
                </a:lnTo>
                <a:lnTo>
                  <a:pt x="1808" y="1014"/>
                </a:lnTo>
                <a:lnTo>
                  <a:pt x="1808" y="1014"/>
                </a:lnTo>
                <a:lnTo>
                  <a:pt x="1804" y="1018"/>
                </a:lnTo>
                <a:lnTo>
                  <a:pt x="1804" y="1018"/>
                </a:lnTo>
                <a:lnTo>
                  <a:pt x="1804" y="1018"/>
                </a:lnTo>
                <a:lnTo>
                  <a:pt x="1804" y="1018"/>
                </a:lnTo>
                <a:lnTo>
                  <a:pt x="1808" y="1014"/>
                </a:lnTo>
                <a:lnTo>
                  <a:pt x="1808" y="1014"/>
                </a:lnTo>
                <a:lnTo>
                  <a:pt x="1806" y="1014"/>
                </a:lnTo>
                <a:lnTo>
                  <a:pt x="1806" y="1014"/>
                </a:lnTo>
                <a:close/>
                <a:moveTo>
                  <a:pt x="1804" y="1044"/>
                </a:moveTo>
                <a:lnTo>
                  <a:pt x="1804" y="1044"/>
                </a:lnTo>
                <a:lnTo>
                  <a:pt x="1802" y="1044"/>
                </a:lnTo>
                <a:lnTo>
                  <a:pt x="1802" y="1044"/>
                </a:lnTo>
                <a:lnTo>
                  <a:pt x="1804" y="1044"/>
                </a:lnTo>
                <a:lnTo>
                  <a:pt x="1804" y="1044"/>
                </a:lnTo>
                <a:lnTo>
                  <a:pt x="1800" y="1046"/>
                </a:lnTo>
                <a:lnTo>
                  <a:pt x="1794" y="1044"/>
                </a:lnTo>
                <a:lnTo>
                  <a:pt x="1794" y="1044"/>
                </a:lnTo>
                <a:lnTo>
                  <a:pt x="1800" y="1046"/>
                </a:lnTo>
                <a:lnTo>
                  <a:pt x="1804" y="1044"/>
                </a:lnTo>
                <a:lnTo>
                  <a:pt x="1804" y="1044"/>
                </a:lnTo>
                <a:close/>
                <a:moveTo>
                  <a:pt x="1796" y="1080"/>
                </a:moveTo>
                <a:lnTo>
                  <a:pt x="1796" y="1080"/>
                </a:lnTo>
                <a:lnTo>
                  <a:pt x="1796" y="1080"/>
                </a:lnTo>
                <a:lnTo>
                  <a:pt x="1796" y="1080"/>
                </a:lnTo>
                <a:lnTo>
                  <a:pt x="1792" y="1078"/>
                </a:lnTo>
                <a:lnTo>
                  <a:pt x="1788" y="1080"/>
                </a:lnTo>
                <a:lnTo>
                  <a:pt x="1788" y="1080"/>
                </a:lnTo>
                <a:lnTo>
                  <a:pt x="1788" y="1080"/>
                </a:lnTo>
                <a:lnTo>
                  <a:pt x="1788" y="1080"/>
                </a:lnTo>
                <a:lnTo>
                  <a:pt x="1792" y="1078"/>
                </a:lnTo>
                <a:lnTo>
                  <a:pt x="1796" y="1080"/>
                </a:lnTo>
                <a:lnTo>
                  <a:pt x="1796" y="1080"/>
                </a:lnTo>
                <a:close/>
                <a:moveTo>
                  <a:pt x="1784" y="1168"/>
                </a:moveTo>
                <a:lnTo>
                  <a:pt x="1784" y="1168"/>
                </a:lnTo>
                <a:lnTo>
                  <a:pt x="1784" y="1166"/>
                </a:lnTo>
                <a:lnTo>
                  <a:pt x="1784" y="1166"/>
                </a:lnTo>
                <a:lnTo>
                  <a:pt x="1784" y="1166"/>
                </a:lnTo>
                <a:lnTo>
                  <a:pt x="1784" y="1166"/>
                </a:lnTo>
                <a:lnTo>
                  <a:pt x="1784" y="1168"/>
                </a:lnTo>
                <a:lnTo>
                  <a:pt x="1784" y="1168"/>
                </a:lnTo>
                <a:lnTo>
                  <a:pt x="1772" y="1168"/>
                </a:lnTo>
                <a:lnTo>
                  <a:pt x="1772" y="1168"/>
                </a:lnTo>
                <a:lnTo>
                  <a:pt x="1772" y="1168"/>
                </a:lnTo>
                <a:lnTo>
                  <a:pt x="1772" y="1168"/>
                </a:lnTo>
                <a:lnTo>
                  <a:pt x="1784" y="1168"/>
                </a:lnTo>
                <a:lnTo>
                  <a:pt x="1784" y="1168"/>
                </a:lnTo>
                <a:close/>
                <a:moveTo>
                  <a:pt x="1782" y="1086"/>
                </a:moveTo>
                <a:lnTo>
                  <a:pt x="1782" y="1086"/>
                </a:lnTo>
                <a:lnTo>
                  <a:pt x="1784" y="1086"/>
                </a:lnTo>
                <a:lnTo>
                  <a:pt x="1784" y="1086"/>
                </a:lnTo>
                <a:lnTo>
                  <a:pt x="1786" y="1086"/>
                </a:lnTo>
                <a:lnTo>
                  <a:pt x="1786" y="1086"/>
                </a:lnTo>
                <a:lnTo>
                  <a:pt x="1786" y="1086"/>
                </a:lnTo>
                <a:lnTo>
                  <a:pt x="1782" y="1088"/>
                </a:lnTo>
                <a:lnTo>
                  <a:pt x="1782" y="1088"/>
                </a:lnTo>
                <a:lnTo>
                  <a:pt x="1782" y="1088"/>
                </a:lnTo>
                <a:lnTo>
                  <a:pt x="1782" y="1088"/>
                </a:lnTo>
                <a:lnTo>
                  <a:pt x="1786" y="1086"/>
                </a:lnTo>
                <a:lnTo>
                  <a:pt x="1786" y="1086"/>
                </a:lnTo>
                <a:lnTo>
                  <a:pt x="1786" y="1086"/>
                </a:lnTo>
                <a:lnTo>
                  <a:pt x="1782" y="1086"/>
                </a:lnTo>
                <a:lnTo>
                  <a:pt x="1782" y="1086"/>
                </a:lnTo>
                <a:close/>
                <a:moveTo>
                  <a:pt x="1758" y="1040"/>
                </a:moveTo>
                <a:lnTo>
                  <a:pt x="1758" y="1040"/>
                </a:lnTo>
                <a:lnTo>
                  <a:pt x="1758" y="1040"/>
                </a:lnTo>
                <a:lnTo>
                  <a:pt x="1758" y="1040"/>
                </a:lnTo>
                <a:lnTo>
                  <a:pt x="1760" y="1038"/>
                </a:lnTo>
                <a:lnTo>
                  <a:pt x="1760" y="1038"/>
                </a:lnTo>
                <a:lnTo>
                  <a:pt x="1758" y="1036"/>
                </a:lnTo>
                <a:lnTo>
                  <a:pt x="1758" y="1036"/>
                </a:lnTo>
                <a:lnTo>
                  <a:pt x="1758" y="1036"/>
                </a:lnTo>
                <a:lnTo>
                  <a:pt x="1758" y="1036"/>
                </a:lnTo>
                <a:lnTo>
                  <a:pt x="1762" y="1038"/>
                </a:lnTo>
                <a:lnTo>
                  <a:pt x="1762" y="1038"/>
                </a:lnTo>
                <a:lnTo>
                  <a:pt x="1758" y="1040"/>
                </a:lnTo>
                <a:lnTo>
                  <a:pt x="1758" y="1040"/>
                </a:lnTo>
                <a:close/>
                <a:moveTo>
                  <a:pt x="1714" y="1190"/>
                </a:moveTo>
                <a:lnTo>
                  <a:pt x="1714" y="1190"/>
                </a:lnTo>
                <a:lnTo>
                  <a:pt x="1712" y="1188"/>
                </a:lnTo>
                <a:lnTo>
                  <a:pt x="1712" y="1188"/>
                </a:lnTo>
                <a:lnTo>
                  <a:pt x="1712" y="1188"/>
                </a:lnTo>
                <a:lnTo>
                  <a:pt x="1712" y="1188"/>
                </a:lnTo>
                <a:lnTo>
                  <a:pt x="1714" y="1190"/>
                </a:lnTo>
                <a:lnTo>
                  <a:pt x="1714" y="1190"/>
                </a:lnTo>
                <a:lnTo>
                  <a:pt x="1714" y="1190"/>
                </a:lnTo>
                <a:lnTo>
                  <a:pt x="1714" y="1190"/>
                </a:lnTo>
                <a:close/>
                <a:moveTo>
                  <a:pt x="1728" y="1154"/>
                </a:moveTo>
                <a:lnTo>
                  <a:pt x="1728" y="1154"/>
                </a:lnTo>
                <a:lnTo>
                  <a:pt x="1728" y="1154"/>
                </a:lnTo>
                <a:lnTo>
                  <a:pt x="1728" y="1154"/>
                </a:lnTo>
                <a:lnTo>
                  <a:pt x="1722" y="1154"/>
                </a:lnTo>
                <a:lnTo>
                  <a:pt x="1722" y="1154"/>
                </a:lnTo>
                <a:lnTo>
                  <a:pt x="1728" y="1154"/>
                </a:lnTo>
                <a:lnTo>
                  <a:pt x="1728" y="1154"/>
                </a:lnTo>
                <a:close/>
                <a:moveTo>
                  <a:pt x="1714" y="1146"/>
                </a:moveTo>
                <a:lnTo>
                  <a:pt x="1714" y="1146"/>
                </a:lnTo>
                <a:lnTo>
                  <a:pt x="1714" y="1146"/>
                </a:lnTo>
                <a:lnTo>
                  <a:pt x="1714" y="1146"/>
                </a:lnTo>
                <a:lnTo>
                  <a:pt x="1712" y="1146"/>
                </a:lnTo>
                <a:lnTo>
                  <a:pt x="1712" y="1146"/>
                </a:lnTo>
                <a:lnTo>
                  <a:pt x="1714" y="1146"/>
                </a:lnTo>
                <a:lnTo>
                  <a:pt x="1714" y="1146"/>
                </a:lnTo>
                <a:lnTo>
                  <a:pt x="1714" y="1146"/>
                </a:lnTo>
                <a:lnTo>
                  <a:pt x="1714" y="1146"/>
                </a:lnTo>
                <a:close/>
                <a:moveTo>
                  <a:pt x="1698" y="1152"/>
                </a:moveTo>
                <a:lnTo>
                  <a:pt x="1698" y="1152"/>
                </a:lnTo>
                <a:lnTo>
                  <a:pt x="1698" y="1152"/>
                </a:lnTo>
                <a:lnTo>
                  <a:pt x="1698" y="1152"/>
                </a:lnTo>
                <a:lnTo>
                  <a:pt x="1708" y="1152"/>
                </a:lnTo>
                <a:lnTo>
                  <a:pt x="1710" y="1150"/>
                </a:lnTo>
                <a:lnTo>
                  <a:pt x="1712" y="1148"/>
                </a:lnTo>
                <a:lnTo>
                  <a:pt x="1712" y="1148"/>
                </a:lnTo>
                <a:lnTo>
                  <a:pt x="1712" y="1148"/>
                </a:lnTo>
                <a:lnTo>
                  <a:pt x="1712" y="1148"/>
                </a:lnTo>
                <a:lnTo>
                  <a:pt x="1712" y="1148"/>
                </a:lnTo>
                <a:lnTo>
                  <a:pt x="1712" y="1148"/>
                </a:lnTo>
                <a:lnTo>
                  <a:pt x="1710" y="1150"/>
                </a:lnTo>
                <a:lnTo>
                  <a:pt x="1708" y="1152"/>
                </a:lnTo>
                <a:lnTo>
                  <a:pt x="1698" y="1152"/>
                </a:lnTo>
                <a:lnTo>
                  <a:pt x="1698" y="1152"/>
                </a:lnTo>
                <a:close/>
                <a:moveTo>
                  <a:pt x="1702" y="1162"/>
                </a:moveTo>
                <a:lnTo>
                  <a:pt x="1702" y="1162"/>
                </a:lnTo>
                <a:lnTo>
                  <a:pt x="1702" y="1162"/>
                </a:lnTo>
                <a:lnTo>
                  <a:pt x="1702" y="1162"/>
                </a:lnTo>
                <a:lnTo>
                  <a:pt x="1712" y="1162"/>
                </a:lnTo>
                <a:lnTo>
                  <a:pt x="1712" y="1162"/>
                </a:lnTo>
                <a:lnTo>
                  <a:pt x="1712" y="1162"/>
                </a:lnTo>
                <a:lnTo>
                  <a:pt x="1712" y="1162"/>
                </a:lnTo>
                <a:lnTo>
                  <a:pt x="1702" y="1162"/>
                </a:lnTo>
                <a:lnTo>
                  <a:pt x="1702" y="1162"/>
                </a:lnTo>
                <a:close/>
                <a:moveTo>
                  <a:pt x="1692" y="1194"/>
                </a:moveTo>
                <a:lnTo>
                  <a:pt x="1692" y="1194"/>
                </a:lnTo>
                <a:lnTo>
                  <a:pt x="1698" y="1190"/>
                </a:lnTo>
                <a:lnTo>
                  <a:pt x="1698" y="1190"/>
                </a:lnTo>
                <a:lnTo>
                  <a:pt x="1708" y="1196"/>
                </a:lnTo>
                <a:lnTo>
                  <a:pt x="1708" y="1196"/>
                </a:lnTo>
                <a:lnTo>
                  <a:pt x="1708" y="1196"/>
                </a:lnTo>
                <a:lnTo>
                  <a:pt x="1708" y="1196"/>
                </a:lnTo>
                <a:lnTo>
                  <a:pt x="1692" y="1194"/>
                </a:lnTo>
                <a:lnTo>
                  <a:pt x="1692" y="1194"/>
                </a:lnTo>
                <a:close/>
                <a:moveTo>
                  <a:pt x="1746" y="1182"/>
                </a:moveTo>
                <a:lnTo>
                  <a:pt x="1746" y="1182"/>
                </a:lnTo>
                <a:lnTo>
                  <a:pt x="1750" y="1178"/>
                </a:lnTo>
                <a:lnTo>
                  <a:pt x="1756" y="1178"/>
                </a:lnTo>
                <a:lnTo>
                  <a:pt x="1756" y="1178"/>
                </a:lnTo>
                <a:lnTo>
                  <a:pt x="1762" y="1176"/>
                </a:lnTo>
                <a:lnTo>
                  <a:pt x="1762" y="1170"/>
                </a:lnTo>
                <a:lnTo>
                  <a:pt x="1762" y="1170"/>
                </a:lnTo>
                <a:lnTo>
                  <a:pt x="1764" y="1168"/>
                </a:lnTo>
                <a:lnTo>
                  <a:pt x="1766" y="1166"/>
                </a:lnTo>
                <a:lnTo>
                  <a:pt x="1766" y="1166"/>
                </a:lnTo>
                <a:lnTo>
                  <a:pt x="1776" y="1178"/>
                </a:lnTo>
                <a:lnTo>
                  <a:pt x="1776" y="1178"/>
                </a:lnTo>
                <a:lnTo>
                  <a:pt x="1764" y="1188"/>
                </a:lnTo>
                <a:lnTo>
                  <a:pt x="1764" y="1188"/>
                </a:lnTo>
                <a:lnTo>
                  <a:pt x="1746" y="1182"/>
                </a:lnTo>
                <a:lnTo>
                  <a:pt x="1746" y="1182"/>
                </a:lnTo>
                <a:close/>
                <a:moveTo>
                  <a:pt x="1758" y="1196"/>
                </a:moveTo>
                <a:lnTo>
                  <a:pt x="1758" y="1196"/>
                </a:lnTo>
                <a:lnTo>
                  <a:pt x="1758" y="1196"/>
                </a:lnTo>
                <a:lnTo>
                  <a:pt x="1758" y="1196"/>
                </a:lnTo>
                <a:lnTo>
                  <a:pt x="1758" y="1196"/>
                </a:lnTo>
                <a:lnTo>
                  <a:pt x="1758" y="1196"/>
                </a:lnTo>
                <a:lnTo>
                  <a:pt x="1758" y="1196"/>
                </a:lnTo>
                <a:lnTo>
                  <a:pt x="1758" y="1196"/>
                </a:lnTo>
                <a:lnTo>
                  <a:pt x="1758" y="1196"/>
                </a:lnTo>
                <a:lnTo>
                  <a:pt x="1758" y="1196"/>
                </a:lnTo>
                <a:lnTo>
                  <a:pt x="1758" y="1196"/>
                </a:lnTo>
                <a:lnTo>
                  <a:pt x="1758" y="1196"/>
                </a:lnTo>
                <a:close/>
                <a:moveTo>
                  <a:pt x="1768" y="1202"/>
                </a:moveTo>
                <a:lnTo>
                  <a:pt x="1768" y="1202"/>
                </a:lnTo>
                <a:lnTo>
                  <a:pt x="1764" y="1200"/>
                </a:lnTo>
                <a:lnTo>
                  <a:pt x="1764" y="1200"/>
                </a:lnTo>
                <a:lnTo>
                  <a:pt x="1772" y="1196"/>
                </a:lnTo>
                <a:lnTo>
                  <a:pt x="1772" y="1196"/>
                </a:lnTo>
                <a:lnTo>
                  <a:pt x="1778" y="1198"/>
                </a:lnTo>
                <a:lnTo>
                  <a:pt x="1778" y="1198"/>
                </a:lnTo>
                <a:lnTo>
                  <a:pt x="1768" y="1202"/>
                </a:lnTo>
                <a:lnTo>
                  <a:pt x="1768" y="1202"/>
                </a:lnTo>
                <a:close/>
                <a:moveTo>
                  <a:pt x="1784" y="1172"/>
                </a:moveTo>
                <a:lnTo>
                  <a:pt x="1784" y="1172"/>
                </a:lnTo>
                <a:lnTo>
                  <a:pt x="1784" y="1158"/>
                </a:lnTo>
                <a:lnTo>
                  <a:pt x="1784" y="1158"/>
                </a:lnTo>
                <a:lnTo>
                  <a:pt x="1788" y="1160"/>
                </a:lnTo>
                <a:lnTo>
                  <a:pt x="1788" y="1160"/>
                </a:lnTo>
                <a:lnTo>
                  <a:pt x="1808" y="1162"/>
                </a:lnTo>
                <a:lnTo>
                  <a:pt x="1808" y="1162"/>
                </a:lnTo>
                <a:lnTo>
                  <a:pt x="1802" y="1168"/>
                </a:lnTo>
                <a:lnTo>
                  <a:pt x="1802" y="1168"/>
                </a:lnTo>
                <a:lnTo>
                  <a:pt x="1800" y="1168"/>
                </a:lnTo>
                <a:lnTo>
                  <a:pt x="1800" y="1168"/>
                </a:lnTo>
                <a:lnTo>
                  <a:pt x="1796" y="1174"/>
                </a:lnTo>
                <a:lnTo>
                  <a:pt x="1796" y="1174"/>
                </a:lnTo>
                <a:lnTo>
                  <a:pt x="1796" y="1174"/>
                </a:lnTo>
                <a:lnTo>
                  <a:pt x="1796" y="1174"/>
                </a:lnTo>
                <a:lnTo>
                  <a:pt x="1788" y="1172"/>
                </a:lnTo>
                <a:lnTo>
                  <a:pt x="1784" y="1172"/>
                </a:lnTo>
                <a:lnTo>
                  <a:pt x="1784" y="1172"/>
                </a:lnTo>
                <a:close/>
                <a:moveTo>
                  <a:pt x="1828" y="1218"/>
                </a:moveTo>
                <a:lnTo>
                  <a:pt x="1828" y="1218"/>
                </a:lnTo>
                <a:lnTo>
                  <a:pt x="1828" y="1216"/>
                </a:lnTo>
                <a:lnTo>
                  <a:pt x="1828" y="1216"/>
                </a:lnTo>
                <a:lnTo>
                  <a:pt x="1828" y="1218"/>
                </a:lnTo>
                <a:lnTo>
                  <a:pt x="1828" y="1218"/>
                </a:lnTo>
                <a:close/>
                <a:moveTo>
                  <a:pt x="1976" y="1124"/>
                </a:moveTo>
                <a:lnTo>
                  <a:pt x="1976" y="1124"/>
                </a:lnTo>
                <a:lnTo>
                  <a:pt x="1968" y="1120"/>
                </a:lnTo>
                <a:lnTo>
                  <a:pt x="1968" y="1120"/>
                </a:lnTo>
                <a:lnTo>
                  <a:pt x="1958" y="1124"/>
                </a:lnTo>
                <a:lnTo>
                  <a:pt x="1950" y="1126"/>
                </a:lnTo>
                <a:lnTo>
                  <a:pt x="1950" y="1126"/>
                </a:lnTo>
                <a:lnTo>
                  <a:pt x="1944" y="1128"/>
                </a:lnTo>
                <a:lnTo>
                  <a:pt x="1940" y="1128"/>
                </a:lnTo>
                <a:lnTo>
                  <a:pt x="1930" y="1128"/>
                </a:lnTo>
                <a:lnTo>
                  <a:pt x="1930" y="1128"/>
                </a:lnTo>
                <a:lnTo>
                  <a:pt x="1920" y="1124"/>
                </a:lnTo>
                <a:lnTo>
                  <a:pt x="1918" y="1120"/>
                </a:lnTo>
                <a:lnTo>
                  <a:pt x="1916" y="1118"/>
                </a:lnTo>
                <a:lnTo>
                  <a:pt x="1916" y="1118"/>
                </a:lnTo>
                <a:lnTo>
                  <a:pt x="1934" y="1122"/>
                </a:lnTo>
                <a:lnTo>
                  <a:pt x="1934" y="1122"/>
                </a:lnTo>
                <a:lnTo>
                  <a:pt x="1936" y="1124"/>
                </a:lnTo>
                <a:lnTo>
                  <a:pt x="1940" y="1128"/>
                </a:lnTo>
                <a:lnTo>
                  <a:pt x="1940" y="1128"/>
                </a:lnTo>
                <a:lnTo>
                  <a:pt x="1942" y="1120"/>
                </a:lnTo>
                <a:lnTo>
                  <a:pt x="1942" y="1120"/>
                </a:lnTo>
                <a:lnTo>
                  <a:pt x="1956" y="1122"/>
                </a:lnTo>
                <a:lnTo>
                  <a:pt x="1956" y="1122"/>
                </a:lnTo>
                <a:lnTo>
                  <a:pt x="1958" y="1120"/>
                </a:lnTo>
                <a:lnTo>
                  <a:pt x="1958" y="1120"/>
                </a:lnTo>
                <a:lnTo>
                  <a:pt x="1952" y="1114"/>
                </a:lnTo>
                <a:lnTo>
                  <a:pt x="1952" y="1114"/>
                </a:lnTo>
                <a:lnTo>
                  <a:pt x="1960" y="1110"/>
                </a:lnTo>
                <a:lnTo>
                  <a:pt x="1960" y="1110"/>
                </a:lnTo>
                <a:lnTo>
                  <a:pt x="1962" y="1112"/>
                </a:lnTo>
                <a:lnTo>
                  <a:pt x="1962" y="1112"/>
                </a:lnTo>
                <a:lnTo>
                  <a:pt x="1966" y="1116"/>
                </a:lnTo>
                <a:lnTo>
                  <a:pt x="1968" y="1118"/>
                </a:lnTo>
                <a:lnTo>
                  <a:pt x="1974" y="1118"/>
                </a:lnTo>
                <a:lnTo>
                  <a:pt x="1974" y="1118"/>
                </a:lnTo>
                <a:lnTo>
                  <a:pt x="1976" y="1120"/>
                </a:lnTo>
                <a:lnTo>
                  <a:pt x="1978" y="1122"/>
                </a:lnTo>
                <a:lnTo>
                  <a:pt x="1978" y="1122"/>
                </a:lnTo>
                <a:lnTo>
                  <a:pt x="1976" y="1124"/>
                </a:lnTo>
                <a:lnTo>
                  <a:pt x="1976" y="1124"/>
                </a:lnTo>
                <a:close/>
                <a:moveTo>
                  <a:pt x="1976" y="1070"/>
                </a:moveTo>
                <a:lnTo>
                  <a:pt x="1976" y="1070"/>
                </a:lnTo>
                <a:lnTo>
                  <a:pt x="1976" y="1070"/>
                </a:lnTo>
                <a:lnTo>
                  <a:pt x="1976" y="1070"/>
                </a:lnTo>
                <a:lnTo>
                  <a:pt x="1984" y="1072"/>
                </a:lnTo>
                <a:lnTo>
                  <a:pt x="1990" y="1070"/>
                </a:lnTo>
                <a:lnTo>
                  <a:pt x="1990" y="1070"/>
                </a:lnTo>
                <a:lnTo>
                  <a:pt x="1990" y="1072"/>
                </a:lnTo>
                <a:lnTo>
                  <a:pt x="1990" y="1072"/>
                </a:lnTo>
                <a:lnTo>
                  <a:pt x="1984" y="1072"/>
                </a:lnTo>
                <a:lnTo>
                  <a:pt x="1976" y="1070"/>
                </a:lnTo>
                <a:lnTo>
                  <a:pt x="1976" y="1070"/>
                </a:lnTo>
                <a:close/>
                <a:moveTo>
                  <a:pt x="2010" y="1076"/>
                </a:moveTo>
                <a:lnTo>
                  <a:pt x="2010" y="1076"/>
                </a:lnTo>
                <a:lnTo>
                  <a:pt x="2010" y="1076"/>
                </a:lnTo>
                <a:lnTo>
                  <a:pt x="2010" y="1076"/>
                </a:lnTo>
                <a:lnTo>
                  <a:pt x="2014" y="1076"/>
                </a:lnTo>
                <a:lnTo>
                  <a:pt x="2014" y="1076"/>
                </a:lnTo>
                <a:lnTo>
                  <a:pt x="2010" y="1078"/>
                </a:lnTo>
                <a:lnTo>
                  <a:pt x="2010" y="1078"/>
                </a:lnTo>
                <a:lnTo>
                  <a:pt x="2010" y="1078"/>
                </a:lnTo>
                <a:lnTo>
                  <a:pt x="2010" y="1078"/>
                </a:lnTo>
                <a:lnTo>
                  <a:pt x="2014" y="1076"/>
                </a:lnTo>
                <a:lnTo>
                  <a:pt x="2014" y="1076"/>
                </a:lnTo>
                <a:lnTo>
                  <a:pt x="2010" y="1076"/>
                </a:lnTo>
                <a:lnTo>
                  <a:pt x="2010" y="1076"/>
                </a:lnTo>
                <a:close/>
                <a:moveTo>
                  <a:pt x="2006" y="1126"/>
                </a:moveTo>
                <a:lnTo>
                  <a:pt x="2006" y="1126"/>
                </a:lnTo>
                <a:lnTo>
                  <a:pt x="2006" y="1126"/>
                </a:lnTo>
                <a:lnTo>
                  <a:pt x="2006" y="1126"/>
                </a:lnTo>
                <a:lnTo>
                  <a:pt x="2024" y="1122"/>
                </a:lnTo>
                <a:lnTo>
                  <a:pt x="2024" y="1122"/>
                </a:lnTo>
                <a:lnTo>
                  <a:pt x="2018" y="1120"/>
                </a:lnTo>
                <a:lnTo>
                  <a:pt x="2012" y="1120"/>
                </a:lnTo>
                <a:lnTo>
                  <a:pt x="2012" y="1120"/>
                </a:lnTo>
                <a:lnTo>
                  <a:pt x="2018" y="1120"/>
                </a:lnTo>
                <a:lnTo>
                  <a:pt x="2024" y="1122"/>
                </a:lnTo>
                <a:lnTo>
                  <a:pt x="2024" y="1122"/>
                </a:lnTo>
                <a:lnTo>
                  <a:pt x="2006" y="1126"/>
                </a:lnTo>
                <a:lnTo>
                  <a:pt x="2006" y="1126"/>
                </a:lnTo>
                <a:close/>
                <a:moveTo>
                  <a:pt x="2030" y="1080"/>
                </a:moveTo>
                <a:lnTo>
                  <a:pt x="2030" y="1080"/>
                </a:lnTo>
                <a:lnTo>
                  <a:pt x="2030" y="1080"/>
                </a:lnTo>
                <a:lnTo>
                  <a:pt x="2032" y="1078"/>
                </a:lnTo>
                <a:lnTo>
                  <a:pt x="2032" y="1078"/>
                </a:lnTo>
                <a:lnTo>
                  <a:pt x="2030" y="1076"/>
                </a:lnTo>
                <a:lnTo>
                  <a:pt x="2030" y="1076"/>
                </a:lnTo>
                <a:lnTo>
                  <a:pt x="2028" y="1076"/>
                </a:lnTo>
                <a:lnTo>
                  <a:pt x="2028" y="1076"/>
                </a:lnTo>
                <a:lnTo>
                  <a:pt x="2030" y="1076"/>
                </a:lnTo>
                <a:lnTo>
                  <a:pt x="2030" y="1076"/>
                </a:lnTo>
                <a:lnTo>
                  <a:pt x="2032" y="1078"/>
                </a:lnTo>
                <a:lnTo>
                  <a:pt x="2032" y="1078"/>
                </a:lnTo>
                <a:lnTo>
                  <a:pt x="2030" y="1080"/>
                </a:lnTo>
                <a:lnTo>
                  <a:pt x="2030" y="1080"/>
                </a:lnTo>
                <a:close/>
                <a:moveTo>
                  <a:pt x="2050" y="1150"/>
                </a:moveTo>
                <a:lnTo>
                  <a:pt x="2050" y="1150"/>
                </a:lnTo>
                <a:lnTo>
                  <a:pt x="2050" y="1150"/>
                </a:lnTo>
                <a:lnTo>
                  <a:pt x="2050" y="1150"/>
                </a:lnTo>
                <a:lnTo>
                  <a:pt x="2058" y="1152"/>
                </a:lnTo>
                <a:lnTo>
                  <a:pt x="2064" y="1152"/>
                </a:lnTo>
                <a:lnTo>
                  <a:pt x="2064" y="1152"/>
                </a:lnTo>
                <a:lnTo>
                  <a:pt x="2064" y="1152"/>
                </a:lnTo>
                <a:lnTo>
                  <a:pt x="2064" y="1152"/>
                </a:lnTo>
                <a:lnTo>
                  <a:pt x="2058" y="1154"/>
                </a:lnTo>
                <a:lnTo>
                  <a:pt x="2050" y="1150"/>
                </a:lnTo>
                <a:lnTo>
                  <a:pt x="2050" y="1150"/>
                </a:lnTo>
                <a:close/>
                <a:moveTo>
                  <a:pt x="2098" y="1134"/>
                </a:moveTo>
                <a:lnTo>
                  <a:pt x="2098" y="1134"/>
                </a:lnTo>
                <a:lnTo>
                  <a:pt x="2098" y="1132"/>
                </a:lnTo>
                <a:lnTo>
                  <a:pt x="2098" y="1132"/>
                </a:lnTo>
                <a:lnTo>
                  <a:pt x="2094" y="1132"/>
                </a:lnTo>
                <a:lnTo>
                  <a:pt x="2094" y="1132"/>
                </a:lnTo>
                <a:lnTo>
                  <a:pt x="2098" y="1132"/>
                </a:lnTo>
                <a:lnTo>
                  <a:pt x="2098" y="1132"/>
                </a:lnTo>
                <a:lnTo>
                  <a:pt x="2098" y="1134"/>
                </a:lnTo>
                <a:lnTo>
                  <a:pt x="2098" y="1134"/>
                </a:lnTo>
                <a:close/>
                <a:moveTo>
                  <a:pt x="2112" y="1100"/>
                </a:moveTo>
                <a:lnTo>
                  <a:pt x="2112" y="1100"/>
                </a:lnTo>
                <a:lnTo>
                  <a:pt x="2114" y="1098"/>
                </a:lnTo>
                <a:lnTo>
                  <a:pt x="2114" y="1098"/>
                </a:lnTo>
                <a:lnTo>
                  <a:pt x="2114" y="1098"/>
                </a:lnTo>
                <a:lnTo>
                  <a:pt x="2112" y="1100"/>
                </a:lnTo>
                <a:lnTo>
                  <a:pt x="2112" y="1100"/>
                </a:lnTo>
                <a:close/>
                <a:moveTo>
                  <a:pt x="2160" y="1090"/>
                </a:moveTo>
                <a:lnTo>
                  <a:pt x="2160" y="1090"/>
                </a:lnTo>
                <a:lnTo>
                  <a:pt x="2168" y="1088"/>
                </a:lnTo>
                <a:lnTo>
                  <a:pt x="2168" y="1088"/>
                </a:lnTo>
                <a:lnTo>
                  <a:pt x="2160" y="1088"/>
                </a:lnTo>
                <a:lnTo>
                  <a:pt x="2160" y="1088"/>
                </a:lnTo>
                <a:lnTo>
                  <a:pt x="2168" y="1088"/>
                </a:lnTo>
                <a:lnTo>
                  <a:pt x="2168" y="1088"/>
                </a:lnTo>
                <a:lnTo>
                  <a:pt x="2160" y="1090"/>
                </a:lnTo>
                <a:lnTo>
                  <a:pt x="2160" y="1090"/>
                </a:lnTo>
                <a:close/>
                <a:moveTo>
                  <a:pt x="2188" y="1098"/>
                </a:moveTo>
                <a:lnTo>
                  <a:pt x="2188" y="1098"/>
                </a:lnTo>
                <a:lnTo>
                  <a:pt x="2192" y="1098"/>
                </a:lnTo>
                <a:lnTo>
                  <a:pt x="2194" y="1094"/>
                </a:lnTo>
                <a:lnTo>
                  <a:pt x="2194" y="1094"/>
                </a:lnTo>
                <a:lnTo>
                  <a:pt x="2194" y="1094"/>
                </a:lnTo>
                <a:lnTo>
                  <a:pt x="2194" y="1094"/>
                </a:lnTo>
                <a:lnTo>
                  <a:pt x="2192" y="1098"/>
                </a:lnTo>
                <a:lnTo>
                  <a:pt x="2188" y="1098"/>
                </a:lnTo>
                <a:lnTo>
                  <a:pt x="2188" y="1098"/>
                </a:lnTo>
                <a:close/>
                <a:moveTo>
                  <a:pt x="2322" y="1144"/>
                </a:moveTo>
                <a:lnTo>
                  <a:pt x="2322" y="1144"/>
                </a:lnTo>
                <a:lnTo>
                  <a:pt x="2322" y="1144"/>
                </a:lnTo>
                <a:lnTo>
                  <a:pt x="2322" y="1148"/>
                </a:lnTo>
                <a:lnTo>
                  <a:pt x="2322" y="1148"/>
                </a:lnTo>
                <a:lnTo>
                  <a:pt x="2312" y="1148"/>
                </a:lnTo>
                <a:lnTo>
                  <a:pt x="2312" y="1148"/>
                </a:lnTo>
                <a:lnTo>
                  <a:pt x="2312" y="1148"/>
                </a:lnTo>
                <a:lnTo>
                  <a:pt x="2312" y="1148"/>
                </a:lnTo>
                <a:lnTo>
                  <a:pt x="2322" y="1148"/>
                </a:lnTo>
                <a:lnTo>
                  <a:pt x="2322" y="1148"/>
                </a:lnTo>
                <a:lnTo>
                  <a:pt x="2322" y="1144"/>
                </a:lnTo>
                <a:lnTo>
                  <a:pt x="2322" y="1144"/>
                </a:lnTo>
                <a:close/>
                <a:moveTo>
                  <a:pt x="2312" y="1088"/>
                </a:moveTo>
                <a:lnTo>
                  <a:pt x="2312" y="1088"/>
                </a:lnTo>
                <a:lnTo>
                  <a:pt x="2318" y="1090"/>
                </a:lnTo>
                <a:lnTo>
                  <a:pt x="2322" y="1088"/>
                </a:lnTo>
                <a:lnTo>
                  <a:pt x="2322" y="1088"/>
                </a:lnTo>
                <a:lnTo>
                  <a:pt x="2320" y="1086"/>
                </a:lnTo>
                <a:lnTo>
                  <a:pt x="2320" y="1086"/>
                </a:lnTo>
                <a:lnTo>
                  <a:pt x="2320" y="1086"/>
                </a:lnTo>
                <a:lnTo>
                  <a:pt x="2320" y="1086"/>
                </a:lnTo>
                <a:lnTo>
                  <a:pt x="2322" y="1088"/>
                </a:lnTo>
                <a:lnTo>
                  <a:pt x="2322" y="1088"/>
                </a:lnTo>
                <a:lnTo>
                  <a:pt x="2318" y="1090"/>
                </a:lnTo>
                <a:lnTo>
                  <a:pt x="2312" y="1088"/>
                </a:lnTo>
                <a:lnTo>
                  <a:pt x="2312" y="1088"/>
                </a:lnTo>
                <a:lnTo>
                  <a:pt x="2312" y="1088"/>
                </a:lnTo>
                <a:lnTo>
                  <a:pt x="2312" y="1088"/>
                </a:lnTo>
                <a:close/>
                <a:moveTo>
                  <a:pt x="2310" y="1128"/>
                </a:moveTo>
                <a:lnTo>
                  <a:pt x="2310" y="1128"/>
                </a:lnTo>
                <a:lnTo>
                  <a:pt x="2316" y="1130"/>
                </a:lnTo>
                <a:lnTo>
                  <a:pt x="2316" y="1130"/>
                </a:lnTo>
                <a:lnTo>
                  <a:pt x="2314" y="1132"/>
                </a:lnTo>
                <a:lnTo>
                  <a:pt x="2314" y="1132"/>
                </a:lnTo>
                <a:lnTo>
                  <a:pt x="2314" y="1132"/>
                </a:lnTo>
                <a:lnTo>
                  <a:pt x="2314" y="1132"/>
                </a:lnTo>
                <a:lnTo>
                  <a:pt x="2314" y="1130"/>
                </a:lnTo>
                <a:lnTo>
                  <a:pt x="2314" y="1130"/>
                </a:lnTo>
                <a:lnTo>
                  <a:pt x="2310" y="1128"/>
                </a:lnTo>
                <a:lnTo>
                  <a:pt x="2310" y="1128"/>
                </a:lnTo>
                <a:lnTo>
                  <a:pt x="2310" y="1128"/>
                </a:lnTo>
                <a:lnTo>
                  <a:pt x="2310" y="1128"/>
                </a:lnTo>
                <a:close/>
                <a:moveTo>
                  <a:pt x="2300" y="1116"/>
                </a:moveTo>
                <a:lnTo>
                  <a:pt x="2300" y="1116"/>
                </a:lnTo>
                <a:lnTo>
                  <a:pt x="2308" y="1120"/>
                </a:lnTo>
                <a:lnTo>
                  <a:pt x="2308" y="1120"/>
                </a:lnTo>
                <a:lnTo>
                  <a:pt x="2308" y="1120"/>
                </a:lnTo>
                <a:lnTo>
                  <a:pt x="2304" y="1122"/>
                </a:lnTo>
                <a:lnTo>
                  <a:pt x="2304" y="1122"/>
                </a:lnTo>
                <a:lnTo>
                  <a:pt x="2304" y="1122"/>
                </a:lnTo>
                <a:lnTo>
                  <a:pt x="2304" y="1122"/>
                </a:lnTo>
                <a:lnTo>
                  <a:pt x="2308" y="1120"/>
                </a:lnTo>
                <a:lnTo>
                  <a:pt x="2308" y="1120"/>
                </a:lnTo>
                <a:lnTo>
                  <a:pt x="2300" y="1116"/>
                </a:lnTo>
                <a:lnTo>
                  <a:pt x="2300" y="1116"/>
                </a:lnTo>
                <a:lnTo>
                  <a:pt x="2300" y="1116"/>
                </a:lnTo>
                <a:lnTo>
                  <a:pt x="2300" y="1116"/>
                </a:lnTo>
                <a:close/>
                <a:moveTo>
                  <a:pt x="2292" y="1122"/>
                </a:moveTo>
                <a:lnTo>
                  <a:pt x="2292" y="1122"/>
                </a:lnTo>
                <a:lnTo>
                  <a:pt x="2294" y="1124"/>
                </a:lnTo>
                <a:lnTo>
                  <a:pt x="2294" y="1124"/>
                </a:lnTo>
                <a:lnTo>
                  <a:pt x="2292" y="1126"/>
                </a:lnTo>
                <a:lnTo>
                  <a:pt x="2292" y="1126"/>
                </a:lnTo>
                <a:lnTo>
                  <a:pt x="2292" y="1126"/>
                </a:lnTo>
                <a:lnTo>
                  <a:pt x="2292" y="1126"/>
                </a:lnTo>
                <a:lnTo>
                  <a:pt x="2294" y="1124"/>
                </a:lnTo>
                <a:lnTo>
                  <a:pt x="2294" y="1124"/>
                </a:lnTo>
                <a:lnTo>
                  <a:pt x="2292" y="1122"/>
                </a:lnTo>
                <a:lnTo>
                  <a:pt x="2292" y="1122"/>
                </a:lnTo>
                <a:lnTo>
                  <a:pt x="2292" y="1122"/>
                </a:lnTo>
                <a:lnTo>
                  <a:pt x="2292" y="1122"/>
                </a:lnTo>
                <a:close/>
                <a:moveTo>
                  <a:pt x="2284" y="1150"/>
                </a:moveTo>
                <a:lnTo>
                  <a:pt x="2284" y="1150"/>
                </a:lnTo>
                <a:lnTo>
                  <a:pt x="2290" y="1152"/>
                </a:lnTo>
                <a:lnTo>
                  <a:pt x="2290" y="1152"/>
                </a:lnTo>
                <a:lnTo>
                  <a:pt x="2284" y="1154"/>
                </a:lnTo>
                <a:lnTo>
                  <a:pt x="2278" y="1156"/>
                </a:lnTo>
                <a:lnTo>
                  <a:pt x="2278" y="1156"/>
                </a:lnTo>
                <a:lnTo>
                  <a:pt x="2284" y="1154"/>
                </a:lnTo>
                <a:lnTo>
                  <a:pt x="2290" y="1152"/>
                </a:lnTo>
                <a:lnTo>
                  <a:pt x="2290" y="1152"/>
                </a:lnTo>
                <a:lnTo>
                  <a:pt x="2284" y="1150"/>
                </a:lnTo>
                <a:lnTo>
                  <a:pt x="2284" y="1150"/>
                </a:lnTo>
                <a:close/>
                <a:moveTo>
                  <a:pt x="2280" y="1064"/>
                </a:moveTo>
                <a:lnTo>
                  <a:pt x="2280" y="1064"/>
                </a:lnTo>
                <a:lnTo>
                  <a:pt x="2284" y="1066"/>
                </a:lnTo>
                <a:lnTo>
                  <a:pt x="2284" y="1066"/>
                </a:lnTo>
                <a:lnTo>
                  <a:pt x="2282" y="1066"/>
                </a:lnTo>
                <a:lnTo>
                  <a:pt x="2282" y="1066"/>
                </a:lnTo>
                <a:lnTo>
                  <a:pt x="2282" y="1066"/>
                </a:lnTo>
                <a:lnTo>
                  <a:pt x="2282" y="1066"/>
                </a:lnTo>
                <a:lnTo>
                  <a:pt x="2284" y="1066"/>
                </a:lnTo>
                <a:lnTo>
                  <a:pt x="2284" y="1066"/>
                </a:lnTo>
                <a:lnTo>
                  <a:pt x="2280" y="1064"/>
                </a:lnTo>
                <a:lnTo>
                  <a:pt x="2280" y="1064"/>
                </a:lnTo>
                <a:lnTo>
                  <a:pt x="2280" y="1064"/>
                </a:lnTo>
                <a:lnTo>
                  <a:pt x="2280" y="1064"/>
                </a:lnTo>
                <a:close/>
                <a:moveTo>
                  <a:pt x="2270" y="1100"/>
                </a:moveTo>
                <a:lnTo>
                  <a:pt x="2270" y="1100"/>
                </a:lnTo>
                <a:lnTo>
                  <a:pt x="2280" y="1104"/>
                </a:lnTo>
                <a:lnTo>
                  <a:pt x="2280" y="1104"/>
                </a:lnTo>
                <a:lnTo>
                  <a:pt x="2286" y="1100"/>
                </a:lnTo>
                <a:lnTo>
                  <a:pt x="2286" y="1100"/>
                </a:lnTo>
                <a:lnTo>
                  <a:pt x="2286" y="1100"/>
                </a:lnTo>
                <a:lnTo>
                  <a:pt x="2280" y="1104"/>
                </a:lnTo>
                <a:lnTo>
                  <a:pt x="2280" y="1104"/>
                </a:lnTo>
                <a:lnTo>
                  <a:pt x="2270" y="1100"/>
                </a:lnTo>
                <a:lnTo>
                  <a:pt x="2270" y="1100"/>
                </a:lnTo>
                <a:close/>
                <a:moveTo>
                  <a:pt x="2278" y="1126"/>
                </a:moveTo>
                <a:lnTo>
                  <a:pt x="2278" y="1126"/>
                </a:lnTo>
                <a:lnTo>
                  <a:pt x="2278" y="1126"/>
                </a:lnTo>
                <a:lnTo>
                  <a:pt x="2278" y="1126"/>
                </a:lnTo>
                <a:lnTo>
                  <a:pt x="2282" y="1126"/>
                </a:lnTo>
                <a:lnTo>
                  <a:pt x="2282" y="1126"/>
                </a:lnTo>
                <a:lnTo>
                  <a:pt x="2280" y="1126"/>
                </a:lnTo>
                <a:lnTo>
                  <a:pt x="2280" y="1126"/>
                </a:lnTo>
                <a:lnTo>
                  <a:pt x="2280" y="1126"/>
                </a:lnTo>
                <a:lnTo>
                  <a:pt x="2280" y="1126"/>
                </a:lnTo>
                <a:lnTo>
                  <a:pt x="2282" y="1126"/>
                </a:lnTo>
                <a:lnTo>
                  <a:pt x="2282" y="1126"/>
                </a:lnTo>
                <a:lnTo>
                  <a:pt x="2278" y="1126"/>
                </a:lnTo>
                <a:lnTo>
                  <a:pt x="2278" y="1126"/>
                </a:lnTo>
                <a:close/>
                <a:moveTo>
                  <a:pt x="2278" y="1132"/>
                </a:moveTo>
                <a:lnTo>
                  <a:pt x="2278" y="1132"/>
                </a:lnTo>
                <a:lnTo>
                  <a:pt x="2278" y="1132"/>
                </a:lnTo>
                <a:lnTo>
                  <a:pt x="2266" y="1128"/>
                </a:lnTo>
                <a:lnTo>
                  <a:pt x="2266" y="1128"/>
                </a:lnTo>
                <a:lnTo>
                  <a:pt x="2266" y="1128"/>
                </a:lnTo>
                <a:lnTo>
                  <a:pt x="2266" y="1128"/>
                </a:lnTo>
                <a:lnTo>
                  <a:pt x="2278" y="1132"/>
                </a:lnTo>
                <a:lnTo>
                  <a:pt x="2278" y="1132"/>
                </a:lnTo>
                <a:close/>
                <a:moveTo>
                  <a:pt x="2262" y="1060"/>
                </a:moveTo>
                <a:lnTo>
                  <a:pt x="2262" y="1060"/>
                </a:lnTo>
                <a:lnTo>
                  <a:pt x="2270" y="1064"/>
                </a:lnTo>
                <a:lnTo>
                  <a:pt x="2270" y="1064"/>
                </a:lnTo>
                <a:lnTo>
                  <a:pt x="2266" y="1066"/>
                </a:lnTo>
                <a:lnTo>
                  <a:pt x="2266" y="1066"/>
                </a:lnTo>
                <a:lnTo>
                  <a:pt x="2264" y="1066"/>
                </a:lnTo>
                <a:lnTo>
                  <a:pt x="2264" y="1066"/>
                </a:lnTo>
                <a:lnTo>
                  <a:pt x="2266" y="1066"/>
                </a:lnTo>
                <a:lnTo>
                  <a:pt x="2266" y="1066"/>
                </a:lnTo>
                <a:lnTo>
                  <a:pt x="2270" y="1064"/>
                </a:lnTo>
                <a:lnTo>
                  <a:pt x="2270" y="1064"/>
                </a:lnTo>
                <a:lnTo>
                  <a:pt x="2262" y="1060"/>
                </a:lnTo>
                <a:lnTo>
                  <a:pt x="2262" y="1060"/>
                </a:lnTo>
                <a:lnTo>
                  <a:pt x="2262" y="1060"/>
                </a:lnTo>
                <a:lnTo>
                  <a:pt x="2262" y="1060"/>
                </a:lnTo>
                <a:close/>
                <a:moveTo>
                  <a:pt x="2276" y="1120"/>
                </a:moveTo>
                <a:lnTo>
                  <a:pt x="2276" y="1120"/>
                </a:lnTo>
                <a:lnTo>
                  <a:pt x="2276" y="1120"/>
                </a:lnTo>
                <a:lnTo>
                  <a:pt x="2276" y="1120"/>
                </a:lnTo>
                <a:lnTo>
                  <a:pt x="2260" y="1124"/>
                </a:lnTo>
                <a:lnTo>
                  <a:pt x="2260" y="1124"/>
                </a:lnTo>
                <a:lnTo>
                  <a:pt x="2260" y="1124"/>
                </a:lnTo>
                <a:lnTo>
                  <a:pt x="2260" y="1124"/>
                </a:lnTo>
                <a:lnTo>
                  <a:pt x="2260" y="1124"/>
                </a:lnTo>
                <a:lnTo>
                  <a:pt x="2276" y="1120"/>
                </a:lnTo>
                <a:lnTo>
                  <a:pt x="2276" y="1120"/>
                </a:lnTo>
                <a:close/>
                <a:moveTo>
                  <a:pt x="2254" y="1110"/>
                </a:moveTo>
                <a:lnTo>
                  <a:pt x="2254" y="1110"/>
                </a:lnTo>
                <a:lnTo>
                  <a:pt x="2254" y="1106"/>
                </a:lnTo>
                <a:lnTo>
                  <a:pt x="2254" y="1106"/>
                </a:lnTo>
                <a:lnTo>
                  <a:pt x="2254" y="1106"/>
                </a:lnTo>
                <a:lnTo>
                  <a:pt x="2254" y="1106"/>
                </a:lnTo>
                <a:lnTo>
                  <a:pt x="2254" y="1106"/>
                </a:lnTo>
                <a:lnTo>
                  <a:pt x="2254" y="1106"/>
                </a:lnTo>
                <a:lnTo>
                  <a:pt x="2254" y="1110"/>
                </a:lnTo>
                <a:lnTo>
                  <a:pt x="2254" y="1110"/>
                </a:lnTo>
                <a:lnTo>
                  <a:pt x="2250" y="1108"/>
                </a:lnTo>
                <a:lnTo>
                  <a:pt x="2250" y="1108"/>
                </a:lnTo>
                <a:lnTo>
                  <a:pt x="2250" y="1108"/>
                </a:lnTo>
                <a:lnTo>
                  <a:pt x="2250" y="1108"/>
                </a:lnTo>
                <a:lnTo>
                  <a:pt x="2254" y="1110"/>
                </a:lnTo>
                <a:lnTo>
                  <a:pt x="2254" y="1110"/>
                </a:lnTo>
                <a:close/>
                <a:moveTo>
                  <a:pt x="2242" y="1118"/>
                </a:moveTo>
                <a:lnTo>
                  <a:pt x="2242" y="1118"/>
                </a:lnTo>
                <a:lnTo>
                  <a:pt x="2234" y="1120"/>
                </a:lnTo>
                <a:lnTo>
                  <a:pt x="2234" y="1120"/>
                </a:lnTo>
                <a:lnTo>
                  <a:pt x="2218" y="1110"/>
                </a:lnTo>
                <a:lnTo>
                  <a:pt x="2218" y="1110"/>
                </a:lnTo>
                <a:lnTo>
                  <a:pt x="2222" y="1108"/>
                </a:lnTo>
                <a:lnTo>
                  <a:pt x="2224" y="1106"/>
                </a:lnTo>
                <a:lnTo>
                  <a:pt x="2224" y="1106"/>
                </a:lnTo>
                <a:lnTo>
                  <a:pt x="2228" y="1108"/>
                </a:lnTo>
                <a:lnTo>
                  <a:pt x="2234" y="1110"/>
                </a:lnTo>
                <a:lnTo>
                  <a:pt x="2234" y="1110"/>
                </a:lnTo>
                <a:lnTo>
                  <a:pt x="2240" y="1110"/>
                </a:lnTo>
                <a:lnTo>
                  <a:pt x="2240" y="1110"/>
                </a:lnTo>
                <a:lnTo>
                  <a:pt x="2246" y="1112"/>
                </a:lnTo>
                <a:lnTo>
                  <a:pt x="2246" y="1112"/>
                </a:lnTo>
                <a:lnTo>
                  <a:pt x="2242" y="1118"/>
                </a:lnTo>
                <a:lnTo>
                  <a:pt x="2242" y="1118"/>
                </a:lnTo>
                <a:close/>
                <a:moveTo>
                  <a:pt x="2248" y="1118"/>
                </a:moveTo>
                <a:lnTo>
                  <a:pt x="2248" y="1118"/>
                </a:lnTo>
                <a:lnTo>
                  <a:pt x="2260" y="1124"/>
                </a:lnTo>
                <a:lnTo>
                  <a:pt x="2260" y="1124"/>
                </a:lnTo>
                <a:lnTo>
                  <a:pt x="2260" y="1124"/>
                </a:lnTo>
                <a:lnTo>
                  <a:pt x="2260" y="1124"/>
                </a:lnTo>
                <a:lnTo>
                  <a:pt x="2248" y="1118"/>
                </a:lnTo>
                <a:lnTo>
                  <a:pt x="2248" y="1118"/>
                </a:lnTo>
                <a:lnTo>
                  <a:pt x="2248" y="1118"/>
                </a:lnTo>
                <a:lnTo>
                  <a:pt x="2248" y="1118"/>
                </a:lnTo>
                <a:close/>
                <a:moveTo>
                  <a:pt x="2274" y="1154"/>
                </a:moveTo>
                <a:lnTo>
                  <a:pt x="2274" y="1154"/>
                </a:lnTo>
                <a:lnTo>
                  <a:pt x="2274" y="1154"/>
                </a:lnTo>
                <a:lnTo>
                  <a:pt x="2274" y="1154"/>
                </a:lnTo>
                <a:lnTo>
                  <a:pt x="2276" y="1150"/>
                </a:lnTo>
                <a:lnTo>
                  <a:pt x="2270" y="1150"/>
                </a:lnTo>
                <a:lnTo>
                  <a:pt x="2270" y="1150"/>
                </a:lnTo>
                <a:lnTo>
                  <a:pt x="2270" y="1150"/>
                </a:lnTo>
                <a:lnTo>
                  <a:pt x="2270" y="1150"/>
                </a:lnTo>
                <a:lnTo>
                  <a:pt x="2276" y="1150"/>
                </a:lnTo>
                <a:lnTo>
                  <a:pt x="2274" y="1154"/>
                </a:lnTo>
                <a:lnTo>
                  <a:pt x="2274" y="1154"/>
                </a:lnTo>
                <a:close/>
                <a:moveTo>
                  <a:pt x="2256" y="1142"/>
                </a:moveTo>
                <a:lnTo>
                  <a:pt x="2256" y="1142"/>
                </a:lnTo>
                <a:lnTo>
                  <a:pt x="2248" y="1136"/>
                </a:lnTo>
                <a:lnTo>
                  <a:pt x="2248" y="1136"/>
                </a:lnTo>
                <a:lnTo>
                  <a:pt x="2258" y="1134"/>
                </a:lnTo>
                <a:lnTo>
                  <a:pt x="2266" y="1136"/>
                </a:lnTo>
                <a:lnTo>
                  <a:pt x="2274" y="1136"/>
                </a:lnTo>
                <a:lnTo>
                  <a:pt x="2282" y="1136"/>
                </a:lnTo>
                <a:lnTo>
                  <a:pt x="2282" y="1136"/>
                </a:lnTo>
                <a:lnTo>
                  <a:pt x="2280" y="1142"/>
                </a:lnTo>
                <a:lnTo>
                  <a:pt x="2280" y="1142"/>
                </a:lnTo>
                <a:lnTo>
                  <a:pt x="2256" y="1142"/>
                </a:lnTo>
                <a:lnTo>
                  <a:pt x="2256" y="1142"/>
                </a:lnTo>
                <a:close/>
                <a:moveTo>
                  <a:pt x="2330" y="1178"/>
                </a:moveTo>
                <a:lnTo>
                  <a:pt x="2330" y="1178"/>
                </a:lnTo>
                <a:lnTo>
                  <a:pt x="2320" y="1178"/>
                </a:lnTo>
                <a:lnTo>
                  <a:pt x="2316" y="1178"/>
                </a:lnTo>
                <a:lnTo>
                  <a:pt x="2312" y="1180"/>
                </a:lnTo>
                <a:lnTo>
                  <a:pt x="2312" y="1180"/>
                </a:lnTo>
                <a:lnTo>
                  <a:pt x="2300" y="1176"/>
                </a:lnTo>
                <a:lnTo>
                  <a:pt x="2296" y="1172"/>
                </a:lnTo>
                <a:lnTo>
                  <a:pt x="2294" y="1170"/>
                </a:lnTo>
                <a:lnTo>
                  <a:pt x="2294" y="1166"/>
                </a:lnTo>
                <a:lnTo>
                  <a:pt x="2294" y="1166"/>
                </a:lnTo>
                <a:lnTo>
                  <a:pt x="2278" y="1166"/>
                </a:lnTo>
                <a:lnTo>
                  <a:pt x="2278" y="1166"/>
                </a:lnTo>
                <a:lnTo>
                  <a:pt x="2282" y="1160"/>
                </a:lnTo>
                <a:lnTo>
                  <a:pt x="2284" y="1158"/>
                </a:lnTo>
                <a:lnTo>
                  <a:pt x="2288" y="1158"/>
                </a:lnTo>
                <a:lnTo>
                  <a:pt x="2288" y="1158"/>
                </a:lnTo>
                <a:lnTo>
                  <a:pt x="2298" y="1158"/>
                </a:lnTo>
                <a:lnTo>
                  <a:pt x="2306" y="1162"/>
                </a:lnTo>
                <a:lnTo>
                  <a:pt x="2306" y="1162"/>
                </a:lnTo>
                <a:lnTo>
                  <a:pt x="2324" y="1172"/>
                </a:lnTo>
                <a:lnTo>
                  <a:pt x="2324" y="1172"/>
                </a:lnTo>
                <a:lnTo>
                  <a:pt x="2332" y="1176"/>
                </a:lnTo>
                <a:lnTo>
                  <a:pt x="2332" y="1176"/>
                </a:lnTo>
                <a:lnTo>
                  <a:pt x="2330" y="1178"/>
                </a:lnTo>
                <a:lnTo>
                  <a:pt x="2330" y="1178"/>
                </a:lnTo>
                <a:close/>
                <a:moveTo>
                  <a:pt x="2380" y="54"/>
                </a:moveTo>
                <a:lnTo>
                  <a:pt x="2380" y="54"/>
                </a:lnTo>
                <a:lnTo>
                  <a:pt x="2384" y="52"/>
                </a:lnTo>
                <a:lnTo>
                  <a:pt x="2384" y="50"/>
                </a:lnTo>
                <a:lnTo>
                  <a:pt x="2384" y="50"/>
                </a:lnTo>
                <a:lnTo>
                  <a:pt x="2384" y="50"/>
                </a:lnTo>
                <a:lnTo>
                  <a:pt x="2384" y="50"/>
                </a:lnTo>
                <a:lnTo>
                  <a:pt x="2384" y="52"/>
                </a:lnTo>
                <a:lnTo>
                  <a:pt x="2380" y="54"/>
                </a:lnTo>
                <a:lnTo>
                  <a:pt x="2380" y="54"/>
                </a:lnTo>
                <a:lnTo>
                  <a:pt x="2380" y="54"/>
                </a:lnTo>
                <a:lnTo>
                  <a:pt x="2380" y="54"/>
                </a:lnTo>
                <a:lnTo>
                  <a:pt x="2380" y="54"/>
                </a:lnTo>
                <a:lnTo>
                  <a:pt x="2380" y="54"/>
                </a:lnTo>
                <a:close/>
                <a:moveTo>
                  <a:pt x="2382" y="1130"/>
                </a:moveTo>
                <a:lnTo>
                  <a:pt x="2382" y="1130"/>
                </a:lnTo>
                <a:lnTo>
                  <a:pt x="2382" y="1130"/>
                </a:lnTo>
                <a:lnTo>
                  <a:pt x="2382" y="1130"/>
                </a:lnTo>
                <a:lnTo>
                  <a:pt x="2378" y="1132"/>
                </a:lnTo>
                <a:lnTo>
                  <a:pt x="2374" y="1130"/>
                </a:lnTo>
                <a:lnTo>
                  <a:pt x="2374" y="1130"/>
                </a:lnTo>
                <a:lnTo>
                  <a:pt x="2378" y="1132"/>
                </a:lnTo>
                <a:lnTo>
                  <a:pt x="2382" y="1130"/>
                </a:lnTo>
                <a:lnTo>
                  <a:pt x="2382" y="1130"/>
                </a:lnTo>
                <a:close/>
                <a:moveTo>
                  <a:pt x="2358" y="1148"/>
                </a:moveTo>
                <a:lnTo>
                  <a:pt x="2358" y="1148"/>
                </a:lnTo>
                <a:lnTo>
                  <a:pt x="2360" y="1150"/>
                </a:lnTo>
                <a:lnTo>
                  <a:pt x="2360" y="1150"/>
                </a:lnTo>
                <a:lnTo>
                  <a:pt x="2354" y="1150"/>
                </a:lnTo>
                <a:lnTo>
                  <a:pt x="2348" y="1150"/>
                </a:lnTo>
                <a:lnTo>
                  <a:pt x="2348" y="1150"/>
                </a:lnTo>
                <a:lnTo>
                  <a:pt x="2354" y="1150"/>
                </a:lnTo>
                <a:lnTo>
                  <a:pt x="2360" y="1150"/>
                </a:lnTo>
                <a:lnTo>
                  <a:pt x="2360" y="1150"/>
                </a:lnTo>
                <a:lnTo>
                  <a:pt x="2358" y="1148"/>
                </a:lnTo>
                <a:lnTo>
                  <a:pt x="2358" y="1148"/>
                </a:lnTo>
                <a:close/>
                <a:moveTo>
                  <a:pt x="2340" y="354"/>
                </a:moveTo>
                <a:lnTo>
                  <a:pt x="2340" y="354"/>
                </a:lnTo>
                <a:lnTo>
                  <a:pt x="2340" y="354"/>
                </a:lnTo>
                <a:lnTo>
                  <a:pt x="2340" y="354"/>
                </a:lnTo>
                <a:lnTo>
                  <a:pt x="2346" y="356"/>
                </a:lnTo>
                <a:lnTo>
                  <a:pt x="2348" y="354"/>
                </a:lnTo>
                <a:lnTo>
                  <a:pt x="2350" y="352"/>
                </a:lnTo>
                <a:lnTo>
                  <a:pt x="2350" y="352"/>
                </a:lnTo>
                <a:lnTo>
                  <a:pt x="2350" y="352"/>
                </a:lnTo>
                <a:lnTo>
                  <a:pt x="2350" y="352"/>
                </a:lnTo>
                <a:lnTo>
                  <a:pt x="2348" y="354"/>
                </a:lnTo>
                <a:lnTo>
                  <a:pt x="2346" y="356"/>
                </a:lnTo>
                <a:lnTo>
                  <a:pt x="2340" y="354"/>
                </a:lnTo>
                <a:lnTo>
                  <a:pt x="2340" y="354"/>
                </a:lnTo>
                <a:close/>
                <a:moveTo>
                  <a:pt x="2350" y="1170"/>
                </a:moveTo>
                <a:lnTo>
                  <a:pt x="2350" y="1170"/>
                </a:lnTo>
                <a:lnTo>
                  <a:pt x="2342" y="1158"/>
                </a:lnTo>
                <a:lnTo>
                  <a:pt x="2342" y="1158"/>
                </a:lnTo>
                <a:lnTo>
                  <a:pt x="2354" y="1158"/>
                </a:lnTo>
                <a:lnTo>
                  <a:pt x="2366" y="1158"/>
                </a:lnTo>
                <a:lnTo>
                  <a:pt x="2390" y="1160"/>
                </a:lnTo>
                <a:lnTo>
                  <a:pt x="2390" y="1160"/>
                </a:lnTo>
                <a:lnTo>
                  <a:pt x="2382" y="1164"/>
                </a:lnTo>
                <a:lnTo>
                  <a:pt x="2372" y="1166"/>
                </a:lnTo>
                <a:lnTo>
                  <a:pt x="2362" y="1168"/>
                </a:lnTo>
                <a:lnTo>
                  <a:pt x="2350" y="1170"/>
                </a:lnTo>
                <a:lnTo>
                  <a:pt x="2350" y="1170"/>
                </a:lnTo>
                <a:close/>
                <a:moveTo>
                  <a:pt x="2394" y="1104"/>
                </a:moveTo>
                <a:lnTo>
                  <a:pt x="2394" y="1104"/>
                </a:lnTo>
                <a:lnTo>
                  <a:pt x="2394" y="1104"/>
                </a:lnTo>
                <a:lnTo>
                  <a:pt x="2394" y="1104"/>
                </a:lnTo>
                <a:lnTo>
                  <a:pt x="2394" y="1104"/>
                </a:lnTo>
                <a:lnTo>
                  <a:pt x="2394" y="1104"/>
                </a:lnTo>
                <a:lnTo>
                  <a:pt x="2396" y="1104"/>
                </a:lnTo>
                <a:lnTo>
                  <a:pt x="2396" y="1104"/>
                </a:lnTo>
                <a:lnTo>
                  <a:pt x="2394" y="1102"/>
                </a:lnTo>
                <a:lnTo>
                  <a:pt x="2394" y="1102"/>
                </a:lnTo>
                <a:lnTo>
                  <a:pt x="2394" y="1102"/>
                </a:lnTo>
                <a:lnTo>
                  <a:pt x="2394" y="1102"/>
                </a:lnTo>
                <a:lnTo>
                  <a:pt x="2396" y="1104"/>
                </a:lnTo>
                <a:lnTo>
                  <a:pt x="2396" y="1104"/>
                </a:lnTo>
                <a:lnTo>
                  <a:pt x="2394" y="1104"/>
                </a:lnTo>
                <a:lnTo>
                  <a:pt x="2394" y="1104"/>
                </a:lnTo>
                <a:close/>
                <a:moveTo>
                  <a:pt x="2406" y="356"/>
                </a:moveTo>
                <a:lnTo>
                  <a:pt x="2406" y="356"/>
                </a:lnTo>
                <a:lnTo>
                  <a:pt x="2406" y="356"/>
                </a:lnTo>
                <a:lnTo>
                  <a:pt x="2406" y="356"/>
                </a:lnTo>
                <a:lnTo>
                  <a:pt x="2416" y="356"/>
                </a:lnTo>
                <a:lnTo>
                  <a:pt x="2416" y="356"/>
                </a:lnTo>
                <a:lnTo>
                  <a:pt x="2412" y="354"/>
                </a:lnTo>
                <a:lnTo>
                  <a:pt x="2412" y="354"/>
                </a:lnTo>
                <a:lnTo>
                  <a:pt x="2416" y="356"/>
                </a:lnTo>
                <a:lnTo>
                  <a:pt x="2416" y="356"/>
                </a:lnTo>
                <a:lnTo>
                  <a:pt x="2406" y="356"/>
                </a:lnTo>
                <a:lnTo>
                  <a:pt x="2406" y="356"/>
                </a:lnTo>
                <a:close/>
                <a:moveTo>
                  <a:pt x="2410" y="1154"/>
                </a:moveTo>
                <a:lnTo>
                  <a:pt x="2410" y="1154"/>
                </a:lnTo>
                <a:lnTo>
                  <a:pt x="2436" y="1160"/>
                </a:lnTo>
                <a:lnTo>
                  <a:pt x="2436" y="1160"/>
                </a:lnTo>
                <a:lnTo>
                  <a:pt x="2440" y="1162"/>
                </a:lnTo>
                <a:lnTo>
                  <a:pt x="2440" y="1164"/>
                </a:lnTo>
                <a:lnTo>
                  <a:pt x="2440" y="1168"/>
                </a:lnTo>
                <a:lnTo>
                  <a:pt x="2438" y="1170"/>
                </a:lnTo>
                <a:lnTo>
                  <a:pt x="2438" y="1170"/>
                </a:lnTo>
                <a:lnTo>
                  <a:pt x="2438" y="1170"/>
                </a:lnTo>
                <a:lnTo>
                  <a:pt x="2434" y="1164"/>
                </a:lnTo>
                <a:lnTo>
                  <a:pt x="2432" y="1162"/>
                </a:lnTo>
                <a:lnTo>
                  <a:pt x="2426" y="1162"/>
                </a:lnTo>
                <a:lnTo>
                  <a:pt x="2418" y="1162"/>
                </a:lnTo>
                <a:lnTo>
                  <a:pt x="2418" y="1162"/>
                </a:lnTo>
                <a:lnTo>
                  <a:pt x="2408" y="1164"/>
                </a:lnTo>
                <a:lnTo>
                  <a:pt x="2408" y="1164"/>
                </a:lnTo>
                <a:lnTo>
                  <a:pt x="2410" y="1154"/>
                </a:lnTo>
                <a:lnTo>
                  <a:pt x="2410" y="1154"/>
                </a:lnTo>
                <a:close/>
                <a:moveTo>
                  <a:pt x="2446" y="1178"/>
                </a:moveTo>
                <a:lnTo>
                  <a:pt x="2446" y="1178"/>
                </a:lnTo>
                <a:lnTo>
                  <a:pt x="2420" y="1172"/>
                </a:lnTo>
                <a:lnTo>
                  <a:pt x="2416" y="1174"/>
                </a:lnTo>
                <a:lnTo>
                  <a:pt x="2410" y="1176"/>
                </a:lnTo>
                <a:lnTo>
                  <a:pt x="2410" y="1176"/>
                </a:lnTo>
                <a:lnTo>
                  <a:pt x="2410" y="1176"/>
                </a:lnTo>
                <a:lnTo>
                  <a:pt x="2410" y="1176"/>
                </a:lnTo>
                <a:lnTo>
                  <a:pt x="2416" y="1172"/>
                </a:lnTo>
                <a:lnTo>
                  <a:pt x="2420" y="1172"/>
                </a:lnTo>
                <a:lnTo>
                  <a:pt x="2446" y="1178"/>
                </a:lnTo>
                <a:lnTo>
                  <a:pt x="2446" y="1178"/>
                </a:lnTo>
                <a:lnTo>
                  <a:pt x="2446" y="1178"/>
                </a:lnTo>
                <a:lnTo>
                  <a:pt x="2446" y="1178"/>
                </a:lnTo>
                <a:close/>
                <a:moveTo>
                  <a:pt x="2436" y="1156"/>
                </a:moveTo>
                <a:lnTo>
                  <a:pt x="2436" y="1156"/>
                </a:lnTo>
                <a:lnTo>
                  <a:pt x="2436" y="1156"/>
                </a:lnTo>
                <a:lnTo>
                  <a:pt x="2436" y="1156"/>
                </a:lnTo>
                <a:lnTo>
                  <a:pt x="2444" y="1156"/>
                </a:lnTo>
                <a:lnTo>
                  <a:pt x="2450" y="1152"/>
                </a:lnTo>
                <a:lnTo>
                  <a:pt x="2450" y="1152"/>
                </a:lnTo>
                <a:lnTo>
                  <a:pt x="2450" y="1152"/>
                </a:lnTo>
                <a:lnTo>
                  <a:pt x="2450" y="1152"/>
                </a:lnTo>
                <a:lnTo>
                  <a:pt x="2444" y="1156"/>
                </a:lnTo>
                <a:lnTo>
                  <a:pt x="2436" y="1156"/>
                </a:lnTo>
                <a:lnTo>
                  <a:pt x="2436" y="1156"/>
                </a:lnTo>
                <a:close/>
                <a:moveTo>
                  <a:pt x="2448" y="1172"/>
                </a:moveTo>
                <a:lnTo>
                  <a:pt x="2448" y="1172"/>
                </a:lnTo>
                <a:lnTo>
                  <a:pt x="2448" y="1172"/>
                </a:lnTo>
                <a:lnTo>
                  <a:pt x="2448" y="1172"/>
                </a:lnTo>
                <a:lnTo>
                  <a:pt x="2460" y="1174"/>
                </a:lnTo>
                <a:lnTo>
                  <a:pt x="2468" y="1170"/>
                </a:lnTo>
                <a:lnTo>
                  <a:pt x="2468" y="1170"/>
                </a:lnTo>
                <a:lnTo>
                  <a:pt x="2468" y="1170"/>
                </a:lnTo>
                <a:lnTo>
                  <a:pt x="2468" y="1170"/>
                </a:lnTo>
                <a:lnTo>
                  <a:pt x="2460" y="1174"/>
                </a:lnTo>
                <a:lnTo>
                  <a:pt x="2448" y="1172"/>
                </a:lnTo>
                <a:lnTo>
                  <a:pt x="2448" y="1172"/>
                </a:lnTo>
                <a:close/>
                <a:moveTo>
                  <a:pt x="2464" y="1140"/>
                </a:moveTo>
                <a:lnTo>
                  <a:pt x="2464" y="1140"/>
                </a:lnTo>
                <a:lnTo>
                  <a:pt x="2468" y="1138"/>
                </a:lnTo>
                <a:lnTo>
                  <a:pt x="2470" y="1132"/>
                </a:lnTo>
                <a:lnTo>
                  <a:pt x="2470" y="1132"/>
                </a:lnTo>
                <a:lnTo>
                  <a:pt x="2470" y="1132"/>
                </a:lnTo>
                <a:lnTo>
                  <a:pt x="2470" y="1132"/>
                </a:lnTo>
                <a:lnTo>
                  <a:pt x="2468" y="1138"/>
                </a:lnTo>
                <a:lnTo>
                  <a:pt x="2464" y="1140"/>
                </a:lnTo>
                <a:lnTo>
                  <a:pt x="2464" y="1140"/>
                </a:lnTo>
                <a:close/>
                <a:moveTo>
                  <a:pt x="2478" y="390"/>
                </a:moveTo>
                <a:lnTo>
                  <a:pt x="2478" y="390"/>
                </a:lnTo>
                <a:lnTo>
                  <a:pt x="2478" y="390"/>
                </a:lnTo>
                <a:lnTo>
                  <a:pt x="2478" y="390"/>
                </a:lnTo>
                <a:lnTo>
                  <a:pt x="2482" y="392"/>
                </a:lnTo>
                <a:lnTo>
                  <a:pt x="2482" y="392"/>
                </a:lnTo>
                <a:lnTo>
                  <a:pt x="2478" y="396"/>
                </a:lnTo>
                <a:lnTo>
                  <a:pt x="2478" y="396"/>
                </a:lnTo>
                <a:lnTo>
                  <a:pt x="2478" y="396"/>
                </a:lnTo>
                <a:lnTo>
                  <a:pt x="2478" y="396"/>
                </a:lnTo>
                <a:lnTo>
                  <a:pt x="2482" y="392"/>
                </a:lnTo>
                <a:lnTo>
                  <a:pt x="2482" y="392"/>
                </a:lnTo>
                <a:lnTo>
                  <a:pt x="2478" y="390"/>
                </a:lnTo>
                <a:lnTo>
                  <a:pt x="2478" y="390"/>
                </a:lnTo>
                <a:close/>
                <a:moveTo>
                  <a:pt x="2474" y="1148"/>
                </a:moveTo>
                <a:lnTo>
                  <a:pt x="2474" y="1148"/>
                </a:lnTo>
                <a:lnTo>
                  <a:pt x="2488" y="1148"/>
                </a:lnTo>
                <a:lnTo>
                  <a:pt x="2488" y="1148"/>
                </a:lnTo>
                <a:lnTo>
                  <a:pt x="2488" y="1148"/>
                </a:lnTo>
                <a:lnTo>
                  <a:pt x="2488" y="1148"/>
                </a:lnTo>
                <a:lnTo>
                  <a:pt x="2474" y="1148"/>
                </a:lnTo>
                <a:lnTo>
                  <a:pt x="2474" y="1148"/>
                </a:lnTo>
                <a:lnTo>
                  <a:pt x="2474" y="1148"/>
                </a:lnTo>
                <a:lnTo>
                  <a:pt x="2474" y="1148"/>
                </a:lnTo>
                <a:close/>
                <a:moveTo>
                  <a:pt x="2490" y="1186"/>
                </a:moveTo>
                <a:lnTo>
                  <a:pt x="2490" y="1186"/>
                </a:lnTo>
                <a:lnTo>
                  <a:pt x="2492" y="1184"/>
                </a:lnTo>
                <a:lnTo>
                  <a:pt x="2490" y="1180"/>
                </a:lnTo>
                <a:lnTo>
                  <a:pt x="2476" y="1180"/>
                </a:lnTo>
                <a:lnTo>
                  <a:pt x="2476" y="1180"/>
                </a:lnTo>
                <a:lnTo>
                  <a:pt x="2476" y="1180"/>
                </a:lnTo>
                <a:lnTo>
                  <a:pt x="2490" y="1180"/>
                </a:lnTo>
                <a:lnTo>
                  <a:pt x="2490" y="1180"/>
                </a:lnTo>
                <a:lnTo>
                  <a:pt x="2492" y="1184"/>
                </a:lnTo>
                <a:lnTo>
                  <a:pt x="2490" y="1186"/>
                </a:lnTo>
                <a:lnTo>
                  <a:pt x="2490" y="1186"/>
                </a:lnTo>
                <a:close/>
                <a:moveTo>
                  <a:pt x="2504" y="1254"/>
                </a:moveTo>
                <a:lnTo>
                  <a:pt x="2504" y="1254"/>
                </a:lnTo>
                <a:lnTo>
                  <a:pt x="2502" y="1254"/>
                </a:lnTo>
                <a:lnTo>
                  <a:pt x="2502" y="1254"/>
                </a:lnTo>
                <a:lnTo>
                  <a:pt x="2506" y="1250"/>
                </a:lnTo>
                <a:lnTo>
                  <a:pt x="2506" y="1250"/>
                </a:lnTo>
                <a:lnTo>
                  <a:pt x="2504" y="1250"/>
                </a:lnTo>
                <a:lnTo>
                  <a:pt x="2504" y="1250"/>
                </a:lnTo>
                <a:lnTo>
                  <a:pt x="2504" y="1250"/>
                </a:lnTo>
                <a:lnTo>
                  <a:pt x="2504" y="1250"/>
                </a:lnTo>
                <a:lnTo>
                  <a:pt x="2506" y="1250"/>
                </a:lnTo>
                <a:lnTo>
                  <a:pt x="2506" y="1250"/>
                </a:lnTo>
                <a:lnTo>
                  <a:pt x="2504" y="1254"/>
                </a:lnTo>
                <a:lnTo>
                  <a:pt x="2504" y="1254"/>
                </a:lnTo>
                <a:close/>
                <a:moveTo>
                  <a:pt x="2558" y="1280"/>
                </a:moveTo>
                <a:lnTo>
                  <a:pt x="2558" y="1280"/>
                </a:lnTo>
                <a:lnTo>
                  <a:pt x="2558" y="1280"/>
                </a:lnTo>
                <a:lnTo>
                  <a:pt x="2558" y="1280"/>
                </a:lnTo>
                <a:lnTo>
                  <a:pt x="2550" y="1280"/>
                </a:lnTo>
                <a:lnTo>
                  <a:pt x="2550" y="1280"/>
                </a:lnTo>
                <a:lnTo>
                  <a:pt x="2550" y="1280"/>
                </a:lnTo>
                <a:lnTo>
                  <a:pt x="2550" y="1280"/>
                </a:lnTo>
                <a:lnTo>
                  <a:pt x="2558" y="1280"/>
                </a:lnTo>
                <a:lnTo>
                  <a:pt x="2558" y="1280"/>
                </a:lnTo>
                <a:close/>
                <a:moveTo>
                  <a:pt x="2576" y="1250"/>
                </a:moveTo>
                <a:lnTo>
                  <a:pt x="2576" y="1250"/>
                </a:lnTo>
                <a:lnTo>
                  <a:pt x="2576" y="1250"/>
                </a:lnTo>
                <a:lnTo>
                  <a:pt x="2576" y="1250"/>
                </a:lnTo>
                <a:lnTo>
                  <a:pt x="2580" y="1244"/>
                </a:lnTo>
                <a:lnTo>
                  <a:pt x="2580" y="1244"/>
                </a:lnTo>
                <a:lnTo>
                  <a:pt x="2574" y="1246"/>
                </a:lnTo>
                <a:lnTo>
                  <a:pt x="2574" y="1246"/>
                </a:lnTo>
                <a:lnTo>
                  <a:pt x="2580" y="1244"/>
                </a:lnTo>
                <a:lnTo>
                  <a:pt x="2580" y="1244"/>
                </a:lnTo>
                <a:lnTo>
                  <a:pt x="2576" y="1250"/>
                </a:lnTo>
                <a:lnTo>
                  <a:pt x="2576" y="1250"/>
                </a:lnTo>
                <a:close/>
                <a:moveTo>
                  <a:pt x="2678" y="188"/>
                </a:moveTo>
                <a:lnTo>
                  <a:pt x="2678" y="188"/>
                </a:lnTo>
                <a:lnTo>
                  <a:pt x="2678" y="188"/>
                </a:lnTo>
                <a:lnTo>
                  <a:pt x="2678" y="188"/>
                </a:lnTo>
                <a:lnTo>
                  <a:pt x="2680" y="190"/>
                </a:lnTo>
                <a:lnTo>
                  <a:pt x="2680" y="190"/>
                </a:lnTo>
                <a:lnTo>
                  <a:pt x="2674" y="190"/>
                </a:lnTo>
                <a:lnTo>
                  <a:pt x="2674" y="190"/>
                </a:lnTo>
                <a:lnTo>
                  <a:pt x="2674" y="190"/>
                </a:lnTo>
                <a:lnTo>
                  <a:pt x="2674" y="190"/>
                </a:lnTo>
                <a:lnTo>
                  <a:pt x="2678" y="190"/>
                </a:lnTo>
                <a:lnTo>
                  <a:pt x="2678" y="190"/>
                </a:lnTo>
                <a:lnTo>
                  <a:pt x="2678" y="188"/>
                </a:lnTo>
                <a:lnTo>
                  <a:pt x="2678" y="188"/>
                </a:lnTo>
                <a:close/>
                <a:moveTo>
                  <a:pt x="2676" y="1216"/>
                </a:moveTo>
                <a:lnTo>
                  <a:pt x="2676" y="1216"/>
                </a:lnTo>
                <a:lnTo>
                  <a:pt x="2676" y="1216"/>
                </a:lnTo>
                <a:lnTo>
                  <a:pt x="2676" y="1216"/>
                </a:lnTo>
                <a:lnTo>
                  <a:pt x="2676" y="1216"/>
                </a:lnTo>
                <a:lnTo>
                  <a:pt x="2670" y="1224"/>
                </a:lnTo>
                <a:lnTo>
                  <a:pt x="2670" y="1224"/>
                </a:lnTo>
                <a:lnTo>
                  <a:pt x="2670" y="1222"/>
                </a:lnTo>
                <a:lnTo>
                  <a:pt x="2670" y="1222"/>
                </a:lnTo>
                <a:lnTo>
                  <a:pt x="2676" y="1216"/>
                </a:lnTo>
                <a:lnTo>
                  <a:pt x="2676" y="1216"/>
                </a:lnTo>
                <a:close/>
                <a:moveTo>
                  <a:pt x="2654" y="120"/>
                </a:moveTo>
                <a:lnTo>
                  <a:pt x="2654" y="120"/>
                </a:lnTo>
                <a:lnTo>
                  <a:pt x="2656" y="120"/>
                </a:lnTo>
                <a:lnTo>
                  <a:pt x="2656" y="120"/>
                </a:lnTo>
                <a:lnTo>
                  <a:pt x="2656" y="122"/>
                </a:lnTo>
                <a:lnTo>
                  <a:pt x="2656" y="122"/>
                </a:lnTo>
                <a:lnTo>
                  <a:pt x="2652" y="122"/>
                </a:lnTo>
                <a:lnTo>
                  <a:pt x="2652" y="122"/>
                </a:lnTo>
                <a:lnTo>
                  <a:pt x="2650" y="122"/>
                </a:lnTo>
                <a:lnTo>
                  <a:pt x="2650" y="122"/>
                </a:lnTo>
                <a:lnTo>
                  <a:pt x="2656" y="122"/>
                </a:lnTo>
                <a:lnTo>
                  <a:pt x="2656" y="122"/>
                </a:lnTo>
                <a:lnTo>
                  <a:pt x="2654" y="120"/>
                </a:lnTo>
                <a:lnTo>
                  <a:pt x="2654" y="120"/>
                </a:lnTo>
                <a:close/>
                <a:moveTo>
                  <a:pt x="2634" y="1222"/>
                </a:moveTo>
                <a:lnTo>
                  <a:pt x="2634" y="1222"/>
                </a:lnTo>
                <a:lnTo>
                  <a:pt x="2628" y="1228"/>
                </a:lnTo>
                <a:lnTo>
                  <a:pt x="2628" y="1228"/>
                </a:lnTo>
                <a:lnTo>
                  <a:pt x="2628" y="1228"/>
                </a:lnTo>
                <a:lnTo>
                  <a:pt x="2628" y="1228"/>
                </a:lnTo>
                <a:lnTo>
                  <a:pt x="2632" y="1224"/>
                </a:lnTo>
                <a:lnTo>
                  <a:pt x="2632" y="1224"/>
                </a:lnTo>
                <a:lnTo>
                  <a:pt x="2634" y="1222"/>
                </a:lnTo>
                <a:lnTo>
                  <a:pt x="2634" y="1222"/>
                </a:lnTo>
                <a:close/>
                <a:moveTo>
                  <a:pt x="2596" y="1174"/>
                </a:moveTo>
                <a:lnTo>
                  <a:pt x="2596" y="1174"/>
                </a:lnTo>
                <a:lnTo>
                  <a:pt x="2596" y="1172"/>
                </a:lnTo>
                <a:lnTo>
                  <a:pt x="2596" y="1172"/>
                </a:lnTo>
                <a:lnTo>
                  <a:pt x="2596" y="1174"/>
                </a:lnTo>
                <a:lnTo>
                  <a:pt x="2596" y="1174"/>
                </a:lnTo>
                <a:lnTo>
                  <a:pt x="2596" y="1174"/>
                </a:lnTo>
                <a:lnTo>
                  <a:pt x="2596" y="1174"/>
                </a:lnTo>
                <a:lnTo>
                  <a:pt x="2586" y="1176"/>
                </a:lnTo>
                <a:lnTo>
                  <a:pt x="2586" y="1176"/>
                </a:lnTo>
                <a:lnTo>
                  <a:pt x="2586" y="1176"/>
                </a:lnTo>
                <a:lnTo>
                  <a:pt x="2586" y="1176"/>
                </a:lnTo>
                <a:lnTo>
                  <a:pt x="2596" y="1174"/>
                </a:lnTo>
                <a:lnTo>
                  <a:pt x="2596" y="1174"/>
                </a:lnTo>
                <a:close/>
                <a:moveTo>
                  <a:pt x="2582" y="1166"/>
                </a:moveTo>
                <a:lnTo>
                  <a:pt x="2582" y="1166"/>
                </a:lnTo>
                <a:lnTo>
                  <a:pt x="2580" y="1168"/>
                </a:lnTo>
                <a:lnTo>
                  <a:pt x="2574" y="1170"/>
                </a:lnTo>
                <a:lnTo>
                  <a:pt x="2574" y="1170"/>
                </a:lnTo>
                <a:lnTo>
                  <a:pt x="2580" y="1168"/>
                </a:lnTo>
                <a:lnTo>
                  <a:pt x="2582" y="1166"/>
                </a:lnTo>
                <a:lnTo>
                  <a:pt x="2582" y="1166"/>
                </a:lnTo>
                <a:lnTo>
                  <a:pt x="2572" y="1164"/>
                </a:lnTo>
                <a:lnTo>
                  <a:pt x="2572" y="1164"/>
                </a:lnTo>
                <a:lnTo>
                  <a:pt x="2582" y="1166"/>
                </a:lnTo>
                <a:lnTo>
                  <a:pt x="2582" y="1166"/>
                </a:lnTo>
                <a:close/>
                <a:moveTo>
                  <a:pt x="2572" y="1180"/>
                </a:moveTo>
                <a:lnTo>
                  <a:pt x="2572" y="1180"/>
                </a:lnTo>
                <a:lnTo>
                  <a:pt x="2572" y="1180"/>
                </a:lnTo>
                <a:lnTo>
                  <a:pt x="2572" y="1180"/>
                </a:lnTo>
                <a:lnTo>
                  <a:pt x="2576" y="1182"/>
                </a:lnTo>
                <a:lnTo>
                  <a:pt x="2576" y="1182"/>
                </a:lnTo>
                <a:lnTo>
                  <a:pt x="2572" y="1182"/>
                </a:lnTo>
                <a:lnTo>
                  <a:pt x="2572" y="1182"/>
                </a:lnTo>
                <a:lnTo>
                  <a:pt x="2572" y="1182"/>
                </a:lnTo>
                <a:lnTo>
                  <a:pt x="2572" y="1182"/>
                </a:lnTo>
                <a:lnTo>
                  <a:pt x="2576" y="1182"/>
                </a:lnTo>
                <a:lnTo>
                  <a:pt x="2576" y="1182"/>
                </a:lnTo>
                <a:lnTo>
                  <a:pt x="2576" y="1182"/>
                </a:lnTo>
                <a:lnTo>
                  <a:pt x="2572" y="1180"/>
                </a:lnTo>
                <a:lnTo>
                  <a:pt x="2572" y="1180"/>
                </a:lnTo>
                <a:close/>
                <a:moveTo>
                  <a:pt x="2564" y="1172"/>
                </a:moveTo>
                <a:lnTo>
                  <a:pt x="2564" y="1172"/>
                </a:lnTo>
                <a:lnTo>
                  <a:pt x="2570" y="1170"/>
                </a:lnTo>
                <a:lnTo>
                  <a:pt x="2570" y="1170"/>
                </a:lnTo>
                <a:lnTo>
                  <a:pt x="2564" y="1172"/>
                </a:lnTo>
                <a:lnTo>
                  <a:pt x="2564" y="1172"/>
                </a:lnTo>
                <a:lnTo>
                  <a:pt x="2564" y="1172"/>
                </a:lnTo>
                <a:lnTo>
                  <a:pt x="2564" y="1172"/>
                </a:lnTo>
                <a:close/>
                <a:moveTo>
                  <a:pt x="2558" y="1170"/>
                </a:moveTo>
                <a:lnTo>
                  <a:pt x="2558" y="1170"/>
                </a:lnTo>
                <a:lnTo>
                  <a:pt x="2558" y="1170"/>
                </a:lnTo>
                <a:lnTo>
                  <a:pt x="2556" y="1166"/>
                </a:lnTo>
                <a:lnTo>
                  <a:pt x="2552" y="1166"/>
                </a:lnTo>
                <a:lnTo>
                  <a:pt x="2552" y="1166"/>
                </a:lnTo>
                <a:lnTo>
                  <a:pt x="2556" y="1166"/>
                </a:lnTo>
                <a:lnTo>
                  <a:pt x="2558" y="1170"/>
                </a:lnTo>
                <a:lnTo>
                  <a:pt x="2558" y="1170"/>
                </a:lnTo>
                <a:close/>
                <a:moveTo>
                  <a:pt x="2542" y="1104"/>
                </a:moveTo>
                <a:lnTo>
                  <a:pt x="2542" y="1104"/>
                </a:lnTo>
                <a:lnTo>
                  <a:pt x="2546" y="1104"/>
                </a:lnTo>
                <a:lnTo>
                  <a:pt x="2546" y="1104"/>
                </a:lnTo>
                <a:lnTo>
                  <a:pt x="2546" y="1106"/>
                </a:lnTo>
                <a:lnTo>
                  <a:pt x="2546" y="1106"/>
                </a:lnTo>
                <a:lnTo>
                  <a:pt x="2546" y="1106"/>
                </a:lnTo>
                <a:lnTo>
                  <a:pt x="2546" y="1106"/>
                </a:lnTo>
                <a:lnTo>
                  <a:pt x="2546" y="1104"/>
                </a:lnTo>
                <a:lnTo>
                  <a:pt x="2546" y="1104"/>
                </a:lnTo>
                <a:lnTo>
                  <a:pt x="2542" y="1104"/>
                </a:lnTo>
                <a:lnTo>
                  <a:pt x="2542" y="1104"/>
                </a:lnTo>
                <a:lnTo>
                  <a:pt x="2542" y="1104"/>
                </a:lnTo>
                <a:lnTo>
                  <a:pt x="2542" y="1104"/>
                </a:lnTo>
                <a:close/>
                <a:moveTo>
                  <a:pt x="2516" y="1148"/>
                </a:moveTo>
                <a:lnTo>
                  <a:pt x="2516" y="1148"/>
                </a:lnTo>
                <a:lnTo>
                  <a:pt x="2522" y="1148"/>
                </a:lnTo>
                <a:lnTo>
                  <a:pt x="2522" y="1148"/>
                </a:lnTo>
                <a:lnTo>
                  <a:pt x="2516" y="1150"/>
                </a:lnTo>
                <a:lnTo>
                  <a:pt x="2516" y="1150"/>
                </a:lnTo>
                <a:lnTo>
                  <a:pt x="2516" y="1150"/>
                </a:lnTo>
                <a:lnTo>
                  <a:pt x="2516" y="1150"/>
                </a:lnTo>
                <a:lnTo>
                  <a:pt x="2520" y="1148"/>
                </a:lnTo>
                <a:lnTo>
                  <a:pt x="2520" y="1148"/>
                </a:lnTo>
                <a:lnTo>
                  <a:pt x="2516" y="1148"/>
                </a:lnTo>
                <a:lnTo>
                  <a:pt x="2516" y="1148"/>
                </a:lnTo>
                <a:lnTo>
                  <a:pt x="2516" y="1148"/>
                </a:lnTo>
                <a:lnTo>
                  <a:pt x="2516" y="1148"/>
                </a:lnTo>
                <a:close/>
                <a:moveTo>
                  <a:pt x="2548" y="1206"/>
                </a:moveTo>
                <a:lnTo>
                  <a:pt x="2548" y="1206"/>
                </a:lnTo>
                <a:lnTo>
                  <a:pt x="2538" y="1198"/>
                </a:lnTo>
                <a:lnTo>
                  <a:pt x="2538" y="1198"/>
                </a:lnTo>
                <a:lnTo>
                  <a:pt x="2536" y="1196"/>
                </a:lnTo>
                <a:lnTo>
                  <a:pt x="2534" y="1196"/>
                </a:lnTo>
                <a:lnTo>
                  <a:pt x="2532" y="1196"/>
                </a:lnTo>
                <a:lnTo>
                  <a:pt x="2530" y="1194"/>
                </a:lnTo>
                <a:lnTo>
                  <a:pt x="2530" y="1194"/>
                </a:lnTo>
                <a:lnTo>
                  <a:pt x="2526" y="1190"/>
                </a:lnTo>
                <a:lnTo>
                  <a:pt x="2528" y="1188"/>
                </a:lnTo>
                <a:lnTo>
                  <a:pt x="2530" y="1186"/>
                </a:lnTo>
                <a:lnTo>
                  <a:pt x="2530" y="1186"/>
                </a:lnTo>
                <a:lnTo>
                  <a:pt x="2524" y="1186"/>
                </a:lnTo>
                <a:lnTo>
                  <a:pt x="2522" y="1190"/>
                </a:lnTo>
                <a:lnTo>
                  <a:pt x="2520" y="1192"/>
                </a:lnTo>
                <a:lnTo>
                  <a:pt x="2518" y="1194"/>
                </a:lnTo>
                <a:lnTo>
                  <a:pt x="2518" y="1194"/>
                </a:lnTo>
                <a:lnTo>
                  <a:pt x="2516" y="1194"/>
                </a:lnTo>
                <a:lnTo>
                  <a:pt x="2514" y="1192"/>
                </a:lnTo>
                <a:lnTo>
                  <a:pt x="2512" y="1188"/>
                </a:lnTo>
                <a:lnTo>
                  <a:pt x="2512" y="1188"/>
                </a:lnTo>
                <a:lnTo>
                  <a:pt x="2512" y="1182"/>
                </a:lnTo>
                <a:lnTo>
                  <a:pt x="2516" y="1178"/>
                </a:lnTo>
                <a:lnTo>
                  <a:pt x="2522" y="1176"/>
                </a:lnTo>
                <a:lnTo>
                  <a:pt x="2530" y="1176"/>
                </a:lnTo>
                <a:lnTo>
                  <a:pt x="2530" y="1176"/>
                </a:lnTo>
                <a:lnTo>
                  <a:pt x="2556" y="1180"/>
                </a:lnTo>
                <a:lnTo>
                  <a:pt x="2556" y="1180"/>
                </a:lnTo>
                <a:lnTo>
                  <a:pt x="2556" y="1184"/>
                </a:lnTo>
                <a:lnTo>
                  <a:pt x="2552" y="1186"/>
                </a:lnTo>
                <a:lnTo>
                  <a:pt x="2542" y="1188"/>
                </a:lnTo>
                <a:lnTo>
                  <a:pt x="2542" y="1188"/>
                </a:lnTo>
                <a:lnTo>
                  <a:pt x="2548" y="1190"/>
                </a:lnTo>
                <a:lnTo>
                  <a:pt x="2554" y="1190"/>
                </a:lnTo>
                <a:lnTo>
                  <a:pt x="2554" y="1190"/>
                </a:lnTo>
                <a:lnTo>
                  <a:pt x="2574" y="1186"/>
                </a:lnTo>
                <a:lnTo>
                  <a:pt x="2574" y="1186"/>
                </a:lnTo>
                <a:lnTo>
                  <a:pt x="2590" y="1184"/>
                </a:lnTo>
                <a:lnTo>
                  <a:pt x="2590" y="1184"/>
                </a:lnTo>
                <a:lnTo>
                  <a:pt x="2594" y="1186"/>
                </a:lnTo>
                <a:lnTo>
                  <a:pt x="2596" y="1188"/>
                </a:lnTo>
                <a:lnTo>
                  <a:pt x="2596" y="1188"/>
                </a:lnTo>
                <a:lnTo>
                  <a:pt x="2586" y="1190"/>
                </a:lnTo>
                <a:lnTo>
                  <a:pt x="2586" y="1190"/>
                </a:lnTo>
                <a:lnTo>
                  <a:pt x="2588" y="1192"/>
                </a:lnTo>
                <a:lnTo>
                  <a:pt x="2588" y="1194"/>
                </a:lnTo>
                <a:lnTo>
                  <a:pt x="2594" y="1196"/>
                </a:lnTo>
                <a:lnTo>
                  <a:pt x="2598" y="1196"/>
                </a:lnTo>
                <a:lnTo>
                  <a:pt x="2602" y="1198"/>
                </a:lnTo>
                <a:lnTo>
                  <a:pt x="2602" y="1198"/>
                </a:lnTo>
                <a:lnTo>
                  <a:pt x="2586" y="1202"/>
                </a:lnTo>
                <a:lnTo>
                  <a:pt x="2578" y="1206"/>
                </a:lnTo>
                <a:lnTo>
                  <a:pt x="2572" y="1210"/>
                </a:lnTo>
                <a:lnTo>
                  <a:pt x="2572" y="1210"/>
                </a:lnTo>
                <a:lnTo>
                  <a:pt x="2548" y="1204"/>
                </a:lnTo>
                <a:lnTo>
                  <a:pt x="2548" y="1206"/>
                </a:lnTo>
                <a:close/>
                <a:moveTo>
                  <a:pt x="2602" y="1222"/>
                </a:moveTo>
                <a:lnTo>
                  <a:pt x="2602" y="1222"/>
                </a:lnTo>
                <a:lnTo>
                  <a:pt x="2600" y="1228"/>
                </a:lnTo>
                <a:lnTo>
                  <a:pt x="2600" y="1228"/>
                </a:lnTo>
                <a:lnTo>
                  <a:pt x="2588" y="1226"/>
                </a:lnTo>
                <a:lnTo>
                  <a:pt x="2588" y="1226"/>
                </a:lnTo>
                <a:lnTo>
                  <a:pt x="2580" y="1226"/>
                </a:lnTo>
                <a:lnTo>
                  <a:pt x="2580" y="1226"/>
                </a:lnTo>
                <a:lnTo>
                  <a:pt x="2572" y="1226"/>
                </a:lnTo>
                <a:lnTo>
                  <a:pt x="2564" y="1226"/>
                </a:lnTo>
                <a:lnTo>
                  <a:pt x="2556" y="1224"/>
                </a:lnTo>
                <a:lnTo>
                  <a:pt x="2548" y="1220"/>
                </a:lnTo>
                <a:lnTo>
                  <a:pt x="2548" y="1220"/>
                </a:lnTo>
                <a:lnTo>
                  <a:pt x="2552" y="1216"/>
                </a:lnTo>
                <a:lnTo>
                  <a:pt x="2558" y="1214"/>
                </a:lnTo>
                <a:lnTo>
                  <a:pt x="2568" y="1216"/>
                </a:lnTo>
                <a:lnTo>
                  <a:pt x="2568" y="1216"/>
                </a:lnTo>
                <a:lnTo>
                  <a:pt x="2568" y="1220"/>
                </a:lnTo>
                <a:lnTo>
                  <a:pt x="2568" y="1220"/>
                </a:lnTo>
                <a:lnTo>
                  <a:pt x="2578" y="1224"/>
                </a:lnTo>
                <a:lnTo>
                  <a:pt x="2578" y="1224"/>
                </a:lnTo>
                <a:lnTo>
                  <a:pt x="2578" y="1220"/>
                </a:lnTo>
                <a:lnTo>
                  <a:pt x="2578" y="1220"/>
                </a:lnTo>
                <a:lnTo>
                  <a:pt x="2574" y="1218"/>
                </a:lnTo>
                <a:lnTo>
                  <a:pt x="2574" y="1218"/>
                </a:lnTo>
                <a:lnTo>
                  <a:pt x="2586" y="1214"/>
                </a:lnTo>
                <a:lnTo>
                  <a:pt x="2586" y="1214"/>
                </a:lnTo>
                <a:lnTo>
                  <a:pt x="2586" y="1212"/>
                </a:lnTo>
                <a:lnTo>
                  <a:pt x="2586" y="1212"/>
                </a:lnTo>
                <a:lnTo>
                  <a:pt x="2590" y="1208"/>
                </a:lnTo>
                <a:lnTo>
                  <a:pt x="2596" y="1206"/>
                </a:lnTo>
                <a:lnTo>
                  <a:pt x="2610" y="1208"/>
                </a:lnTo>
                <a:lnTo>
                  <a:pt x="2610" y="1208"/>
                </a:lnTo>
                <a:lnTo>
                  <a:pt x="2624" y="1208"/>
                </a:lnTo>
                <a:lnTo>
                  <a:pt x="2624" y="1208"/>
                </a:lnTo>
                <a:lnTo>
                  <a:pt x="2630" y="1210"/>
                </a:lnTo>
                <a:lnTo>
                  <a:pt x="2630" y="1210"/>
                </a:lnTo>
                <a:lnTo>
                  <a:pt x="2628" y="1214"/>
                </a:lnTo>
                <a:lnTo>
                  <a:pt x="2624" y="1214"/>
                </a:lnTo>
                <a:lnTo>
                  <a:pt x="2614" y="1214"/>
                </a:lnTo>
                <a:lnTo>
                  <a:pt x="2614" y="1214"/>
                </a:lnTo>
                <a:lnTo>
                  <a:pt x="2622" y="1218"/>
                </a:lnTo>
                <a:lnTo>
                  <a:pt x="2622" y="1218"/>
                </a:lnTo>
                <a:lnTo>
                  <a:pt x="2618" y="1220"/>
                </a:lnTo>
                <a:lnTo>
                  <a:pt x="2612" y="1222"/>
                </a:lnTo>
                <a:lnTo>
                  <a:pt x="2602" y="1222"/>
                </a:lnTo>
                <a:lnTo>
                  <a:pt x="2602" y="1222"/>
                </a:lnTo>
                <a:close/>
                <a:moveTo>
                  <a:pt x="2640" y="1260"/>
                </a:moveTo>
                <a:lnTo>
                  <a:pt x="2640" y="1260"/>
                </a:lnTo>
                <a:lnTo>
                  <a:pt x="2640" y="1260"/>
                </a:lnTo>
                <a:lnTo>
                  <a:pt x="2640" y="1260"/>
                </a:lnTo>
                <a:lnTo>
                  <a:pt x="2642" y="1260"/>
                </a:lnTo>
                <a:lnTo>
                  <a:pt x="2642" y="1260"/>
                </a:lnTo>
                <a:lnTo>
                  <a:pt x="2640" y="1256"/>
                </a:lnTo>
                <a:lnTo>
                  <a:pt x="2640" y="1256"/>
                </a:lnTo>
                <a:lnTo>
                  <a:pt x="2636" y="1256"/>
                </a:lnTo>
                <a:lnTo>
                  <a:pt x="2636" y="1256"/>
                </a:lnTo>
                <a:lnTo>
                  <a:pt x="2636" y="1256"/>
                </a:lnTo>
                <a:lnTo>
                  <a:pt x="2636" y="1256"/>
                </a:lnTo>
                <a:lnTo>
                  <a:pt x="2640" y="1256"/>
                </a:lnTo>
                <a:lnTo>
                  <a:pt x="2640" y="1256"/>
                </a:lnTo>
                <a:lnTo>
                  <a:pt x="2642" y="1260"/>
                </a:lnTo>
                <a:lnTo>
                  <a:pt x="2642" y="1260"/>
                </a:lnTo>
                <a:lnTo>
                  <a:pt x="2640" y="1260"/>
                </a:lnTo>
                <a:lnTo>
                  <a:pt x="2640" y="1260"/>
                </a:lnTo>
                <a:close/>
                <a:moveTo>
                  <a:pt x="2678" y="1252"/>
                </a:moveTo>
                <a:lnTo>
                  <a:pt x="2678" y="1252"/>
                </a:lnTo>
                <a:lnTo>
                  <a:pt x="2656" y="1252"/>
                </a:lnTo>
                <a:lnTo>
                  <a:pt x="2644" y="1250"/>
                </a:lnTo>
                <a:lnTo>
                  <a:pt x="2634" y="1248"/>
                </a:lnTo>
                <a:lnTo>
                  <a:pt x="2634" y="1248"/>
                </a:lnTo>
                <a:lnTo>
                  <a:pt x="2626" y="1244"/>
                </a:lnTo>
                <a:lnTo>
                  <a:pt x="2626" y="1244"/>
                </a:lnTo>
                <a:lnTo>
                  <a:pt x="2622" y="1242"/>
                </a:lnTo>
                <a:lnTo>
                  <a:pt x="2620" y="1240"/>
                </a:lnTo>
                <a:lnTo>
                  <a:pt x="2620" y="1240"/>
                </a:lnTo>
                <a:lnTo>
                  <a:pt x="2622" y="1238"/>
                </a:lnTo>
                <a:lnTo>
                  <a:pt x="2624" y="1236"/>
                </a:lnTo>
                <a:lnTo>
                  <a:pt x="2624" y="1236"/>
                </a:lnTo>
                <a:lnTo>
                  <a:pt x="2628" y="1234"/>
                </a:lnTo>
                <a:lnTo>
                  <a:pt x="2632" y="1236"/>
                </a:lnTo>
                <a:lnTo>
                  <a:pt x="2632" y="1236"/>
                </a:lnTo>
                <a:lnTo>
                  <a:pt x="2662" y="1248"/>
                </a:lnTo>
                <a:lnTo>
                  <a:pt x="2662" y="1248"/>
                </a:lnTo>
                <a:lnTo>
                  <a:pt x="2670" y="1250"/>
                </a:lnTo>
                <a:lnTo>
                  <a:pt x="2674" y="1250"/>
                </a:lnTo>
                <a:lnTo>
                  <a:pt x="2678" y="1248"/>
                </a:lnTo>
                <a:lnTo>
                  <a:pt x="2678" y="1248"/>
                </a:lnTo>
                <a:lnTo>
                  <a:pt x="2682" y="1248"/>
                </a:lnTo>
                <a:lnTo>
                  <a:pt x="2682" y="1248"/>
                </a:lnTo>
                <a:lnTo>
                  <a:pt x="2682" y="1250"/>
                </a:lnTo>
                <a:lnTo>
                  <a:pt x="2682" y="1250"/>
                </a:lnTo>
                <a:lnTo>
                  <a:pt x="2678" y="1252"/>
                </a:lnTo>
                <a:lnTo>
                  <a:pt x="2678" y="1252"/>
                </a:lnTo>
                <a:close/>
                <a:moveTo>
                  <a:pt x="2682" y="176"/>
                </a:moveTo>
                <a:lnTo>
                  <a:pt x="2682" y="176"/>
                </a:lnTo>
                <a:lnTo>
                  <a:pt x="2688" y="174"/>
                </a:lnTo>
                <a:lnTo>
                  <a:pt x="2688" y="174"/>
                </a:lnTo>
                <a:lnTo>
                  <a:pt x="2688" y="172"/>
                </a:lnTo>
                <a:lnTo>
                  <a:pt x="2688" y="172"/>
                </a:lnTo>
                <a:lnTo>
                  <a:pt x="2690" y="172"/>
                </a:lnTo>
                <a:lnTo>
                  <a:pt x="2690" y="172"/>
                </a:lnTo>
                <a:lnTo>
                  <a:pt x="2688" y="174"/>
                </a:lnTo>
                <a:lnTo>
                  <a:pt x="2688" y="174"/>
                </a:lnTo>
                <a:lnTo>
                  <a:pt x="2682" y="176"/>
                </a:lnTo>
                <a:lnTo>
                  <a:pt x="2682" y="176"/>
                </a:lnTo>
                <a:close/>
                <a:moveTo>
                  <a:pt x="2736" y="1238"/>
                </a:moveTo>
                <a:lnTo>
                  <a:pt x="2736" y="1238"/>
                </a:lnTo>
                <a:lnTo>
                  <a:pt x="2736" y="1238"/>
                </a:lnTo>
                <a:lnTo>
                  <a:pt x="2736" y="1238"/>
                </a:lnTo>
                <a:lnTo>
                  <a:pt x="2740" y="1236"/>
                </a:lnTo>
                <a:lnTo>
                  <a:pt x="2740" y="1236"/>
                </a:lnTo>
                <a:lnTo>
                  <a:pt x="2740" y="1236"/>
                </a:lnTo>
                <a:lnTo>
                  <a:pt x="2740" y="1236"/>
                </a:lnTo>
                <a:lnTo>
                  <a:pt x="2736" y="1238"/>
                </a:lnTo>
                <a:lnTo>
                  <a:pt x="2736" y="1238"/>
                </a:lnTo>
                <a:close/>
                <a:moveTo>
                  <a:pt x="2756" y="1236"/>
                </a:moveTo>
                <a:lnTo>
                  <a:pt x="2756" y="1236"/>
                </a:lnTo>
                <a:lnTo>
                  <a:pt x="2748" y="1232"/>
                </a:lnTo>
                <a:lnTo>
                  <a:pt x="2740" y="1230"/>
                </a:lnTo>
                <a:lnTo>
                  <a:pt x="2740" y="1230"/>
                </a:lnTo>
                <a:lnTo>
                  <a:pt x="2738" y="1230"/>
                </a:lnTo>
                <a:lnTo>
                  <a:pt x="2738" y="1230"/>
                </a:lnTo>
                <a:lnTo>
                  <a:pt x="2748" y="1232"/>
                </a:lnTo>
                <a:lnTo>
                  <a:pt x="2756" y="1236"/>
                </a:lnTo>
                <a:lnTo>
                  <a:pt x="2756" y="1236"/>
                </a:lnTo>
                <a:lnTo>
                  <a:pt x="2756" y="1236"/>
                </a:lnTo>
                <a:lnTo>
                  <a:pt x="2756" y="1236"/>
                </a:lnTo>
                <a:close/>
                <a:moveTo>
                  <a:pt x="2766" y="226"/>
                </a:moveTo>
                <a:lnTo>
                  <a:pt x="2766" y="226"/>
                </a:lnTo>
                <a:lnTo>
                  <a:pt x="2762" y="224"/>
                </a:lnTo>
                <a:lnTo>
                  <a:pt x="2762" y="224"/>
                </a:lnTo>
                <a:lnTo>
                  <a:pt x="2764" y="224"/>
                </a:lnTo>
                <a:lnTo>
                  <a:pt x="2766" y="226"/>
                </a:lnTo>
                <a:lnTo>
                  <a:pt x="2766" y="226"/>
                </a:lnTo>
                <a:lnTo>
                  <a:pt x="2766" y="226"/>
                </a:lnTo>
                <a:lnTo>
                  <a:pt x="2766" y="226"/>
                </a:lnTo>
                <a:close/>
                <a:moveTo>
                  <a:pt x="2778" y="1180"/>
                </a:moveTo>
                <a:lnTo>
                  <a:pt x="2778" y="1180"/>
                </a:lnTo>
                <a:lnTo>
                  <a:pt x="2784" y="1182"/>
                </a:lnTo>
                <a:lnTo>
                  <a:pt x="2784" y="1182"/>
                </a:lnTo>
                <a:lnTo>
                  <a:pt x="2784" y="1182"/>
                </a:lnTo>
                <a:lnTo>
                  <a:pt x="2784" y="1182"/>
                </a:lnTo>
                <a:lnTo>
                  <a:pt x="2784" y="1182"/>
                </a:lnTo>
                <a:lnTo>
                  <a:pt x="2784" y="1182"/>
                </a:lnTo>
                <a:lnTo>
                  <a:pt x="2784" y="1182"/>
                </a:lnTo>
                <a:lnTo>
                  <a:pt x="2778" y="1180"/>
                </a:lnTo>
                <a:lnTo>
                  <a:pt x="2778" y="1180"/>
                </a:lnTo>
                <a:lnTo>
                  <a:pt x="2778" y="1180"/>
                </a:lnTo>
                <a:lnTo>
                  <a:pt x="2778" y="1180"/>
                </a:lnTo>
                <a:close/>
                <a:moveTo>
                  <a:pt x="2776" y="1208"/>
                </a:moveTo>
                <a:lnTo>
                  <a:pt x="2776" y="1208"/>
                </a:lnTo>
                <a:lnTo>
                  <a:pt x="2776" y="1208"/>
                </a:lnTo>
                <a:lnTo>
                  <a:pt x="2776" y="1208"/>
                </a:lnTo>
                <a:lnTo>
                  <a:pt x="2784" y="1198"/>
                </a:lnTo>
                <a:lnTo>
                  <a:pt x="2786" y="1196"/>
                </a:lnTo>
                <a:lnTo>
                  <a:pt x="2784" y="1194"/>
                </a:lnTo>
                <a:lnTo>
                  <a:pt x="2784" y="1194"/>
                </a:lnTo>
                <a:lnTo>
                  <a:pt x="2784" y="1194"/>
                </a:lnTo>
                <a:lnTo>
                  <a:pt x="2784" y="1194"/>
                </a:lnTo>
                <a:lnTo>
                  <a:pt x="2786" y="1196"/>
                </a:lnTo>
                <a:lnTo>
                  <a:pt x="2784" y="1198"/>
                </a:lnTo>
                <a:lnTo>
                  <a:pt x="2776" y="1208"/>
                </a:lnTo>
                <a:lnTo>
                  <a:pt x="2776" y="1208"/>
                </a:lnTo>
                <a:close/>
                <a:moveTo>
                  <a:pt x="2802" y="1182"/>
                </a:moveTo>
                <a:lnTo>
                  <a:pt x="2802" y="1182"/>
                </a:lnTo>
                <a:lnTo>
                  <a:pt x="2802" y="1182"/>
                </a:lnTo>
                <a:lnTo>
                  <a:pt x="2802" y="1182"/>
                </a:lnTo>
                <a:lnTo>
                  <a:pt x="2806" y="1180"/>
                </a:lnTo>
                <a:lnTo>
                  <a:pt x="2806" y="1180"/>
                </a:lnTo>
                <a:lnTo>
                  <a:pt x="2802" y="1178"/>
                </a:lnTo>
                <a:lnTo>
                  <a:pt x="2802" y="1178"/>
                </a:lnTo>
                <a:lnTo>
                  <a:pt x="2802" y="1178"/>
                </a:lnTo>
                <a:lnTo>
                  <a:pt x="2802" y="1178"/>
                </a:lnTo>
                <a:lnTo>
                  <a:pt x="2806" y="1180"/>
                </a:lnTo>
                <a:lnTo>
                  <a:pt x="2806" y="1180"/>
                </a:lnTo>
                <a:lnTo>
                  <a:pt x="2802" y="1182"/>
                </a:lnTo>
                <a:lnTo>
                  <a:pt x="2802" y="1182"/>
                </a:lnTo>
                <a:close/>
                <a:moveTo>
                  <a:pt x="2816" y="714"/>
                </a:moveTo>
                <a:lnTo>
                  <a:pt x="2816" y="714"/>
                </a:lnTo>
                <a:lnTo>
                  <a:pt x="2816" y="714"/>
                </a:lnTo>
                <a:lnTo>
                  <a:pt x="2816" y="714"/>
                </a:lnTo>
                <a:lnTo>
                  <a:pt x="2816" y="712"/>
                </a:lnTo>
                <a:lnTo>
                  <a:pt x="2816" y="712"/>
                </a:lnTo>
                <a:lnTo>
                  <a:pt x="2812" y="712"/>
                </a:lnTo>
                <a:lnTo>
                  <a:pt x="2812" y="712"/>
                </a:lnTo>
                <a:lnTo>
                  <a:pt x="2812" y="712"/>
                </a:lnTo>
                <a:lnTo>
                  <a:pt x="2812" y="712"/>
                </a:lnTo>
                <a:lnTo>
                  <a:pt x="2812" y="712"/>
                </a:lnTo>
                <a:lnTo>
                  <a:pt x="2816" y="712"/>
                </a:lnTo>
                <a:lnTo>
                  <a:pt x="2816" y="712"/>
                </a:lnTo>
                <a:lnTo>
                  <a:pt x="2816" y="714"/>
                </a:lnTo>
                <a:lnTo>
                  <a:pt x="2816" y="714"/>
                </a:lnTo>
                <a:close/>
                <a:moveTo>
                  <a:pt x="2878" y="190"/>
                </a:moveTo>
                <a:lnTo>
                  <a:pt x="2878" y="190"/>
                </a:lnTo>
                <a:lnTo>
                  <a:pt x="2888" y="186"/>
                </a:lnTo>
                <a:lnTo>
                  <a:pt x="2888" y="186"/>
                </a:lnTo>
                <a:lnTo>
                  <a:pt x="2888" y="186"/>
                </a:lnTo>
                <a:lnTo>
                  <a:pt x="2888" y="186"/>
                </a:lnTo>
                <a:lnTo>
                  <a:pt x="2878" y="190"/>
                </a:lnTo>
                <a:lnTo>
                  <a:pt x="2878" y="190"/>
                </a:lnTo>
                <a:lnTo>
                  <a:pt x="2878" y="190"/>
                </a:lnTo>
                <a:lnTo>
                  <a:pt x="2878" y="190"/>
                </a:lnTo>
                <a:close/>
                <a:moveTo>
                  <a:pt x="2876" y="182"/>
                </a:moveTo>
                <a:lnTo>
                  <a:pt x="2876" y="182"/>
                </a:lnTo>
                <a:lnTo>
                  <a:pt x="2878" y="180"/>
                </a:lnTo>
                <a:lnTo>
                  <a:pt x="2878" y="180"/>
                </a:lnTo>
                <a:lnTo>
                  <a:pt x="2876" y="178"/>
                </a:lnTo>
                <a:lnTo>
                  <a:pt x="2876" y="178"/>
                </a:lnTo>
                <a:lnTo>
                  <a:pt x="2876" y="178"/>
                </a:lnTo>
                <a:lnTo>
                  <a:pt x="2876" y="178"/>
                </a:lnTo>
                <a:lnTo>
                  <a:pt x="2878" y="180"/>
                </a:lnTo>
                <a:lnTo>
                  <a:pt x="2878" y="180"/>
                </a:lnTo>
                <a:lnTo>
                  <a:pt x="2876" y="182"/>
                </a:lnTo>
                <a:lnTo>
                  <a:pt x="2876" y="182"/>
                </a:lnTo>
                <a:lnTo>
                  <a:pt x="2876" y="182"/>
                </a:lnTo>
                <a:lnTo>
                  <a:pt x="2876" y="182"/>
                </a:lnTo>
                <a:lnTo>
                  <a:pt x="2876" y="182"/>
                </a:lnTo>
                <a:lnTo>
                  <a:pt x="2876" y="182"/>
                </a:lnTo>
                <a:close/>
                <a:moveTo>
                  <a:pt x="2876" y="204"/>
                </a:moveTo>
                <a:lnTo>
                  <a:pt x="2876" y="204"/>
                </a:lnTo>
                <a:lnTo>
                  <a:pt x="2884" y="204"/>
                </a:lnTo>
                <a:lnTo>
                  <a:pt x="2884" y="204"/>
                </a:lnTo>
                <a:lnTo>
                  <a:pt x="2892" y="204"/>
                </a:lnTo>
                <a:lnTo>
                  <a:pt x="2900" y="204"/>
                </a:lnTo>
                <a:lnTo>
                  <a:pt x="2900" y="204"/>
                </a:lnTo>
                <a:lnTo>
                  <a:pt x="2892" y="204"/>
                </a:lnTo>
                <a:lnTo>
                  <a:pt x="2884" y="204"/>
                </a:lnTo>
                <a:lnTo>
                  <a:pt x="2884" y="204"/>
                </a:lnTo>
                <a:lnTo>
                  <a:pt x="2876" y="204"/>
                </a:lnTo>
                <a:lnTo>
                  <a:pt x="2876" y="204"/>
                </a:lnTo>
                <a:lnTo>
                  <a:pt x="2876" y="204"/>
                </a:lnTo>
                <a:lnTo>
                  <a:pt x="2876" y="204"/>
                </a:lnTo>
                <a:close/>
                <a:moveTo>
                  <a:pt x="2884" y="1176"/>
                </a:moveTo>
                <a:lnTo>
                  <a:pt x="2884" y="1176"/>
                </a:lnTo>
                <a:lnTo>
                  <a:pt x="2884" y="1176"/>
                </a:lnTo>
                <a:lnTo>
                  <a:pt x="2884" y="1176"/>
                </a:lnTo>
                <a:lnTo>
                  <a:pt x="2890" y="1176"/>
                </a:lnTo>
                <a:lnTo>
                  <a:pt x="2892" y="1176"/>
                </a:lnTo>
                <a:lnTo>
                  <a:pt x="2898" y="1172"/>
                </a:lnTo>
                <a:lnTo>
                  <a:pt x="2898" y="1172"/>
                </a:lnTo>
                <a:lnTo>
                  <a:pt x="2898" y="1172"/>
                </a:lnTo>
                <a:lnTo>
                  <a:pt x="2898" y="1172"/>
                </a:lnTo>
                <a:lnTo>
                  <a:pt x="2892" y="1176"/>
                </a:lnTo>
                <a:lnTo>
                  <a:pt x="2890" y="1176"/>
                </a:lnTo>
                <a:lnTo>
                  <a:pt x="2884" y="1176"/>
                </a:lnTo>
                <a:lnTo>
                  <a:pt x="2884" y="1176"/>
                </a:lnTo>
                <a:close/>
                <a:moveTo>
                  <a:pt x="2892" y="1164"/>
                </a:moveTo>
                <a:lnTo>
                  <a:pt x="2892" y="1164"/>
                </a:lnTo>
                <a:lnTo>
                  <a:pt x="2892" y="1164"/>
                </a:lnTo>
                <a:lnTo>
                  <a:pt x="2892" y="1164"/>
                </a:lnTo>
                <a:lnTo>
                  <a:pt x="2896" y="1164"/>
                </a:lnTo>
                <a:lnTo>
                  <a:pt x="2896" y="1164"/>
                </a:lnTo>
                <a:lnTo>
                  <a:pt x="2898" y="1162"/>
                </a:lnTo>
                <a:lnTo>
                  <a:pt x="2898" y="1162"/>
                </a:lnTo>
                <a:lnTo>
                  <a:pt x="2898" y="1162"/>
                </a:lnTo>
                <a:lnTo>
                  <a:pt x="2898" y="1162"/>
                </a:lnTo>
                <a:lnTo>
                  <a:pt x="2898" y="1164"/>
                </a:lnTo>
                <a:lnTo>
                  <a:pt x="2898" y="1164"/>
                </a:lnTo>
                <a:lnTo>
                  <a:pt x="2892" y="1164"/>
                </a:lnTo>
                <a:lnTo>
                  <a:pt x="2892" y="1164"/>
                </a:lnTo>
                <a:close/>
                <a:moveTo>
                  <a:pt x="2894" y="1152"/>
                </a:moveTo>
                <a:lnTo>
                  <a:pt x="2894" y="1152"/>
                </a:lnTo>
                <a:lnTo>
                  <a:pt x="2894" y="1152"/>
                </a:lnTo>
                <a:lnTo>
                  <a:pt x="2894" y="1152"/>
                </a:lnTo>
                <a:lnTo>
                  <a:pt x="2894" y="1152"/>
                </a:lnTo>
                <a:lnTo>
                  <a:pt x="2894" y="1152"/>
                </a:lnTo>
                <a:lnTo>
                  <a:pt x="2898" y="1150"/>
                </a:lnTo>
                <a:lnTo>
                  <a:pt x="2898" y="1150"/>
                </a:lnTo>
                <a:lnTo>
                  <a:pt x="2896" y="1148"/>
                </a:lnTo>
                <a:lnTo>
                  <a:pt x="2896" y="1148"/>
                </a:lnTo>
                <a:lnTo>
                  <a:pt x="2898" y="1150"/>
                </a:lnTo>
                <a:lnTo>
                  <a:pt x="2898" y="1150"/>
                </a:lnTo>
                <a:lnTo>
                  <a:pt x="2894" y="1152"/>
                </a:lnTo>
                <a:lnTo>
                  <a:pt x="2894" y="1152"/>
                </a:lnTo>
                <a:close/>
                <a:moveTo>
                  <a:pt x="2878" y="794"/>
                </a:moveTo>
                <a:lnTo>
                  <a:pt x="2878" y="794"/>
                </a:lnTo>
                <a:lnTo>
                  <a:pt x="2876" y="792"/>
                </a:lnTo>
                <a:lnTo>
                  <a:pt x="2878" y="788"/>
                </a:lnTo>
                <a:lnTo>
                  <a:pt x="2878" y="786"/>
                </a:lnTo>
                <a:lnTo>
                  <a:pt x="2876" y="784"/>
                </a:lnTo>
                <a:lnTo>
                  <a:pt x="2876" y="784"/>
                </a:lnTo>
                <a:lnTo>
                  <a:pt x="2880" y="782"/>
                </a:lnTo>
                <a:lnTo>
                  <a:pt x="2886" y="782"/>
                </a:lnTo>
                <a:lnTo>
                  <a:pt x="2886" y="782"/>
                </a:lnTo>
                <a:lnTo>
                  <a:pt x="2902" y="790"/>
                </a:lnTo>
                <a:lnTo>
                  <a:pt x="2902" y="790"/>
                </a:lnTo>
                <a:lnTo>
                  <a:pt x="2896" y="792"/>
                </a:lnTo>
                <a:lnTo>
                  <a:pt x="2888" y="792"/>
                </a:lnTo>
                <a:lnTo>
                  <a:pt x="2882" y="792"/>
                </a:lnTo>
                <a:lnTo>
                  <a:pt x="2880" y="792"/>
                </a:lnTo>
                <a:lnTo>
                  <a:pt x="2878" y="794"/>
                </a:lnTo>
                <a:lnTo>
                  <a:pt x="2878" y="794"/>
                </a:lnTo>
                <a:close/>
                <a:moveTo>
                  <a:pt x="2920" y="208"/>
                </a:moveTo>
                <a:lnTo>
                  <a:pt x="2920" y="208"/>
                </a:lnTo>
                <a:lnTo>
                  <a:pt x="2920" y="208"/>
                </a:lnTo>
                <a:lnTo>
                  <a:pt x="2920" y="200"/>
                </a:lnTo>
                <a:lnTo>
                  <a:pt x="2920" y="200"/>
                </a:lnTo>
                <a:lnTo>
                  <a:pt x="2912" y="200"/>
                </a:lnTo>
                <a:lnTo>
                  <a:pt x="2906" y="202"/>
                </a:lnTo>
                <a:lnTo>
                  <a:pt x="2906" y="202"/>
                </a:lnTo>
                <a:lnTo>
                  <a:pt x="2906" y="202"/>
                </a:lnTo>
                <a:lnTo>
                  <a:pt x="2906" y="202"/>
                </a:lnTo>
                <a:lnTo>
                  <a:pt x="2912" y="200"/>
                </a:lnTo>
                <a:lnTo>
                  <a:pt x="2920" y="200"/>
                </a:lnTo>
                <a:lnTo>
                  <a:pt x="2920" y="208"/>
                </a:lnTo>
                <a:close/>
                <a:moveTo>
                  <a:pt x="2966" y="286"/>
                </a:moveTo>
                <a:lnTo>
                  <a:pt x="2966" y="286"/>
                </a:lnTo>
                <a:lnTo>
                  <a:pt x="2970" y="286"/>
                </a:lnTo>
                <a:lnTo>
                  <a:pt x="2976" y="282"/>
                </a:lnTo>
                <a:lnTo>
                  <a:pt x="2976" y="282"/>
                </a:lnTo>
                <a:lnTo>
                  <a:pt x="2966" y="282"/>
                </a:lnTo>
                <a:lnTo>
                  <a:pt x="2966" y="282"/>
                </a:lnTo>
                <a:lnTo>
                  <a:pt x="2976" y="282"/>
                </a:lnTo>
                <a:lnTo>
                  <a:pt x="2976" y="282"/>
                </a:lnTo>
                <a:lnTo>
                  <a:pt x="2970" y="286"/>
                </a:lnTo>
                <a:lnTo>
                  <a:pt x="2966" y="286"/>
                </a:lnTo>
                <a:lnTo>
                  <a:pt x="2966" y="286"/>
                </a:lnTo>
                <a:close/>
                <a:moveTo>
                  <a:pt x="3052" y="1166"/>
                </a:moveTo>
                <a:lnTo>
                  <a:pt x="3052" y="1166"/>
                </a:lnTo>
                <a:lnTo>
                  <a:pt x="3058" y="1166"/>
                </a:lnTo>
                <a:lnTo>
                  <a:pt x="3058" y="1164"/>
                </a:lnTo>
                <a:lnTo>
                  <a:pt x="3058" y="1162"/>
                </a:lnTo>
                <a:lnTo>
                  <a:pt x="3058" y="1162"/>
                </a:lnTo>
                <a:lnTo>
                  <a:pt x="3058" y="1162"/>
                </a:lnTo>
                <a:lnTo>
                  <a:pt x="3058" y="1162"/>
                </a:lnTo>
                <a:lnTo>
                  <a:pt x="3058" y="1166"/>
                </a:lnTo>
                <a:lnTo>
                  <a:pt x="3058" y="1166"/>
                </a:lnTo>
                <a:lnTo>
                  <a:pt x="3050" y="1166"/>
                </a:lnTo>
                <a:lnTo>
                  <a:pt x="3050" y="1166"/>
                </a:lnTo>
                <a:lnTo>
                  <a:pt x="3052" y="1166"/>
                </a:lnTo>
                <a:lnTo>
                  <a:pt x="3052" y="1166"/>
                </a:lnTo>
                <a:close/>
                <a:moveTo>
                  <a:pt x="3064" y="1096"/>
                </a:moveTo>
                <a:lnTo>
                  <a:pt x="3064" y="1096"/>
                </a:lnTo>
                <a:lnTo>
                  <a:pt x="3068" y="1096"/>
                </a:lnTo>
                <a:lnTo>
                  <a:pt x="3068" y="1096"/>
                </a:lnTo>
                <a:lnTo>
                  <a:pt x="3068" y="1096"/>
                </a:lnTo>
                <a:lnTo>
                  <a:pt x="3068" y="1096"/>
                </a:lnTo>
                <a:lnTo>
                  <a:pt x="3064" y="1096"/>
                </a:lnTo>
                <a:lnTo>
                  <a:pt x="3064" y="1096"/>
                </a:lnTo>
                <a:lnTo>
                  <a:pt x="3062" y="1096"/>
                </a:lnTo>
                <a:lnTo>
                  <a:pt x="3062" y="1096"/>
                </a:lnTo>
                <a:lnTo>
                  <a:pt x="3064" y="1096"/>
                </a:lnTo>
                <a:lnTo>
                  <a:pt x="3064" y="1096"/>
                </a:lnTo>
                <a:close/>
                <a:moveTo>
                  <a:pt x="3024" y="170"/>
                </a:moveTo>
                <a:lnTo>
                  <a:pt x="3024" y="170"/>
                </a:lnTo>
                <a:lnTo>
                  <a:pt x="3016" y="172"/>
                </a:lnTo>
                <a:lnTo>
                  <a:pt x="3010" y="172"/>
                </a:lnTo>
                <a:lnTo>
                  <a:pt x="3010" y="172"/>
                </a:lnTo>
                <a:lnTo>
                  <a:pt x="3016" y="172"/>
                </a:lnTo>
                <a:lnTo>
                  <a:pt x="3024" y="170"/>
                </a:lnTo>
                <a:lnTo>
                  <a:pt x="3024" y="170"/>
                </a:lnTo>
                <a:lnTo>
                  <a:pt x="3002" y="168"/>
                </a:lnTo>
                <a:lnTo>
                  <a:pt x="3002" y="168"/>
                </a:lnTo>
                <a:lnTo>
                  <a:pt x="3024" y="170"/>
                </a:lnTo>
                <a:lnTo>
                  <a:pt x="3024" y="170"/>
                </a:lnTo>
                <a:close/>
                <a:moveTo>
                  <a:pt x="3042" y="1126"/>
                </a:moveTo>
                <a:lnTo>
                  <a:pt x="3042" y="1126"/>
                </a:lnTo>
                <a:lnTo>
                  <a:pt x="3040" y="1130"/>
                </a:lnTo>
                <a:lnTo>
                  <a:pt x="3040" y="1130"/>
                </a:lnTo>
                <a:lnTo>
                  <a:pt x="3040" y="1130"/>
                </a:lnTo>
                <a:lnTo>
                  <a:pt x="3040" y="1130"/>
                </a:lnTo>
                <a:lnTo>
                  <a:pt x="3042" y="1126"/>
                </a:lnTo>
                <a:lnTo>
                  <a:pt x="3042" y="1126"/>
                </a:lnTo>
                <a:lnTo>
                  <a:pt x="3034" y="1126"/>
                </a:lnTo>
                <a:lnTo>
                  <a:pt x="3034" y="1126"/>
                </a:lnTo>
                <a:lnTo>
                  <a:pt x="3028" y="1128"/>
                </a:lnTo>
                <a:lnTo>
                  <a:pt x="3024" y="1130"/>
                </a:lnTo>
                <a:lnTo>
                  <a:pt x="3018" y="1132"/>
                </a:lnTo>
                <a:lnTo>
                  <a:pt x="3014" y="1132"/>
                </a:lnTo>
                <a:lnTo>
                  <a:pt x="3014" y="1132"/>
                </a:lnTo>
                <a:lnTo>
                  <a:pt x="3014" y="1132"/>
                </a:lnTo>
                <a:lnTo>
                  <a:pt x="3014" y="1132"/>
                </a:lnTo>
                <a:lnTo>
                  <a:pt x="3014" y="1132"/>
                </a:lnTo>
                <a:lnTo>
                  <a:pt x="3014" y="1132"/>
                </a:lnTo>
                <a:lnTo>
                  <a:pt x="3020" y="1132"/>
                </a:lnTo>
                <a:lnTo>
                  <a:pt x="3024" y="1130"/>
                </a:lnTo>
                <a:lnTo>
                  <a:pt x="3028" y="1128"/>
                </a:lnTo>
                <a:lnTo>
                  <a:pt x="3034" y="1126"/>
                </a:lnTo>
                <a:lnTo>
                  <a:pt x="3034" y="1126"/>
                </a:lnTo>
                <a:lnTo>
                  <a:pt x="3042" y="1126"/>
                </a:lnTo>
                <a:lnTo>
                  <a:pt x="3042" y="1126"/>
                </a:lnTo>
                <a:close/>
                <a:moveTo>
                  <a:pt x="3016" y="966"/>
                </a:moveTo>
                <a:lnTo>
                  <a:pt x="3016" y="966"/>
                </a:lnTo>
                <a:lnTo>
                  <a:pt x="3016" y="966"/>
                </a:lnTo>
                <a:lnTo>
                  <a:pt x="3016" y="966"/>
                </a:lnTo>
                <a:lnTo>
                  <a:pt x="3020" y="964"/>
                </a:lnTo>
                <a:lnTo>
                  <a:pt x="3020" y="964"/>
                </a:lnTo>
                <a:lnTo>
                  <a:pt x="3020" y="964"/>
                </a:lnTo>
                <a:lnTo>
                  <a:pt x="3020" y="964"/>
                </a:lnTo>
                <a:lnTo>
                  <a:pt x="3016" y="966"/>
                </a:lnTo>
                <a:lnTo>
                  <a:pt x="3016" y="966"/>
                </a:lnTo>
                <a:lnTo>
                  <a:pt x="3016" y="966"/>
                </a:lnTo>
                <a:lnTo>
                  <a:pt x="3016" y="966"/>
                </a:lnTo>
                <a:close/>
                <a:moveTo>
                  <a:pt x="3036" y="1102"/>
                </a:moveTo>
                <a:lnTo>
                  <a:pt x="3036" y="1102"/>
                </a:lnTo>
                <a:lnTo>
                  <a:pt x="3032" y="1100"/>
                </a:lnTo>
                <a:lnTo>
                  <a:pt x="3032" y="1100"/>
                </a:lnTo>
                <a:lnTo>
                  <a:pt x="3032" y="1100"/>
                </a:lnTo>
                <a:lnTo>
                  <a:pt x="3032" y="1100"/>
                </a:lnTo>
                <a:lnTo>
                  <a:pt x="3036" y="1102"/>
                </a:lnTo>
                <a:lnTo>
                  <a:pt x="3036" y="1102"/>
                </a:lnTo>
                <a:lnTo>
                  <a:pt x="3036" y="1102"/>
                </a:lnTo>
                <a:lnTo>
                  <a:pt x="3032" y="1102"/>
                </a:lnTo>
                <a:lnTo>
                  <a:pt x="3032" y="1102"/>
                </a:lnTo>
                <a:lnTo>
                  <a:pt x="3032" y="1102"/>
                </a:lnTo>
                <a:lnTo>
                  <a:pt x="3032" y="1102"/>
                </a:lnTo>
                <a:lnTo>
                  <a:pt x="3036" y="1102"/>
                </a:lnTo>
                <a:lnTo>
                  <a:pt x="3036" y="1102"/>
                </a:lnTo>
                <a:close/>
                <a:moveTo>
                  <a:pt x="3054" y="202"/>
                </a:moveTo>
                <a:lnTo>
                  <a:pt x="3054" y="202"/>
                </a:lnTo>
                <a:lnTo>
                  <a:pt x="3052" y="204"/>
                </a:lnTo>
                <a:lnTo>
                  <a:pt x="3048" y="206"/>
                </a:lnTo>
                <a:lnTo>
                  <a:pt x="3048" y="206"/>
                </a:lnTo>
                <a:lnTo>
                  <a:pt x="3044" y="206"/>
                </a:lnTo>
                <a:lnTo>
                  <a:pt x="3042" y="204"/>
                </a:lnTo>
                <a:lnTo>
                  <a:pt x="3042" y="204"/>
                </a:lnTo>
                <a:lnTo>
                  <a:pt x="3036" y="200"/>
                </a:lnTo>
                <a:lnTo>
                  <a:pt x="3028" y="196"/>
                </a:lnTo>
                <a:lnTo>
                  <a:pt x="3020" y="194"/>
                </a:lnTo>
                <a:lnTo>
                  <a:pt x="3012" y="194"/>
                </a:lnTo>
                <a:lnTo>
                  <a:pt x="3012" y="194"/>
                </a:lnTo>
                <a:lnTo>
                  <a:pt x="3006" y="194"/>
                </a:lnTo>
                <a:lnTo>
                  <a:pt x="3006" y="194"/>
                </a:lnTo>
                <a:lnTo>
                  <a:pt x="3006" y="190"/>
                </a:lnTo>
                <a:lnTo>
                  <a:pt x="3006" y="190"/>
                </a:lnTo>
                <a:lnTo>
                  <a:pt x="3004" y="190"/>
                </a:lnTo>
                <a:lnTo>
                  <a:pt x="3002" y="188"/>
                </a:lnTo>
                <a:lnTo>
                  <a:pt x="2998" y="180"/>
                </a:lnTo>
                <a:lnTo>
                  <a:pt x="2998" y="180"/>
                </a:lnTo>
                <a:lnTo>
                  <a:pt x="3008" y="180"/>
                </a:lnTo>
                <a:lnTo>
                  <a:pt x="3012" y="180"/>
                </a:lnTo>
                <a:lnTo>
                  <a:pt x="3014" y="184"/>
                </a:lnTo>
                <a:lnTo>
                  <a:pt x="3014" y="184"/>
                </a:lnTo>
                <a:lnTo>
                  <a:pt x="3016" y="186"/>
                </a:lnTo>
                <a:lnTo>
                  <a:pt x="3018" y="188"/>
                </a:lnTo>
                <a:lnTo>
                  <a:pt x="3026" y="188"/>
                </a:lnTo>
                <a:lnTo>
                  <a:pt x="3026" y="188"/>
                </a:lnTo>
                <a:lnTo>
                  <a:pt x="3038" y="188"/>
                </a:lnTo>
                <a:lnTo>
                  <a:pt x="3038" y="188"/>
                </a:lnTo>
                <a:lnTo>
                  <a:pt x="3048" y="188"/>
                </a:lnTo>
                <a:lnTo>
                  <a:pt x="3054" y="192"/>
                </a:lnTo>
                <a:lnTo>
                  <a:pt x="3054" y="192"/>
                </a:lnTo>
                <a:lnTo>
                  <a:pt x="3054" y="202"/>
                </a:lnTo>
                <a:lnTo>
                  <a:pt x="3054" y="202"/>
                </a:lnTo>
                <a:close/>
                <a:moveTo>
                  <a:pt x="3062" y="1106"/>
                </a:moveTo>
                <a:lnTo>
                  <a:pt x="3062" y="1106"/>
                </a:lnTo>
                <a:lnTo>
                  <a:pt x="3062" y="1106"/>
                </a:lnTo>
                <a:lnTo>
                  <a:pt x="3068" y="1108"/>
                </a:lnTo>
                <a:lnTo>
                  <a:pt x="3078" y="1106"/>
                </a:lnTo>
                <a:lnTo>
                  <a:pt x="3080" y="1106"/>
                </a:lnTo>
                <a:lnTo>
                  <a:pt x="3080" y="1106"/>
                </a:lnTo>
                <a:lnTo>
                  <a:pt x="3068" y="1108"/>
                </a:lnTo>
                <a:lnTo>
                  <a:pt x="3062" y="1106"/>
                </a:lnTo>
                <a:lnTo>
                  <a:pt x="3062" y="1106"/>
                </a:lnTo>
                <a:close/>
                <a:moveTo>
                  <a:pt x="3092" y="1034"/>
                </a:moveTo>
                <a:lnTo>
                  <a:pt x="3092" y="1034"/>
                </a:lnTo>
                <a:lnTo>
                  <a:pt x="3092" y="1034"/>
                </a:lnTo>
                <a:lnTo>
                  <a:pt x="3092" y="1034"/>
                </a:lnTo>
                <a:lnTo>
                  <a:pt x="3090" y="1034"/>
                </a:lnTo>
                <a:lnTo>
                  <a:pt x="3090" y="1034"/>
                </a:lnTo>
                <a:lnTo>
                  <a:pt x="3090" y="1034"/>
                </a:lnTo>
                <a:lnTo>
                  <a:pt x="3090" y="1034"/>
                </a:lnTo>
                <a:lnTo>
                  <a:pt x="3092" y="1034"/>
                </a:lnTo>
                <a:lnTo>
                  <a:pt x="3092" y="1034"/>
                </a:lnTo>
                <a:close/>
                <a:moveTo>
                  <a:pt x="3086" y="1060"/>
                </a:moveTo>
                <a:lnTo>
                  <a:pt x="3086" y="1060"/>
                </a:lnTo>
                <a:lnTo>
                  <a:pt x="3086" y="1060"/>
                </a:lnTo>
                <a:lnTo>
                  <a:pt x="3086" y="1060"/>
                </a:lnTo>
                <a:lnTo>
                  <a:pt x="3088" y="1060"/>
                </a:lnTo>
                <a:lnTo>
                  <a:pt x="3088" y="1060"/>
                </a:lnTo>
                <a:lnTo>
                  <a:pt x="3090" y="1060"/>
                </a:lnTo>
                <a:lnTo>
                  <a:pt x="3090" y="1060"/>
                </a:lnTo>
                <a:lnTo>
                  <a:pt x="3086" y="1060"/>
                </a:lnTo>
                <a:lnTo>
                  <a:pt x="3086" y="1060"/>
                </a:lnTo>
                <a:close/>
                <a:moveTo>
                  <a:pt x="3090" y="1060"/>
                </a:moveTo>
                <a:lnTo>
                  <a:pt x="3090" y="1060"/>
                </a:lnTo>
                <a:lnTo>
                  <a:pt x="3090" y="1058"/>
                </a:lnTo>
                <a:lnTo>
                  <a:pt x="3090" y="1058"/>
                </a:lnTo>
                <a:lnTo>
                  <a:pt x="3092" y="1058"/>
                </a:lnTo>
                <a:lnTo>
                  <a:pt x="3092" y="1058"/>
                </a:lnTo>
                <a:lnTo>
                  <a:pt x="3092" y="1058"/>
                </a:lnTo>
                <a:lnTo>
                  <a:pt x="3092" y="1058"/>
                </a:lnTo>
                <a:lnTo>
                  <a:pt x="3092" y="1058"/>
                </a:lnTo>
                <a:lnTo>
                  <a:pt x="3092" y="1058"/>
                </a:lnTo>
                <a:lnTo>
                  <a:pt x="3092" y="1058"/>
                </a:lnTo>
                <a:lnTo>
                  <a:pt x="3092" y="1058"/>
                </a:lnTo>
                <a:lnTo>
                  <a:pt x="3090" y="1060"/>
                </a:lnTo>
                <a:lnTo>
                  <a:pt x="3090" y="1060"/>
                </a:lnTo>
                <a:close/>
                <a:moveTo>
                  <a:pt x="3400" y="1120"/>
                </a:moveTo>
                <a:lnTo>
                  <a:pt x="3400" y="1120"/>
                </a:lnTo>
                <a:lnTo>
                  <a:pt x="3400" y="1120"/>
                </a:lnTo>
                <a:lnTo>
                  <a:pt x="3400" y="1120"/>
                </a:lnTo>
                <a:lnTo>
                  <a:pt x="3400" y="1116"/>
                </a:lnTo>
                <a:lnTo>
                  <a:pt x="3404" y="1116"/>
                </a:lnTo>
                <a:lnTo>
                  <a:pt x="3404" y="1116"/>
                </a:lnTo>
                <a:lnTo>
                  <a:pt x="3404" y="1116"/>
                </a:lnTo>
                <a:lnTo>
                  <a:pt x="3404" y="1116"/>
                </a:lnTo>
                <a:lnTo>
                  <a:pt x="3400" y="1116"/>
                </a:lnTo>
                <a:lnTo>
                  <a:pt x="3400" y="1120"/>
                </a:lnTo>
                <a:lnTo>
                  <a:pt x="3400" y="1120"/>
                </a:lnTo>
                <a:close/>
                <a:moveTo>
                  <a:pt x="3422" y="1124"/>
                </a:moveTo>
                <a:lnTo>
                  <a:pt x="3422" y="1124"/>
                </a:lnTo>
                <a:lnTo>
                  <a:pt x="3424" y="1124"/>
                </a:lnTo>
                <a:lnTo>
                  <a:pt x="3424" y="1124"/>
                </a:lnTo>
                <a:lnTo>
                  <a:pt x="3422" y="1126"/>
                </a:lnTo>
                <a:lnTo>
                  <a:pt x="3422" y="1126"/>
                </a:lnTo>
                <a:lnTo>
                  <a:pt x="3422" y="1124"/>
                </a:lnTo>
                <a:lnTo>
                  <a:pt x="3422" y="1124"/>
                </a:lnTo>
                <a:close/>
                <a:moveTo>
                  <a:pt x="3360" y="1122"/>
                </a:moveTo>
                <a:lnTo>
                  <a:pt x="3360" y="1122"/>
                </a:lnTo>
                <a:lnTo>
                  <a:pt x="3366" y="1122"/>
                </a:lnTo>
                <a:lnTo>
                  <a:pt x="3370" y="1122"/>
                </a:lnTo>
                <a:lnTo>
                  <a:pt x="3372" y="1124"/>
                </a:lnTo>
                <a:lnTo>
                  <a:pt x="3372" y="1124"/>
                </a:lnTo>
                <a:lnTo>
                  <a:pt x="3368" y="1126"/>
                </a:lnTo>
                <a:lnTo>
                  <a:pt x="3368" y="1126"/>
                </a:lnTo>
                <a:lnTo>
                  <a:pt x="3352" y="1128"/>
                </a:lnTo>
                <a:lnTo>
                  <a:pt x="3352" y="1128"/>
                </a:lnTo>
                <a:lnTo>
                  <a:pt x="3350" y="1124"/>
                </a:lnTo>
                <a:lnTo>
                  <a:pt x="3350" y="1124"/>
                </a:lnTo>
                <a:lnTo>
                  <a:pt x="3360" y="1122"/>
                </a:lnTo>
                <a:lnTo>
                  <a:pt x="3360" y="1122"/>
                </a:lnTo>
                <a:close/>
                <a:moveTo>
                  <a:pt x="3280" y="1126"/>
                </a:moveTo>
                <a:lnTo>
                  <a:pt x="3280" y="1126"/>
                </a:lnTo>
                <a:lnTo>
                  <a:pt x="3280" y="1130"/>
                </a:lnTo>
                <a:lnTo>
                  <a:pt x="3280" y="1130"/>
                </a:lnTo>
                <a:lnTo>
                  <a:pt x="3272" y="1132"/>
                </a:lnTo>
                <a:lnTo>
                  <a:pt x="3272" y="1132"/>
                </a:lnTo>
                <a:lnTo>
                  <a:pt x="3272" y="1128"/>
                </a:lnTo>
                <a:lnTo>
                  <a:pt x="3272" y="1128"/>
                </a:lnTo>
                <a:lnTo>
                  <a:pt x="3272" y="1126"/>
                </a:lnTo>
                <a:lnTo>
                  <a:pt x="3272" y="1126"/>
                </a:lnTo>
                <a:lnTo>
                  <a:pt x="3280" y="1126"/>
                </a:lnTo>
                <a:lnTo>
                  <a:pt x="3280" y="1126"/>
                </a:lnTo>
                <a:close/>
                <a:moveTo>
                  <a:pt x="3282" y="970"/>
                </a:moveTo>
                <a:lnTo>
                  <a:pt x="3282" y="970"/>
                </a:lnTo>
                <a:lnTo>
                  <a:pt x="3284" y="970"/>
                </a:lnTo>
                <a:lnTo>
                  <a:pt x="3284" y="970"/>
                </a:lnTo>
                <a:lnTo>
                  <a:pt x="3282" y="970"/>
                </a:lnTo>
                <a:lnTo>
                  <a:pt x="3282" y="970"/>
                </a:lnTo>
                <a:close/>
                <a:moveTo>
                  <a:pt x="3288" y="988"/>
                </a:moveTo>
                <a:lnTo>
                  <a:pt x="3288" y="988"/>
                </a:lnTo>
                <a:lnTo>
                  <a:pt x="3288" y="988"/>
                </a:lnTo>
                <a:lnTo>
                  <a:pt x="3288" y="988"/>
                </a:lnTo>
                <a:lnTo>
                  <a:pt x="3286" y="990"/>
                </a:lnTo>
                <a:lnTo>
                  <a:pt x="3286" y="990"/>
                </a:lnTo>
                <a:lnTo>
                  <a:pt x="3286" y="990"/>
                </a:lnTo>
                <a:lnTo>
                  <a:pt x="3286" y="990"/>
                </a:lnTo>
                <a:lnTo>
                  <a:pt x="3286" y="990"/>
                </a:lnTo>
                <a:lnTo>
                  <a:pt x="3288" y="988"/>
                </a:lnTo>
                <a:lnTo>
                  <a:pt x="3288" y="988"/>
                </a:lnTo>
                <a:close/>
                <a:moveTo>
                  <a:pt x="3282" y="838"/>
                </a:moveTo>
                <a:lnTo>
                  <a:pt x="3282" y="838"/>
                </a:lnTo>
                <a:lnTo>
                  <a:pt x="3282" y="838"/>
                </a:lnTo>
                <a:lnTo>
                  <a:pt x="3282" y="838"/>
                </a:lnTo>
                <a:lnTo>
                  <a:pt x="3278" y="842"/>
                </a:lnTo>
                <a:lnTo>
                  <a:pt x="3274" y="842"/>
                </a:lnTo>
                <a:lnTo>
                  <a:pt x="3270" y="840"/>
                </a:lnTo>
                <a:lnTo>
                  <a:pt x="3266" y="838"/>
                </a:lnTo>
                <a:lnTo>
                  <a:pt x="3266" y="838"/>
                </a:lnTo>
                <a:lnTo>
                  <a:pt x="3270" y="840"/>
                </a:lnTo>
                <a:lnTo>
                  <a:pt x="3274" y="842"/>
                </a:lnTo>
                <a:lnTo>
                  <a:pt x="3278" y="842"/>
                </a:lnTo>
                <a:lnTo>
                  <a:pt x="3282" y="838"/>
                </a:lnTo>
                <a:lnTo>
                  <a:pt x="3282" y="838"/>
                </a:lnTo>
                <a:close/>
                <a:moveTo>
                  <a:pt x="3172" y="1134"/>
                </a:moveTo>
                <a:lnTo>
                  <a:pt x="3172" y="1134"/>
                </a:lnTo>
                <a:lnTo>
                  <a:pt x="3172" y="1134"/>
                </a:lnTo>
                <a:lnTo>
                  <a:pt x="3172" y="1134"/>
                </a:lnTo>
                <a:lnTo>
                  <a:pt x="3174" y="1134"/>
                </a:lnTo>
                <a:lnTo>
                  <a:pt x="3174" y="1134"/>
                </a:lnTo>
                <a:lnTo>
                  <a:pt x="3172" y="1134"/>
                </a:lnTo>
                <a:lnTo>
                  <a:pt x="3172" y="1134"/>
                </a:lnTo>
                <a:close/>
                <a:moveTo>
                  <a:pt x="3128" y="1126"/>
                </a:moveTo>
                <a:lnTo>
                  <a:pt x="3128" y="1126"/>
                </a:lnTo>
                <a:lnTo>
                  <a:pt x="3128" y="1120"/>
                </a:lnTo>
                <a:lnTo>
                  <a:pt x="3128" y="1120"/>
                </a:lnTo>
                <a:lnTo>
                  <a:pt x="3128" y="1126"/>
                </a:lnTo>
                <a:lnTo>
                  <a:pt x="3128" y="1126"/>
                </a:lnTo>
                <a:close/>
                <a:moveTo>
                  <a:pt x="3180" y="1106"/>
                </a:moveTo>
                <a:lnTo>
                  <a:pt x="3180" y="1106"/>
                </a:lnTo>
                <a:lnTo>
                  <a:pt x="3178" y="1106"/>
                </a:lnTo>
                <a:lnTo>
                  <a:pt x="3178" y="1106"/>
                </a:lnTo>
                <a:lnTo>
                  <a:pt x="3180" y="1106"/>
                </a:lnTo>
                <a:lnTo>
                  <a:pt x="3180" y="1106"/>
                </a:lnTo>
                <a:lnTo>
                  <a:pt x="3180" y="1106"/>
                </a:lnTo>
                <a:lnTo>
                  <a:pt x="3180" y="1106"/>
                </a:lnTo>
                <a:close/>
                <a:moveTo>
                  <a:pt x="3180" y="1108"/>
                </a:moveTo>
                <a:lnTo>
                  <a:pt x="3180" y="1108"/>
                </a:lnTo>
                <a:lnTo>
                  <a:pt x="3180" y="1114"/>
                </a:lnTo>
                <a:lnTo>
                  <a:pt x="3180" y="1114"/>
                </a:lnTo>
                <a:lnTo>
                  <a:pt x="3178" y="1114"/>
                </a:lnTo>
                <a:lnTo>
                  <a:pt x="3178" y="1114"/>
                </a:lnTo>
                <a:lnTo>
                  <a:pt x="3180" y="1116"/>
                </a:lnTo>
                <a:lnTo>
                  <a:pt x="3180" y="1116"/>
                </a:lnTo>
                <a:lnTo>
                  <a:pt x="3180" y="1120"/>
                </a:lnTo>
                <a:lnTo>
                  <a:pt x="3180" y="1120"/>
                </a:lnTo>
                <a:lnTo>
                  <a:pt x="3174" y="1124"/>
                </a:lnTo>
                <a:lnTo>
                  <a:pt x="3174" y="1124"/>
                </a:lnTo>
                <a:lnTo>
                  <a:pt x="3172" y="1126"/>
                </a:lnTo>
                <a:lnTo>
                  <a:pt x="3172" y="1126"/>
                </a:lnTo>
                <a:lnTo>
                  <a:pt x="3172" y="1108"/>
                </a:lnTo>
                <a:lnTo>
                  <a:pt x="3172" y="1108"/>
                </a:lnTo>
                <a:lnTo>
                  <a:pt x="3178" y="1106"/>
                </a:lnTo>
                <a:lnTo>
                  <a:pt x="3178" y="1106"/>
                </a:lnTo>
                <a:lnTo>
                  <a:pt x="3178" y="1108"/>
                </a:lnTo>
                <a:lnTo>
                  <a:pt x="3178" y="1108"/>
                </a:lnTo>
                <a:lnTo>
                  <a:pt x="3180" y="1108"/>
                </a:lnTo>
                <a:lnTo>
                  <a:pt x="3180" y="1108"/>
                </a:lnTo>
                <a:close/>
                <a:moveTo>
                  <a:pt x="3146" y="1106"/>
                </a:moveTo>
                <a:lnTo>
                  <a:pt x="3146" y="1106"/>
                </a:lnTo>
                <a:lnTo>
                  <a:pt x="3146" y="1106"/>
                </a:lnTo>
                <a:lnTo>
                  <a:pt x="3146" y="1106"/>
                </a:lnTo>
                <a:lnTo>
                  <a:pt x="3146" y="1124"/>
                </a:lnTo>
                <a:lnTo>
                  <a:pt x="3146" y="1124"/>
                </a:lnTo>
                <a:lnTo>
                  <a:pt x="3142" y="1106"/>
                </a:lnTo>
                <a:lnTo>
                  <a:pt x="3142" y="1106"/>
                </a:lnTo>
                <a:lnTo>
                  <a:pt x="3146" y="1106"/>
                </a:lnTo>
                <a:lnTo>
                  <a:pt x="3146" y="1106"/>
                </a:lnTo>
                <a:close/>
                <a:moveTo>
                  <a:pt x="3142" y="1104"/>
                </a:moveTo>
                <a:lnTo>
                  <a:pt x="3142" y="1104"/>
                </a:lnTo>
                <a:lnTo>
                  <a:pt x="3142" y="1100"/>
                </a:lnTo>
                <a:lnTo>
                  <a:pt x="3142" y="1100"/>
                </a:lnTo>
                <a:lnTo>
                  <a:pt x="3144" y="1100"/>
                </a:lnTo>
                <a:lnTo>
                  <a:pt x="3144" y="1100"/>
                </a:lnTo>
                <a:lnTo>
                  <a:pt x="3142" y="1104"/>
                </a:lnTo>
                <a:lnTo>
                  <a:pt x="3142" y="1104"/>
                </a:lnTo>
                <a:close/>
                <a:moveTo>
                  <a:pt x="3110" y="1040"/>
                </a:moveTo>
                <a:lnTo>
                  <a:pt x="3110" y="1040"/>
                </a:lnTo>
                <a:lnTo>
                  <a:pt x="3110" y="1040"/>
                </a:lnTo>
                <a:lnTo>
                  <a:pt x="3110" y="1040"/>
                </a:lnTo>
                <a:lnTo>
                  <a:pt x="3110" y="1040"/>
                </a:lnTo>
                <a:lnTo>
                  <a:pt x="3110" y="1040"/>
                </a:lnTo>
                <a:lnTo>
                  <a:pt x="3110" y="1040"/>
                </a:lnTo>
                <a:close/>
                <a:moveTo>
                  <a:pt x="3112" y="1038"/>
                </a:moveTo>
                <a:lnTo>
                  <a:pt x="3112" y="1038"/>
                </a:lnTo>
                <a:lnTo>
                  <a:pt x="3110" y="1038"/>
                </a:lnTo>
                <a:lnTo>
                  <a:pt x="3110" y="1038"/>
                </a:lnTo>
                <a:lnTo>
                  <a:pt x="3108" y="1038"/>
                </a:lnTo>
                <a:lnTo>
                  <a:pt x="3108" y="1038"/>
                </a:lnTo>
                <a:lnTo>
                  <a:pt x="3108" y="1038"/>
                </a:lnTo>
                <a:lnTo>
                  <a:pt x="3108" y="1038"/>
                </a:lnTo>
                <a:lnTo>
                  <a:pt x="3110" y="1038"/>
                </a:lnTo>
                <a:lnTo>
                  <a:pt x="3110" y="1038"/>
                </a:lnTo>
                <a:lnTo>
                  <a:pt x="3112" y="1038"/>
                </a:lnTo>
                <a:lnTo>
                  <a:pt x="3112" y="1038"/>
                </a:lnTo>
                <a:lnTo>
                  <a:pt x="3112" y="1038"/>
                </a:lnTo>
                <a:lnTo>
                  <a:pt x="3112" y="1038"/>
                </a:lnTo>
                <a:close/>
                <a:moveTo>
                  <a:pt x="3110" y="936"/>
                </a:moveTo>
                <a:lnTo>
                  <a:pt x="3110" y="936"/>
                </a:lnTo>
                <a:lnTo>
                  <a:pt x="3114" y="934"/>
                </a:lnTo>
                <a:lnTo>
                  <a:pt x="3118" y="936"/>
                </a:lnTo>
                <a:lnTo>
                  <a:pt x="3122" y="938"/>
                </a:lnTo>
                <a:lnTo>
                  <a:pt x="3122" y="938"/>
                </a:lnTo>
                <a:lnTo>
                  <a:pt x="3122" y="932"/>
                </a:lnTo>
                <a:lnTo>
                  <a:pt x="3122" y="932"/>
                </a:lnTo>
                <a:lnTo>
                  <a:pt x="3124" y="946"/>
                </a:lnTo>
                <a:lnTo>
                  <a:pt x="3126" y="980"/>
                </a:lnTo>
                <a:lnTo>
                  <a:pt x="3126" y="980"/>
                </a:lnTo>
                <a:lnTo>
                  <a:pt x="3122" y="958"/>
                </a:lnTo>
                <a:lnTo>
                  <a:pt x="3120" y="952"/>
                </a:lnTo>
                <a:lnTo>
                  <a:pt x="3118" y="950"/>
                </a:lnTo>
                <a:lnTo>
                  <a:pt x="3118" y="950"/>
                </a:lnTo>
                <a:lnTo>
                  <a:pt x="3114" y="950"/>
                </a:lnTo>
                <a:lnTo>
                  <a:pt x="3114" y="950"/>
                </a:lnTo>
                <a:lnTo>
                  <a:pt x="3120" y="942"/>
                </a:lnTo>
                <a:lnTo>
                  <a:pt x="3120" y="942"/>
                </a:lnTo>
                <a:lnTo>
                  <a:pt x="3110" y="936"/>
                </a:lnTo>
                <a:lnTo>
                  <a:pt x="3110" y="936"/>
                </a:lnTo>
                <a:close/>
                <a:moveTo>
                  <a:pt x="3118" y="1030"/>
                </a:moveTo>
                <a:lnTo>
                  <a:pt x="3118" y="1030"/>
                </a:lnTo>
                <a:lnTo>
                  <a:pt x="3118" y="1026"/>
                </a:lnTo>
                <a:lnTo>
                  <a:pt x="3116" y="1020"/>
                </a:lnTo>
                <a:lnTo>
                  <a:pt x="3116" y="1020"/>
                </a:lnTo>
                <a:lnTo>
                  <a:pt x="3118" y="1030"/>
                </a:lnTo>
                <a:lnTo>
                  <a:pt x="3118" y="1030"/>
                </a:lnTo>
                <a:close/>
                <a:moveTo>
                  <a:pt x="3200" y="1150"/>
                </a:moveTo>
                <a:lnTo>
                  <a:pt x="3200" y="1150"/>
                </a:lnTo>
                <a:lnTo>
                  <a:pt x="3200" y="1150"/>
                </a:lnTo>
                <a:lnTo>
                  <a:pt x="3200" y="1150"/>
                </a:lnTo>
                <a:lnTo>
                  <a:pt x="3200" y="1150"/>
                </a:lnTo>
                <a:lnTo>
                  <a:pt x="3200" y="1150"/>
                </a:lnTo>
                <a:close/>
                <a:moveTo>
                  <a:pt x="3236" y="1154"/>
                </a:moveTo>
                <a:lnTo>
                  <a:pt x="3236" y="1154"/>
                </a:lnTo>
                <a:lnTo>
                  <a:pt x="3240" y="1148"/>
                </a:lnTo>
                <a:lnTo>
                  <a:pt x="3240" y="1148"/>
                </a:lnTo>
                <a:lnTo>
                  <a:pt x="3220" y="1154"/>
                </a:lnTo>
                <a:lnTo>
                  <a:pt x="3220" y="1154"/>
                </a:lnTo>
                <a:lnTo>
                  <a:pt x="3220" y="1154"/>
                </a:lnTo>
                <a:lnTo>
                  <a:pt x="3220" y="1154"/>
                </a:lnTo>
                <a:lnTo>
                  <a:pt x="3240" y="1148"/>
                </a:lnTo>
                <a:lnTo>
                  <a:pt x="3240" y="1148"/>
                </a:lnTo>
                <a:lnTo>
                  <a:pt x="3236" y="1154"/>
                </a:lnTo>
                <a:lnTo>
                  <a:pt x="3236" y="1154"/>
                </a:lnTo>
                <a:close/>
                <a:moveTo>
                  <a:pt x="3246" y="1144"/>
                </a:moveTo>
                <a:lnTo>
                  <a:pt x="3246" y="1144"/>
                </a:lnTo>
                <a:lnTo>
                  <a:pt x="3240" y="1142"/>
                </a:lnTo>
                <a:lnTo>
                  <a:pt x="3240" y="1142"/>
                </a:lnTo>
                <a:lnTo>
                  <a:pt x="3240" y="1142"/>
                </a:lnTo>
                <a:lnTo>
                  <a:pt x="3240" y="1142"/>
                </a:lnTo>
                <a:lnTo>
                  <a:pt x="3246" y="1144"/>
                </a:lnTo>
                <a:lnTo>
                  <a:pt x="3246" y="1144"/>
                </a:lnTo>
                <a:lnTo>
                  <a:pt x="3246" y="1144"/>
                </a:lnTo>
                <a:lnTo>
                  <a:pt x="3246" y="1144"/>
                </a:lnTo>
                <a:close/>
                <a:moveTo>
                  <a:pt x="3208" y="1134"/>
                </a:moveTo>
                <a:lnTo>
                  <a:pt x="3208" y="1134"/>
                </a:lnTo>
                <a:lnTo>
                  <a:pt x="3216" y="1134"/>
                </a:lnTo>
                <a:lnTo>
                  <a:pt x="3216" y="1134"/>
                </a:lnTo>
                <a:lnTo>
                  <a:pt x="3226" y="1134"/>
                </a:lnTo>
                <a:lnTo>
                  <a:pt x="3226" y="1134"/>
                </a:lnTo>
                <a:lnTo>
                  <a:pt x="3228" y="1134"/>
                </a:lnTo>
                <a:lnTo>
                  <a:pt x="3228" y="1134"/>
                </a:lnTo>
                <a:lnTo>
                  <a:pt x="3214" y="1136"/>
                </a:lnTo>
                <a:lnTo>
                  <a:pt x="3214" y="1136"/>
                </a:lnTo>
                <a:lnTo>
                  <a:pt x="3208" y="1136"/>
                </a:lnTo>
                <a:lnTo>
                  <a:pt x="3204" y="1138"/>
                </a:lnTo>
                <a:lnTo>
                  <a:pt x="3204" y="1138"/>
                </a:lnTo>
                <a:lnTo>
                  <a:pt x="3198" y="1138"/>
                </a:lnTo>
                <a:lnTo>
                  <a:pt x="3198" y="1138"/>
                </a:lnTo>
                <a:lnTo>
                  <a:pt x="3198" y="1138"/>
                </a:lnTo>
                <a:lnTo>
                  <a:pt x="3198" y="1138"/>
                </a:lnTo>
                <a:lnTo>
                  <a:pt x="3198" y="1138"/>
                </a:lnTo>
                <a:lnTo>
                  <a:pt x="3198" y="1138"/>
                </a:lnTo>
                <a:lnTo>
                  <a:pt x="3208" y="1134"/>
                </a:lnTo>
                <a:lnTo>
                  <a:pt x="3208" y="1134"/>
                </a:lnTo>
                <a:close/>
                <a:moveTo>
                  <a:pt x="3206" y="1060"/>
                </a:moveTo>
                <a:lnTo>
                  <a:pt x="3206" y="1060"/>
                </a:lnTo>
                <a:lnTo>
                  <a:pt x="3202" y="1062"/>
                </a:lnTo>
                <a:lnTo>
                  <a:pt x="3198" y="1062"/>
                </a:lnTo>
                <a:lnTo>
                  <a:pt x="3196" y="1060"/>
                </a:lnTo>
                <a:lnTo>
                  <a:pt x="3196" y="1056"/>
                </a:lnTo>
                <a:lnTo>
                  <a:pt x="3196" y="1056"/>
                </a:lnTo>
                <a:lnTo>
                  <a:pt x="3202" y="1056"/>
                </a:lnTo>
                <a:lnTo>
                  <a:pt x="3206" y="1056"/>
                </a:lnTo>
                <a:lnTo>
                  <a:pt x="3210" y="1054"/>
                </a:lnTo>
                <a:lnTo>
                  <a:pt x="3210" y="1054"/>
                </a:lnTo>
                <a:lnTo>
                  <a:pt x="3216" y="1054"/>
                </a:lnTo>
                <a:lnTo>
                  <a:pt x="3224" y="1054"/>
                </a:lnTo>
                <a:lnTo>
                  <a:pt x="3224" y="1054"/>
                </a:lnTo>
                <a:lnTo>
                  <a:pt x="3216" y="1062"/>
                </a:lnTo>
                <a:lnTo>
                  <a:pt x="3216" y="1062"/>
                </a:lnTo>
                <a:lnTo>
                  <a:pt x="3212" y="1060"/>
                </a:lnTo>
                <a:lnTo>
                  <a:pt x="3206" y="1060"/>
                </a:lnTo>
                <a:lnTo>
                  <a:pt x="3206" y="1060"/>
                </a:lnTo>
                <a:close/>
                <a:moveTo>
                  <a:pt x="3224" y="1070"/>
                </a:moveTo>
                <a:lnTo>
                  <a:pt x="3224" y="1070"/>
                </a:lnTo>
                <a:lnTo>
                  <a:pt x="3224" y="1070"/>
                </a:lnTo>
                <a:lnTo>
                  <a:pt x="3224" y="1070"/>
                </a:lnTo>
                <a:lnTo>
                  <a:pt x="3226" y="1068"/>
                </a:lnTo>
                <a:lnTo>
                  <a:pt x="3226" y="1068"/>
                </a:lnTo>
                <a:lnTo>
                  <a:pt x="3220" y="1066"/>
                </a:lnTo>
                <a:lnTo>
                  <a:pt x="3220" y="1066"/>
                </a:lnTo>
                <a:lnTo>
                  <a:pt x="3220" y="1066"/>
                </a:lnTo>
                <a:lnTo>
                  <a:pt x="3220" y="1066"/>
                </a:lnTo>
                <a:lnTo>
                  <a:pt x="3220" y="1066"/>
                </a:lnTo>
                <a:lnTo>
                  <a:pt x="3226" y="1068"/>
                </a:lnTo>
                <a:lnTo>
                  <a:pt x="3226" y="1068"/>
                </a:lnTo>
                <a:lnTo>
                  <a:pt x="3224" y="1070"/>
                </a:lnTo>
                <a:lnTo>
                  <a:pt x="3224" y="1070"/>
                </a:lnTo>
                <a:close/>
                <a:moveTo>
                  <a:pt x="3240" y="1066"/>
                </a:moveTo>
                <a:lnTo>
                  <a:pt x="3240" y="1066"/>
                </a:lnTo>
                <a:lnTo>
                  <a:pt x="3232" y="1068"/>
                </a:lnTo>
                <a:lnTo>
                  <a:pt x="3232" y="1068"/>
                </a:lnTo>
                <a:lnTo>
                  <a:pt x="3232" y="1068"/>
                </a:lnTo>
                <a:lnTo>
                  <a:pt x="3232" y="1068"/>
                </a:lnTo>
                <a:lnTo>
                  <a:pt x="3238" y="1066"/>
                </a:lnTo>
                <a:lnTo>
                  <a:pt x="3238" y="1066"/>
                </a:lnTo>
                <a:lnTo>
                  <a:pt x="3238" y="1066"/>
                </a:lnTo>
                <a:lnTo>
                  <a:pt x="3238" y="1066"/>
                </a:lnTo>
                <a:lnTo>
                  <a:pt x="3238" y="1066"/>
                </a:lnTo>
                <a:lnTo>
                  <a:pt x="3238" y="1066"/>
                </a:lnTo>
                <a:lnTo>
                  <a:pt x="3240" y="1066"/>
                </a:lnTo>
                <a:lnTo>
                  <a:pt x="3240" y="1066"/>
                </a:lnTo>
                <a:close/>
                <a:moveTo>
                  <a:pt x="3172" y="912"/>
                </a:moveTo>
                <a:lnTo>
                  <a:pt x="3172" y="912"/>
                </a:lnTo>
                <a:lnTo>
                  <a:pt x="3208" y="932"/>
                </a:lnTo>
                <a:lnTo>
                  <a:pt x="3268" y="962"/>
                </a:lnTo>
                <a:lnTo>
                  <a:pt x="3268" y="962"/>
                </a:lnTo>
                <a:lnTo>
                  <a:pt x="3208" y="932"/>
                </a:lnTo>
                <a:lnTo>
                  <a:pt x="3172" y="912"/>
                </a:lnTo>
                <a:lnTo>
                  <a:pt x="3172" y="912"/>
                </a:lnTo>
                <a:close/>
                <a:moveTo>
                  <a:pt x="3322" y="1070"/>
                </a:moveTo>
                <a:lnTo>
                  <a:pt x="3322" y="1070"/>
                </a:lnTo>
                <a:lnTo>
                  <a:pt x="3322" y="1070"/>
                </a:lnTo>
                <a:lnTo>
                  <a:pt x="3322" y="1070"/>
                </a:lnTo>
                <a:lnTo>
                  <a:pt x="3322" y="1070"/>
                </a:lnTo>
                <a:lnTo>
                  <a:pt x="3322" y="1070"/>
                </a:lnTo>
                <a:lnTo>
                  <a:pt x="3322" y="1070"/>
                </a:lnTo>
                <a:lnTo>
                  <a:pt x="3322" y="1070"/>
                </a:lnTo>
                <a:close/>
                <a:moveTo>
                  <a:pt x="3316" y="1068"/>
                </a:moveTo>
                <a:lnTo>
                  <a:pt x="3316" y="1068"/>
                </a:lnTo>
                <a:lnTo>
                  <a:pt x="3318" y="1068"/>
                </a:lnTo>
                <a:lnTo>
                  <a:pt x="3318" y="1068"/>
                </a:lnTo>
                <a:lnTo>
                  <a:pt x="3316" y="1068"/>
                </a:lnTo>
                <a:lnTo>
                  <a:pt x="3316" y="1068"/>
                </a:lnTo>
                <a:lnTo>
                  <a:pt x="3310" y="1070"/>
                </a:lnTo>
                <a:lnTo>
                  <a:pt x="3310" y="1070"/>
                </a:lnTo>
                <a:lnTo>
                  <a:pt x="3310" y="1070"/>
                </a:lnTo>
                <a:lnTo>
                  <a:pt x="3310" y="1070"/>
                </a:lnTo>
                <a:lnTo>
                  <a:pt x="3310" y="1070"/>
                </a:lnTo>
                <a:lnTo>
                  <a:pt x="3310" y="1070"/>
                </a:lnTo>
                <a:lnTo>
                  <a:pt x="3312" y="1070"/>
                </a:lnTo>
                <a:lnTo>
                  <a:pt x="3312" y="1070"/>
                </a:lnTo>
                <a:lnTo>
                  <a:pt x="3312" y="1070"/>
                </a:lnTo>
                <a:lnTo>
                  <a:pt x="3312" y="1070"/>
                </a:lnTo>
                <a:lnTo>
                  <a:pt x="3316" y="1068"/>
                </a:lnTo>
                <a:lnTo>
                  <a:pt x="3316" y="1068"/>
                </a:lnTo>
                <a:close/>
                <a:moveTo>
                  <a:pt x="3268" y="1014"/>
                </a:moveTo>
                <a:lnTo>
                  <a:pt x="3268" y="1014"/>
                </a:lnTo>
                <a:lnTo>
                  <a:pt x="3246" y="1004"/>
                </a:lnTo>
                <a:lnTo>
                  <a:pt x="3246" y="1004"/>
                </a:lnTo>
                <a:lnTo>
                  <a:pt x="3254" y="1006"/>
                </a:lnTo>
                <a:lnTo>
                  <a:pt x="3272" y="1014"/>
                </a:lnTo>
                <a:lnTo>
                  <a:pt x="3272" y="1014"/>
                </a:lnTo>
                <a:lnTo>
                  <a:pt x="3268" y="1014"/>
                </a:lnTo>
                <a:lnTo>
                  <a:pt x="3268" y="1014"/>
                </a:lnTo>
                <a:close/>
                <a:moveTo>
                  <a:pt x="3302" y="960"/>
                </a:moveTo>
                <a:lnTo>
                  <a:pt x="3302" y="960"/>
                </a:lnTo>
                <a:lnTo>
                  <a:pt x="3306" y="962"/>
                </a:lnTo>
                <a:lnTo>
                  <a:pt x="3308" y="966"/>
                </a:lnTo>
                <a:lnTo>
                  <a:pt x="3308" y="966"/>
                </a:lnTo>
                <a:lnTo>
                  <a:pt x="3308" y="966"/>
                </a:lnTo>
                <a:lnTo>
                  <a:pt x="3308" y="966"/>
                </a:lnTo>
                <a:lnTo>
                  <a:pt x="3302" y="960"/>
                </a:lnTo>
                <a:lnTo>
                  <a:pt x="3302" y="960"/>
                </a:lnTo>
                <a:close/>
                <a:moveTo>
                  <a:pt x="3308" y="976"/>
                </a:moveTo>
                <a:lnTo>
                  <a:pt x="3308" y="976"/>
                </a:lnTo>
                <a:lnTo>
                  <a:pt x="3308" y="976"/>
                </a:lnTo>
                <a:lnTo>
                  <a:pt x="3312" y="976"/>
                </a:lnTo>
                <a:lnTo>
                  <a:pt x="3312" y="976"/>
                </a:lnTo>
                <a:lnTo>
                  <a:pt x="3312" y="976"/>
                </a:lnTo>
                <a:lnTo>
                  <a:pt x="3308" y="976"/>
                </a:lnTo>
                <a:close/>
                <a:moveTo>
                  <a:pt x="3422" y="1040"/>
                </a:moveTo>
                <a:lnTo>
                  <a:pt x="3422" y="1040"/>
                </a:lnTo>
                <a:lnTo>
                  <a:pt x="3422" y="1040"/>
                </a:lnTo>
                <a:lnTo>
                  <a:pt x="3422" y="1040"/>
                </a:lnTo>
                <a:lnTo>
                  <a:pt x="3428" y="1040"/>
                </a:lnTo>
                <a:lnTo>
                  <a:pt x="3428" y="1040"/>
                </a:lnTo>
                <a:lnTo>
                  <a:pt x="3428" y="1038"/>
                </a:lnTo>
                <a:lnTo>
                  <a:pt x="3428" y="1038"/>
                </a:lnTo>
                <a:lnTo>
                  <a:pt x="3428" y="1038"/>
                </a:lnTo>
                <a:lnTo>
                  <a:pt x="3428" y="1040"/>
                </a:lnTo>
                <a:lnTo>
                  <a:pt x="3428" y="1040"/>
                </a:lnTo>
                <a:lnTo>
                  <a:pt x="3422" y="1040"/>
                </a:lnTo>
                <a:lnTo>
                  <a:pt x="3422" y="1040"/>
                </a:lnTo>
                <a:close/>
                <a:moveTo>
                  <a:pt x="3724" y="1076"/>
                </a:moveTo>
                <a:lnTo>
                  <a:pt x="3724" y="1076"/>
                </a:lnTo>
                <a:lnTo>
                  <a:pt x="3722" y="1074"/>
                </a:lnTo>
                <a:lnTo>
                  <a:pt x="3722" y="1074"/>
                </a:lnTo>
                <a:lnTo>
                  <a:pt x="3722" y="1074"/>
                </a:lnTo>
                <a:lnTo>
                  <a:pt x="3722" y="1074"/>
                </a:lnTo>
                <a:lnTo>
                  <a:pt x="3724" y="1076"/>
                </a:lnTo>
                <a:lnTo>
                  <a:pt x="3724" y="1076"/>
                </a:lnTo>
                <a:lnTo>
                  <a:pt x="3716" y="1076"/>
                </a:lnTo>
                <a:lnTo>
                  <a:pt x="3716" y="1076"/>
                </a:lnTo>
                <a:lnTo>
                  <a:pt x="3716" y="1076"/>
                </a:lnTo>
                <a:lnTo>
                  <a:pt x="3716" y="1076"/>
                </a:lnTo>
                <a:lnTo>
                  <a:pt x="3724" y="1076"/>
                </a:lnTo>
                <a:lnTo>
                  <a:pt x="3724" y="1076"/>
                </a:lnTo>
                <a:close/>
                <a:moveTo>
                  <a:pt x="3754" y="190"/>
                </a:moveTo>
                <a:lnTo>
                  <a:pt x="3754" y="190"/>
                </a:lnTo>
                <a:lnTo>
                  <a:pt x="3744" y="186"/>
                </a:lnTo>
                <a:lnTo>
                  <a:pt x="3740" y="184"/>
                </a:lnTo>
                <a:lnTo>
                  <a:pt x="3740" y="180"/>
                </a:lnTo>
                <a:lnTo>
                  <a:pt x="3740" y="180"/>
                </a:lnTo>
                <a:lnTo>
                  <a:pt x="3768" y="182"/>
                </a:lnTo>
                <a:lnTo>
                  <a:pt x="3768" y="182"/>
                </a:lnTo>
                <a:lnTo>
                  <a:pt x="3768" y="180"/>
                </a:lnTo>
                <a:lnTo>
                  <a:pt x="3768" y="180"/>
                </a:lnTo>
                <a:lnTo>
                  <a:pt x="3740" y="174"/>
                </a:lnTo>
                <a:lnTo>
                  <a:pt x="3740" y="174"/>
                </a:lnTo>
                <a:lnTo>
                  <a:pt x="3744" y="160"/>
                </a:lnTo>
                <a:lnTo>
                  <a:pt x="3744" y="160"/>
                </a:lnTo>
                <a:lnTo>
                  <a:pt x="3744" y="158"/>
                </a:lnTo>
                <a:lnTo>
                  <a:pt x="3744" y="158"/>
                </a:lnTo>
                <a:lnTo>
                  <a:pt x="3742" y="152"/>
                </a:lnTo>
                <a:lnTo>
                  <a:pt x="3742" y="150"/>
                </a:lnTo>
                <a:lnTo>
                  <a:pt x="3744" y="150"/>
                </a:lnTo>
                <a:lnTo>
                  <a:pt x="3744" y="150"/>
                </a:lnTo>
                <a:lnTo>
                  <a:pt x="3752" y="146"/>
                </a:lnTo>
                <a:lnTo>
                  <a:pt x="3762" y="146"/>
                </a:lnTo>
                <a:lnTo>
                  <a:pt x="3762" y="146"/>
                </a:lnTo>
                <a:lnTo>
                  <a:pt x="3784" y="146"/>
                </a:lnTo>
                <a:lnTo>
                  <a:pt x="3806" y="150"/>
                </a:lnTo>
                <a:lnTo>
                  <a:pt x="3806" y="150"/>
                </a:lnTo>
                <a:lnTo>
                  <a:pt x="3828" y="156"/>
                </a:lnTo>
                <a:lnTo>
                  <a:pt x="3848" y="158"/>
                </a:lnTo>
                <a:lnTo>
                  <a:pt x="3848" y="158"/>
                </a:lnTo>
                <a:lnTo>
                  <a:pt x="3852" y="158"/>
                </a:lnTo>
                <a:lnTo>
                  <a:pt x="3856" y="158"/>
                </a:lnTo>
                <a:lnTo>
                  <a:pt x="3858" y="166"/>
                </a:lnTo>
                <a:lnTo>
                  <a:pt x="3858" y="166"/>
                </a:lnTo>
                <a:lnTo>
                  <a:pt x="3856" y="168"/>
                </a:lnTo>
                <a:lnTo>
                  <a:pt x="3852" y="168"/>
                </a:lnTo>
                <a:lnTo>
                  <a:pt x="3846" y="166"/>
                </a:lnTo>
                <a:lnTo>
                  <a:pt x="3846" y="166"/>
                </a:lnTo>
                <a:lnTo>
                  <a:pt x="3836" y="164"/>
                </a:lnTo>
                <a:lnTo>
                  <a:pt x="3832" y="166"/>
                </a:lnTo>
                <a:lnTo>
                  <a:pt x="3828" y="170"/>
                </a:lnTo>
                <a:lnTo>
                  <a:pt x="3828" y="170"/>
                </a:lnTo>
                <a:lnTo>
                  <a:pt x="3820" y="166"/>
                </a:lnTo>
                <a:lnTo>
                  <a:pt x="3810" y="166"/>
                </a:lnTo>
                <a:lnTo>
                  <a:pt x="3790" y="166"/>
                </a:lnTo>
                <a:lnTo>
                  <a:pt x="3790" y="166"/>
                </a:lnTo>
                <a:lnTo>
                  <a:pt x="3790" y="168"/>
                </a:lnTo>
                <a:lnTo>
                  <a:pt x="3790" y="168"/>
                </a:lnTo>
                <a:lnTo>
                  <a:pt x="3790" y="168"/>
                </a:lnTo>
                <a:lnTo>
                  <a:pt x="3816" y="176"/>
                </a:lnTo>
                <a:lnTo>
                  <a:pt x="3816" y="176"/>
                </a:lnTo>
                <a:lnTo>
                  <a:pt x="3808" y="182"/>
                </a:lnTo>
                <a:lnTo>
                  <a:pt x="3808" y="182"/>
                </a:lnTo>
                <a:lnTo>
                  <a:pt x="3798" y="180"/>
                </a:lnTo>
                <a:lnTo>
                  <a:pt x="3798" y="180"/>
                </a:lnTo>
                <a:lnTo>
                  <a:pt x="3790" y="184"/>
                </a:lnTo>
                <a:lnTo>
                  <a:pt x="3790" y="184"/>
                </a:lnTo>
                <a:lnTo>
                  <a:pt x="3792" y="186"/>
                </a:lnTo>
                <a:lnTo>
                  <a:pt x="3792" y="186"/>
                </a:lnTo>
                <a:lnTo>
                  <a:pt x="3792" y="188"/>
                </a:lnTo>
                <a:lnTo>
                  <a:pt x="3792" y="190"/>
                </a:lnTo>
                <a:lnTo>
                  <a:pt x="3792" y="190"/>
                </a:lnTo>
                <a:lnTo>
                  <a:pt x="3790" y="194"/>
                </a:lnTo>
                <a:lnTo>
                  <a:pt x="3786" y="200"/>
                </a:lnTo>
                <a:lnTo>
                  <a:pt x="3786" y="200"/>
                </a:lnTo>
                <a:lnTo>
                  <a:pt x="3782" y="200"/>
                </a:lnTo>
                <a:lnTo>
                  <a:pt x="3776" y="202"/>
                </a:lnTo>
                <a:lnTo>
                  <a:pt x="3766" y="200"/>
                </a:lnTo>
                <a:lnTo>
                  <a:pt x="3766" y="200"/>
                </a:lnTo>
                <a:lnTo>
                  <a:pt x="3756" y="198"/>
                </a:lnTo>
                <a:lnTo>
                  <a:pt x="3756" y="198"/>
                </a:lnTo>
                <a:lnTo>
                  <a:pt x="3742" y="194"/>
                </a:lnTo>
                <a:lnTo>
                  <a:pt x="3742" y="194"/>
                </a:lnTo>
                <a:lnTo>
                  <a:pt x="3738" y="194"/>
                </a:lnTo>
                <a:lnTo>
                  <a:pt x="3732" y="194"/>
                </a:lnTo>
                <a:lnTo>
                  <a:pt x="3728" y="194"/>
                </a:lnTo>
                <a:lnTo>
                  <a:pt x="3722" y="192"/>
                </a:lnTo>
                <a:lnTo>
                  <a:pt x="3722" y="192"/>
                </a:lnTo>
                <a:lnTo>
                  <a:pt x="3726" y="190"/>
                </a:lnTo>
                <a:lnTo>
                  <a:pt x="3730" y="190"/>
                </a:lnTo>
                <a:lnTo>
                  <a:pt x="3736" y="190"/>
                </a:lnTo>
                <a:lnTo>
                  <a:pt x="3746" y="190"/>
                </a:lnTo>
                <a:lnTo>
                  <a:pt x="3754" y="190"/>
                </a:lnTo>
                <a:lnTo>
                  <a:pt x="3754" y="190"/>
                </a:lnTo>
                <a:close/>
                <a:moveTo>
                  <a:pt x="3814" y="194"/>
                </a:moveTo>
                <a:lnTo>
                  <a:pt x="3814" y="194"/>
                </a:lnTo>
                <a:lnTo>
                  <a:pt x="3810" y="198"/>
                </a:lnTo>
                <a:lnTo>
                  <a:pt x="3808" y="202"/>
                </a:lnTo>
                <a:lnTo>
                  <a:pt x="3804" y="206"/>
                </a:lnTo>
                <a:lnTo>
                  <a:pt x="3798" y="206"/>
                </a:lnTo>
                <a:lnTo>
                  <a:pt x="3798" y="206"/>
                </a:lnTo>
                <a:lnTo>
                  <a:pt x="3798" y="202"/>
                </a:lnTo>
                <a:lnTo>
                  <a:pt x="3802" y="198"/>
                </a:lnTo>
                <a:lnTo>
                  <a:pt x="3806" y="196"/>
                </a:lnTo>
                <a:lnTo>
                  <a:pt x="3814" y="194"/>
                </a:lnTo>
                <a:lnTo>
                  <a:pt x="3814" y="194"/>
                </a:lnTo>
                <a:close/>
                <a:moveTo>
                  <a:pt x="3796" y="294"/>
                </a:moveTo>
                <a:lnTo>
                  <a:pt x="3796" y="294"/>
                </a:lnTo>
                <a:lnTo>
                  <a:pt x="3790" y="294"/>
                </a:lnTo>
                <a:lnTo>
                  <a:pt x="3790" y="294"/>
                </a:lnTo>
                <a:lnTo>
                  <a:pt x="3788" y="292"/>
                </a:lnTo>
                <a:lnTo>
                  <a:pt x="3788" y="292"/>
                </a:lnTo>
                <a:lnTo>
                  <a:pt x="3794" y="292"/>
                </a:lnTo>
                <a:lnTo>
                  <a:pt x="3794" y="292"/>
                </a:lnTo>
                <a:lnTo>
                  <a:pt x="3796" y="294"/>
                </a:lnTo>
                <a:lnTo>
                  <a:pt x="3796" y="294"/>
                </a:lnTo>
                <a:close/>
                <a:moveTo>
                  <a:pt x="3694" y="98"/>
                </a:moveTo>
                <a:lnTo>
                  <a:pt x="3694" y="98"/>
                </a:lnTo>
                <a:lnTo>
                  <a:pt x="3690" y="114"/>
                </a:lnTo>
                <a:lnTo>
                  <a:pt x="3690" y="114"/>
                </a:lnTo>
                <a:lnTo>
                  <a:pt x="3676" y="116"/>
                </a:lnTo>
                <a:lnTo>
                  <a:pt x="3676" y="116"/>
                </a:lnTo>
                <a:lnTo>
                  <a:pt x="3668" y="108"/>
                </a:lnTo>
                <a:lnTo>
                  <a:pt x="3668" y="108"/>
                </a:lnTo>
                <a:lnTo>
                  <a:pt x="3680" y="102"/>
                </a:lnTo>
                <a:lnTo>
                  <a:pt x="3686" y="100"/>
                </a:lnTo>
                <a:lnTo>
                  <a:pt x="3694" y="98"/>
                </a:lnTo>
                <a:lnTo>
                  <a:pt x="3694" y="98"/>
                </a:lnTo>
                <a:close/>
                <a:moveTo>
                  <a:pt x="3654" y="140"/>
                </a:moveTo>
                <a:lnTo>
                  <a:pt x="3654" y="140"/>
                </a:lnTo>
                <a:lnTo>
                  <a:pt x="3658" y="136"/>
                </a:lnTo>
                <a:lnTo>
                  <a:pt x="3662" y="134"/>
                </a:lnTo>
                <a:lnTo>
                  <a:pt x="3666" y="134"/>
                </a:lnTo>
                <a:lnTo>
                  <a:pt x="3670" y="138"/>
                </a:lnTo>
                <a:lnTo>
                  <a:pt x="3670" y="138"/>
                </a:lnTo>
                <a:lnTo>
                  <a:pt x="3666" y="140"/>
                </a:lnTo>
                <a:lnTo>
                  <a:pt x="3664" y="142"/>
                </a:lnTo>
                <a:lnTo>
                  <a:pt x="3658" y="142"/>
                </a:lnTo>
                <a:lnTo>
                  <a:pt x="3654" y="140"/>
                </a:lnTo>
                <a:lnTo>
                  <a:pt x="3654" y="140"/>
                </a:lnTo>
                <a:close/>
                <a:moveTo>
                  <a:pt x="3666" y="154"/>
                </a:moveTo>
                <a:lnTo>
                  <a:pt x="3666" y="154"/>
                </a:lnTo>
                <a:lnTo>
                  <a:pt x="3664" y="152"/>
                </a:lnTo>
                <a:lnTo>
                  <a:pt x="3662" y="150"/>
                </a:lnTo>
                <a:lnTo>
                  <a:pt x="3664" y="144"/>
                </a:lnTo>
                <a:lnTo>
                  <a:pt x="3664" y="144"/>
                </a:lnTo>
                <a:lnTo>
                  <a:pt x="3664" y="144"/>
                </a:lnTo>
                <a:lnTo>
                  <a:pt x="3676" y="148"/>
                </a:lnTo>
                <a:lnTo>
                  <a:pt x="3676" y="148"/>
                </a:lnTo>
                <a:lnTo>
                  <a:pt x="3674" y="152"/>
                </a:lnTo>
                <a:lnTo>
                  <a:pt x="3670" y="154"/>
                </a:lnTo>
                <a:lnTo>
                  <a:pt x="3666" y="154"/>
                </a:lnTo>
                <a:lnTo>
                  <a:pt x="3666" y="154"/>
                </a:lnTo>
                <a:close/>
                <a:moveTo>
                  <a:pt x="3674" y="206"/>
                </a:moveTo>
                <a:lnTo>
                  <a:pt x="3674" y="206"/>
                </a:lnTo>
                <a:lnTo>
                  <a:pt x="3678" y="202"/>
                </a:lnTo>
                <a:lnTo>
                  <a:pt x="3680" y="200"/>
                </a:lnTo>
                <a:lnTo>
                  <a:pt x="3682" y="200"/>
                </a:lnTo>
                <a:lnTo>
                  <a:pt x="3682" y="200"/>
                </a:lnTo>
                <a:lnTo>
                  <a:pt x="3686" y="204"/>
                </a:lnTo>
                <a:lnTo>
                  <a:pt x="3686" y="204"/>
                </a:lnTo>
                <a:lnTo>
                  <a:pt x="3674" y="206"/>
                </a:lnTo>
                <a:lnTo>
                  <a:pt x="3674" y="206"/>
                </a:lnTo>
                <a:close/>
                <a:moveTo>
                  <a:pt x="3684" y="254"/>
                </a:moveTo>
                <a:lnTo>
                  <a:pt x="3684" y="254"/>
                </a:lnTo>
                <a:lnTo>
                  <a:pt x="3690" y="248"/>
                </a:lnTo>
                <a:lnTo>
                  <a:pt x="3690" y="248"/>
                </a:lnTo>
                <a:lnTo>
                  <a:pt x="3698" y="246"/>
                </a:lnTo>
                <a:lnTo>
                  <a:pt x="3700" y="244"/>
                </a:lnTo>
                <a:lnTo>
                  <a:pt x="3702" y="240"/>
                </a:lnTo>
                <a:lnTo>
                  <a:pt x="3702" y="240"/>
                </a:lnTo>
                <a:lnTo>
                  <a:pt x="3696" y="236"/>
                </a:lnTo>
                <a:lnTo>
                  <a:pt x="3696" y="232"/>
                </a:lnTo>
                <a:lnTo>
                  <a:pt x="3698" y="228"/>
                </a:lnTo>
                <a:lnTo>
                  <a:pt x="3698" y="228"/>
                </a:lnTo>
                <a:lnTo>
                  <a:pt x="3706" y="230"/>
                </a:lnTo>
                <a:lnTo>
                  <a:pt x="3706" y="230"/>
                </a:lnTo>
                <a:lnTo>
                  <a:pt x="3710" y="230"/>
                </a:lnTo>
                <a:lnTo>
                  <a:pt x="3716" y="230"/>
                </a:lnTo>
                <a:lnTo>
                  <a:pt x="3724" y="228"/>
                </a:lnTo>
                <a:lnTo>
                  <a:pt x="3724" y="228"/>
                </a:lnTo>
                <a:lnTo>
                  <a:pt x="3730" y="226"/>
                </a:lnTo>
                <a:lnTo>
                  <a:pt x="3736" y="224"/>
                </a:lnTo>
                <a:lnTo>
                  <a:pt x="3736" y="224"/>
                </a:lnTo>
                <a:lnTo>
                  <a:pt x="3750" y="220"/>
                </a:lnTo>
                <a:lnTo>
                  <a:pt x="3750" y="220"/>
                </a:lnTo>
                <a:lnTo>
                  <a:pt x="3750" y="220"/>
                </a:lnTo>
                <a:lnTo>
                  <a:pt x="3740" y="214"/>
                </a:lnTo>
                <a:lnTo>
                  <a:pt x="3740" y="214"/>
                </a:lnTo>
                <a:lnTo>
                  <a:pt x="3744" y="214"/>
                </a:lnTo>
                <a:lnTo>
                  <a:pt x="3748" y="214"/>
                </a:lnTo>
                <a:lnTo>
                  <a:pt x="3752" y="218"/>
                </a:lnTo>
                <a:lnTo>
                  <a:pt x="3752" y="218"/>
                </a:lnTo>
                <a:lnTo>
                  <a:pt x="3752" y="222"/>
                </a:lnTo>
                <a:lnTo>
                  <a:pt x="3750" y="224"/>
                </a:lnTo>
                <a:lnTo>
                  <a:pt x="3748" y="226"/>
                </a:lnTo>
                <a:lnTo>
                  <a:pt x="3748" y="226"/>
                </a:lnTo>
                <a:lnTo>
                  <a:pt x="3744" y="230"/>
                </a:lnTo>
                <a:lnTo>
                  <a:pt x="3738" y="232"/>
                </a:lnTo>
                <a:lnTo>
                  <a:pt x="3738" y="232"/>
                </a:lnTo>
                <a:lnTo>
                  <a:pt x="3744" y="238"/>
                </a:lnTo>
                <a:lnTo>
                  <a:pt x="3744" y="238"/>
                </a:lnTo>
                <a:lnTo>
                  <a:pt x="3732" y="250"/>
                </a:lnTo>
                <a:lnTo>
                  <a:pt x="3732" y="250"/>
                </a:lnTo>
                <a:lnTo>
                  <a:pt x="3736" y="254"/>
                </a:lnTo>
                <a:lnTo>
                  <a:pt x="3738" y="258"/>
                </a:lnTo>
                <a:lnTo>
                  <a:pt x="3736" y="260"/>
                </a:lnTo>
                <a:lnTo>
                  <a:pt x="3736" y="260"/>
                </a:lnTo>
                <a:lnTo>
                  <a:pt x="3738" y="262"/>
                </a:lnTo>
                <a:lnTo>
                  <a:pt x="3742" y="264"/>
                </a:lnTo>
                <a:lnTo>
                  <a:pt x="3742" y="264"/>
                </a:lnTo>
                <a:lnTo>
                  <a:pt x="3756" y="268"/>
                </a:lnTo>
                <a:lnTo>
                  <a:pt x="3764" y="268"/>
                </a:lnTo>
                <a:lnTo>
                  <a:pt x="3772" y="266"/>
                </a:lnTo>
                <a:lnTo>
                  <a:pt x="3772" y="266"/>
                </a:lnTo>
                <a:lnTo>
                  <a:pt x="3774" y="274"/>
                </a:lnTo>
                <a:lnTo>
                  <a:pt x="3774" y="274"/>
                </a:lnTo>
                <a:lnTo>
                  <a:pt x="3766" y="278"/>
                </a:lnTo>
                <a:lnTo>
                  <a:pt x="3758" y="280"/>
                </a:lnTo>
                <a:lnTo>
                  <a:pt x="3740" y="282"/>
                </a:lnTo>
                <a:lnTo>
                  <a:pt x="3740" y="282"/>
                </a:lnTo>
                <a:lnTo>
                  <a:pt x="3738" y="282"/>
                </a:lnTo>
                <a:lnTo>
                  <a:pt x="3738" y="282"/>
                </a:lnTo>
                <a:lnTo>
                  <a:pt x="3710" y="276"/>
                </a:lnTo>
                <a:lnTo>
                  <a:pt x="3710" y="276"/>
                </a:lnTo>
                <a:lnTo>
                  <a:pt x="3710" y="272"/>
                </a:lnTo>
                <a:lnTo>
                  <a:pt x="3714" y="268"/>
                </a:lnTo>
                <a:lnTo>
                  <a:pt x="3718" y="264"/>
                </a:lnTo>
                <a:lnTo>
                  <a:pt x="3722" y="260"/>
                </a:lnTo>
                <a:lnTo>
                  <a:pt x="3722" y="260"/>
                </a:lnTo>
                <a:lnTo>
                  <a:pt x="3718" y="258"/>
                </a:lnTo>
                <a:lnTo>
                  <a:pt x="3714" y="256"/>
                </a:lnTo>
                <a:lnTo>
                  <a:pt x="3710" y="256"/>
                </a:lnTo>
                <a:lnTo>
                  <a:pt x="3704" y="258"/>
                </a:lnTo>
                <a:lnTo>
                  <a:pt x="3704" y="258"/>
                </a:lnTo>
                <a:lnTo>
                  <a:pt x="3690" y="262"/>
                </a:lnTo>
                <a:lnTo>
                  <a:pt x="3690" y="262"/>
                </a:lnTo>
                <a:lnTo>
                  <a:pt x="3686" y="262"/>
                </a:lnTo>
                <a:lnTo>
                  <a:pt x="3682" y="260"/>
                </a:lnTo>
                <a:lnTo>
                  <a:pt x="3682" y="260"/>
                </a:lnTo>
                <a:lnTo>
                  <a:pt x="3680" y="258"/>
                </a:lnTo>
                <a:lnTo>
                  <a:pt x="3680" y="256"/>
                </a:lnTo>
                <a:lnTo>
                  <a:pt x="3684" y="254"/>
                </a:lnTo>
                <a:lnTo>
                  <a:pt x="3684" y="254"/>
                </a:lnTo>
                <a:close/>
                <a:moveTo>
                  <a:pt x="3818" y="856"/>
                </a:moveTo>
                <a:lnTo>
                  <a:pt x="3818" y="856"/>
                </a:lnTo>
                <a:lnTo>
                  <a:pt x="3818" y="856"/>
                </a:lnTo>
                <a:lnTo>
                  <a:pt x="3818" y="856"/>
                </a:lnTo>
                <a:lnTo>
                  <a:pt x="3820" y="856"/>
                </a:lnTo>
                <a:lnTo>
                  <a:pt x="3820" y="856"/>
                </a:lnTo>
                <a:lnTo>
                  <a:pt x="3818" y="858"/>
                </a:lnTo>
                <a:lnTo>
                  <a:pt x="3818" y="858"/>
                </a:lnTo>
                <a:lnTo>
                  <a:pt x="3820" y="856"/>
                </a:lnTo>
                <a:lnTo>
                  <a:pt x="3820" y="856"/>
                </a:lnTo>
                <a:lnTo>
                  <a:pt x="3818" y="856"/>
                </a:lnTo>
                <a:lnTo>
                  <a:pt x="3818" y="856"/>
                </a:lnTo>
                <a:close/>
                <a:moveTo>
                  <a:pt x="3820" y="908"/>
                </a:moveTo>
                <a:lnTo>
                  <a:pt x="3820" y="908"/>
                </a:lnTo>
                <a:lnTo>
                  <a:pt x="3810" y="912"/>
                </a:lnTo>
                <a:lnTo>
                  <a:pt x="3802" y="912"/>
                </a:lnTo>
                <a:lnTo>
                  <a:pt x="3794" y="908"/>
                </a:lnTo>
                <a:lnTo>
                  <a:pt x="3786" y="904"/>
                </a:lnTo>
                <a:lnTo>
                  <a:pt x="3786" y="904"/>
                </a:lnTo>
                <a:lnTo>
                  <a:pt x="3792" y="902"/>
                </a:lnTo>
                <a:lnTo>
                  <a:pt x="3792" y="902"/>
                </a:lnTo>
                <a:lnTo>
                  <a:pt x="3800" y="900"/>
                </a:lnTo>
                <a:lnTo>
                  <a:pt x="3800" y="900"/>
                </a:lnTo>
                <a:lnTo>
                  <a:pt x="3806" y="908"/>
                </a:lnTo>
                <a:lnTo>
                  <a:pt x="3806" y="908"/>
                </a:lnTo>
                <a:lnTo>
                  <a:pt x="3812" y="906"/>
                </a:lnTo>
                <a:lnTo>
                  <a:pt x="3816" y="906"/>
                </a:lnTo>
                <a:lnTo>
                  <a:pt x="3820" y="908"/>
                </a:lnTo>
                <a:lnTo>
                  <a:pt x="3820" y="908"/>
                </a:lnTo>
                <a:close/>
                <a:moveTo>
                  <a:pt x="3786" y="912"/>
                </a:moveTo>
                <a:lnTo>
                  <a:pt x="3786" y="912"/>
                </a:lnTo>
                <a:lnTo>
                  <a:pt x="3786" y="912"/>
                </a:lnTo>
                <a:lnTo>
                  <a:pt x="3786" y="912"/>
                </a:lnTo>
                <a:lnTo>
                  <a:pt x="3780" y="914"/>
                </a:lnTo>
                <a:lnTo>
                  <a:pt x="3776" y="912"/>
                </a:lnTo>
                <a:lnTo>
                  <a:pt x="3776" y="912"/>
                </a:lnTo>
                <a:lnTo>
                  <a:pt x="3780" y="914"/>
                </a:lnTo>
                <a:lnTo>
                  <a:pt x="3786" y="912"/>
                </a:lnTo>
                <a:lnTo>
                  <a:pt x="3786" y="912"/>
                </a:lnTo>
                <a:close/>
                <a:moveTo>
                  <a:pt x="3774" y="904"/>
                </a:moveTo>
                <a:lnTo>
                  <a:pt x="3774" y="904"/>
                </a:lnTo>
                <a:lnTo>
                  <a:pt x="3778" y="904"/>
                </a:lnTo>
                <a:lnTo>
                  <a:pt x="3778" y="904"/>
                </a:lnTo>
                <a:lnTo>
                  <a:pt x="3778" y="904"/>
                </a:lnTo>
                <a:lnTo>
                  <a:pt x="3774" y="906"/>
                </a:lnTo>
                <a:lnTo>
                  <a:pt x="3774" y="906"/>
                </a:lnTo>
                <a:lnTo>
                  <a:pt x="3774" y="906"/>
                </a:lnTo>
                <a:lnTo>
                  <a:pt x="3774" y="906"/>
                </a:lnTo>
                <a:lnTo>
                  <a:pt x="3778" y="904"/>
                </a:lnTo>
                <a:lnTo>
                  <a:pt x="3778" y="904"/>
                </a:lnTo>
                <a:lnTo>
                  <a:pt x="3774" y="904"/>
                </a:lnTo>
                <a:lnTo>
                  <a:pt x="3774" y="904"/>
                </a:lnTo>
                <a:close/>
                <a:moveTo>
                  <a:pt x="3772" y="886"/>
                </a:moveTo>
                <a:lnTo>
                  <a:pt x="3772" y="886"/>
                </a:lnTo>
                <a:lnTo>
                  <a:pt x="3772" y="884"/>
                </a:lnTo>
                <a:lnTo>
                  <a:pt x="3782" y="884"/>
                </a:lnTo>
                <a:lnTo>
                  <a:pt x="3782" y="884"/>
                </a:lnTo>
                <a:lnTo>
                  <a:pt x="3782" y="886"/>
                </a:lnTo>
                <a:lnTo>
                  <a:pt x="3772" y="886"/>
                </a:lnTo>
                <a:close/>
                <a:moveTo>
                  <a:pt x="3726" y="904"/>
                </a:moveTo>
                <a:lnTo>
                  <a:pt x="3726" y="904"/>
                </a:lnTo>
                <a:lnTo>
                  <a:pt x="3720" y="902"/>
                </a:lnTo>
                <a:lnTo>
                  <a:pt x="3714" y="896"/>
                </a:lnTo>
                <a:lnTo>
                  <a:pt x="3714" y="896"/>
                </a:lnTo>
                <a:lnTo>
                  <a:pt x="3728" y="896"/>
                </a:lnTo>
                <a:lnTo>
                  <a:pt x="3728" y="896"/>
                </a:lnTo>
                <a:lnTo>
                  <a:pt x="3734" y="900"/>
                </a:lnTo>
                <a:lnTo>
                  <a:pt x="3734" y="900"/>
                </a:lnTo>
                <a:lnTo>
                  <a:pt x="3734" y="902"/>
                </a:lnTo>
                <a:lnTo>
                  <a:pt x="3734" y="902"/>
                </a:lnTo>
                <a:lnTo>
                  <a:pt x="3726" y="904"/>
                </a:lnTo>
                <a:lnTo>
                  <a:pt x="3726" y="904"/>
                </a:lnTo>
                <a:close/>
                <a:moveTo>
                  <a:pt x="3732" y="946"/>
                </a:moveTo>
                <a:lnTo>
                  <a:pt x="3732" y="946"/>
                </a:lnTo>
                <a:lnTo>
                  <a:pt x="3728" y="948"/>
                </a:lnTo>
                <a:lnTo>
                  <a:pt x="3724" y="948"/>
                </a:lnTo>
                <a:lnTo>
                  <a:pt x="3724" y="948"/>
                </a:lnTo>
                <a:lnTo>
                  <a:pt x="3728" y="948"/>
                </a:lnTo>
                <a:lnTo>
                  <a:pt x="3732" y="946"/>
                </a:lnTo>
                <a:lnTo>
                  <a:pt x="3732" y="946"/>
                </a:lnTo>
                <a:lnTo>
                  <a:pt x="3732" y="946"/>
                </a:lnTo>
                <a:lnTo>
                  <a:pt x="3732" y="946"/>
                </a:lnTo>
                <a:close/>
                <a:moveTo>
                  <a:pt x="3722" y="886"/>
                </a:moveTo>
                <a:lnTo>
                  <a:pt x="3722" y="886"/>
                </a:lnTo>
                <a:lnTo>
                  <a:pt x="3724" y="886"/>
                </a:lnTo>
                <a:lnTo>
                  <a:pt x="3724" y="886"/>
                </a:lnTo>
                <a:lnTo>
                  <a:pt x="3722" y="888"/>
                </a:lnTo>
                <a:lnTo>
                  <a:pt x="3722" y="888"/>
                </a:lnTo>
                <a:lnTo>
                  <a:pt x="3718" y="888"/>
                </a:lnTo>
                <a:lnTo>
                  <a:pt x="3718" y="888"/>
                </a:lnTo>
                <a:lnTo>
                  <a:pt x="3722" y="888"/>
                </a:lnTo>
                <a:lnTo>
                  <a:pt x="3722" y="888"/>
                </a:lnTo>
                <a:lnTo>
                  <a:pt x="3724" y="886"/>
                </a:lnTo>
                <a:lnTo>
                  <a:pt x="3724" y="886"/>
                </a:lnTo>
                <a:lnTo>
                  <a:pt x="3722" y="886"/>
                </a:lnTo>
                <a:lnTo>
                  <a:pt x="3722" y="886"/>
                </a:lnTo>
                <a:close/>
                <a:moveTo>
                  <a:pt x="3730" y="890"/>
                </a:moveTo>
                <a:lnTo>
                  <a:pt x="3730" y="890"/>
                </a:lnTo>
                <a:lnTo>
                  <a:pt x="3732" y="886"/>
                </a:lnTo>
                <a:lnTo>
                  <a:pt x="3736" y="886"/>
                </a:lnTo>
                <a:lnTo>
                  <a:pt x="3756" y="888"/>
                </a:lnTo>
                <a:lnTo>
                  <a:pt x="3756" y="888"/>
                </a:lnTo>
                <a:lnTo>
                  <a:pt x="3748" y="892"/>
                </a:lnTo>
                <a:lnTo>
                  <a:pt x="3748" y="892"/>
                </a:lnTo>
                <a:lnTo>
                  <a:pt x="3742" y="896"/>
                </a:lnTo>
                <a:lnTo>
                  <a:pt x="3742" y="896"/>
                </a:lnTo>
                <a:lnTo>
                  <a:pt x="3730" y="890"/>
                </a:lnTo>
                <a:lnTo>
                  <a:pt x="3730" y="890"/>
                </a:lnTo>
                <a:close/>
                <a:moveTo>
                  <a:pt x="3752" y="302"/>
                </a:moveTo>
                <a:lnTo>
                  <a:pt x="3752" y="302"/>
                </a:lnTo>
                <a:lnTo>
                  <a:pt x="3732" y="306"/>
                </a:lnTo>
                <a:lnTo>
                  <a:pt x="3732" y="306"/>
                </a:lnTo>
                <a:lnTo>
                  <a:pt x="3720" y="288"/>
                </a:lnTo>
                <a:lnTo>
                  <a:pt x="3720" y="288"/>
                </a:lnTo>
                <a:lnTo>
                  <a:pt x="3726" y="286"/>
                </a:lnTo>
                <a:lnTo>
                  <a:pt x="3730" y="288"/>
                </a:lnTo>
                <a:lnTo>
                  <a:pt x="3736" y="290"/>
                </a:lnTo>
                <a:lnTo>
                  <a:pt x="3736" y="290"/>
                </a:lnTo>
                <a:lnTo>
                  <a:pt x="3742" y="294"/>
                </a:lnTo>
                <a:lnTo>
                  <a:pt x="3748" y="294"/>
                </a:lnTo>
                <a:lnTo>
                  <a:pt x="3752" y="294"/>
                </a:lnTo>
                <a:lnTo>
                  <a:pt x="3758" y="292"/>
                </a:lnTo>
                <a:lnTo>
                  <a:pt x="3758" y="292"/>
                </a:lnTo>
                <a:lnTo>
                  <a:pt x="3762" y="292"/>
                </a:lnTo>
                <a:lnTo>
                  <a:pt x="3762" y="292"/>
                </a:lnTo>
                <a:lnTo>
                  <a:pt x="3774" y="300"/>
                </a:lnTo>
                <a:lnTo>
                  <a:pt x="3774" y="300"/>
                </a:lnTo>
                <a:lnTo>
                  <a:pt x="3772" y="302"/>
                </a:lnTo>
                <a:lnTo>
                  <a:pt x="3772" y="302"/>
                </a:lnTo>
                <a:lnTo>
                  <a:pt x="3752" y="302"/>
                </a:lnTo>
                <a:lnTo>
                  <a:pt x="3752" y="302"/>
                </a:lnTo>
                <a:close/>
                <a:moveTo>
                  <a:pt x="3710" y="946"/>
                </a:moveTo>
                <a:lnTo>
                  <a:pt x="3710" y="946"/>
                </a:lnTo>
                <a:lnTo>
                  <a:pt x="3698" y="946"/>
                </a:lnTo>
                <a:lnTo>
                  <a:pt x="3698" y="946"/>
                </a:lnTo>
                <a:lnTo>
                  <a:pt x="3698" y="946"/>
                </a:lnTo>
                <a:lnTo>
                  <a:pt x="3698" y="946"/>
                </a:lnTo>
                <a:lnTo>
                  <a:pt x="3710" y="946"/>
                </a:lnTo>
                <a:lnTo>
                  <a:pt x="3710" y="946"/>
                </a:lnTo>
                <a:lnTo>
                  <a:pt x="3712" y="948"/>
                </a:lnTo>
                <a:lnTo>
                  <a:pt x="3712" y="950"/>
                </a:lnTo>
                <a:lnTo>
                  <a:pt x="3712" y="950"/>
                </a:lnTo>
                <a:lnTo>
                  <a:pt x="3712" y="952"/>
                </a:lnTo>
                <a:lnTo>
                  <a:pt x="3712" y="952"/>
                </a:lnTo>
                <a:lnTo>
                  <a:pt x="3712" y="952"/>
                </a:lnTo>
                <a:lnTo>
                  <a:pt x="3712" y="952"/>
                </a:lnTo>
                <a:lnTo>
                  <a:pt x="3712" y="948"/>
                </a:lnTo>
                <a:lnTo>
                  <a:pt x="3710" y="946"/>
                </a:lnTo>
                <a:lnTo>
                  <a:pt x="3710" y="946"/>
                </a:lnTo>
                <a:close/>
                <a:moveTo>
                  <a:pt x="3690" y="900"/>
                </a:moveTo>
                <a:lnTo>
                  <a:pt x="3690" y="900"/>
                </a:lnTo>
                <a:lnTo>
                  <a:pt x="3692" y="900"/>
                </a:lnTo>
                <a:lnTo>
                  <a:pt x="3694" y="900"/>
                </a:lnTo>
                <a:lnTo>
                  <a:pt x="3694" y="900"/>
                </a:lnTo>
                <a:lnTo>
                  <a:pt x="3694" y="898"/>
                </a:lnTo>
                <a:lnTo>
                  <a:pt x="3694" y="898"/>
                </a:lnTo>
                <a:lnTo>
                  <a:pt x="3694" y="898"/>
                </a:lnTo>
                <a:lnTo>
                  <a:pt x="3694" y="898"/>
                </a:lnTo>
                <a:lnTo>
                  <a:pt x="3696" y="900"/>
                </a:lnTo>
                <a:lnTo>
                  <a:pt x="3696" y="900"/>
                </a:lnTo>
                <a:lnTo>
                  <a:pt x="3692" y="902"/>
                </a:lnTo>
                <a:lnTo>
                  <a:pt x="3690" y="900"/>
                </a:lnTo>
                <a:lnTo>
                  <a:pt x="3690" y="900"/>
                </a:lnTo>
                <a:close/>
                <a:moveTo>
                  <a:pt x="3670" y="266"/>
                </a:moveTo>
                <a:lnTo>
                  <a:pt x="3670" y="266"/>
                </a:lnTo>
                <a:lnTo>
                  <a:pt x="3664" y="268"/>
                </a:lnTo>
                <a:lnTo>
                  <a:pt x="3660" y="264"/>
                </a:lnTo>
                <a:lnTo>
                  <a:pt x="3660" y="264"/>
                </a:lnTo>
                <a:lnTo>
                  <a:pt x="3666" y="264"/>
                </a:lnTo>
                <a:lnTo>
                  <a:pt x="3670" y="266"/>
                </a:lnTo>
                <a:lnTo>
                  <a:pt x="3670" y="266"/>
                </a:lnTo>
                <a:close/>
                <a:moveTo>
                  <a:pt x="3608" y="942"/>
                </a:moveTo>
                <a:lnTo>
                  <a:pt x="3608" y="942"/>
                </a:lnTo>
                <a:lnTo>
                  <a:pt x="3620" y="942"/>
                </a:lnTo>
                <a:lnTo>
                  <a:pt x="3620" y="942"/>
                </a:lnTo>
                <a:lnTo>
                  <a:pt x="3616" y="936"/>
                </a:lnTo>
                <a:lnTo>
                  <a:pt x="3616" y="936"/>
                </a:lnTo>
                <a:lnTo>
                  <a:pt x="3624" y="936"/>
                </a:lnTo>
                <a:lnTo>
                  <a:pt x="3640" y="940"/>
                </a:lnTo>
                <a:lnTo>
                  <a:pt x="3640" y="940"/>
                </a:lnTo>
                <a:lnTo>
                  <a:pt x="3634" y="934"/>
                </a:lnTo>
                <a:lnTo>
                  <a:pt x="3634" y="934"/>
                </a:lnTo>
                <a:lnTo>
                  <a:pt x="3642" y="930"/>
                </a:lnTo>
                <a:lnTo>
                  <a:pt x="3642" y="930"/>
                </a:lnTo>
                <a:lnTo>
                  <a:pt x="3644" y="934"/>
                </a:lnTo>
                <a:lnTo>
                  <a:pt x="3648" y="936"/>
                </a:lnTo>
                <a:lnTo>
                  <a:pt x="3658" y="936"/>
                </a:lnTo>
                <a:lnTo>
                  <a:pt x="3658" y="936"/>
                </a:lnTo>
                <a:lnTo>
                  <a:pt x="3668" y="936"/>
                </a:lnTo>
                <a:lnTo>
                  <a:pt x="3672" y="936"/>
                </a:lnTo>
                <a:lnTo>
                  <a:pt x="3676" y="934"/>
                </a:lnTo>
                <a:lnTo>
                  <a:pt x="3676" y="934"/>
                </a:lnTo>
                <a:lnTo>
                  <a:pt x="3682" y="936"/>
                </a:lnTo>
                <a:lnTo>
                  <a:pt x="3682" y="936"/>
                </a:lnTo>
                <a:lnTo>
                  <a:pt x="3682" y="938"/>
                </a:lnTo>
                <a:lnTo>
                  <a:pt x="3680" y="940"/>
                </a:lnTo>
                <a:lnTo>
                  <a:pt x="3680" y="940"/>
                </a:lnTo>
                <a:lnTo>
                  <a:pt x="3672" y="942"/>
                </a:lnTo>
                <a:lnTo>
                  <a:pt x="3666" y="942"/>
                </a:lnTo>
                <a:lnTo>
                  <a:pt x="3662" y="940"/>
                </a:lnTo>
                <a:lnTo>
                  <a:pt x="3662" y="940"/>
                </a:lnTo>
                <a:lnTo>
                  <a:pt x="3660" y="942"/>
                </a:lnTo>
                <a:lnTo>
                  <a:pt x="3660" y="942"/>
                </a:lnTo>
                <a:lnTo>
                  <a:pt x="3668" y="946"/>
                </a:lnTo>
                <a:lnTo>
                  <a:pt x="3668" y="946"/>
                </a:lnTo>
                <a:lnTo>
                  <a:pt x="3662" y="950"/>
                </a:lnTo>
                <a:lnTo>
                  <a:pt x="3654" y="950"/>
                </a:lnTo>
                <a:lnTo>
                  <a:pt x="3636" y="952"/>
                </a:lnTo>
                <a:lnTo>
                  <a:pt x="3636" y="952"/>
                </a:lnTo>
                <a:lnTo>
                  <a:pt x="3636" y="954"/>
                </a:lnTo>
                <a:lnTo>
                  <a:pt x="3636" y="954"/>
                </a:lnTo>
                <a:lnTo>
                  <a:pt x="3638" y="956"/>
                </a:lnTo>
                <a:lnTo>
                  <a:pt x="3638" y="956"/>
                </a:lnTo>
                <a:lnTo>
                  <a:pt x="3630" y="956"/>
                </a:lnTo>
                <a:lnTo>
                  <a:pt x="3626" y="956"/>
                </a:lnTo>
                <a:lnTo>
                  <a:pt x="3620" y="954"/>
                </a:lnTo>
                <a:lnTo>
                  <a:pt x="3614" y="952"/>
                </a:lnTo>
                <a:lnTo>
                  <a:pt x="3614" y="952"/>
                </a:lnTo>
                <a:lnTo>
                  <a:pt x="3588" y="952"/>
                </a:lnTo>
                <a:lnTo>
                  <a:pt x="3588" y="952"/>
                </a:lnTo>
                <a:lnTo>
                  <a:pt x="3594" y="944"/>
                </a:lnTo>
                <a:lnTo>
                  <a:pt x="3594" y="944"/>
                </a:lnTo>
                <a:lnTo>
                  <a:pt x="3602" y="944"/>
                </a:lnTo>
                <a:lnTo>
                  <a:pt x="3606" y="944"/>
                </a:lnTo>
                <a:lnTo>
                  <a:pt x="3608" y="942"/>
                </a:lnTo>
                <a:lnTo>
                  <a:pt x="3608" y="942"/>
                </a:lnTo>
                <a:close/>
                <a:moveTo>
                  <a:pt x="3598" y="960"/>
                </a:moveTo>
                <a:lnTo>
                  <a:pt x="3598" y="960"/>
                </a:lnTo>
                <a:lnTo>
                  <a:pt x="3598" y="960"/>
                </a:lnTo>
                <a:lnTo>
                  <a:pt x="3598" y="960"/>
                </a:lnTo>
                <a:lnTo>
                  <a:pt x="3598" y="956"/>
                </a:lnTo>
                <a:lnTo>
                  <a:pt x="3594" y="956"/>
                </a:lnTo>
                <a:lnTo>
                  <a:pt x="3594" y="956"/>
                </a:lnTo>
                <a:lnTo>
                  <a:pt x="3598" y="956"/>
                </a:lnTo>
                <a:lnTo>
                  <a:pt x="3598" y="960"/>
                </a:lnTo>
                <a:lnTo>
                  <a:pt x="3598" y="960"/>
                </a:lnTo>
                <a:close/>
                <a:moveTo>
                  <a:pt x="3554" y="890"/>
                </a:moveTo>
                <a:lnTo>
                  <a:pt x="3554" y="890"/>
                </a:lnTo>
                <a:lnTo>
                  <a:pt x="3550" y="886"/>
                </a:lnTo>
                <a:lnTo>
                  <a:pt x="3550" y="886"/>
                </a:lnTo>
                <a:lnTo>
                  <a:pt x="3556" y="882"/>
                </a:lnTo>
                <a:lnTo>
                  <a:pt x="3556" y="882"/>
                </a:lnTo>
                <a:lnTo>
                  <a:pt x="3564" y="880"/>
                </a:lnTo>
                <a:lnTo>
                  <a:pt x="3572" y="884"/>
                </a:lnTo>
                <a:lnTo>
                  <a:pt x="3572" y="884"/>
                </a:lnTo>
                <a:lnTo>
                  <a:pt x="3576" y="886"/>
                </a:lnTo>
                <a:lnTo>
                  <a:pt x="3582" y="886"/>
                </a:lnTo>
                <a:lnTo>
                  <a:pt x="3582" y="886"/>
                </a:lnTo>
                <a:lnTo>
                  <a:pt x="3594" y="886"/>
                </a:lnTo>
                <a:lnTo>
                  <a:pt x="3594" y="886"/>
                </a:lnTo>
                <a:lnTo>
                  <a:pt x="3590" y="892"/>
                </a:lnTo>
                <a:lnTo>
                  <a:pt x="3590" y="896"/>
                </a:lnTo>
                <a:lnTo>
                  <a:pt x="3592" y="898"/>
                </a:lnTo>
                <a:lnTo>
                  <a:pt x="3598" y="902"/>
                </a:lnTo>
                <a:lnTo>
                  <a:pt x="3598" y="902"/>
                </a:lnTo>
                <a:lnTo>
                  <a:pt x="3588" y="906"/>
                </a:lnTo>
                <a:lnTo>
                  <a:pt x="3588" y="906"/>
                </a:lnTo>
                <a:lnTo>
                  <a:pt x="3586" y="902"/>
                </a:lnTo>
                <a:lnTo>
                  <a:pt x="3586" y="902"/>
                </a:lnTo>
                <a:lnTo>
                  <a:pt x="3578" y="904"/>
                </a:lnTo>
                <a:lnTo>
                  <a:pt x="3572" y="904"/>
                </a:lnTo>
                <a:lnTo>
                  <a:pt x="3566" y="902"/>
                </a:lnTo>
                <a:lnTo>
                  <a:pt x="3562" y="898"/>
                </a:lnTo>
                <a:lnTo>
                  <a:pt x="3562" y="898"/>
                </a:lnTo>
                <a:lnTo>
                  <a:pt x="3560" y="896"/>
                </a:lnTo>
                <a:lnTo>
                  <a:pt x="3556" y="896"/>
                </a:lnTo>
                <a:lnTo>
                  <a:pt x="3556" y="896"/>
                </a:lnTo>
                <a:lnTo>
                  <a:pt x="3544" y="896"/>
                </a:lnTo>
                <a:lnTo>
                  <a:pt x="3544" y="896"/>
                </a:lnTo>
                <a:lnTo>
                  <a:pt x="3544" y="894"/>
                </a:lnTo>
                <a:lnTo>
                  <a:pt x="3544" y="894"/>
                </a:lnTo>
                <a:lnTo>
                  <a:pt x="3554" y="890"/>
                </a:lnTo>
                <a:lnTo>
                  <a:pt x="3554" y="890"/>
                </a:lnTo>
                <a:close/>
                <a:moveTo>
                  <a:pt x="3540" y="878"/>
                </a:moveTo>
                <a:lnTo>
                  <a:pt x="3540" y="878"/>
                </a:lnTo>
                <a:lnTo>
                  <a:pt x="3540" y="878"/>
                </a:lnTo>
                <a:lnTo>
                  <a:pt x="3540" y="878"/>
                </a:lnTo>
                <a:lnTo>
                  <a:pt x="3542" y="880"/>
                </a:lnTo>
                <a:lnTo>
                  <a:pt x="3542" y="880"/>
                </a:lnTo>
                <a:lnTo>
                  <a:pt x="3538" y="882"/>
                </a:lnTo>
                <a:lnTo>
                  <a:pt x="3538" y="882"/>
                </a:lnTo>
                <a:lnTo>
                  <a:pt x="3538" y="882"/>
                </a:lnTo>
                <a:lnTo>
                  <a:pt x="3538" y="882"/>
                </a:lnTo>
                <a:lnTo>
                  <a:pt x="3540" y="880"/>
                </a:lnTo>
                <a:lnTo>
                  <a:pt x="3540" y="880"/>
                </a:lnTo>
                <a:lnTo>
                  <a:pt x="3540" y="878"/>
                </a:lnTo>
                <a:lnTo>
                  <a:pt x="3540" y="878"/>
                </a:lnTo>
                <a:close/>
                <a:moveTo>
                  <a:pt x="3564" y="906"/>
                </a:moveTo>
                <a:lnTo>
                  <a:pt x="3564" y="906"/>
                </a:lnTo>
                <a:lnTo>
                  <a:pt x="3564" y="906"/>
                </a:lnTo>
                <a:lnTo>
                  <a:pt x="3564" y="906"/>
                </a:lnTo>
                <a:lnTo>
                  <a:pt x="3552" y="900"/>
                </a:lnTo>
                <a:lnTo>
                  <a:pt x="3546" y="898"/>
                </a:lnTo>
                <a:lnTo>
                  <a:pt x="3538" y="896"/>
                </a:lnTo>
                <a:lnTo>
                  <a:pt x="3538" y="896"/>
                </a:lnTo>
                <a:lnTo>
                  <a:pt x="3538" y="896"/>
                </a:lnTo>
                <a:lnTo>
                  <a:pt x="3538" y="896"/>
                </a:lnTo>
                <a:lnTo>
                  <a:pt x="3546" y="898"/>
                </a:lnTo>
                <a:lnTo>
                  <a:pt x="3552" y="900"/>
                </a:lnTo>
                <a:lnTo>
                  <a:pt x="3564" y="906"/>
                </a:lnTo>
                <a:lnTo>
                  <a:pt x="3564" y="906"/>
                </a:lnTo>
                <a:close/>
                <a:moveTo>
                  <a:pt x="3548" y="916"/>
                </a:moveTo>
                <a:lnTo>
                  <a:pt x="3548" y="916"/>
                </a:lnTo>
                <a:lnTo>
                  <a:pt x="3562" y="920"/>
                </a:lnTo>
                <a:lnTo>
                  <a:pt x="3568" y="922"/>
                </a:lnTo>
                <a:lnTo>
                  <a:pt x="3576" y="922"/>
                </a:lnTo>
                <a:lnTo>
                  <a:pt x="3576" y="922"/>
                </a:lnTo>
                <a:lnTo>
                  <a:pt x="3578" y="922"/>
                </a:lnTo>
                <a:lnTo>
                  <a:pt x="3578" y="922"/>
                </a:lnTo>
                <a:lnTo>
                  <a:pt x="3584" y="926"/>
                </a:lnTo>
                <a:lnTo>
                  <a:pt x="3584" y="926"/>
                </a:lnTo>
                <a:lnTo>
                  <a:pt x="3592" y="928"/>
                </a:lnTo>
                <a:lnTo>
                  <a:pt x="3592" y="928"/>
                </a:lnTo>
                <a:lnTo>
                  <a:pt x="3588" y="932"/>
                </a:lnTo>
                <a:lnTo>
                  <a:pt x="3580" y="934"/>
                </a:lnTo>
                <a:lnTo>
                  <a:pt x="3580" y="934"/>
                </a:lnTo>
                <a:lnTo>
                  <a:pt x="3576" y="932"/>
                </a:lnTo>
                <a:lnTo>
                  <a:pt x="3574" y="932"/>
                </a:lnTo>
                <a:lnTo>
                  <a:pt x="3574" y="932"/>
                </a:lnTo>
                <a:lnTo>
                  <a:pt x="3566" y="932"/>
                </a:lnTo>
                <a:lnTo>
                  <a:pt x="3562" y="932"/>
                </a:lnTo>
                <a:lnTo>
                  <a:pt x="3560" y="928"/>
                </a:lnTo>
                <a:lnTo>
                  <a:pt x="3560" y="928"/>
                </a:lnTo>
                <a:lnTo>
                  <a:pt x="3554" y="928"/>
                </a:lnTo>
                <a:lnTo>
                  <a:pt x="3554" y="928"/>
                </a:lnTo>
                <a:lnTo>
                  <a:pt x="3550" y="928"/>
                </a:lnTo>
                <a:lnTo>
                  <a:pt x="3546" y="928"/>
                </a:lnTo>
                <a:lnTo>
                  <a:pt x="3542" y="922"/>
                </a:lnTo>
                <a:lnTo>
                  <a:pt x="3542" y="922"/>
                </a:lnTo>
                <a:lnTo>
                  <a:pt x="3536" y="916"/>
                </a:lnTo>
                <a:lnTo>
                  <a:pt x="3536" y="916"/>
                </a:lnTo>
                <a:lnTo>
                  <a:pt x="3542" y="914"/>
                </a:lnTo>
                <a:lnTo>
                  <a:pt x="3548" y="916"/>
                </a:lnTo>
                <a:lnTo>
                  <a:pt x="3548" y="916"/>
                </a:lnTo>
                <a:close/>
                <a:moveTo>
                  <a:pt x="3550" y="972"/>
                </a:moveTo>
                <a:lnTo>
                  <a:pt x="3550" y="972"/>
                </a:lnTo>
                <a:lnTo>
                  <a:pt x="3548" y="972"/>
                </a:lnTo>
                <a:lnTo>
                  <a:pt x="3548" y="972"/>
                </a:lnTo>
                <a:lnTo>
                  <a:pt x="3546" y="970"/>
                </a:lnTo>
                <a:lnTo>
                  <a:pt x="3546" y="970"/>
                </a:lnTo>
                <a:lnTo>
                  <a:pt x="3546" y="970"/>
                </a:lnTo>
                <a:lnTo>
                  <a:pt x="3546" y="970"/>
                </a:lnTo>
                <a:lnTo>
                  <a:pt x="3546" y="970"/>
                </a:lnTo>
                <a:lnTo>
                  <a:pt x="3546" y="970"/>
                </a:lnTo>
                <a:lnTo>
                  <a:pt x="3546" y="968"/>
                </a:lnTo>
                <a:lnTo>
                  <a:pt x="3546" y="968"/>
                </a:lnTo>
                <a:lnTo>
                  <a:pt x="3548" y="970"/>
                </a:lnTo>
                <a:lnTo>
                  <a:pt x="3548" y="970"/>
                </a:lnTo>
                <a:lnTo>
                  <a:pt x="3552" y="968"/>
                </a:lnTo>
                <a:lnTo>
                  <a:pt x="3552" y="968"/>
                </a:lnTo>
                <a:lnTo>
                  <a:pt x="3558" y="958"/>
                </a:lnTo>
                <a:lnTo>
                  <a:pt x="3558" y="958"/>
                </a:lnTo>
                <a:lnTo>
                  <a:pt x="3558" y="958"/>
                </a:lnTo>
                <a:lnTo>
                  <a:pt x="3552" y="968"/>
                </a:lnTo>
                <a:lnTo>
                  <a:pt x="3552" y="968"/>
                </a:lnTo>
                <a:lnTo>
                  <a:pt x="3548" y="970"/>
                </a:lnTo>
                <a:lnTo>
                  <a:pt x="3548" y="970"/>
                </a:lnTo>
                <a:lnTo>
                  <a:pt x="3550" y="972"/>
                </a:lnTo>
                <a:lnTo>
                  <a:pt x="3550" y="972"/>
                </a:lnTo>
                <a:close/>
                <a:moveTo>
                  <a:pt x="3454" y="948"/>
                </a:moveTo>
                <a:lnTo>
                  <a:pt x="3454" y="948"/>
                </a:lnTo>
                <a:lnTo>
                  <a:pt x="3454" y="948"/>
                </a:lnTo>
                <a:lnTo>
                  <a:pt x="3454" y="948"/>
                </a:lnTo>
                <a:lnTo>
                  <a:pt x="3456" y="950"/>
                </a:lnTo>
                <a:lnTo>
                  <a:pt x="3456" y="950"/>
                </a:lnTo>
                <a:lnTo>
                  <a:pt x="3454" y="952"/>
                </a:lnTo>
                <a:lnTo>
                  <a:pt x="3454" y="952"/>
                </a:lnTo>
                <a:lnTo>
                  <a:pt x="3454" y="952"/>
                </a:lnTo>
                <a:lnTo>
                  <a:pt x="3454" y="952"/>
                </a:lnTo>
                <a:lnTo>
                  <a:pt x="3456" y="950"/>
                </a:lnTo>
                <a:lnTo>
                  <a:pt x="3456" y="950"/>
                </a:lnTo>
                <a:lnTo>
                  <a:pt x="3454" y="948"/>
                </a:lnTo>
                <a:lnTo>
                  <a:pt x="3454" y="948"/>
                </a:lnTo>
                <a:close/>
                <a:moveTo>
                  <a:pt x="3546" y="948"/>
                </a:moveTo>
                <a:lnTo>
                  <a:pt x="3546" y="948"/>
                </a:lnTo>
                <a:lnTo>
                  <a:pt x="3546" y="948"/>
                </a:lnTo>
                <a:lnTo>
                  <a:pt x="3546" y="948"/>
                </a:lnTo>
                <a:lnTo>
                  <a:pt x="3544" y="950"/>
                </a:lnTo>
                <a:lnTo>
                  <a:pt x="3544" y="950"/>
                </a:lnTo>
                <a:lnTo>
                  <a:pt x="3544" y="950"/>
                </a:lnTo>
                <a:lnTo>
                  <a:pt x="3536" y="948"/>
                </a:lnTo>
                <a:lnTo>
                  <a:pt x="3536" y="948"/>
                </a:lnTo>
                <a:lnTo>
                  <a:pt x="3536" y="948"/>
                </a:lnTo>
                <a:lnTo>
                  <a:pt x="3536" y="948"/>
                </a:lnTo>
                <a:lnTo>
                  <a:pt x="3544" y="950"/>
                </a:lnTo>
                <a:lnTo>
                  <a:pt x="3544" y="950"/>
                </a:lnTo>
                <a:lnTo>
                  <a:pt x="3544" y="950"/>
                </a:lnTo>
                <a:lnTo>
                  <a:pt x="3546" y="948"/>
                </a:lnTo>
                <a:lnTo>
                  <a:pt x="3546" y="948"/>
                </a:lnTo>
                <a:close/>
                <a:moveTo>
                  <a:pt x="3538" y="980"/>
                </a:moveTo>
                <a:lnTo>
                  <a:pt x="3538" y="980"/>
                </a:lnTo>
                <a:lnTo>
                  <a:pt x="3538" y="978"/>
                </a:lnTo>
                <a:lnTo>
                  <a:pt x="3538" y="978"/>
                </a:lnTo>
                <a:lnTo>
                  <a:pt x="3538" y="978"/>
                </a:lnTo>
                <a:lnTo>
                  <a:pt x="3538" y="978"/>
                </a:lnTo>
                <a:lnTo>
                  <a:pt x="3538" y="980"/>
                </a:lnTo>
                <a:lnTo>
                  <a:pt x="3538" y="980"/>
                </a:lnTo>
                <a:lnTo>
                  <a:pt x="3538" y="980"/>
                </a:lnTo>
                <a:lnTo>
                  <a:pt x="3538" y="980"/>
                </a:lnTo>
                <a:close/>
                <a:moveTo>
                  <a:pt x="3532" y="990"/>
                </a:moveTo>
                <a:lnTo>
                  <a:pt x="3532" y="990"/>
                </a:lnTo>
                <a:lnTo>
                  <a:pt x="3532" y="990"/>
                </a:lnTo>
                <a:lnTo>
                  <a:pt x="3532" y="990"/>
                </a:lnTo>
                <a:lnTo>
                  <a:pt x="3534" y="992"/>
                </a:lnTo>
                <a:lnTo>
                  <a:pt x="3534" y="992"/>
                </a:lnTo>
                <a:lnTo>
                  <a:pt x="3534" y="992"/>
                </a:lnTo>
                <a:lnTo>
                  <a:pt x="3534" y="992"/>
                </a:lnTo>
                <a:lnTo>
                  <a:pt x="3532" y="990"/>
                </a:lnTo>
                <a:lnTo>
                  <a:pt x="3532" y="990"/>
                </a:lnTo>
                <a:close/>
                <a:moveTo>
                  <a:pt x="3484" y="1014"/>
                </a:moveTo>
                <a:lnTo>
                  <a:pt x="3484" y="1014"/>
                </a:lnTo>
                <a:lnTo>
                  <a:pt x="3484" y="1010"/>
                </a:lnTo>
                <a:lnTo>
                  <a:pt x="3484" y="1010"/>
                </a:lnTo>
                <a:lnTo>
                  <a:pt x="3486" y="1012"/>
                </a:lnTo>
                <a:lnTo>
                  <a:pt x="3486" y="1014"/>
                </a:lnTo>
                <a:lnTo>
                  <a:pt x="3486" y="1014"/>
                </a:lnTo>
                <a:lnTo>
                  <a:pt x="3486" y="1014"/>
                </a:lnTo>
                <a:lnTo>
                  <a:pt x="3486" y="1014"/>
                </a:lnTo>
                <a:lnTo>
                  <a:pt x="3484" y="1014"/>
                </a:lnTo>
                <a:lnTo>
                  <a:pt x="3484" y="1014"/>
                </a:lnTo>
                <a:close/>
                <a:moveTo>
                  <a:pt x="3468" y="988"/>
                </a:moveTo>
                <a:lnTo>
                  <a:pt x="3468" y="988"/>
                </a:lnTo>
                <a:lnTo>
                  <a:pt x="3470" y="990"/>
                </a:lnTo>
                <a:lnTo>
                  <a:pt x="3470" y="990"/>
                </a:lnTo>
                <a:lnTo>
                  <a:pt x="3468" y="990"/>
                </a:lnTo>
                <a:lnTo>
                  <a:pt x="3468" y="990"/>
                </a:lnTo>
                <a:lnTo>
                  <a:pt x="3468" y="988"/>
                </a:lnTo>
                <a:lnTo>
                  <a:pt x="3468" y="988"/>
                </a:lnTo>
                <a:close/>
                <a:moveTo>
                  <a:pt x="3508" y="1006"/>
                </a:moveTo>
                <a:lnTo>
                  <a:pt x="3508" y="1006"/>
                </a:lnTo>
                <a:lnTo>
                  <a:pt x="3508" y="1006"/>
                </a:lnTo>
                <a:lnTo>
                  <a:pt x="3508" y="1006"/>
                </a:lnTo>
                <a:lnTo>
                  <a:pt x="3508" y="1006"/>
                </a:lnTo>
                <a:lnTo>
                  <a:pt x="3508" y="1006"/>
                </a:lnTo>
                <a:lnTo>
                  <a:pt x="3508" y="1006"/>
                </a:lnTo>
                <a:lnTo>
                  <a:pt x="3508" y="1006"/>
                </a:lnTo>
                <a:close/>
                <a:moveTo>
                  <a:pt x="3516" y="1000"/>
                </a:moveTo>
                <a:lnTo>
                  <a:pt x="3516" y="1000"/>
                </a:lnTo>
                <a:lnTo>
                  <a:pt x="3512" y="1000"/>
                </a:lnTo>
                <a:lnTo>
                  <a:pt x="3510" y="998"/>
                </a:lnTo>
                <a:lnTo>
                  <a:pt x="3512" y="996"/>
                </a:lnTo>
                <a:lnTo>
                  <a:pt x="3512" y="996"/>
                </a:lnTo>
                <a:lnTo>
                  <a:pt x="3520" y="992"/>
                </a:lnTo>
                <a:lnTo>
                  <a:pt x="3520" y="992"/>
                </a:lnTo>
                <a:lnTo>
                  <a:pt x="3528" y="996"/>
                </a:lnTo>
                <a:lnTo>
                  <a:pt x="3528" y="996"/>
                </a:lnTo>
                <a:lnTo>
                  <a:pt x="3520" y="1000"/>
                </a:lnTo>
                <a:lnTo>
                  <a:pt x="3520" y="1000"/>
                </a:lnTo>
                <a:lnTo>
                  <a:pt x="3516" y="1000"/>
                </a:lnTo>
                <a:lnTo>
                  <a:pt x="3516" y="1000"/>
                </a:lnTo>
                <a:close/>
                <a:moveTo>
                  <a:pt x="3534" y="1002"/>
                </a:moveTo>
                <a:lnTo>
                  <a:pt x="3534" y="1002"/>
                </a:lnTo>
                <a:lnTo>
                  <a:pt x="3540" y="1002"/>
                </a:lnTo>
                <a:lnTo>
                  <a:pt x="3544" y="1000"/>
                </a:lnTo>
                <a:lnTo>
                  <a:pt x="3544" y="1000"/>
                </a:lnTo>
                <a:lnTo>
                  <a:pt x="3544" y="1000"/>
                </a:lnTo>
                <a:lnTo>
                  <a:pt x="3544" y="1000"/>
                </a:lnTo>
                <a:lnTo>
                  <a:pt x="3540" y="1002"/>
                </a:lnTo>
                <a:lnTo>
                  <a:pt x="3534" y="1002"/>
                </a:lnTo>
                <a:lnTo>
                  <a:pt x="3534" y="1002"/>
                </a:lnTo>
                <a:lnTo>
                  <a:pt x="3534" y="1002"/>
                </a:lnTo>
                <a:lnTo>
                  <a:pt x="3534" y="1002"/>
                </a:lnTo>
                <a:close/>
                <a:moveTo>
                  <a:pt x="3548" y="978"/>
                </a:moveTo>
                <a:lnTo>
                  <a:pt x="3548" y="978"/>
                </a:lnTo>
                <a:lnTo>
                  <a:pt x="3548" y="976"/>
                </a:lnTo>
                <a:lnTo>
                  <a:pt x="3548" y="976"/>
                </a:lnTo>
                <a:lnTo>
                  <a:pt x="3548" y="976"/>
                </a:lnTo>
                <a:lnTo>
                  <a:pt x="3548" y="976"/>
                </a:lnTo>
                <a:lnTo>
                  <a:pt x="3548" y="978"/>
                </a:lnTo>
                <a:lnTo>
                  <a:pt x="3548" y="978"/>
                </a:lnTo>
                <a:lnTo>
                  <a:pt x="3548" y="978"/>
                </a:lnTo>
                <a:lnTo>
                  <a:pt x="3548" y="978"/>
                </a:lnTo>
                <a:close/>
                <a:moveTo>
                  <a:pt x="3556" y="954"/>
                </a:moveTo>
                <a:lnTo>
                  <a:pt x="3556" y="954"/>
                </a:lnTo>
                <a:lnTo>
                  <a:pt x="3548" y="952"/>
                </a:lnTo>
                <a:lnTo>
                  <a:pt x="3548" y="952"/>
                </a:lnTo>
                <a:lnTo>
                  <a:pt x="3556" y="954"/>
                </a:lnTo>
                <a:lnTo>
                  <a:pt x="3556" y="954"/>
                </a:lnTo>
                <a:lnTo>
                  <a:pt x="3562" y="954"/>
                </a:lnTo>
                <a:lnTo>
                  <a:pt x="3564" y="956"/>
                </a:lnTo>
                <a:lnTo>
                  <a:pt x="3566" y="958"/>
                </a:lnTo>
                <a:lnTo>
                  <a:pt x="3566" y="958"/>
                </a:lnTo>
                <a:lnTo>
                  <a:pt x="3566" y="958"/>
                </a:lnTo>
                <a:lnTo>
                  <a:pt x="3566" y="958"/>
                </a:lnTo>
                <a:lnTo>
                  <a:pt x="3564" y="956"/>
                </a:lnTo>
                <a:lnTo>
                  <a:pt x="3562" y="954"/>
                </a:lnTo>
                <a:lnTo>
                  <a:pt x="3556" y="954"/>
                </a:lnTo>
                <a:lnTo>
                  <a:pt x="3556" y="954"/>
                </a:lnTo>
                <a:close/>
                <a:moveTo>
                  <a:pt x="3566" y="964"/>
                </a:moveTo>
                <a:lnTo>
                  <a:pt x="3566" y="964"/>
                </a:lnTo>
                <a:lnTo>
                  <a:pt x="3572" y="962"/>
                </a:lnTo>
                <a:lnTo>
                  <a:pt x="3576" y="958"/>
                </a:lnTo>
                <a:lnTo>
                  <a:pt x="3576" y="958"/>
                </a:lnTo>
                <a:lnTo>
                  <a:pt x="3572" y="958"/>
                </a:lnTo>
                <a:lnTo>
                  <a:pt x="3572" y="958"/>
                </a:lnTo>
                <a:lnTo>
                  <a:pt x="3576" y="958"/>
                </a:lnTo>
                <a:lnTo>
                  <a:pt x="3576" y="958"/>
                </a:lnTo>
                <a:lnTo>
                  <a:pt x="3572" y="962"/>
                </a:lnTo>
                <a:lnTo>
                  <a:pt x="3566" y="964"/>
                </a:lnTo>
                <a:lnTo>
                  <a:pt x="3566" y="964"/>
                </a:lnTo>
                <a:lnTo>
                  <a:pt x="3566" y="964"/>
                </a:lnTo>
                <a:lnTo>
                  <a:pt x="3566" y="964"/>
                </a:lnTo>
                <a:close/>
                <a:moveTo>
                  <a:pt x="3540" y="962"/>
                </a:moveTo>
                <a:lnTo>
                  <a:pt x="3540" y="962"/>
                </a:lnTo>
                <a:lnTo>
                  <a:pt x="3532" y="960"/>
                </a:lnTo>
                <a:lnTo>
                  <a:pt x="3532" y="960"/>
                </a:lnTo>
                <a:lnTo>
                  <a:pt x="3530" y="960"/>
                </a:lnTo>
                <a:lnTo>
                  <a:pt x="3530" y="960"/>
                </a:lnTo>
                <a:lnTo>
                  <a:pt x="3532" y="960"/>
                </a:lnTo>
                <a:lnTo>
                  <a:pt x="3532" y="960"/>
                </a:lnTo>
                <a:lnTo>
                  <a:pt x="3540" y="962"/>
                </a:lnTo>
                <a:lnTo>
                  <a:pt x="3540" y="962"/>
                </a:lnTo>
                <a:close/>
                <a:moveTo>
                  <a:pt x="3534" y="894"/>
                </a:moveTo>
                <a:lnTo>
                  <a:pt x="3534" y="894"/>
                </a:lnTo>
                <a:lnTo>
                  <a:pt x="3534" y="896"/>
                </a:lnTo>
                <a:lnTo>
                  <a:pt x="3534" y="896"/>
                </a:lnTo>
                <a:lnTo>
                  <a:pt x="3526" y="900"/>
                </a:lnTo>
                <a:lnTo>
                  <a:pt x="3526" y="900"/>
                </a:lnTo>
                <a:lnTo>
                  <a:pt x="3526" y="900"/>
                </a:lnTo>
                <a:lnTo>
                  <a:pt x="3526" y="900"/>
                </a:lnTo>
                <a:lnTo>
                  <a:pt x="3534" y="896"/>
                </a:lnTo>
                <a:lnTo>
                  <a:pt x="3534" y="896"/>
                </a:lnTo>
                <a:lnTo>
                  <a:pt x="3534" y="894"/>
                </a:lnTo>
                <a:lnTo>
                  <a:pt x="3534" y="894"/>
                </a:lnTo>
                <a:lnTo>
                  <a:pt x="3532" y="894"/>
                </a:lnTo>
                <a:lnTo>
                  <a:pt x="3532" y="894"/>
                </a:lnTo>
                <a:lnTo>
                  <a:pt x="3534" y="894"/>
                </a:lnTo>
                <a:lnTo>
                  <a:pt x="3534" y="894"/>
                </a:lnTo>
                <a:close/>
                <a:moveTo>
                  <a:pt x="3514" y="870"/>
                </a:moveTo>
                <a:lnTo>
                  <a:pt x="3514" y="870"/>
                </a:lnTo>
                <a:lnTo>
                  <a:pt x="3520" y="876"/>
                </a:lnTo>
                <a:lnTo>
                  <a:pt x="3520" y="876"/>
                </a:lnTo>
                <a:lnTo>
                  <a:pt x="3530" y="878"/>
                </a:lnTo>
                <a:lnTo>
                  <a:pt x="3530" y="878"/>
                </a:lnTo>
                <a:lnTo>
                  <a:pt x="3530" y="878"/>
                </a:lnTo>
                <a:lnTo>
                  <a:pt x="3530" y="878"/>
                </a:lnTo>
                <a:lnTo>
                  <a:pt x="3520" y="876"/>
                </a:lnTo>
                <a:lnTo>
                  <a:pt x="3520" y="876"/>
                </a:lnTo>
                <a:lnTo>
                  <a:pt x="3514" y="870"/>
                </a:lnTo>
                <a:lnTo>
                  <a:pt x="3514" y="870"/>
                </a:lnTo>
                <a:lnTo>
                  <a:pt x="3514" y="870"/>
                </a:lnTo>
                <a:lnTo>
                  <a:pt x="3514" y="870"/>
                </a:lnTo>
                <a:close/>
                <a:moveTo>
                  <a:pt x="3502" y="966"/>
                </a:moveTo>
                <a:lnTo>
                  <a:pt x="3502" y="966"/>
                </a:lnTo>
                <a:lnTo>
                  <a:pt x="3514" y="968"/>
                </a:lnTo>
                <a:lnTo>
                  <a:pt x="3514" y="968"/>
                </a:lnTo>
                <a:lnTo>
                  <a:pt x="3514" y="968"/>
                </a:lnTo>
                <a:lnTo>
                  <a:pt x="3514" y="968"/>
                </a:lnTo>
                <a:lnTo>
                  <a:pt x="3502" y="966"/>
                </a:lnTo>
                <a:lnTo>
                  <a:pt x="3502" y="966"/>
                </a:lnTo>
                <a:lnTo>
                  <a:pt x="3502" y="966"/>
                </a:lnTo>
                <a:lnTo>
                  <a:pt x="3502" y="966"/>
                </a:lnTo>
                <a:close/>
                <a:moveTo>
                  <a:pt x="3450" y="864"/>
                </a:moveTo>
                <a:lnTo>
                  <a:pt x="3450" y="864"/>
                </a:lnTo>
                <a:lnTo>
                  <a:pt x="3454" y="860"/>
                </a:lnTo>
                <a:lnTo>
                  <a:pt x="3454" y="860"/>
                </a:lnTo>
                <a:lnTo>
                  <a:pt x="3460" y="860"/>
                </a:lnTo>
                <a:lnTo>
                  <a:pt x="3466" y="860"/>
                </a:lnTo>
                <a:lnTo>
                  <a:pt x="3474" y="858"/>
                </a:lnTo>
                <a:lnTo>
                  <a:pt x="3480" y="854"/>
                </a:lnTo>
                <a:lnTo>
                  <a:pt x="3480" y="854"/>
                </a:lnTo>
                <a:lnTo>
                  <a:pt x="3496" y="872"/>
                </a:lnTo>
                <a:lnTo>
                  <a:pt x="3496" y="872"/>
                </a:lnTo>
                <a:lnTo>
                  <a:pt x="3486" y="874"/>
                </a:lnTo>
                <a:lnTo>
                  <a:pt x="3484" y="876"/>
                </a:lnTo>
                <a:lnTo>
                  <a:pt x="3480" y="878"/>
                </a:lnTo>
                <a:lnTo>
                  <a:pt x="3480" y="878"/>
                </a:lnTo>
                <a:lnTo>
                  <a:pt x="3472" y="880"/>
                </a:lnTo>
                <a:lnTo>
                  <a:pt x="3472" y="880"/>
                </a:lnTo>
                <a:lnTo>
                  <a:pt x="3466" y="878"/>
                </a:lnTo>
                <a:lnTo>
                  <a:pt x="3460" y="880"/>
                </a:lnTo>
                <a:lnTo>
                  <a:pt x="3460" y="880"/>
                </a:lnTo>
                <a:lnTo>
                  <a:pt x="3452" y="882"/>
                </a:lnTo>
                <a:lnTo>
                  <a:pt x="3442" y="880"/>
                </a:lnTo>
                <a:lnTo>
                  <a:pt x="3442" y="880"/>
                </a:lnTo>
                <a:lnTo>
                  <a:pt x="3430" y="876"/>
                </a:lnTo>
                <a:lnTo>
                  <a:pt x="3430" y="876"/>
                </a:lnTo>
                <a:lnTo>
                  <a:pt x="3432" y="872"/>
                </a:lnTo>
                <a:lnTo>
                  <a:pt x="3434" y="870"/>
                </a:lnTo>
                <a:lnTo>
                  <a:pt x="3444" y="870"/>
                </a:lnTo>
                <a:lnTo>
                  <a:pt x="3444" y="870"/>
                </a:lnTo>
                <a:lnTo>
                  <a:pt x="3448" y="868"/>
                </a:lnTo>
                <a:lnTo>
                  <a:pt x="3452" y="870"/>
                </a:lnTo>
                <a:lnTo>
                  <a:pt x="3456" y="876"/>
                </a:lnTo>
                <a:lnTo>
                  <a:pt x="3456" y="876"/>
                </a:lnTo>
                <a:lnTo>
                  <a:pt x="3470" y="872"/>
                </a:lnTo>
                <a:lnTo>
                  <a:pt x="3470" y="872"/>
                </a:lnTo>
                <a:lnTo>
                  <a:pt x="3466" y="868"/>
                </a:lnTo>
                <a:lnTo>
                  <a:pt x="3460" y="866"/>
                </a:lnTo>
                <a:lnTo>
                  <a:pt x="3454" y="866"/>
                </a:lnTo>
                <a:lnTo>
                  <a:pt x="3450" y="864"/>
                </a:lnTo>
                <a:lnTo>
                  <a:pt x="3450" y="864"/>
                </a:lnTo>
                <a:close/>
                <a:moveTo>
                  <a:pt x="3446" y="852"/>
                </a:moveTo>
                <a:lnTo>
                  <a:pt x="3446" y="852"/>
                </a:lnTo>
                <a:lnTo>
                  <a:pt x="3442" y="854"/>
                </a:lnTo>
                <a:lnTo>
                  <a:pt x="3436" y="854"/>
                </a:lnTo>
                <a:lnTo>
                  <a:pt x="3436" y="854"/>
                </a:lnTo>
                <a:lnTo>
                  <a:pt x="3442" y="854"/>
                </a:lnTo>
                <a:lnTo>
                  <a:pt x="3446" y="852"/>
                </a:lnTo>
                <a:lnTo>
                  <a:pt x="3446" y="852"/>
                </a:lnTo>
                <a:lnTo>
                  <a:pt x="3446" y="852"/>
                </a:lnTo>
                <a:lnTo>
                  <a:pt x="3446" y="852"/>
                </a:lnTo>
                <a:close/>
                <a:moveTo>
                  <a:pt x="3426" y="842"/>
                </a:moveTo>
                <a:lnTo>
                  <a:pt x="3426" y="842"/>
                </a:lnTo>
                <a:lnTo>
                  <a:pt x="3432" y="844"/>
                </a:lnTo>
                <a:lnTo>
                  <a:pt x="3436" y="842"/>
                </a:lnTo>
                <a:lnTo>
                  <a:pt x="3438" y="842"/>
                </a:lnTo>
                <a:lnTo>
                  <a:pt x="3438" y="838"/>
                </a:lnTo>
                <a:lnTo>
                  <a:pt x="3438" y="838"/>
                </a:lnTo>
                <a:lnTo>
                  <a:pt x="3438" y="838"/>
                </a:lnTo>
                <a:lnTo>
                  <a:pt x="3438" y="838"/>
                </a:lnTo>
                <a:lnTo>
                  <a:pt x="3438" y="842"/>
                </a:lnTo>
                <a:lnTo>
                  <a:pt x="3436" y="844"/>
                </a:lnTo>
                <a:lnTo>
                  <a:pt x="3432" y="844"/>
                </a:lnTo>
                <a:lnTo>
                  <a:pt x="3426" y="842"/>
                </a:lnTo>
                <a:lnTo>
                  <a:pt x="3426" y="842"/>
                </a:lnTo>
                <a:lnTo>
                  <a:pt x="3426" y="842"/>
                </a:lnTo>
                <a:lnTo>
                  <a:pt x="3426" y="842"/>
                </a:lnTo>
                <a:close/>
                <a:moveTo>
                  <a:pt x="3422" y="846"/>
                </a:moveTo>
                <a:lnTo>
                  <a:pt x="3422" y="846"/>
                </a:lnTo>
                <a:lnTo>
                  <a:pt x="3428" y="850"/>
                </a:lnTo>
                <a:lnTo>
                  <a:pt x="3428" y="850"/>
                </a:lnTo>
                <a:lnTo>
                  <a:pt x="3428" y="850"/>
                </a:lnTo>
                <a:lnTo>
                  <a:pt x="3428" y="850"/>
                </a:lnTo>
                <a:lnTo>
                  <a:pt x="3422" y="846"/>
                </a:lnTo>
                <a:lnTo>
                  <a:pt x="3422" y="846"/>
                </a:lnTo>
                <a:lnTo>
                  <a:pt x="3406" y="850"/>
                </a:lnTo>
                <a:lnTo>
                  <a:pt x="3406" y="850"/>
                </a:lnTo>
                <a:lnTo>
                  <a:pt x="3406" y="850"/>
                </a:lnTo>
                <a:lnTo>
                  <a:pt x="3406" y="850"/>
                </a:lnTo>
                <a:lnTo>
                  <a:pt x="3422" y="846"/>
                </a:lnTo>
                <a:lnTo>
                  <a:pt x="3422" y="846"/>
                </a:lnTo>
                <a:close/>
                <a:moveTo>
                  <a:pt x="3422" y="870"/>
                </a:moveTo>
                <a:lnTo>
                  <a:pt x="3422" y="870"/>
                </a:lnTo>
                <a:lnTo>
                  <a:pt x="3424" y="872"/>
                </a:lnTo>
                <a:lnTo>
                  <a:pt x="3424" y="872"/>
                </a:lnTo>
                <a:lnTo>
                  <a:pt x="3422" y="874"/>
                </a:lnTo>
                <a:lnTo>
                  <a:pt x="3422" y="874"/>
                </a:lnTo>
                <a:lnTo>
                  <a:pt x="3422" y="874"/>
                </a:lnTo>
                <a:lnTo>
                  <a:pt x="3422" y="874"/>
                </a:lnTo>
                <a:lnTo>
                  <a:pt x="3424" y="872"/>
                </a:lnTo>
                <a:lnTo>
                  <a:pt x="3424" y="872"/>
                </a:lnTo>
                <a:lnTo>
                  <a:pt x="3422" y="870"/>
                </a:lnTo>
                <a:lnTo>
                  <a:pt x="3422" y="870"/>
                </a:lnTo>
                <a:close/>
                <a:moveTo>
                  <a:pt x="3406" y="938"/>
                </a:moveTo>
                <a:lnTo>
                  <a:pt x="3406" y="938"/>
                </a:lnTo>
                <a:lnTo>
                  <a:pt x="3414" y="938"/>
                </a:lnTo>
                <a:lnTo>
                  <a:pt x="3420" y="940"/>
                </a:lnTo>
                <a:lnTo>
                  <a:pt x="3434" y="944"/>
                </a:lnTo>
                <a:lnTo>
                  <a:pt x="3434" y="944"/>
                </a:lnTo>
                <a:lnTo>
                  <a:pt x="3436" y="946"/>
                </a:lnTo>
                <a:lnTo>
                  <a:pt x="3434" y="948"/>
                </a:lnTo>
                <a:lnTo>
                  <a:pt x="3434" y="948"/>
                </a:lnTo>
                <a:lnTo>
                  <a:pt x="3432" y="950"/>
                </a:lnTo>
                <a:lnTo>
                  <a:pt x="3428" y="950"/>
                </a:lnTo>
                <a:lnTo>
                  <a:pt x="3428" y="950"/>
                </a:lnTo>
                <a:lnTo>
                  <a:pt x="3424" y="948"/>
                </a:lnTo>
                <a:lnTo>
                  <a:pt x="3422" y="944"/>
                </a:lnTo>
                <a:lnTo>
                  <a:pt x="3422" y="944"/>
                </a:lnTo>
                <a:lnTo>
                  <a:pt x="3412" y="948"/>
                </a:lnTo>
                <a:lnTo>
                  <a:pt x="3408" y="950"/>
                </a:lnTo>
                <a:lnTo>
                  <a:pt x="3404" y="948"/>
                </a:lnTo>
                <a:lnTo>
                  <a:pt x="3404" y="948"/>
                </a:lnTo>
                <a:lnTo>
                  <a:pt x="3402" y="946"/>
                </a:lnTo>
                <a:lnTo>
                  <a:pt x="3400" y="942"/>
                </a:lnTo>
                <a:lnTo>
                  <a:pt x="3400" y="942"/>
                </a:lnTo>
                <a:lnTo>
                  <a:pt x="3414" y="944"/>
                </a:lnTo>
                <a:lnTo>
                  <a:pt x="3414" y="944"/>
                </a:lnTo>
                <a:lnTo>
                  <a:pt x="3406" y="938"/>
                </a:lnTo>
                <a:lnTo>
                  <a:pt x="3406" y="938"/>
                </a:lnTo>
                <a:close/>
                <a:moveTo>
                  <a:pt x="3430" y="960"/>
                </a:moveTo>
                <a:lnTo>
                  <a:pt x="3430" y="960"/>
                </a:lnTo>
                <a:lnTo>
                  <a:pt x="3428" y="958"/>
                </a:lnTo>
                <a:lnTo>
                  <a:pt x="3428" y="958"/>
                </a:lnTo>
                <a:lnTo>
                  <a:pt x="3430" y="960"/>
                </a:lnTo>
                <a:lnTo>
                  <a:pt x="3430" y="960"/>
                </a:lnTo>
                <a:lnTo>
                  <a:pt x="3430" y="962"/>
                </a:lnTo>
                <a:lnTo>
                  <a:pt x="3430" y="962"/>
                </a:lnTo>
                <a:lnTo>
                  <a:pt x="3422" y="962"/>
                </a:lnTo>
                <a:lnTo>
                  <a:pt x="3422" y="962"/>
                </a:lnTo>
                <a:lnTo>
                  <a:pt x="3422" y="962"/>
                </a:lnTo>
                <a:lnTo>
                  <a:pt x="3422" y="962"/>
                </a:lnTo>
                <a:lnTo>
                  <a:pt x="3430" y="962"/>
                </a:lnTo>
                <a:lnTo>
                  <a:pt x="3430" y="962"/>
                </a:lnTo>
                <a:lnTo>
                  <a:pt x="3430" y="960"/>
                </a:lnTo>
                <a:lnTo>
                  <a:pt x="3430" y="960"/>
                </a:lnTo>
                <a:close/>
                <a:moveTo>
                  <a:pt x="3356" y="316"/>
                </a:moveTo>
                <a:lnTo>
                  <a:pt x="3356" y="316"/>
                </a:lnTo>
                <a:lnTo>
                  <a:pt x="3362" y="318"/>
                </a:lnTo>
                <a:lnTo>
                  <a:pt x="3362" y="318"/>
                </a:lnTo>
                <a:lnTo>
                  <a:pt x="3360" y="318"/>
                </a:lnTo>
                <a:lnTo>
                  <a:pt x="3360" y="318"/>
                </a:lnTo>
                <a:lnTo>
                  <a:pt x="3360" y="318"/>
                </a:lnTo>
                <a:lnTo>
                  <a:pt x="3360" y="318"/>
                </a:lnTo>
                <a:lnTo>
                  <a:pt x="3362" y="318"/>
                </a:lnTo>
                <a:lnTo>
                  <a:pt x="3362" y="318"/>
                </a:lnTo>
                <a:lnTo>
                  <a:pt x="3356" y="316"/>
                </a:lnTo>
                <a:lnTo>
                  <a:pt x="3356" y="316"/>
                </a:lnTo>
                <a:lnTo>
                  <a:pt x="3356" y="316"/>
                </a:lnTo>
                <a:lnTo>
                  <a:pt x="3356" y="316"/>
                </a:lnTo>
                <a:close/>
                <a:moveTo>
                  <a:pt x="3336" y="974"/>
                </a:moveTo>
                <a:lnTo>
                  <a:pt x="3336" y="974"/>
                </a:lnTo>
                <a:lnTo>
                  <a:pt x="3342" y="968"/>
                </a:lnTo>
                <a:lnTo>
                  <a:pt x="3342" y="968"/>
                </a:lnTo>
                <a:lnTo>
                  <a:pt x="3340" y="974"/>
                </a:lnTo>
                <a:lnTo>
                  <a:pt x="3340" y="974"/>
                </a:lnTo>
                <a:lnTo>
                  <a:pt x="3336" y="974"/>
                </a:lnTo>
                <a:lnTo>
                  <a:pt x="3336" y="974"/>
                </a:lnTo>
                <a:close/>
                <a:moveTo>
                  <a:pt x="3370" y="998"/>
                </a:moveTo>
                <a:lnTo>
                  <a:pt x="3370" y="998"/>
                </a:lnTo>
                <a:lnTo>
                  <a:pt x="3364" y="1000"/>
                </a:lnTo>
                <a:lnTo>
                  <a:pt x="3364" y="1000"/>
                </a:lnTo>
                <a:lnTo>
                  <a:pt x="3364" y="1000"/>
                </a:lnTo>
                <a:lnTo>
                  <a:pt x="3364" y="1000"/>
                </a:lnTo>
                <a:lnTo>
                  <a:pt x="3370" y="998"/>
                </a:lnTo>
                <a:lnTo>
                  <a:pt x="3370" y="998"/>
                </a:lnTo>
                <a:lnTo>
                  <a:pt x="3370" y="998"/>
                </a:lnTo>
                <a:lnTo>
                  <a:pt x="3370" y="998"/>
                </a:lnTo>
                <a:lnTo>
                  <a:pt x="3370" y="998"/>
                </a:lnTo>
                <a:lnTo>
                  <a:pt x="3370" y="998"/>
                </a:lnTo>
                <a:lnTo>
                  <a:pt x="3370" y="998"/>
                </a:lnTo>
                <a:lnTo>
                  <a:pt x="3370" y="998"/>
                </a:lnTo>
                <a:close/>
                <a:moveTo>
                  <a:pt x="3390" y="942"/>
                </a:moveTo>
                <a:lnTo>
                  <a:pt x="3390" y="942"/>
                </a:lnTo>
                <a:lnTo>
                  <a:pt x="3390" y="940"/>
                </a:lnTo>
                <a:lnTo>
                  <a:pt x="3390" y="940"/>
                </a:lnTo>
                <a:lnTo>
                  <a:pt x="3398" y="940"/>
                </a:lnTo>
                <a:lnTo>
                  <a:pt x="3398" y="940"/>
                </a:lnTo>
                <a:lnTo>
                  <a:pt x="3398" y="938"/>
                </a:lnTo>
                <a:lnTo>
                  <a:pt x="3398" y="938"/>
                </a:lnTo>
                <a:lnTo>
                  <a:pt x="3398" y="938"/>
                </a:lnTo>
                <a:lnTo>
                  <a:pt x="3398" y="938"/>
                </a:lnTo>
                <a:lnTo>
                  <a:pt x="3398" y="940"/>
                </a:lnTo>
                <a:lnTo>
                  <a:pt x="3398" y="940"/>
                </a:lnTo>
                <a:lnTo>
                  <a:pt x="3398" y="940"/>
                </a:lnTo>
                <a:lnTo>
                  <a:pt x="3390" y="942"/>
                </a:lnTo>
                <a:lnTo>
                  <a:pt x="3390" y="942"/>
                </a:lnTo>
                <a:close/>
                <a:moveTo>
                  <a:pt x="3406" y="974"/>
                </a:moveTo>
                <a:lnTo>
                  <a:pt x="3406" y="974"/>
                </a:lnTo>
                <a:lnTo>
                  <a:pt x="3414" y="976"/>
                </a:lnTo>
                <a:lnTo>
                  <a:pt x="3414" y="976"/>
                </a:lnTo>
                <a:lnTo>
                  <a:pt x="3422" y="978"/>
                </a:lnTo>
                <a:lnTo>
                  <a:pt x="3432" y="978"/>
                </a:lnTo>
                <a:lnTo>
                  <a:pt x="3432" y="978"/>
                </a:lnTo>
                <a:lnTo>
                  <a:pt x="3442" y="978"/>
                </a:lnTo>
                <a:lnTo>
                  <a:pt x="3442" y="978"/>
                </a:lnTo>
                <a:lnTo>
                  <a:pt x="3442" y="982"/>
                </a:lnTo>
                <a:lnTo>
                  <a:pt x="3442" y="986"/>
                </a:lnTo>
                <a:lnTo>
                  <a:pt x="3446" y="988"/>
                </a:lnTo>
                <a:lnTo>
                  <a:pt x="3452" y="990"/>
                </a:lnTo>
                <a:lnTo>
                  <a:pt x="3452" y="990"/>
                </a:lnTo>
                <a:lnTo>
                  <a:pt x="3450" y="994"/>
                </a:lnTo>
                <a:lnTo>
                  <a:pt x="3450" y="998"/>
                </a:lnTo>
                <a:lnTo>
                  <a:pt x="3450" y="998"/>
                </a:lnTo>
                <a:lnTo>
                  <a:pt x="3406" y="974"/>
                </a:lnTo>
                <a:lnTo>
                  <a:pt x="3406" y="974"/>
                </a:lnTo>
                <a:close/>
                <a:moveTo>
                  <a:pt x="3432" y="996"/>
                </a:moveTo>
                <a:lnTo>
                  <a:pt x="3432" y="996"/>
                </a:lnTo>
                <a:lnTo>
                  <a:pt x="3432" y="996"/>
                </a:lnTo>
                <a:lnTo>
                  <a:pt x="3432" y="996"/>
                </a:lnTo>
                <a:lnTo>
                  <a:pt x="3436" y="1000"/>
                </a:lnTo>
                <a:lnTo>
                  <a:pt x="3436" y="1000"/>
                </a:lnTo>
                <a:lnTo>
                  <a:pt x="3434" y="1002"/>
                </a:lnTo>
                <a:lnTo>
                  <a:pt x="3434" y="1002"/>
                </a:lnTo>
                <a:lnTo>
                  <a:pt x="3434" y="1002"/>
                </a:lnTo>
                <a:lnTo>
                  <a:pt x="3434" y="1002"/>
                </a:lnTo>
                <a:lnTo>
                  <a:pt x="3436" y="1000"/>
                </a:lnTo>
                <a:lnTo>
                  <a:pt x="3436" y="1000"/>
                </a:lnTo>
                <a:lnTo>
                  <a:pt x="3432" y="996"/>
                </a:lnTo>
                <a:lnTo>
                  <a:pt x="3432" y="996"/>
                </a:lnTo>
                <a:close/>
                <a:moveTo>
                  <a:pt x="3442" y="1002"/>
                </a:moveTo>
                <a:lnTo>
                  <a:pt x="3442" y="1002"/>
                </a:lnTo>
                <a:lnTo>
                  <a:pt x="3442" y="1002"/>
                </a:lnTo>
                <a:lnTo>
                  <a:pt x="3442" y="1002"/>
                </a:lnTo>
                <a:lnTo>
                  <a:pt x="3446" y="1004"/>
                </a:lnTo>
                <a:lnTo>
                  <a:pt x="3446" y="1004"/>
                </a:lnTo>
                <a:lnTo>
                  <a:pt x="3444" y="1004"/>
                </a:lnTo>
                <a:lnTo>
                  <a:pt x="3444" y="1004"/>
                </a:lnTo>
                <a:lnTo>
                  <a:pt x="3444" y="1004"/>
                </a:lnTo>
                <a:lnTo>
                  <a:pt x="3444" y="1004"/>
                </a:lnTo>
                <a:lnTo>
                  <a:pt x="3444" y="1004"/>
                </a:lnTo>
                <a:lnTo>
                  <a:pt x="3444" y="1004"/>
                </a:lnTo>
                <a:lnTo>
                  <a:pt x="3442" y="1002"/>
                </a:lnTo>
                <a:lnTo>
                  <a:pt x="3442" y="1002"/>
                </a:lnTo>
                <a:close/>
                <a:moveTo>
                  <a:pt x="3434" y="1018"/>
                </a:moveTo>
                <a:lnTo>
                  <a:pt x="3434" y="1018"/>
                </a:lnTo>
                <a:lnTo>
                  <a:pt x="3450" y="1014"/>
                </a:lnTo>
                <a:lnTo>
                  <a:pt x="3450" y="1014"/>
                </a:lnTo>
                <a:lnTo>
                  <a:pt x="3450" y="1018"/>
                </a:lnTo>
                <a:lnTo>
                  <a:pt x="3450" y="1018"/>
                </a:lnTo>
                <a:lnTo>
                  <a:pt x="3452" y="1026"/>
                </a:lnTo>
                <a:lnTo>
                  <a:pt x="3444" y="1026"/>
                </a:lnTo>
                <a:lnTo>
                  <a:pt x="3444" y="1026"/>
                </a:lnTo>
                <a:lnTo>
                  <a:pt x="3442" y="1030"/>
                </a:lnTo>
                <a:lnTo>
                  <a:pt x="3442" y="1030"/>
                </a:lnTo>
                <a:lnTo>
                  <a:pt x="3440" y="1028"/>
                </a:lnTo>
                <a:lnTo>
                  <a:pt x="3440" y="1028"/>
                </a:lnTo>
                <a:lnTo>
                  <a:pt x="3440" y="1028"/>
                </a:lnTo>
                <a:lnTo>
                  <a:pt x="3440" y="1024"/>
                </a:lnTo>
                <a:lnTo>
                  <a:pt x="3438" y="1022"/>
                </a:lnTo>
                <a:lnTo>
                  <a:pt x="3434" y="1018"/>
                </a:lnTo>
                <a:lnTo>
                  <a:pt x="3434" y="1018"/>
                </a:lnTo>
                <a:close/>
                <a:moveTo>
                  <a:pt x="3486" y="1020"/>
                </a:moveTo>
                <a:lnTo>
                  <a:pt x="3486" y="1020"/>
                </a:lnTo>
                <a:lnTo>
                  <a:pt x="3486" y="1018"/>
                </a:lnTo>
                <a:lnTo>
                  <a:pt x="3486" y="1018"/>
                </a:lnTo>
                <a:lnTo>
                  <a:pt x="3486" y="1020"/>
                </a:lnTo>
                <a:lnTo>
                  <a:pt x="3486" y="1020"/>
                </a:lnTo>
                <a:lnTo>
                  <a:pt x="3486" y="1020"/>
                </a:lnTo>
                <a:lnTo>
                  <a:pt x="3486" y="1020"/>
                </a:lnTo>
                <a:close/>
                <a:moveTo>
                  <a:pt x="3550" y="1038"/>
                </a:moveTo>
                <a:lnTo>
                  <a:pt x="3550" y="1038"/>
                </a:lnTo>
                <a:lnTo>
                  <a:pt x="3554" y="1040"/>
                </a:lnTo>
                <a:lnTo>
                  <a:pt x="3558" y="1040"/>
                </a:lnTo>
                <a:lnTo>
                  <a:pt x="3558" y="1040"/>
                </a:lnTo>
                <a:lnTo>
                  <a:pt x="3558" y="1040"/>
                </a:lnTo>
                <a:lnTo>
                  <a:pt x="3558" y="1040"/>
                </a:lnTo>
                <a:lnTo>
                  <a:pt x="3554" y="1040"/>
                </a:lnTo>
                <a:lnTo>
                  <a:pt x="3550" y="1038"/>
                </a:lnTo>
                <a:lnTo>
                  <a:pt x="3550" y="1038"/>
                </a:lnTo>
                <a:close/>
                <a:moveTo>
                  <a:pt x="3584" y="1032"/>
                </a:moveTo>
                <a:lnTo>
                  <a:pt x="3584" y="1032"/>
                </a:lnTo>
                <a:lnTo>
                  <a:pt x="3576" y="1034"/>
                </a:lnTo>
                <a:lnTo>
                  <a:pt x="3576" y="1034"/>
                </a:lnTo>
                <a:lnTo>
                  <a:pt x="3548" y="1038"/>
                </a:lnTo>
                <a:lnTo>
                  <a:pt x="3548" y="1038"/>
                </a:lnTo>
                <a:lnTo>
                  <a:pt x="3548" y="1010"/>
                </a:lnTo>
                <a:lnTo>
                  <a:pt x="3548" y="1010"/>
                </a:lnTo>
                <a:lnTo>
                  <a:pt x="3530" y="1008"/>
                </a:lnTo>
                <a:lnTo>
                  <a:pt x="3530" y="1008"/>
                </a:lnTo>
                <a:lnTo>
                  <a:pt x="3530" y="1008"/>
                </a:lnTo>
                <a:lnTo>
                  <a:pt x="3530" y="1008"/>
                </a:lnTo>
                <a:lnTo>
                  <a:pt x="3540" y="1008"/>
                </a:lnTo>
                <a:lnTo>
                  <a:pt x="3548" y="1008"/>
                </a:lnTo>
                <a:lnTo>
                  <a:pt x="3548" y="1008"/>
                </a:lnTo>
                <a:lnTo>
                  <a:pt x="3548" y="1000"/>
                </a:lnTo>
                <a:lnTo>
                  <a:pt x="3548" y="1000"/>
                </a:lnTo>
                <a:lnTo>
                  <a:pt x="3554" y="1000"/>
                </a:lnTo>
                <a:lnTo>
                  <a:pt x="3554" y="1000"/>
                </a:lnTo>
                <a:lnTo>
                  <a:pt x="3556" y="1010"/>
                </a:lnTo>
                <a:lnTo>
                  <a:pt x="3556" y="1010"/>
                </a:lnTo>
                <a:lnTo>
                  <a:pt x="3552" y="1010"/>
                </a:lnTo>
                <a:lnTo>
                  <a:pt x="3552" y="1010"/>
                </a:lnTo>
                <a:lnTo>
                  <a:pt x="3558" y="1014"/>
                </a:lnTo>
                <a:lnTo>
                  <a:pt x="3558" y="1014"/>
                </a:lnTo>
                <a:lnTo>
                  <a:pt x="3560" y="1014"/>
                </a:lnTo>
                <a:lnTo>
                  <a:pt x="3560" y="1014"/>
                </a:lnTo>
                <a:lnTo>
                  <a:pt x="3560" y="1016"/>
                </a:lnTo>
                <a:lnTo>
                  <a:pt x="3560" y="1016"/>
                </a:lnTo>
                <a:lnTo>
                  <a:pt x="3552" y="1018"/>
                </a:lnTo>
                <a:lnTo>
                  <a:pt x="3552" y="1018"/>
                </a:lnTo>
                <a:lnTo>
                  <a:pt x="3548" y="1020"/>
                </a:lnTo>
                <a:lnTo>
                  <a:pt x="3548" y="1020"/>
                </a:lnTo>
                <a:lnTo>
                  <a:pt x="3556" y="1022"/>
                </a:lnTo>
                <a:lnTo>
                  <a:pt x="3562" y="1024"/>
                </a:lnTo>
                <a:lnTo>
                  <a:pt x="3562" y="1024"/>
                </a:lnTo>
                <a:lnTo>
                  <a:pt x="3568" y="1026"/>
                </a:lnTo>
                <a:lnTo>
                  <a:pt x="3574" y="1026"/>
                </a:lnTo>
                <a:lnTo>
                  <a:pt x="3574" y="1026"/>
                </a:lnTo>
                <a:lnTo>
                  <a:pt x="3576" y="1022"/>
                </a:lnTo>
                <a:lnTo>
                  <a:pt x="3580" y="1022"/>
                </a:lnTo>
                <a:lnTo>
                  <a:pt x="3580" y="1022"/>
                </a:lnTo>
                <a:lnTo>
                  <a:pt x="3586" y="1024"/>
                </a:lnTo>
                <a:lnTo>
                  <a:pt x="3586" y="1024"/>
                </a:lnTo>
                <a:lnTo>
                  <a:pt x="3588" y="1028"/>
                </a:lnTo>
                <a:lnTo>
                  <a:pt x="3590" y="1030"/>
                </a:lnTo>
                <a:lnTo>
                  <a:pt x="3588" y="1032"/>
                </a:lnTo>
                <a:lnTo>
                  <a:pt x="3584" y="1032"/>
                </a:lnTo>
                <a:lnTo>
                  <a:pt x="3584" y="1032"/>
                </a:lnTo>
                <a:close/>
                <a:moveTo>
                  <a:pt x="3564" y="1002"/>
                </a:moveTo>
                <a:lnTo>
                  <a:pt x="3564" y="1002"/>
                </a:lnTo>
                <a:lnTo>
                  <a:pt x="3564" y="1002"/>
                </a:lnTo>
                <a:lnTo>
                  <a:pt x="3564" y="1002"/>
                </a:lnTo>
                <a:lnTo>
                  <a:pt x="3566" y="1004"/>
                </a:lnTo>
                <a:lnTo>
                  <a:pt x="3566" y="1004"/>
                </a:lnTo>
                <a:lnTo>
                  <a:pt x="3564" y="1006"/>
                </a:lnTo>
                <a:lnTo>
                  <a:pt x="3564" y="1006"/>
                </a:lnTo>
                <a:lnTo>
                  <a:pt x="3564" y="1006"/>
                </a:lnTo>
                <a:lnTo>
                  <a:pt x="3564" y="1006"/>
                </a:lnTo>
                <a:lnTo>
                  <a:pt x="3566" y="1004"/>
                </a:lnTo>
                <a:lnTo>
                  <a:pt x="3566" y="1004"/>
                </a:lnTo>
                <a:lnTo>
                  <a:pt x="3564" y="1002"/>
                </a:lnTo>
                <a:lnTo>
                  <a:pt x="3564" y="1002"/>
                </a:lnTo>
                <a:close/>
                <a:moveTo>
                  <a:pt x="3590" y="1016"/>
                </a:moveTo>
                <a:lnTo>
                  <a:pt x="3590" y="1016"/>
                </a:lnTo>
                <a:lnTo>
                  <a:pt x="3582" y="1018"/>
                </a:lnTo>
                <a:lnTo>
                  <a:pt x="3582" y="1012"/>
                </a:lnTo>
                <a:lnTo>
                  <a:pt x="3582" y="1012"/>
                </a:lnTo>
                <a:lnTo>
                  <a:pt x="3568" y="1010"/>
                </a:lnTo>
                <a:lnTo>
                  <a:pt x="3568" y="1010"/>
                </a:lnTo>
                <a:lnTo>
                  <a:pt x="3568" y="1008"/>
                </a:lnTo>
                <a:lnTo>
                  <a:pt x="3568" y="1008"/>
                </a:lnTo>
                <a:lnTo>
                  <a:pt x="3584" y="1004"/>
                </a:lnTo>
                <a:lnTo>
                  <a:pt x="3584" y="1004"/>
                </a:lnTo>
                <a:lnTo>
                  <a:pt x="3580" y="1000"/>
                </a:lnTo>
                <a:lnTo>
                  <a:pt x="3580" y="1000"/>
                </a:lnTo>
                <a:lnTo>
                  <a:pt x="3590" y="996"/>
                </a:lnTo>
                <a:lnTo>
                  <a:pt x="3590" y="996"/>
                </a:lnTo>
                <a:lnTo>
                  <a:pt x="3598" y="1000"/>
                </a:lnTo>
                <a:lnTo>
                  <a:pt x="3598" y="1000"/>
                </a:lnTo>
                <a:lnTo>
                  <a:pt x="3606" y="1002"/>
                </a:lnTo>
                <a:lnTo>
                  <a:pt x="3606" y="1002"/>
                </a:lnTo>
                <a:lnTo>
                  <a:pt x="3602" y="1006"/>
                </a:lnTo>
                <a:lnTo>
                  <a:pt x="3602" y="1006"/>
                </a:lnTo>
                <a:lnTo>
                  <a:pt x="3602" y="1008"/>
                </a:lnTo>
                <a:lnTo>
                  <a:pt x="3602" y="1008"/>
                </a:lnTo>
                <a:lnTo>
                  <a:pt x="3604" y="1010"/>
                </a:lnTo>
                <a:lnTo>
                  <a:pt x="3604" y="1010"/>
                </a:lnTo>
                <a:lnTo>
                  <a:pt x="3608" y="1010"/>
                </a:lnTo>
                <a:lnTo>
                  <a:pt x="3612" y="1012"/>
                </a:lnTo>
                <a:lnTo>
                  <a:pt x="3612" y="1012"/>
                </a:lnTo>
                <a:lnTo>
                  <a:pt x="3612" y="1012"/>
                </a:lnTo>
                <a:lnTo>
                  <a:pt x="3612" y="1012"/>
                </a:lnTo>
                <a:lnTo>
                  <a:pt x="3608" y="1010"/>
                </a:lnTo>
                <a:lnTo>
                  <a:pt x="3604" y="1010"/>
                </a:lnTo>
                <a:lnTo>
                  <a:pt x="3604" y="1010"/>
                </a:lnTo>
                <a:lnTo>
                  <a:pt x="3608" y="1012"/>
                </a:lnTo>
                <a:lnTo>
                  <a:pt x="3608" y="1012"/>
                </a:lnTo>
                <a:lnTo>
                  <a:pt x="3600" y="1014"/>
                </a:lnTo>
                <a:lnTo>
                  <a:pt x="3600" y="1014"/>
                </a:lnTo>
                <a:lnTo>
                  <a:pt x="3590" y="1016"/>
                </a:lnTo>
                <a:lnTo>
                  <a:pt x="3590" y="1016"/>
                </a:lnTo>
                <a:close/>
                <a:moveTo>
                  <a:pt x="3592" y="990"/>
                </a:moveTo>
                <a:lnTo>
                  <a:pt x="3592" y="990"/>
                </a:lnTo>
                <a:lnTo>
                  <a:pt x="3588" y="990"/>
                </a:lnTo>
                <a:lnTo>
                  <a:pt x="3588" y="990"/>
                </a:lnTo>
                <a:lnTo>
                  <a:pt x="3592" y="990"/>
                </a:lnTo>
                <a:lnTo>
                  <a:pt x="3592" y="990"/>
                </a:lnTo>
                <a:lnTo>
                  <a:pt x="3604" y="990"/>
                </a:lnTo>
                <a:lnTo>
                  <a:pt x="3604" y="990"/>
                </a:lnTo>
                <a:lnTo>
                  <a:pt x="3594" y="996"/>
                </a:lnTo>
                <a:lnTo>
                  <a:pt x="3594" y="996"/>
                </a:lnTo>
                <a:lnTo>
                  <a:pt x="3594" y="996"/>
                </a:lnTo>
                <a:lnTo>
                  <a:pt x="3594" y="996"/>
                </a:lnTo>
                <a:lnTo>
                  <a:pt x="3604" y="990"/>
                </a:lnTo>
                <a:lnTo>
                  <a:pt x="3604" y="990"/>
                </a:lnTo>
                <a:lnTo>
                  <a:pt x="3592" y="990"/>
                </a:lnTo>
                <a:lnTo>
                  <a:pt x="3592" y="990"/>
                </a:lnTo>
                <a:close/>
                <a:moveTo>
                  <a:pt x="3602" y="1034"/>
                </a:moveTo>
                <a:lnTo>
                  <a:pt x="3602" y="1034"/>
                </a:lnTo>
                <a:lnTo>
                  <a:pt x="3602" y="1034"/>
                </a:lnTo>
                <a:lnTo>
                  <a:pt x="3602" y="1034"/>
                </a:lnTo>
                <a:lnTo>
                  <a:pt x="3614" y="1032"/>
                </a:lnTo>
                <a:lnTo>
                  <a:pt x="3616" y="1028"/>
                </a:lnTo>
                <a:lnTo>
                  <a:pt x="3616" y="1024"/>
                </a:lnTo>
                <a:lnTo>
                  <a:pt x="3616" y="1024"/>
                </a:lnTo>
                <a:lnTo>
                  <a:pt x="3616" y="1024"/>
                </a:lnTo>
                <a:lnTo>
                  <a:pt x="3616" y="1024"/>
                </a:lnTo>
                <a:lnTo>
                  <a:pt x="3616" y="1028"/>
                </a:lnTo>
                <a:lnTo>
                  <a:pt x="3614" y="1032"/>
                </a:lnTo>
                <a:lnTo>
                  <a:pt x="3602" y="1034"/>
                </a:lnTo>
                <a:lnTo>
                  <a:pt x="3602" y="1034"/>
                </a:lnTo>
                <a:close/>
                <a:moveTo>
                  <a:pt x="3616" y="1024"/>
                </a:moveTo>
                <a:lnTo>
                  <a:pt x="3616" y="1024"/>
                </a:lnTo>
                <a:lnTo>
                  <a:pt x="3616" y="1024"/>
                </a:lnTo>
                <a:lnTo>
                  <a:pt x="3616" y="1024"/>
                </a:lnTo>
                <a:lnTo>
                  <a:pt x="3618" y="1022"/>
                </a:lnTo>
                <a:lnTo>
                  <a:pt x="3618" y="1022"/>
                </a:lnTo>
                <a:lnTo>
                  <a:pt x="3616" y="1020"/>
                </a:lnTo>
                <a:lnTo>
                  <a:pt x="3616" y="1020"/>
                </a:lnTo>
                <a:lnTo>
                  <a:pt x="3616" y="1020"/>
                </a:lnTo>
                <a:lnTo>
                  <a:pt x="3616" y="1020"/>
                </a:lnTo>
                <a:lnTo>
                  <a:pt x="3618" y="1022"/>
                </a:lnTo>
                <a:lnTo>
                  <a:pt x="3618" y="1022"/>
                </a:lnTo>
                <a:lnTo>
                  <a:pt x="3616" y="1024"/>
                </a:lnTo>
                <a:lnTo>
                  <a:pt x="3616" y="1024"/>
                </a:lnTo>
                <a:close/>
                <a:moveTo>
                  <a:pt x="3636" y="1050"/>
                </a:moveTo>
                <a:lnTo>
                  <a:pt x="3636" y="1050"/>
                </a:lnTo>
                <a:lnTo>
                  <a:pt x="3632" y="1044"/>
                </a:lnTo>
                <a:lnTo>
                  <a:pt x="3632" y="1044"/>
                </a:lnTo>
                <a:lnTo>
                  <a:pt x="3632" y="1044"/>
                </a:lnTo>
                <a:lnTo>
                  <a:pt x="3632" y="1044"/>
                </a:lnTo>
                <a:lnTo>
                  <a:pt x="3636" y="1048"/>
                </a:lnTo>
                <a:lnTo>
                  <a:pt x="3636" y="1048"/>
                </a:lnTo>
                <a:lnTo>
                  <a:pt x="3636" y="1050"/>
                </a:lnTo>
                <a:lnTo>
                  <a:pt x="3636" y="1050"/>
                </a:lnTo>
                <a:close/>
                <a:moveTo>
                  <a:pt x="3640" y="1042"/>
                </a:moveTo>
                <a:lnTo>
                  <a:pt x="3640" y="1042"/>
                </a:lnTo>
                <a:lnTo>
                  <a:pt x="3638" y="1040"/>
                </a:lnTo>
                <a:lnTo>
                  <a:pt x="3634" y="1038"/>
                </a:lnTo>
                <a:lnTo>
                  <a:pt x="3624" y="1038"/>
                </a:lnTo>
                <a:lnTo>
                  <a:pt x="3624" y="1038"/>
                </a:lnTo>
                <a:lnTo>
                  <a:pt x="3622" y="1040"/>
                </a:lnTo>
                <a:lnTo>
                  <a:pt x="3618" y="1042"/>
                </a:lnTo>
                <a:lnTo>
                  <a:pt x="3618" y="1042"/>
                </a:lnTo>
                <a:lnTo>
                  <a:pt x="3618" y="1042"/>
                </a:lnTo>
                <a:lnTo>
                  <a:pt x="3618" y="1042"/>
                </a:lnTo>
                <a:lnTo>
                  <a:pt x="3622" y="1040"/>
                </a:lnTo>
                <a:lnTo>
                  <a:pt x="3624" y="1038"/>
                </a:lnTo>
                <a:lnTo>
                  <a:pt x="3624" y="1038"/>
                </a:lnTo>
                <a:lnTo>
                  <a:pt x="3634" y="1038"/>
                </a:lnTo>
                <a:lnTo>
                  <a:pt x="3638" y="1040"/>
                </a:lnTo>
                <a:lnTo>
                  <a:pt x="3640" y="1042"/>
                </a:lnTo>
                <a:lnTo>
                  <a:pt x="3640" y="1042"/>
                </a:lnTo>
                <a:lnTo>
                  <a:pt x="3640" y="1042"/>
                </a:lnTo>
                <a:lnTo>
                  <a:pt x="3640" y="1042"/>
                </a:lnTo>
                <a:close/>
                <a:moveTo>
                  <a:pt x="3640" y="1000"/>
                </a:moveTo>
                <a:lnTo>
                  <a:pt x="3640" y="1000"/>
                </a:lnTo>
                <a:lnTo>
                  <a:pt x="3636" y="1002"/>
                </a:lnTo>
                <a:lnTo>
                  <a:pt x="3634" y="1002"/>
                </a:lnTo>
                <a:lnTo>
                  <a:pt x="3628" y="1002"/>
                </a:lnTo>
                <a:lnTo>
                  <a:pt x="3628" y="1002"/>
                </a:lnTo>
                <a:lnTo>
                  <a:pt x="3630" y="1000"/>
                </a:lnTo>
                <a:lnTo>
                  <a:pt x="3630" y="1000"/>
                </a:lnTo>
                <a:lnTo>
                  <a:pt x="3628" y="1002"/>
                </a:lnTo>
                <a:lnTo>
                  <a:pt x="3628" y="1002"/>
                </a:lnTo>
                <a:lnTo>
                  <a:pt x="3634" y="1002"/>
                </a:lnTo>
                <a:lnTo>
                  <a:pt x="3636" y="1002"/>
                </a:lnTo>
                <a:lnTo>
                  <a:pt x="3640" y="1000"/>
                </a:lnTo>
                <a:lnTo>
                  <a:pt x="3640" y="1000"/>
                </a:lnTo>
                <a:close/>
                <a:moveTo>
                  <a:pt x="3638" y="998"/>
                </a:moveTo>
                <a:lnTo>
                  <a:pt x="3638" y="998"/>
                </a:lnTo>
                <a:lnTo>
                  <a:pt x="3636" y="1000"/>
                </a:lnTo>
                <a:lnTo>
                  <a:pt x="3636" y="1000"/>
                </a:lnTo>
                <a:lnTo>
                  <a:pt x="3636" y="1000"/>
                </a:lnTo>
                <a:lnTo>
                  <a:pt x="3636" y="1000"/>
                </a:lnTo>
                <a:lnTo>
                  <a:pt x="3636" y="998"/>
                </a:lnTo>
                <a:lnTo>
                  <a:pt x="3636" y="998"/>
                </a:lnTo>
                <a:lnTo>
                  <a:pt x="3632" y="996"/>
                </a:lnTo>
                <a:lnTo>
                  <a:pt x="3632" y="996"/>
                </a:lnTo>
                <a:lnTo>
                  <a:pt x="3632" y="996"/>
                </a:lnTo>
                <a:lnTo>
                  <a:pt x="3632" y="996"/>
                </a:lnTo>
                <a:lnTo>
                  <a:pt x="3632" y="996"/>
                </a:lnTo>
                <a:lnTo>
                  <a:pt x="3638" y="998"/>
                </a:lnTo>
                <a:lnTo>
                  <a:pt x="3638" y="998"/>
                </a:lnTo>
                <a:close/>
                <a:moveTo>
                  <a:pt x="3636" y="994"/>
                </a:moveTo>
                <a:lnTo>
                  <a:pt x="3636" y="994"/>
                </a:lnTo>
                <a:lnTo>
                  <a:pt x="3636" y="994"/>
                </a:lnTo>
                <a:lnTo>
                  <a:pt x="3636" y="994"/>
                </a:lnTo>
                <a:lnTo>
                  <a:pt x="3644" y="990"/>
                </a:lnTo>
                <a:lnTo>
                  <a:pt x="3644" y="990"/>
                </a:lnTo>
                <a:lnTo>
                  <a:pt x="3638" y="986"/>
                </a:lnTo>
                <a:lnTo>
                  <a:pt x="3638" y="986"/>
                </a:lnTo>
                <a:lnTo>
                  <a:pt x="3644" y="990"/>
                </a:lnTo>
                <a:lnTo>
                  <a:pt x="3644" y="990"/>
                </a:lnTo>
                <a:lnTo>
                  <a:pt x="3636" y="994"/>
                </a:lnTo>
                <a:lnTo>
                  <a:pt x="3636" y="994"/>
                </a:lnTo>
                <a:close/>
                <a:moveTo>
                  <a:pt x="3654" y="984"/>
                </a:moveTo>
                <a:lnTo>
                  <a:pt x="3654" y="984"/>
                </a:lnTo>
                <a:lnTo>
                  <a:pt x="3636" y="982"/>
                </a:lnTo>
                <a:lnTo>
                  <a:pt x="3636" y="982"/>
                </a:lnTo>
                <a:lnTo>
                  <a:pt x="3630" y="982"/>
                </a:lnTo>
                <a:lnTo>
                  <a:pt x="3624" y="984"/>
                </a:lnTo>
                <a:lnTo>
                  <a:pt x="3624" y="984"/>
                </a:lnTo>
                <a:lnTo>
                  <a:pt x="3614" y="986"/>
                </a:lnTo>
                <a:lnTo>
                  <a:pt x="3604" y="986"/>
                </a:lnTo>
                <a:lnTo>
                  <a:pt x="3604" y="986"/>
                </a:lnTo>
                <a:lnTo>
                  <a:pt x="3590" y="984"/>
                </a:lnTo>
                <a:lnTo>
                  <a:pt x="3590" y="984"/>
                </a:lnTo>
                <a:lnTo>
                  <a:pt x="3582" y="986"/>
                </a:lnTo>
                <a:lnTo>
                  <a:pt x="3574" y="988"/>
                </a:lnTo>
                <a:lnTo>
                  <a:pt x="3574" y="988"/>
                </a:lnTo>
                <a:lnTo>
                  <a:pt x="3568" y="990"/>
                </a:lnTo>
                <a:lnTo>
                  <a:pt x="3564" y="990"/>
                </a:lnTo>
                <a:lnTo>
                  <a:pt x="3564" y="990"/>
                </a:lnTo>
                <a:lnTo>
                  <a:pt x="3564" y="992"/>
                </a:lnTo>
                <a:lnTo>
                  <a:pt x="3564" y="992"/>
                </a:lnTo>
                <a:lnTo>
                  <a:pt x="3554" y="992"/>
                </a:lnTo>
                <a:lnTo>
                  <a:pt x="3548" y="990"/>
                </a:lnTo>
                <a:lnTo>
                  <a:pt x="3548" y="990"/>
                </a:lnTo>
                <a:lnTo>
                  <a:pt x="3548" y="982"/>
                </a:lnTo>
                <a:lnTo>
                  <a:pt x="3548" y="982"/>
                </a:lnTo>
                <a:lnTo>
                  <a:pt x="3550" y="982"/>
                </a:lnTo>
                <a:lnTo>
                  <a:pt x="3550" y="982"/>
                </a:lnTo>
                <a:lnTo>
                  <a:pt x="3558" y="982"/>
                </a:lnTo>
                <a:lnTo>
                  <a:pt x="3562" y="986"/>
                </a:lnTo>
                <a:lnTo>
                  <a:pt x="3562" y="986"/>
                </a:lnTo>
                <a:lnTo>
                  <a:pt x="3566" y="986"/>
                </a:lnTo>
                <a:lnTo>
                  <a:pt x="3566" y="986"/>
                </a:lnTo>
                <a:lnTo>
                  <a:pt x="3560" y="982"/>
                </a:lnTo>
                <a:lnTo>
                  <a:pt x="3556" y="980"/>
                </a:lnTo>
                <a:lnTo>
                  <a:pt x="3556" y="976"/>
                </a:lnTo>
                <a:lnTo>
                  <a:pt x="3558" y="972"/>
                </a:lnTo>
                <a:lnTo>
                  <a:pt x="3558" y="972"/>
                </a:lnTo>
                <a:lnTo>
                  <a:pt x="3576" y="968"/>
                </a:lnTo>
                <a:lnTo>
                  <a:pt x="3586" y="966"/>
                </a:lnTo>
                <a:lnTo>
                  <a:pt x="3596" y="962"/>
                </a:lnTo>
                <a:lnTo>
                  <a:pt x="3596" y="962"/>
                </a:lnTo>
                <a:lnTo>
                  <a:pt x="3602" y="964"/>
                </a:lnTo>
                <a:lnTo>
                  <a:pt x="3602" y="964"/>
                </a:lnTo>
                <a:lnTo>
                  <a:pt x="3608" y="968"/>
                </a:lnTo>
                <a:lnTo>
                  <a:pt x="3612" y="970"/>
                </a:lnTo>
                <a:lnTo>
                  <a:pt x="3616" y="970"/>
                </a:lnTo>
                <a:lnTo>
                  <a:pt x="3622" y="966"/>
                </a:lnTo>
                <a:lnTo>
                  <a:pt x="3622" y="966"/>
                </a:lnTo>
                <a:lnTo>
                  <a:pt x="3624" y="966"/>
                </a:lnTo>
                <a:lnTo>
                  <a:pt x="3624" y="966"/>
                </a:lnTo>
                <a:lnTo>
                  <a:pt x="3628" y="968"/>
                </a:lnTo>
                <a:lnTo>
                  <a:pt x="3626" y="972"/>
                </a:lnTo>
                <a:lnTo>
                  <a:pt x="3626" y="972"/>
                </a:lnTo>
                <a:lnTo>
                  <a:pt x="3630" y="974"/>
                </a:lnTo>
                <a:lnTo>
                  <a:pt x="3632" y="976"/>
                </a:lnTo>
                <a:lnTo>
                  <a:pt x="3642" y="976"/>
                </a:lnTo>
                <a:lnTo>
                  <a:pt x="3642" y="976"/>
                </a:lnTo>
                <a:lnTo>
                  <a:pt x="3658" y="974"/>
                </a:lnTo>
                <a:lnTo>
                  <a:pt x="3672" y="974"/>
                </a:lnTo>
                <a:lnTo>
                  <a:pt x="3672" y="974"/>
                </a:lnTo>
                <a:lnTo>
                  <a:pt x="3684" y="978"/>
                </a:lnTo>
                <a:lnTo>
                  <a:pt x="3684" y="978"/>
                </a:lnTo>
                <a:lnTo>
                  <a:pt x="3676" y="980"/>
                </a:lnTo>
                <a:lnTo>
                  <a:pt x="3674" y="980"/>
                </a:lnTo>
                <a:lnTo>
                  <a:pt x="3672" y="976"/>
                </a:lnTo>
                <a:lnTo>
                  <a:pt x="3672" y="976"/>
                </a:lnTo>
                <a:lnTo>
                  <a:pt x="3666" y="976"/>
                </a:lnTo>
                <a:lnTo>
                  <a:pt x="3662" y="978"/>
                </a:lnTo>
                <a:lnTo>
                  <a:pt x="3654" y="984"/>
                </a:lnTo>
                <a:lnTo>
                  <a:pt x="3654" y="984"/>
                </a:lnTo>
                <a:close/>
                <a:moveTo>
                  <a:pt x="3682" y="1032"/>
                </a:moveTo>
                <a:lnTo>
                  <a:pt x="3682" y="1032"/>
                </a:lnTo>
                <a:lnTo>
                  <a:pt x="3678" y="1028"/>
                </a:lnTo>
                <a:lnTo>
                  <a:pt x="3678" y="1028"/>
                </a:lnTo>
                <a:lnTo>
                  <a:pt x="3672" y="1026"/>
                </a:lnTo>
                <a:lnTo>
                  <a:pt x="3670" y="1024"/>
                </a:lnTo>
                <a:lnTo>
                  <a:pt x="3668" y="1022"/>
                </a:lnTo>
                <a:lnTo>
                  <a:pt x="3668" y="1022"/>
                </a:lnTo>
                <a:lnTo>
                  <a:pt x="3664" y="1020"/>
                </a:lnTo>
                <a:lnTo>
                  <a:pt x="3660" y="1020"/>
                </a:lnTo>
                <a:lnTo>
                  <a:pt x="3658" y="1018"/>
                </a:lnTo>
                <a:lnTo>
                  <a:pt x="3654" y="1018"/>
                </a:lnTo>
                <a:lnTo>
                  <a:pt x="3654" y="1018"/>
                </a:lnTo>
                <a:lnTo>
                  <a:pt x="3654" y="1014"/>
                </a:lnTo>
                <a:lnTo>
                  <a:pt x="3656" y="1010"/>
                </a:lnTo>
                <a:lnTo>
                  <a:pt x="3658" y="1008"/>
                </a:lnTo>
                <a:lnTo>
                  <a:pt x="3654" y="1004"/>
                </a:lnTo>
                <a:lnTo>
                  <a:pt x="3654" y="1004"/>
                </a:lnTo>
                <a:lnTo>
                  <a:pt x="3668" y="1002"/>
                </a:lnTo>
                <a:lnTo>
                  <a:pt x="3674" y="1000"/>
                </a:lnTo>
                <a:lnTo>
                  <a:pt x="3680" y="996"/>
                </a:lnTo>
                <a:lnTo>
                  <a:pt x="3680" y="996"/>
                </a:lnTo>
                <a:lnTo>
                  <a:pt x="3660" y="994"/>
                </a:lnTo>
                <a:lnTo>
                  <a:pt x="3660" y="994"/>
                </a:lnTo>
                <a:lnTo>
                  <a:pt x="3660" y="992"/>
                </a:lnTo>
                <a:lnTo>
                  <a:pt x="3660" y="990"/>
                </a:lnTo>
                <a:lnTo>
                  <a:pt x="3666" y="990"/>
                </a:lnTo>
                <a:lnTo>
                  <a:pt x="3666" y="990"/>
                </a:lnTo>
                <a:lnTo>
                  <a:pt x="3676" y="990"/>
                </a:lnTo>
                <a:lnTo>
                  <a:pt x="3684" y="990"/>
                </a:lnTo>
                <a:lnTo>
                  <a:pt x="3684" y="990"/>
                </a:lnTo>
                <a:lnTo>
                  <a:pt x="3682" y="1032"/>
                </a:lnTo>
                <a:lnTo>
                  <a:pt x="3682" y="1032"/>
                </a:lnTo>
                <a:close/>
                <a:moveTo>
                  <a:pt x="3696" y="994"/>
                </a:moveTo>
                <a:lnTo>
                  <a:pt x="3696" y="994"/>
                </a:lnTo>
                <a:lnTo>
                  <a:pt x="3696" y="994"/>
                </a:lnTo>
                <a:lnTo>
                  <a:pt x="3696" y="994"/>
                </a:lnTo>
                <a:lnTo>
                  <a:pt x="3696" y="988"/>
                </a:lnTo>
                <a:lnTo>
                  <a:pt x="3696" y="988"/>
                </a:lnTo>
                <a:lnTo>
                  <a:pt x="3696" y="988"/>
                </a:lnTo>
                <a:lnTo>
                  <a:pt x="3696" y="988"/>
                </a:lnTo>
                <a:lnTo>
                  <a:pt x="3698" y="990"/>
                </a:lnTo>
                <a:lnTo>
                  <a:pt x="3698" y="990"/>
                </a:lnTo>
                <a:lnTo>
                  <a:pt x="3696" y="994"/>
                </a:lnTo>
                <a:lnTo>
                  <a:pt x="3696" y="994"/>
                </a:lnTo>
                <a:close/>
                <a:moveTo>
                  <a:pt x="3698" y="976"/>
                </a:moveTo>
                <a:lnTo>
                  <a:pt x="3698" y="976"/>
                </a:lnTo>
                <a:lnTo>
                  <a:pt x="3702" y="972"/>
                </a:lnTo>
                <a:lnTo>
                  <a:pt x="3702" y="972"/>
                </a:lnTo>
                <a:lnTo>
                  <a:pt x="3702" y="976"/>
                </a:lnTo>
                <a:lnTo>
                  <a:pt x="3702" y="976"/>
                </a:lnTo>
                <a:lnTo>
                  <a:pt x="3698" y="976"/>
                </a:lnTo>
                <a:lnTo>
                  <a:pt x="3698" y="976"/>
                </a:lnTo>
                <a:close/>
                <a:moveTo>
                  <a:pt x="3736" y="974"/>
                </a:moveTo>
                <a:lnTo>
                  <a:pt x="3736" y="974"/>
                </a:lnTo>
                <a:lnTo>
                  <a:pt x="3736" y="972"/>
                </a:lnTo>
                <a:lnTo>
                  <a:pt x="3736" y="972"/>
                </a:lnTo>
                <a:lnTo>
                  <a:pt x="3736" y="972"/>
                </a:lnTo>
                <a:lnTo>
                  <a:pt x="3744" y="970"/>
                </a:lnTo>
                <a:lnTo>
                  <a:pt x="3744" y="970"/>
                </a:lnTo>
                <a:lnTo>
                  <a:pt x="3744" y="974"/>
                </a:lnTo>
                <a:lnTo>
                  <a:pt x="3744" y="974"/>
                </a:lnTo>
                <a:lnTo>
                  <a:pt x="3736" y="974"/>
                </a:lnTo>
                <a:lnTo>
                  <a:pt x="3736" y="974"/>
                </a:lnTo>
                <a:close/>
                <a:moveTo>
                  <a:pt x="3766" y="972"/>
                </a:moveTo>
                <a:lnTo>
                  <a:pt x="3766" y="972"/>
                </a:lnTo>
                <a:lnTo>
                  <a:pt x="3766" y="970"/>
                </a:lnTo>
                <a:lnTo>
                  <a:pt x="3766" y="970"/>
                </a:lnTo>
                <a:lnTo>
                  <a:pt x="3766" y="972"/>
                </a:lnTo>
                <a:lnTo>
                  <a:pt x="3766" y="972"/>
                </a:lnTo>
                <a:close/>
                <a:moveTo>
                  <a:pt x="3782" y="974"/>
                </a:moveTo>
                <a:lnTo>
                  <a:pt x="3782" y="974"/>
                </a:lnTo>
                <a:lnTo>
                  <a:pt x="3780" y="972"/>
                </a:lnTo>
                <a:lnTo>
                  <a:pt x="3780" y="972"/>
                </a:lnTo>
                <a:lnTo>
                  <a:pt x="3784" y="970"/>
                </a:lnTo>
                <a:lnTo>
                  <a:pt x="3784" y="970"/>
                </a:lnTo>
                <a:lnTo>
                  <a:pt x="3784" y="970"/>
                </a:lnTo>
                <a:lnTo>
                  <a:pt x="3784" y="970"/>
                </a:lnTo>
                <a:lnTo>
                  <a:pt x="3784" y="974"/>
                </a:lnTo>
                <a:lnTo>
                  <a:pt x="3784" y="974"/>
                </a:lnTo>
                <a:lnTo>
                  <a:pt x="3782" y="974"/>
                </a:lnTo>
                <a:lnTo>
                  <a:pt x="3782" y="974"/>
                </a:lnTo>
                <a:close/>
                <a:moveTo>
                  <a:pt x="3774" y="968"/>
                </a:moveTo>
                <a:lnTo>
                  <a:pt x="3774" y="968"/>
                </a:lnTo>
                <a:lnTo>
                  <a:pt x="3762" y="966"/>
                </a:lnTo>
                <a:lnTo>
                  <a:pt x="3762" y="966"/>
                </a:lnTo>
                <a:lnTo>
                  <a:pt x="3752" y="966"/>
                </a:lnTo>
                <a:lnTo>
                  <a:pt x="3748" y="966"/>
                </a:lnTo>
                <a:lnTo>
                  <a:pt x="3744" y="968"/>
                </a:lnTo>
                <a:lnTo>
                  <a:pt x="3744" y="968"/>
                </a:lnTo>
                <a:lnTo>
                  <a:pt x="3738" y="970"/>
                </a:lnTo>
                <a:lnTo>
                  <a:pt x="3738" y="970"/>
                </a:lnTo>
                <a:lnTo>
                  <a:pt x="3732" y="970"/>
                </a:lnTo>
                <a:lnTo>
                  <a:pt x="3726" y="972"/>
                </a:lnTo>
                <a:lnTo>
                  <a:pt x="3716" y="976"/>
                </a:lnTo>
                <a:lnTo>
                  <a:pt x="3716" y="976"/>
                </a:lnTo>
                <a:lnTo>
                  <a:pt x="3712" y="978"/>
                </a:lnTo>
                <a:lnTo>
                  <a:pt x="3706" y="978"/>
                </a:lnTo>
                <a:lnTo>
                  <a:pt x="3706" y="978"/>
                </a:lnTo>
                <a:lnTo>
                  <a:pt x="3704" y="970"/>
                </a:lnTo>
                <a:lnTo>
                  <a:pt x="3704" y="970"/>
                </a:lnTo>
                <a:lnTo>
                  <a:pt x="3704" y="970"/>
                </a:lnTo>
                <a:lnTo>
                  <a:pt x="3704" y="970"/>
                </a:lnTo>
                <a:lnTo>
                  <a:pt x="3704" y="970"/>
                </a:lnTo>
                <a:lnTo>
                  <a:pt x="3704" y="970"/>
                </a:lnTo>
                <a:lnTo>
                  <a:pt x="3690" y="968"/>
                </a:lnTo>
                <a:lnTo>
                  <a:pt x="3690" y="968"/>
                </a:lnTo>
                <a:lnTo>
                  <a:pt x="3702" y="962"/>
                </a:lnTo>
                <a:lnTo>
                  <a:pt x="3702" y="962"/>
                </a:lnTo>
                <a:lnTo>
                  <a:pt x="3712" y="960"/>
                </a:lnTo>
                <a:lnTo>
                  <a:pt x="3716" y="960"/>
                </a:lnTo>
                <a:lnTo>
                  <a:pt x="3722" y="962"/>
                </a:lnTo>
                <a:lnTo>
                  <a:pt x="3722" y="962"/>
                </a:lnTo>
                <a:lnTo>
                  <a:pt x="3728" y="960"/>
                </a:lnTo>
                <a:lnTo>
                  <a:pt x="3728" y="960"/>
                </a:lnTo>
                <a:lnTo>
                  <a:pt x="3734" y="960"/>
                </a:lnTo>
                <a:lnTo>
                  <a:pt x="3734" y="960"/>
                </a:lnTo>
                <a:lnTo>
                  <a:pt x="3742" y="962"/>
                </a:lnTo>
                <a:lnTo>
                  <a:pt x="3750" y="962"/>
                </a:lnTo>
                <a:lnTo>
                  <a:pt x="3756" y="962"/>
                </a:lnTo>
                <a:lnTo>
                  <a:pt x="3764" y="958"/>
                </a:lnTo>
                <a:lnTo>
                  <a:pt x="3764" y="958"/>
                </a:lnTo>
                <a:lnTo>
                  <a:pt x="3768" y="958"/>
                </a:lnTo>
                <a:lnTo>
                  <a:pt x="3772" y="958"/>
                </a:lnTo>
                <a:lnTo>
                  <a:pt x="3772" y="958"/>
                </a:lnTo>
                <a:lnTo>
                  <a:pt x="3792" y="962"/>
                </a:lnTo>
                <a:lnTo>
                  <a:pt x="3792" y="962"/>
                </a:lnTo>
                <a:lnTo>
                  <a:pt x="3784" y="968"/>
                </a:lnTo>
                <a:lnTo>
                  <a:pt x="3774" y="968"/>
                </a:lnTo>
                <a:lnTo>
                  <a:pt x="3774" y="968"/>
                </a:lnTo>
                <a:close/>
                <a:moveTo>
                  <a:pt x="3770" y="928"/>
                </a:moveTo>
                <a:lnTo>
                  <a:pt x="3770" y="928"/>
                </a:lnTo>
                <a:lnTo>
                  <a:pt x="3772" y="920"/>
                </a:lnTo>
                <a:lnTo>
                  <a:pt x="3772" y="920"/>
                </a:lnTo>
                <a:lnTo>
                  <a:pt x="3790" y="916"/>
                </a:lnTo>
                <a:lnTo>
                  <a:pt x="3790" y="916"/>
                </a:lnTo>
                <a:lnTo>
                  <a:pt x="3792" y="918"/>
                </a:lnTo>
                <a:lnTo>
                  <a:pt x="3792" y="918"/>
                </a:lnTo>
                <a:lnTo>
                  <a:pt x="3790" y="922"/>
                </a:lnTo>
                <a:lnTo>
                  <a:pt x="3790" y="922"/>
                </a:lnTo>
                <a:lnTo>
                  <a:pt x="3800" y="924"/>
                </a:lnTo>
                <a:lnTo>
                  <a:pt x="3800" y="924"/>
                </a:lnTo>
                <a:lnTo>
                  <a:pt x="3796" y="930"/>
                </a:lnTo>
                <a:lnTo>
                  <a:pt x="3792" y="932"/>
                </a:lnTo>
                <a:lnTo>
                  <a:pt x="3782" y="932"/>
                </a:lnTo>
                <a:lnTo>
                  <a:pt x="3770" y="928"/>
                </a:lnTo>
                <a:lnTo>
                  <a:pt x="3770" y="928"/>
                </a:lnTo>
                <a:close/>
                <a:moveTo>
                  <a:pt x="3826" y="944"/>
                </a:moveTo>
                <a:lnTo>
                  <a:pt x="3826" y="944"/>
                </a:lnTo>
                <a:lnTo>
                  <a:pt x="3828" y="940"/>
                </a:lnTo>
                <a:lnTo>
                  <a:pt x="3828" y="940"/>
                </a:lnTo>
                <a:lnTo>
                  <a:pt x="3810" y="936"/>
                </a:lnTo>
                <a:lnTo>
                  <a:pt x="3810" y="936"/>
                </a:lnTo>
                <a:lnTo>
                  <a:pt x="3810" y="934"/>
                </a:lnTo>
                <a:lnTo>
                  <a:pt x="3810" y="934"/>
                </a:lnTo>
                <a:lnTo>
                  <a:pt x="3818" y="930"/>
                </a:lnTo>
                <a:lnTo>
                  <a:pt x="3822" y="930"/>
                </a:lnTo>
                <a:lnTo>
                  <a:pt x="3828" y="930"/>
                </a:lnTo>
                <a:lnTo>
                  <a:pt x="3828" y="930"/>
                </a:lnTo>
                <a:lnTo>
                  <a:pt x="3824" y="936"/>
                </a:lnTo>
                <a:lnTo>
                  <a:pt x="3824" y="936"/>
                </a:lnTo>
                <a:lnTo>
                  <a:pt x="3838" y="936"/>
                </a:lnTo>
                <a:lnTo>
                  <a:pt x="3838" y="936"/>
                </a:lnTo>
                <a:lnTo>
                  <a:pt x="3850" y="940"/>
                </a:lnTo>
                <a:lnTo>
                  <a:pt x="3850" y="940"/>
                </a:lnTo>
                <a:lnTo>
                  <a:pt x="3844" y="944"/>
                </a:lnTo>
                <a:lnTo>
                  <a:pt x="3840" y="946"/>
                </a:lnTo>
                <a:lnTo>
                  <a:pt x="3834" y="946"/>
                </a:lnTo>
                <a:lnTo>
                  <a:pt x="3826" y="944"/>
                </a:lnTo>
                <a:lnTo>
                  <a:pt x="3826" y="944"/>
                </a:lnTo>
                <a:close/>
                <a:moveTo>
                  <a:pt x="3838" y="892"/>
                </a:moveTo>
                <a:lnTo>
                  <a:pt x="3838" y="892"/>
                </a:lnTo>
                <a:lnTo>
                  <a:pt x="3842" y="892"/>
                </a:lnTo>
                <a:lnTo>
                  <a:pt x="3848" y="888"/>
                </a:lnTo>
                <a:lnTo>
                  <a:pt x="3848" y="888"/>
                </a:lnTo>
                <a:lnTo>
                  <a:pt x="3848" y="888"/>
                </a:lnTo>
                <a:lnTo>
                  <a:pt x="3842" y="892"/>
                </a:lnTo>
                <a:lnTo>
                  <a:pt x="3838" y="892"/>
                </a:lnTo>
                <a:lnTo>
                  <a:pt x="3838" y="892"/>
                </a:lnTo>
                <a:close/>
                <a:moveTo>
                  <a:pt x="3862" y="314"/>
                </a:moveTo>
                <a:lnTo>
                  <a:pt x="3862" y="314"/>
                </a:lnTo>
                <a:lnTo>
                  <a:pt x="3852" y="316"/>
                </a:lnTo>
                <a:lnTo>
                  <a:pt x="3846" y="316"/>
                </a:lnTo>
                <a:lnTo>
                  <a:pt x="3842" y="314"/>
                </a:lnTo>
                <a:lnTo>
                  <a:pt x="3842" y="314"/>
                </a:lnTo>
                <a:lnTo>
                  <a:pt x="3832" y="314"/>
                </a:lnTo>
                <a:lnTo>
                  <a:pt x="3822" y="312"/>
                </a:lnTo>
                <a:lnTo>
                  <a:pt x="3812" y="310"/>
                </a:lnTo>
                <a:lnTo>
                  <a:pt x="3804" y="310"/>
                </a:lnTo>
                <a:lnTo>
                  <a:pt x="3804" y="310"/>
                </a:lnTo>
                <a:lnTo>
                  <a:pt x="3798" y="308"/>
                </a:lnTo>
                <a:lnTo>
                  <a:pt x="3794" y="304"/>
                </a:lnTo>
                <a:lnTo>
                  <a:pt x="3794" y="304"/>
                </a:lnTo>
                <a:lnTo>
                  <a:pt x="3782" y="304"/>
                </a:lnTo>
                <a:lnTo>
                  <a:pt x="3780" y="304"/>
                </a:lnTo>
                <a:lnTo>
                  <a:pt x="3778" y="302"/>
                </a:lnTo>
                <a:lnTo>
                  <a:pt x="3778" y="302"/>
                </a:lnTo>
                <a:lnTo>
                  <a:pt x="3796" y="300"/>
                </a:lnTo>
                <a:lnTo>
                  <a:pt x="3806" y="298"/>
                </a:lnTo>
                <a:lnTo>
                  <a:pt x="3816" y="300"/>
                </a:lnTo>
                <a:lnTo>
                  <a:pt x="3816" y="300"/>
                </a:lnTo>
                <a:lnTo>
                  <a:pt x="3818" y="306"/>
                </a:lnTo>
                <a:lnTo>
                  <a:pt x="3818" y="306"/>
                </a:lnTo>
                <a:lnTo>
                  <a:pt x="3828" y="304"/>
                </a:lnTo>
                <a:lnTo>
                  <a:pt x="3828" y="304"/>
                </a:lnTo>
                <a:lnTo>
                  <a:pt x="3846" y="302"/>
                </a:lnTo>
                <a:lnTo>
                  <a:pt x="3854" y="302"/>
                </a:lnTo>
                <a:lnTo>
                  <a:pt x="3862" y="304"/>
                </a:lnTo>
                <a:lnTo>
                  <a:pt x="3862" y="304"/>
                </a:lnTo>
                <a:lnTo>
                  <a:pt x="3866" y="306"/>
                </a:lnTo>
                <a:lnTo>
                  <a:pt x="3868" y="308"/>
                </a:lnTo>
                <a:lnTo>
                  <a:pt x="3868" y="308"/>
                </a:lnTo>
                <a:lnTo>
                  <a:pt x="3866" y="312"/>
                </a:lnTo>
                <a:lnTo>
                  <a:pt x="3862" y="314"/>
                </a:lnTo>
                <a:lnTo>
                  <a:pt x="3862" y="314"/>
                </a:lnTo>
                <a:close/>
                <a:moveTo>
                  <a:pt x="3858" y="194"/>
                </a:moveTo>
                <a:lnTo>
                  <a:pt x="3858" y="194"/>
                </a:lnTo>
                <a:lnTo>
                  <a:pt x="3866" y="188"/>
                </a:lnTo>
                <a:lnTo>
                  <a:pt x="3866" y="188"/>
                </a:lnTo>
                <a:lnTo>
                  <a:pt x="3876" y="198"/>
                </a:lnTo>
                <a:lnTo>
                  <a:pt x="3876" y="198"/>
                </a:lnTo>
                <a:lnTo>
                  <a:pt x="3868" y="196"/>
                </a:lnTo>
                <a:lnTo>
                  <a:pt x="3858" y="194"/>
                </a:lnTo>
                <a:lnTo>
                  <a:pt x="3858" y="194"/>
                </a:lnTo>
                <a:close/>
                <a:moveTo>
                  <a:pt x="3876" y="986"/>
                </a:moveTo>
                <a:lnTo>
                  <a:pt x="3876" y="986"/>
                </a:lnTo>
                <a:lnTo>
                  <a:pt x="3872" y="976"/>
                </a:lnTo>
                <a:lnTo>
                  <a:pt x="3872" y="976"/>
                </a:lnTo>
                <a:lnTo>
                  <a:pt x="3874" y="972"/>
                </a:lnTo>
                <a:lnTo>
                  <a:pt x="3874" y="972"/>
                </a:lnTo>
                <a:lnTo>
                  <a:pt x="3876" y="972"/>
                </a:lnTo>
                <a:lnTo>
                  <a:pt x="3876" y="972"/>
                </a:lnTo>
                <a:lnTo>
                  <a:pt x="3888" y="988"/>
                </a:lnTo>
                <a:lnTo>
                  <a:pt x="3888" y="988"/>
                </a:lnTo>
                <a:lnTo>
                  <a:pt x="3878" y="990"/>
                </a:lnTo>
                <a:lnTo>
                  <a:pt x="3878" y="988"/>
                </a:lnTo>
                <a:lnTo>
                  <a:pt x="3876" y="986"/>
                </a:lnTo>
                <a:lnTo>
                  <a:pt x="3876" y="986"/>
                </a:lnTo>
                <a:close/>
                <a:moveTo>
                  <a:pt x="3884" y="940"/>
                </a:moveTo>
                <a:lnTo>
                  <a:pt x="3884" y="940"/>
                </a:lnTo>
                <a:lnTo>
                  <a:pt x="3884" y="940"/>
                </a:lnTo>
                <a:lnTo>
                  <a:pt x="3884" y="946"/>
                </a:lnTo>
                <a:lnTo>
                  <a:pt x="3884" y="946"/>
                </a:lnTo>
                <a:lnTo>
                  <a:pt x="3884" y="944"/>
                </a:lnTo>
                <a:lnTo>
                  <a:pt x="3884" y="944"/>
                </a:lnTo>
                <a:lnTo>
                  <a:pt x="3884" y="940"/>
                </a:lnTo>
                <a:lnTo>
                  <a:pt x="3884" y="940"/>
                </a:lnTo>
                <a:lnTo>
                  <a:pt x="3884" y="940"/>
                </a:lnTo>
                <a:close/>
                <a:moveTo>
                  <a:pt x="3878" y="162"/>
                </a:moveTo>
                <a:lnTo>
                  <a:pt x="3878" y="162"/>
                </a:lnTo>
                <a:lnTo>
                  <a:pt x="3886" y="158"/>
                </a:lnTo>
                <a:lnTo>
                  <a:pt x="3894" y="158"/>
                </a:lnTo>
                <a:lnTo>
                  <a:pt x="3894" y="158"/>
                </a:lnTo>
                <a:lnTo>
                  <a:pt x="3900" y="160"/>
                </a:lnTo>
                <a:lnTo>
                  <a:pt x="3902" y="162"/>
                </a:lnTo>
                <a:lnTo>
                  <a:pt x="3902" y="164"/>
                </a:lnTo>
                <a:lnTo>
                  <a:pt x="3902" y="164"/>
                </a:lnTo>
                <a:lnTo>
                  <a:pt x="3878" y="162"/>
                </a:lnTo>
                <a:lnTo>
                  <a:pt x="3878" y="162"/>
                </a:lnTo>
                <a:close/>
                <a:moveTo>
                  <a:pt x="3888" y="980"/>
                </a:moveTo>
                <a:lnTo>
                  <a:pt x="3888" y="980"/>
                </a:lnTo>
                <a:lnTo>
                  <a:pt x="3894" y="976"/>
                </a:lnTo>
                <a:lnTo>
                  <a:pt x="3894" y="976"/>
                </a:lnTo>
                <a:lnTo>
                  <a:pt x="3896" y="992"/>
                </a:lnTo>
                <a:lnTo>
                  <a:pt x="3896" y="992"/>
                </a:lnTo>
                <a:lnTo>
                  <a:pt x="3888" y="980"/>
                </a:lnTo>
                <a:lnTo>
                  <a:pt x="3888" y="980"/>
                </a:lnTo>
                <a:close/>
                <a:moveTo>
                  <a:pt x="3894" y="200"/>
                </a:moveTo>
                <a:lnTo>
                  <a:pt x="3894" y="200"/>
                </a:lnTo>
                <a:lnTo>
                  <a:pt x="3896" y="200"/>
                </a:lnTo>
                <a:lnTo>
                  <a:pt x="3896" y="200"/>
                </a:lnTo>
                <a:lnTo>
                  <a:pt x="3910" y="204"/>
                </a:lnTo>
                <a:lnTo>
                  <a:pt x="3910" y="204"/>
                </a:lnTo>
                <a:lnTo>
                  <a:pt x="3906" y="206"/>
                </a:lnTo>
                <a:lnTo>
                  <a:pt x="3904" y="206"/>
                </a:lnTo>
                <a:lnTo>
                  <a:pt x="3894" y="200"/>
                </a:lnTo>
                <a:lnTo>
                  <a:pt x="3894" y="200"/>
                </a:lnTo>
                <a:close/>
                <a:moveTo>
                  <a:pt x="3912" y="972"/>
                </a:moveTo>
                <a:lnTo>
                  <a:pt x="3912" y="972"/>
                </a:lnTo>
                <a:lnTo>
                  <a:pt x="3912" y="972"/>
                </a:lnTo>
                <a:lnTo>
                  <a:pt x="3912" y="972"/>
                </a:lnTo>
                <a:lnTo>
                  <a:pt x="3918" y="972"/>
                </a:lnTo>
                <a:lnTo>
                  <a:pt x="3918" y="972"/>
                </a:lnTo>
                <a:lnTo>
                  <a:pt x="3918" y="970"/>
                </a:lnTo>
                <a:lnTo>
                  <a:pt x="3918" y="970"/>
                </a:lnTo>
                <a:lnTo>
                  <a:pt x="3918" y="970"/>
                </a:lnTo>
                <a:lnTo>
                  <a:pt x="3918" y="970"/>
                </a:lnTo>
                <a:lnTo>
                  <a:pt x="3918" y="972"/>
                </a:lnTo>
                <a:lnTo>
                  <a:pt x="3918" y="972"/>
                </a:lnTo>
                <a:lnTo>
                  <a:pt x="3912" y="972"/>
                </a:lnTo>
                <a:lnTo>
                  <a:pt x="3912" y="972"/>
                </a:lnTo>
                <a:close/>
                <a:moveTo>
                  <a:pt x="4038" y="56"/>
                </a:moveTo>
                <a:lnTo>
                  <a:pt x="4038" y="56"/>
                </a:lnTo>
                <a:lnTo>
                  <a:pt x="4036" y="58"/>
                </a:lnTo>
                <a:lnTo>
                  <a:pt x="4036" y="58"/>
                </a:lnTo>
                <a:lnTo>
                  <a:pt x="4030" y="58"/>
                </a:lnTo>
                <a:lnTo>
                  <a:pt x="4028" y="56"/>
                </a:lnTo>
                <a:lnTo>
                  <a:pt x="4028" y="56"/>
                </a:lnTo>
                <a:lnTo>
                  <a:pt x="4034" y="54"/>
                </a:lnTo>
                <a:lnTo>
                  <a:pt x="4038" y="56"/>
                </a:lnTo>
                <a:lnTo>
                  <a:pt x="4038" y="56"/>
                </a:lnTo>
                <a:close/>
                <a:moveTo>
                  <a:pt x="3976" y="172"/>
                </a:moveTo>
                <a:lnTo>
                  <a:pt x="3976" y="172"/>
                </a:lnTo>
                <a:lnTo>
                  <a:pt x="3976" y="174"/>
                </a:lnTo>
                <a:lnTo>
                  <a:pt x="3974" y="176"/>
                </a:lnTo>
                <a:lnTo>
                  <a:pt x="3968" y="176"/>
                </a:lnTo>
                <a:lnTo>
                  <a:pt x="3968" y="176"/>
                </a:lnTo>
                <a:lnTo>
                  <a:pt x="3968" y="174"/>
                </a:lnTo>
                <a:lnTo>
                  <a:pt x="3968" y="174"/>
                </a:lnTo>
                <a:lnTo>
                  <a:pt x="3976" y="172"/>
                </a:lnTo>
                <a:lnTo>
                  <a:pt x="3976" y="172"/>
                </a:lnTo>
                <a:close/>
                <a:moveTo>
                  <a:pt x="4026" y="134"/>
                </a:moveTo>
                <a:lnTo>
                  <a:pt x="4026" y="134"/>
                </a:lnTo>
                <a:lnTo>
                  <a:pt x="4026" y="134"/>
                </a:lnTo>
                <a:lnTo>
                  <a:pt x="4016" y="140"/>
                </a:lnTo>
                <a:lnTo>
                  <a:pt x="4016" y="140"/>
                </a:lnTo>
                <a:lnTo>
                  <a:pt x="4018" y="146"/>
                </a:lnTo>
                <a:lnTo>
                  <a:pt x="4018" y="146"/>
                </a:lnTo>
                <a:lnTo>
                  <a:pt x="4010" y="146"/>
                </a:lnTo>
                <a:lnTo>
                  <a:pt x="4010" y="146"/>
                </a:lnTo>
                <a:lnTo>
                  <a:pt x="3980" y="138"/>
                </a:lnTo>
                <a:lnTo>
                  <a:pt x="3980" y="138"/>
                </a:lnTo>
                <a:lnTo>
                  <a:pt x="3974" y="134"/>
                </a:lnTo>
                <a:lnTo>
                  <a:pt x="3970" y="130"/>
                </a:lnTo>
                <a:lnTo>
                  <a:pt x="3970" y="130"/>
                </a:lnTo>
                <a:lnTo>
                  <a:pt x="3982" y="128"/>
                </a:lnTo>
                <a:lnTo>
                  <a:pt x="3998" y="130"/>
                </a:lnTo>
                <a:lnTo>
                  <a:pt x="4016" y="132"/>
                </a:lnTo>
                <a:lnTo>
                  <a:pt x="4026" y="134"/>
                </a:lnTo>
                <a:lnTo>
                  <a:pt x="4026" y="134"/>
                </a:lnTo>
                <a:close/>
                <a:moveTo>
                  <a:pt x="3990" y="116"/>
                </a:moveTo>
                <a:lnTo>
                  <a:pt x="3990" y="116"/>
                </a:lnTo>
                <a:lnTo>
                  <a:pt x="3994" y="114"/>
                </a:lnTo>
                <a:lnTo>
                  <a:pt x="3998" y="112"/>
                </a:lnTo>
                <a:lnTo>
                  <a:pt x="4004" y="112"/>
                </a:lnTo>
                <a:lnTo>
                  <a:pt x="4012" y="114"/>
                </a:lnTo>
                <a:lnTo>
                  <a:pt x="4012" y="114"/>
                </a:lnTo>
                <a:lnTo>
                  <a:pt x="4010" y="126"/>
                </a:lnTo>
                <a:lnTo>
                  <a:pt x="4010" y="126"/>
                </a:lnTo>
                <a:lnTo>
                  <a:pt x="4000" y="120"/>
                </a:lnTo>
                <a:lnTo>
                  <a:pt x="4000" y="120"/>
                </a:lnTo>
                <a:lnTo>
                  <a:pt x="3990" y="116"/>
                </a:lnTo>
                <a:lnTo>
                  <a:pt x="3990" y="116"/>
                </a:lnTo>
                <a:close/>
                <a:moveTo>
                  <a:pt x="3992" y="206"/>
                </a:moveTo>
                <a:lnTo>
                  <a:pt x="3992" y="206"/>
                </a:lnTo>
                <a:lnTo>
                  <a:pt x="3992" y="206"/>
                </a:lnTo>
                <a:lnTo>
                  <a:pt x="4000" y="204"/>
                </a:lnTo>
                <a:lnTo>
                  <a:pt x="4002" y="202"/>
                </a:lnTo>
                <a:lnTo>
                  <a:pt x="4002" y="200"/>
                </a:lnTo>
                <a:lnTo>
                  <a:pt x="4002" y="200"/>
                </a:lnTo>
                <a:lnTo>
                  <a:pt x="3998" y="196"/>
                </a:lnTo>
                <a:lnTo>
                  <a:pt x="3990" y="194"/>
                </a:lnTo>
                <a:lnTo>
                  <a:pt x="3990" y="194"/>
                </a:lnTo>
                <a:lnTo>
                  <a:pt x="3984" y="192"/>
                </a:lnTo>
                <a:lnTo>
                  <a:pt x="3980" y="190"/>
                </a:lnTo>
                <a:lnTo>
                  <a:pt x="3980" y="188"/>
                </a:lnTo>
                <a:lnTo>
                  <a:pt x="3982" y="184"/>
                </a:lnTo>
                <a:lnTo>
                  <a:pt x="3982" y="184"/>
                </a:lnTo>
                <a:lnTo>
                  <a:pt x="3988" y="186"/>
                </a:lnTo>
                <a:lnTo>
                  <a:pt x="3988" y="186"/>
                </a:lnTo>
                <a:lnTo>
                  <a:pt x="3992" y="188"/>
                </a:lnTo>
                <a:lnTo>
                  <a:pt x="3996" y="190"/>
                </a:lnTo>
                <a:lnTo>
                  <a:pt x="4006" y="190"/>
                </a:lnTo>
                <a:lnTo>
                  <a:pt x="4006" y="190"/>
                </a:lnTo>
                <a:lnTo>
                  <a:pt x="4016" y="192"/>
                </a:lnTo>
                <a:lnTo>
                  <a:pt x="4020" y="194"/>
                </a:lnTo>
                <a:lnTo>
                  <a:pt x="4022" y="196"/>
                </a:lnTo>
                <a:lnTo>
                  <a:pt x="4022" y="196"/>
                </a:lnTo>
                <a:lnTo>
                  <a:pt x="4026" y="200"/>
                </a:lnTo>
                <a:lnTo>
                  <a:pt x="4032" y="202"/>
                </a:lnTo>
                <a:lnTo>
                  <a:pt x="4032" y="202"/>
                </a:lnTo>
                <a:lnTo>
                  <a:pt x="4022" y="208"/>
                </a:lnTo>
                <a:lnTo>
                  <a:pt x="4022" y="208"/>
                </a:lnTo>
                <a:lnTo>
                  <a:pt x="4012" y="208"/>
                </a:lnTo>
                <a:lnTo>
                  <a:pt x="4006" y="210"/>
                </a:lnTo>
                <a:lnTo>
                  <a:pt x="4002" y="214"/>
                </a:lnTo>
                <a:lnTo>
                  <a:pt x="4002" y="214"/>
                </a:lnTo>
                <a:lnTo>
                  <a:pt x="3992" y="206"/>
                </a:lnTo>
                <a:lnTo>
                  <a:pt x="3992" y="206"/>
                </a:lnTo>
                <a:close/>
                <a:moveTo>
                  <a:pt x="3992" y="214"/>
                </a:moveTo>
                <a:lnTo>
                  <a:pt x="3992" y="214"/>
                </a:lnTo>
                <a:lnTo>
                  <a:pt x="3990" y="216"/>
                </a:lnTo>
                <a:lnTo>
                  <a:pt x="3990" y="216"/>
                </a:lnTo>
                <a:lnTo>
                  <a:pt x="3988" y="214"/>
                </a:lnTo>
                <a:lnTo>
                  <a:pt x="3988" y="214"/>
                </a:lnTo>
                <a:lnTo>
                  <a:pt x="3990" y="212"/>
                </a:lnTo>
                <a:lnTo>
                  <a:pt x="3990" y="212"/>
                </a:lnTo>
                <a:lnTo>
                  <a:pt x="3992" y="214"/>
                </a:lnTo>
                <a:lnTo>
                  <a:pt x="3992" y="214"/>
                </a:lnTo>
                <a:close/>
                <a:moveTo>
                  <a:pt x="3998" y="174"/>
                </a:moveTo>
                <a:lnTo>
                  <a:pt x="3998" y="174"/>
                </a:lnTo>
                <a:lnTo>
                  <a:pt x="4006" y="170"/>
                </a:lnTo>
                <a:lnTo>
                  <a:pt x="4014" y="170"/>
                </a:lnTo>
                <a:lnTo>
                  <a:pt x="4014" y="176"/>
                </a:lnTo>
                <a:lnTo>
                  <a:pt x="4014" y="176"/>
                </a:lnTo>
                <a:lnTo>
                  <a:pt x="4004" y="178"/>
                </a:lnTo>
                <a:lnTo>
                  <a:pt x="4000" y="176"/>
                </a:lnTo>
                <a:lnTo>
                  <a:pt x="3998" y="174"/>
                </a:lnTo>
                <a:lnTo>
                  <a:pt x="3998" y="174"/>
                </a:lnTo>
                <a:close/>
                <a:moveTo>
                  <a:pt x="3976" y="360"/>
                </a:moveTo>
                <a:lnTo>
                  <a:pt x="3976" y="360"/>
                </a:lnTo>
                <a:lnTo>
                  <a:pt x="3972" y="362"/>
                </a:lnTo>
                <a:lnTo>
                  <a:pt x="3972" y="362"/>
                </a:lnTo>
                <a:lnTo>
                  <a:pt x="3970" y="360"/>
                </a:lnTo>
                <a:lnTo>
                  <a:pt x="3970" y="360"/>
                </a:lnTo>
                <a:lnTo>
                  <a:pt x="3976" y="358"/>
                </a:lnTo>
                <a:lnTo>
                  <a:pt x="3976" y="358"/>
                </a:lnTo>
                <a:lnTo>
                  <a:pt x="3976" y="360"/>
                </a:lnTo>
                <a:lnTo>
                  <a:pt x="3976" y="360"/>
                </a:lnTo>
                <a:close/>
                <a:moveTo>
                  <a:pt x="3946" y="356"/>
                </a:moveTo>
                <a:lnTo>
                  <a:pt x="3946" y="356"/>
                </a:lnTo>
                <a:lnTo>
                  <a:pt x="3934" y="340"/>
                </a:lnTo>
                <a:lnTo>
                  <a:pt x="3934" y="340"/>
                </a:lnTo>
                <a:lnTo>
                  <a:pt x="3934" y="338"/>
                </a:lnTo>
                <a:lnTo>
                  <a:pt x="3936" y="336"/>
                </a:lnTo>
                <a:lnTo>
                  <a:pt x="3942" y="334"/>
                </a:lnTo>
                <a:lnTo>
                  <a:pt x="3942" y="334"/>
                </a:lnTo>
                <a:lnTo>
                  <a:pt x="3952" y="334"/>
                </a:lnTo>
                <a:lnTo>
                  <a:pt x="3956" y="332"/>
                </a:lnTo>
                <a:lnTo>
                  <a:pt x="3958" y="328"/>
                </a:lnTo>
                <a:lnTo>
                  <a:pt x="3958" y="328"/>
                </a:lnTo>
                <a:lnTo>
                  <a:pt x="3962" y="328"/>
                </a:lnTo>
                <a:lnTo>
                  <a:pt x="3968" y="330"/>
                </a:lnTo>
                <a:lnTo>
                  <a:pt x="3968" y="330"/>
                </a:lnTo>
                <a:lnTo>
                  <a:pt x="3968" y="330"/>
                </a:lnTo>
                <a:lnTo>
                  <a:pt x="3958" y="336"/>
                </a:lnTo>
                <a:lnTo>
                  <a:pt x="3958" y="336"/>
                </a:lnTo>
                <a:lnTo>
                  <a:pt x="3962" y="340"/>
                </a:lnTo>
                <a:lnTo>
                  <a:pt x="3962" y="340"/>
                </a:lnTo>
                <a:lnTo>
                  <a:pt x="3956" y="342"/>
                </a:lnTo>
                <a:lnTo>
                  <a:pt x="3956" y="342"/>
                </a:lnTo>
                <a:lnTo>
                  <a:pt x="3960" y="346"/>
                </a:lnTo>
                <a:lnTo>
                  <a:pt x="3964" y="348"/>
                </a:lnTo>
                <a:lnTo>
                  <a:pt x="3970" y="350"/>
                </a:lnTo>
                <a:lnTo>
                  <a:pt x="3974" y="352"/>
                </a:lnTo>
                <a:lnTo>
                  <a:pt x="3974" y="352"/>
                </a:lnTo>
                <a:lnTo>
                  <a:pt x="3968" y="356"/>
                </a:lnTo>
                <a:lnTo>
                  <a:pt x="3960" y="356"/>
                </a:lnTo>
                <a:lnTo>
                  <a:pt x="3946" y="356"/>
                </a:lnTo>
                <a:lnTo>
                  <a:pt x="3946" y="356"/>
                </a:lnTo>
                <a:close/>
                <a:moveTo>
                  <a:pt x="4034" y="916"/>
                </a:moveTo>
                <a:lnTo>
                  <a:pt x="4034" y="916"/>
                </a:lnTo>
                <a:lnTo>
                  <a:pt x="4012" y="918"/>
                </a:lnTo>
                <a:lnTo>
                  <a:pt x="4012" y="918"/>
                </a:lnTo>
                <a:lnTo>
                  <a:pt x="4006" y="918"/>
                </a:lnTo>
                <a:lnTo>
                  <a:pt x="4000" y="918"/>
                </a:lnTo>
                <a:lnTo>
                  <a:pt x="4000" y="918"/>
                </a:lnTo>
                <a:lnTo>
                  <a:pt x="3994" y="918"/>
                </a:lnTo>
                <a:lnTo>
                  <a:pt x="3990" y="918"/>
                </a:lnTo>
                <a:lnTo>
                  <a:pt x="3982" y="914"/>
                </a:lnTo>
                <a:lnTo>
                  <a:pt x="3982" y="914"/>
                </a:lnTo>
                <a:lnTo>
                  <a:pt x="3966" y="906"/>
                </a:lnTo>
                <a:lnTo>
                  <a:pt x="3966" y="906"/>
                </a:lnTo>
                <a:lnTo>
                  <a:pt x="3970" y="902"/>
                </a:lnTo>
                <a:lnTo>
                  <a:pt x="3972" y="902"/>
                </a:lnTo>
                <a:lnTo>
                  <a:pt x="3978" y="902"/>
                </a:lnTo>
                <a:lnTo>
                  <a:pt x="3978" y="902"/>
                </a:lnTo>
                <a:lnTo>
                  <a:pt x="4020" y="908"/>
                </a:lnTo>
                <a:lnTo>
                  <a:pt x="4020" y="908"/>
                </a:lnTo>
                <a:lnTo>
                  <a:pt x="4036" y="914"/>
                </a:lnTo>
                <a:lnTo>
                  <a:pt x="4036" y="914"/>
                </a:lnTo>
                <a:lnTo>
                  <a:pt x="4034" y="916"/>
                </a:lnTo>
                <a:lnTo>
                  <a:pt x="4034" y="916"/>
                </a:lnTo>
                <a:close/>
                <a:moveTo>
                  <a:pt x="4028" y="182"/>
                </a:moveTo>
                <a:lnTo>
                  <a:pt x="4028" y="182"/>
                </a:lnTo>
                <a:lnTo>
                  <a:pt x="4032" y="172"/>
                </a:lnTo>
                <a:lnTo>
                  <a:pt x="4032" y="172"/>
                </a:lnTo>
                <a:lnTo>
                  <a:pt x="4042" y="174"/>
                </a:lnTo>
                <a:lnTo>
                  <a:pt x="4048" y="176"/>
                </a:lnTo>
                <a:lnTo>
                  <a:pt x="4050" y="178"/>
                </a:lnTo>
                <a:lnTo>
                  <a:pt x="4050" y="182"/>
                </a:lnTo>
                <a:lnTo>
                  <a:pt x="4050" y="182"/>
                </a:lnTo>
                <a:lnTo>
                  <a:pt x="4028" y="182"/>
                </a:lnTo>
                <a:lnTo>
                  <a:pt x="4028" y="182"/>
                </a:lnTo>
                <a:close/>
                <a:moveTo>
                  <a:pt x="4064" y="88"/>
                </a:moveTo>
                <a:lnTo>
                  <a:pt x="4064" y="88"/>
                </a:lnTo>
                <a:lnTo>
                  <a:pt x="4052" y="86"/>
                </a:lnTo>
                <a:lnTo>
                  <a:pt x="4040" y="82"/>
                </a:lnTo>
                <a:lnTo>
                  <a:pt x="4040" y="82"/>
                </a:lnTo>
                <a:lnTo>
                  <a:pt x="4030" y="82"/>
                </a:lnTo>
                <a:lnTo>
                  <a:pt x="4018" y="82"/>
                </a:lnTo>
                <a:lnTo>
                  <a:pt x="4018" y="82"/>
                </a:lnTo>
                <a:lnTo>
                  <a:pt x="4008" y="84"/>
                </a:lnTo>
                <a:lnTo>
                  <a:pt x="3996" y="86"/>
                </a:lnTo>
                <a:lnTo>
                  <a:pt x="3996" y="86"/>
                </a:lnTo>
                <a:lnTo>
                  <a:pt x="3980" y="84"/>
                </a:lnTo>
                <a:lnTo>
                  <a:pt x="3964" y="80"/>
                </a:lnTo>
                <a:lnTo>
                  <a:pt x="3964" y="80"/>
                </a:lnTo>
                <a:lnTo>
                  <a:pt x="3950" y="76"/>
                </a:lnTo>
                <a:lnTo>
                  <a:pt x="3950" y="76"/>
                </a:lnTo>
                <a:lnTo>
                  <a:pt x="3960" y="74"/>
                </a:lnTo>
                <a:lnTo>
                  <a:pt x="3964" y="72"/>
                </a:lnTo>
                <a:lnTo>
                  <a:pt x="3966" y="70"/>
                </a:lnTo>
                <a:lnTo>
                  <a:pt x="3966" y="70"/>
                </a:lnTo>
                <a:lnTo>
                  <a:pt x="3970" y="68"/>
                </a:lnTo>
                <a:lnTo>
                  <a:pt x="3970" y="68"/>
                </a:lnTo>
                <a:lnTo>
                  <a:pt x="3976" y="66"/>
                </a:lnTo>
                <a:lnTo>
                  <a:pt x="3982" y="66"/>
                </a:lnTo>
                <a:lnTo>
                  <a:pt x="3994" y="68"/>
                </a:lnTo>
                <a:lnTo>
                  <a:pt x="3994" y="68"/>
                </a:lnTo>
                <a:lnTo>
                  <a:pt x="3998" y="70"/>
                </a:lnTo>
                <a:lnTo>
                  <a:pt x="4000" y="72"/>
                </a:lnTo>
                <a:lnTo>
                  <a:pt x="3998" y="76"/>
                </a:lnTo>
                <a:lnTo>
                  <a:pt x="3996" y="80"/>
                </a:lnTo>
                <a:lnTo>
                  <a:pt x="3996" y="80"/>
                </a:lnTo>
                <a:lnTo>
                  <a:pt x="4002" y="80"/>
                </a:lnTo>
                <a:lnTo>
                  <a:pt x="4002" y="80"/>
                </a:lnTo>
                <a:lnTo>
                  <a:pt x="4008" y="76"/>
                </a:lnTo>
                <a:lnTo>
                  <a:pt x="4016" y="76"/>
                </a:lnTo>
                <a:lnTo>
                  <a:pt x="4030" y="74"/>
                </a:lnTo>
                <a:lnTo>
                  <a:pt x="4030" y="74"/>
                </a:lnTo>
                <a:lnTo>
                  <a:pt x="4036" y="74"/>
                </a:lnTo>
                <a:lnTo>
                  <a:pt x="4036" y="74"/>
                </a:lnTo>
                <a:lnTo>
                  <a:pt x="4044" y="76"/>
                </a:lnTo>
                <a:lnTo>
                  <a:pt x="4054" y="78"/>
                </a:lnTo>
                <a:lnTo>
                  <a:pt x="4054" y="78"/>
                </a:lnTo>
                <a:lnTo>
                  <a:pt x="4060" y="78"/>
                </a:lnTo>
                <a:lnTo>
                  <a:pt x="4064" y="80"/>
                </a:lnTo>
                <a:lnTo>
                  <a:pt x="4064" y="84"/>
                </a:lnTo>
                <a:lnTo>
                  <a:pt x="4064" y="88"/>
                </a:lnTo>
                <a:lnTo>
                  <a:pt x="4064" y="88"/>
                </a:lnTo>
                <a:close/>
                <a:moveTo>
                  <a:pt x="4098" y="84"/>
                </a:moveTo>
                <a:lnTo>
                  <a:pt x="4098" y="84"/>
                </a:lnTo>
                <a:lnTo>
                  <a:pt x="4098" y="88"/>
                </a:lnTo>
                <a:lnTo>
                  <a:pt x="4098" y="88"/>
                </a:lnTo>
                <a:lnTo>
                  <a:pt x="4094" y="90"/>
                </a:lnTo>
                <a:lnTo>
                  <a:pt x="4094" y="90"/>
                </a:lnTo>
                <a:lnTo>
                  <a:pt x="4086" y="90"/>
                </a:lnTo>
                <a:lnTo>
                  <a:pt x="4078" y="88"/>
                </a:lnTo>
                <a:lnTo>
                  <a:pt x="4078" y="88"/>
                </a:lnTo>
                <a:lnTo>
                  <a:pt x="4078" y="88"/>
                </a:lnTo>
                <a:lnTo>
                  <a:pt x="4088" y="84"/>
                </a:lnTo>
                <a:lnTo>
                  <a:pt x="4094" y="84"/>
                </a:lnTo>
                <a:lnTo>
                  <a:pt x="4098" y="84"/>
                </a:lnTo>
                <a:lnTo>
                  <a:pt x="4098" y="84"/>
                </a:lnTo>
                <a:close/>
                <a:moveTo>
                  <a:pt x="4078" y="898"/>
                </a:moveTo>
                <a:lnTo>
                  <a:pt x="4078" y="898"/>
                </a:lnTo>
                <a:lnTo>
                  <a:pt x="4070" y="900"/>
                </a:lnTo>
                <a:lnTo>
                  <a:pt x="4070" y="900"/>
                </a:lnTo>
                <a:lnTo>
                  <a:pt x="4070" y="896"/>
                </a:lnTo>
                <a:lnTo>
                  <a:pt x="4072" y="894"/>
                </a:lnTo>
                <a:lnTo>
                  <a:pt x="4078" y="894"/>
                </a:lnTo>
                <a:lnTo>
                  <a:pt x="4088" y="896"/>
                </a:lnTo>
                <a:lnTo>
                  <a:pt x="4088" y="896"/>
                </a:lnTo>
                <a:lnTo>
                  <a:pt x="4088" y="896"/>
                </a:lnTo>
                <a:lnTo>
                  <a:pt x="4078" y="898"/>
                </a:lnTo>
                <a:lnTo>
                  <a:pt x="4078" y="898"/>
                </a:lnTo>
                <a:close/>
                <a:moveTo>
                  <a:pt x="4092" y="176"/>
                </a:moveTo>
                <a:lnTo>
                  <a:pt x="4092" y="176"/>
                </a:lnTo>
                <a:lnTo>
                  <a:pt x="4080" y="176"/>
                </a:lnTo>
                <a:lnTo>
                  <a:pt x="4080" y="176"/>
                </a:lnTo>
                <a:lnTo>
                  <a:pt x="4080" y="174"/>
                </a:lnTo>
                <a:lnTo>
                  <a:pt x="4084" y="172"/>
                </a:lnTo>
                <a:lnTo>
                  <a:pt x="4090" y="170"/>
                </a:lnTo>
                <a:lnTo>
                  <a:pt x="4090" y="170"/>
                </a:lnTo>
                <a:lnTo>
                  <a:pt x="4092" y="172"/>
                </a:lnTo>
                <a:lnTo>
                  <a:pt x="4092" y="172"/>
                </a:lnTo>
                <a:lnTo>
                  <a:pt x="4092" y="176"/>
                </a:lnTo>
                <a:lnTo>
                  <a:pt x="4092" y="176"/>
                </a:lnTo>
                <a:close/>
                <a:moveTo>
                  <a:pt x="4090" y="162"/>
                </a:moveTo>
                <a:lnTo>
                  <a:pt x="4090" y="162"/>
                </a:lnTo>
                <a:lnTo>
                  <a:pt x="4096" y="158"/>
                </a:lnTo>
                <a:lnTo>
                  <a:pt x="4100" y="156"/>
                </a:lnTo>
                <a:lnTo>
                  <a:pt x="4104" y="158"/>
                </a:lnTo>
                <a:lnTo>
                  <a:pt x="4108" y="160"/>
                </a:lnTo>
                <a:lnTo>
                  <a:pt x="4108" y="160"/>
                </a:lnTo>
                <a:lnTo>
                  <a:pt x="4100" y="164"/>
                </a:lnTo>
                <a:lnTo>
                  <a:pt x="4090" y="162"/>
                </a:lnTo>
                <a:lnTo>
                  <a:pt x="4090" y="162"/>
                </a:lnTo>
                <a:close/>
                <a:moveTo>
                  <a:pt x="4116" y="90"/>
                </a:moveTo>
                <a:lnTo>
                  <a:pt x="4116" y="90"/>
                </a:lnTo>
                <a:lnTo>
                  <a:pt x="4124" y="88"/>
                </a:lnTo>
                <a:lnTo>
                  <a:pt x="4130" y="86"/>
                </a:lnTo>
                <a:lnTo>
                  <a:pt x="4132" y="88"/>
                </a:lnTo>
                <a:lnTo>
                  <a:pt x="4136" y="92"/>
                </a:lnTo>
                <a:lnTo>
                  <a:pt x="4136" y="92"/>
                </a:lnTo>
                <a:lnTo>
                  <a:pt x="4130" y="94"/>
                </a:lnTo>
                <a:lnTo>
                  <a:pt x="4126" y="94"/>
                </a:lnTo>
                <a:lnTo>
                  <a:pt x="4122" y="94"/>
                </a:lnTo>
                <a:lnTo>
                  <a:pt x="4116" y="90"/>
                </a:lnTo>
                <a:lnTo>
                  <a:pt x="4116" y="90"/>
                </a:lnTo>
                <a:close/>
                <a:moveTo>
                  <a:pt x="4220" y="192"/>
                </a:moveTo>
                <a:lnTo>
                  <a:pt x="4220" y="192"/>
                </a:lnTo>
                <a:lnTo>
                  <a:pt x="4224" y="194"/>
                </a:lnTo>
                <a:lnTo>
                  <a:pt x="4224" y="194"/>
                </a:lnTo>
                <a:lnTo>
                  <a:pt x="4220" y="194"/>
                </a:lnTo>
                <a:lnTo>
                  <a:pt x="4220" y="194"/>
                </a:lnTo>
                <a:lnTo>
                  <a:pt x="4218" y="194"/>
                </a:lnTo>
                <a:lnTo>
                  <a:pt x="4218" y="194"/>
                </a:lnTo>
                <a:lnTo>
                  <a:pt x="4220" y="192"/>
                </a:lnTo>
                <a:lnTo>
                  <a:pt x="4220" y="192"/>
                </a:lnTo>
                <a:close/>
                <a:moveTo>
                  <a:pt x="4198" y="154"/>
                </a:moveTo>
                <a:lnTo>
                  <a:pt x="4198" y="154"/>
                </a:lnTo>
                <a:lnTo>
                  <a:pt x="4200" y="156"/>
                </a:lnTo>
                <a:lnTo>
                  <a:pt x="4200" y="156"/>
                </a:lnTo>
                <a:lnTo>
                  <a:pt x="4196" y="156"/>
                </a:lnTo>
                <a:lnTo>
                  <a:pt x="4196" y="156"/>
                </a:lnTo>
                <a:lnTo>
                  <a:pt x="4194" y="154"/>
                </a:lnTo>
                <a:lnTo>
                  <a:pt x="4194" y="154"/>
                </a:lnTo>
                <a:lnTo>
                  <a:pt x="4198" y="154"/>
                </a:lnTo>
                <a:lnTo>
                  <a:pt x="4198" y="154"/>
                </a:lnTo>
                <a:close/>
                <a:moveTo>
                  <a:pt x="4190" y="180"/>
                </a:moveTo>
                <a:lnTo>
                  <a:pt x="4190" y="180"/>
                </a:lnTo>
                <a:lnTo>
                  <a:pt x="4194" y="180"/>
                </a:lnTo>
                <a:lnTo>
                  <a:pt x="4202" y="182"/>
                </a:lnTo>
                <a:lnTo>
                  <a:pt x="4202" y="182"/>
                </a:lnTo>
                <a:lnTo>
                  <a:pt x="4196" y="186"/>
                </a:lnTo>
                <a:lnTo>
                  <a:pt x="4190" y="188"/>
                </a:lnTo>
                <a:lnTo>
                  <a:pt x="4174" y="190"/>
                </a:lnTo>
                <a:lnTo>
                  <a:pt x="4174" y="190"/>
                </a:lnTo>
                <a:lnTo>
                  <a:pt x="4170" y="182"/>
                </a:lnTo>
                <a:lnTo>
                  <a:pt x="4170" y="182"/>
                </a:lnTo>
                <a:lnTo>
                  <a:pt x="4180" y="182"/>
                </a:lnTo>
                <a:lnTo>
                  <a:pt x="4190" y="180"/>
                </a:lnTo>
                <a:lnTo>
                  <a:pt x="4190" y="180"/>
                </a:lnTo>
                <a:close/>
                <a:moveTo>
                  <a:pt x="4158" y="186"/>
                </a:moveTo>
                <a:lnTo>
                  <a:pt x="4158" y="186"/>
                </a:lnTo>
                <a:lnTo>
                  <a:pt x="4156" y="180"/>
                </a:lnTo>
                <a:lnTo>
                  <a:pt x="4156" y="178"/>
                </a:lnTo>
                <a:lnTo>
                  <a:pt x="4156" y="176"/>
                </a:lnTo>
                <a:lnTo>
                  <a:pt x="4156" y="176"/>
                </a:lnTo>
                <a:lnTo>
                  <a:pt x="4160" y="174"/>
                </a:lnTo>
                <a:lnTo>
                  <a:pt x="4164" y="174"/>
                </a:lnTo>
                <a:lnTo>
                  <a:pt x="4172" y="176"/>
                </a:lnTo>
                <a:lnTo>
                  <a:pt x="4172" y="176"/>
                </a:lnTo>
                <a:lnTo>
                  <a:pt x="4170" y="182"/>
                </a:lnTo>
                <a:lnTo>
                  <a:pt x="4170" y="182"/>
                </a:lnTo>
                <a:lnTo>
                  <a:pt x="4164" y="184"/>
                </a:lnTo>
                <a:lnTo>
                  <a:pt x="4164" y="184"/>
                </a:lnTo>
                <a:lnTo>
                  <a:pt x="4158" y="186"/>
                </a:lnTo>
                <a:lnTo>
                  <a:pt x="4158" y="186"/>
                </a:lnTo>
                <a:close/>
                <a:moveTo>
                  <a:pt x="4230" y="230"/>
                </a:moveTo>
                <a:lnTo>
                  <a:pt x="4230" y="230"/>
                </a:lnTo>
                <a:lnTo>
                  <a:pt x="4224" y="234"/>
                </a:lnTo>
                <a:lnTo>
                  <a:pt x="4216" y="236"/>
                </a:lnTo>
                <a:lnTo>
                  <a:pt x="4216" y="236"/>
                </a:lnTo>
                <a:lnTo>
                  <a:pt x="4204" y="238"/>
                </a:lnTo>
                <a:lnTo>
                  <a:pt x="4204" y="238"/>
                </a:lnTo>
                <a:lnTo>
                  <a:pt x="4196" y="234"/>
                </a:lnTo>
                <a:lnTo>
                  <a:pt x="4186" y="232"/>
                </a:lnTo>
                <a:lnTo>
                  <a:pt x="4186" y="232"/>
                </a:lnTo>
                <a:lnTo>
                  <a:pt x="4180" y="232"/>
                </a:lnTo>
                <a:lnTo>
                  <a:pt x="4176" y="230"/>
                </a:lnTo>
                <a:lnTo>
                  <a:pt x="4170" y="224"/>
                </a:lnTo>
                <a:lnTo>
                  <a:pt x="4170" y="224"/>
                </a:lnTo>
                <a:lnTo>
                  <a:pt x="4170" y="220"/>
                </a:lnTo>
                <a:lnTo>
                  <a:pt x="4172" y="216"/>
                </a:lnTo>
                <a:lnTo>
                  <a:pt x="4172" y="216"/>
                </a:lnTo>
                <a:lnTo>
                  <a:pt x="4182" y="208"/>
                </a:lnTo>
                <a:lnTo>
                  <a:pt x="4182" y="208"/>
                </a:lnTo>
                <a:lnTo>
                  <a:pt x="4184" y="206"/>
                </a:lnTo>
                <a:lnTo>
                  <a:pt x="4184" y="206"/>
                </a:lnTo>
                <a:lnTo>
                  <a:pt x="4202" y="210"/>
                </a:lnTo>
                <a:lnTo>
                  <a:pt x="4220" y="214"/>
                </a:lnTo>
                <a:lnTo>
                  <a:pt x="4220" y="214"/>
                </a:lnTo>
                <a:lnTo>
                  <a:pt x="4224" y="218"/>
                </a:lnTo>
                <a:lnTo>
                  <a:pt x="4226" y="220"/>
                </a:lnTo>
                <a:lnTo>
                  <a:pt x="4226" y="220"/>
                </a:lnTo>
                <a:lnTo>
                  <a:pt x="4230" y="226"/>
                </a:lnTo>
                <a:lnTo>
                  <a:pt x="4232" y="228"/>
                </a:lnTo>
                <a:lnTo>
                  <a:pt x="4230" y="230"/>
                </a:lnTo>
                <a:lnTo>
                  <a:pt x="4230" y="230"/>
                </a:lnTo>
                <a:close/>
                <a:moveTo>
                  <a:pt x="4246" y="202"/>
                </a:moveTo>
                <a:lnTo>
                  <a:pt x="4246" y="202"/>
                </a:lnTo>
                <a:lnTo>
                  <a:pt x="4236" y="196"/>
                </a:lnTo>
                <a:lnTo>
                  <a:pt x="4236" y="196"/>
                </a:lnTo>
                <a:lnTo>
                  <a:pt x="4242" y="194"/>
                </a:lnTo>
                <a:lnTo>
                  <a:pt x="4244" y="196"/>
                </a:lnTo>
                <a:lnTo>
                  <a:pt x="4250" y="200"/>
                </a:lnTo>
                <a:lnTo>
                  <a:pt x="4250" y="200"/>
                </a:lnTo>
                <a:lnTo>
                  <a:pt x="4246" y="202"/>
                </a:lnTo>
                <a:lnTo>
                  <a:pt x="4246" y="202"/>
                </a:lnTo>
                <a:close/>
                <a:moveTo>
                  <a:pt x="4282" y="188"/>
                </a:moveTo>
                <a:lnTo>
                  <a:pt x="4282" y="188"/>
                </a:lnTo>
                <a:lnTo>
                  <a:pt x="4280" y="188"/>
                </a:lnTo>
                <a:lnTo>
                  <a:pt x="4280" y="188"/>
                </a:lnTo>
                <a:lnTo>
                  <a:pt x="4278" y="188"/>
                </a:lnTo>
                <a:lnTo>
                  <a:pt x="4278" y="188"/>
                </a:lnTo>
                <a:lnTo>
                  <a:pt x="4280" y="186"/>
                </a:lnTo>
                <a:lnTo>
                  <a:pt x="4280" y="186"/>
                </a:lnTo>
                <a:lnTo>
                  <a:pt x="4282" y="188"/>
                </a:lnTo>
                <a:lnTo>
                  <a:pt x="4282" y="188"/>
                </a:lnTo>
                <a:close/>
                <a:moveTo>
                  <a:pt x="4360" y="322"/>
                </a:moveTo>
                <a:lnTo>
                  <a:pt x="4360" y="322"/>
                </a:lnTo>
                <a:lnTo>
                  <a:pt x="4350" y="322"/>
                </a:lnTo>
                <a:lnTo>
                  <a:pt x="4350" y="322"/>
                </a:lnTo>
                <a:lnTo>
                  <a:pt x="4352" y="316"/>
                </a:lnTo>
                <a:lnTo>
                  <a:pt x="4352" y="316"/>
                </a:lnTo>
                <a:lnTo>
                  <a:pt x="4360" y="322"/>
                </a:lnTo>
                <a:lnTo>
                  <a:pt x="4360" y="322"/>
                </a:lnTo>
                <a:close/>
                <a:moveTo>
                  <a:pt x="4426" y="194"/>
                </a:moveTo>
                <a:lnTo>
                  <a:pt x="4426" y="194"/>
                </a:lnTo>
                <a:lnTo>
                  <a:pt x="4414" y="192"/>
                </a:lnTo>
                <a:lnTo>
                  <a:pt x="4414" y="192"/>
                </a:lnTo>
                <a:lnTo>
                  <a:pt x="4420" y="190"/>
                </a:lnTo>
                <a:lnTo>
                  <a:pt x="4426" y="194"/>
                </a:lnTo>
                <a:lnTo>
                  <a:pt x="4426" y="194"/>
                </a:lnTo>
                <a:close/>
                <a:moveTo>
                  <a:pt x="4300" y="194"/>
                </a:moveTo>
                <a:lnTo>
                  <a:pt x="4300" y="194"/>
                </a:lnTo>
                <a:lnTo>
                  <a:pt x="4296" y="192"/>
                </a:lnTo>
                <a:lnTo>
                  <a:pt x="4296" y="192"/>
                </a:lnTo>
                <a:lnTo>
                  <a:pt x="4298" y="190"/>
                </a:lnTo>
                <a:lnTo>
                  <a:pt x="4298" y="190"/>
                </a:lnTo>
                <a:lnTo>
                  <a:pt x="4304" y="192"/>
                </a:lnTo>
                <a:lnTo>
                  <a:pt x="4304" y="192"/>
                </a:lnTo>
                <a:lnTo>
                  <a:pt x="4300" y="194"/>
                </a:lnTo>
                <a:lnTo>
                  <a:pt x="4300" y="194"/>
                </a:lnTo>
                <a:close/>
                <a:moveTo>
                  <a:pt x="4314" y="194"/>
                </a:moveTo>
                <a:lnTo>
                  <a:pt x="4314" y="194"/>
                </a:lnTo>
                <a:lnTo>
                  <a:pt x="4322" y="192"/>
                </a:lnTo>
                <a:lnTo>
                  <a:pt x="4322" y="192"/>
                </a:lnTo>
                <a:lnTo>
                  <a:pt x="4318" y="196"/>
                </a:lnTo>
                <a:lnTo>
                  <a:pt x="4314" y="194"/>
                </a:lnTo>
                <a:lnTo>
                  <a:pt x="4314" y="194"/>
                </a:lnTo>
                <a:close/>
                <a:moveTo>
                  <a:pt x="4336" y="296"/>
                </a:moveTo>
                <a:lnTo>
                  <a:pt x="4336" y="296"/>
                </a:lnTo>
                <a:lnTo>
                  <a:pt x="4334" y="292"/>
                </a:lnTo>
                <a:lnTo>
                  <a:pt x="4332" y="290"/>
                </a:lnTo>
                <a:lnTo>
                  <a:pt x="4324" y="286"/>
                </a:lnTo>
                <a:lnTo>
                  <a:pt x="4324" y="286"/>
                </a:lnTo>
                <a:lnTo>
                  <a:pt x="4318" y="276"/>
                </a:lnTo>
                <a:lnTo>
                  <a:pt x="4318" y="276"/>
                </a:lnTo>
                <a:lnTo>
                  <a:pt x="4326" y="272"/>
                </a:lnTo>
                <a:lnTo>
                  <a:pt x="4332" y="270"/>
                </a:lnTo>
                <a:lnTo>
                  <a:pt x="4336" y="270"/>
                </a:lnTo>
                <a:lnTo>
                  <a:pt x="4336" y="270"/>
                </a:lnTo>
                <a:lnTo>
                  <a:pt x="4342" y="270"/>
                </a:lnTo>
                <a:lnTo>
                  <a:pt x="4348" y="268"/>
                </a:lnTo>
                <a:lnTo>
                  <a:pt x="4348" y="268"/>
                </a:lnTo>
                <a:lnTo>
                  <a:pt x="4354" y="266"/>
                </a:lnTo>
                <a:lnTo>
                  <a:pt x="4362" y="264"/>
                </a:lnTo>
                <a:lnTo>
                  <a:pt x="4370" y="266"/>
                </a:lnTo>
                <a:lnTo>
                  <a:pt x="4376" y="268"/>
                </a:lnTo>
                <a:lnTo>
                  <a:pt x="4376" y="268"/>
                </a:lnTo>
                <a:lnTo>
                  <a:pt x="4382" y="272"/>
                </a:lnTo>
                <a:lnTo>
                  <a:pt x="4382" y="272"/>
                </a:lnTo>
                <a:lnTo>
                  <a:pt x="4394" y="270"/>
                </a:lnTo>
                <a:lnTo>
                  <a:pt x="4402" y="270"/>
                </a:lnTo>
                <a:lnTo>
                  <a:pt x="4406" y="272"/>
                </a:lnTo>
                <a:lnTo>
                  <a:pt x="4406" y="272"/>
                </a:lnTo>
                <a:lnTo>
                  <a:pt x="4420" y="268"/>
                </a:lnTo>
                <a:lnTo>
                  <a:pt x="4420" y="268"/>
                </a:lnTo>
                <a:lnTo>
                  <a:pt x="4426" y="270"/>
                </a:lnTo>
                <a:lnTo>
                  <a:pt x="4426" y="270"/>
                </a:lnTo>
                <a:lnTo>
                  <a:pt x="4448" y="280"/>
                </a:lnTo>
                <a:lnTo>
                  <a:pt x="4448" y="280"/>
                </a:lnTo>
                <a:lnTo>
                  <a:pt x="4446" y="290"/>
                </a:lnTo>
                <a:lnTo>
                  <a:pt x="4442" y="294"/>
                </a:lnTo>
                <a:lnTo>
                  <a:pt x="4436" y="298"/>
                </a:lnTo>
                <a:lnTo>
                  <a:pt x="4436" y="298"/>
                </a:lnTo>
                <a:lnTo>
                  <a:pt x="4420" y="294"/>
                </a:lnTo>
                <a:lnTo>
                  <a:pt x="4414" y="290"/>
                </a:lnTo>
                <a:lnTo>
                  <a:pt x="4414" y="288"/>
                </a:lnTo>
                <a:lnTo>
                  <a:pt x="4414" y="284"/>
                </a:lnTo>
                <a:lnTo>
                  <a:pt x="4414" y="284"/>
                </a:lnTo>
                <a:lnTo>
                  <a:pt x="4406" y="282"/>
                </a:lnTo>
                <a:lnTo>
                  <a:pt x="4406" y="282"/>
                </a:lnTo>
                <a:lnTo>
                  <a:pt x="4400" y="280"/>
                </a:lnTo>
                <a:lnTo>
                  <a:pt x="4396" y="284"/>
                </a:lnTo>
                <a:lnTo>
                  <a:pt x="4396" y="284"/>
                </a:lnTo>
                <a:lnTo>
                  <a:pt x="4390" y="286"/>
                </a:lnTo>
                <a:lnTo>
                  <a:pt x="4382" y="286"/>
                </a:lnTo>
                <a:lnTo>
                  <a:pt x="4382" y="286"/>
                </a:lnTo>
                <a:lnTo>
                  <a:pt x="4378" y="284"/>
                </a:lnTo>
                <a:lnTo>
                  <a:pt x="4376" y="284"/>
                </a:lnTo>
                <a:lnTo>
                  <a:pt x="4378" y="278"/>
                </a:lnTo>
                <a:lnTo>
                  <a:pt x="4378" y="278"/>
                </a:lnTo>
                <a:lnTo>
                  <a:pt x="4378" y="276"/>
                </a:lnTo>
                <a:lnTo>
                  <a:pt x="4378" y="276"/>
                </a:lnTo>
                <a:lnTo>
                  <a:pt x="4368" y="278"/>
                </a:lnTo>
                <a:lnTo>
                  <a:pt x="4366" y="282"/>
                </a:lnTo>
                <a:lnTo>
                  <a:pt x="4364" y="284"/>
                </a:lnTo>
                <a:lnTo>
                  <a:pt x="4364" y="284"/>
                </a:lnTo>
                <a:lnTo>
                  <a:pt x="4360" y="290"/>
                </a:lnTo>
                <a:lnTo>
                  <a:pt x="4354" y="294"/>
                </a:lnTo>
                <a:lnTo>
                  <a:pt x="4346" y="296"/>
                </a:lnTo>
                <a:lnTo>
                  <a:pt x="4336" y="296"/>
                </a:lnTo>
                <a:lnTo>
                  <a:pt x="4336" y="296"/>
                </a:lnTo>
                <a:close/>
                <a:moveTo>
                  <a:pt x="4396" y="854"/>
                </a:moveTo>
                <a:lnTo>
                  <a:pt x="4396" y="854"/>
                </a:lnTo>
                <a:lnTo>
                  <a:pt x="4392" y="854"/>
                </a:lnTo>
                <a:lnTo>
                  <a:pt x="4390" y="854"/>
                </a:lnTo>
                <a:lnTo>
                  <a:pt x="4384" y="846"/>
                </a:lnTo>
                <a:lnTo>
                  <a:pt x="4384" y="846"/>
                </a:lnTo>
                <a:lnTo>
                  <a:pt x="4388" y="844"/>
                </a:lnTo>
                <a:lnTo>
                  <a:pt x="4394" y="844"/>
                </a:lnTo>
                <a:lnTo>
                  <a:pt x="4404" y="846"/>
                </a:lnTo>
                <a:lnTo>
                  <a:pt x="4404" y="846"/>
                </a:lnTo>
                <a:lnTo>
                  <a:pt x="4402" y="852"/>
                </a:lnTo>
                <a:lnTo>
                  <a:pt x="4400" y="854"/>
                </a:lnTo>
                <a:lnTo>
                  <a:pt x="4396" y="854"/>
                </a:lnTo>
                <a:lnTo>
                  <a:pt x="4396" y="854"/>
                </a:lnTo>
                <a:close/>
                <a:moveTo>
                  <a:pt x="4424" y="854"/>
                </a:moveTo>
                <a:lnTo>
                  <a:pt x="4424" y="854"/>
                </a:lnTo>
                <a:lnTo>
                  <a:pt x="4422" y="856"/>
                </a:lnTo>
                <a:lnTo>
                  <a:pt x="4418" y="856"/>
                </a:lnTo>
                <a:lnTo>
                  <a:pt x="4414" y="852"/>
                </a:lnTo>
                <a:lnTo>
                  <a:pt x="4414" y="852"/>
                </a:lnTo>
                <a:lnTo>
                  <a:pt x="4414" y="852"/>
                </a:lnTo>
                <a:lnTo>
                  <a:pt x="4424" y="852"/>
                </a:lnTo>
                <a:lnTo>
                  <a:pt x="4424" y="852"/>
                </a:lnTo>
                <a:lnTo>
                  <a:pt x="4424" y="854"/>
                </a:lnTo>
                <a:lnTo>
                  <a:pt x="4424" y="854"/>
                </a:lnTo>
                <a:close/>
              </a:path>
            </a:pathLst>
          </a:custGeom>
          <a:gradFill>
            <a:gsLst>
              <a:gs pos="100000">
                <a:schemeClr val="accent1">
                  <a:alpha val="79000"/>
                </a:schemeClr>
              </a:gs>
              <a:gs pos="0">
                <a:schemeClr val="accent2">
                  <a:alpha val="89000"/>
                </a:schemeClr>
              </a:gs>
            </a:gsLst>
            <a:lin ang="162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2673" name="Freeform 39"/>
          <p:cNvSpPr>
            <a:spLocks noEditPoints="1"/>
          </p:cNvSpPr>
          <p:nvPr/>
        </p:nvSpPr>
        <p:spPr bwMode="auto">
          <a:xfrm>
            <a:off x="1854636" y="2418152"/>
            <a:ext cx="2662137" cy="849190"/>
          </a:xfrm>
          <a:custGeom>
            <a:avLst/>
            <a:gdLst>
              <a:gd name="T0" fmla="*/ 4450 w 4566"/>
              <a:gd name="T1" fmla="*/ 308 h 1298"/>
              <a:gd name="T2" fmla="*/ 4000 w 4566"/>
              <a:gd name="T3" fmla="*/ 56 h 1298"/>
              <a:gd name="T4" fmla="*/ 3598 w 4566"/>
              <a:gd name="T5" fmla="*/ 168 h 1298"/>
              <a:gd name="T6" fmla="*/ 3486 w 4566"/>
              <a:gd name="T7" fmla="*/ 234 h 1298"/>
              <a:gd name="T8" fmla="*/ 2992 w 4566"/>
              <a:gd name="T9" fmla="*/ 160 h 1298"/>
              <a:gd name="T10" fmla="*/ 2670 w 4566"/>
              <a:gd name="T11" fmla="*/ 98 h 1298"/>
              <a:gd name="T12" fmla="*/ 1792 w 4566"/>
              <a:gd name="T13" fmla="*/ 104 h 1298"/>
              <a:gd name="T14" fmla="*/ 876 w 4566"/>
              <a:gd name="T15" fmla="*/ 306 h 1298"/>
              <a:gd name="T16" fmla="*/ 370 w 4566"/>
              <a:gd name="T17" fmla="*/ 256 h 1298"/>
              <a:gd name="T18" fmla="*/ 62 w 4566"/>
              <a:gd name="T19" fmla="*/ 396 h 1298"/>
              <a:gd name="T20" fmla="*/ 336 w 4566"/>
              <a:gd name="T21" fmla="*/ 992 h 1298"/>
              <a:gd name="T22" fmla="*/ 740 w 4566"/>
              <a:gd name="T23" fmla="*/ 1050 h 1298"/>
              <a:gd name="T24" fmla="*/ 730 w 4566"/>
              <a:gd name="T25" fmla="*/ 1102 h 1298"/>
              <a:gd name="T26" fmla="*/ 1024 w 4566"/>
              <a:gd name="T27" fmla="*/ 1144 h 1298"/>
              <a:gd name="T28" fmla="*/ 952 w 4566"/>
              <a:gd name="T29" fmla="*/ 978 h 1298"/>
              <a:gd name="T30" fmla="*/ 1148 w 4566"/>
              <a:gd name="T31" fmla="*/ 1070 h 1298"/>
              <a:gd name="T32" fmla="*/ 1388 w 4566"/>
              <a:gd name="T33" fmla="*/ 1008 h 1298"/>
              <a:gd name="T34" fmla="*/ 1654 w 4566"/>
              <a:gd name="T35" fmla="*/ 1158 h 1298"/>
              <a:gd name="T36" fmla="*/ 1802 w 4566"/>
              <a:gd name="T37" fmla="*/ 1222 h 1298"/>
              <a:gd name="T38" fmla="*/ 2318 w 4566"/>
              <a:gd name="T39" fmla="*/ 1198 h 1298"/>
              <a:gd name="T40" fmla="*/ 2576 w 4566"/>
              <a:gd name="T41" fmla="*/ 1290 h 1298"/>
              <a:gd name="T42" fmla="*/ 3076 w 4566"/>
              <a:gd name="T43" fmla="*/ 1116 h 1298"/>
              <a:gd name="T44" fmla="*/ 3422 w 4566"/>
              <a:gd name="T45" fmla="*/ 1132 h 1298"/>
              <a:gd name="T46" fmla="*/ 3278 w 4566"/>
              <a:gd name="T47" fmla="*/ 1080 h 1298"/>
              <a:gd name="T48" fmla="*/ 3344 w 4566"/>
              <a:gd name="T49" fmla="*/ 1082 h 1298"/>
              <a:gd name="T50" fmla="*/ 3612 w 4566"/>
              <a:gd name="T51" fmla="*/ 1042 h 1298"/>
              <a:gd name="T52" fmla="*/ 3692 w 4566"/>
              <a:gd name="T53" fmla="*/ 1052 h 1298"/>
              <a:gd name="T54" fmla="*/ 3818 w 4566"/>
              <a:gd name="T55" fmla="*/ 1024 h 1298"/>
              <a:gd name="T56" fmla="*/ 4382 w 4566"/>
              <a:gd name="T57" fmla="*/ 966 h 1298"/>
              <a:gd name="T58" fmla="*/ 500 w 4566"/>
              <a:gd name="T59" fmla="*/ 926 h 1298"/>
              <a:gd name="T60" fmla="*/ 396 w 4566"/>
              <a:gd name="T61" fmla="*/ 844 h 1298"/>
              <a:gd name="T62" fmla="*/ 182 w 4566"/>
              <a:gd name="T63" fmla="*/ 876 h 1298"/>
              <a:gd name="T64" fmla="*/ 376 w 4566"/>
              <a:gd name="T65" fmla="*/ 972 h 1298"/>
              <a:gd name="T66" fmla="*/ 486 w 4566"/>
              <a:gd name="T67" fmla="*/ 936 h 1298"/>
              <a:gd name="T68" fmla="*/ 940 w 4566"/>
              <a:gd name="T69" fmla="*/ 1054 h 1298"/>
              <a:gd name="T70" fmla="*/ 858 w 4566"/>
              <a:gd name="T71" fmla="*/ 972 h 1298"/>
              <a:gd name="T72" fmla="*/ 816 w 4566"/>
              <a:gd name="T73" fmla="*/ 1114 h 1298"/>
              <a:gd name="T74" fmla="*/ 990 w 4566"/>
              <a:gd name="T75" fmla="*/ 994 h 1298"/>
              <a:gd name="T76" fmla="*/ 1010 w 4566"/>
              <a:gd name="T77" fmla="*/ 956 h 1298"/>
              <a:gd name="T78" fmla="*/ 1096 w 4566"/>
              <a:gd name="T79" fmla="*/ 946 h 1298"/>
              <a:gd name="T80" fmla="*/ 1356 w 4566"/>
              <a:gd name="T81" fmla="*/ 938 h 1298"/>
              <a:gd name="T82" fmla="*/ 1466 w 4566"/>
              <a:gd name="T83" fmla="*/ 966 h 1298"/>
              <a:gd name="T84" fmla="*/ 1556 w 4566"/>
              <a:gd name="T85" fmla="*/ 1020 h 1298"/>
              <a:gd name="T86" fmla="*/ 1964 w 4566"/>
              <a:gd name="T87" fmla="*/ 1048 h 1298"/>
              <a:gd name="T88" fmla="*/ 1822 w 4566"/>
              <a:gd name="T89" fmla="*/ 1144 h 1298"/>
              <a:gd name="T90" fmla="*/ 1796 w 4566"/>
              <a:gd name="T91" fmla="*/ 1080 h 1298"/>
              <a:gd name="T92" fmla="*/ 1976 w 4566"/>
              <a:gd name="T93" fmla="*/ 1070 h 1298"/>
              <a:gd name="T94" fmla="*/ 2278 w 4566"/>
              <a:gd name="T95" fmla="*/ 1132 h 1298"/>
              <a:gd name="T96" fmla="*/ 2440 w 4566"/>
              <a:gd name="T97" fmla="*/ 1168 h 1298"/>
              <a:gd name="T98" fmla="*/ 2570 w 4566"/>
              <a:gd name="T99" fmla="*/ 1170 h 1298"/>
              <a:gd name="T100" fmla="*/ 2756 w 4566"/>
              <a:gd name="T101" fmla="*/ 1236 h 1298"/>
              <a:gd name="T102" fmla="*/ 3002 w 4566"/>
              <a:gd name="T103" fmla="*/ 168 h 1298"/>
              <a:gd name="T104" fmla="*/ 3128 w 4566"/>
              <a:gd name="T105" fmla="*/ 1126 h 1298"/>
              <a:gd name="T106" fmla="*/ 3312 w 4566"/>
              <a:gd name="T107" fmla="*/ 1070 h 1298"/>
              <a:gd name="T108" fmla="*/ 3736 w 4566"/>
              <a:gd name="T109" fmla="*/ 224 h 1298"/>
              <a:gd name="T110" fmla="*/ 3670 w 4566"/>
              <a:gd name="T111" fmla="*/ 266 h 1298"/>
              <a:gd name="T112" fmla="*/ 3538 w 4566"/>
              <a:gd name="T113" fmla="*/ 980 h 1298"/>
              <a:gd name="T114" fmla="*/ 3426 w 4566"/>
              <a:gd name="T115" fmla="*/ 842 h 1298"/>
              <a:gd name="T116" fmla="*/ 3552 w 4566"/>
              <a:gd name="T117" fmla="*/ 1010 h 1298"/>
              <a:gd name="T118" fmla="*/ 3566 w 4566"/>
              <a:gd name="T119" fmla="*/ 986 h 1298"/>
              <a:gd name="T120" fmla="*/ 3812 w 4566"/>
              <a:gd name="T121" fmla="*/ 310 h 1298"/>
              <a:gd name="T122" fmla="*/ 3934 w 4566"/>
              <a:gd name="T123" fmla="*/ 338 h 1298"/>
              <a:gd name="T124" fmla="*/ 4186 w 4566"/>
              <a:gd name="T125" fmla="*/ 232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66" h="1298">
                <a:moveTo>
                  <a:pt x="4564" y="746"/>
                </a:moveTo>
                <a:lnTo>
                  <a:pt x="4564" y="746"/>
                </a:lnTo>
                <a:lnTo>
                  <a:pt x="4560" y="744"/>
                </a:lnTo>
                <a:lnTo>
                  <a:pt x="4560" y="744"/>
                </a:lnTo>
                <a:lnTo>
                  <a:pt x="4558" y="738"/>
                </a:lnTo>
                <a:lnTo>
                  <a:pt x="4558" y="734"/>
                </a:lnTo>
                <a:lnTo>
                  <a:pt x="4558" y="732"/>
                </a:lnTo>
                <a:lnTo>
                  <a:pt x="4558" y="732"/>
                </a:lnTo>
                <a:lnTo>
                  <a:pt x="4558" y="722"/>
                </a:lnTo>
                <a:lnTo>
                  <a:pt x="4552" y="702"/>
                </a:lnTo>
                <a:lnTo>
                  <a:pt x="4536" y="638"/>
                </a:lnTo>
                <a:lnTo>
                  <a:pt x="4510" y="544"/>
                </a:lnTo>
                <a:lnTo>
                  <a:pt x="4510" y="544"/>
                </a:lnTo>
                <a:lnTo>
                  <a:pt x="4508" y="538"/>
                </a:lnTo>
                <a:lnTo>
                  <a:pt x="4508" y="536"/>
                </a:lnTo>
                <a:lnTo>
                  <a:pt x="4512" y="534"/>
                </a:lnTo>
                <a:lnTo>
                  <a:pt x="4522" y="532"/>
                </a:lnTo>
                <a:lnTo>
                  <a:pt x="4522" y="532"/>
                </a:lnTo>
                <a:lnTo>
                  <a:pt x="4522" y="532"/>
                </a:lnTo>
                <a:lnTo>
                  <a:pt x="4522" y="532"/>
                </a:lnTo>
                <a:lnTo>
                  <a:pt x="4504" y="528"/>
                </a:lnTo>
                <a:lnTo>
                  <a:pt x="4496" y="526"/>
                </a:lnTo>
                <a:lnTo>
                  <a:pt x="4492" y="522"/>
                </a:lnTo>
                <a:lnTo>
                  <a:pt x="4490" y="520"/>
                </a:lnTo>
                <a:lnTo>
                  <a:pt x="4490" y="520"/>
                </a:lnTo>
                <a:lnTo>
                  <a:pt x="4496" y="514"/>
                </a:lnTo>
                <a:lnTo>
                  <a:pt x="4496" y="514"/>
                </a:lnTo>
                <a:lnTo>
                  <a:pt x="4484" y="506"/>
                </a:lnTo>
                <a:lnTo>
                  <a:pt x="4472" y="500"/>
                </a:lnTo>
                <a:lnTo>
                  <a:pt x="4472" y="500"/>
                </a:lnTo>
                <a:lnTo>
                  <a:pt x="4446" y="488"/>
                </a:lnTo>
                <a:lnTo>
                  <a:pt x="4446" y="488"/>
                </a:lnTo>
                <a:lnTo>
                  <a:pt x="4438" y="484"/>
                </a:lnTo>
                <a:lnTo>
                  <a:pt x="4430" y="480"/>
                </a:lnTo>
                <a:lnTo>
                  <a:pt x="4420" y="466"/>
                </a:lnTo>
                <a:lnTo>
                  <a:pt x="4430" y="466"/>
                </a:lnTo>
                <a:lnTo>
                  <a:pt x="4430" y="466"/>
                </a:lnTo>
                <a:lnTo>
                  <a:pt x="4432" y="464"/>
                </a:lnTo>
                <a:lnTo>
                  <a:pt x="4432" y="464"/>
                </a:lnTo>
                <a:lnTo>
                  <a:pt x="4434" y="460"/>
                </a:lnTo>
                <a:lnTo>
                  <a:pt x="4436" y="458"/>
                </a:lnTo>
                <a:lnTo>
                  <a:pt x="4440" y="456"/>
                </a:lnTo>
                <a:lnTo>
                  <a:pt x="4446" y="454"/>
                </a:lnTo>
                <a:lnTo>
                  <a:pt x="4446" y="454"/>
                </a:lnTo>
                <a:lnTo>
                  <a:pt x="4456" y="452"/>
                </a:lnTo>
                <a:lnTo>
                  <a:pt x="4456" y="452"/>
                </a:lnTo>
                <a:lnTo>
                  <a:pt x="4430" y="448"/>
                </a:lnTo>
                <a:lnTo>
                  <a:pt x="4430" y="448"/>
                </a:lnTo>
                <a:lnTo>
                  <a:pt x="4430" y="446"/>
                </a:lnTo>
                <a:lnTo>
                  <a:pt x="4432" y="446"/>
                </a:lnTo>
                <a:lnTo>
                  <a:pt x="4434" y="442"/>
                </a:lnTo>
                <a:lnTo>
                  <a:pt x="4436" y="438"/>
                </a:lnTo>
                <a:lnTo>
                  <a:pt x="4434" y="436"/>
                </a:lnTo>
                <a:lnTo>
                  <a:pt x="4432" y="436"/>
                </a:lnTo>
                <a:lnTo>
                  <a:pt x="4432" y="436"/>
                </a:lnTo>
                <a:lnTo>
                  <a:pt x="4428" y="436"/>
                </a:lnTo>
                <a:lnTo>
                  <a:pt x="4424" y="438"/>
                </a:lnTo>
                <a:lnTo>
                  <a:pt x="4420" y="438"/>
                </a:lnTo>
                <a:lnTo>
                  <a:pt x="4416" y="438"/>
                </a:lnTo>
                <a:lnTo>
                  <a:pt x="4416" y="438"/>
                </a:lnTo>
                <a:lnTo>
                  <a:pt x="4418" y="434"/>
                </a:lnTo>
                <a:lnTo>
                  <a:pt x="4418" y="428"/>
                </a:lnTo>
                <a:lnTo>
                  <a:pt x="4420" y="424"/>
                </a:lnTo>
                <a:lnTo>
                  <a:pt x="4428" y="422"/>
                </a:lnTo>
                <a:lnTo>
                  <a:pt x="4428" y="422"/>
                </a:lnTo>
                <a:lnTo>
                  <a:pt x="4428" y="416"/>
                </a:lnTo>
                <a:lnTo>
                  <a:pt x="4426" y="414"/>
                </a:lnTo>
                <a:lnTo>
                  <a:pt x="4422" y="414"/>
                </a:lnTo>
                <a:lnTo>
                  <a:pt x="4414" y="416"/>
                </a:lnTo>
                <a:lnTo>
                  <a:pt x="4414" y="416"/>
                </a:lnTo>
                <a:lnTo>
                  <a:pt x="4412" y="414"/>
                </a:lnTo>
                <a:lnTo>
                  <a:pt x="4412" y="414"/>
                </a:lnTo>
                <a:lnTo>
                  <a:pt x="4408" y="412"/>
                </a:lnTo>
                <a:lnTo>
                  <a:pt x="4408" y="408"/>
                </a:lnTo>
                <a:lnTo>
                  <a:pt x="4408" y="408"/>
                </a:lnTo>
                <a:lnTo>
                  <a:pt x="4408" y="402"/>
                </a:lnTo>
                <a:lnTo>
                  <a:pt x="4404" y="398"/>
                </a:lnTo>
                <a:lnTo>
                  <a:pt x="4400" y="396"/>
                </a:lnTo>
                <a:lnTo>
                  <a:pt x="4394" y="392"/>
                </a:lnTo>
                <a:lnTo>
                  <a:pt x="4394" y="392"/>
                </a:lnTo>
                <a:lnTo>
                  <a:pt x="4400" y="376"/>
                </a:lnTo>
                <a:lnTo>
                  <a:pt x="4400" y="376"/>
                </a:lnTo>
                <a:lnTo>
                  <a:pt x="4396" y="372"/>
                </a:lnTo>
                <a:lnTo>
                  <a:pt x="4394" y="370"/>
                </a:lnTo>
                <a:lnTo>
                  <a:pt x="4394" y="368"/>
                </a:lnTo>
                <a:lnTo>
                  <a:pt x="4394" y="368"/>
                </a:lnTo>
                <a:lnTo>
                  <a:pt x="4394" y="360"/>
                </a:lnTo>
                <a:lnTo>
                  <a:pt x="4392" y="354"/>
                </a:lnTo>
                <a:lnTo>
                  <a:pt x="4392" y="354"/>
                </a:lnTo>
                <a:lnTo>
                  <a:pt x="4372" y="344"/>
                </a:lnTo>
                <a:lnTo>
                  <a:pt x="4372" y="344"/>
                </a:lnTo>
                <a:lnTo>
                  <a:pt x="4370" y="342"/>
                </a:lnTo>
                <a:lnTo>
                  <a:pt x="4370" y="338"/>
                </a:lnTo>
                <a:lnTo>
                  <a:pt x="4370" y="338"/>
                </a:lnTo>
                <a:lnTo>
                  <a:pt x="4368" y="334"/>
                </a:lnTo>
                <a:lnTo>
                  <a:pt x="4366" y="332"/>
                </a:lnTo>
                <a:lnTo>
                  <a:pt x="4358" y="330"/>
                </a:lnTo>
                <a:lnTo>
                  <a:pt x="4358" y="330"/>
                </a:lnTo>
                <a:lnTo>
                  <a:pt x="4348" y="330"/>
                </a:lnTo>
                <a:lnTo>
                  <a:pt x="4348" y="330"/>
                </a:lnTo>
                <a:lnTo>
                  <a:pt x="4348" y="328"/>
                </a:lnTo>
                <a:lnTo>
                  <a:pt x="4348" y="328"/>
                </a:lnTo>
                <a:lnTo>
                  <a:pt x="4360" y="326"/>
                </a:lnTo>
                <a:lnTo>
                  <a:pt x="4364" y="326"/>
                </a:lnTo>
                <a:lnTo>
                  <a:pt x="4370" y="328"/>
                </a:lnTo>
                <a:lnTo>
                  <a:pt x="4370" y="328"/>
                </a:lnTo>
                <a:lnTo>
                  <a:pt x="4374" y="328"/>
                </a:lnTo>
                <a:lnTo>
                  <a:pt x="4374" y="328"/>
                </a:lnTo>
                <a:lnTo>
                  <a:pt x="4398" y="326"/>
                </a:lnTo>
                <a:lnTo>
                  <a:pt x="4398" y="326"/>
                </a:lnTo>
                <a:lnTo>
                  <a:pt x="4406" y="328"/>
                </a:lnTo>
                <a:lnTo>
                  <a:pt x="4414" y="332"/>
                </a:lnTo>
                <a:lnTo>
                  <a:pt x="4414" y="332"/>
                </a:lnTo>
                <a:lnTo>
                  <a:pt x="4424" y="340"/>
                </a:lnTo>
                <a:lnTo>
                  <a:pt x="4424" y="340"/>
                </a:lnTo>
                <a:lnTo>
                  <a:pt x="4430" y="344"/>
                </a:lnTo>
                <a:lnTo>
                  <a:pt x="4434" y="348"/>
                </a:lnTo>
                <a:lnTo>
                  <a:pt x="4434" y="348"/>
                </a:lnTo>
                <a:lnTo>
                  <a:pt x="4438" y="354"/>
                </a:lnTo>
                <a:lnTo>
                  <a:pt x="4446" y="356"/>
                </a:lnTo>
                <a:lnTo>
                  <a:pt x="4446" y="356"/>
                </a:lnTo>
                <a:lnTo>
                  <a:pt x="4474" y="362"/>
                </a:lnTo>
                <a:lnTo>
                  <a:pt x="4474" y="362"/>
                </a:lnTo>
                <a:lnTo>
                  <a:pt x="4482" y="362"/>
                </a:lnTo>
                <a:lnTo>
                  <a:pt x="4490" y="362"/>
                </a:lnTo>
                <a:lnTo>
                  <a:pt x="4490" y="362"/>
                </a:lnTo>
                <a:lnTo>
                  <a:pt x="4498" y="362"/>
                </a:lnTo>
                <a:lnTo>
                  <a:pt x="4508" y="364"/>
                </a:lnTo>
                <a:lnTo>
                  <a:pt x="4508" y="364"/>
                </a:lnTo>
                <a:lnTo>
                  <a:pt x="4506" y="370"/>
                </a:lnTo>
                <a:lnTo>
                  <a:pt x="4506" y="372"/>
                </a:lnTo>
                <a:lnTo>
                  <a:pt x="4502" y="372"/>
                </a:lnTo>
                <a:lnTo>
                  <a:pt x="4502" y="372"/>
                </a:lnTo>
                <a:lnTo>
                  <a:pt x="4490" y="374"/>
                </a:lnTo>
                <a:lnTo>
                  <a:pt x="4484" y="374"/>
                </a:lnTo>
                <a:lnTo>
                  <a:pt x="4480" y="372"/>
                </a:lnTo>
                <a:lnTo>
                  <a:pt x="4480" y="372"/>
                </a:lnTo>
                <a:lnTo>
                  <a:pt x="4476" y="374"/>
                </a:lnTo>
                <a:lnTo>
                  <a:pt x="4476" y="374"/>
                </a:lnTo>
                <a:lnTo>
                  <a:pt x="4488" y="378"/>
                </a:lnTo>
                <a:lnTo>
                  <a:pt x="4488" y="378"/>
                </a:lnTo>
                <a:lnTo>
                  <a:pt x="4496" y="380"/>
                </a:lnTo>
                <a:lnTo>
                  <a:pt x="4506" y="380"/>
                </a:lnTo>
                <a:lnTo>
                  <a:pt x="4506" y="380"/>
                </a:lnTo>
                <a:lnTo>
                  <a:pt x="4510" y="380"/>
                </a:lnTo>
                <a:lnTo>
                  <a:pt x="4514" y="380"/>
                </a:lnTo>
                <a:lnTo>
                  <a:pt x="4514" y="380"/>
                </a:lnTo>
                <a:lnTo>
                  <a:pt x="4524" y="382"/>
                </a:lnTo>
                <a:lnTo>
                  <a:pt x="4530" y="382"/>
                </a:lnTo>
                <a:lnTo>
                  <a:pt x="4534" y="380"/>
                </a:lnTo>
                <a:lnTo>
                  <a:pt x="4534" y="380"/>
                </a:lnTo>
                <a:lnTo>
                  <a:pt x="4538" y="378"/>
                </a:lnTo>
                <a:lnTo>
                  <a:pt x="4544" y="378"/>
                </a:lnTo>
                <a:lnTo>
                  <a:pt x="4544" y="378"/>
                </a:lnTo>
                <a:lnTo>
                  <a:pt x="4548" y="386"/>
                </a:lnTo>
                <a:lnTo>
                  <a:pt x="4548" y="386"/>
                </a:lnTo>
                <a:lnTo>
                  <a:pt x="4548" y="376"/>
                </a:lnTo>
                <a:lnTo>
                  <a:pt x="4548" y="372"/>
                </a:lnTo>
                <a:lnTo>
                  <a:pt x="4548" y="366"/>
                </a:lnTo>
                <a:lnTo>
                  <a:pt x="4548" y="366"/>
                </a:lnTo>
                <a:lnTo>
                  <a:pt x="4544" y="360"/>
                </a:lnTo>
                <a:lnTo>
                  <a:pt x="4536" y="356"/>
                </a:lnTo>
                <a:lnTo>
                  <a:pt x="4536" y="356"/>
                </a:lnTo>
                <a:lnTo>
                  <a:pt x="4522" y="354"/>
                </a:lnTo>
                <a:lnTo>
                  <a:pt x="4510" y="356"/>
                </a:lnTo>
                <a:lnTo>
                  <a:pt x="4510" y="356"/>
                </a:lnTo>
                <a:lnTo>
                  <a:pt x="4496" y="352"/>
                </a:lnTo>
                <a:lnTo>
                  <a:pt x="4488" y="350"/>
                </a:lnTo>
                <a:lnTo>
                  <a:pt x="4478" y="352"/>
                </a:lnTo>
                <a:lnTo>
                  <a:pt x="4478" y="352"/>
                </a:lnTo>
                <a:lnTo>
                  <a:pt x="4474" y="352"/>
                </a:lnTo>
                <a:lnTo>
                  <a:pt x="4470" y="348"/>
                </a:lnTo>
                <a:lnTo>
                  <a:pt x="4470" y="348"/>
                </a:lnTo>
                <a:lnTo>
                  <a:pt x="4468" y="346"/>
                </a:lnTo>
                <a:lnTo>
                  <a:pt x="4466" y="344"/>
                </a:lnTo>
                <a:lnTo>
                  <a:pt x="4458" y="342"/>
                </a:lnTo>
                <a:lnTo>
                  <a:pt x="4458" y="342"/>
                </a:lnTo>
                <a:lnTo>
                  <a:pt x="4452" y="340"/>
                </a:lnTo>
                <a:lnTo>
                  <a:pt x="4452" y="340"/>
                </a:lnTo>
                <a:lnTo>
                  <a:pt x="4450" y="330"/>
                </a:lnTo>
                <a:lnTo>
                  <a:pt x="4450" y="330"/>
                </a:lnTo>
                <a:lnTo>
                  <a:pt x="4450" y="328"/>
                </a:lnTo>
                <a:lnTo>
                  <a:pt x="4450" y="328"/>
                </a:lnTo>
                <a:lnTo>
                  <a:pt x="4450" y="324"/>
                </a:lnTo>
                <a:lnTo>
                  <a:pt x="4450" y="322"/>
                </a:lnTo>
                <a:lnTo>
                  <a:pt x="4446" y="320"/>
                </a:lnTo>
                <a:lnTo>
                  <a:pt x="4440" y="320"/>
                </a:lnTo>
                <a:lnTo>
                  <a:pt x="4440" y="320"/>
                </a:lnTo>
                <a:lnTo>
                  <a:pt x="4430" y="320"/>
                </a:lnTo>
                <a:lnTo>
                  <a:pt x="4422" y="318"/>
                </a:lnTo>
                <a:lnTo>
                  <a:pt x="4422" y="318"/>
                </a:lnTo>
                <a:lnTo>
                  <a:pt x="4416" y="314"/>
                </a:lnTo>
                <a:lnTo>
                  <a:pt x="4412" y="314"/>
                </a:lnTo>
                <a:lnTo>
                  <a:pt x="4400" y="318"/>
                </a:lnTo>
                <a:lnTo>
                  <a:pt x="4400" y="318"/>
                </a:lnTo>
                <a:lnTo>
                  <a:pt x="4390" y="320"/>
                </a:lnTo>
                <a:lnTo>
                  <a:pt x="4390" y="320"/>
                </a:lnTo>
                <a:lnTo>
                  <a:pt x="4394" y="312"/>
                </a:lnTo>
                <a:lnTo>
                  <a:pt x="4394" y="312"/>
                </a:lnTo>
                <a:lnTo>
                  <a:pt x="4382" y="306"/>
                </a:lnTo>
                <a:lnTo>
                  <a:pt x="4370" y="306"/>
                </a:lnTo>
                <a:lnTo>
                  <a:pt x="4370" y="306"/>
                </a:lnTo>
                <a:lnTo>
                  <a:pt x="4362" y="306"/>
                </a:lnTo>
                <a:lnTo>
                  <a:pt x="4358" y="302"/>
                </a:lnTo>
                <a:lnTo>
                  <a:pt x="4358" y="302"/>
                </a:lnTo>
                <a:lnTo>
                  <a:pt x="4356" y="300"/>
                </a:lnTo>
                <a:lnTo>
                  <a:pt x="4356" y="296"/>
                </a:lnTo>
                <a:lnTo>
                  <a:pt x="4356" y="296"/>
                </a:lnTo>
                <a:lnTo>
                  <a:pt x="4388" y="296"/>
                </a:lnTo>
                <a:lnTo>
                  <a:pt x="4388" y="296"/>
                </a:lnTo>
                <a:lnTo>
                  <a:pt x="4394" y="294"/>
                </a:lnTo>
                <a:lnTo>
                  <a:pt x="4394" y="294"/>
                </a:lnTo>
                <a:lnTo>
                  <a:pt x="4402" y="292"/>
                </a:lnTo>
                <a:lnTo>
                  <a:pt x="4410" y="294"/>
                </a:lnTo>
                <a:lnTo>
                  <a:pt x="4416" y="296"/>
                </a:lnTo>
                <a:lnTo>
                  <a:pt x="4422" y="300"/>
                </a:lnTo>
                <a:lnTo>
                  <a:pt x="4422" y="300"/>
                </a:lnTo>
                <a:lnTo>
                  <a:pt x="4416" y="308"/>
                </a:lnTo>
                <a:lnTo>
                  <a:pt x="4416" y="308"/>
                </a:lnTo>
                <a:lnTo>
                  <a:pt x="4420" y="310"/>
                </a:lnTo>
                <a:lnTo>
                  <a:pt x="4422" y="310"/>
                </a:lnTo>
                <a:lnTo>
                  <a:pt x="4426" y="306"/>
                </a:lnTo>
                <a:lnTo>
                  <a:pt x="4426" y="306"/>
                </a:lnTo>
                <a:lnTo>
                  <a:pt x="4436" y="304"/>
                </a:lnTo>
                <a:lnTo>
                  <a:pt x="4444" y="304"/>
                </a:lnTo>
                <a:lnTo>
                  <a:pt x="4450" y="308"/>
                </a:lnTo>
                <a:lnTo>
                  <a:pt x="4454" y="312"/>
                </a:lnTo>
                <a:lnTo>
                  <a:pt x="4454" y="312"/>
                </a:lnTo>
                <a:lnTo>
                  <a:pt x="4458" y="318"/>
                </a:lnTo>
                <a:lnTo>
                  <a:pt x="4458" y="318"/>
                </a:lnTo>
                <a:lnTo>
                  <a:pt x="4462" y="314"/>
                </a:lnTo>
                <a:lnTo>
                  <a:pt x="4468" y="314"/>
                </a:lnTo>
                <a:lnTo>
                  <a:pt x="4478" y="314"/>
                </a:lnTo>
                <a:lnTo>
                  <a:pt x="4478" y="314"/>
                </a:lnTo>
                <a:lnTo>
                  <a:pt x="4514" y="320"/>
                </a:lnTo>
                <a:lnTo>
                  <a:pt x="4514" y="320"/>
                </a:lnTo>
                <a:lnTo>
                  <a:pt x="4520" y="320"/>
                </a:lnTo>
                <a:lnTo>
                  <a:pt x="4524" y="316"/>
                </a:lnTo>
                <a:lnTo>
                  <a:pt x="4524" y="316"/>
                </a:lnTo>
                <a:lnTo>
                  <a:pt x="4520" y="314"/>
                </a:lnTo>
                <a:lnTo>
                  <a:pt x="4520" y="314"/>
                </a:lnTo>
                <a:lnTo>
                  <a:pt x="4512" y="312"/>
                </a:lnTo>
                <a:lnTo>
                  <a:pt x="4504" y="310"/>
                </a:lnTo>
                <a:lnTo>
                  <a:pt x="4492" y="302"/>
                </a:lnTo>
                <a:lnTo>
                  <a:pt x="4492" y="302"/>
                </a:lnTo>
                <a:lnTo>
                  <a:pt x="4492" y="300"/>
                </a:lnTo>
                <a:lnTo>
                  <a:pt x="4492" y="298"/>
                </a:lnTo>
                <a:lnTo>
                  <a:pt x="4492" y="296"/>
                </a:lnTo>
                <a:lnTo>
                  <a:pt x="4490" y="294"/>
                </a:lnTo>
                <a:lnTo>
                  <a:pt x="4490" y="294"/>
                </a:lnTo>
                <a:lnTo>
                  <a:pt x="4456" y="280"/>
                </a:lnTo>
                <a:lnTo>
                  <a:pt x="4456" y="280"/>
                </a:lnTo>
                <a:lnTo>
                  <a:pt x="4448" y="274"/>
                </a:lnTo>
                <a:lnTo>
                  <a:pt x="4442" y="272"/>
                </a:lnTo>
                <a:lnTo>
                  <a:pt x="4438" y="270"/>
                </a:lnTo>
                <a:lnTo>
                  <a:pt x="4438" y="270"/>
                </a:lnTo>
                <a:lnTo>
                  <a:pt x="4434" y="268"/>
                </a:lnTo>
                <a:lnTo>
                  <a:pt x="4430" y="264"/>
                </a:lnTo>
                <a:lnTo>
                  <a:pt x="4430" y="264"/>
                </a:lnTo>
                <a:lnTo>
                  <a:pt x="4438" y="260"/>
                </a:lnTo>
                <a:lnTo>
                  <a:pt x="4442" y="260"/>
                </a:lnTo>
                <a:lnTo>
                  <a:pt x="4448" y="260"/>
                </a:lnTo>
                <a:lnTo>
                  <a:pt x="4454" y="262"/>
                </a:lnTo>
                <a:lnTo>
                  <a:pt x="4454" y="262"/>
                </a:lnTo>
                <a:lnTo>
                  <a:pt x="4460" y="264"/>
                </a:lnTo>
                <a:lnTo>
                  <a:pt x="4460" y="264"/>
                </a:lnTo>
                <a:lnTo>
                  <a:pt x="4466" y="256"/>
                </a:lnTo>
                <a:lnTo>
                  <a:pt x="4472" y="248"/>
                </a:lnTo>
                <a:lnTo>
                  <a:pt x="4482" y="242"/>
                </a:lnTo>
                <a:lnTo>
                  <a:pt x="4494" y="240"/>
                </a:lnTo>
                <a:lnTo>
                  <a:pt x="4494" y="240"/>
                </a:lnTo>
                <a:lnTo>
                  <a:pt x="4494" y="234"/>
                </a:lnTo>
                <a:lnTo>
                  <a:pt x="4488" y="232"/>
                </a:lnTo>
                <a:lnTo>
                  <a:pt x="4478" y="228"/>
                </a:lnTo>
                <a:lnTo>
                  <a:pt x="4478" y="228"/>
                </a:lnTo>
                <a:lnTo>
                  <a:pt x="4446" y="232"/>
                </a:lnTo>
                <a:lnTo>
                  <a:pt x="4446" y="232"/>
                </a:lnTo>
                <a:lnTo>
                  <a:pt x="4442" y="226"/>
                </a:lnTo>
                <a:lnTo>
                  <a:pt x="4442" y="226"/>
                </a:lnTo>
                <a:lnTo>
                  <a:pt x="4434" y="232"/>
                </a:lnTo>
                <a:lnTo>
                  <a:pt x="4434" y="232"/>
                </a:lnTo>
                <a:lnTo>
                  <a:pt x="4430" y="228"/>
                </a:lnTo>
                <a:lnTo>
                  <a:pt x="4430" y="224"/>
                </a:lnTo>
                <a:lnTo>
                  <a:pt x="4432" y="220"/>
                </a:lnTo>
                <a:lnTo>
                  <a:pt x="4438" y="218"/>
                </a:lnTo>
                <a:lnTo>
                  <a:pt x="4438" y="218"/>
                </a:lnTo>
                <a:lnTo>
                  <a:pt x="4444" y="216"/>
                </a:lnTo>
                <a:lnTo>
                  <a:pt x="4450" y="214"/>
                </a:lnTo>
                <a:lnTo>
                  <a:pt x="4450" y="214"/>
                </a:lnTo>
                <a:lnTo>
                  <a:pt x="4454" y="212"/>
                </a:lnTo>
                <a:lnTo>
                  <a:pt x="4460" y="210"/>
                </a:lnTo>
                <a:lnTo>
                  <a:pt x="4460" y="210"/>
                </a:lnTo>
                <a:lnTo>
                  <a:pt x="4466" y="208"/>
                </a:lnTo>
                <a:lnTo>
                  <a:pt x="4468" y="204"/>
                </a:lnTo>
                <a:lnTo>
                  <a:pt x="4468" y="204"/>
                </a:lnTo>
                <a:lnTo>
                  <a:pt x="4460" y="198"/>
                </a:lnTo>
                <a:lnTo>
                  <a:pt x="4452" y="192"/>
                </a:lnTo>
                <a:lnTo>
                  <a:pt x="4452" y="192"/>
                </a:lnTo>
                <a:lnTo>
                  <a:pt x="4448" y="188"/>
                </a:lnTo>
                <a:lnTo>
                  <a:pt x="4442" y="184"/>
                </a:lnTo>
                <a:lnTo>
                  <a:pt x="4436" y="184"/>
                </a:lnTo>
                <a:lnTo>
                  <a:pt x="4426" y="184"/>
                </a:lnTo>
                <a:lnTo>
                  <a:pt x="4426" y="184"/>
                </a:lnTo>
                <a:lnTo>
                  <a:pt x="4414" y="184"/>
                </a:lnTo>
                <a:lnTo>
                  <a:pt x="4402" y="182"/>
                </a:lnTo>
                <a:lnTo>
                  <a:pt x="4402" y="182"/>
                </a:lnTo>
                <a:lnTo>
                  <a:pt x="4400" y="182"/>
                </a:lnTo>
                <a:lnTo>
                  <a:pt x="4400" y="182"/>
                </a:lnTo>
                <a:lnTo>
                  <a:pt x="4394" y="178"/>
                </a:lnTo>
                <a:lnTo>
                  <a:pt x="4390" y="172"/>
                </a:lnTo>
                <a:lnTo>
                  <a:pt x="4390" y="172"/>
                </a:lnTo>
                <a:lnTo>
                  <a:pt x="4386" y="166"/>
                </a:lnTo>
                <a:lnTo>
                  <a:pt x="4382" y="160"/>
                </a:lnTo>
                <a:lnTo>
                  <a:pt x="4382" y="160"/>
                </a:lnTo>
                <a:lnTo>
                  <a:pt x="4380" y="160"/>
                </a:lnTo>
                <a:lnTo>
                  <a:pt x="4380" y="160"/>
                </a:lnTo>
                <a:lnTo>
                  <a:pt x="4372" y="160"/>
                </a:lnTo>
                <a:lnTo>
                  <a:pt x="4366" y="158"/>
                </a:lnTo>
                <a:lnTo>
                  <a:pt x="4360" y="156"/>
                </a:lnTo>
                <a:lnTo>
                  <a:pt x="4358" y="150"/>
                </a:lnTo>
                <a:lnTo>
                  <a:pt x="4358" y="150"/>
                </a:lnTo>
                <a:lnTo>
                  <a:pt x="4356" y="148"/>
                </a:lnTo>
                <a:lnTo>
                  <a:pt x="4352" y="146"/>
                </a:lnTo>
                <a:lnTo>
                  <a:pt x="4352" y="146"/>
                </a:lnTo>
                <a:lnTo>
                  <a:pt x="4346" y="150"/>
                </a:lnTo>
                <a:lnTo>
                  <a:pt x="4346" y="150"/>
                </a:lnTo>
                <a:lnTo>
                  <a:pt x="4350" y="154"/>
                </a:lnTo>
                <a:lnTo>
                  <a:pt x="4352" y="156"/>
                </a:lnTo>
                <a:lnTo>
                  <a:pt x="4350" y="158"/>
                </a:lnTo>
                <a:lnTo>
                  <a:pt x="4350" y="158"/>
                </a:lnTo>
                <a:lnTo>
                  <a:pt x="4340" y="160"/>
                </a:lnTo>
                <a:lnTo>
                  <a:pt x="4332" y="158"/>
                </a:lnTo>
                <a:lnTo>
                  <a:pt x="4320" y="152"/>
                </a:lnTo>
                <a:lnTo>
                  <a:pt x="4320" y="152"/>
                </a:lnTo>
                <a:lnTo>
                  <a:pt x="4328" y="150"/>
                </a:lnTo>
                <a:lnTo>
                  <a:pt x="4332" y="146"/>
                </a:lnTo>
                <a:lnTo>
                  <a:pt x="4334" y="140"/>
                </a:lnTo>
                <a:lnTo>
                  <a:pt x="4338" y="136"/>
                </a:lnTo>
                <a:lnTo>
                  <a:pt x="4338" y="136"/>
                </a:lnTo>
                <a:lnTo>
                  <a:pt x="4322" y="124"/>
                </a:lnTo>
                <a:lnTo>
                  <a:pt x="4322" y="124"/>
                </a:lnTo>
                <a:lnTo>
                  <a:pt x="4302" y="116"/>
                </a:lnTo>
                <a:lnTo>
                  <a:pt x="4302" y="116"/>
                </a:lnTo>
                <a:lnTo>
                  <a:pt x="4298" y="122"/>
                </a:lnTo>
                <a:lnTo>
                  <a:pt x="4294" y="124"/>
                </a:lnTo>
                <a:lnTo>
                  <a:pt x="4290" y="124"/>
                </a:lnTo>
                <a:lnTo>
                  <a:pt x="4284" y="120"/>
                </a:lnTo>
                <a:lnTo>
                  <a:pt x="4284" y="120"/>
                </a:lnTo>
                <a:lnTo>
                  <a:pt x="4292" y="116"/>
                </a:lnTo>
                <a:lnTo>
                  <a:pt x="4292" y="116"/>
                </a:lnTo>
                <a:lnTo>
                  <a:pt x="4284" y="112"/>
                </a:lnTo>
                <a:lnTo>
                  <a:pt x="4282" y="110"/>
                </a:lnTo>
                <a:lnTo>
                  <a:pt x="4278" y="110"/>
                </a:lnTo>
                <a:lnTo>
                  <a:pt x="4278" y="110"/>
                </a:lnTo>
                <a:lnTo>
                  <a:pt x="4274" y="110"/>
                </a:lnTo>
                <a:lnTo>
                  <a:pt x="4272" y="108"/>
                </a:lnTo>
                <a:lnTo>
                  <a:pt x="4272" y="108"/>
                </a:lnTo>
                <a:lnTo>
                  <a:pt x="4266" y="100"/>
                </a:lnTo>
                <a:lnTo>
                  <a:pt x="4266" y="100"/>
                </a:lnTo>
                <a:lnTo>
                  <a:pt x="4282" y="98"/>
                </a:lnTo>
                <a:lnTo>
                  <a:pt x="4282" y="98"/>
                </a:lnTo>
                <a:lnTo>
                  <a:pt x="4288" y="100"/>
                </a:lnTo>
                <a:lnTo>
                  <a:pt x="4288" y="100"/>
                </a:lnTo>
                <a:lnTo>
                  <a:pt x="4308" y="110"/>
                </a:lnTo>
                <a:lnTo>
                  <a:pt x="4330" y="118"/>
                </a:lnTo>
                <a:lnTo>
                  <a:pt x="4330" y="118"/>
                </a:lnTo>
                <a:lnTo>
                  <a:pt x="4336" y="120"/>
                </a:lnTo>
                <a:lnTo>
                  <a:pt x="4340" y="120"/>
                </a:lnTo>
                <a:lnTo>
                  <a:pt x="4340" y="120"/>
                </a:lnTo>
                <a:lnTo>
                  <a:pt x="4328" y="110"/>
                </a:lnTo>
                <a:lnTo>
                  <a:pt x="4328" y="110"/>
                </a:lnTo>
                <a:lnTo>
                  <a:pt x="4334" y="106"/>
                </a:lnTo>
                <a:lnTo>
                  <a:pt x="4336" y="106"/>
                </a:lnTo>
                <a:lnTo>
                  <a:pt x="4338" y="108"/>
                </a:lnTo>
                <a:lnTo>
                  <a:pt x="4338" y="108"/>
                </a:lnTo>
                <a:lnTo>
                  <a:pt x="4342" y="110"/>
                </a:lnTo>
                <a:lnTo>
                  <a:pt x="4348" y="112"/>
                </a:lnTo>
                <a:lnTo>
                  <a:pt x="4354" y="112"/>
                </a:lnTo>
                <a:lnTo>
                  <a:pt x="4358" y="114"/>
                </a:lnTo>
                <a:lnTo>
                  <a:pt x="4358" y="114"/>
                </a:lnTo>
                <a:lnTo>
                  <a:pt x="4362" y="116"/>
                </a:lnTo>
                <a:lnTo>
                  <a:pt x="4366" y="114"/>
                </a:lnTo>
                <a:lnTo>
                  <a:pt x="4366" y="114"/>
                </a:lnTo>
                <a:lnTo>
                  <a:pt x="4366" y="112"/>
                </a:lnTo>
                <a:lnTo>
                  <a:pt x="4366" y="110"/>
                </a:lnTo>
                <a:lnTo>
                  <a:pt x="4366" y="110"/>
                </a:lnTo>
                <a:lnTo>
                  <a:pt x="4352" y="108"/>
                </a:lnTo>
                <a:lnTo>
                  <a:pt x="4352" y="108"/>
                </a:lnTo>
                <a:lnTo>
                  <a:pt x="4340" y="104"/>
                </a:lnTo>
                <a:lnTo>
                  <a:pt x="4334" y="102"/>
                </a:lnTo>
                <a:lnTo>
                  <a:pt x="4328" y="102"/>
                </a:lnTo>
                <a:lnTo>
                  <a:pt x="4328" y="102"/>
                </a:lnTo>
                <a:lnTo>
                  <a:pt x="4326" y="104"/>
                </a:lnTo>
                <a:lnTo>
                  <a:pt x="4326" y="104"/>
                </a:lnTo>
                <a:lnTo>
                  <a:pt x="4320" y="102"/>
                </a:lnTo>
                <a:lnTo>
                  <a:pt x="4314" y="102"/>
                </a:lnTo>
                <a:lnTo>
                  <a:pt x="4302" y="100"/>
                </a:lnTo>
                <a:lnTo>
                  <a:pt x="4302" y="98"/>
                </a:lnTo>
                <a:lnTo>
                  <a:pt x="4302" y="98"/>
                </a:lnTo>
                <a:lnTo>
                  <a:pt x="4294" y="96"/>
                </a:lnTo>
                <a:lnTo>
                  <a:pt x="4294" y="96"/>
                </a:lnTo>
                <a:lnTo>
                  <a:pt x="4294" y="96"/>
                </a:lnTo>
                <a:lnTo>
                  <a:pt x="4294" y="96"/>
                </a:lnTo>
                <a:lnTo>
                  <a:pt x="4314" y="94"/>
                </a:lnTo>
                <a:lnTo>
                  <a:pt x="4314" y="94"/>
                </a:lnTo>
                <a:lnTo>
                  <a:pt x="4306" y="90"/>
                </a:lnTo>
                <a:lnTo>
                  <a:pt x="4306" y="90"/>
                </a:lnTo>
                <a:lnTo>
                  <a:pt x="4282" y="82"/>
                </a:lnTo>
                <a:lnTo>
                  <a:pt x="4282" y="82"/>
                </a:lnTo>
                <a:lnTo>
                  <a:pt x="4258" y="76"/>
                </a:lnTo>
                <a:lnTo>
                  <a:pt x="4234" y="72"/>
                </a:lnTo>
                <a:lnTo>
                  <a:pt x="4234" y="72"/>
                </a:lnTo>
                <a:lnTo>
                  <a:pt x="4222" y="72"/>
                </a:lnTo>
                <a:lnTo>
                  <a:pt x="4216" y="70"/>
                </a:lnTo>
                <a:lnTo>
                  <a:pt x="4212" y="66"/>
                </a:lnTo>
                <a:lnTo>
                  <a:pt x="4212" y="66"/>
                </a:lnTo>
                <a:lnTo>
                  <a:pt x="4210" y="66"/>
                </a:lnTo>
                <a:lnTo>
                  <a:pt x="4210" y="66"/>
                </a:lnTo>
                <a:lnTo>
                  <a:pt x="4174" y="62"/>
                </a:lnTo>
                <a:lnTo>
                  <a:pt x="4174" y="62"/>
                </a:lnTo>
                <a:lnTo>
                  <a:pt x="4162" y="62"/>
                </a:lnTo>
                <a:lnTo>
                  <a:pt x="4156" y="62"/>
                </a:lnTo>
                <a:lnTo>
                  <a:pt x="4150" y="58"/>
                </a:lnTo>
                <a:lnTo>
                  <a:pt x="4150" y="58"/>
                </a:lnTo>
                <a:lnTo>
                  <a:pt x="4150" y="58"/>
                </a:lnTo>
                <a:lnTo>
                  <a:pt x="4150" y="58"/>
                </a:lnTo>
                <a:lnTo>
                  <a:pt x="4128" y="56"/>
                </a:lnTo>
                <a:lnTo>
                  <a:pt x="4104" y="56"/>
                </a:lnTo>
                <a:lnTo>
                  <a:pt x="4104" y="56"/>
                </a:lnTo>
                <a:lnTo>
                  <a:pt x="4100" y="56"/>
                </a:lnTo>
                <a:lnTo>
                  <a:pt x="4096" y="54"/>
                </a:lnTo>
                <a:lnTo>
                  <a:pt x="4094" y="52"/>
                </a:lnTo>
                <a:lnTo>
                  <a:pt x="4092" y="48"/>
                </a:lnTo>
                <a:lnTo>
                  <a:pt x="4092" y="48"/>
                </a:lnTo>
                <a:lnTo>
                  <a:pt x="4086" y="52"/>
                </a:lnTo>
                <a:lnTo>
                  <a:pt x="4078" y="52"/>
                </a:lnTo>
                <a:lnTo>
                  <a:pt x="4072" y="52"/>
                </a:lnTo>
                <a:lnTo>
                  <a:pt x="4066" y="48"/>
                </a:lnTo>
                <a:lnTo>
                  <a:pt x="4066" y="48"/>
                </a:lnTo>
                <a:lnTo>
                  <a:pt x="4060" y="42"/>
                </a:lnTo>
                <a:lnTo>
                  <a:pt x="4054" y="40"/>
                </a:lnTo>
                <a:lnTo>
                  <a:pt x="4048" y="42"/>
                </a:lnTo>
                <a:lnTo>
                  <a:pt x="4038" y="44"/>
                </a:lnTo>
                <a:lnTo>
                  <a:pt x="4038" y="44"/>
                </a:lnTo>
                <a:lnTo>
                  <a:pt x="4020" y="40"/>
                </a:lnTo>
                <a:lnTo>
                  <a:pt x="4020" y="40"/>
                </a:lnTo>
                <a:lnTo>
                  <a:pt x="4014" y="40"/>
                </a:lnTo>
                <a:lnTo>
                  <a:pt x="4014" y="40"/>
                </a:lnTo>
                <a:lnTo>
                  <a:pt x="3998" y="48"/>
                </a:lnTo>
                <a:lnTo>
                  <a:pt x="3998" y="48"/>
                </a:lnTo>
                <a:lnTo>
                  <a:pt x="4000" y="54"/>
                </a:lnTo>
                <a:lnTo>
                  <a:pt x="4000" y="56"/>
                </a:lnTo>
                <a:lnTo>
                  <a:pt x="3996" y="60"/>
                </a:lnTo>
                <a:lnTo>
                  <a:pt x="3990" y="60"/>
                </a:lnTo>
                <a:lnTo>
                  <a:pt x="3990" y="60"/>
                </a:lnTo>
                <a:lnTo>
                  <a:pt x="3986" y="56"/>
                </a:lnTo>
                <a:lnTo>
                  <a:pt x="3982" y="54"/>
                </a:lnTo>
                <a:lnTo>
                  <a:pt x="3978" y="54"/>
                </a:lnTo>
                <a:lnTo>
                  <a:pt x="3978" y="54"/>
                </a:lnTo>
                <a:lnTo>
                  <a:pt x="3956" y="56"/>
                </a:lnTo>
                <a:lnTo>
                  <a:pt x="3946" y="58"/>
                </a:lnTo>
                <a:lnTo>
                  <a:pt x="3938" y="62"/>
                </a:lnTo>
                <a:lnTo>
                  <a:pt x="3938" y="62"/>
                </a:lnTo>
                <a:lnTo>
                  <a:pt x="3932" y="66"/>
                </a:lnTo>
                <a:lnTo>
                  <a:pt x="3932" y="68"/>
                </a:lnTo>
                <a:lnTo>
                  <a:pt x="3932" y="70"/>
                </a:lnTo>
                <a:lnTo>
                  <a:pt x="3932" y="70"/>
                </a:lnTo>
                <a:lnTo>
                  <a:pt x="3940" y="84"/>
                </a:lnTo>
                <a:lnTo>
                  <a:pt x="3940" y="84"/>
                </a:lnTo>
                <a:lnTo>
                  <a:pt x="3934" y="88"/>
                </a:lnTo>
                <a:lnTo>
                  <a:pt x="3928" y="94"/>
                </a:lnTo>
                <a:lnTo>
                  <a:pt x="3928" y="94"/>
                </a:lnTo>
                <a:lnTo>
                  <a:pt x="3926" y="98"/>
                </a:lnTo>
                <a:lnTo>
                  <a:pt x="3926" y="106"/>
                </a:lnTo>
                <a:lnTo>
                  <a:pt x="3926" y="106"/>
                </a:lnTo>
                <a:lnTo>
                  <a:pt x="3934" y="106"/>
                </a:lnTo>
                <a:lnTo>
                  <a:pt x="3934" y="106"/>
                </a:lnTo>
                <a:lnTo>
                  <a:pt x="3936" y="102"/>
                </a:lnTo>
                <a:lnTo>
                  <a:pt x="3936" y="102"/>
                </a:lnTo>
                <a:lnTo>
                  <a:pt x="3946" y="102"/>
                </a:lnTo>
                <a:lnTo>
                  <a:pt x="3950" y="102"/>
                </a:lnTo>
                <a:lnTo>
                  <a:pt x="3954" y="106"/>
                </a:lnTo>
                <a:lnTo>
                  <a:pt x="3954" y="106"/>
                </a:lnTo>
                <a:lnTo>
                  <a:pt x="3962" y="110"/>
                </a:lnTo>
                <a:lnTo>
                  <a:pt x="3970" y="114"/>
                </a:lnTo>
                <a:lnTo>
                  <a:pt x="3970" y="114"/>
                </a:lnTo>
                <a:lnTo>
                  <a:pt x="3966" y="118"/>
                </a:lnTo>
                <a:lnTo>
                  <a:pt x="3960" y="122"/>
                </a:lnTo>
                <a:lnTo>
                  <a:pt x="3954" y="124"/>
                </a:lnTo>
                <a:lnTo>
                  <a:pt x="3946" y="124"/>
                </a:lnTo>
                <a:lnTo>
                  <a:pt x="3946" y="124"/>
                </a:lnTo>
                <a:lnTo>
                  <a:pt x="3938" y="122"/>
                </a:lnTo>
                <a:lnTo>
                  <a:pt x="3930" y="122"/>
                </a:lnTo>
                <a:lnTo>
                  <a:pt x="3930" y="122"/>
                </a:lnTo>
                <a:lnTo>
                  <a:pt x="3922" y="124"/>
                </a:lnTo>
                <a:lnTo>
                  <a:pt x="3916" y="128"/>
                </a:lnTo>
                <a:lnTo>
                  <a:pt x="3916" y="128"/>
                </a:lnTo>
                <a:lnTo>
                  <a:pt x="3914" y="130"/>
                </a:lnTo>
                <a:lnTo>
                  <a:pt x="3914" y="132"/>
                </a:lnTo>
                <a:lnTo>
                  <a:pt x="3914" y="132"/>
                </a:lnTo>
                <a:lnTo>
                  <a:pt x="3906" y="132"/>
                </a:lnTo>
                <a:lnTo>
                  <a:pt x="3902" y="132"/>
                </a:lnTo>
                <a:lnTo>
                  <a:pt x="3898" y="134"/>
                </a:lnTo>
                <a:lnTo>
                  <a:pt x="3898" y="134"/>
                </a:lnTo>
                <a:lnTo>
                  <a:pt x="3904" y="136"/>
                </a:lnTo>
                <a:lnTo>
                  <a:pt x="3908" y="138"/>
                </a:lnTo>
                <a:lnTo>
                  <a:pt x="3916" y="144"/>
                </a:lnTo>
                <a:lnTo>
                  <a:pt x="3916" y="144"/>
                </a:lnTo>
                <a:lnTo>
                  <a:pt x="3904" y="150"/>
                </a:lnTo>
                <a:lnTo>
                  <a:pt x="3904" y="150"/>
                </a:lnTo>
                <a:lnTo>
                  <a:pt x="3898" y="148"/>
                </a:lnTo>
                <a:lnTo>
                  <a:pt x="3896" y="144"/>
                </a:lnTo>
                <a:lnTo>
                  <a:pt x="3894" y="140"/>
                </a:lnTo>
                <a:lnTo>
                  <a:pt x="3896" y="136"/>
                </a:lnTo>
                <a:lnTo>
                  <a:pt x="3896" y="136"/>
                </a:lnTo>
                <a:lnTo>
                  <a:pt x="3878" y="136"/>
                </a:lnTo>
                <a:lnTo>
                  <a:pt x="3878" y="136"/>
                </a:lnTo>
                <a:lnTo>
                  <a:pt x="3868" y="136"/>
                </a:lnTo>
                <a:lnTo>
                  <a:pt x="3862" y="136"/>
                </a:lnTo>
                <a:lnTo>
                  <a:pt x="3858" y="134"/>
                </a:lnTo>
                <a:lnTo>
                  <a:pt x="3858" y="134"/>
                </a:lnTo>
                <a:lnTo>
                  <a:pt x="3848" y="130"/>
                </a:lnTo>
                <a:lnTo>
                  <a:pt x="3838" y="128"/>
                </a:lnTo>
                <a:lnTo>
                  <a:pt x="3838" y="128"/>
                </a:lnTo>
                <a:lnTo>
                  <a:pt x="3834" y="134"/>
                </a:lnTo>
                <a:lnTo>
                  <a:pt x="3828" y="136"/>
                </a:lnTo>
                <a:lnTo>
                  <a:pt x="3822" y="138"/>
                </a:lnTo>
                <a:lnTo>
                  <a:pt x="3812" y="140"/>
                </a:lnTo>
                <a:lnTo>
                  <a:pt x="3812" y="140"/>
                </a:lnTo>
                <a:lnTo>
                  <a:pt x="3802" y="138"/>
                </a:lnTo>
                <a:lnTo>
                  <a:pt x="3794" y="136"/>
                </a:lnTo>
                <a:lnTo>
                  <a:pt x="3776" y="130"/>
                </a:lnTo>
                <a:lnTo>
                  <a:pt x="3776" y="130"/>
                </a:lnTo>
                <a:lnTo>
                  <a:pt x="3770" y="128"/>
                </a:lnTo>
                <a:lnTo>
                  <a:pt x="3770" y="128"/>
                </a:lnTo>
                <a:lnTo>
                  <a:pt x="3762" y="126"/>
                </a:lnTo>
                <a:lnTo>
                  <a:pt x="3756" y="124"/>
                </a:lnTo>
                <a:lnTo>
                  <a:pt x="3746" y="114"/>
                </a:lnTo>
                <a:lnTo>
                  <a:pt x="3746" y="114"/>
                </a:lnTo>
                <a:lnTo>
                  <a:pt x="3758" y="112"/>
                </a:lnTo>
                <a:lnTo>
                  <a:pt x="3762" y="110"/>
                </a:lnTo>
                <a:lnTo>
                  <a:pt x="3766" y="106"/>
                </a:lnTo>
                <a:lnTo>
                  <a:pt x="3766" y="106"/>
                </a:lnTo>
                <a:lnTo>
                  <a:pt x="3770" y="100"/>
                </a:lnTo>
                <a:lnTo>
                  <a:pt x="3772" y="96"/>
                </a:lnTo>
                <a:lnTo>
                  <a:pt x="3772" y="92"/>
                </a:lnTo>
                <a:lnTo>
                  <a:pt x="3772" y="92"/>
                </a:lnTo>
                <a:lnTo>
                  <a:pt x="3760" y="90"/>
                </a:lnTo>
                <a:lnTo>
                  <a:pt x="3746" y="88"/>
                </a:lnTo>
                <a:lnTo>
                  <a:pt x="3732" y="88"/>
                </a:lnTo>
                <a:lnTo>
                  <a:pt x="3720" y="88"/>
                </a:lnTo>
                <a:lnTo>
                  <a:pt x="3720" y="88"/>
                </a:lnTo>
                <a:lnTo>
                  <a:pt x="3728" y="86"/>
                </a:lnTo>
                <a:lnTo>
                  <a:pt x="3736" y="84"/>
                </a:lnTo>
                <a:lnTo>
                  <a:pt x="3744" y="82"/>
                </a:lnTo>
                <a:lnTo>
                  <a:pt x="3746" y="80"/>
                </a:lnTo>
                <a:lnTo>
                  <a:pt x="3748" y="76"/>
                </a:lnTo>
                <a:lnTo>
                  <a:pt x="3748" y="76"/>
                </a:lnTo>
                <a:lnTo>
                  <a:pt x="3748" y="72"/>
                </a:lnTo>
                <a:lnTo>
                  <a:pt x="3748" y="68"/>
                </a:lnTo>
                <a:lnTo>
                  <a:pt x="3748" y="68"/>
                </a:lnTo>
                <a:lnTo>
                  <a:pt x="3756" y="60"/>
                </a:lnTo>
                <a:lnTo>
                  <a:pt x="3758" y="56"/>
                </a:lnTo>
                <a:lnTo>
                  <a:pt x="3764" y="52"/>
                </a:lnTo>
                <a:lnTo>
                  <a:pt x="3764" y="52"/>
                </a:lnTo>
                <a:lnTo>
                  <a:pt x="3764" y="52"/>
                </a:lnTo>
                <a:lnTo>
                  <a:pt x="3764" y="52"/>
                </a:lnTo>
                <a:lnTo>
                  <a:pt x="3760" y="50"/>
                </a:lnTo>
                <a:lnTo>
                  <a:pt x="3758" y="48"/>
                </a:lnTo>
                <a:lnTo>
                  <a:pt x="3758" y="48"/>
                </a:lnTo>
                <a:lnTo>
                  <a:pt x="3758" y="44"/>
                </a:lnTo>
                <a:lnTo>
                  <a:pt x="3754" y="40"/>
                </a:lnTo>
                <a:lnTo>
                  <a:pt x="3748" y="34"/>
                </a:lnTo>
                <a:lnTo>
                  <a:pt x="3748" y="34"/>
                </a:lnTo>
                <a:lnTo>
                  <a:pt x="3744" y="30"/>
                </a:lnTo>
                <a:lnTo>
                  <a:pt x="3738" y="28"/>
                </a:lnTo>
                <a:lnTo>
                  <a:pt x="3738" y="28"/>
                </a:lnTo>
                <a:lnTo>
                  <a:pt x="3730" y="26"/>
                </a:lnTo>
                <a:lnTo>
                  <a:pt x="3724" y="28"/>
                </a:lnTo>
                <a:lnTo>
                  <a:pt x="3716" y="30"/>
                </a:lnTo>
                <a:lnTo>
                  <a:pt x="3708" y="32"/>
                </a:lnTo>
                <a:lnTo>
                  <a:pt x="3708" y="32"/>
                </a:lnTo>
                <a:lnTo>
                  <a:pt x="3704" y="36"/>
                </a:lnTo>
                <a:lnTo>
                  <a:pt x="3700" y="38"/>
                </a:lnTo>
                <a:lnTo>
                  <a:pt x="3686" y="44"/>
                </a:lnTo>
                <a:lnTo>
                  <a:pt x="3686" y="44"/>
                </a:lnTo>
                <a:lnTo>
                  <a:pt x="3692" y="60"/>
                </a:lnTo>
                <a:lnTo>
                  <a:pt x="3692" y="60"/>
                </a:lnTo>
                <a:lnTo>
                  <a:pt x="3688" y="66"/>
                </a:lnTo>
                <a:lnTo>
                  <a:pt x="3688" y="66"/>
                </a:lnTo>
                <a:lnTo>
                  <a:pt x="3676" y="66"/>
                </a:lnTo>
                <a:lnTo>
                  <a:pt x="3668" y="66"/>
                </a:lnTo>
                <a:lnTo>
                  <a:pt x="3668" y="66"/>
                </a:lnTo>
                <a:lnTo>
                  <a:pt x="3660" y="62"/>
                </a:lnTo>
                <a:lnTo>
                  <a:pt x="3654" y="62"/>
                </a:lnTo>
                <a:lnTo>
                  <a:pt x="3646" y="64"/>
                </a:lnTo>
                <a:lnTo>
                  <a:pt x="3638" y="66"/>
                </a:lnTo>
                <a:lnTo>
                  <a:pt x="3638" y="66"/>
                </a:lnTo>
                <a:lnTo>
                  <a:pt x="3632" y="68"/>
                </a:lnTo>
                <a:lnTo>
                  <a:pt x="3632" y="68"/>
                </a:lnTo>
                <a:lnTo>
                  <a:pt x="3622" y="72"/>
                </a:lnTo>
                <a:lnTo>
                  <a:pt x="3620" y="74"/>
                </a:lnTo>
                <a:lnTo>
                  <a:pt x="3618" y="78"/>
                </a:lnTo>
                <a:lnTo>
                  <a:pt x="3618" y="78"/>
                </a:lnTo>
                <a:lnTo>
                  <a:pt x="3616" y="84"/>
                </a:lnTo>
                <a:lnTo>
                  <a:pt x="3618" y="88"/>
                </a:lnTo>
                <a:lnTo>
                  <a:pt x="3622" y="90"/>
                </a:lnTo>
                <a:lnTo>
                  <a:pt x="3622" y="90"/>
                </a:lnTo>
                <a:lnTo>
                  <a:pt x="3624" y="94"/>
                </a:lnTo>
                <a:lnTo>
                  <a:pt x="3624" y="96"/>
                </a:lnTo>
                <a:lnTo>
                  <a:pt x="3624" y="96"/>
                </a:lnTo>
                <a:lnTo>
                  <a:pt x="3620" y="100"/>
                </a:lnTo>
                <a:lnTo>
                  <a:pt x="3618" y="104"/>
                </a:lnTo>
                <a:lnTo>
                  <a:pt x="3618" y="104"/>
                </a:lnTo>
                <a:lnTo>
                  <a:pt x="3618" y="110"/>
                </a:lnTo>
                <a:lnTo>
                  <a:pt x="3618" y="118"/>
                </a:lnTo>
                <a:lnTo>
                  <a:pt x="3618" y="118"/>
                </a:lnTo>
                <a:lnTo>
                  <a:pt x="3612" y="118"/>
                </a:lnTo>
                <a:lnTo>
                  <a:pt x="3606" y="116"/>
                </a:lnTo>
                <a:lnTo>
                  <a:pt x="3606" y="116"/>
                </a:lnTo>
                <a:lnTo>
                  <a:pt x="3598" y="114"/>
                </a:lnTo>
                <a:lnTo>
                  <a:pt x="3590" y="116"/>
                </a:lnTo>
                <a:lnTo>
                  <a:pt x="3590" y="116"/>
                </a:lnTo>
                <a:lnTo>
                  <a:pt x="3578" y="114"/>
                </a:lnTo>
                <a:lnTo>
                  <a:pt x="3578" y="114"/>
                </a:lnTo>
                <a:lnTo>
                  <a:pt x="3552" y="106"/>
                </a:lnTo>
                <a:lnTo>
                  <a:pt x="3552" y="106"/>
                </a:lnTo>
                <a:lnTo>
                  <a:pt x="3546" y="106"/>
                </a:lnTo>
                <a:lnTo>
                  <a:pt x="3546" y="106"/>
                </a:lnTo>
                <a:lnTo>
                  <a:pt x="3522" y="108"/>
                </a:lnTo>
                <a:lnTo>
                  <a:pt x="3522" y="108"/>
                </a:lnTo>
                <a:lnTo>
                  <a:pt x="3516" y="108"/>
                </a:lnTo>
                <a:lnTo>
                  <a:pt x="3516" y="108"/>
                </a:lnTo>
                <a:lnTo>
                  <a:pt x="3510" y="112"/>
                </a:lnTo>
                <a:lnTo>
                  <a:pt x="3504" y="112"/>
                </a:lnTo>
                <a:lnTo>
                  <a:pt x="3490" y="112"/>
                </a:lnTo>
                <a:lnTo>
                  <a:pt x="3490" y="112"/>
                </a:lnTo>
                <a:lnTo>
                  <a:pt x="3484" y="112"/>
                </a:lnTo>
                <a:lnTo>
                  <a:pt x="3480" y="112"/>
                </a:lnTo>
                <a:lnTo>
                  <a:pt x="3476" y="114"/>
                </a:lnTo>
                <a:lnTo>
                  <a:pt x="3476" y="114"/>
                </a:lnTo>
                <a:lnTo>
                  <a:pt x="3482" y="114"/>
                </a:lnTo>
                <a:lnTo>
                  <a:pt x="3486" y="116"/>
                </a:lnTo>
                <a:lnTo>
                  <a:pt x="3492" y="116"/>
                </a:lnTo>
                <a:lnTo>
                  <a:pt x="3496" y="118"/>
                </a:lnTo>
                <a:lnTo>
                  <a:pt x="3496" y="118"/>
                </a:lnTo>
                <a:lnTo>
                  <a:pt x="3500" y="122"/>
                </a:lnTo>
                <a:lnTo>
                  <a:pt x="3500" y="124"/>
                </a:lnTo>
                <a:lnTo>
                  <a:pt x="3500" y="132"/>
                </a:lnTo>
                <a:lnTo>
                  <a:pt x="3500" y="132"/>
                </a:lnTo>
                <a:lnTo>
                  <a:pt x="3510" y="136"/>
                </a:lnTo>
                <a:lnTo>
                  <a:pt x="3520" y="138"/>
                </a:lnTo>
                <a:lnTo>
                  <a:pt x="3520" y="138"/>
                </a:lnTo>
                <a:lnTo>
                  <a:pt x="3530" y="136"/>
                </a:lnTo>
                <a:lnTo>
                  <a:pt x="3538" y="134"/>
                </a:lnTo>
                <a:lnTo>
                  <a:pt x="3538" y="134"/>
                </a:lnTo>
                <a:lnTo>
                  <a:pt x="3550" y="130"/>
                </a:lnTo>
                <a:lnTo>
                  <a:pt x="3550" y="130"/>
                </a:lnTo>
                <a:lnTo>
                  <a:pt x="3558" y="128"/>
                </a:lnTo>
                <a:lnTo>
                  <a:pt x="3564" y="130"/>
                </a:lnTo>
                <a:lnTo>
                  <a:pt x="3568" y="134"/>
                </a:lnTo>
                <a:lnTo>
                  <a:pt x="3568" y="138"/>
                </a:lnTo>
                <a:lnTo>
                  <a:pt x="3568" y="138"/>
                </a:lnTo>
                <a:lnTo>
                  <a:pt x="3570" y="142"/>
                </a:lnTo>
                <a:lnTo>
                  <a:pt x="3570" y="142"/>
                </a:lnTo>
                <a:lnTo>
                  <a:pt x="3582" y="146"/>
                </a:lnTo>
                <a:lnTo>
                  <a:pt x="3596" y="148"/>
                </a:lnTo>
                <a:lnTo>
                  <a:pt x="3624" y="154"/>
                </a:lnTo>
                <a:lnTo>
                  <a:pt x="3624" y="154"/>
                </a:lnTo>
                <a:lnTo>
                  <a:pt x="3618" y="154"/>
                </a:lnTo>
                <a:lnTo>
                  <a:pt x="3618" y="158"/>
                </a:lnTo>
                <a:lnTo>
                  <a:pt x="3618" y="162"/>
                </a:lnTo>
                <a:lnTo>
                  <a:pt x="3618" y="162"/>
                </a:lnTo>
                <a:lnTo>
                  <a:pt x="3618" y="166"/>
                </a:lnTo>
                <a:lnTo>
                  <a:pt x="3618" y="166"/>
                </a:lnTo>
                <a:lnTo>
                  <a:pt x="3612" y="168"/>
                </a:lnTo>
                <a:lnTo>
                  <a:pt x="3612" y="168"/>
                </a:lnTo>
                <a:lnTo>
                  <a:pt x="3598" y="168"/>
                </a:lnTo>
                <a:lnTo>
                  <a:pt x="3598" y="168"/>
                </a:lnTo>
                <a:lnTo>
                  <a:pt x="3596" y="172"/>
                </a:lnTo>
                <a:lnTo>
                  <a:pt x="3592" y="174"/>
                </a:lnTo>
                <a:lnTo>
                  <a:pt x="3592" y="174"/>
                </a:lnTo>
                <a:lnTo>
                  <a:pt x="3576" y="178"/>
                </a:lnTo>
                <a:lnTo>
                  <a:pt x="3558" y="178"/>
                </a:lnTo>
                <a:lnTo>
                  <a:pt x="3558" y="178"/>
                </a:lnTo>
                <a:lnTo>
                  <a:pt x="3550" y="164"/>
                </a:lnTo>
                <a:lnTo>
                  <a:pt x="3550" y="164"/>
                </a:lnTo>
                <a:lnTo>
                  <a:pt x="3546" y="162"/>
                </a:lnTo>
                <a:lnTo>
                  <a:pt x="3546" y="162"/>
                </a:lnTo>
                <a:lnTo>
                  <a:pt x="3534" y="162"/>
                </a:lnTo>
                <a:lnTo>
                  <a:pt x="3522" y="158"/>
                </a:lnTo>
                <a:lnTo>
                  <a:pt x="3522" y="158"/>
                </a:lnTo>
                <a:lnTo>
                  <a:pt x="3518" y="158"/>
                </a:lnTo>
                <a:lnTo>
                  <a:pt x="3512" y="158"/>
                </a:lnTo>
                <a:lnTo>
                  <a:pt x="3512" y="158"/>
                </a:lnTo>
                <a:lnTo>
                  <a:pt x="3504" y="160"/>
                </a:lnTo>
                <a:lnTo>
                  <a:pt x="3498" y="160"/>
                </a:lnTo>
                <a:lnTo>
                  <a:pt x="3492" y="160"/>
                </a:lnTo>
                <a:lnTo>
                  <a:pt x="3492" y="160"/>
                </a:lnTo>
                <a:lnTo>
                  <a:pt x="3488" y="160"/>
                </a:lnTo>
                <a:lnTo>
                  <a:pt x="3482" y="162"/>
                </a:lnTo>
                <a:lnTo>
                  <a:pt x="3482" y="162"/>
                </a:lnTo>
                <a:lnTo>
                  <a:pt x="3470" y="164"/>
                </a:lnTo>
                <a:lnTo>
                  <a:pt x="3470" y="164"/>
                </a:lnTo>
                <a:lnTo>
                  <a:pt x="3462" y="166"/>
                </a:lnTo>
                <a:lnTo>
                  <a:pt x="3458" y="168"/>
                </a:lnTo>
                <a:lnTo>
                  <a:pt x="3456" y="170"/>
                </a:lnTo>
                <a:lnTo>
                  <a:pt x="3456" y="170"/>
                </a:lnTo>
                <a:lnTo>
                  <a:pt x="3452" y="172"/>
                </a:lnTo>
                <a:lnTo>
                  <a:pt x="3446" y="174"/>
                </a:lnTo>
                <a:lnTo>
                  <a:pt x="3446" y="174"/>
                </a:lnTo>
                <a:lnTo>
                  <a:pt x="3440" y="176"/>
                </a:lnTo>
                <a:lnTo>
                  <a:pt x="3436" y="172"/>
                </a:lnTo>
                <a:lnTo>
                  <a:pt x="3436" y="172"/>
                </a:lnTo>
                <a:lnTo>
                  <a:pt x="3430" y="170"/>
                </a:lnTo>
                <a:lnTo>
                  <a:pt x="3426" y="168"/>
                </a:lnTo>
                <a:lnTo>
                  <a:pt x="3420" y="168"/>
                </a:lnTo>
                <a:lnTo>
                  <a:pt x="3414" y="172"/>
                </a:lnTo>
                <a:lnTo>
                  <a:pt x="3414" y="172"/>
                </a:lnTo>
                <a:lnTo>
                  <a:pt x="3420" y="176"/>
                </a:lnTo>
                <a:lnTo>
                  <a:pt x="3424" y="178"/>
                </a:lnTo>
                <a:lnTo>
                  <a:pt x="3428" y="180"/>
                </a:lnTo>
                <a:lnTo>
                  <a:pt x="3428" y="180"/>
                </a:lnTo>
                <a:lnTo>
                  <a:pt x="3450" y="180"/>
                </a:lnTo>
                <a:lnTo>
                  <a:pt x="3450" y="180"/>
                </a:lnTo>
                <a:lnTo>
                  <a:pt x="3456" y="182"/>
                </a:lnTo>
                <a:lnTo>
                  <a:pt x="3464" y="186"/>
                </a:lnTo>
                <a:lnTo>
                  <a:pt x="3468" y="190"/>
                </a:lnTo>
                <a:lnTo>
                  <a:pt x="3470" y="194"/>
                </a:lnTo>
                <a:lnTo>
                  <a:pt x="3470" y="194"/>
                </a:lnTo>
                <a:lnTo>
                  <a:pt x="3470" y="200"/>
                </a:lnTo>
                <a:lnTo>
                  <a:pt x="3472" y="202"/>
                </a:lnTo>
                <a:lnTo>
                  <a:pt x="3476" y="204"/>
                </a:lnTo>
                <a:lnTo>
                  <a:pt x="3476" y="204"/>
                </a:lnTo>
                <a:lnTo>
                  <a:pt x="3478" y="206"/>
                </a:lnTo>
                <a:lnTo>
                  <a:pt x="3478" y="206"/>
                </a:lnTo>
                <a:lnTo>
                  <a:pt x="3476" y="210"/>
                </a:lnTo>
                <a:lnTo>
                  <a:pt x="3478" y="212"/>
                </a:lnTo>
                <a:lnTo>
                  <a:pt x="3480" y="216"/>
                </a:lnTo>
                <a:lnTo>
                  <a:pt x="3480" y="218"/>
                </a:lnTo>
                <a:lnTo>
                  <a:pt x="3480" y="218"/>
                </a:lnTo>
                <a:lnTo>
                  <a:pt x="3488" y="222"/>
                </a:lnTo>
                <a:lnTo>
                  <a:pt x="3498" y="222"/>
                </a:lnTo>
                <a:lnTo>
                  <a:pt x="3518" y="222"/>
                </a:lnTo>
                <a:lnTo>
                  <a:pt x="3518" y="222"/>
                </a:lnTo>
                <a:lnTo>
                  <a:pt x="3522" y="220"/>
                </a:lnTo>
                <a:lnTo>
                  <a:pt x="3522" y="220"/>
                </a:lnTo>
                <a:lnTo>
                  <a:pt x="3528" y="214"/>
                </a:lnTo>
                <a:lnTo>
                  <a:pt x="3528" y="212"/>
                </a:lnTo>
                <a:lnTo>
                  <a:pt x="3528" y="208"/>
                </a:lnTo>
                <a:lnTo>
                  <a:pt x="3528" y="208"/>
                </a:lnTo>
                <a:lnTo>
                  <a:pt x="3526" y="206"/>
                </a:lnTo>
                <a:lnTo>
                  <a:pt x="3528" y="204"/>
                </a:lnTo>
                <a:lnTo>
                  <a:pt x="3530" y="202"/>
                </a:lnTo>
                <a:lnTo>
                  <a:pt x="3530" y="202"/>
                </a:lnTo>
                <a:lnTo>
                  <a:pt x="3534" y="204"/>
                </a:lnTo>
                <a:lnTo>
                  <a:pt x="3538" y="206"/>
                </a:lnTo>
                <a:lnTo>
                  <a:pt x="3542" y="206"/>
                </a:lnTo>
                <a:lnTo>
                  <a:pt x="3546" y="204"/>
                </a:lnTo>
                <a:lnTo>
                  <a:pt x="3546" y="204"/>
                </a:lnTo>
                <a:lnTo>
                  <a:pt x="3538" y="198"/>
                </a:lnTo>
                <a:lnTo>
                  <a:pt x="3538" y="198"/>
                </a:lnTo>
                <a:lnTo>
                  <a:pt x="3542" y="194"/>
                </a:lnTo>
                <a:lnTo>
                  <a:pt x="3542" y="194"/>
                </a:lnTo>
                <a:lnTo>
                  <a:pt x="3548" y="192"/>
                </a:lnTo>
                <a:lnTo>
                  <a:pt x="3554" y="190"/>
                </a:lnTo>
                <a:lnTo>
                  <a:pt x="3560" y="192"/>
                </a:lnTo>
                <a:lnTo>
                  <a:pt x="3568" y="194"/>
                </a:lnTo>
                <a:lnTo>
                  <a:pt x="3568" y="194"/>
                </a:lnTo>
                <a:lnTo>
                  <a:pt x="3578" y="198"/>
                </a:lnTo>
                <a:lnTo>
                  <a:pt x="3582" y="200"/>
                </a:lnTo>
                <a:lnTo>
                  <a:pt x="3590" y="198"/>
                </a:lnTo>
                <a:lnTo>
                  <a:pt x="3590" y="198"/>
                </a:lnTo>
                <a:lnTo>
                  <a:pt x="3592" y="200"/>
                </a:lnTo>
                <a:lnTo>
                  <a:pt x="3594" y="200"/>
                </a:lnTo>
                <a:lnTo>
                  <a:pt x="3594" y="202"/>
                </a:lnTo>
                <a:lnTo>
                  <a:pt x="3594" y="206"/>
                </a:lnTo>
                <a:lnTo>
                  <a:pt x="3594" y="206"/>
                </a:lnTo>
                <a:lnTo>
                  <a:pt x="3622" y="202"/>
                </a:lnTo>
                <a:lnTo>
                  <a:pt x="3622" y="202"/>
                </a:lnTo>
                <a:lnTo>
                  <a:pt x="3618" y="208"/>
                </a:lnTo>
                <a:lnTo>
                  <a:pt x="3618" y="208"/>
                </a:lnTo>
                <a:lnTo>
                  <a:pt x="3628" y="222"/>
                </a:lnTo>
                <a:lnTo>
                  <a:pt x="3628" y="222"/>
                </a:lnTo>
                <a:lnTo>
                  <a:pt x="3618" y="224"/>
                </a:lnTo>
                <a:lnTo>
                  <a:pt x="3614" y="228"/>
                </a:lnTo>
                <a:lnTo>
                  <a:pt x="3614" y="230"/>
                </a:lnTo>
                <a:lnTo>
                  <a:pt x="3614" y="230"/>
                </a:lnTo>
                <a:lnTo>
                  <a:pt x="3632" y="234"/>
                </a:lnTo>
                <a:lnTo>
                  <a:pt x="3632" y="234"/>
                </a:lnTo>
                <a:lnTo>
                  <a:pt x="3636" y="230"/>
                </a:lnTo>
                <a:lnTo>
                  <a:pt x="3636" y="226"/>
                </a:lnTo>
                <a:lnTo>
                  <a:pt x="3636" y="226"/>
                </a:lnTo>
                <a:lnTo>
                  <a:pt x="3638" y="224"/>
                </a:lnTo>
                <a:lnTo>
                  <a:pt x="3640" y="222"/>
                </a:lnTo>
                <a:lnTo>
                  <a:pt x="3646" y="222"/>
                </a:lnTo>
                <a:lnTo>
                  <a:pt x="3646" y="222"/>
                </a:lnTo>
                <a:lnTo>
                  <a:pt x="3654" y="218"/>
                </a:lnTo>
                <a:lnTo>
                  <a:pt x="3662" y="214"/>
                </a:lnTo>
                <a:lnTo>
                  <a:pt x="3662" y="214"/>
                </a:lnTo>
                <a:lnTo>
                  <a:pt x="3672" y="208"/>
                </a:lnTo>
                <a:lnTo>
                  <a:pt x="3672" y="208"/>
                </a:lnTo>
                <a:lnTo>
                  <a:pt x="3676" y="212"/>
                </a:lnTo>
                <a:lnTo>
                  <a:pt x="3674" y="216"/>
                </a:lnTo>
                <a:lnTo>
                  <a:pt x="3666" y="218"/>
                </a:lnTo>
                <a:lnTo>
                  <a:pt x="3666" y="218"/>
                </a:lnTo>
                <a:lnTo>
                  <a:pt x="3682" y="232"/>
                </a:lnTo>
                <a:lnTo>
                  <a:pt x="3682" y="232"/>
                </a:lnTo>
                <a:lnTo>
                  <a:pt x="3670" y="234"/>
                </a:lnTo>
                <a:lnTo>
                  <a:pt x="3670" y="234"/>
                </a:lnTo>
                <a:lnTo>
                  <a:pt x="3670" y="238"/>
                </a:lnTo>
                <a:lnTo>
                  <a:pt x="3670" y="240"/>
                </a:lnTo>
                <a:lnTo>
                  <a:pt x="3670" y="240"/>
                </a:lnTo>
                <a:lnTo>
                  <a:pt x="3666" y="244"/>
                </a:lnTo>
                <a:lnTo>
                  <a:pt x="3662" y="244"/>
                </a:lnTo>
                <a:lnTo>
                  <a:pt x="3662" y="244"/>
                </a:lnTo>
                <a:lnTo>
                  <a:pt x="3662" y="248"/>
                </a:lnTo>
                <a:lnTo>
                  <a:pt x="3662" y="252"/>
                </a:lnTo>
                <a:lnTo>
                  <a:pt x="3660" y="254"/>
                </a:lnTo>
                <a:lnTo>
                  <a:pt x="3654" y="256"/>
                </a:lnTo>
                <a:lnTo>
                  <a:pt x="3654" y="256"/>
                </a:lnTo>
                <a:lnTo>
                  <a:pt x="3648" y="256"/>
                </a:lnTo>
                <a:lnTo>
                  <a:pt x="3646" y="258"/>
                </a:lnTo>
                <a:lnTo>
                  <a:pt x="3644" y="260"/>
                </a:lnTo>
                <a:lnTo>
                  <a:pt x="3644" y="260"/>
                </a:lnTo>
                <a:lnTo>
                  <a:pt x="3642" y="264"/>
                </a:lnTo>
                <a:lnTo>
                  <a:pt x="3638" y="268"/>
                </a:lnTo>
                <a:lnTo>
                  <a:pt x="3638" y="268"/>
                </a:lnTo>
                <a:lnTo>
                  <a:pt x="3630" y="266"/>
                </a:lnTo>
                <a:lnTo>
                  <a:pt x="3630" y="266"/>
                </a:lnTo>
                <a:lnTo>
                  <a:pt x="3634" y="262"/>
                </a:lnTo>
                <a:lnTo>
                  <a:pt x="3634" y="262"/>
                </a:lnTo>
                <a:lnTo>
                  <a:pt x="3622" y="252"/>
                </a:lnTo>
                <a:lnTo>
                  <a:pt x="3622" y="252"/>
                </a:lnTo>
                <a:lnTo>
                  <a:pt x="3612" y="256"/>
                </a:lnTo>
                <a:lnTo>
                  <a:pt x="3604" y="260"/>
                </a:lnTo>
                <a:lnTo>
                  <a:pt x="3604" y="260"/>
                </a:lnTo>
                <a:lnTo>
                  <a:pt x="3600" y="262"/>
                </a:lnTo>
                <a:lnTo>
                  <a:pt x="3598" y="262"/>
                </a:lnTo>
                <a:lnTo>
                  <a:pt x="3590" y="260"/>
                </a:lnTo>
                <a:lnTo>
                  <a:pt x="3590" y="260"/>
                </a:lnTo>
                <a:lnTo>
                  <a:pt x="3590" y="258"/>
                </a:lnTo>
                <a:lnTo>
                  <a:pt x="3590" y="256"/>
                </a:lnTo>
                <a:lnTo>
                  <a:pt x="3596" y="254"/>
                </a:lnTo>
                <a:lnTo>
                  <a:pt x="3600" y="252"/>
                </a:lnTo>
                <a:lnTo>
                  <a:pt x="3602" y="250"/>
                </a:lnTo>
                <a:lnTo>
                  <a:pt x="3602" y="248"/>
                </a:lnTo>
                <a:lnTo>
                  <a:pt x="3602" y="248"/>
                </a:lnTo>
                <a:lnTo>
                  <a:pt x="3592" y="248"/>
                </a:lnTo>
                <a:lnTo>
                  <a:pt x="3586" y="250"/>
                </a:lnTo>
                <a:lnTo>
                  <a:pt x="3582" y="252"/>
                </a:lnTo>
                <a:lnTo>
                  <a:pt x="3582" y="252"/>
                </a:lnTo>
                <a:lnTo>
                  <a:pt x="3576" y="256"/>
                </a:lnTo>
                <a:lnTo>
                  <a:pt x="3576" y="256"/>
                </a:lnTo>
                <a:lnTo>
                  <a:pt x="3548" y="264"/>
                </a:lnTo>
                <a:lnTo>
                  <a:pt x="3548" y="264"/>
                </a:lnTo>
                <a:lnTo>
                  <a:pt x="3540" y="266"/>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26" y="264"/>
                </a:lnTo>
                <a:lnTo>
                  <a:pt x="3526" y="264"/>
                </a:lnTo>
                <a:lnTo>
                  <a:pt x="3526" y="260"/>
                </a:lnTo>
                <a:lnTo>
                  <a:pt x="3524" y="256"/>
                </a:lnTo>
                <a:lnTo>
                  <a:pt x="3516" y="254"/>
                </a:lnTo>
                <a:lnTo>
                  <a:pt x="3516" y="254"/>
                </a:lnTo>
                <a:lnTo>
                  <a:pt x="3506" y="250"/>
                </a:lnTo>
                <a:lnTo>
                  <a:pt x="3506" y="250"/>
                </a:lnTo>
                <a:lnTo>
                  <a:pt x="3508" y="248"/>
                </a:lnTo>
                <a:lnTo>
                  <a:pt x="3508" y="248"/>
                </a:lnTo>
                <a:lnTo>
                  <a:pt x="3544" y="244"/>
                </a:lnTo>
                <a:lnTo>
                  <a:pt x="3544" y="244"/>
                </a:lnTo>
                <a:lnTo>
                  <a:pt x="3548" y="238"/>
                </a:lnTo>
                <a:lnTo>
                  <a:pt x="3548" y="238"/>
                </a:lnTo>
                <a:lnTo>
                  <a:pt x="3532" y="236"/>
                </a:lnTo>
                <a:lnTo>
                  <a:pt x="3532" y="236"/>
                </a:lnTo>
                <a:lnTo>
                  <a:pt x="3526" y="234"/>
                </a:lnTo>
                <a:lnTo>
                  <a:pt x="3524" y="234"/>
                </a:lnTo>
                <a:lnTo>
                  <a:pt x="3522" y="232"/>
                </a:lnTo>
                <a:lnTo>
                  <a:pt x="3522" y="232"/>
                </a:lnTo>
                <a:lnTo>
                  <a:pt x="3518" y="228"/>
                </a:lnTo>
                <a:lnTo>
                  <a:pt x="3514" y="226"/>
                </a:lnTo>
                <a:lnTo>
                  <a:pt x="3502" y="226"/>
                </a:lnTo>
                <a:lnTo>
                  <a:pt x="3502" y="226"/>
                </a:lnTo>
                <a:lnTo>
                  <a:pt x="3502" y="230"/>
                </a:lnTo>
                <a:lnTo>
                  <a:pt x="3498" y="232"/>
                </a:lnTo>
                <a:lnTo>
                  <a:pt x="3492" y="234"/>
                </a:lnTo>
                <a:lnTo>
                  <a:pt x="3486" y="234"/>
                </a:lnTo>
                <a:lnTo>
                  <a:pt x="3486" y="234"/>
                </a:lnTo>
                <a:lnTo>
                  <a:pt x="3474" y="234"/>
                </a:lnTo>
                <a:lnTo>
                  <a:pt x="3474" y="234"/>
                </a:lnTo>
                <a:lnTo>
                  <a:pt x="3476" y="242"/>
                </a:lnTo>
                <a:lnTo>
                  <a:pt x="3476" y="242"/>
                </a:lnTo>
                <a:lnTo>
                  <a:pt x="3472" y="244"/>
                </a:lnTo>
                <a:lnTo>
                  <a:pt x="3472" y="244"/>
                </a:lnTo>
                <a:lnTo>
                  <a:pt x="3466" y="244"/>
                </a:lnTo>
                <a:lnTo>
                  <a:pt x="3466" y="244"/>
                </a:lnTo>
                <a:lnTo>
                  <a:pt x="3468" y="248"/>
                </a:lnTo>
                <a:lnTo>
                  <a:pt x="3472" y="252"/>
                </a:lnTo>
                <a:lnTo>
                  <a:pt x="3476" y="256"/>
                </a:lnTo>
                <a:lnTo>
                  <a:pt x="3476" y="260"/>
                </a:lnTo>
                <a:lnTo>
                  <a:pt x="3476" y="260"/>
                </a:lnTo>
                <a:lnTo>
                  <a:pt x="3488" y="262"/>
                </a:lnTo>
                <a:lnTo>
                  <a:pt x="3488" y="262"/>
                </a:lnTo>
                <a:lnTo>
                  <a:pt x="3472" y="266"/>
                </a:lnTo>
                <a:lnTo>
                  <a:pt x="3460" y="266"/>
                </a:lnTo>
                <a:lnTo>
                  <a:pt x="3452" y="264"/>
                </a:lnTo>
                <a:lnTo>
                  <a:pt x="3446" y="260"/>
                </a:lnTo>
                <a:lnTo>
                  <a:pt x="3446" y="260"/>
                </a:lnTo>
                <a:lnTo>
                  <a:pt x="3456" y="258"/>
                </a:lnTo>
                <a:lnTo>
                  <a:pt x="3456" y="258"/>
                </a:lnTo>
                <a:lnTo>
                  <a:pt x="3430" y="258"/>
                </a:lnTo>
                <a:lnTo>
                  <a:pt x="3430" y="258"/>
                </a:lnTo>
                <a:lnTo>
                  <a:pt x="3406" y="262"/>
                </a:lnTo>
                <a:lnTo>
                  <a:pt x="3406" y="262"/>
                </a:lnTo>
                <a:lnTo>
                  <a:pt x="3404" y="264"/>
                </a:lnTo>
                <a:lnTo>
                  <a:pt x="3402" y="266"/>
                </a:lnTo>
                <a:lnTo>
                  <a:pt x="3402" y="266"/>
                </a:lnTo>
                <a:lnTo>
                  <a:pt x="3412" y="272"/>
                </a:lnTo>
                <a:lnTo>
                  <a:pt x="3412" y="272"/>
                </a:lnTo>
                <a:lnTo>
                  <a:pt x="3422" y="270"/>
                </a:lnTo>
                <a:lnTo>
                  <a:pt x="3422" y="270"/>
                </a:lnTo>
                <a:lnTo>
                  <a:pt x="3428" y="270"/>
                </a:lnTo>
                <a:lnTo>
                  <a:pt x="3432" y="272"/>
                </a:lnTo>
                <a:lnTo>
                  <a:pt x="3432" y="272"/>
                </a:lnTo>
                <a:lnTo>
                  <a:pt x="3436" y="270"/>
                </a:lnTo>
                <a:lnTo>
                  <a:pt x="3440" y="266"/>
                </a:lnTo>
                <a:lnTo>
                  <a:pt x="3440" y="266"/>
                </a:lnTo>
                <a:lnTo>
                  <a:pt x="3446" y="268"/>
                </a:lnTo>
                <a:lnTo>
                  <a:pt x="3448" y="270"/>
                </a:lnTo>
                <a:lnTo>
                  <a:pt x="3450" y="272"/>
                </a:lnTo>
                <a:lnTo>
                  <a:pt x="3450" y="272"/>
                </a:lnTo>
                <a:lnTo>
                  <a:pt x="3432" y="278"/>
                </a:lnTo>
                <a:lnTo>
                  <a:pt x="3422" y="280"/>
                </a:lnTo>
                <a:lnTo>
                  <a:pt x="3412" y="280"/>
                </a:lnTo>
                <a:lnTo>
                  <a:pt x="3412" y="280"/>
                </a:lnTo>
                <a:lnTo>
                  <a:pt x="3406" y="282"/>
                </a:lnTo>
                <a:lnTo>
                  <a:pt x="3402" y="282"/>
                </a:lnTo>
                <a:lnTo>
                  <a:pt x="3398" y="286"/>
                </a:lnTo>
                <a:lnTo>
                  <a:pt x="3396" y="288"/>
                </a:lnTo>
                <a:lnTo>
                  <a:pt x="3396" y="288"/>
                </a:lnTo>
                <a:lnTo>
                  <a:pt x="3394" y="292"/>
                </a:lnTo>
                <a:lnTo>
                  <a:pt x="3394" y="292"/>
                </a:lnTo>
                <a:lnTo>
                  <a:pt x="3394" y="294"/>
                </a:lnTo>
                <a:lnTo>
                  <a:pt x="3394" y="294"/>
                </a:lnTo>
                <a:lnTo>
                  <a:pt x="3380" y="296"/>
                </a:lnTo>
                <a:lnTo>
                  <a:pt x="3374" y="298"/>
                </a:lnTo>
                <a:lnTo>
                  <a:pt x="3370" y="304"/>
                </a:lnTo>
                <a:lnTo>
                  <a:pt x="3370" y="304"/>
                </a:lnTo>
                <a:lnTo>
                  <a:pt x="3368" y="304"/>
                </a:lnTo>
                <a:lnTo>
                  <a:pt x="3364" y="306"/>
                </a:lnTo>
                <a:lnTo>
                  <a:pt x="3364" y="306"/>
                </a:lnTo>
                <a:lnTo>
                  <a:pt x="3342" y="302"/>
                </a:lnTo>
                <a:lnTo>
                  <a:pt x="3342" y="302"/>
                </a:lnTo>
                <a:lnTo>
                  <a:pt x="3336" y="300"/>
                </a:lnTo>
                <a:lnTo>
                  <a:pt x="3336" y="296"/>
                </a:lnTo>
                <a:lnTo>
                  <a:pt x="3336" y="294"/>
                </a:lnTo>
                <a:lnTo>
                  <a:pt x="3336" y="294"/>
                </a:lnTo>
                <a:lnTo>
                  <a:pt x="3362" y="296"/>
                </a:lnTo>
                <a:lnTo>
                  <a:pt x="3362" y="296"/>
                </a:lnTo>
                <a:lnTo>
                  <a:pt x="3362" y="294"/>
                </a:lnTo>
                <a:lnTo>
                  <a:pt x="3362" y="294"/>
                </a:lnTo>
                <a:lnTo>
                  <a:pt x="3332" y="284"/>
                </a:lnTo>
                <a:lnTo>
                  <a:pt x="3332" y="284"/>
                </a:lnTo>
                <a:lnTo>
                  <a:pt x="3332" y="284"/>
                </a:lnTo>
                <a:lnTo>
                  <a:pt x="3332" y="284"/>
                </a:lnTo>
                <a:lnTo>
                  <a:pt x="3338" y="282"/>
                </a:lnTo>
                <a:lnTo>
                  <a:pt x="3338" y="282"/>
                </a:lnTo>
                <a:lnTo>
                  <a:pt x="3340" y="280"/>
                </a:lnTo>
                <a:lnTo>
                  <a:pt x="3338" y="276"/>
                </a:lnTo>
                <a:lnTo>
                  <a:pt x="3338" y="276"/>
                </a:lnTo>
                <a:lnTo>
                  <a:pt x="3326" y="268"/>
                </a:lnTo>
                <a:lnTo>
                  <a:pt x="3326" y="268"/>
                </a:lnTo>
                <a:lnTo>
                  <a:pt x="3324" y="268"/>
                </a:lnTo>
                <a:lnTo>
                  <a:pt x="3324" y="268"/>
                </a:lnTo>
                <a:lnTo>
                  <a:pt x="3318" y="270"/>
                </a:lnTo>
                <a:lnTo>
                  <a:pt x="3318" y="270"/>
                </a:lnTo>
                <a:lnTo>
                  <a:pt x="3292" y="262"/>
                </a:lnTo>
                <a:lnTo>
                  <a:pt x="3292" y="262"/>
                </a:lnTo>
                <a:lnTo>
                  <a:pt x="3294" y="252"/>
                </a:lnTo>
                <a:lnTo>
                  <a:pt x="3294" y="252"/>
                </a:lnTo>
                <a:lnTo>
                  <a:pt x="3274" y="250"/>
                </a:lnTo>
                <a:lnTo>
                  <a:pt x="3274" y="250"/>
                </a:lnTo>
                <a:lnTo>
                  <a:pt x="3274" y="244"/>
                </a:lnTo>
                <a:lnTo>
                  <a:pt x="3272" y="240"/>
                </a:lnTo>
                <a:lnTo>
                  <a:pt x="3268" y="236"/>
                </a:lnTo>
                <a:lnTo>
                  <a:pt x="3260" y="232"/>
                </a:lnTo>
                <a:lnTo>
                  <a:pt x="3260" y="232"/>
                </a:lnTo>
                <a:lnTo>
                  <a:pt x="3254" y="230"/>
                </a:lnTo>
                <a:lnTo>
                  <a:pt x="3254" y="230"/>
                </a:lnTo>
                <a:lnTo>
                  <a:pt x="3258" y="226"/>
                </a:lnTo>
                <a:lnTo>
                  <a:pt x="3262" y="224"/>
                </a:lnTo>
                <a:lnTo>
                  <a:pt x="3262" y="224"/>
                </a:lnTo>
                <a:lnTo>
                  <a:pt x="3268" y="226"/>
                </a:lnTo>
                <a:lnTo>
                  <a:pt x="3274" y="226"/>
                </a:lnTo>
                <a:lnTo>
                  <a:pt x="3284" y="224"/>
                </a:lnTo>
                <a:lnTo>
                  <a:pt x="3284" y="224"/>
                </a:lnTo>
                <a:lnTo>
                  <a:pt x="3274" y="220"/>
                </a:lnTo>
                <a:lnTo>
                  <a:pt x="3270" y="220"/>
                </a:lnTo>
                <a:lnTo>
                  <a:pt x="3266" y="222"/>
                </a:lnTo>
                <a:lnTo>
                  <a:pt x="3266" y="222"/>
                </a:lnTo>
                <a:lnTo>
                  <a:pt x="3258" y="222"/>
                </a:lnTo>
                <a:lnTo>
                  <a:pt x="3258" y="222"/>
                </a:lnTo>
                <a:lnTo>
                  <a:pt x="3214" y="220"/>
                </a:lnTo>
                <a:lnTo>
                  <a:pt x="3214" y="220"/>
                </a:lnTo>
                <a:lnTo>
                  <a:pt x="3206" y="220"/>
                </a:lnTo>
                <a:lnTo>
                  <a:pt x="3198" y="216"/>
                </a:lnTo>
                <a:lnTo>
                  <a:pt x="3198" y="216"/>
                </a:lnTo>
                <a:lnTo>
                  <a:pt x="3206" y="208"/>
                </a:lnTo>
                <a:lnTo>
                  <a:pt x="3206" y="208"/>
                </a:lnTo>
                <a:lnTo>
                  <a:pt x="3194" y="206"/>
                </a:lnTo>
                <a:lnTo>
                  <a:pt x="3194" y="206"/>
                </a:lnTo>
                <a:lnTo>
                  <a:pt x="3188" y="206"/>
                </a:lnTo>
                <a:lnTo>
                  <a:pt x="3184" y="202"/>
                </a:lnTo>
                <a:lnTo>
                  <a:pt x="3184" y="202"/>
                </a:lnTo>
                <a:lnTo>
                  <a:pt x="3180" y="200"/>
                </a:lnTo>
                <a:lnTo>
                  <a:pt x="3174" y="198"/>
                </a:lnTo>
                <a:lnTo>
                  <a:pt x="3174" y="198"/>
                </a:lnTo>
                <a:lnTo>
                  <a:pt x="3160" y="196"/>
                </a:lnTo>
                <a:lnTo>
                  <a:pt x="3160" y="196"/>
                </a:lnTo>
                <a:lnTo>
                  <a:pt x="3156" y="198"/>
                </a:lnTo>
                <a:lnTo>
                  <a:pt x="3154" y="202"/>
                </a:lnTo>
                <a:lnTo>
                  <a:pt x="3154" y="202"/>
                </a:lnTo>
                <a:lnTo>
                  <a:pt x="3162" y="200"/>
                </a:lnTo>
                <a:lnTo>
                  <a:pt x="3168" y="200"/>
                </a:lnTo>
                <a:lnTo>
                  <a:pt x="3180" y="204"/>
                </a:lnTo>
                <a:lnTo>
                  <a:pt x="3180" y="204"/>
                </a:lnTo>
                <a:lnTo>
                  <a:pt x="3176" y="206"/>
                </a:lnTo>
                <a:lnTo>
                  <a:pt x="3170" y="206"/>
                </a:lnTo>
                <a:lnTo>
                  <a:pt x="3170" y="206"/>
                </a:lnTo>
                <a:lnTo>
                  <a:pt x="3164" y="204"/>
                </a:lnTo>
                <a:lnTo>
                  <a:pt x="3156" y="206"/>
                </a:lnTo>
                <a:lnTo>
                  <a:pt x="3146" y="210"/>
                </a:lnTo>
                <a:lnTo>
                  <a:pt x="3146" y="210"/>
                </a:lnTo>
                <a:lnTo>
                  <a:pt x="3138" y="212"/>
                </a:lnTo>
                <a:lnTo>
                  <a:pt x="3130" y="214"/>
                </a:lnTo>
                <a:lnTo>
                  <a:pt x="3124" y="212"/>
                </a:lnTo>
                <a:lnTo>
                  <a:pt x="3116" y="208"/>
                </a:lnTo>
                <a:lnTo>
                  <a:pt x="3116" y="208"/>
                </a:lnTo>
                <a:lnTo>
                  <a:pt x="3120" y="204"/>
                </a:lnTo>
                <a:lnTo>
                  <a:pt x="3126" y="202"/>
                </a:lnTo>
                <a:lnTo>
                  <a:pt x="3130" y="200"/>
                </a:lnTo>
                <a:lnTo>
                  <a:pt x="3134" y="198"/>
                </a:lnTo>
                <a:lnTo>
                  <a:pt x="3134" y="198"/>
                </a:lnTo>
                <a:lnTo>
                  <a:pt x="3130" y="194"/>
                </a:lnTo>
                <a:lnTo>
                  <a:pt x="3126" y="190"/>
                </a:lnTo>
                <a:lnTo>
                  <a:pt x="3120" y="188"/>
                </a:lnTo>
                <a:lnTo>
                  <a:pt x="3116" y="186"/>
                </a:lnTo>
                <a:lnTo>
                  <a:pt x="3116" y="186"/>
                </a:lnTo>
                <a:lnTo>
                  <a:pt x="3112" y="184"/>
                </a:lnTo>
                <a:lnTo>
                  <a:pt x="3108" y="184"/>
                </a:lnTo>
                <a:lnTo>
                  <a:pt x="3108" y="184"/>
                </a:lnTo>
                <a:lnTo>
                  <a:pt x="3104" y="180"/>
                </a:lnTo>
                <a:lnTo>
                  <a:pt x="3104" y="180"/>
                </a:lnTo>
                <a:lnTo>
                  <a:pt x="3094" y="184"/>
                </a:lnTo>
                <a:lnTo>
                  <a:pt x="3094" y="184"/>
                </a:lnTo>
                <a:lnTo>
                  <a:pt x="3090" y="184"/>
                </a:lnTo>
                <a:lnTo>
                  <a:pt x="3090" y="184"/>
                </a:lnTo>
                <a:lnTo>
                  <a:pt x="3088" y="182"/>
                </a:lnTo>
                <a:lnTo>
                  <a:pt x="3090" y="182"/>
                </a:lnTo>
                <a:lnTo>
                  <a:pt x="3090" y="182"/>
                </a:lnTo>
                <a:lnTo>
                  <a:pt x="3092" y="180"/>
                </a:lnTo>
                <a:lnTo>
                  <a:pt x="3094" y="176"/>
                </a:lnTo>
                <a:lnTo>
                  <a:pt x="3094" y="172"/>
                </a:lnTo>
                <a:lnTo>
                  <a:pt x="3094" y="172"/>
                </a:lnTo>
                <a:lnTo>
                  <a:pt x="3096" y="168"/>
                </a:lnTo>
                <a:lnTo>
                  <a:pt x="3098" y="164"/>
                </a:lnTo>
                <a:lnTo>
                  <a:pt x="3104" y="162"/>
                </a:lnTo>
                <a:lnTo>
                  <a:pt x="3110" y="162"/>
                </a:lnTo>
                <a:lnTo>
                  <a:pt x="3110" y="162"/>
                </a:lnTo>
                <a:lnTo>
                  <a:pt x="3118" y="162"/>
                </a:lnTo>
                <a:lnTo>
                  <a:pt x="3118" y="162"/>
                </a:lnTo>
                <a:lnTo>
                  <a:pt x="3130" y="162"/>
                </a:lnTo>
                <a:lnTo>
                  <a:pt x="3134" y="160"/>
                </a:lnTo>
                <a:lnTo>
                  <a:pt x="3138" y="156"/>
                </a:lnTo>
                <a:lnTo>
                  <a:pt x="3138" y="156"/>
                </a:lnTo>
                <a:lnTo>
                  <a:pt x="3132" y="154"/>
                </a:lnTo>
                <a:lnTo>
                  <a:pt x="3132" y="154"/>
                </a:lnTo>
                <a:lnTo>
                  <a:pt x="3122" y="152"/>
                </a:lnTo>
                <a:lnTo>
                  <a:pt x="3114" y="148"/>
                </a:lnTo>
                <a:lnTo>
                  <a:pt x="3114" y="148"/>
                </a:lnTo>
                <a:lnTo>
                  <a:pt x="3108" y="148"/>
                </a:lnTo>
                <a:lnTo>
                  <a:pt x="3108" y="148"/>
                </a:lnTo>
                <a:lnTo>
                  <a:pt x="3088" y="152"/>
                </a:lnTo>
                <a:lnTo>
                  <a:pt x="3088" y="152"/>
                </a:lnTo>
                <a:lnTo>
                  <a:pt x="3082" y="152"/>
                </a:lnTo>
                <a:lnTo>
                  <a:pt x="3082" y="152"/>
                </a:lnTo>
                <a:lnTo>
                  <a:pt x="3052" y="146"/>
                </a:lnTo>
                <a:lnTo>
                  <a:pt x="3052" y="146"/>
                </a:lnTo>
                <a:lnTo>
                  <a:pt x="3046" y="144"/>
                </a:lnTo>
                <a:lnTo>
                  <a:pt x="3042" y="142"/>
                </a:lnTo>
                <a:lnTo>
                  <a:pt x="3042" y="142"/>
                </a:lnTo>
                <a:lnTo>
                  <a:pt x="3042" y="138"/>
                </a:lnTo>
                <a:lnTo>
                  <a:pt x="3042" y="136"/>
                </a:lnTo>
                <a:lnTo>
                  <a:pt x="3042" y="136"/>
                </a:lnTo>
                <a:lnTo>
                  <a:pt x="3036" y="134"/>
                </a:lnTo>
                <a:lnTo>
                  <a:pt x="3034" y="134"/>
                </a:lnTo>
                <a:lnTo>
                  <a:pt x="3032" y="136"/>
                </a:lnTo>
                <a:lnTo>
                  <a:pt x="3030" y="140"/>
                </a:lnTo>
                <a:lnTo>
                  <a:pt x="3030" y="140"/>
                </a:lnTo>
                <a:lnTo>
                  <a:pt x="3028" y="148"/>
                </a:lnTo>
                <a:lnTo>
                  <a:pt x="3028" y="148"/>
                </a:lnTo>
                <a:lnTo>
                  <a:pt x="3014" y="148"/>
                </a:lnTo>
                <a:lnTo>
                  <a:pt x="3014" y="148"/>
                </a:lnTo>
                <a:lnTo>
                  <a:pt x="2998" y="150"/>
                </a:lnTo>
                <a:lnTo>
                  <a:pt x="2998" y="150"/>
                </a:lnTo>
                <a:lnTo>
                  <a:pt x="2998" y="150"/>
                </a:lnTo>
                <a:lnTo>
                  <a:pt x="2998" y="150"/>
                </a:lnTo>
                <a:lnTo>
                  <a:pt x="2998" y="166"/>
                </a:lnTo>
                <a:lnTo>
                  <a:pt x="2998" y="166"/>
                </a:lnTo>
                <a:lnTo>
                  <a:pt x="2994" y="166"/>
                </a:lnTo>
                <a:lnTo>
                  <a:pt x="2994" y="166"/>
                </a:lnTo>
                <a:lnTo>
                  <a:pt x="2992" y="160"/>
                </a:lnTo>
                <a:lnTo>
                  <a:pt x="2992" y="160"/>
                </a:lnTo>
                <a:lnTo>
                  <a:pt x="2994" y="166"/>
                </a:lnTo>
                <a:lnTo>
                  <a:pt x="2994" y="166"/>
                </a:lnTo>
                <a:lnTo>
                  <a:pt x="2988" y="164"/>
                </a:lnTo>
                <a:lnTo>
                  <a:pt x="2984" y="158"/>
                </a:lnTo>
                <a:lnTo>
                  <a:pt x="2978" y="144"/>
                </a:lnTo>
                <a:lnTo>
                  <a:pt x="2972" y="124"/>
                </a:lnTo>
                <a:lnTo>
                  <a:pt x="2968" y="104"/>
                </a:lnTo>
                <a:lnTo>
                  <a:pt x="2968" y="104"/>
                </a:lnTo>
                <a:lnTo>
                  <a:pt x="2962" y="104"/>
                </a:lnTo>
                <a:lnTo>
                  <a:pt x="2956" y="102"/>
                </a:lnTo>
                <a:lnTo>
                  <a:pt x="2956" y="102"/>
                </a:lnTo>
                <a:lnTo>
                  <a:pt x="2952" y="102"/>
                </a:lnTo>
                <a:lnTo>
                  <a:pt x="2952" y="102"/>
                </a:lnTo>
                <a:lnTo>
                  <a:pt x="2938" y="104"/>
                </a:lnTo>
                <a:lnTo>
                  <a:pt x="2932" y="106"/>
                </a:lnTo>
                <a:lnTo>
                  <a:pt x="2926" y="110"/>
                </a:lnTo>
                <a:lnTo>
                  <a:pt x="2926" y="110"/>
                </a:lnTo>
                <a:lnTo>
                  <a:pt x="2924" y="110"/>
                </a:lnTo>
                <a:lnTo>
                  <a:pt x="2918" y="112"/>
                </a:lnTo>
                <a:lnTo>
                  <a:pt x="2918" y="112"/>
                </a:lnTo>
                <a:lnTo>
                  <a:pt x="2910" y="114"/>
                </a:lnTo>
                <a:lnTo>
                  <a:pt x="2910" y="114"/>
                </a:lnTo>
                <a:lnTo>
                  <a:pt x="2916" y="116"/>
                </a:lnTo>
                <a:lnTo>
                  <a:pt x="2916" y="116"/>
                </a:lnTo>
                <a:lnTo>
                  <a:pt x="2930" y="116"/>
                </a:lnTo>
                <a:lnTo>
                  <a:pt x="2930" y="116"/>
                </a:lnTo>
                <a:lnTo>
                  <a:pt x="2938" y="116"/>
                </a:lnTo>
                <a:lnTo>
                  <a:pt x="2938" y="118"/>
                </a:lnTo>
                <a:lnTo>
                  <a:pt x="2940" y="122"/>
                </a:lnTo>
                <a:lnTo>
                  <a:pt x="2940" y="122"/>
                </a:lnTo>
                <a:lnTo>
                  <a:pt x="2942" y="126"/>
                </a:lnTo>
                <a:lnTo>
                  <a:pt x="2942" y="126"/>
                </a:lnTo>
                <a:lnTo>
                  <a:pt x="2950" y="134"/>
                </a:lnTo>
                <a:lnTo>
                  <a:pt x="2950" y="134"/>
                </a:lnTo>
                <a:lnTo>
                  <a:pt x="2934" y="140"/>
                </a:lnTo>
                <a:lnTo>
                  <a:pt x="2918" y="142"/>
                </a:lnTo>
                <a:lnTo>
                  <a:pt x="2918" y="142"/>
                </a:lnTo>
                <a:lnTo>
                  <a:pt x="2910" y="142"/>
                </a:lnTo>
                <a:lnTo>
                  <a:pt x="2910" y="142"/>
                </a:lnTo>
                <a:lnTo>
                  <a:pt x="2890" y="146"/>
                </a:lnTo>
                <a:lnTo>
                  <a:pt x="2880" y="148"/>
                </a:lnTo>
                <a:lnTo>
                  <a:pt x="2868" y="146"/>
                </a:lnTo>
                <a:lnTo>
                  <a:pt x="2868" y="146"/>
                </a:lnTo>
                <a:lnTo>
                  <a:pt x="2862" y="144"/>
                </a:lnTo>
                <a:lnTo>
                  <a:pt x="2854" y="146"/>
                </a:lnTo>
                <a:lnTo>
                  <a:pt x="2854" y="146"/>
                </a:lnTo>
                <a:lnTo>
                  <a:pt x="2830" y="148"/>
                </a:lnTo>
                <a:lnTo>
                  <a:pt x="2830" y="148"/>
                </a:lnTo>
                <a:lnTo>
                  <a:pt x="2834" y="152"/>
                </a:lnTo>
                <a:lnTo>
                  <a:pt x="2840" y="154"/>
                </a:lnTo>
                <a:lnTo>
                  <a:pt x="2840" y="154"/>
                </a:lnTo>
                <a:lnTo>
                  <a:pt x="2856" y="158"/>
                </a:lnTo>
                <a:lnTo>
                  <a:pt x="2866" y="158"/>
                </a:lnTo>
                <a:lnTo>
                  <a:pt x="2874" y="156"/>
                </a:lnTo>
                <a:lnTo>
                  <a:pt x="2874" y="156"/>
                </a:lnTo>
                <a:lnTo>
                  <a:pt x="2880" y="154"/>
                </a:lnTo>
                <a:lnTo>
                  <a:pt x="2884" y="154"/>
                </a:lnTo>
                <a:lnTo>
                  <a:pt x="2888" y="156"/>
                </a:lnTo>
                <a:lnTo>
                  <a:pt x="2892" y="160"/>
                </a:lnTo>
                <a:lnTo>
                  <a:pt x="2892" y="160"/>
                </a:lnTo>
                <a:lnTo>
                  <a:pt x="2886" y="162"/>
                </a:lnTo>
                <a:lnTo>
                  <a:pt x="2882" y="166"/>
                </a:lnTo>
                <a:lnTo>
                  <a:pt x="2882" y="166"/>
                </a:lnTo>
                <a:lnTo>
                  <a:pt x="2878" y="170"/>
                </a:lnTo>
                <a:lnTo>
                  <a:pt x="2872" y="170"/>
                </a:lnTo>
                <a:lnTo>
                  <a:pt x="2872" y="170"/>
                </a:lnTo>
                <a:lnTo>
                  <a:pt x="2864" y="172"/>
                </a:lnTo>
                <a:lnTo>
                  <a:pt x="2864" y="172"/>
                </a:lnTo>
                <a:lnTo>
                  <a:pt x="2876" y="178"/>
                </a:lnTo>
                <a:lnTo>
                  <a:pt x="2876" y="178"/>
                </a:lnTo>
                <a:lnTo>
                  <a:pt x="2876" y="178"/>
                </a:lnTo>
                <a:lnTo>
                  <a:pt x="2876" y="178"/>
                </a:lnTo>
                <a:lnTo>
                  <a:pt x="2876" y="178"/>
                </a:lnTo>
                <a:lnTo>
                  <a:pt x="2876" y="178"/>
                </a:lnTo>
                <a:lnTo>
                  <a:pt x="2862" y="182"/>
                </a:lnTo>
                <a:lnTo>
                  <a:pt x="2862" y="182"/>
                </a:lnTo>
                <a:lnTo>
                  <a:pt x="2860" y="184"/>
                </a:lnTo>
                <a:lnTo>
                  <a:pt x="2860" y="188"/>
                </a:lnTo>
                <a:lnTo>
                  <a:pt x="2862" y="194"/>
                </a:lnTo>
                <a:lnTo>
                  <a:pt x="2868" y="206"/>
                </a:lnTo>
                <a:lnTo>
                  <a:pt x="2868" y="206"/>
                </a:lnTo>
                <a:lnTo>
                  <a:pt x="2858" y="208"/>
                </a:lnTo>
                <a:lnTo>
                  <a:pt x="2848" y="208"/>
                </a:lnTo>
                <a:lnTo>
                  <a:pt x="2848" y="208"/>
                </a:lnTo>
                <a:lnTo>
                  <a:pt x="2842" y="208"/>
                </a:lnTo>
                <a:lnTo>
                  <a:pt x="2838" y="204"/>
                </a:lnTo>
                <a:lnTo>
                  <a:pt x="2832" y="198"/>
                </a:lnTo>
                <a:lnTo>
                  <a:pt x="2832" y="198"/>
                </a:lnTo>
                <a:lnTo>
                  <a:pt x="2826" y="200"/>
                </a:lnTo>
                <a:lnTo>
                  <a:pt x="2822" y="202"/>
                </a:lnTo>
                <a:lnTo>
                  <a:pt x="2818" y="206"/>
                </a:lnTo>
                <a:lnTo>
                  <a:pt x="2816" y="212"/>
                </a:lnTo>
                <a:lnTo>
                  <a:pt x="2816" y="212"/>
                </a:lnTo>
                <a:lnTo>
                  <a:pt x="2830" y="218"/>
                </a:lnTo>
                <a:lnTo>
                  <a:pt x="2830" y="218"/>
                </a:lnTo>
                <a:lnTo>
                  <a:pt x="2818" y="226"/>
                </a:lnTo>
                <a:lnTo>
                  <a:pt x="2818" y="226"/>
                </a:lnTo>
                <a:lnTo>
                  <a:pt x="2824" y="228"/>
                </a:lnTo>
                <a:lnTo>
                  <a:pt x="2828" y="230"/>
                </a:lnTo>
                <a:lnTo>
                  <a:pt x="2830" y="232"/>
                </a:lnTo>
                <a:lnTo>
                  <a:pt x="2832" y="236"/>
                </a:lnTo>
                <a:lnTo>
                  <a:pt x="2832" y="236"/>
                </a:lnTo>
                <a:lnTo>
                  <a:pt x="2830" y="240"/>
                </a:lnTo>
                <a:lnTo>
                  <a:pt x="2828" y="242"/>
                </a:lnTo>
                <a:lnTo>
                  <a:pt x="2820" y="246"/>
                </a:lnTo>
                <a:lnTo>
                  <a:pt x="2820" y="246"/>
                </a:lnTo>
                <a:lnTo>
                  <a:pt x="2824" y="248"/>
                </a:lnTo>
                <a:lnTo>
                  <a:pt x="2826" y="252"/>
                </a:lnTo>
                <a:lnTo>
                  <a:pt x="2826" y="252"/>
                </a:lnTo>
                <a:lnTo>
                  <a:pt x="2826" y="254"/>
                </a:lnTo>
                <a:lnTo>
                  <a:pt x="2824" y="256"/>
                </a:lnTo>
                <a:lnTo>
                  <a:pt x="2824" y="256"/>
                </a:lnTo>
                <a:lnTo>
                  <a:pt x="2812" y="260"/>
                </a:lnTo>
                <a:lnTo>
                  <a:pt x="2802" y="266"/>
                </a:lnTo>
                <a:lnTo>
                  <a:pt x="2802" y="266"/>
                </a:lnTo>
                <a:lnTo>
                  <a:pt x="2800" y="268"/>
                </a:lnTo>
                <a:lnTo>
                  <a:pt x="2796" y="268"/>
                </a:lnTo>
                <a:lnTo>
                  <a:pt x="2792" y="266"/>
                </a:lnTo>
                <a:lnTo>
                  <a:pt x="2790" y="264"/>
                </a:lnTo>
                <a:lnTo>
                  <a:pt x="2790" y="264"/>
                </a:lnTo>
                <a:lnTo>
                  <a:pt x="2796" y="258"/>
                </a:lnTo>
                <a:lnTo>
                  <a:pt x="2796" y="258"/>
                </a:lnTo>
                <a:lnTo>
                  <a:pt x="2788" y="252"/>
                </a:lnTo>
                <a:lnTo>
                  <a:pt x="2788" y="252"/>
                </a:lnTo>
                <a:lnTo>
                  <a:pt x="2782" y="248"/>
                </a:lnTo>
                <a:lnTo>
                  <a:pt x="2780" y="244"/>
                </a:lnTo>
                <a:lnTo>
                  <a:pt x="2784" y="242"/>
                </a:lnTo>
                <a:lnTo>
                  <a:pt x="2790" y="238"/>
                </a:lnTo>
                <a:lnTo>
                  <a:pt x="2790" y="238"/>
                </a:lnTo>
                <a:lnTo>
                  <a:pt x="2786" y="234"/>
                </a:lnTo>
                <a:lnTo>
                  <a:pt x="2782" y="234"/>
                </a:lnTo>
                <a:lnTo>
                  <a:pt x="2778" y="234"/>
                </a:lnTo>
                <a:lnTo>
                  <a:pt x="2774" y="234"/>
                </a:lnTo>
                <a:lnTo>
                  <a:pt x="2774" y="234"/>
                </a:lnTo>
                <a:lnTo>
                  <a:pt x="2772" y="228"/>
                </a:lnTo>
                <a:lnTo>
                  <a:pt x="2768" y="222"/>
                </a:lnTo>
                <a:lnTo>
                  <a:pt x="2764" y="216"/>
                </a:lnTo>
                <a:lnTo>
                  <a:pt x="2756" y="214"/>
                </a:lnTo>
                <a:lnTo>
                  <a:pt x="2756" y="214"/>
                </a:lnTo>
                <a:lnTo>
                  <a:pt x="2752" y="212"/>
                </a:lnTo>
                <a:lnTo>
                  <a:pt x="2752" y="212"/>
                </a:lnTo>
                <a:lnTo>
                  <a:pt x="2750" y="208"/>
                </a:lnTo>
                <a:lnTo>
                  <a:pt x="2748" y="206"/>
                </a:lnTo>
                <a:lnTo>
                  <a:pt x="2742" y="204"/>
                </a:lnTo>
                <a:lnTo>
                  <a:pt x="2742" y="204"/>
                </a:lnTo>
                <a:lnTo>
                  <a:pt x="2732" y="200"/>
                </a:lnTo>
                <a:lnTo>
                  <a:pt x="2728" y="196"/>
                </a:lnTo>
                <a:lnTo>
                  <a:pt x="2724" y="194"/>
                </a:lnTo>
                <a:lnTo>
                  <a:pt x="2724" y="194"/>
                </a:lnTo>
                <a:lnTo>
                  <a:pt x="2718" y="192"/>
                </a:lnTo>
                <a:lnTo>
                  <a:pt x="2718" y="192"/>
                </a:lnTo>
                <a:lnTo>
                  <a:pt x="2702" y="194"/>
                </a:lnTo>
                <a:lnTo>
                  <a:pt x="2702" y="194"/>
                </a:lnTo>
                <a:lnTo>
                  <a:pt x="2686" y="200"/>
                </a:lnTo>
                <a:lnTo>
                  <a:pt x="2686" y="200"/>
                </a:lnTo>
                <a:lnTo>
                  <a:pt x="2688" y="196"/>
                </a:lnTo>
                <a:lnTo>
                  <a:pt x="2688" y="192"/>
                </a:lnTo>
                <a:lnTo>
                  <a:pt x="2688" y="188"/>
                </a:lnTo>
                <a:lnTo>
                  <a:pt x="2692" y="184"/>
                </a:lnTo>
                <a:lnTo>
                  <a:pt x="2692" y="184"/>
                </a:lnTo>
                <a:lnTo>
                  <a:pt x="2698" y="178"/>
                </a:lnTo>
                <a:lnTo>
                  <a:pt x="2698" y="174"/>
                </a:lnTo>
                <a:lnTo>
                  <a:pt x="2700" y="170"/>
                </a:lnTo>
                <a:lnTo>
                  <a:pt x="2700" y="170"/>
                </a:lnTo>
                <a:lnTo>
                  <a:pt x="2700" y="170"/>
                </a:lnTo>
                <a:lnTo>
                  <a:pt x="2700" y="170"/>
                </a:lnTo>
                <a:lnTo>
                  <a:pt x="2700" y="170"/>
                </a:lnTo>
                <a:lnTo>
                  <a:pt x="2700" y="170"/>
                </a:lnTo>
                <a:lnTo>
                  <a:pt x="2700" y="170"/>
                </a:lnTo>
                <a:lnTo>
                  <a:pt x="2700" y="170"/>
                </a:lnTo>
                <a:lnTo>
                  <a:pt x="2700" y="170"/>
                </a:lnTo>
                <a:lnTo>
                  <a:pt x="2700" y="170"/>
                </a:lnTo>
                <a:lnTo>
                  <a:pt x="2700" y="170"/>
                </a:lnTo>
                <a:lnTo>
                  <a:pt x="2700" y="170"/>
                </a:lnTo>
                <a:lnTo>
                  <a:pt x="2700" y="170"/>
                </a:lnTo>
                <a:lnTo>
                  <a:pt x="2700" y="170"/>
                </a:lnTo>
                <a:lnTo>
                  <a:pt x="2714" y="178"/>
                </a:lnTo>
                <a:lnTo>
                  <a:pt x="2714" y="178"/>
                </a:lnTo>
                <a:lnTo>
                  <a:pt x="2716" y="174"/>
                </a:lnTo>
                <a:lnTo>
                  <a:pt x="2716" y="172"/>
                </a:lnTo>
                <a:lnTo>
                  <a:pt x="2714" y="170"/>
                </a:lnTo>
                <a:lnTo>
                  <a:pt x="2714" y="166"/>
                </a:lnTo>
                <a:lnTo>
                  <a:pt x="2696" y="166"/>
                </a:lnTo>
                <a:lnTo>
                  <a:pt x="2696" y="166"/>
                </a:lnTo>
                <a:lnTo>
                  <a:pt x="2696" y="166"/>
                </a:lnTo>
                <a:lnTo>
                  <a:pt x="2696" y="166"/>
                </a:lnTo>
                <a:lnTo>
                  <a:pt x="2696" y="166"/>
                </a:lnTo>
                <a:lnTo>
                  <a:pt x="2696" y="166"/>
                </a:lnTo>
                <a:lnTo>
                  <a:pt x="2696" y="166"/>
                </a:lnTo>
                <a:lnTo>
                  <a:pt x="2696" y="166"/>
                </a:lnTo>
                <a:lnTo>
                  <a:pt x="2696" y="166"/>
                </a:lnTo>
                <a:lnTo>
                  <a:pt x="2696" y="166"/>
                </a:lnTo>
                <a:lnTo>
                  <a:pt x="2696" y="166"/>
                </a:lnTo>
                <a:lnTo>
                  <a:pt x="2696" y="164"/>
                </a:lnTo>
                <a:lnTo>
                  <a:pt x="2696" y="164"/>
                </a:lnTo>
                <a:lnTo>
                  <a:pt x="2692" y="160"/>
                </a:lnTo>
                <a:lnTo>
                  <a:pt x="2692" y="158"/>
                </a:lnTo>
                <a:lnTo>
                  <a:pt x="2698" y="154"/>
                </a:lnTo>
                <a:lnTo>
                  <a:pt x="2698" y="154"/>
                </a:lnTo>
                <a:lnTo>
                  <a:pt x="2706" y="150"/>
                </a:lnTo>
                <a:lnTo>
                  <a:pt x="2714" y="144"/>
                </a:lnTo>
                <a:lnTo>
                  <a:pt x="2714" y="144"/>
                </a:lnTo>
                <a:lnTo>
                  <a:pt x="2706" y="144"/>
                </a:lnTo>
                <a:lnTo>
                  <a:pt x="2700" y="148"/>
                </a:lnTo>
                <a:lnTo>
                  <a:pt x="2700" y="148"/>
                </a:lnTo>
                <a:lnTo>
                  <a:pt x="2696" y="148"/>
                </a:lnTo>
                <a:lnTo>
                  <a:pt x="2692" y="146"/>
                </a:lnTo>
                <a:lnTo>
                  <a:pt x="2692" y="146"/>
                </a:lnTo>
                <a:lnTo>
                  <a:pt x="2698" y="140"/>
                </a:lnTo>
                <a:lnTo>
                  <a:pt x="2698" y="140"/>
                </a:lnTo>
                <a:lnTo>
                  <a:pt x="2694" y="138"/>
                </a:lnTo>
                <a:lnTo>
                  <a:pt x="2690" y="136"/>
                </a:lnTo>
                <a:lnTo>
                  <a:pt x="2690" y="136"/>
                </a:lnTo>
                <a:lnTo>
                  <a:pt x="2678" y="132"/>
                </a:lnTo>
                <a:lnTo>
                  <a:pt x="2670" y="128"/>
                </a:lnTo>
                <a:lnTo>
                  <a:pt x="2670" y="128"/>
                </a:lnTo>
                <a:lnTo>
                  <a:pt x="2664" y="124"/>
                </a:lnTo>
                <a:lnTo>
                  <a:pt x="2662" y="118"/>
                </a:lnTo>
                <a:lnTo>
                  <a:pt x="2662" y="114"/>
                </a:lnTo>
                <a:lnTo>
                  <a:pt x="2670" y="110"/>
                </a:lnTo>
                <a:lnTo>
                  <a:pt x="2670" y="110"/>
                </a:lnTo>
                <a:lnTo>
                  <a:pt x="2680" y="102"/>
                </a:lnTo>
                <a:lnTo>
                  <a:pt x="2680" y="102"/>
                </a:lnTo>
                <a:lnTo>
                  <a:pt x="2674" y="100"/>
                </a:lnTo>
                <a:lnTo>
                  <a:pt x="2670" y="98"/>
                </a:lnTo>
                <a:lnTo>
                  <a:pt x="2670" y="98"/>
                </a:lnTo>
                <a:lnTo>
                  <a:pt x="2650" y="96"/>
                </a:lnTo>
                <a:lnTo>
                  <a:pt x="2640" y="96"/>
                </a:lnTo>
                <a:lnTo>
                  <a:pt x="2630" y="98"/>
                </a:lnTo>
                <a:lnTo>
                  <a:pt x="2630" y="98"/>
                </a:lnTo>
                <a:lnTo>
                  <a:pt x="2622" y="94"/>
                </a:lnTo>
                <a:lnTo>
                  <a:pt x="2612" y="90"/>
                </a:lnTo>
                <a:lnTo>
                  <a:pt x="2612" y="90"/>
                </a:lnTo>
                <a:lnTo>
                  <a:pt x="2592" y="84"/>
                </a:lnTo>
                <a:lnTo>
                  <a:pt x="2576" y="76"/>
                </a:lnTo>
                <a:lnTo>
                  <a:pt x="2576" y="76"/>
                </a:lnTo>
                <a:lnTo>
                  <a:pt x="2572" y="74"/>
                </a:lnTo>
                <a:lnTo>
                  <a:pt x="2568" y="72"/>
                </a:lnTo>
                <a:lnTo>
                  <a:pt x="2568" y="72"/>
                </a:lnTo>
                <a:lnTo>
                  <a:pt x="2568" y="72"/>
                </a:lnTo>
                <a:lnTo>
                  <a:pt x="2566" y="82"/>
                </a:lnTo>
                <a:lnTo>
                  <a:pt x="2564" y="110"/>
                </a:lnTo>
                <a:lnTo>
                  <a:pt x="2558" y="138"/>
                </a:lnTo>
                <a:lnTo>
                  <a:pt x="2556" y="148"/>
                </a:lnTo>
                <a:lnTo>
                  <a:pt x="2554" y="150"/>
                </a:lnTo>
                <a:lnTo>
                  <a:pt x="2554" y="150"/>
                </a:lnTo>
                <a:lnTo>
                  <a:pt x="2554" y="150"/>
                </a:lnTo>
                <a:lnTo>
                  <a:pt x="2550" y="142"/>
                </a:lnTo>
                <a:lnTo>
                  <a:pt x="2550" y="142"/>
                </a:lnTo>
                <a:lnTo>
                  <a:pt x="2554" y="122"/>
                </a:lnTo>
                <a:lnTo>
                  <a:pt x="2562" y="86"/>
                </a:lnTo>
                <a:lnTo>
                  <a:pt x="2570" y="52"/>
                </a:lnTo>
                <a:lnTo>
                  <a:pt x="2574" y="40"/>
                </a:lnTo>
                <a:lnTo>
                  <a:pt x="2576" y="36"/>
                </a:lnTo>
                <a:lnTo>
                  <a:pt x="2578" y="36"/>
                </a:lnTo>
                <a:lnTo>
                  <a:pt x="2578" y="36"/>
                </a:lnTo>
                <a:lnTo>
                  <a:pt x="2572" y="30"/>
                </a:lnTo>
                <a:lnTo>
                  <a:pt x="2568" y="30"/>
                </a:lnTo>
                <a:lnTo>
                  <a:pt x="2564" y="30"/>
                </a:lnTo>
                <a:lnTo>
                  <a:pt x="2564" y="30"/>
                </a:lnTo>
                <a:lnTo>
                  <a:pt x="2568" y="10"/>
                </a:lnTo>
                <a:lnTo>
                  <a:pt x="2570" y="2"/>
                </a:lnTo>
                <a:lnTo>
                  <a:pt x="2572" y="0"/>
                </a:lnTo>
                <a:lnTo>
                  <a:pt x="2572" y="0"/>
                </a:lnTo>
                <a:lnTo>
                  <a:pt x="2570" y="0"/>
                </a:lnTo>
                <a:lnTo>
                  <a:pt x="2570" y="2"/>
                </a:lnTo>
                <a:lnTo>
                  <a:pt x="2568" y="8"/>
                </a:lnTo>
                <a:lnTo>
                  <a:pt x="2564" y="30"/>
                </a:lnTo>
                <a:lnTo>
                  <a:pt x="2564" y="30"/>
                </a:lnTo>
                <a:lnTo>
                  <a:pt x="2560" y="34"/>
                </a:lnTo>
                <a:lnTo>
                  <a:pt x="2556" y="44"/>
                </a:lnTo>
                <a:lnTo>
                  <a:pt x="2556" y="44"/>
                </a:lnTo>
                <a:lnTo>
                  <a:pt x="2558" y="6"/>
                </a:lnTo>
                <a:lnTo>
                  <a:pt x="2558" y="6"/>
                </a:lnTo>
                <a:lnTo>
                  <a:pt x="2556" y="46"/>
                </a:lnTo>
                <a:lnTo>
                  <a:pt x="2556" y="46"/>
                </a:lnTo>
                <a:lnTo>
                  <a:pt x="2552" y="68"/>
                </a:lnTo>
                <a:lnTo>
                  <a:pt x="2548" y="92"/>
                </a:lnTo>
                <a:lnTo>
                  <a:pt x="2544" y="110"/>
                </a:lnTo>
                <a:lnTo>
                  <a:pt x="2542" y="114"/>
                </a:lnTo>
                <a:lnTo>
                  <a:pt x="2540" y="116"/>
                </a:lnTo>
                <a:lnTo>
                  <a:pt x="2540" y="116"/>
                </a:lnTo>
                <a:lnTo>
                  <a:pt x="2536" y="112"/>
                </a:lnTo>
                <a:lnTo>
                  <a:pt x="2532" y="110"/>
                </a:lnTo>
                <a:lnTo>
                  <a:pt x="2526" y="108"/>
                </a:lnTo>
                <a:lnTo>
                  <a:pt x="2520" y="108"/>
                </a:lnTo>
                <a:lnTo>
                  <a:pt x="2520" y="108"/>
                </a:lnTo>
                <a:lnTo>
                  <a:pt x="2510" y="108"/>
                </a:lnTo>
                <a:lnTo>
                  <a:pt x="2510" y="108"/>
                </a:lnTo>
                <a:lnTo>
                  <a:pt x="2510" y="106"/>
                </a:lnTo>
                <a:lnTo>
                  <a:pt x="2510" y="106"/>
                </a:lnTo>
                <a:lnTo>
                  <a:pt x="2526" y="98"/>
                </a:lnTo>
                <a:lnTo>
                  <a:pt x="2526" y="98"/>
                </a:lnTo>
                <a:lnTo>
                  <a:pt x="2526" y="96"/>
                </a:lnTo>
                <a:lnTo>
                  <a:pt x="2526" y="94"/>
                </a:lnTo>
                <a:lnTo>
                  <a:pt x="2532" y="94"/>
                </a:lnTo>
                <a:lnTo>
                  <a:pt x="2536" y="92"/>
                </a:lnTo>
                <a:lnTo>
                  <a:pt x="2538" y="92"/>
                </a:lnTo>
                <a:lnTo>
                  <a:pt x="2538" y="90"/>
                </a:lnTo>
                <a:lnTo>
                  <a:pt x="2538" y="90"/>
                </a:lnTo>
                <a:lnTo>
                  <a:pt x="2530" y="86"/>
                </a:lnTo>
                <a:lnTo>
                  <a:pt x="2530" y="86"/>
                </a:lnTo>
                <a:lnTo>
                  <a:pt x="2522" y="82"/>
                </a:lnTo>
                <a:lnTo>
                  <a:pt x="2512" y="82"/>
                </a:lnTo>
                <a:lnTo>
                  <a:pt x="2512" y="82"/>
                </a:lnTo>
                <a:lnTo>
                  <a:pt x="2502" y="82"/>
                </a:lnTo>
                <a:lnTo>
                  <a:pt x="2502" y="82"/>
                </a:lnTo>
                <a:lnTo>
                  <a:pt x="2476" y="76"/>
                </a:lnTo>
                <a:lnTo>
                  <a:pt x="2476" y="76"/>
                </a:lnTo>
                <a:lnTo>
                  <a:pt x="2466" y="66"/>
                </a:lnTo>
                <a:lnTo>
                  <a:pt x="2466" y="66"/>
                </a:lnTo>
                <a:lnTo>
                  <a:pt x="2450" y="64"/>
                </a:lnTo>
                <a:lnTo>
                  <a:pt x="2450" y="64"/>
                </a:lnTo>
                <a:lnTo>
                  <a:pt x="2438" y="66"/>
                </a:lnTo>
                <a:lnTo>
                  <a:pt x="2438" y="66"/>
                </a:lnTo>
                <a:lnTo>
                  <a:pt x="2422" y="70"/>
                </a:lnTo>
                <a:lnTo>
                  <a:pt x="2422" y="70"/>
                </a:lnTo>
                <a:lnTo>
                  <a:pt x="2418" y="72"/>
                </a:lnTo>
                <a:lnTo>
                  <a:pt x="2414" y="72"/>
                </a:lnTo>
                <a:lnTo>
                  <a:pt x="2404" y="72"/>
                </a:lnTo>
                <a:lnTo>
                  <a:pt x="2404" y="72"/>
                </a:lnTo>
                <a:lnTo>
                  <a:pt x="2406" y="68"/>
                </a:lnTo>
                <a:lnTo>
                  <a:pt x="2410" y="64"/>
                </a:lnTo>
                <a:lnTo>
                  <a:pt x="2422" y="58"/>
                </a:lnTo>
                <a:lnTo>
                  <a:pt x="2422" y="58"/>
                </a:lnTo>
                <a:lnTo>
                  <a:pt x="2414" y="60"/>
                </a:lnTo>
                <a:lnTo>
                  <a:pt x="2406" y="60"/>
                </a:lnTo>
                <a:lnTo>
                  <a:pt x="2398" y="58"/>
                </a:lnTo>
                <a:lnTo>
                  <a:pt x="2390" y="54"/>
                </a:lnTo>
                <a:lnTo>
                  <a:pt x="2390" y="54"/>
                </a:lnTo>
                <a:lnTo>
                  <a:pt x="2404" y="44"/>
                </a:lnTo>
                <a:lnTo>
                  <a:pt x="2404" y="44"/>
                </a:lnTo>
                <a:lnTo>
                  <a:pt x="2384" y="42"/>
                </a:lnTo>
                <a:lnTo>
                  <a:pt x="2376" y="42"/>
                </a:lnTo>
                <a:lnTo>
                  <a:pt x="2366" y="44"/>
                </a:lnTo>
                <a:lnTo>
                  <a:pt x="2366" y="44"/>
                </a:lnTo>
                <a:lnTo>
                  <a:pt x="2366" y="46"/>
                </a:lnTo>
                <a:lnTo>
                  <a:pt x="2366" y="46"/>
                </a:lnTo>
                <a:lnTo>
                  <a:pt x="2364" y="52"/>
                </a:lnTo>
                <a:lnTo>
                  <a:pt x="2360" y="56"/>
                </a:lnTo>
                <a:lnTo>
                  <a:pt x="2354" y="58"/>
                </a:lnTo>
                <a:lnTo>
                  <a:pt x="2344" y="58"/>
                </a:lnTo>
                <a:lnTo>
                  <a:pt x="2344" y="58"/>
                </a:lnTo>
                <a:lnTo>
                  <a:pt x="2336" y="58"/>
                </a:lnTo>
                <a:lnTo>
                  <a:pt x="2336" y="58"/>
                </a:lnTo>
                <a:lnTo>
                  <a:pt x="2326" y="56"/>
                </a:lnTo>
                <a:lnTo>
                  <a:pt x="2316" y="56"/>
                </a:lnTo>
                <a:lnTo>
                  <a:pt x="2316" y="56"/>
                </a:lnTo>
                <a:lnTo>
                  <a:pt x="2306" y="54"/>
                </a:lnTo>
                <a:lnTo>
                  <a:pt x="2296" y="56"/>
                </a:lnTo>
                <a:lnTo>
                  <a:pt x="2296" y="56"/>
                </a:lnTo>
                <a:lnTo>
                  <a:pt x="2284" y="58"/>
                </a:lnTo>
                <a:lnTo>
                  <a:pt x="2278" y="58"/>
                </a:lnTo>
                <a:lnTo>
                  <a:pt x="2272" y="56"/>
                </a:lnTo>
                <a:lnTo>
                  <a:pt x="2272" y="56"/>
                </a:lnTo>
                <a:lnTo>
                  <a:pt x="2270" y="54"/>
                </a:lnTo>
                <a:lnTo>
                  <a:pt x="2270" y="54"/>
                </a:lnTo>
                <a:lnTo>
                  <a:pt x="2250" y="60"/>
                </a:lnTo>
                <a:lnTo>
                  <a:pt x="2250" y="60"/>
                </a:lnTo>
                <a:lnTo>
                  <a:pt x="2250" y="56"/>
                </a:lnTo>
                <a:lnTo>
                  <a:pt x="2250" y="56"/>
                </a:lnTo>
                <a:lnTo>
                  <a:pt x="2226" y="54"/>
                </a:lnTo>
                <a:lnTo>
                  <a:pt x="2226" y="54"/>
                </a:lnTo>
                <a:lnTo>
                  <a:pt x="2202" y="52"/>
                </a:lnTo>
                <a:lnTo>
                  <a:pt x="2202" y="52"/>
                </a:lnTo>
                <a:lnTo>
                  <a:pt x="2210" y="44"/>
                </a:lnTo>
                <a:lnTo>
                  <a:pt x="2210" y="44"/>
                </a:lnTo>
                <a:lnTo>
                  <a:pt x="2212" y="40"/>
                </a:lnTo>
                <a:lnTo>
                  <a:pt x="2212" y="38"/>
                </a:lnTo>
                <a:lnTo>
                  <a:pt x="2208" y="36"/>
                </a:lnTo>
                <a:lnTo>
                  <a:pt x="2204" y="34"/>
                </a:lnTo>
                <a:lnTo>
                  <a:pt x="2204" y="34"/>
                </a:lnTo>
                <a:lnTo>
                  <a:pt x="2188" y="34"/>
                </a:lnTo>
                <a:lnTo>
                  <a:pt x="2180" y="34"/>
                </a:lnTo>
                <a:lnTo>
                  <a:pt x="2174" y="36"/>
                </a:lnTo>
                <a:lnTo>
                  <a:pt x="2174" y="36"/>
                </a:lnTo>
                <a:lnTo>
                  <a:pt x="2160" y="40"/>
                </a:lnTo>
                <a:lnTo>
                  <a:pt x="2154" y="42"/>
                </a:lnTo>
                <a:lnTo>
                  <a:pt x="2152" y="48"/>
                </a:lnTo>
                <a:lnTo>
                  <a:pt x="2152" y="48"/>
                </a:lnTo>
                <a:lnTo>
                  <a:pt x="2150" y="50"/>
                </a:lnTo>
                <a:lnTo>
                  <a:pt x="2146" y="52"/>
                </a:lnTo>
                <a:lnTo>
                  <a:pt x="2146" y="52"/>
                </a:lnTo>
                <a:lnTo>
                  <a:pt x="2138" y="54"/>
                </a:lnTo>
                <a:lnTo>
                  <a:pt x="2138" y="54"/>
                </a:lnTo>
                <a:lnTo>
                  <a:pt x="2140" y="60"/>
                </a:lnTo>
                <a:lnTo>
                  <a:pt x="2140" y="60"/>
                </a:lnTo>
                <a:lnTo>
                  <a:pt x="2114" y="62"/>
                </a:lnTo>
                <a:lnTo>
                  <a:pt x="2114" y="62"/>
                </a:lnTo>
                <a:lnTo>
                  <a:pt x="2112" y="58"/>
                </a:lnTo>
                <a:lnTo>
                  <a:pt x="2112" y="58"/>
                </a:lnTo>
                <a:lnTo>
                  <a:pt x="2100" y="60"/>
                </a:lnTo>
                <a:lnTo>
                  <a:pt x="2086" y="60"/>
                </a:lnTo>
                <a:lnTo>
                  <a:pt x="2086" y="60"/>
                </a:lnTo>
                <a:lnTo>
                  <a:pt x="2068" y="60"/>
                </a:lnTo>
                <a:lnTo>
                  <a:pt x="2052" y="60"/>
                </a:lnTo>
                <a:lnTo>
                  <a:pt x="2052" y="60"/>
                </a:lnTo>
                <a:lnTo>
                  <a:pt x="2050" y="62"/>
                </a:lnTo>
                <a:lnTo>
                  <a:pt x="2050" y="62"/>
                </a:lnTo>
                <a:lnTo>
                  <a:pt x="2032" y="64"/>
                </a:lnTo>
                <a:lnTo>
                  <a:pt x="2014" y="66"/>
                </a:lnTo>
                <a:lnTo>
                  <a:pt x="2014" y="66"/>
                </a:lnTo>
                <a:lnTo>
                  <a:pt x="2002" y="66"/>
                </a:lnTo>
                <a:lnTo>
                  <a:pt x="2002" y="66"/>
                </a:lnTo>
                <a:lnTo>
                  <a:pt x="1986" y="70"/>
                </a:lnTo>
                <a:lnTo>
                  <a:pt x="1972" y="70"/>
                </a:lnTo>
                <a:lnTo>
                  <a:pt x="1972" y="70"/>
                </a:lnTo>
                <a:lnTo>
                  <a:pt x="1964" y="70"/>
                </a:lnTo>
                <a:lnTo>
                  <a:pt x="1964" y="70"/>
                </a:lnTo>
                <a:lnTo>
                  <a:pt x="1952" y="74"/>
                </a:lnTo>
                <a:lnTo>
                  <a:pt x="1938" y="74"/>
                </a:lnTo>
                <a:lnTo>
                  <a:pt x="1938" y="74"/>
                </a:lnTo>
                <a:lnTo>
                  <a:pt x="1934" y="76"/>
                </a:lnTo>
                <a:lnTo>
                  <a:pt x="1932" y="78"/>
                </a:lnTo>
                <a:lnTo>
                  <a:pt x="1932" y="78"/>
                </a:lnTo>
                <a:lnTo>
                  <a:pt x="1930" y="80"/>
                </a:lnTo>
                <a:lnTo>
                  <a:pt x="1928" y="82"/>
                </a:lnTo>
                <a:lnTo>
                  <a:pt x="1920" y="80"/>
                </a:lnTo>
                <a:lnTo>
                  <a:pt x="1920" y="80"/>
                </a:lnTo>
                <a:lnTo>
                  <a:pt x="1908" y="78"/>
                </a:lnTo>
                <a:lnTo>
                  <a:pt x="1900" y="80"/>
                </a:lnTo>
                <a:lnTo>
                  <a:pt x="1894" y="82"/>
                </a:lnTo>
                <a:lnTo>
                  <a:pt x="1894" y="82"/>
                </a:lnTo>
                <a:lnTo>
                  <a:pt x="1888" y="86"/>
                </a:lnTo>
                <a:lnTo>
                  <a:pt x="1880" y="88"/>
                </a:lnTo>
                <a:lnTo>
                  <a:pt x="1880" y="88"/>
                </a:lnTo>
                <a:lnTo>
                  <a:pt x="1870" y="90"/>
                </a:lnTo>
                <a:lnTo>
                  <a:pt x="1870" y="90"/>
                </a:lnTo>
                <a:lnTo>
                  <a:pt x="1862" y="86"/>
                </a:lnTo>
                <a:lnTo>
                  <a:pt x="1858" y="86"/>
                </a:lnTo>
                <a:lnTo>
                  <a:pt x="1854" y="86"/>
                </a:lnTo>
                <a:lnTo>
                  <a:pt x="1854" y="86"/>
                </a:lnTo>
                <a:lnTo>
                  <a:pt x="1844" y="90"/>
                </a:lnTo>
                <a:lnTo>
                  <a:pt x="1844" y="90"/>
                </a:lnTo>
                <a:lnTo>
                  <a:pt x="1850" y="96"/>
                </a:lnTo>
                <a:lnTo>
                  <a:pt x="1850" y="96"/>
                </a:lnTo>
                <a:lnTo>
                  <a:pt x="1846" y="98"/>
                </a:lnTo>
                <a:lnTo>
                  <a:pt x="1842" y="98"/>
                </a:lnTo>
                <a:lnTo>
                  <a:pt x="1840" y="98"/>
                </a:lnTo>
                <a:lnTo>
                  <a:pt x="1836" y="98"/>
                </a:lnTo>
                <a:lnTo>
                  <a:pt x="1836" y="98"/>
                </a:lnTo>
                <a:lnTo>
                  <a:pt x="1832" y="98"/>
                </a:lnTo>
                <a:lnTo>
                  <a:pt x="1830" y="96"/>
                </a:lnTo>
                <a:lnTo>
                  <a:pt x="1826" y="92"/>
                </a:lnTo>
                <a:lnTo>
                  <a:pt x="1826" y="92"/>
                </a:lnTo>
                <a:lnTo>
                  <a:pt x="1818" y="96"/>
                </a:lnTo>
                <a:lnTo>
                  <a:pt x="1808" y="98"/>
                </a:lnTo>
                <a:lnTo>
                  <a:pt x="1800" y="100"/>
                </a:lnTo>
                <a:lnTo>
                  <a:pt x="1792" y="104"/>
                </a:lnTo>
                <a:lnTo>
                  <a:pt x="1792" y="104"/>
                </a:lnTo>
                <a:lnTo>
                  <a:pt x="1792" y="104"/>
                </a:lnTo>
                <a:lnTo>
                  <a:pt x="1792" y="104"/>
                </a:lnTo>
                <a:lnTo>
                  <a:pt x="1774" y="106"/>
                </a:lnTo>
                <a:lnTo>
                  <a:pt x="1764" y="106"/>
                </a:lnTo>
                <a:lnTo>
                  <a:pt x="1756" y="104"/>
                </a:lnTo>
                <a:lnTo>
                  <a:pt x="1756" y="104"/>
                </a:lnTo>
                <a:lnTo>
                  <a:pt x="1744" y="100"/>
                </a:lnTo>
                <a:lnTo>
                  <a:pt x="1730" y="96"/>
                </a:lnTo>
                <a:lnTo>
                  <a:pt x="1730" y="96"/>
                </a:lnTo>
                <a:lnTo>
                  <a:pt x="1724" y="94"/>
                </a:lnTo>
                <a:lnTo>
                  <a:pt x="1724" y="94"/>
                </a:lnTo>
                <a:lnTo>
                  <a:pt x="1712" y="88"/>
                </a:lnTo>
                <a:lnTo>
                  <a:pt x="1712" y="88"/>
                </a:lnTo>
                <a:lnTo>
                  <a:pt x="1706" y="88"/>
                </a:lnTo>
                <a:lnTo>
                  <a:pt x="1700" y="88"/>
                </a:lnTo>
                <a:lnTo>
                  <a:pt x="1700" y="88"/>
                </a:lnTo>
                <a:lnTo>
                  <a:pt x="1686" y="94"/>
                </a:lnTo>
                <a:lnTo>
                  <a:pt x="1686" y="94"/>
                </a:lnTo>
                <a:lnTo>
                  <a:pt x="1690" y="102"/>
                </a:lnTo>
                <a:lnTo>
                  <a:pt x="1690" y="102"/>
                </a:lnTo>
                <a:lnTo>
                  <a:pt x="1684" y="104"/>
                </a:lnTo>
                <a:lnTo>
                  <a:pt x="1678" y="106"/>
                </a:lnTo>
                <a:lnTo>
                  <a:pt x="1678" y="106"/>
                </a:lnTo>
                <a:lnTo>
                  <a:pt x="1664" y="110"/>
                </a:lnTo>
                <a:lnTo>
                  <a:pt x="1650" y="114"/>
                </a:lnTo>
                <a:lnTo>
                  <a:pt x="1636" y="118"/>
                </a:lnTo>
                <a:lnTo>
                  <a:pt x="1622" y="120"/>
                </a:lnTo>
                <a:lnTo>
                  <a:pt x="1622" y="120"/>
                </a:lnTo>
                <a:lnTo>
                  <a:pt x="1614" y="122"/>
                </a:lnTo>
                <a:lnTo>
                  <a:pt x="1614" y="122"/>
                </a:lnTo>
                <a:lnTo>
                  <a:pt x="1600" y="128"/>
                </a:lnTo>
                <a:lnTo>
                  <a:pt x="1600" y="128"/>
                </a:lnTo>
                <a:lnTo>
                  <a:pt x="1598" y="132"/>
                </a:lnTo>
                <a:lnTo>
                  <a:pt x="1596" y="134"/>
                </a:lnTo>
                <a:lnTo>
                  <a:pt x="1588" y="134"/>
                </a:lnTo>
                <a:lnTo>
                  <a:pt x="1588" y="134"/>
                </a:lnTo>
                <a:lnTo>
                  <a:pt x="1582" y="134"/>
                </a:lnTo>
                <a:lnTo>
                  <a:pt x="1582" y="134"/>
                </a:lnTo>
                <a:lnTo>
                  <a:pt x="1576" y="136"/>
                </a:lnTo>
                <a:lnTo>
                  <a:pt x="1570" y="138"/>
                </a:lnTo>
                <a:lnTo>
                  <a:pt x="1570" y="138"/>
                </a:lnTo>
                <a:lnTo>
                  <a:pt x="1562" y="136"/>
                </a:lnTo>
                <a:lnTo>
                  <a:pt x="1558" y="130"/>
                </a:lnTo>
                <a:lnTo>
                  <a:pt x="1558" y="130"/>
                </a:lnTo>
                <a:lnTo>
                  <a:pt x="1554" y="130"/>
                </a:lnTo>
                <a:lnTo>
                  <a:pt x="1554" y="130"/>
                </a:lnTo>
                <a:lnTo>
                  <a:pt x="1556" y="138"/>
                </a:lnTo>
                <a:lnTo>
                  <a:pt x="1556" y="138"/>
                </a:lnTo>
                <a:lnTo>
                  <a:pt x="1546" y="140"/>
                </a:lnTo>
                <a:lnTo>
                  <a:pt x="1538" y="144"/>
                </a:lnTo>
                <a:lnTo>
                  <a:pt x="1538" y="144"/>
                </a:lnTo>
                <a:lnTo>
                  <a:pt x="1534" y="148"/>
                </a:lnTo>
                <a:lnTo>
                  <a:pt x="1528" y="150"/>
                </a:lnTo>
                <a:lnTo>
                  <a:pt x="1518" y="150"/>
                </a:lnTo>
                <a:lnTo>
                  <a:pt x="1518" y="150"/>
                </a:lnTo>
                <a:lnTo>
                  <a:pt x="1506" y="152"/>
                </a:lnTo>
                <a:lnTo>
                  <a:pt x="1500" y="150"/>
                </a:lnTo>
                <a:lnTo>
                  <a:pt x="1494" y="148"/>
                </a:lnTo>
                <a:lnTo>
                  <a:pt x="1494" y="148"/>
                </a:lnTo>
                <a:lnTo>
                  <a:pt x="1492" y="148"/>
                </a:lnTo>
                <a:lnTo>
                  <a:pt x="1492" y="148"/>
                </a:lnTo>
                <a:lnTo>
                  <a:pt x="1492" y="154"/>
                </a:lnTo>
                <a:lnTo>
                  <a:pt x="1492" y="154"/>
                </a:lnTo>
                <a:lnTo>
                  <a:pt x="1500" y="154"/>
                </a:lnTo>
                <a:lnTo>
                  <a:pt x="1506" y="154"/>
                </a:lnTo>
                <a:lnTo>
                  <a:pt x="1514" y="160"/>
                </a:lnTo>
                <a:lnTo>
                  <a:pt x="1514" y="160"/>
                </a:lnTo>
                <a:lnTo>
                  <a:pt x="1504" y="160"/>
                </a:lnTo>
                <a:lnTo>
                  <a:pt x="1496" y="160"/>
                </a:lnTo>
                <a:lnTo>
                  <a:pt x="1496" y="160"/>
                </a:lnTo>
                <a:lnTo>
                  <a:pt x="1486" y="158"/>
                </a:lnTo>
                <a:lnTo>
                  <a:pt x="1476" y="160"/>
                </a:lnTo>
                <a:lnTo>
                  <a:pt x="1476" y="160"/>
                </a:lnTo>
                <a:lnTo>
                  <a:pt x="1462" y="162"/>
                </a:lnTo>
                <a:lnTo>
                  <a:pt x="1456" y="162"/>
                </a:lnTo>
                <a:lnTo>
                  <a:pt x="1452" y="158"/>
                </a:lnTo>
                <a:lnTo>
                  <a:pt x="1452" y="158"/>
                </a:lnTo>
                <a:lnTo>
                  <a:pt x="1444" y="160"/>
                </a:lnTo>
                <a:lnTo>
                  <a:pt x="1438" y="160"/>
                </a:lnTo>
                <a:lnTo>
                  <a:pt x="1438" y="160"/>
                </a:lnTo>
                <a:lnTo>
                  <a:pt x="1430" y="160"/>
                </a:lnTo>
                <a:lnTo>
                  <a:pt x="1424" y="164"/>
                </a:lnTo>
                <a:lnTo>
                  <a:pt x="1424" y="164"/>
                </a:lnTo>
                <a:lnTo>
                  <a:pt x="1420" y="164"/>
                </a:lnTo>
                <a:lnTo>
                  <a:pt x="1420" y="164"/>
                </a:lnTo>
                <a:lnTo>
                  <a:pt x="1420" y="158"/>
                </a:lnTo>
                <a:lnTo>
                  <a:pt x="1420" y="158"/>
                </a:lnTo>
                <a:lnTo>
                  <a:pt x="1410" y="158"/>
                </a:lnTo>
                <a:lnTo>
                  <a:pt x="1410" y="158"/>
                </a:lnTo>
                <a:lnTo>
                  <a:pt x="1402" y="164"/>
                </a:lnTo>
                <a:lnTo>
                  <a:pt x="1394" y="168"/>
                </a:lnTo>
                <a:lnTo>
                  <a:pt x="1384" y="168"/>
                </a:lnTo>
                <a:lnTo>
                  <a:pt x="1372" y="168"/>
                </a:lnTo>
                <a:lnTo>
                  <a:pt x="1372" y="168"/>
                </a:lnTo>
                <a:lnTo>
                  <a:pt x="1368" y="166"/>
                </a:lnTo>
                <a:lnTo>
                  <a:pt x="1364" y="166"/>
                </a:lnTo>
                <a:lnTo>
                  <a:pt x="1360" y="166"/>
                </a:lnTo>
                <a:lnTo>
                  <a:pt x="1356" y="166"/>
                </a:lnTo>
                <a:lnTo>
                  <a:pt x="1356" y="166"/>
                </a:lnTo>
                <a:lnTo>
                  <a:pt x="1352" y="164"/>
                </a:lnTo>
                <a:lnTo>
                  <a:pt x="1348" y="166"/>
                </a:lnTo>
                <a:lnTo>
                  <a:pt x="1340" y="168"/>
                </a:lnTo>
                <a:lnTo>
                  <a:pt x="1340" y="168"/>
                </a:lnTo>
                <a:lnTo>
                  <a:pt x="1330" y="168"/>
                </a:lnTo>
                <a:lnTo>
                  <a:pt x="1330" y="168"/>
                </a:lnTo>
                <a:lnTo>
                  <a:pt x="1314" y="172"/>
                </a:lnTo>
                <a:lnTo>
                  <a:pt x="1314" y="172"/>
                </a:lnTo>
                <a:lnTo>
                  <a:pt x="1300" y="174"/>
                </a:lnTo>
                <a:lnTo>
                  <a:pt x="1294" y="174"/>
                </a:lnTo>
                <a:lnTo>
                  <a:pt x="1286" y="170"/>
                </a:lnTo>
                <a:lnTo>
                  <a:pt x="1286" y="170"/>
                </a:lnTo>
                <a:lnTo>
                  <a:pt x="1282" y="168"/>
                </a:lnTo>
                <a:lnTo>
                  <a:pt x="1282" y="168"/>
                </a:lnTo>
                <a:lnTo>
                  <a:pt x="1276" y="170"/>
                </a:lnTo>
                <a:lnTo>
                  <a:pt x="1270" y="170"/>
                </a:lnTo>
                <a:lnTo>
                  <a:pt x="1258" y="170"/>
                </a:lnTo>
                <a:lnTo>
                  <a:pt x="1258" y="170"/>
                </a:lnTo>
                <a:lnTo>
                  <a:pt x="1242" y="170"/>
                </a:lnTo>
                <a:lnTo>
                  <a:pt x="1242" y="170"/>
                </a:lnTo>
                <a:lnTo>
                  <a:pt x="1232" y="170"/>
                </a:lnTo>
                <a:lnTo>
                  <a:pt x="1232" y="170"/>
                </a:lnTo>
                <a:lnTo>
                  <a:pt x="1210" y="176"/>
                </a:lnTo>
                <a:lnTo>
                  <a:pt x="1210" y="176"/>
                </a:lnTo>
                <a:lnTo>
                  <a:pt x="1206" y="178"/>
                </a:lnTo>
                <a:lnTo>
                  <a:pt x="1198" y="180"/>
                </a:lnTo>
                <a:lnTo>
                  <a:pt x="1198" y="180"/>
                </a:lnTo>
                <a:lnTo>
                  <a:pt x="1186" y="182"/>
                </a:lnTo>
                <a:lnTo>
                  <a:pt x="1174" y="182"/>
                </a:lnTo>
                <a:lnTo>
                  <a:pt x="1174" y="182"/>
                </a:lnTo>
                <a:lnTo>
                  <a:pt x="1166" y="184"/>
                </a:lnTo>
                <a:lnTo>
                  <a:pt x="1154" y="184"/>
                </a:lnTo>
                <a:lnTo>
                  <a:pt x="1122" y="182"/>
                </a:lnTo>
                <a:lnTo>
                  <a:pt x="1090" y="180"/>
                </a:lnTo>
                <a:lnTo>
                  <a:pt x="1072" y="180"/>
                </a:lnTo>
                <a:lnTo>
                  <a:pt x="1072" y="180"/>
                </a:lnTo>
                <a:lnTo>
                  <a:pt x="1060" y="180"/>
                </a:lnTo>
                <a:lnTo>
                  <a:pt x="1054" y="182"/>
                </a:lnTo>
                <a:lnTo>
                  <a:pt x="1050" y="184"/>
                </a:lnTo>
                <a:lnTo>
                  <a:pt x="1050" y="184"/>
                </a:lnTo>
                <a:lnTo>
                  <a:pt x="1044" y="186"/>
                </a:lnTo>
                <a:lnTo>
                  <a:pt x="1044" y="186"/>
                </a:lnTo>
                <a:lnTo>
                  <a:pt x="1036" y="186"/>
                </a:lnTo>
                <a:lnTo>
                  <a:pt x="1028" y="188"/>
                </a:lnTo>
                <a:lnTo>
                  <a:pt x="1028" y="188"/>
                </a:lnTo>
                <a:lnTo>
                  <a:pt x="1018" y="192"/>
                </a:lnTo>
                <a:lnTo>
                  <a:pt x="1012" y="194"/>
                </a:lnTo>
                <a:lnTo>
                  <a:pt x="1006" y="194"/>
                </a:lnTo>
                <a:lnTo>
                  <a:pt x="1006" y="194"/>
                </a:lnTo>
                <a:lnTo>
                  <a:pt x="998" y="196"/>
                </a:lnTo>
                <a:lnTo>
                  <a:pt x="990" y="198"/>
                </a:lnTo>
                <a:lnTo>
                  <a:pt x="984" y="202"/>
                </a:lnTo>
                <a:lnTo>
                  <a:pt x="980" y="206"/>
                </a:lnTo>
                <a:lnTo>
                  <a:pt x="980" y="206"/>
                </a:lnTo>
                <a:lnTo>
                  <a:pt x="964" y="210"/>
                </a:lnTo>
                <a:lnTo>
                  <a:pt x="964" y="210"/>
                </a:lnTo>
                <a:lnTo>
                  <a:pt x="946" y="216"/>
                </a:lnTo>
                <a:lnTo>
                  <a:pt x="946" y="216"/>
                </a:lnTo>
                <a:lnTo>
                  <a:pt x="946" y="220"/>
                </a:lnTo>
                <a:lnTo>
                  <a:pt x="944" y="222"/>
                </a:lnTo>
                <a:lnTo>
                  <a:pt x="940" y="224"/>
                </a:lnTo>
                <a:lnTo>
                  <a:pt x="926" y="224"/>
                </a:lnTo>
                <a:lnTo>
                  <a:pt x="926" y="224"/>
                </a:lnTo>
                <a:lnTo>
                  <a:pt x="930" y="228"/>
                </a:lnTo>
                <a:lnTo>
                  <a:pt x="930" y="228"/>
                </a:lnTo>
                <a:lnTo>
                  <a:pt x="926" y="240"/>
                </a:lnTo>
                <a:lnTo>
                  <a:pt x="926" y="240"/>
                </a:lnTo>
                <a:lnTo>
                  <a:pt x="916" y="242"/>
                </a:lnTo>
                <a:lnTo>
                  <a:pt x="908" y="248"/>
                </a:lnTo>
                <a:lnTo>
                  <a:pt x="908" y="248"/>
                </a:lnTo>
                <a:lnTo>
                  <a:pt x="912" y="250"/>
                </a:lnTo>
                <a:lnTo>
                  <a:pt x="912" y="250"/>
                </a:lnTo>
                <a:lnTo>
                  <a:pt x="906" y="254"/>
                </a:lnTo>
                <a:lnTo>
                  <a:pt x="906" y="254"/>
                </a:lnTo>
                <a:lnTo>
                  <a:pt x="912" y="264"/>
                </a:lnTo>
                <a:lnTo>
                  <a:pt x="912" y="264"/>
                </a:lnTo>
                <a:lnTo>
                  <a:pt x="914" y="266"/>
                </a:lnTo>
                <a:lnTo>
                  <a:pt x="916" y="270"/>
                </a:lnTo>
                <a:lnTo>
                  <a:pt x="916" y="270"/>
                </a:lnTo>
                <a:lnTo>
                  <a:pt x="914" y="274"/>
                </a:lnTo>
                <a:lnTo>
                  <a:pt x="912" y="276"/>
                </a:lnTo>
                <a:lnTo>
                  <a:pt x="906" y="282"/>
                </a:lnTo>
                <a:lnTo>
                  <a:pt x="906" y="282"/>
                </a:lnTo>
                <a:lnTo>
                  <a:pt x="904" y="284"/>
                </a:lnTo>
                <a:lnTo>
                  <a:pt x="904" y="284"/>
                </a:lnTo>
                <a:lnTo>
                  <a:pt x="906" y="288"/>
                </a:lnTo>
                <a:lnTo>
                  <a:pt x="904" y="290"/>
                </a:lnTo>
                <a:lnTo>
                  <a:pt x="898" y="292"/>
                </a:lnTo>
                <a:lnTo>
                  <a:pt x="898" y="292"/>
                </a:lnTo>
                <a:lnTo>
                  <a:pt x="896" y="290"/>
                </a:lnTo>
                <a:lnTo>
                  <a:pt x="896" y="290"/>
                </a:lnTo>
                <a:lnTo>
                  <a:pt x="896" y="288"/>
                </a:lnTo>
                <a:lnTo>
                  <a:pt x="896" y="288"/>
                </a:lnTo>
                <a:lnTo>
                  <a:pt x="894" y="288"/>
                </a:lnTo>
                <a:lnTo>
                  <a:pt x="894" y="288"/>
                </a:lnTo>
                <a:lnTo>
                  <a:pt x="892" y="288"/>
                </a:lnTo>
                <a:lnTo>
                  <a:pt x="892" y="288"/>
                </a:lnTo>
                <a:lnTo>
                  <a:pt x="888" y="288"/>
                </a:lnTo>
                <a:lnTo>
                  <a:pt x="888" y="288"/>
                </a:lnTo>
                <a:lnTo>
                  <a:pt x="886" y="286"/>
                </a:lnTo>
                <a:lnTo>
                  <a:pt x="886" y="286"/>
                </a:lnTo>
                <a:lnTo>
                  <a:pt x="890" y="278"/>
                </a:lnTo>
                <a:lnTo>
                  <a:pt x="890" y="278"/>
                </a:lnTo>
                <a:lnTo>
                  <a:pt x="884" y="278"/>
                </a:lnTo>
                <a:lnTo>
                  <a:pt x="884" y="278"/>
                </a:lnTo>
                <a:lnTo>
                  <a:pt x="880" y="282"/>
                </a:lnTo>
                <a:lnTo>
                  <a:pt x="876" y="284"/>
                </a:lnTo>
                <a:lnTo>
                  <a:pt x="868" y="282"/>
                </a:lnTo>
                <a:lnTo>
                  <a:pt x="868" y="282"/>
                </a:lnTo>
                <a:lnTo>
                  <a:pt x="860" y="284"/>
                </a:lnTo>
                <a:lnTo>
                  <a:pt x="854" y="286"/>
                </a:lnTo>
                <a:lnTo>
                  <a:pt x="854" y="286"/>
                </a:lnTo>
                <a:lnTo>
                  <a:pt x="878" y="292"/>
                </a:lnTo>
                <a:lnTo>
                  <a:pt x="878" y="292"/>
                </a:lnTo>
                <a:lnTo>
                  <a:pt x="876" y="296"/>
                </a:lnTo>
                <a:lnTo>
                  <a:pt x="876" y="296"/>
                </a:lnTo>
                <a:lnTo>
                  <a:pt x="874" y="298"/>
                </a:lnTo>
                <a:lnTo>
                  <a:pt x="874" y="298"/>
                </a:lnTo>
                <a:lnTo>
                  <a:pt x="884" y="296"/>
                </a:lnTo>
                <a:lnTo>
                  <a:pt x="884" y="296"/>
                </a:lnTo>
                <a:lnTo>
                  <a:pt x="888" y="296"/>
                </a:lnTo>
                <a:lnTo>
                  <a:pt x="888" y="296"/>
                </a:lnTo>
                <a:lnTo>
                  <a:pt x="884" y="300"/>
                </a:lnTo>
                <a:lnTo>
                  <a:pt x="884" y="302"/>
                </a:lnTo>
                <a:lnTo>
                  <a:pt x="884" y="304"/>
                </a:lnTo>
                <a:lnTo>
                  <a:pt x="884" y="304"/>
                </a:lnTo>
                <a:lnTo>
                  <a:pt x="882" y="306"/>
                </a:lnTo>
                <a:lnTo>
                  <a:pt x="882" y="306"/>
                </a:lnTo>
                <a:lnTo>
                  <a:pt x="876" y="306"/>
                </a:lnTo>
                <a:lnTo>
                  <a:pt x="868" y="302"/>
                </a:lnTo>
                <a:lnTo>
                  <a:pt x="868" y="302"/>
                </a:lnTo>
                <a:lnTo>
                  <a:pt x="854" y="294"/>
                </a:lnTo>
                <a:lnTo>
                  <a:pt x="854" y="294"/>
                </a:lnTo>
                <a:lnTo>
                  <a:pt x="848" y="298"/>
                </a:lnTo>
                <a:lnTo>
                  <a:pt x="840" y="300"/>
                </a:lnTo>
                <a:lnTo>
                  <a:pt x="832" y="300"/>
                </a:lnTo>
                <a:lnTo>
                  <a:pt x="828" y="300"/>
                </a:lnTo>
                <a:lnTo>
                  <a:pt x="828" y="292"/>
                </a:lnTo>
                <a:lnTo>
                  <a:pt x="828" y="292"/>
                </a:lnTo>
                <a:lnTo>
                  <a:pt x="816" y="300"/>
                </a:lnTo>
                <a:lnTo>
                  <a:pt x="804" y="304"/>
                </a:lnTo>
                <a:lnTo>
                  <a:pt x="790" y="306"/>
                </a:lnTo>
                <a:lnTo>
                  <a:pt x="774" y="304"/>
                </a:lnTo>
                <a:lnTo>
                  <a:pt x="774" y="304"/>
                </a:lnTo>
                <a:lnTo>
                  <a:pt x="772" y="308"/>
                </a:lnTo>
                <a:lnTo>
                  <a:pt x="770" y="310"/>
                </a:lnTo>
                <a:lnTo>
                  <a:pt x="760" y="310"/>
                </a:lnTo>
                <a:lnTo>
                  <a:pt x="760" y="310"/>
                </a:lnTo>
                <a:lnTo>
                  <a:pt x="754" y="310"/>
                </a:lnTo>
                <a:lnTo>
                  <a:pt x="754" y="310"/>
                </a:lnTo>
                <a:lnTo>
                  <a:pt x="748" y="300"/>
                </a:lnTo>
                <a:lnTo>
                  <a:pt x="748" y="300"/>
                </a:lnTo>
                <a:lnTo>
                  <a:pt x="740" y="306"/>
                </a:lnTo>
                <a:lnTo>
                  <a:pt x="740" y="310"/>
                </a:lnTo>
                <a:lnTo>
                  <a:pt x="740" y="310"/>
                </a:lnTo>
                <a:lnTo>
                  <a:pt x="736" y="310"/>
                </a:lnTo>
                <a:lnTo>
                  <a:pt x="736" y="310"/>
                </a:lnTo>
                <a:lnTo>
                  <a:pt x="734" y="308"/>
                </a:lnTo>
                <a:lnTo>
                  <a:pt x="734" y="308"/>
                </a:lnTo>
                <a:lnTo>
                  <a:pt x="730" y="304"/>
                </a:lnTo>
                <a:lnTo>
                  <a:pt x="722" y="304"/>
                </a:lnTo>
                <a:lnTo>
                  <a:pt x="722" y="304"/>
                </a:lnTo>
                <a:lnTo>
                  <a:pt x="730" y="310"/>
                </a:lnTo>
                <a:lnTo>
                  <a:pt x="730" y="310"/>
                </a:lnTo>
                <a:lnTo>
                  <a:pt x="730" y="310"/>
                </a:lnTo>
                <a:lnTo>
                  <a:pt x="730" y="310"/>
                </a:lnTo>
                <a:lnTo>
                  <a:pt x="724" y="312"/>
                </a:lnTo>
                <a:lnTo>
                  <a:pt x="724" y="312"/>
                </a:lnTo>
                <a:lnTo>
                  <a:pt x="720" y="314"/>
                </a:lnTo>
                <a:lnTo>
                  <a:pt x="714" y="316"/>
                </a:lnTo>
                <a:lnTo>
                  <a:pt x="708" y="316"/>
                </a:lnTo>
                <a:lnTo>
                  <a:pt x="704" y="320"/>
                </a:lnTo>
                <a:lnTo>
                  <a:pt x="704" y="320"/>
                </a:lnTo>
                <a:lnTo>
                  <a:pt x="702" y="320"/>
                </a:lnTo>
                <a:lnTo>
                  <a:pt x="702" y="320"/>
                </a:lnTo>
                <a:lnTo>
                  <a:pt x="700" y="320"/>
                </a:lnTo>
                <a:lnTo>
                  <a:pt x="702" y="320"/>
                </a:lnTo>
                <a:lnTo>
                  <a:pt x="702" y="320"/>
                </a:lnTo>
                <a:lnTo>
                  <a:pt x="696" y="320"/>
                </a:lnTo>
                <a:lnTo>
                  <a:pt x="696" y="320"/>
                </a:lnTo>
                <a:lnTo>
                  <a:pt x="706" y="322"/>
                </a:lnTo>
                <a:lnTo>
                  <a:pt x="716" y="322"/>
                </a:lnTo>
                <a:lnTo>
                  <a:pt x="716" y="322"/>
                </a:lnTo>
                <a:lnTo>
                  <a:pt x="726" y="324"/>
                </a:lnTo>
                <a:lnTo>
                  <a:pt x="726" y="324"/>
                </a:lnTo>
                <a:lnTo>
                  <a:pt x="730" y="324"/>
                </a:lnTo>
                <a:lnTo>
                  <a:pt x="730" y="324"/>
                </a:lnTo>
                <a:lnTo>
                  <a:pt x="740" y="326"/>
                </a:lnTo>
                <a:lnTo>
                  <a:pt x="740" y="326"/>
                </a:lnTo>
                <a:lnTo>
                  <a:pt x="738" y="328"/>
                </a:lnTo>
                <a:lnTo>
                  <a:pt x="734" y="330"/>
                </a:lnTo>
                <a:lnTo>
                  <a:pt x="734" y="330"/>
                </a:lnTo>
                <a:lnTo>
                  <a:pt x="732" y="332"/>
                </a:lnTo>
                <a:lnTo>
                  <a:pt x="732" y="332"/>
                </a:lnTo>
                <a:lnTo>
                  <a:pt x="732" y="332"/>
                </a:lnTo>
                <a:lnTo>
                  <a:pt x="732" y="332"/>
                </a:lnTo>
                <a:lnTo>
                  <a:pt x="734" y="330"/>
                </a:lnTo>
                <a:lnTo>
                  <a:pt x="734" y="330"/>
                </a:lnTo>
                <a:lnTo>
                  <a:pt x="730" y="334"/>
                </a:lnTo>
                <a:lnTo>
                  <a:pt x="730" y="336"/>
                </a:lnTo>
                <a:lnTo>
                  <a:pt x="732" y="338"/>
                </a:lnTo>
                <a:lnTo>
                  <a:pt x="732" y="338"/>
                </a:lnTo>
                <a:lnTo>
                  <a:pt x="738" y="340"/>
                </a:lnTo>
                <a:lnTo>
                  <a:pt x="742" y="344"/>
                </a:lnTo>
                <a:lnTo>
                  <a:pt x="742" y="348"/>
                </a:lnTo>
                <a:lnTo>
                  <a:pt x="744" y="352"/>
                </a:lnTo>
                <a:lnTo>
                  <a:pt x="744" y="352"/>
                </a:lnTo>
                <a:lnTo>
                  <a:pt x="734" y="352"/>
                </a:lnTo>
                <a:lnTo>
                  <a:pt x="726" y="354"/>
                </a:lnTo>
                <a:lnTo>
                  <a:pt x="726" y="354"/>
                </a:lnTo>
                <a:lnTo>
                  <a:pt x="722" y="354"/>
                </a:lnTo>
                <a:lnTo>
                  <a:pt x="716" y="354"/>
                </a:lnTo>
                <a:lnTo>
                  <a:pt x="708" y="350"/>
                </a:lnTo>
                <a:lnTo>
                  <a:pt x="708" y="350"/>
                </a:lnTo>
                <a:lnTo>
                  <a:pt x="706" y="344"/>
                </a:lnTo>
                <a:lnTo>
                  <a:pt x="706" y="344"/>
                </a:lnTo>
                <a:lnTo>
                  <a:pt x="700" y="344"/>
                </a:lnTo>
                <a:lnTo>
                  <a:pt x="700" y="344"/>
                </a:lnTo>
                <a:lnTo>
                  <a:pt x="684" y="346"/>
                </a:lnTo>
                <a:lnTo>
                  <a:pt x="678" y="344"/>
                </a:lnTo>
                <a:lnTo>
                  <a:pt x="670" y="342"/>
                </a:lnTo>
                <a:lnTo>
                  <a:pt x="670" y="342"/>
                </a:lnTo>
                <a:lnTo>
                  <a:pt x="666" y="342"/>
                </a:lnTo>
                <a:lnTo>
                  <a:pt x="662" y="344"/>
                </a:lnTo>
                <a:lnTo>
                  <a:pt x="662" y="344"/>
                </a:lnTo>
                <a:lnTo>
                  <a:pt x="664" y="350"/>
                </a:lnTo>
                <a:lnTo>
                  <a:pt x="664" y="350"/>
                </a:lnTo>
                <a:lnTo>
                  <a:pt x="626" y="360"/>
                </a:lnTo>
                <a:lnTo>
                  <a:pt x="626" y="360"/>
                </a:lnTo>
                <a:lnTo>
                  <a:pt x="616" y="350"/>
                </a:lnTo>
                <a:lnTo>
                  <a:pt x="616" y="350"/>
                </a:lnTo>
                <a:lnTo>
                  <a:pt x="652" y="346"/>
                </a:lnTo>
                <a:lnTo>
                  <a:pt x="652" y="346"/>
                </a:lnTo>
                <a:lnTo>
                  <a:pt x="634" y="336"/>
                </a:lnTo>
                <a:lnTo>
                  <a:pt x="634" y="336"/>
                </a:lnTo>
                <a:lnTo>
                  <a:pt x="640" y="330"/>
                </a:lnTo>
                <a:lnTo>
                  <a:pt x="640" y="330"/>
                </a:lnTo>
                <a:lnTo>
                  <a:pt x="634" y="330"/>
                </a:lnTo>
                <a:lnTo>
                  <a:pt x="630" y="330"/>
                </a:lnTo>
                <a:lnTo>
                  <a:pt x="628" y="332"/>
                </a:lnTo>
                <a:lnTo>
                  <a:pt x="628" y="332"/>
                </a:lnTo>
                <a:lnTo>
                  <a:pt x="624" y="332"/>
                </a:lnTo>
                <a:lnTo>
                  <a:pt x="620" y="332"/>
                </a:lnTo>
                <a:lnTo>
                  <a:pt x="614" y="332"/>
                </a:lnTo>
                <a:lnTo>
                  <a:pt x="610" y="330"/>
                </a:lnTo>
                <a:lnTo>
                  <a:pt x="610" y="330"/>
                </a:lnTo>
                <a:lnTo>
                  <a:pt x="610" y="328"/>
                </a:lnTo>
                <a:lnTo>
                  <a:pt x="610" y="326"/>
                </a:lnTo>
                <a:lnTo>
                  <a:pt x="614" y="324"/>
                </a:lnTo>
                <a:lnTo>
                  <a:pt x="614" y="324"/>
                </a:lnTo>
                <a:lnTo>
                  <a:pt x="626" y="324"/>
                </a:lnTo>
                <a:lnTo>
                  <a:pt x="626" y="324"/>
                </a:lnTo>
                <a:lnTo>
                  <a:pt x="632" y="322"/>
                </a:lnTo>
                <a:lnTo>
                  <a:pt x="636" y="320"/>
                </a:lnTo>
                <a:lnTo>
                  <a:pt x="636" y="320"/>
                </a:lnTo>
                <a:lnTo>
                  <a:pt x="624" y="320"/>
                </a:lnTo>
                <a:lnTo>
                  <a:pt x="616" y="322"/>
                </a:lnTo>
                <a:lnTo>
                  <a:pt x="616" y="322"/>
                </a:lnTo>
                <a:lnTo>
                  <a:pt x="606" y="324"/>
                </a:lnTo>
                <a:lnTo>
                  <a:pt x="600" y="322"/>
                </a:lnTo>
                <a:lnTo>
                  <a:pt x="600" y="322"/>
                </a:lnTo>
                <a:lnTo>
                  <a:pt x="596" y="320"/>
                </a:lnTo>
                <a:lnTo>
                  <a:pt x="592" y="320"/>
                </a:lnTo>
                <a:lnTo>
                  <a:pt x="586" y="320"/>
                </a:lnTo>
                <a:lnTo>
                  <a:pt x="586" y="320"/>
                </a:lnTo>
                <a:lnTo>
                  <a:pt x="564" y="318"/>
                </a:lnTo>
                <a:lnTo>
                  <a:pt x="556" y="316"/>
                </a:lnTo>
                <a:lnTo>
                  <a:pt x="546" y="310"/>
                </a:lnTo>
                <a:lnTo>
                  <a:pt x="546" y="310"/>
                </a:lnTo>
                <a:lnTo>
                  <a:pt x="542" y="308"/>
                </a:lnTo>
                <a:lnTo>
                  <a:pt x="542" y="308"/>
                </a:lnTo>
                <a:lnTo>
                  <a:pt x="526" y="306"/>
                </a:lnTo>
                <a:lnTo>
                  <a:pt x="526" y="306"/>
                </a:lnTo>
                <a:lnTo>
                  <a:pt x="526" y="304"/>
                </a:lnTo>
                <a:lnTo>
                  <a:pt x="524" y="302"/>
                </a:lnTo>
                <a:lnTo>
                  <a:pt x="520" y="302"/>
                </a:lnTo>
                <a:lnTo>
                  <a:pt x="520" y="302"/>
                </a:lnTo>
                <a:lnTo>
                  <a:pt x="494" y="306"/>
                </a:lnTo>
                <a:lnTo>
                  <a:pt x="494" y="306"/>
                </a:lnTo>
                <a:lnTo>
                  <a:pt x="506" y="322"/>
                </a:lnTo>
                <a:lnTo>
                  <a:pt x="506" y="322"/>
                </a:lnTo>
                <a:lnTo>
                  <a:pt x="492" y="322"/>
                </a:lnTo>
                <a:lnTo>
                  <a:pt x="492" y="322"/>
                </a:lnTo>
                <a:lnTo>
                  <a:pt x="478" y="326"/>
                </a:lnTo>
                <a:lnTo>
                  <a:pt x="478" y="326"/>
                </a:lnTo>
                <a:lnTo>
                  <a:pt x="472" y="324"/>
                </a:lnTo>
                <a:lnTo>
                  <a:pt x="472" y="324"/>
                </a:lnTo>
                <a:lnTo>
                  <a:pt x="484" y="316"/>
                </a:lnTo>
                <a:lnTo>
                  <a:pt x="484" y="314"/>
                </a:lnTo>
                <a:lnTo>
                  <a:pt x="484" y="312"/>
                </a:lnTo>
                <a:lnTo>
                  <a:pt x="484" y="312"/>
                </a:lnTo>
                <a:lnTo>
                  <a:pt x="478" y="312"/>
                </a:lnTo>
                <a:lnTo>
                  <a:pt x="474" y="316"/>
                </a:lnTo>
                <a:lnTo>
                  <a:pt x="468" y="322"/>
                </a:lnTo>
                <a:lnTo>
                  <a:pt x="468" y="322"/>
                </a:lnTo>
                <a:lnTo>
                  <a:pt x="466" y="326"/>
                </a:lnTo>
                <a:lnTo>
                  <a:pt x="462" y="328"/>
                </a:lnTo>
                <a:lnTo>
                  <a:pt x="458" y="328"/>
                </a:lnTo>
                <a:lnTo>
                  <a:pt x="450" y="328"/>
                </a:lnTo>
                <a:lnTo>
                  <a:pt x="450" y="328"/>
                </a:lnTo>
                <a:lnTo>
                  <a:pt x="454" y="324"/>
                </a:lnTo>
                <a:lnTo>
                  <a:pt x="454" y="324"/>
                </a:lnTo>
                <a:lnTo>
                  <a:pt x="444" y="320"/>
                </a:lnTo>
                <a:lnTo>
                  <a:pt x="444" y="320"/>
                </a:lnTo>
                <a:lnTo>
                  <a:pt x="448" y="316"/>
                </a:lnTo>
                <a:lnTo>
                  <a:pt x="454" y="314"/>
                </a:lnTo>
                <a:lnTo>
                  <a:pt x="454" y="314"/>
                </a:lnTo>
                <a:lnTo>
                  <a:pt x="458" y="312"/>
                </a:lnTo>
                <a:lnTo>
                  <a:pt x="462" y="310"/>
                </a:lnTo>
                <a:lnTo>
                  <a:pt x="466" y="304"/>
                </a:lnTo>
                <a:lnTo>
                  <a:pt x="466" y="304"/>
                </a:lnTo>
                <a:lnTo>
                  <a:pt x="472" y="298"/>
                </a:lnTo>
                <a:lnTo>
                  <a:pt x="480" y="294"/>
                </a:lnTo>
                <a:lnTo>
                  <a:pt x="480" y="294"/>
                </a:lnTo>
                <a:lnTo>
                  <a:pt x="488" y="298"/>
                </a:lnTo>
                <a:lnTo>
                  <a:pt x="488" y="298"/>
                </a:lnTo>
                <a:lnTo>
                  <a:pt x="500" y="296"/>
                </a:lnTo>
                <a:lnTo>
                  <a:pt x="500" y="296"/>
                </a:lnTo>
                <a:lnTo>
                  <a:pt x="492" y="288"/>
                </a:lnTo>
                <a:lnTo>
                  <a:pt x="492" y="288"/>
                </a:lnTo>
                <a:lnTo>
                  <a:pt x="476" y="292"/>
                </a:lnTo>
                <a:lnTo>
                  <a:pt x="476" y="292"/>
                </a:lnTo>
                <a:lnTo>
                  <a:pt x="484" y="284"/>
                </a:lnTo>
                <a:lnTo>
                  <a:pt x="484" y="284"/>
                </a:lnTo>
                <a:lnTo>
                  <a:pt x="478" y="282"/>
                </a:lnTo>
                <a:lnTo>
                  <a:pt x="476" y="280"/>
                </a:lnTo>
                <a:lnTo>
                  <a:pt x="474" y="278"/>
                </a:lnTo>
                <a:lnTo>
                  <a:pt x="474" y="278"/>
                </a:lnTo>
                <a:lnTo>
                  <a:pt x="472" y="274"/>
                </a:lnTo>
                <a:lnTo>
                  <a:pt x="468" y="272"/>
                </a:lnTo>
                <a:lnTo>
                  <a:pt x="462" y="272"/>
                </a:lnTo>
                <a:lnTo>
                  <a:pt x="454" y="274"/>
                </a:lnTo>
                <a:lnTo>
                  <a:pt x="454" y="274"/>
                </a:lnTo>
                <a:lnTo>
                  <a:pt x="464" y="282"/>
                </a:lnTo>
                <a:lnTo>
                  <a:pt x="464" y="282"/>
                </a:lnTo>
                <a:lnTo>
                  <a:pt x="438" y="284"/>
                </a:lnTo>
                <a:lnTo>
                  <a:pt x="438" y="284"/>
                </a:lnTo>
                <a:lnTo>
                  <a:pt x="430" y="278"/>
                </a:lnTo>
                <a:lnTo>
                  <a:pt x="430" y="278"/>
                </a:lnTo>
                <a:lnTo>
                  <a:pt x="428" y="278"/>
                </a:lnTo>
                <a:lnTo>
                  <a:pt x="428" y="278"/>
                </a:lnTo>
                <a:lnTo>
                  <a:pt x="420" y="280"/>
                </a:lnTo>
                <a:lnTo>
                  <a:pt x="414" y="280"/>
                </a:lnTo>
                <a:lnTo>
                  <a:pt x="412" y="278"/>
                </a:lnTo>
                <a:lnTo>
                  <a:pt x="408" y="272"/>
                </a:lnTo>
                <a:lnTo>
                  <a:pt x="408" y="272"/>
                </a:lnTo>
                <a:lnTo>
                  <a:pt x="406" y="270"/>
                </a:lnTo>
                <a:lnTo>
                  <a:pt x="404" y="268"/>
                </a:lnTo>
                <a:lnTo>
                  <a:pt x="404" y="268"/>
                </a:lnTo>
                <a:lnTo>
                  <a:pt x="398" y="266"/>
                </a:lnTo>
                <a:lnTo>
                  <a:pt x="394" y="264"/>
                </a:lnTo>
                <a:lnTo>
                  <a:pt x="388" y="258"/>
                </a:lnTo>
                <a:lnTo>
                  <a:pt x="388" y="258"/>
                </a:lnTo>
                <a:lnTo>
                  <a:pt x="370" y="256"/>
                </a:lnTo>
                <a:lnTo>
                  <a:pt x="370" y="256"/>
                </a:lnTo>
                <a:lnTo>
                  <a:pt x="368" y="248"/>
                </a:lnTo>
                <a:lnTo>
                  <a:pt x="368" y="248"/>
                </a:lnTo>
                <a:lnTo>
                  <a:pt x="358" y="248"/>
                </a:lnTo>
                <a:lnTo>
                  <a:pt x="358" y="248"/>
                </a:lnTo>
                <a:lnTo>
                  <a:pt x="380" y="268"/>
                </a:lnTo>
                <a:lnTo>
                  <a:pt x="380" y="268"/>
                </a:lnTo>
                <a:lnTo>
                  <a:pt x="382" y="270"/>
                </a:lnTo>
                <a:lnTo>
                  <a:pt x="382" y="270"/>
                </a:lnTo>
                <a:lnTo>
                  <a:pt x="404" y="278"/>
                </a:lnTo>
                <a:lnTo>
                  <a:pt x="404" y="278"/>
                </a:lnTo>
                <a:lnTo>
                  <a:pt x="414" y="284"/>
                </a:lnTo>
                <a:lnTo>
                  <a:pt x="422" y="290"/>
                </a:lnTo>
                <a:lnTo>
                  <a:pt x="422" y="290"/>
                </a:lnTo>
                <a:lnTo>
                  <a:pt x="428" y="294"/>
                </a:lnTo>
                <a:lnTo>
                  <a:pt x="432" y="302"/>
                </a:lnTo>
                <a:lnTo>
                  <a:pt x="432" y="302"/>
                </a:lnTo>
                <a:lnTo>
                  <a:pt x="434" y="302"/>
                </a:lnTo>
                <a:lnTo>
                  <a:pt x="434" y="302"/>
                </a:lnTo>
                <a:lnTo>
                  <a:pt x="442" y="302"/>
                </a:lnTo>
                <a:lnTo>
                  <a:pt x="444" y="304"/>
                </a:lnTo>
                <a:lnTo>
                  <a:pt x="446" y="306"/>
                </a:lnTo>
                <a:lnTo>
                  <a:pt x="446" y="306"/>
                </a:lnTo>
                <a:lnTo>
                  <a:pt x="444" y="308"/>
                </a:lnTo>
                <a:lnTo>
                  <a:pt x="442" y="310"/>
                </a:lnTo>
                <a:lnTo>
                  <a:pt x="436" y="312"/>
                </a:lnTo>
                <a:lnTo>
                  <a:pt x="436" y="312"/>
                </a:lnTo>
                <a:lnTo>
                  <a:pt x="426" y="312"/>
                </a:lnTo>
                <a:lnTo>
                  <a:pt x="416" y="316"/>
                </a:lnTo>
                <a:lnTo>
                  <a:pt x="416" y="316"/>
                </a:lnTo>
                <a:lnTo>
                  <a:pt x="412" y="314"/>
                </a:lnTo>
                <a:lnTo>
                  <a:pt x="408" y="312"/>
                </a:lnTo>
                <a:lnTo>
                  <a:pt x="408" y="312"/>
                </a:lnTo>
                <a:lnTo>
                  <a:pt x="400" y="308"/>
                </a:lnTo>
                <a:lnTo>
                  <a:pt x="390" y="308"/>
                </a:lnTo>
                <a:lnTo>
                  <a:pt x="390" y="308"/>
                </a:lnTo>
                <a:lnTo>
                  <a:pt x="382" y="308"/>
                </a:lnTo>
                <a:lnTo>
                  <a:pt x="376" y="306"/>
                </a:lnTo>
                <a:lnTo>
                  <a:pt x="362" y="302"/>
                </a:lnTo>
                <a:lnTo>
                  <a:pt x="362" y="302"/>
                </a:lnTo>
                <a:lnTo>
                  <a:pt x="354" y="304"/>
                </a:lnTo>
                <a:lnTo>
                  <a:pt x="344" y="302"/>
                </a:lnTo>
                <a:lnTo>
                  <a:pt x="344" y="302"/>
                </a:lnTo>
                <a:lnTo>
                  <a:pt x="338" y="304"/>
                </a:lnTo>
                <a:lnTo>
                  <a:pt x="330" y="306"/>
                </a:lnTo>
                <a:lnTo>
                  <a:pt x="330" y="306"/>
                </a:lnTo>
                <a:lnTo>
                  <a:pt x="322" y="310"/>
                </a:lnTo>
                <a:lnTo>
                  <a:pt x="314" y="312"/>
                </a:lnTo>
                <a:lnTo>
                  <a:pt x="306" y="312"/>
                </a:lnTo>
                <a:lnTo>
                  <a:pt x="296" y="310"/>
                </a:lnTo>
                <a:lnTo>
                  <a:pt x="296" y="310"/>
                </a:lnTo>
                <a:lnTo>
                  <a:pt x="290" y="308"/>
                </a:lnTo>
                <a:lnTo>
                  <a:pt x="290" y="308"/>
                </a:lnTo>
                <a:lnTo>
                  <a:pt x="284" y="306"/>
                </a:lnTo>
                <a:lnTo>
                  <a:pt x="280" y="304"/>
                </a:lnTo>
                <a:lnTo>
                  <a:pt x="280" y="302"/>
                </a:lnTo>
                <a:lnTo>
                  <a:pt x="280" y="298"/>
                </a:lnTo>
                <a:lnTo>
                  <a:pt x="280" y="298"/>
                </a:lnTo>
                <a:lnTo>
                  <a:pt x="278" y="292"/>
                </a:lnTo>
                <a:lnTo>
                  <a:pt x="278" y="292"/>
                </a:lnTo>
                <a:lnTo>
                  <a:pt x="276" y="290"/>
                </a:lnTo>
                <a:lnTo>
                  <a:pt x="274" y="288"/>
                </a:lnTo>
                <a:lnTo>
                  <a:pt x="272" y="284"/>
                </a:lnTo>
                <a:lnTo>
                  <a:pt x="272" y="284"/>
                </a:lnTo>
                <a:lnTo>
                  <a:pt x="264" y="286"/>
                </a:lnTo>
                <a:lnTo>
                  <a:pt x="258" y="288"/>
                </a:lnTo>
                <a:lnTo>
                  <a:pt x="254" y="286"/>
                </a:lnTo>
                <a:lnTo>
                  <a:pt x="248" y="282"/>
                </a:lnTo>
                <a:lnTo>
                  <a:pt x="248" y="282"/>
                </a:lnTo>
                <a:lnTo>
                  <a:pt x="262" y="270"/>
                </a:lnTo>
                <a:lnTo>
                  <a:pt x="262" y="270"/>
                </a:lnTo>
                <a:lnTo>
                  <a:pt x="254" y="268"/>
                </a:lnTo>
                <a:lnTo>
                  <a:pt x="254" y="268"/>
                </a:lnTo>
                <a:lnTo>
                  <a:pt x="248" y="270"/>
                </a:lnTo>
                <a:lnTo>
                  <a:pt x="242" y="270"/>
                </a:lnTo>
                <a:lnTo>
                  <a:pt x="230" y="266"/>
                </a:lnTo>
                <a:lnTo>
                  <a:pt x="230" y="266"/>
                </a:lnTo>
                <a:lnTo>
                  <a:pt x="220" y="266"/>
                </a:lnTo>
                <a:lnTo>
                  <a:pt x="220" y="266"/>
                </a:lnTo>
                <a:lnTo>
                  <a:pt x="212" y="264"/>
                </a:lnTo>
                <a:lnTo>
                  <a:pt x="206" y="260"/>
                </a:lnTo>
                <a:lnTo>
                  <a:pt x="206" y="260"/>
                </a:lnTo>
                <a:lnTo>
                  <a:pt x="202" y="258"/>
                </a:lnTo>
                <a:lnTo>
                  <a:pt x="198" y="256"/>
                </a:lnTo>
                <a:lnTo>
                  <a:pt x="196" y="258"/>
                </a:lnTo>
                <a:lnTo>
                  <a:pt x="192" y="260"/>
                </a:lnTo>
                <a:lnTo>
                  <a:pt x="192" y="260"/>
                </a:lnTo>
                <a:lnTo>
                  <a:pt x="196" y="262"/>
                </a:lnTo>
                <a:lnTo>
                  <a:pt x="200" y="266"/>
                </a:lnTo>
                <a:lnTo>
                  <a:pt x="204" y="268"/>
                </a:lnTo>
                <a:lnTo>
                  <a:pt x="208" y="272"/>
                </a:lnTo>
                <a:lnTo>
                  <a:pt x="208" y="272"/>
                </a:lnTo>
                <a:lnTo>
                  <a:pt x="208" y="274"/>
                </a:lnTo>
                <a:lnTo>
                  <a:pt x="208" y="274"/>
                </a:lnTo>
                <a:lnTo>
                  <a:pt x="214" y="276"/>
                </a:lnTo>
                <a:lnTo>
                  <a:pt x="218" y="280"/>
                </a:lnTo>
                <a:lnTo>
                  <a:pt x="222" y="288"/>
                </a:lnTo>
                <a:lnTo>
                  <a:pt x="222" y="288"/>
                </a:lnTo>
                <a:lnTo>
                  <a:pt x="224" y="290"/>
                </a:lnTo>
                <a:lnTo>
                  <a:pt x="226" y="294"/>
                </a:lnTo>
                <a:lnTo>
                  <a:pt x="232" y="296"/>
                </a:lnTo>
                <a:lnTo>
                  <a:pt x="236" y="296"/>
                </a:lnTo>
                <a:lnTo>
                  <a:pt x="236" y="296"/>
                </a:lnTo>
                <a:lnTo>
                  <a:pt x="242" y="298"/>
                </a:lnTo>
                <a:lnTo>
                  <a:pt x="242" y="298"/>
                </a:lnTo>
                <a:lnTo>
                  <a:pt x="248" y="302"/>
                </a:lnTo>
                <a:lnTo>
                  <a:pt x="256" y="306"/>
                </a:lnTo>
                <a:lnTo>
                  <a:pt x="270" y="312"/>
                </a:lnTo>
                <a:lnTo>
                  <a:pt x="270" y="312"/>
                </a:lnTo>
                <a:lnTo>
                  <a:pt x="276" y="316"/>
                </a:lnTo>
                <a:lnTo>
                  <a:pt x="278" y="318"/>
                </a:lnTo>
                <a:lnTo>
                  <a:pt x="280" y="322"/>
                </a:lnTo>
                <a:lnTo>
                  <a:pt x="280" y="322"/>
                </a:lnTo>
                <a:lnTo>
                  <a:pt x="272" y="322"/>
                </a:lnTo>
                <a:lnTo>
                  <a:pt x="264" y="322"/>
                </a:lnTo>
                <a:lnTo>
                  <a:pt x="248" y="326"/>
                </a:lnTo>
                <a:lnTo>
                  <a:pt x="248" y="326"/>
                </a:lnTo>
                <a:lnTo>
                  <a:pt x="272" y="328"/>
                </a:lnTo>
                <a:lnTo>
                  <a:pt x="272" y="328"/>
                </a:lnTo>
                <a:lnTo>
                  <a:pt x="278" y="330"/>
                </a:lnTo>
                <a:lnTo>
                  <a:pt x="278" y="334"/>
                </a:lnTo>
                <a:lnTo>
                  <a:pt x="278" y="334"/>
                </a:lnTo>
                <a:lnTo>
                  <a:pt x="262" y="334"/>
                </a:lnTo>
                <a:lnTo>
                  <a:pt x="256" y="334"/>
                </a:lnTo>
                <a:lnTo>
                  <a:pt x="252" y="338"/>
                </a:lnTo>
                <a:lnTo>
                  <a:pt x="252" y="338"/>
                </a:lnTo>
                <a:lnTo>
                  <a:pt x="274" y="342"/>
                </a:lnTo>
                <a:lnTo>
                  <a:pt x="274" y="342"/>
                </a:lnTo>
                <a:lnTo>
                  <a:pt x="280" y="342"/>
                </a:lnTo>
                <a:lnTo>
                  <a:pt x="286" y="340"/>
                </a:lnTo>
                <a:lnTo>
                  <a:pt x="286" y="340"/>
                </a:lnTo>
                <a:lnTo>
                  <a:pt x="282" y="334"/>
                </a:lnTo>
                <a:lnTo>
                  <a:pt x="282" y="334"/>
                </a:lnTo>
                <a:lnTo>
                  <a:pt x="288" y="332"/>
                </a:lnTo>
                <a:lnTo>
                  <a:pt x="288" y="332"/>
                </a:lnTo>
                <a:lnTo>
                  <a:pt x="302" y="336"/>
                </a:lnTo>
                <a:lnTo>
                  <a:pt x="302" y="336"/>
                </a:lnTo>
                <a:lnTo>
                  <a:pt x="308" y="338"/>
                </a:lnTo>
                <a:lnTo>
                  <a:pt x="310" y="340"/>
                </a:lnTo>
                <a:lnTo>
                  <a:pt x="310" y="342"/>
                </a:lnTo>
                <a:lnTo>
                  <a:pt x="310" y="342"/>
                </a:lnTo>
                <a:lnTo>
                  <a:pt x="310" y="346"/>
                </a:lnTo>
                <a:lnTo>
                  <a:pt x="310" y="346"/>
                </a:lnTo>
                <a:lnTo>
                  <a:pt x="324" y="348"/>
                </a:lnTo>
                <a:lnTo>
                  <a:pt x="324" y="348"/>
                </a:lnTo>
                <a:lnTo>
                  <a:pt x="322" y="352"/>
                </a:lnTo>
                <a:lnTo>
                  <a:pt x="320" y="356"/>
                </a:lnTo>
                <a:lnTo>
                  <a:pt x="314" y="358"/>
                </a:lnTo>
                <a:lnTo>
                  <a:pt x="308" y="360"/>
                </a:lnTo>
                <a:lnTo>
                  <a:pt x="308" y="360"/>
                </a:lnTo>
                <a:lnTo>
                  <a:pt x="304" y="360"/>
                </a:lnTo>
                <a:lnTo>
                  <a:pt x="302" y="362"/>
                </a:lnTo>
                <a:lnTo>
                  <a:pt x="300" y="366"/>
                </a:lnTo>
                <a:lnTo>
                  <a:pt x="300" y="366"/>
                </a:lnTo>
                <a:lnTo>
                  <a:pt x="288" y="366"/>
                </a:lnTo>
                <a:lnTo>
                  <a:pt x="280" y="366"/>
                </a:lnTo>
                <a:lnTo>
                  <a:pt x="272" y="364"/>
                </a:lnTo>
                <a:lnTo>
                  <a:pt x="262" y="360"/>
                </a:lnTo>
                <a:lnTo>
                  <a:pt x="262" y="360"/>
                </a:lnTo>
                <a:lnTo>
                  <a:pt x="268" y="356"/>
                </a:lnTo>
                <a:lnTo>
                  <a:pt x="268" y="356"/>
                </a:lnTo>
                <a:lnTo>
                  <a:pt x="266" y="354"/>
                </a:lnTo>
                <a:lnTo>
                  <a:pt x="266" y="354"/>
                </a:lnTo>
                <a:lnTo>
                  <a:pt x="260" y="356"/>
                </a:lnTo>
                <a:lnTo>
                  <a:pt x="256" y="358"/>
                </a:lnTo>
                <a:lnTo>
                  <a:pt x="244" y="356"/>
                </a:lnTo>
                <a:lnTo>
                  <a:pt x="244" y="356"/>
                </a:lnTo>
                <a:lnTo>
                  <a:pt x="250" y="352"/>
                </a:lnTo>
                <a:lnTo>
                  <a:pt x="250" y="352"/>
                </a:lnTo>
                <a:lnTo>
                  <a:pt x="242" y="348"/>
                </a:lnTo>
                <a:lnTo>
                  <a:pt x="242" y="348"/>
                </a:lnTo>
                <a:lnTo>
                  <a:pt x="236" y="348"/>
                </a:lnTo>
                <a:lnTo>
                  <a:pt x="236" y="348"/>
                </a:lnTo>
                <a:lnTo>
                  <a:pt x="228" y="348"/>
                </a:lnTo>
                <a:lnTo>
                  <a:pt x="220" y="346"/>
                </a:lnTo>
                <a:lnTo>
                  <a:pt x="220" y="346"/>
                </a:lnTo>
                <a:lnTo>
                  <a:pt x="214" y="346"/>
                </a:lnTo>
                <a:lnTo>
                  <a:pt x="208" y="348"/>
                </a:lnTo>
                <a:lnTo>
                  <a:pt x="208" y="348"/>
                </a:lnTo>
                <a:lnTo>
                  <a:pt x="202" y="348"/>
                </a:lnTo>
                <a:lnTo>
                  <a:pt x="202" y="348"/>
                </a:lnTo>
                <a:lnTo>
                  <a:pt x="194" y="350"/>
                </a:lnTo>
                <a:lnTo>
                  <a:pt x="194" y="350"/>
                </a:lnTo>
                <a:lnTo>
                  <a:pt x="196" y="352"/>
                </a:lnTo>
                <a:lnTo>
                  <a:pt x="200" y="352"/>
                </a:lnTo>
                <a:lnTo>
                  <a:pt x="200" y="354"/>
                </a:lnTo>
                <a:lnTo>
                  <a:pt x="200" y="356"/>
                </a:lnTo>
                <a:lnTo>
                  <a:pt x="200" y="356"/>
                </a:lnTo>
                <a:lnTo>
                  <a:pt x="194" y="358"/>
                </a:lnTo>
                <a:lnTo>
                  <a:pt x="194" y="358"/>
                </a:lnTo>
                <a:lnTo>
                  <a:pt x="184" y="354"/>
                </a:lnTo>
                <a:lnTo>
                  <a:pt x="184" y="354"/>
                </a:lnTo>
                <a:lnTo>
                  <a:pt x="178" y="358"/>
                </a:lnTo>
                <a:lnTo>
                  <a:pt x="172" y="360"/>
                </a:lnTo>
                <a:lnTo>
                  <a:pt x="172" y="360"/>
                </a:lnTo>
                <a:lnTo>
                  <a:pt x="166" y="360"/>
                </a:lnTo>
                <a:lnTo>
                  <a:pt x="160" y="362"/>
                </a:lnTo>
                <a:lnTo>
                  <a:pt x="154" y="364"/>
                </a:lnTo>
                <a:lnTo>
                  <a:pt x="148" y="366"/>
                </a:lnTo>
                <a:lnTo>
                  <a:pt x="148" y="366"/>
                </a:lnTo>
                <a:lnTo>
                  <a:pt x="144" y="370"/>
                </a:lnTo>
                <a:lnTo>
                  <a:pt x="138" y="374"/>
                </a:lnTo>
                <a:lnTo>
                  <a:pt x="132" y="376"/>
                </a:lnTo>
                <a:lnTo>
                  <a:pt x="126" y="380"/>
                </a:lnTo>
                <a:lnTo>
                  <a:pt x="126" y="380"/>
                </a:lnTo>
                <a:lnTo>
                  <a:pt x="122" y="382"/>
                </a:lnTo>
                <a:lnTo>
                  <a:pt x="116" y="382"/>
                </a:lnTo>
                <a:lnTo>
                  <a:pt x="116" y="382"/>
                </a:lnTo>
                <a:lnTo>
                  <a:pt x="114" y="380"/>
                </a:lnTo>
                <a:lnTo>
                  <a:pt x="114" y="378"/>
                </a:lnTo>
                <a:lnTo>
                  <a:pt x="116" y="376"/>
                </a:lnTo>
                <a:lnTo>
                  <a:pt x="116" y="376"/>
                </a:lnTo>
                <a:lnTo>
                  <a:pt x="114" y="374"/>
                </a:lnTo>
                <a:lnTo>
                  <a:pt x="114" y="374"/>
                </a:lnTo>
                <a:lnTo>
                  <a:pt x="110" y="374"/>
                </a:lnTo>
                <a:lnTo>
                  <a:pt x="108" y="376"/>
                </a:lnTo>
                <a:lnTo>
                  <a:pt x="104" y="380"/>
                </a:lnTo>
                <a:lnTo>
                  <a:pt x="104" y="380"/>
                </a:lnTo>
                <a:lnTo>
                  <a:pt x="98" y="384"/>
                </a:lnTo>
                <a:lnTo>
                  <a:pt x="90" y="386"/>
                </a:lnTo>
                <a:lnTo>
                  <a:pt x="90" y="386"/>
                </a:lnTo>
                <a:lnTo>
                  <a:pt x="78" y="388"/>
                </a:lnTo>
                <a:lnTo>
                  <a:pt x="72" y="390"/>
                </a:lnTo>
                <a:lnTo>
                  <a:pt x="66" y="394"/>
                </a:lnTo>
                <a:lnTo>
                  <a:pt x="66" y="394"/>
                </a:lnTo>
                <a:lnTo>
                  <a:pt x="62" y="396"/>
                </a:lnTo>
                <a:lnTo>
                  <a:pt x="62" y="396"/>
                </a:lnTo>
                <a:lnTo>
                  <a:pt x="38" y="410"/>
                </a:lnTo>
                <a:lnTo>
                  <a:pt x="38" y="410"/>
                </a:lnTo>
                <a:lnTo>
                  <a:pt x="32" y="412"/>
                </a:lnTo>
                <a:lnTo>
                  <a:pt x="30" y="414"/>
                </a:lnTo>
                <a:lnTo>
                  <a:pt x="30" y="414"/>
                </a:lnTo>
                <a:lnTo>
                  <a:pt x="28" y="420"/>
                </a:lnTo>
                <a:lnTo>
                  <a:pt x="24" y="422"/>
                </a:lnTo>
                <a:lnTo>
                  <a:pt x="18" y="430"/>
                </a:lnTo>
                <a:lnTo>
                  <a:pt x="18" y="430"/>
                </a:lnTo>
                <a:lnTo>
                  <a:pt x="24" y="432"/>
                </a:lnTo>
                <a:lnTo>
                  <a:pt x="28" y="432"/>
                </a:lnTo>
                <a:lnTo>
                  <a:pt x="28" y="432"/>
                </a:lnTo>
                <a:lnTo>
                  <a:pt x="34" y="436"/>
                </a:lnTo>
                <a:lnTo>
                  <a:pt x="42" y="438"/>
                </a:lnTo>
                <a:lnTo>
                  <a:pt x="42" y="438"/>
                </a:lnTo>
                <a:lnTo>
                  <a:pt x="46" y="438"/>
                </a:lnTo>
                <a:lnTo>
                  <a:pt x="48" y="440"/>
                </a:lnTo>
                <a:lnTo>
                  <a:pt x="48" y="442"/>
                </a:lnTo>
                <a:lnTo>
                  <a:pt x="44" y="446"/>
                </a:lnTo>
                <a:lnTo>
                  <a:pt x="44" y="446"/>
                </a:lnTo>
                <a:lnTo>
                  <a:pt x="42" y="450"/>
                </a:lnTo>
                <a:lnTo>
                  <a:pt x="42" y="450"/>
                </a:lnTo>
                <a:lnTo>
                  <a:pt x="42" y="458"/>
                </a:lnTo>
                <a:lnTo>
                  <a:pt x="42" y="460"/>
                </a:lnTo>
                <a:lnTo>
                  <a:pt x="38" y="464"/>
                </a:lnTo>
                <a:lnTo>
                  <a:pt x="38" y="464"/>
                </a:lnTo>
                <a:lnTo>
                  <a:pt x="38" y="468"/>
                </a:lnTo>
                <a:lnTo>
                  <a:pt x="40" y="472"/>
                </a:lnTo>
                <a:lnTo>
                  <a:pt x="40" y="472"/>
                </a:lnTo>
                <a:lnTo>
                  <a:pt x="40" y="476"/>
                </a:lnTo>
                <a:lnTo>
                  <a:pt x="36" y="488"/>
                </a:lnTo>
                <a:lnTo>
                  <a:pt x="22" y="522"/>
                </a:lnTo>
                <a:lnTo>
                  <a:pt x="0" y="574"/>
                </a:lnTo>
                <a:lnTo>
                  <a:pt x="0" y="574"/>
                </a:lnTo>
                <a:lnTo>
                  <a:pt x="0" y="578"/>
                </a:lnTo>
                <a:lnTo>
                  <a:pt x="0" y="584"/>
                </a:lnTo>
                <a:lnTo>
                  <a:pt x="4" y="594"/>
                </a:lnTo>
                <a:lnTo>
                  <a:pt x="4" y="594"/>
                </a:lnTo>
                <a:lnTo>
                  <a:pt x="6" y="598"/>
                </a:lnTo>
                <a:lnTo>
                  <a:pt x="10" y="602"/>
                </a:lnTo>
                <a:lnTo>
                  <a:pt x="10" y="602"/>
                </a:lnTo>
                <a:lnTo>
                  <a:pt x="16" y="606"/>
                </a:lnTo>
                <a:lnTo>
                  <a:pt x="16" y="610"/>
                </a:lnTo>
                <a:lnTo>
                  <a:pt x="16" y="614"/>
                </a:lnTo>
                <a:lnTo>
                  <a:pt x="16" y="614"/>
                </a:lnTo>
                <a:lnTo>
                  <a:pt x="10" y="618"/>
                </a:lnTo>
                <a:lnTo>
                  <a:pt x="10" y="618"/>
                </a:lnTo>
                <a:lnTo>
                  <a:pt x="6" y="622"/>
                </a:lnTo>
                <a:lnTo>
                  <a:pt x="6" y="624"/>
                </a:lnTo>
                <a:lnTo>
                  <a:pt x="10" y="626"/>
                </a:lnTo>
                <a:lnTo>
                  <a:pt x="10" y="626"/>
                </a:lnTo>
                <a:lnTo>
                  <a:pt x="14" y="628"/>
                </a:lnTo>
                <a:lnTo>
                  <a:pt x="14" y="628"/>
                </a:lnTo>
                <a:lnTo>
                  <a:pt x="12" y="658"/>
                </a:lnTo>
                <a:lnTo>
                  <a:pt x="10" y="718"/>
                </a:lnTo>
                <a:lnTo>
                  <a:pt x="10" y="778"/>
                </a:lnTo>
                <a:lnTo>
                  <a:pt x="8" y="806"/>
                </a:lnTo>
                <a:lnTo>
                  <a:pt x="8" y="806"/>
                </a:lnTo>
                <a:lnTo>
                  <a:pt x="20" y="808"/>
                </a:lnTo>
                <a:lnTo>
                  <a:pt x="28" y="814"/>
                </a:lnTo>
                <a:lnTo>
                  <a:pt x="28" y="814"/>
                </a:lnTo>
                <a:lnTo>
                  <a:pt x="34" y="818"/>
                </a:lnTo>
                <a:lnTo>
                  <a:pt x="42" y="816"/>
                </a:lnTo>
                <a:lnTo>
                  <a:pt x="42" y="816"/>
                </a:lnTo>
                <a:lnTo>
                  <a:pt x="52" y="816"/>
                </a:lnTo>
                <a:lnTo>
                  <a:pt x="52" y="816"/>
                </a:lnTo>
                <a:lnTo>
                  <a:pt x="52" y="818"/>
                </a:lnTo>
                <a:lnTo>
                  <a:pt x="52" y="818"/>
                </a:lnTo>
                <a:lnTo>
                  <a:pt x="40" y="820"/>
                </a:lnTo>
                <a:lnTo>
                  <a:pt x="40" y="820"/>
                </a:lnTo>
                <a:lnTo>
                  <a:pt x="34" y="822"/>
                </a:lnTo>
                <a:lnTo>
                  <a:pt x="32" y="828"/>
                </a:lnTo>
                <a:lnTo>
                  <a:pt x="32" y="828"/>
                </a:lnTo>
                <a:lnTo>
                  <a:pt x="32" y="834"/>
                </a:lnTo>
                <a:lnTo>
                  <a:pt x="32" y="834"/>
                </a:lnTo>
                <a:lnTo>
                  <a:pt x="6" y="838"/>
                </a:lnTo>
                <a:lnTo>
                  <a:pt x="6" y="838"/>
                </a:lnTo>
                <a:lnTo>
                  <a:pt x="20" y="842"/>
                </a:lnTo>
                <a:lnTo>
                  <a:pt x="20" y="842"/>
                </a:lnTo>
                <a:lnTo>
                  <a:pt x="10" y="846"/>
                </a:lnTo>
                <a:lnTo>
                  <a:pt x="10" y="846"/>
                </a:lnTo>
                <a:lnTo>
                  <a:pt x="34" y="856"/>
                </a:lnTo>
                <a:lnTo>
                  <a:pt x="34" y="856"/>
                </a:lnTo>
                <a:lnTo>
                  <a:pt x="20" y="858"/>
                </a:lnTo>
                <a:lnTo>
                  <a:pt x="20" y="858"/>
                </a:lnTo>
                <a:lnTo>
                  <a:pt x="22" y="862"/>
                </a:lnTo>
                <a:lnTo>
                  <a:pt x="26" y="862"/>
                </a:lnTo>
                <a:lnTo>
                  <a:pt x="32" y="862"/>
                </a:lnTo>
                <a:lnTo>
                  <a:pt x="32" y="862"/>
                </a:lnTo>
                <a:lnTo>
                  <a:pt x="48" y="862"/>
                </a:lnTo>
                <a:lnTo>
                  <a:pt x="48" y="862"/>
                </a:lnTo>
                <a:lnTo>
                  <a:pt x="44" y="868"/>
                </a:lnTo>
                <a:lnTo>
                  <a:pt x="44" y="868"/>
                </a:lnTo>
                <a:lnTo>
                  <a:pt x="38" y="868"/>
                </a:lnTo>
                <a:lnTo>
                  <a:pt x="38" y="868"/>
                </a:lnTo>
                <a:lnTo>
                  <a:pt x="32" y="868"/>
                </a:lnTo>
                <a:lnTo>
                  <a:pt x="28" y="870"/>
                </a:lnTo>
                <a:lnTo>
                  <a:pt x="26" y="872"/>
                </a:lnTo>
                <a:lnTo>
                  <a:pt x="26" y="872"/>
                </a:lnTo>
                <a:lnTo>
                  <a:pt x="26" y="874"/>
                </a:lnTo>
                <a:lnTo>
                  <a:pt x="28" y="876"/>
                </a:lnTo>
                <a:lnTo>
                  <a:pt x="34" y="878"/>
                </a:lnTo>
                <a:lnTo>
                  <a:pt x="34" y="878"/>
                </a:lnTo>
                <a:lnTo>
                  <a:pt x="52" y="880"/>
                </a:lnTo>
                <a:lnTo>
                  <a:pt x="52" y="880"/>
                </a:lnTo>
                <a:lnTo>
                  <a:pt x="50" y="882"/>
                </a:lnTo>
                <a:lnTo>
                  <a:pt x="50" y="882"/>
                </a:lnTo>
                <a:lnTo>
                  <a:pt x="46" y="882"/>
                </a:lnTo>
                <a:lnTo>
                  <a:pt x="46" y="882"/>
                </a:lnTo>
                <a:lnTo>
                  <a:pt x="56" y="884"/>
                </a:lnTo>
                <a:lnTo>
                  <a:pt x="60" y="888"/>
                </a:lnTo>
                <a:lnTo>
                  <a:pt x="60" y="888"/>
                </a:lnTo>
                <a:lnTo>
                  <a:pt x="44" y="896"/>
                </a:lnTo>
                <a:lnTo>
                  <a:pt x="44" y="896"/>
                </a:lnTo>
                <a:lnTo>
                  <a:pt x="58" y="894"/>
                </a:lnTo>
                <a:lnTo>
                  <a:pt x="64" y="896"/>
                </a:lnTo>
                <a:lnTo>
                  <a:pt x="70" y="898"/>
                </a:lnTo>
                <a:lnTo>
                  <a:pt x="70" y="898"/>
                </a:lnTo>
                <a:lnTo>
                  <a:pt x="64" y="900"/>
                </a:lnTo>
                <a:lnTo>
                  <a:pt x="64" y="900"/>
                </a:lnTo>
                <a:lnTo>
                  <a:pt x="64" y="904"/>
                </a:lnTo>
                <a:lnTo>
                  <a:pt x="62" y="906"/>
                </a:lnTo>
                <a:lnTo>
                  <a:pt x="58" y="908"/>
                </a:lnTo>
                <a:lnTo>
                  <a:pt x="58" y="908"/>
                </a:lnTo>
                <a:lnTo>
                  <a:pt x="54" y="914"/>
                </a:lnTo>
                <a:lnTo>
                  <a:pt x="52" y="916"/>
                </a:lnTo>
                <a:lnTo>
                  <a:pt x="52" y="918"/>
                </a:lnTo>
                <a:lnTo>
                  <a:pt x="52" y="918"/>
                </a:lnTo>
                <a:lnTo>
                  <a:pt x="76" y="922"/>
                </a:lnTo>
                <a:lnTo>
                  <a:pt x="76" y="922"/>
                </a:lnTo>
                <a:lnTo>
                  <a:pt x="78" y="932"/>
                </a:lnTo>
                <a:lnTo>
                  <a:pt x="78" y="932"/>
                </a:lnTo>
                <a:lnTo>
                  <a:pt x="100" y="936"/>
                </a:lnTo>
                <a:lnTo>
                  <a:pt x="100" y="936"/>
                </a:lnTo>
                <a:lnTo>
                  <a:pt x="92" y="940"/>
                </a:lnTo>
                <a:lnTo>
                  <a:pt x="92" y="940"/>
                </a:lnTo>
                <a:lnTo>
                  <a:pt x="96" y="948"/>
                </a:lnTo>
                <a:lnTo>
                  <a:pt x="96" y="948"/>
                </a:lnTo>
                <a:lnTo>
                  <a:pt x="86" y="946"/>
                </a:lnTo>
                <a:lnTo>
                  <a:pt x="86" y="946"/>
                </a:lnTo>
                <a:lnTo>
                  <a:pt x="84" y="948"/>
                </a:lnTo>
                <a:lnTo>
                  <a:pt x="84" y="948"/>
                </a:lnTo>
                <a:lnTo>
                  <a:pt x="94" y="956"/>
                </a:lnTo>
                <a:lnTo>
                  <a:pt x="100" y="960"/>
                </a:lnTo>
                <a:lnTo>
                  <a:pt x="108" y="962"/>
                </a:lnTo>
                <a:lnTo>
                  <a:pt x="108" y="962"/>
                </a:lnTo>
                <a:lnTo>
                  <a:pt x="112" y="964"/>
                </a:lnTo>
                <a:lnTo>
                  <a:pt x="116" y="968"/>
                </a:lnTo>
                <a:lnTo>
                  <a:pt x="116" y="968"/>
                </a:lnTo>
                <a:lnTo>
                  <a:pt x="120" y="972"/>
                </a:lnTo>
                <a:lnTo>
                  <a:pt x="124" y="974"/>
                </a:lnTo>
                <a:lnTo>
                  <a:pt x="130" y="974"/>
                </a:lnTo>
                <a:lnTo>
                  <a:pt x="130" y="974"/>
                </a:lnTo>
                <a:lnTo>
                  <a:pt x="136" y="976"/>
                </a:lnTo>
                <a:lnTo>
                  <a:pt x="142" y="978"/>
                </a:lnTo>
                <a:lnTo>
                  <a:pt x="142" y="978"/>
                </a:lnTo>
                <a:lnTo>
                  <a:pt x="148" y="980"/>
                </a:lnTo>
                <a:lnTo>
                  <a:pt x="156" y="982"/>
                </a:lnTo>
                <a:lnTo>
                  <a:pt x="170" y="980"/>
                </a:lnTo>
                <a:lnTo>
                  <a:pt x="170" y="980"/>
                </a:lnTo>
                <a:lnTo>
                  <a:pt x="182" y="978"/>
                </a:lnTo>
                <a:lnTo>
                  <a:pt x="188" y="980"/>
                </a:lnTo>
                <a:lnTo>
                  <a:pt x="196" y="982"/>
                </a:lnTo>
                <a:lnTo>
                  <a:pt x="196" y="982"/>
                </a:lnTo>
                <a:lnTo>
                  <a:pt x="192" y="990"/>
                </a:lnTo>
                <a:lnTo>
                  <a:pt x="192" y="990"/>
                </a:lnTo>
                <a:lnTo>
                  <a:pt x="204" y="994"/>
                </a:lnTo>
                <a:lnTo>
                  <a:pt x="204" y="994"/>
                </a:lnTo>
                <a:lnTo>
                  <a:pt x="228" y="986"/>
                </a:lnTo>
                <a:lnTo>
                  <a:pt x="228" y="986"/>
                </a:lnTo>
                <a:lnTo>
                  <a:pt x="222" y="982"/>
                </a:lnTo>
                <a:lnTo>
                  <a:pt x="222" y="982"/>
                </a:lnTo>
                <a:lnTo>
                  <a:pt x="236" y="980"/>
                </a:lnTo>
                <a:lnTo>
                  <a:pt x="236" y="980"/>
                </a:lnTo>
                <a:lnTo>
                  <a:pt x="236" y="978"/>
                </a:lnTo>
                <a:lnTo>
                  <a:pt x="236" y="978"/>
                </a:lnTo>
                <a:lnTo>
                  <a:pt x="222" y="974"/>
                </a:lnTo>
                <a:lnTo>
                  <a:pt x="222" y="974"/>
                </a:lnTo>
                <a:lnTo>
                  <a:pt x="236" y="968"/>
                </a:lnTo>
                <a:lnTo>
                  <a:pt x="236" y="968"/>
                </a:lnTo>
                <a:lnTo>
                  <a:pt x="236" y="964"/>
                </a:lnTo>
                <a:lnTo>
                  <a:pt x="240" y="960"/>
                </a:lnTo>
                <a:lnTo>
                  <a:pt x="240" y="960"/>
                </a:lnTo>
                <a:lnTo>
                  <a:pt x="236" y="956"/>
                </a:lnTo>
                <a:lnTo>
                  <a:pt x="236" y="956"/>
                </a:lnTo>
                <a:lnTo>
                  <a:pt x="256" y="956"/>
                </a:lnTo>
                <a:lnTo>
                  <a:pt x="266" y="956"/>
                </a:lnTo>
                <a:lnTo>
                  <a:pt x="274" y="952"/>
                </a:lnTo>
                <a:lnTo>
                  <a:pt x="274" y="952"/>
                </a:lnTo>
                <a:lnTo>
                  <a:pt x="278" y="952"/>
                </a:lnTo>
                <a:lnTo>
                  <a:pt x="282" y="956"/>
                </a:lnTo>
                <a:lnTo>
                  <a:pt x="282" y="956"/>
                </a:lnTo>
                <a:lnTo>
                  <a:pt x="286" y="956"/>
                </a:lnTo>
                <a:lnTo>
                  <a:pt x="286" y="956"/>
                </a:lnTo>
                <a:lnTo>
                  <a:pt x="288" y="950"/>
                </a:lnTo>
                <a:lnTo>
                  <a:pt x="288" y="950"/>
                </a:lnTo>
                <a:lnTo>
                  <a:pt x="308" y="956"/>
                </a:lnTo>
                <a:lnTo>
                  <a:pt x="308" y="956"/>
                </a:lnTo>
                <a:lnTo>
                  <a:pt x="306" y="958"/>
                </a:lnTo>
                <a:lnTo>
                  <a:pt x="306" y="958"/>
                </a:lnTo>
                <a:lnTo>
                  <a:pt x="302" y="962"/>
                </a:lnTo>
                <a:lnTo>
                  <a:pt x="300" y="966"/>
                </a:lnTo>
                <a:lnTo>
                  <a:pt x="300" y="968"/>
                </a:lnTo>
                <a:lnTo>
                  <a:pt x="300" y="972"/>
                </a:lnTo>
                <a:lnTo>
                  <a:pt x="300" y="972"/>
                </a:lnTo>
                <a:lnTo>
                  <a:pt x="322" y="978"/>
                </a:lnTo>
                <a:lnTo>
                  <a:pt x="322" y="978"/>
                </a:lnTo>
                <a:lnTo>
                  <a:pt x="332" y="978"/>
                </a:lnTo>
                <a:lnTo>
                  <a:pt x="338" y="976"/>
                </a:lnTo>
                <a:lnTo>
                  <a:pt x="342" y="974"/>
                </a:lnTo>
                <a:lnTo>
                  <a:pt x="342" y="974"/>
                </a:lnTo>
                <a:lnTo>
                  <a:pt x="346" y="972"/>
                </a:lnTo>
                <a:lnTo>
                  <a:pt x="350" y="974"/>
                </a:lnTo>
                <a:lnTo>
                  <a:pt x="350" y="974"/>
                </a:lnTo>
                <a:lnTo>
                  <a:pt x="360" y="980"/>
                </a:lnTo>
                <a:lnTo>
                  <a:pt x="360" y="980"/>
                </a:lnTo>
                <a:lnTo>
                  <a:pt x="350" y="984"/>
                </a:lnTo>
                <a:lnTo>
                  <a:pt x="350" y="984"/>
                </a:lnTo>
                <a:lnTo>
                  <a:pt x="346" y="980"/>
                </a:lnTo>
                <a:lnTo>
                  <a:pt x="346" y="980"/>
                </a:lnTo>
                <a:lnTo>
                  <a:pt x="342" y="980"/>
                </a:lnTo>
                <a:lnTo>
                  <a:pt x="340" y="982"/>
                </a:lnTo>
                <a:lnTo>
                  <a:pt x="340" y="982"/>
                </a:lnTo>
                <a:lnTo>
                  <a:pt x="334" y="990"/>
                </a:lnTo>
                <a:lnTo>
                  <a:pt x="334" y="990"/>
                </a:lnTo>
                <a:lnTo>
                  <a:pt x="336" y="992"/>
                </a:lnTo>
                <a:lnTo>
                  <a:pt x="338" y="994"/>
                </a:lnTo>
                <a:lnTo>
                  <a:pt x="338" y="994"/>
                </a:lnTo>
                <a:lnTo>
                  <a:pt x="356" y="1002"/>
                </a:lnTo>
                <a:lnTo>
                  <a:pt x="356" y="1002"/>
                </a:lnTo>
                <a:lnTo>
                  <a:pt x="356" y="1006"/>
                </a:lnTo>
                <a:lnTo>
                  <a:pt x="358" y="1010"/>
                </a:lnTo>
                <a:lnTo>
                  <a:pt x="362" y="1010"/>
                </a:lnTo>
                <a:lnTo>
                  <a:pt x="370" y="1012"/>
                </a:lnTo>
                <a:lnTo>
                  <a:pt x="370" y="1012"/>
                </a:lnTo>
                <a:lnTo>
                  <a:pt x="376" y="1012"/>
                </a:lnTo>
                <a:lnTo>
                  <a:pt x="376" y="1012"/>
                </a:lnTo>
                <a:lnTo>
                  <a:pt x="382" y="1014"/>
                </a:lnTo>
                <a:lnTo>
                  <a:pt x="382" y="1014"/>
                </a:lnTo>
                <a:lnTo>
                  <a:pt x="382" y="1018"/>
                </a:lnTo>
                <a:lnTo>
                  <a:pt x="382" y="1018"/>
                </a:lnTo>
                <a:lnTo>
                  <a:pt x="370" y="1020"/>
                </a:lnTo>
                <a:lnTo>
                  <a:pt x="370" y="1020"/>
                </a:lnTo>
                <a:lnTo>
                  <a:pt x="384" y="1022"/>
                </a:lnTo>
                <a:lnTo>
                  <a:pt x="390" y="1024"/>
                </a:lnTo>
                <a:lnTo>
                  <a:pt x="392" y="1028"/>
                </a:lnTo>
                <a:lnTo>
                  <a:pt x="392" y="1028"/>
                </a:lnTo>
                <a:lnTo>
                  <a:pt x="402" y="1026"/>
                </a:lnTo>
                <a:lnTo>
                  <a:pt x="406" y="1028"/>
                </a:lnTo>
                <a:lnTo>
                  <a:pt x="408" y="1030"/>
                </a:lnTo>
                <a:lnTo>
                  <a:pt x="408" y="1030"/>
                </a:lnTo>
                <a:lnTo>
                  <a:pt x="404" y="1034"/>
                </a:lnTo>
                <a:lnTo>
                  <a:pt x="400" y="1038"/>
                </a:lnTo>
                <a:lnTo>
                  <a:pt x="400" y="1038"/>
                </a:lnTo>
                <a:lnTo>
                  <a:pt x="412" y="1040"/>
                </a:lnTo>
                <a:lnTo>
                  <a:pt x="412" y="1040"/>
                </a:lnTo>
                <a:lnTo>
                  <a:pt x="420" y="1040"/>
                </a:lnTo>
                <a:lnTo>
                  <a:pt x="420" y="1040"/>
                </a:lnTo>
                <a:lnTo>
                  <a:pt x="424" y="1040"/>
                </a:lnTo>
                <a:lnTo>
                  <a:pt x="426" y="1036"/>
                </a:lnTo>
                <a:lnTo>
                  <a:pt x="432" y="1022"/>
                </a:lnTo>
                <a:lnTo>
                  <a:pt x="440" y="984"/>
                </a:lnTo>
                <a:lnTo>
                  <a:pt x="440" y="984"/>
                </a:lnTo>
                <a:lnTo>
                  <a:pt x="448" y="980"/>
                </a:lnTo>
                <a:lnTo>
                  <a:pt x="448" y="980"/>
                </a:lnTo>
                <a:lnTo>
                  <a:pt x="456" y="980"/>
                </a:lnTo>
                <a:lnTo>
                  <a:pt x="462" y="980"/>
                </a:lnTo>
                <a:lnTo>
                  <a:pt x="478" y="982"/>
                </a:lnTo>
                <a:lnTo>
                  <a:pt x="478" y="982"/>
                </a:lnTo>
                <a:lnTo>
                  <a:pt x="480" y="984"/>
                </a:lnTo>
                <a:lnTo>
                  <a:pt x="482" y="986"/>
                </a:lnTo>
                <a:lnTo>
                  <a:pt x="480" y="990"/>
                </a:lnTo>
                <a:lnTo>
                  <a:pt x="480" y="990"/>
                </a:lnTo>
                <a:lnTo>
                  <a:pt x="474" y="992"/>
                </a:lnTo>
                <a:lnTo>
                  <a:pt x="474" y="992"/>
                </a:lnTo>
                <a:lnTo>
                  <a:pt x="482" y="998"/>
                </a:lnTo>
                <a:lnTo>
                  <a:pt x="482" y="998"/>
                </a:lnTo>
                <a:lnTo>
                  <a:pt x="494" y="990"/>
                </a:lnTo>
                <a:lnTo>
                  <a:pt x="502" y="988"/>
                </a:lnTo>
                <a:lnTo>
                  <a:pt x="512" y="986"/>
                </a:lnTo>
                <a:lnTo>
                  <a:pt x="524" y="984"/>
                </a:lnTo>
                <a:lnTo>
                  <a:pt x="524" y="984"/>
                </a:lnTo>
                <a:lnTo>
                  <a:pt x="524" y="990"/>
                </a:lnTo>
                <a:lnTo>
                  <a:pt x="518" y="992"/>
                </a:lnTo>
                <a:lnTo>
                  <a:pt x="518" y="992"/>
                </a:lnTo>
                <a:lnTo>
                  <a:pt x="502" y="994"/>
                </a:lnTo>
                <a:lnTo>
                  <a:pt x="502" y="994"/>
                </a:lnTo>
                <a:lnTo>
                  <a:pt x="514" y="1004"/>
                </a:lnTo>
                <a:lnTo>
                  <a:pt x="514" y="1004"/>
                </a:lnTo>
                <a:lnTo>
                  <a:pt x="506" y="1010"/>
                </a:lnTo>
                <a:lnTo>
                  <a:pt x="506" y="1010"/>
                </a:lnTo>
                <a:lnTo>
                  <a:pt x="516" y="1014"/>
                </a:lnTo>
                <a:lnTo>
                  <a:pt x="516" y="1014"/>
                </a:lnTo>
                <a:lnTo>
                  <a:pt x="522" y="1014"/>
                </a:lnTo>
                <a:lnTo>
                  <a:pt x="526" y="1016"/>
                </a:lnTo>
                <a:lnTo>
                  <a:pt x="528" y="1018"/>
                </a:lnTo>
                <a:lnTo>
                  <a:pt x="528" y="1018"/>
                </a:lnTo>
                <a:lnTo>
                  <a:pt x="518" y="1022"/>
                </a:lnTo>
                <a:lnTo>
                  <a:pt x="518" y="1022"/>
                </a:lnTo>
                <a:lnTo>
                  <a:pt x="512" y="1024"/>
                </a:lnTo>
                <a:lnTo>
                  <a:pt x="508" y="1024"/>
                </a:lnTo>
                <a:lnTo>
                  <a:pt x="504" y="1024"/>
                </a:lnTo>
                <a:lnTo>
                  <a:pt x="496" y="1022"/>
                </a:lnTo>
                <a:lnTo>
                  <a:pt x="496" y="1022"/>
                </a:lnTo>
                <a:lnTo>
                  <a:pt x="484" y="1026"/>
                </a:lnTo>
                <a:lnTo>
                  <a:pt x="484" y="1026"/>
                </a:lnTo>
                <a:lnTo>
                  <a:pt x="480" y="1024"/>
                </a:lnTo>
                <a:lnTo>
                  <a:pt x="476" y="1024"/>
                </a:lnTo>
                <a:lnTo>
                  <a:pt x="470" y="1024"/>
                </a:lnTo>
                <a:lnTo>
                  <a:pt x="466" y="1026"/>
                </a:lnTo>
                <a:lnTo>
                  <a:pt x="466" y="1026"/>
                </a:lnTo>
                <a:lnTo>
                  <a:pt x="456" y="1022"/>
                </a:lnTo>
                <a:lnTo>
                  <a:pt x="452" y="1024"/>
                </a:lnTo>
                <a:lnTo>
                  <a:pt x="450" y="1026"/>
                </a:lnTo>
                <a:lnTo>
                  <a:pt x="450" y="1026"/>
                </a:lnTo>
                <a:lnTo>
                  <a:pt x="454" y="1030"/>
                </a:lnTo>
                <a:lnTo>
                  <a:pt x="454" y="1030"/>
                </a:lnTo>
                <a:lnTo>
                  <a:pt x="452" y="1034"/>
                </a:lnTo>
                <a:lnTo>
                  <a:pt x="452" y="1034"/>
                </a:lnTo>
                <a:lnTo>
                  <a:pt x="464" y="1036"/>
                </a:lnTo>
                <a:lnTo>
                  <a:pt x="470" y="1038"/>
                </a:lnTo>
                <a:lnTo>
                  <a:pt x="470" y="1038"/>
                </a:lnTo>
                <a:lnTo>
                  <a:pt x="466" y="1040"/>
                </a:lnTo>
                <a:lnTo>
                  <a:pt x="460" y="1042"/>
                </a:lnTo>
                <a:lnTo>
                  <a:pt x="454" y="1044"/>
                </a:lnTo>
                <a:lnTo>
                  <a:pt x="450" y="1048"/>
                </a:lnTo>
                <a:lnTo>
                  <a:pt x="450" y="1048"/>
                </a:lnTo>
                <a:lnTo>
                  <a:pt x="458" y="1046"/>
                </a:lnTo>
                <a:lnTo>
                  <a:pt x="464" y="1044"/>
                </a:lnTo>
                <a:lnTo>
                  <a:pt x="464" y="1044"/>
                </a:lnTo>
                <a:lnTo>
                  <a:pt x="472" y="1046"/>
                </a:lnTo>
                <a:lnTo>
                  <a:pt x="480" y="1046"/>
                </a:lnTo>
                <a:lnTo>
                  <a:pt x="492" y="1040"/>
                </a:lnTo>
                <a:lnTo>
                  <a:pt x="492" y="1040"/>
                </a:lnTo>
                <a:lnTo>
                  <a:pt x="490" y="1036"/>
                </a:lnTo>
                <a:lnTo>
                  <a:pt x="492" y="1032"/>
                </a:lnTo>
                <a:lnTo>
                  <a:pt x="492" y="1032"/>
                </a:lnTo>
                <a:lnTo>
                  <a:pt x="496" y="1034"/>
                </a:lnTo>
                <a:lnTo>
                  <a:pt x="498" y="1036"/>
                </a:lnTo>
                <a:lnTo>
                  <a:pt x="498" y="1036"/>
                </a:lnTo>
                <a:lnTo>
                  <a:pt x="504" y="1038"/>
                </a:lnTo>
                <a:lnTo>
                  <a:pt x="510" y="1038"/>
                </a:lnTo>
                <a:lnTo>
                  <a:pt x="510" y="1038"/>
                </a:lnTo>
                <a:lnTo>
                  <a:pt x="510" y="1042"/>
                </a:lnTo>
                <a:lnTo>
                  <a:pt x="510" y="1042"/>
                </a:lnTo>
                <a:lnTo>
                  <a:pt x="516" y="1040"/>
                </a:lnTo>
                <a:lnTo>
                  <a:pt x="520" y="1038"/>
                </a:lnTo>
                <a:lnTo>
                  <a:pt x="520" y="1038"/>
                </a:lnTo>
                <a:lnTo>
                  <a:pt x="522" y="1034"/>
                </a:lnTo>
                <a:lnTo>
                  <a:pt x="526" y="1032"/>
                </a:lnTo>
                <a:lnTo>
                  <a:pt x="534" y="1032"/>
                </a:lnTo>
                <a:lnTo>
                  <a:pt x="534" y="1032"/>
                </a:lnTo>
                <a:lnTo>
                  <a:pt x="544" y="1032"/>
                </a:lnTo>
                <a:lnTo>
                  <a:pt x="544" y="1032"/>
                </a:lnTo>
                <a:lnTo>
                  <a:pt x="542" y="1028"/>
                </a:lnTo>
                <a:lnTo>
                  <a:pt x="540" y="1026"/>
                </a:lnTo>
                <a:lnTo>
                  <a:pt x="530" y="1024"/>
                </a:lnTo>
                <a:lnTo>
                  <a:pt x="530" y="1024"/>
                </a:lnTo>
                <a:lnTo>
                  <a:pt x="542" y="1016"/>
                </a:lnTo>
                <a:lnTo>
                  <a:pt x="542" y="1016"/>
                </a:lnTo>
                <a:lnTo>
                  <a:pt x="554" y="1026"/>
                </a:lnTo>
                <a:lnTo>
                  <a:pt x="554" y="1026"/>
                </a:lnTo>
                <a:lnTo>
                  <a:pt x="558" y="1016"/>
                </a:lnTo>
                <a:lnTo>
                  <a:pt x="558" y="1016"/>
                </a:lnTo>
                <a:lnTo>
                  <a:pt x="568" y="1020"/>
                </a:lnTo>
                <a:lnTo>
                  <a:pt x="568" y="1020"/>
                </a:lnTo>
                <a:lnTo>
                  <a:pt x="574" y="1024"/>
                </a:lnTo>
                <a:lnTo>
                  <a:pt x="580" y="1024"/>
                </a:lnTo>
                <a:lnTo>
                  <a:pt x="586" y="1022"/>
                </a:lnTo>
                <a:lnTo>
                  <a:pt x="594" y="1020"/>
                </a:lnTo>
                <a:lnTo>
                  <a:pt x="594" y="1020"/>
                </a:lnTo>
                <a:lnTo>
                  <a:pt x="592" y="1018"/>
                </a:lnTo>
                <a:lnTo>
                  <a:pt x="592" y="1018"/>
                </a:lnTo>
                <a:lnTo>
                  <a:pt x="588" y="1014"/>
                </a:lnTo>
                <a:lnTo>
                  <a:pt x="588" y="1014"/>
                </a:lnTo>
                <a:lnTo>
                  <a:pt x="600" y="1010"/>
                </a:lnTo>
                <a:lnTo>
                  <a:pt x="612" y="1010"/>
                </a:lnTo>
                <a:lnTo>
                  <a:pt x="624" y="1012"/>
                </a:lnTo>
                <a:lnTo>
                  <a:pt x="636" y="1010"/>
                </a:lnTo>
                <a:lnTo>
                  <a:pt x="636" y="1010"/>
                </a:lnTo>
                <a:lnTo>
                  <a:pt x="638" y="1008"/>
                </a:lnTo>
                <a:lnTo>
                  <a:pt x="644" y="1006"/>
                </a:lnTo>
                <a:lnTo>
                  <a:pt x="656" y="1004"/>
                </a:lnTo>
                <a:lnTo>
                  <a:pt x="656" y="1004"/>
                </a:lnTo>
                <a:lnTo>
                  <a:pt x="682" y="1006"/>
                </a:lnTo>
                <a:lnTo>
                  <a:pt x="682" y="1006"/>
                </a:lnTo>
                <a:lnTo>
                  <a:pt x="682" y="1010"/>
                </a:lnTo>
                <a:lnTo>
                  <a:pt x="684" y="1010"/>
                </a:lnTo>
                <a:lnTo>
                  <a:pt x="686" y="1012"/>
                </a:lnTo>
                <a:lnTo>
                  <a:pt x="690" y="1014"/>
                </a:lnTo>
                <a:lnTo>
                  <a:pt x="690" y="1014"/>
                </a:lnTo>
                <a:lnTo>
                  <a:pt x="682" y="1018"/>
                </a:lnTo>
                <a:lnTo>
                  <a:pt x="682" y="1018"/>
                </a:lnTo>
                <a:lnTo>
                  <a:pt x="676" y="1020"/>
                </a:lnTo>
                <a:lnTo>
                  <a:pt x="670" y="1020"/>
                </a:lnTo>
                <a:lnTo>
                  <a:pt x="670" y="1020"/>
                </a:lnTo>
                <a:lnTo>
                  <a:pt x="666" y="1018"/>
                </a:lnTo>
                <a:lnTo>
                  <a:pt x="660" y="1018"/>
                </a:lnTo>
                <a:lnTo>
                  <a:pt x="650" y="1018"/>
                </a:lnTo>
                <a:lnTo>
                  <a:pt x="650" y="1018"/>
                </a:lnTo>
                <a:lnTo>
                  <a:pt x="636" y="1022"/>
                </a:lnTo>
                <a:lnTo>
                  <a:pt x="636" y="1022"/>
                </a:lnTo>
                <a:lnTo>
                  <a:pt x="644" y="1024"/>
                </a:lnTo>
                <a:lnTo>
                  <a:pt x="650" y="1024"/>
                </a:lnTo>
                <a:lnTo>
                  <a:pt x="662" y="1022"/>
                </a:lnTo>
                <a:lnTo>
                  <a:pt x="662" y="1022"/>
                </a:lnTo>
                <a:lnTo>
                  <a:pt x="674" y="1022"/>
                </a:lnTo>
                <a:lnTo>
                  <a:pt x="674" y="1022"/>
                </a:lnTo>
                <a:lnTo>
                  <a:pt x="682" y="1026"/>
                </a:lnTo>
                <a:lnTo>
                  <a:pt x="690" y="1028"/>
                </a:lnTo>
                <a:lnTo>
                  <a:pt x="690" y="1028"/>
                </a:lnTo>
                <a:lnTo>
                  <a:pt x="696" y="1028"/>
                </a:lnTo>
                <a:lnTo>
                  <a:pt x="698" y="1030"/>
                </a:lnTo>
                <a:lnTo>
                  <a:pt x="704" y="1030"/>
                </a:lnTo>
                <a:lnTo>
                  <a:pt x="708" y="1030"/>
                </a:lnTo>
                <a:lnTo>
                  <a:pt x="708" y="1030"/>
                </a:lnTo>
                <a:lnTo>
                  <a:pt x="700" y="1036"/>
                </a:lnTo>
                <a:lnTo>
                  <a:pt x="690" y="1038"/>
                </a:lnTo>
                <a:lnTo>
                  <a:pt x="690" y="1038"/>
                </a:lnTo>
                <a:lnTo>
                  <a:pt x="686" y="1038"/>
                </a:lnTo>
                <a:lnTo>
                  <a:pt x="682" y="1040"/>
                </a:lnTo>
                <a:lnTo>
                  <a:pt x="680" y="1042"/>
                </a:lnTo>
                <a:lnTo>
                  <a:pt x="680" y="1046"/>
                </a:lnTo>
                <a:lnTo>
                  <a:pt x="680" y="1046"/>
                </a:lnTo>
                <a:lnTo>
                  <a:pt x="694" y="1046"/>
                </a:lnTo>
                <a:lnTo>
                  <a:pt x="694" y="1046"/>
                </a:lnTo>
                <a:lnTo>
                  <a:pt x="652" y="1070"/>
                </a:lnTo>
                <a:lnTo>
                  <a:pt x="652" y="1070"/>
                </a:lnTo>
                <a:lnTo>
                  <a:pt x="658" y="1070"/>
                </a:lnTo>
                <a:lnTo>
                  <a:pt x="668" y="1074"/>
                </a:lnTo>
                <a:lnTo>
                  <a:pt x="668" y="1074"/>
                </a:lnTo>
                <a:lnTo>
                  <a:pt x="712" y="1044"/>
                </a:lnTo>
                <a:lnTo>
                  <a:pt x="712" y="1044"/>
                </a:lnTo>
                <a:lnTo>
                  <a:pt x="708" y="1044"/>
                </a:lnTo>
                <a:lnTo>
                  <a:pt x="704" y="1042"/>
                </a:lnTo>
                <a:lnTo>
                  <a:pt x="704" y="1042"/>
                </a:lnTo>
                <a:lnTo>
                  <a:pt x="702" y="1042"/>
                </a:lnTo>
                <a:lnTo>
                  <a:pt x="702" y="1042"/>
                </a:lnTo>
                <a:lnTo>
                  <a:pt x="704" y="1038"/>
                </a:lnTo>
                <a:lnTo>
                  <a:pt x="708" y="1036"/>
                </a:lnTo>
                <a:lnTo>
                  <a:pt x="708" y="1036"/>
                </a:lnTo>
                <a:lnTo>
                  <a:pt x="714" y="1036"/>
                </a:lnTo>
                <a:lnTo>
                  <a:pt x="718" y="1040"/>
                </a:lnTo>
                <a:lnTo>
                  <a:pt x="718" y="1040"/>
                </a:lnTo>
                <a:lnTo>
                  <a:pt x="722" y="1042"/>
                </a:lnTo>
                <a:lnTo>
                  <a:pt x="726" y="1044"/>
                </a:lnTo>
                <a:lnTo>
                  <a:pt x="732" y="1046"/>
                </a:lnTo>
                <a:lnTo>
                  <a:pt x="738" y="1046"/>
                </a:lnTo>
                <a:lnTo>
                  <a:pt x="738" y="1046"/>
                </a:lnTo>
                <a:lnTo>
                  <a:pt x="740" y="1048"/>
                </a:lnTo>
                <a:lnTo>
                  <a:pt x="740" y="1048"/>
                </a:lnTo>
                <a:lnTo>
                  <a:pt x="740" y="1050"/>
                </a:lnTo>
                <a:lnTo>
                  <a:pt x="740" y="1050"/>
                </a:lnTo>
                <a:lnTo>
                  <a:pt x="750" y="1042"/>
                </a:lnTo>
                <a:lnTo>
                  <a:pt x="754" y="1042"/>
                </a:lnTo>
                <a:lnTo>
                  <a:pt x="756" y="1044"/>
                </a:lnTo>
                <a:lnTo>
                  <a:pt x="756" y="1044"/>
                </a:lnTo>
                <a:lnTo>
                  <a:pt x="768" y="1042"/>
                </a:lnTo>
                <a:lnTo>
                  <a:pt x="768" y="1042"/>
                </a:lnTo>
                <a:lnTo>
                  <a:pt x="766" y="1050"/>
                </a:lnTo>
                <a:lnTo>
                  <a:pt x="766" y="1050"/>
                </a:lnTo>
                <a:lnTo>
                  <a:pt x="780" y="1048"/>
                </a:lnTo>
                <a:lnTo>
                  <a:pt x="784" y="1048"/>
                </a:lnTo>
                <a:lnTo>
                  <a:pt x="786" y="1050"/>
                </a:lnTo>
                <a:lnTo>
                  <a:pt x="786" y="1050"/>
                </a:lnTo>
                <a:lnTo>
                  <a:pt x="782" y="1054"/>
                </a:lnTo>
                <a:lnTo>
                  <a:pt x="782" y="1054"/>
                </a:lnTo>
                <a:lnTo>
                  <a:pt x="782" y="1056"/>
                </a:lnTo>
                <a:lnTo>
                  <a:pt x="782" y="1056"/>
                </a:lnTo>
                <a:lnTo>
                  <a:pt x="778" y="1058"/>
                </a:lnTo>
                <a:lnTo>
                  <a:pt x="778" y="1058"/>
                </a:lnTo>
                <a:lnTo>
                  <a:pt x="786" y="1058"/>
                </a:lnTo>
                <a:lnTo>
                  <a:pt x="786" y="1058"/>
                </a:lnTo>
                <a:lnTo>
                  <a:pt x="790" y="1060"/>
                </a:lnTo>
                <a:lnTo>
                  <a:pt x="796" y="1062"/>
                </a:lnTo>
                <a:lnTo>
                  <a:pt x="796" y="1062"/>
                </a:lnTo>
                <a:lnTo>
                  <a:pt x="810" y="1064"/>
                </a:lnTo>
                <a:lnTo>
                  <a:pt x="810" y="1064"/>
                </a:lnTo>
                <a:lnTo>
                  <a:pt x="808" y="1074"/>
                </a:lnTo>
                <a:lnTo>
                  <a:pt x="808" y="1074"/>
                </a:lnTo>
                <a:lnTo>
                  <a:pt x="814" y="1072"/>
                </a:lnTo>
                <a:lnTo>
                  <a:pt x="814" y="1072"/>
                </a:lnTo>
                <a:lnTo>
                  <a:pt x="812" y="1064"/>
                </a:lnTo>
                <a:lnTo>
                  <a:pt x="812" y="1064"/>
                </a:lnTo>
                <a:lnTo>
                  <a:pt x="816" y="1062"/>
                </a:lnTo>
                <a:lnTo>
                  <a:pt x="820" y="1060"/>
                </a:lnTo>
                <a:lnTo>
                  <a:pt x="820" y="1060"/>
                </a:lnTo>
                <a:lnTo>
                  <a:pt x="822" y="1060"/>
                </a:lnTo>
                <a:lnTo>
                  <a:pt x="822" y="1060"/>
                </a:lnTo>
                <a:lnTo>
                  <a:pt x="814" y="1080"/>
                </a:lnTo>
                <a:lnTo>
                  <a:pt x="814" y="1080"/>
                </a:lnTo>
                <a:lnTo>
                  <a:pt x="814" y="1080"/>
                </a:lnTo>
                <a:lnTo>
                  <a:pt x="814" y="1080"/>
                </a:lnTo>
                <a:lnTo>
                  <a:pt x="814" y="1080"/>
                </a:lnTo>
                <a:lnTo>
                  <a:pt x="814" y="1080"/>
                </a:lnTo>
                <a:lnTo>
                  <a:pt x="812" y="1088"/>
                </a:lnTo>
                <a:lnTo>
                  <a:pt x="812" y="1088"/>
                </a:lnTo>
                <a:lnTo>
                  <a:pt x="808" y="1086"/>
                </a:lnTo>
                <a:lnTo>
                  <a:pt x="806" y="1084"/>
                </a:lnTo>
                <a:lnTo>
                  <a:pt x="802" y="1086"/>
                </a:lnTo>
                <a:lnTo>
                  <a:pt x="802" y="1086"/>
                </a:lnTo>
                <a:lnTo>
                  <a:pt x="796" y="1084"/>
                </a:lnTo>
                <a:lnTo>
                  <a:pt x="796" y="1084"/>
                </a:lnTo>
                <a:lnTo>
                  <a:pt x="788" y="1080"/>
                </a:lnTo>
                <a:lnTo>
                  <a:pt x="786" y="1078"/>
                </a:lnTo>
                <a:lnTo>
                  <a:pt x="784" y="1074"/>
                </a:lnTo>
                <a:lnTo>
                  <a:pt x="784" y="1074"/>
                </a:lnTo>
                <a:lnTo>
                  <a:pt x="802" y="1072"/>
                </a:lnTo>
                <a:lnTo>
                  <a:pt x="802" y="1072"/>
                </a:lnTo>
                <a:lnTo>
                  <a:pt x="800" y="1068"/>
                </a:lnTo>
                <a:lnTo>
                  <a:pt x="798" y="1068"/>
                </a:lnTo>
                <a:lnTo>
                  <a:pt x="794" y="1068"/>
                </a:lnTo>
                <a:lnTo>
                  <a:pt x="794" y="1068"/>
                </a:lnTo>
                <a:lnTo>
                  <a:pt x="784" y="1070"/>
                </a:lnTo>
                <a:lnTo>
                  <a:pt x="776" y="1074"/>
                </a:lnTo>
                <a:lnTo>
                  <a:pt x="776" y="1074"/>
                </a:lnTo>
                <a:lnTo>
                  <a:pt x="770" y="1076"/>
                </a:lnTo>
                <a:lnTo>
                  <a:pt x="766" y="1078"/>
                </a:lnTo>
                <a:lnTo>
                  <a:pt x="764" y="1078"/>
                </a:lnTo>
                <a:lnTo>
                  <a:pt x="758" y="1074"/>
                </a:lnTo>
                <a:lnTo>
                  <a:pt x="758" y="1074"/>
                </a:lnTo>
                <a:lnTo>
                  <a:pt x="750" y="1072"/>
                </a:lnTo>
                <a:lnTo>
                  <a:pt x="750" y="1072"/>
                </a:lnTo>
                <a:lnTo>
                  <a:pt x="746" y="1072"/>
                </a:lnTo>
                <a:lnTo>
                  <a:pt x="746" y="1072"/>
                </a:lnTo>
                <a:lnTo>
                  <a:pt x="746" y="1072"/>
                </a:lnTo>
                <a:lnTo>
                  <a:pt x="746" y="1072"/>
                </a:lnTo>
                <a:lnTo>
                  <a:pt x="742" y="1074"/>
                </a:lnTo>
                <a:lnTo>
                  <a:pt x="740" y="1080"/>
                </a:lnTo>
                <a:lnTo>
                  <a:pt x="740" y="1080"/>
                </a:lnTo>
                <a:lnTo>
                  <a:pt x="734" y="1072"/>
                </a:lnTo>
                <a:lnTo>
                  <a:pt x="734" y="1072"/>
                </a:lnTo>
                <a:lnTo>
                  <a:pt x="728" y="1076"/>
                </a:lnTo>
                <a:lnTo>
                  <a:pt x="728" y="1076"/>
                </a:lnTo>
                <a:lnTo>
                  <a:pt x="732" y="1080"/>
                </a:lnTo>
                <a:lnTo>
                  <a:pt x="732" y="1080"/>
                </a:lnTo>
                <a:lnTo>
                  <a:pt x="712" y="1080"/>
                </a:lnTo>
                <a:lnTo>
                  <a:pt x="712" y="1080"/>
                </a:lnTo>
                <a:lnTo>
                  <a:pt x="718" y="1088"/>
                </a:lnTo>
                <a:lnTo>
                  <a:pt x="718" y="1088"/>
                </a:lnTo>
                <a:lnTo>
                  <a:pt x="708" y="1090"/>
                </a:lnTo>
                <a:lnTo>
                  <a:pt x="708" y="1090"/>
                </a:lnTo>
                <a:lnTo>
                  <a:pt x="706" y="1090"/>
                </a:lnTo>
                <a:lnTo>
                  <a:pt x="706" y="1090"/>
                </a:lnTo>
                <a:lnTo>
                  <a:pt x="708" y="1090"/>
                </a:lnTo>
                <a:lnTo>
                  <a:pt x="708" y="1090"/>
                </a:lnTo>
                <a:lnTo>
                  <a:pt x="700" y="1088"/>
                </a:lnTo>
                <a:lnTo>
                  <a:pt x="700" y="1088"/>
                </a:lnTo>
                <a:lnTo>
                  <a:pt x="702" y="1086"/>
                </a:lnTo>
                <a:lnTo>
                  <a:pt x="704" y="1084"/>
                </a:lnTo>
                <a:lnTo>
                  <a:pt x="702" y="1082"/>
                </a:lnTo>
                <a:lnTo>
                  <a:pt x="700" y="1080"/>
                </a:lnTo>
                <a:lnTo>
                  <a:pt x="700" y="1080"/>
                </a:lnTo>
                <a:lnTo>
                  <a:pt x="684" y="1082"/>
                </a:lnTo>
                <a:lnTo>
                  <a:pt x="684" y="1082"/>
                </a:lnTo>
                <a:lnTo>
                  <a:pt x="678" y="1082"/>
                </a:lnTo>
                <a:lnTo>
                  <a:pt x="672" y="1082"/>
                </a:lnTo>
                <a:lnTo>
                  <a:pt x="672" y="1082"/>
                </a:lnTo>
                <a:lnTo>
                  <a:pt x="662" y="1086"/>
                </a:lnTo>
                <a:lnTo>
                  <a:pt x="654" y="1084"/>
                </a:lnTo>
                <a:lnTo>
                  <a:pt x="654" y="1084"/>
                </a:lnTo>
                <a:lnTo>
                  <a:pt x="648" y="1090"/>
                </a:lnTo>
                <a:lnTo>
                  <a:pt x="648" y="1090"/>
                </a:lnTo>
                <a:lnTo>
                  <a:pt x="656" y="1090"/>
                </a:lnTo>
                <a:lnTo>
                  <a:pt x="662" y="1092"/>
                </a:lnTo>
                <a:lnTo>
                  <a:pt x="662" y="1092"/>
                </a:lnTo>
                <a:lnTo>
                  <a:pt x="664" y="1094"/>
                </a:lnTo>
                <a:lnTo>
                  <a:pt x="668" y="1096"/>
                </a:lnTo>
                <a:lnTo>
                  <a:pt x="676" y="1094"/>
                </a:lnTo>
                <a:lnTo>
                  <a:pt x="676" y="1094"/>
                </a:lnTo>
                <a:lnTo>
                  <a:pt x="670" y="1100"/>
                </a:lnTo>
                <a:lnTo>
                  <a:pt x="670" y="1100"/>
                </a:lnTo>
                <a:lnTo>
                  <a:pt x="666" y="1102"/>
                </a:lnTo>
                <a:lnTo>
                  <a:pt x="662" y="1100"/>
                </a:lnTo>
                <a:lnTo>
                  <a:pt x="662" y="1100"/>
                </a:lnTo>
                <a:lnTo>
                  <a:pt x="654" y="1096"/>
                </a:lnTo>
                <a:lnTo>
                  <a:pt x="648" y="1094"/>
                </a:lnTo>
                <a:lnTo>
                  <a:pt x="648" y="1094"/>
                </a:lnTo>
                <a:lnTo>
                  <a:pt x="644" y="1096"/>
                </a:lnTo>
                <a:lnTo>
                  <a:pt x="640" y="1098"/>
                </a:lnTo>
                <a:lnTo>
                  <a:pt x="640" y="1098"/>
                </a:lnTo>
                <a:lnTo>
                  <a:pt x="634" y="1100"/>
                </a:lnTo>
                <a:lnTo>
                  <a:pt x="634" y="1100"/>
                </a:lnTo>
                <a:lnTo>
                  <a:pt x="630" y="1100"/>
                </a:lnTo>
                <a:lnTo>
                  <a:pt x="626" y="1102"/>
                </a:lnTo>
                <a:lnTo>
                  <a:pt x="626" y="1102"/>
                </a:lnTo>
                <a:lnTo>
                  <a:pt x="622" y="1104"/>
                </a:lnTo>
                <a:lnTo>
                  <a:pt x="618" y="1106"/>
                </a:lnTo>
                <a:lnTo>
                  <a:pt x="608" y="1108"/>
                </a:lnTo>
                <a:lnTo>
                  <a:pt x="608" y="1108"/>
                </a:lnTo>
                <a:lnTo>
                  <a:pt x="602" y="1102"/>
                </a:lnTo>
                <a:lnTo>
                  <a:pt x="602" y="1102"/>
                </a:lnTo>
                <a:lnTo>
                  <a:pt x="598" y="1104"/>
                </a:lnTo>
                <a:lnTo>
                  <a:pt x="598" y="1104"/>
                </a:lnTo>
                <a:lnTo>
                  <a:pt x="600" y="1098"/>
                </a:lnTo>
                <a:lnTo>
                  <a:pt x="600" y="1098"/>
                </a:lnTo>
                <a:lnTo>
                  <a:pt x="590" y="1094"/>
                </a:lnTo>
                <a:lnTo>
                  <a:pt x="590" y="1094"/>
                </a:lnTo>
                <a:lnTo>
                  <a:pt x="582" y="1090"/>
                </a:lnTo>
                <a:lnTo>
                  <a:pt x="572" y="1090"/>
                </a:lnTo>
                <a:lnTo>
                  <a:pt x="572" y="1090"/>
                </a:lnTo>
                <a:lnTo>
                  <a:pt x="558" y="1094"/>
                </a:lnTo>
                <a:lnTo>
                  <a:pt x="558" y="1094"/>
                </a:lnTo>
                <a:lnTo>
                  <a:pt x="562" y="1114"/>
                </a:lnTo>
                <a:lnTo>
                  <a:pt x="568" y="1136"/>
                </a:lnTo>
                <a:lnTo>
                  <a:pt x="568" y="1136"/>
                </a:lnTo>
                <a:lnTo>
                  <a:pt x="584" y="1134"/>
                </a:lnTo>
                <a:lnTo>
                  <a:pt x="584" y="1134"/>
                </a:lnTo>
                <a:lnTo>
                  <a:pt x="588" y="1134"/>
                </a:lnTo>
                <a:lnTo>
                  <a:pt x="588" y="1134"/>
                </a:lnTo>
                <a:lnTo>
                  <a:pt x="596" y="1110"/>
                </a:lnTo>
                <a:lnTo>
                  <a:pt x="596" y="1110"/>
                </a:lnTo>
                <a:lnTo>
                  <a:pt x="598" y="1112"/>
                </a:lnTo>
                <a:lnTo>
                  <a:pt x="598" y="1112"/>
                </a:lnTo>
                <a:lnTo>
                  <a:pt x="604" y="1110"/>
                </a:lnTo>
                <a:lnTo>
                  <a:pt x="604" y="1110"/>
                </a:lnTo>
                <a:lnTo>
                  <a:pt x="622" y="1114"/>
                </a:lnTo>
                <a:lnTo>
                  <a:pt x="622" y="1118"/>
                </a:lnTo>
                <a:lnTo>
                  <a:pt x="622" y="1118"/>
                </a:lnTo>
                <a:lnTo>
                  <a:pt x="628" y="1118"/>
                </a:lnTo>
                <a:lnTo>
                  <a:pt x="628" y="1118"/>
                </a:lnTo>
                <a:lnTo>
                  <a:pt x="628" y="1112"/>
                </a:lnTo>
                <a:lnTo>
                  <a:pt x="628" y="1110"/>
                </a:lnTo>
                <a:lnTo>
                  <a:pt x="628" y="1110"/>
                </a:lnTo>
                <a:lnTo>
                  <a:pt x="632" y="1110"/>
                </a:lnTo>
                <a:lnTo>
                  <a:pt x="636" y="1110"/>
                </a:lnTo>
                <a:lnTo>
                  <a:pt x="640" y="1112"/>
                </a:lnTo>
                <a:lnTo>
                  <a:pt x="640" y="1112"/>
                </a:lnTo>
                <a:lnTo>
                  <a:pt x="638" y="1118"/>
                </a:lnTo>
                <a:lnTo>
                  <a:pt x="636" y="1122"/>
                </a:lnTo>
                <a:lnTo>
                  <a:pt x="636" y="1122"/>
                </a:lnTo>
                <a:lnTo>
                  <a:pt x="640" y="1124"/>
                </a:lnTo>
                <a:lnTo>
                  <a:pt x="644" y="1126"/>
                </a:lnTo>
                <a:lnTo>
                  <a:pt x="652" y="1128"/>
                </a:lnTo>
                <a:lnTo>
                  <a:pt x="656" y="1126"/>
                </a:lnTo>
                <a:lnTo>
                  <a:pt x="656" y="1126"/>
                </a:lnTo>
                <a:lnTo>
                  <a:pt x="664" y="1120"/>
                </a:lnTo>
                <a:lnTo>
                  <a:pt x="664" y="1120"/>
                </a:lnTo>
                <a:lnTo>
                  <a:pt x="672" y="1118"/>
                </a:lnTo>
                <a:lnTo>
                  <a:pt x="672" y="1124"/>
                </a:lnTo>
                <a:lnTo>
                  <a:pt x="672" y="1124"/>
                </a:lnTo>
                <a:lnTo>
                  <a:pt x="680" y="1124"/>
                </a:lnTo>
                <a:lnTo>
                  <a:pt x="680" y="1124"/>
                </a:lnTo>
                <a:lnTo>
                  <a:pt x="684" y="1116"/>
                </a:lnTo>
                <a:lnTo>
                  <a:pt x="684" y="1116"/>
                </a:lnTo>
                <a:lnTo>
                  <a:pt x="684" y="1106"/>
                </a:lnTo>
                <a:lnTo>
                  <a:pt x="684" y="1106"/>
                </a:lnTo>
                <a:lnTo>
                  <a:pt x="682" y="1106"/>
                </a:lnTo>
                <a:lnTo>
                  <a:pt x="682" y="1106"/>
                </a:lnTo>
                <a:lnTo>
                  <a:pt x="678" y="1110"/>
                </a:lnTo>
                <a:lnTo>
                  <a:pt x="678" y="1110"/>
                </a:lnTo>
                <a:lnTo>
                  <a:pt x="678" y="1112"/>
                </a:lnTo>
                <a:lnTo>
                  <a:pt x="678" y="1112"/>
                </a:lnTo>
                <a:lnTo>
                  <a:pt x="678" y="1110"/>
                </a:lnTo>
                <a:lnTo>
                  <a:pt x="678" y="1110"/>
                </a:lnTo>
                <a:lnTo>
                  <a:pt x="682" y="1106"/>
                </a:lnTo>
                <a:lnTo>
                  <a:pt x="682" y="1106"/>
                </a:lnTo>
                <a:lnTo>
                  <a:pt x="684" y="1106"/>
                </a:lnTo>
                <a:lnTo>
                  <a:pt x="684" y="1106"/>
                </a:lnTo>
                <a:lnTo>
                  <a:pt x="684" y="1098"/>
                </a:lnTo>
                <a:lnTo>
                  <a:pt x="684" y="1098"/>
                </a:lnTo>
                <a:lnTo>
                  <a:pt x="702" y="1100"/>
                </a:lnTo>
                <a:lnTo>
                  <a:pt x="702" y="1100"/>
                </a:lnTo>
                <a:lnTo>
                  <a:pt x="704" y="1096"/>
                </a:lnTo>
                <a:lnTo>
                  <a:pt x="708" y="1094"/>
                </a:lnTo>
                <a:lnTo>
                  <a:pt x="708" y="1094"/>
                </a:lnTo>
                <a:lnTo>
                  <a:pt x="710" y="1094"/>
                </a:lnTo>
                <a:lnTo>
                  <a:pt x="710" y="1094"/>
                </a:lnTo>
                <a:lnTo>
                  <a:pt x="712" y="1100"/>
                </a:lnTo>
                <a:lnTo>
                  <a:pt x="712" y="1100"/>
                </a:lnTo>
                <a:lnTo>
                  <a:pt x="710" y="1094"/>
                </a:lnTo>
                <a:lnTo>
                  <a:pt x="710" y="1094"/>
                </a:lnTo>
                <a:lnTo>
                  <a:pt x="726" y="1094"/>
                </a:lnTo>
                <a:lnTo>
                  <a:pt x="726" y="1094"/>
                </a:lnTo>
                <a:lnTo>
                  <a:pt x="730" y="1096"/>
                </a:lnTo>
                <a:lnTo>
                  <a:pt x="730" y="1096"/>
                </a:lnTo>
                <a:lnTo>
                  <a:pt x="730" y="1098"/>
                </a:lnTo>
                <a:lnTo>
                  <a:pt x="730" y="1102"/>
                </a:lnTo>
                <a:lnTo>
                  <a:pt x="730" y="1102"/>
                </a:lnTo>
                <a:lnTo>
                  <a:pt x="722" y="1104"/>
                </a:lnTo>
                <a:lnTo>
                  <a:pt x="722" y="1104"/>
                </a:lnTo>
                <a:lnTo>
                  <a:pt x="732" y="1108"/>
                </a:lnTo>
                <a:lnTo>
                  <a:pt x="732" y="1108"/>
                </a:lnTo>
                <a:lnTo>
                  <a:pt x="722" y="1122"/>
                </a:lnTo>
                <a:lnTo>
                  <a:pt x="722" y="1122"/>
                </a:lnTo>
                <a:lnTo>
                  <a:pt x="724" y="1124"/>
                </a:lnTo>
                <a:lnTo>
                  <a:pt x="726" y="1124"/>
                </a:lnTo>
                <a:lnTo>
                  <a:pt x="730" y="1124"/>
                </a:lnTo>
                <a:lnTo>
                  <a:pt x="736" y="1122"/>
                </a:lnTo>
                <a:lnTo>
                  <a:pt x="738" y="1124"/>
                </a:lnTo>
                <a:lnTo>
                  <a:pt x="740" y="1126"/>
                </a:lnTo>
                <a:lnTo>
                  <a:pt x="740" y="1126"/>
                </a:lnTo>
                <a:lnTo>
                  <a:pt x="734" y="1126"/>
                </a:lnTo>
                <a:lnTo>
                  <a:pt x="734" y="1126"/>
                </a:lnTo>
                <a:lnTo>
                  <a:pt x="726" y="1130"/>
                </a:lnTo>
                <a:lnTo>
                  <a:pt x="726" y="1130"/>
                </a:lnTo>
                <a:lnTo>
                  <a:pt x="718" y="1114"/>
                </a:lnTo>
                <a:lnTo>
                  <a:pt x="718" y="1114"/>
                </a:lnTo>
                <a:lnTo>
                  <a:pt x="716" y="1116"/>
                </a:lnTo>
                <a:lnTo>
                  <a:pt x="716" y="1116"/>
                </a:lnTo>
                <a:lnTo>
                  <a:pt x="702" y="1124"/>
                </a:lnTo>
                <a:lnTo>
                  <a:pt x="702" y="1124"/>
                </a:lnTo>
                <a:lnTo>
                  <a:pt x="684" y="1116"/>
                </a:lnTo>
                <a:lnTo>
                  <a:pt x="684" y="1116"/>
                </a:lnTo>
                <a:lnTo>
                  <a:pt x="684" y="1116"/>
                </a:lnTo>
                <a:lnTo>
                  <a:pt x="684" y="1116"/>
                </a:lnTo>
                <a:lnTo>
                  <a:pt x="684" y="1142"/>
                </a:lnTo>
                <a:lnTo>
                  <a:pt x="684" y="1142"/>
                </a:lnTo>
                <a:lnTo>
                  <a:pt x="692" y="1144"/>
                </a:lnTo>
                <a:lnTo>
                  <a:pt x="692" y="1144"/>
                </a:lnTo>
                <a:lnTo>
                  <a:pt x="714" y="1138"/>
                </a:lnTo>
                <a:lnTo>
                  <a:pt x="714" y="1138"/>
                </a:lnTo>
                <a:lnTo>
                  <a:pt x="720" y="1136"/>
                </a:lnTo>
                <a:lnTo>
                  <a:pt x="724" y="1138"/>
                </a:lnTo>
                <a:lnTo>
                  <a:pt x="724" y="1138"/>
                </a:lnTo>
                <a:lnTo>
                  <a:pt x="724" y="1140"/>
                </a:lnTo>
                <a:lnTo>
                  <a:pt x="728" y="1142"/>
                </a:lnTo>
                <a:lnTo>
                  <a:pt x="734" y="1144"/>
                </a:lnTo>
                <a:lnTo>
                  <a:pt x="734" y="1144"/>
                </a:lnTo>
                <a:lnTo>
                  <a:pt x="734" y="1142"/>
                </a:lnTo>
                <a:lnTo>
                  <a:pt x="734" y="1142"/>
                </a:lnTo>
                <a:lnTo>
                  <a:pt x="744" y="1144"/>
                </a:lnTo>
                <a:lnTo>
                  <a:pt x="744" y="1144"/>
                </a:lnTo>
                <a:lnTo>
                  <a:pt x="762" y="1142"/>
                </a:lnTo>
                <a:lnTo>
                  <a:pt x="772" y="1138"/>
                </a:lnTo>
                <a:lnTo>
                  <a:pt x="772" y="1138"/>
                </a:lnTo>
                <a:lnTo>
                  <a:pt x="772" y="1146"/>
                </a:lnTo>
                <a:lnTo>
                  <a:pt x="772" y="1146"/>
                </a:lnTo>
                <a:lnTo>
                  <a:pt x="766" y="1150"/>
                </a:lnTo>
                <a:lnTo>
                  <a:pt x="766" y="1150"/>
                </a:lnTo>
                <a:lnTo>
                  <a:pt x="770" y="1150"/>
                </a:lnTo>
                <a:lnTo>
                  <a:pt x="770" y="1150"/>
                </a:lnTo>
                <a:lnTo>
                  <a:pt x="768" y="1154"/>
                </a:lnTo>
                <a:lnTo>
                  <a:pt x="768" y="1154"/>
                </a:lnTo>
                <a:lnTo>
                  <a:pt x="772" y="1160"/>
                </a:lnTo>
                <a:lnTo>
                  <a:pt x="772" y="1160"/>
                </a:lnTo>
                <a:lnTo>
                  <a:pt x="776" y="1160"/>
                </a:lnTo>
                <a:lnTo>
                  <a:pt x="776" y="1160"/>
                </a:lnTo>
                <a:lnTo>
                  <a:pt x="782" y="1156"/>
                </a:lnTo>
                <a:lnTo>
                  <a:pt x="782" y="1156"/>
                </a:lnTo>
                <a:lnTo>
                  <a:pt x="792" y="1152"/>
                </a:lnTo>
                <a:lnTo>
                  <a:pt x="792" y="1152"/>
                </a:lnTo>
                <a:lnTo>
                  <a:pt x="778" y="1148"/>
                </a:lnTo>
                <a:lnTo>
                  <a:pt x="778" y="1148"/>
                </a:lnTo>
                <a:lnTo>
                  <a:pt x="776" y="1146"/>
                </a:lnTo>
                <a:lnTo>
                  <a:pt x="776" y="1144"/>
                </a:lnTo>
                <a:lnTo>
                  <a:pt x="776" y="1144"/>
                </a:lnTo>
                <a:lnTo>
                  <a:pt x="782" y="1142"/>
                </a:lnTo>
                <a:lnTo>
                  <a:pt x="782" y="1142"/>
                </a:lnTo>
                <a:lnTo>
                  <a:pt x="784" y="1144"/>
                </a:lnTo>
                <a:lnTo>
                  <a:pt x="784" y="1144"/>
                </a:lnTo>
                <a:lnTo>
                  <a:pt x="786" y="1148"/>
                </a:lnTo>
                <a:lnTo>
                  <a:pt x="786" y="1148"/>
                </a:lnTo>
                <a:lnTo>
                  <a:pt x="794" y="1140"/>
                </a:lnTo>
                <a:lnTo>
                  <a:pt x="794" y="1140"/>
                </a:lnTo>
                <a:lnTo>
                  <a:pt x="802" y="1142"/>
                </a:lnTo>
                <a:lnTo>
                  <a:pt x="802" y="1142"/>
                </a:lnTo>
                <a:lnTo>
                  <a:pt x="804" y="1128"/>
                </a:lnTo>
                <a:lnTo>
                  <a:pt x="804" y="1128"/>
                </a:lnTo>
                <a:lnTo>
                  <a:pt x="804" y="1128"/>
                </a:lnTo>
                <a:lnTo>
                  <a:pt x="804" y="1128"/>
                </a:lnTo>
                <a:lnTo>
                  <a:pt x="804" y="1128"/>
                </a:lnTo>
                <a:lnTo>
                  <a:pt x="804" y="1128"/>
                </a:lnTo>
                <a:lnTo>
                  <a:pt x="804" y="1128"/>
                </a:lnTo>
                <a:lnTo>
                  <a:pt x="804" y="1128"/>
                </a:lnTo>
                <a:lnTo>
                  <a:pt x="804" y="1128"/>
                </a:lnTo>
                <a:lnTo>
                  <a:pt x="804" y="1128"/>
                </a:lnTo>
                <a:lnTo>
                  <a:pt x="808" y="1124"/>
                </a:lnTo>
                <a:lnTo>
                  <a:pt x="808" y="1124"/>
                </a:lnTo>
                <a:lnTo>
                  <a:pt x="814" y="1126"/>
                </a:lnTo>
                <a:lnTo>
                  <a:pt x="820" y="1126"/>
                </a:lnTo>
                <a:lnTo>
                  <a:pt x="820" y="1126"/>
                </a:lnTo>
                <a:lnTo>
                  <a:pt x="820" y="1128"/>
                </a:lnTo>
                <a:lnTo>
                  <a:pt x="820" y="1128"/>
                </a:lnTo>
                <a:lnTo>
                  <a:pt x="820" y="1126"/>
                </a:lnTo>
                <a:lnTo>
                  <a:pt x="820" y="1126"/>
                </a:lnTo>
                <a:lnTo>
                  <a:pt x="820" y="1126"/>
                </a:lnTo>
                <a:lnTo>
                  <a:pt x="820" y="1126"/>
                </a:lnTo>
                <a:lnTo>
                  <a:pt x="822" y="1128"/>
                </a:lnTo>
                <a:lnTo>
                  <a:pt x="822" y="1128"/>
                </a:lnTo>
                <a:lnTo>
                  <a:pt x="818" y="1134"/>
                </a:lnTo>
                <a:lnTo>
                  <a:pt x="818" y="1134"/>
                </a:lnTo>
                <a:lnTo>
                  <a:pt x="816" y="1134"/>
                </a:lnTo>
                <a:lnTo>
                  <a:pt x="816" y="1134"/>
                </a:lnTo>
                <a:lnTo>
                  <a:pt x="814" y="1138"/>
                </a:lnTo>
                <a:lnTo>
                  <a:pt x="814" y="1138"/>
                </a:lnTo>
                <a:lnTo>
                  <a:pt x="816" y="1138"/>
                </a:lnTo>
                <a:lnTo>
                  <a:pt x="816" y="1138"/>
                </a:lnTo>
                <a:lnTo>
                  <a:pt x="816" y="1140"/>
                </a:lnTo>
                <a:lnTo>
                  <a:pt x="816" y="1140"/>
                </a:lnTo>
                <a:lnTo>
                  <a:pt x="816" y="1140"/>
                </a:lnTo>
                <a:lnTo>
                  <a:pt x="816" y="1140"/>
                </a:lnTo>
                <a:lnTo>
                  <a:pt x="818" y="1138"/>
                </a:lnTo>
                <a:lnTo>
                  <a:pt x="818" y="1138"/>
                </a:lnTo>
                <a:lnTo>
                  <a:pt x="818" y="1138"/>
                </a:lnTo>
                <a:lnTo>
                  <a:pt x="818" y="1138"/>
                </a:lnTo>
                <a:lnTo>
                  <a:pt x="818" y="1140"/>
                </a:lnTo>
                <a:lnTo>
                  <a:pt x="818" y="1140"/>
                </a:lnTo>
                <a:lnTo>
                  <a:pt x="818" y="1138"/>
                </a:lnTo>
                <a:lnTo>
                  <a:pt x="818" y="1138"/>
                </a:lnTo>
                <a:lnTo>
                  <a:pt x="818" y="1138"/>
                </a:lnTo>
                <a:lnTo>
                  <a:pt x="818" y="1138"/>
                </a:lnTo>
                <a:lnTo>
                  <a:pt x="816" y="1142"/>
                </a:lnTo>
                <a:lnTo>
                  <a:pt x="816" y="1142"/>
                </a:lnTo>
                <a:lnTo>
                  <a:pt x="816" y="1146"/>
                </a:lnTo>
                <a:lnTo>
                  <a:pt x="816" y="1146"/>
                </a:lnTo>
                <a:lnTo>
                  <a:pt x="822" y="1146"/>
                </a:lnTo>
                <a:lnTo>
                  <a:pt x="826" y="1142"/>
                </a:lnTo>
                <a:lnTo>
                  <a:pt x="836" y="1130"/>
                </a:lnTo>
                <a:lnTo>
                  <a:pt x="846" y="1116"/>
                </a:lnTo>
                <a:lnTo>
                  <a:pt x="850" y="1110"/>
                </a:lnTo>
                <a:lnTo>
                  <a:pt x="854" y="1106"/>
                </a:lnTo>
                <a:lnTo>
                  <a:pt x="854" y="1106"/>
                </a:lnTo>
                <a:lnTo>
                  <a:pt x="844" y="1104"/>
                </a:lnTo>
                <a:lnTo>
                  <a:pt x="844" y="1104"/>
                </a:lnTo>
                <a:lnTo>
                  <a:pt x="846" y="1094"/>
                </a:lnTo>
                <a:lnTo>
                  <a:pt x="846" y="1094"/>
                </a:lnTo>
                <a:lnTo>
                  <a:pt x="852" y="1096"/>
                </a:lnTo>
                <a:lnTo>
                  <a:pt x="852" y="1096"/>
                </a:lnTo>
                <a:lnTo>
                  <a:pt x="852" y="1094"/>
                </a:lnTo>
                <a:lnTo>
                  <a:pt x="852" y="1094"/>
                </a:lnTo>
                <a:lnTo>
                  <a:pt x="864" y="1100"/>
                </a:lnTo>
                <a:lnTo>
                  <a:pt x="864" y="1100"/>
                </a:lnTo>
                <a:lnTo>
                  <a:pt x="864" y="1108"/>
                </a:lnTo>
                <a:lnTo>
                  <a:pt x="864" y="1108"/>
                </a:lnTo>
                <a:lnTo>
                  <a:pt x="860" y="1106"/>
                </a:lnTo>
                <a:lnTo>
                  <a:pt x="860" y="1106"/>
                </a:lnTo>
                <a:lnTo>
                  <a:pt x="864" y="1110"/>
                </a:lnTo>
                <a:lnTo>
                  <a:pt x="864" y="1110"/>
                </a:lnTo>
                <a:lnTo>
                  <a:pt x="872" y="1110"/>
                </a:lnTo>
                <a:lnTo>
                  <a:pt x="882" y="1112"/>
                </a:lnTo>
                <a:lnTo>
                  <a:pt x="890" y="1112"/>
                </a:lnTo>
                <a:lnTo>
                  <a:pt x="900" y="1112"/>
                </a:lnTo>
                <a:lnTo>
                  <a:pt x="900" y="1112"/>
                </a:lnTo>
                <a:lnTo>
                  <a:pt x="896" y="1106"/>
                </a:lnTo>
                <a:lnTo>
                  <a:pt x="896" y="1106"/>
                </a:lnTo>
                <a:lnTo>
                  <a:pt x="890" y="1106"/>
                </a:lnTo>
                <a:lnTo>
                  <a:pt x="886" y="1106"/>
                </a:lnTo>
                <a:lnTo>
                  <a:pt x="886" y="1106"/>
                </a:lnTo>
                <a:lnTo>
                  <a:pt x="898" y="1106"/>
                </a:lnTo>
                <a:lnTo>
                  <a:pt x="898" y="1106"/>
                </a:lnTo>
                <a:lnTo>
                  <a:pt x="912" y="1110"/>
                </a:lnTo>
                <a:lnTo>
                  <a:pt x="912" y="1110"/>
                </a:lnTo>
                <a:lnTo>
                  <a:pt x="912" y="1110"/>
                </a:lnTo>
                <a:lnTo>
                  <a:pt x="912" y="1110"/>
                </a:lnTo>
                <a:lnTo>
                  <a:pt x="912" y="1110"/>
                </a:lnTo>
                <a:lnTo>
                  <a:pt x="912" y="1110"/>
                </a:lnTo>
                <a:lnTo>
                  <a:pt x="912" y="1110"/>
                </a:lnTo>
                <a:lnTo>
                  <a:pt x="920" y="1108"/>
                </a:lnTo>
                <a:lnTo>
                  <a:pt x="920" y="1108"/>
                </a:lnTo>
                <a:lnTo>
                  <a:pt x="922" y="1110"/>
                </a:lnTo>
                <a:lnTo>
                  <a:pt x="924" y="1110"/>
                </a:lnTo>
                <a:lnTo>
                  <a:pt x="924" y="1110"/>
                </a:lnTo>
                <a:lnTo>
                  <a:pt x="932" y="1110"/>
                </a:lnTo>
                <a:lnTo>
                  <a:pt x="934" y="1108"/>
                </a:lnTo>
                <a:lnTo>
                  <a:pt x="936" y="1106"/>
                </a:lnTo>
                <a:lnTo>
                  <a:pt x="936" y="1106"/>
                </a:lnTo>
                <a:lnTo>
                  <a:pt x="938" y="1104"/>
                </a:lnTo>
                <a:lnTo>
                  <a:pt x="940" y="1104"/>
                </a:lnTo>
                <a:lnTo>
                  <a:pt x="940" y="1104"/>
                </a:lnTo>
                <a:lnTo>
                  <a:pt x="948" y="1104"/>
                </a:lnTo>
                <a:lnTo>
                  <a:pt x="956" y="1102"/>
                </a:lnTo>
                <a:lnTo>
                  <a:pt x="964" y="1100"/>
                </a:lnTo>
                <a:lnTo>
                  <a:pt x="974" y="1100"/>
                </a:lnTo>
                <a:lnTo>
                  <a:pt x="974" y="1100"/>
                </a:lnTo>
                <a:lnTo>
                  <a:pt x="980" y="1098"/>
                </a:lnTo>
                <a:lnTo>
                  <a:pt x="990" y="1094"/>
                </a:lnTo>
                <a:lnTo>
                  <a:pt x="990" y="1094"/>
                </a:lnTo>
                <a:lnTo>
                  <a:pt x="990" y="1092"/>
                </a:lnTo>
                <a:lnTo>
                  <a:pt x="990" y="1092"/>
                </a:lnTo>
                <a:lnTo>
                  <a:pt x="986" y="1092"/>
                </a:lnTo>
                <a:lnTo>
                  <a:pt x="984" y="1092"/>
                </a:lnTo>
                <a:lnTo>
                  <a:pt x="978" y="1092"/>
                </a:lnTo>
                <a:lnTo>
                  <a:pt x="978" y="1092"/>
                </a:lnTo>
                <a:lnTo>
                  <a:pt x="972" y="1092"/>
                </a:lnTo>
                <a:lnTo>
                  <a:pt x="970" y="1090"/>
                </a:lnTo>
                <a:lnTo>
                  <a:pt x="970" y="1088"/>
                </a:lnTo>
                <a:lnTo>
                  <a:pt x="970" y="1088"/>
                </a:lnTo>
                <a:lnTo>
                  <a:pt x="970" y="1088"/>
                </a:lnTo>
                <a:lnTo>
                  <a:pt x="972" y="1088"/>
                </a:lnTo>
                <a:lnTo>
                  <a:pt x="972" y="1088"/>
                </a:lnTo>
                <a:lnTo>
                  <a:pt x="976" y="1084"/>
                </a:lnTo>
                <a:lnTo>
                  <a:pt x="982" y="1082"/>
                </a:lnTo>
                <a:lnTo>
                  <a:pt x="994" y="1078"/>
                </a:lnTo>
                <a:lnTo>
                  <a:pt x="994" y="1078"/>
                </a:lnTo>
                <a:lnTo>
                  <a:pt x="988" y="1074"/>
                </a:lnTo>
                <a:lnTo>
                  <a:pt x="988" y="1074"/>
                </a:lnTo>
                <a:lnTo>
                  <a:pt x="992" y="1074"/>
                </a:lnTo>
                <a:lnTo>
                  <a:pt x="992" y="1074"/>
                </a:lnTo>
                <a:lnTo>
                  <a:pt x="1000" y="1076"/>
                </a:lnTo>
                <a:lnTo>
                  <a:pt x="1006" y="1076"/>
                </a:lnTo>
                <a:lnTo>
                  <a:pt x="1012" y="1074"/>
                </a:lnTo>
                <a:lnTo>
                  <a:pt x="1012" y="1074"/>
                </a:lnTo>
                <a:lnTo>
                  <a:pt x="1008" y="1082"/>
                </a:lnTo>
                <a:lnTo>
                  <a:pt x="1008" y="1082"/>
                </a:lnTo>
                <a:lnTo>
                  <a:pt x="1022" y="1082"/>
                </a:lnTo>
                <a:lnTo>
                  <a:pt x="1022" y="1082"/>
                </a:lnTo>
                <a:lnTo>
                  <a:pt x="1020" y="1094"/>
                </a:lnTo>
                <a:lnTo>
                  <a:pt x="1016" y="1114"/>
                </a:lnTo>
                <a:lnTo>
                  <a:pt x="1012" y="1132"/>
                </a:lnTo>
                <a:lnTo>
                  <a:pt x="1010" y="1144"/>
                </a:lnTo>
                <a:lnTo>
                  <a:pt x="1010" y="1144"/>
                </a:lnTo>
                <a:lnTo>
                  <a:pt x="1018" y="1142"/>
                </a:lnTo>
                <a:lnTo>
                  <a:pt x="1024" y="1144"/>
                </a:lnTo>
                <a:lnTo>
                  <a:pt x="1024" y="1144"/>
                </a:lnTo>
                <a:lnTo>
                  <a:pt x="1026" y="1144"/>
                </a:lnTo>
                <a:lnTo>
                  <a:pt x="1026" y="1140"/>
                </a:lnTo>
                <a:lnTo>
                  <a:pt x="1028" y="1126"/>
                </a:lnTo>
                <a:lnTo>
                  <a:pt x="1034" y="1090"/>
                </a:lnTo>
                <a:lnTo>
                  <a:pt x="1034" y="1090"/>
                </a:lnTo>
                <a:lnTo>
                  <a:pt x="1034" y="1092"/>
                </a:lnTo>
                <a:lnTo>
                  <a:pt x="1034" y="1092"/>
                </a:lnTo>
                <a:lnTo>
                  <a:pt x="1034" y="1102"/>
                </a:lnTo>
                <a:lnTo>
                  <a:pt x="1034" y="1102"/>
                </a:lnTo>
                <a:lnTo>
                  <a:pt x="1038" y="1102"/>
                </a:lnTo>
                <a:lnTo>
                  <a:pt x="1038" y="1102"/>
                </a:lnTo>
                <a:lnTo>
                  <a:pt x="1044" y="1116"/>
                </a:lnTo>
                <a:lnTo>
                  <a:pt x="1044" y="1116"/>
                </a:lnTo>
                <a:lnTo>
                  <a:pt x="1040" y="1116"/>
                </a:lnTo>
                <a:lnTo>
                  <a:pt x="1040" y="1116"/>
                </a:lnTo>
                <a:lnTo>
                  <a:pt x="1040" y="1118"/>
                </a:lnTo>
                <a:lnTo>
                  <a:pt x="1040" y="1118"/>
                </a:lnTo>
                <a:lnTo>
                  <a:pt x="1044" y="1118"/>
                </a:lnTo>
                <a:lnTo>
                  <a:pt x="1044" y="1118"/>
                </a:lnTo>
                <a:lnTo>
                  <a:pt x="1046" y="1120"/>
                </a:lnTo>
                <a:lnTo>
                  <a:pt x="1046" y="1120"/>
                </a:lnTo>
                <a:lnTo>
                  <a:pt x="1048" y="1132"/>
                </a:lnTo>
                <a:lnTo>
                  <a:pt x="1050" y="1136"/>
                </a:lnTo>
                <a:lnTo>
                  <a:pt x="1050" y="1136"/>
                </a:lnTo>
                <a:lnTo>
                  <a:pt x="1058" y="1138"/>
                </a:lnTo>
                <a:lnTo>
                  <a:pt x="1062" y="1138"/>
                </a:lnTo>
                <a:lnTo>
                  <a:pt x="1066" y="1136"/>
                </a:lnTo>
                <a:lnTo>
                  <a:pt x="1066" y="1136"/>
                </a:lnTo>
                <a:lnTo>
                  <a:pt x="1060" y="1114"/>
                </a:lnTo>
                <a:lnTo>
                  <a:pt x="1060" y="1114"/>
                </a:lnTo>
                <a:lnTo>
                  <a:pt x="1064" y="1114"/>
                </a:lnTo>
                <a:lnTo>
                  <a:pt x="1068" y="1114"/>
                </a:lnTo>
                <a:lnTo>
                  <a:pt x="1068" y="1114"/>
                </a:lnTo>
                <a:lnTo>
                  <a:pt x="1066" y="1116"/>
                </a:lnTo>
                <a:lnTo>
                  <a:pt x="1064" y="1118"/>
                </a:lnTo>
                <a:lnTo>
                  <a:pt x="1062" y="1118"/>
                </a:lnTo>
                <a:lnTo>
                  <a:pt x="1062" y="1122"/>
                </a:lnTo>
                <a:lnTo>
                  <a:pt x="1062" y="1122"/>
                </a:lnTo>
                <a:lnTo>
                  <a:pt x="1076" y="1120"/>
                </a:lnTo>
                <a:lnTo>
                  <a:pt x="1090" y="1122"/>
                </a:lnTo>
                <a:lnTo>
                  <a:pt x="1090" y="1122"/>
                </a:lnTo>
                <a:lnTo>
                  <a:pt x="1084" y="1126"/>
                </a:lnTo>
                <a:lnTo>
                  <a:pt x="1084" y="1126"/>
                </a:lnTo>
                <a:lnTo>
                  <a:pt x="1100" y="1130"/>
                </a:lnTo>
                <a:lnTo>
                  <a:pt x="1100" y="1130"/>
                </a:lnTo>
                <a:lnTo>
                  <a:pt x="1094" y="1134"/>
                </a:lnTo>
                <a:lnTo>
                  <a:pt x="1094" y="1134"/>
                </a:lnTo>
                <a:lnTo>
                  <a:pt x="1106" y="1138"/>
                </a:lnTo>
                <a:lnTo>
                  <a:pt x="1116" y="1140"/>
                </a:lnTo>
                <a:lnTo>
                  <a:pt x="1116" y="1140"/>
                </a:lnTo>
                <a:lnTo>
                  <a:pt x="1122" y="1138"/>
                </a:lnTo>
                <a:lnTo>
                  <a:pt x="1122" y="1138"/>
                </a:lnTo>
                <a:lnTo>
                  <a:pt x="1120" y="1138"/>
                </a:lnTo>
                <a:lnTo>
                  <a:pt x="1120" y="1138"/>
                </a:lnTo>
                <a:lnTo>
                  <a:pt x="1130" y="1138"/>
                </a:lnTo>
                <a:lnTo>
                  <a:pt x="1130" y="1138"/>
                </a:lnTo>
                <a:lnTo>
                  <a:pt x="1136" y="1140"/>
                </a:lnTo>
                <a:lnTo>
                  <a:pt x="1140" y="1140"/>
                </a:lnTo>
                <a:lnTo>
                  <a:pt x="1144" y="1140"/>
                </a:lnTo>
                <a:lnTo>
                  <a:pt x="1144" y="1140"/>
                </a:lnTo>
                <a:lnTo>
                  <a:pt x="1134" y="1134"/>
                </a:lnTo>
                <a:lnTo>
                  <a:pt x="1134" y="1134"/>
                </a:lnTo>
                <a:lnTo>
                  <a:pt x="1138" y="1130"/>
                </a:lnTo>
                <a:lnTo>
                  <a:pt x="1138" y="1130"/>
                </a:lnTo>
                <a:lnTo>
                  <a:pt x="1138" y="1126"/>
                </a:lnTo>
                <a:lnTo>
                  <a:pt x="1134" y="1122"/>
                </a:lnTo>
                <a:lnTo>
                  <a:pt x="1134" y="1122"/>
                </a:lnTo>
                <a:lnTo>
                  <a:pt x="1134" y="1122"/>
                </a:lnTo>
                <a:lnTo>
                  <a:pt x="1134" y="1122"/>
                </a:lnTo>
                <a:lnTo>
                  <a:pt x="1130" y="1122"/>
                </a:lnTo>
                <a:lnTo>
                  <a:pt x="1130" y="1122"/>
                </a:lnTo>
                <a:lnTo>
                  <a:pt x="1128" y="1122"/>
                </a:lnTo>
                <a:lnTo>
                  <a:pt x="1128" y="1122"/>
                </a:lnTo>
                <a:lnTo>
                  <a:pt x="1122" y="1120"/>
                </a:lnTo>
                <a:lnTo>
                  <a:pt x="1122" y="1120"/>
                </a:lnTo>
                <a:lnTo>
                  <a:pt x="1122" y="1118"/>
                </a:lnTo>
                <a:lnTo>
                  <a:pt x="1122" y="1118"/>
                </a:lnTo>
                <a:lnTo>
                  <a:pt x="1120" y="1116"/>
                </a:lnTo>
                <a:lnTo>
                  <a:pt x="1120" y="1116"/>
                </a:lnTo>
                <a:lnTo>
                  <a:pt x="1118" y="1118"/>
                </a:lnTo>
                <a:lnTo>
                  <a:pt x="1118" y="1118"/>
                </a:lnTo>
                <a:lnTo>
                  <a:pt x="1088" y="1106"/>
                </a:lnTo>
                <a:lnTo>
                  <a:pt x="1088" y="1106"/>
                </a:lnTo>
                <a:lnTo>
                  <a:pt x="1080" y="1104"/>
                </a:lnTo>
                <a:lnTo>
                  <a:pt x="1080" y="1104"/>
                </a:lnTo>
                <a:lnTo>
                  <a:pt x="1064" y="1104"/>
                </a:lnTo>
                <a:lnTo>
                  <a:pt x="1064" y="1104"/>
                </a:lnTo>
                <a:lnTo>
                  <a:pt x="1058" y="1106"/>
                </a:lnTo>
                <a:lnTo>
                  <a:pt x="1058" y="1106"/>
                </a:lnTo>
                <a:lnTo>
                  <a:pt x="1054" y="1094"/>
                </a:lnTo>
                <a:lnTo>
                  <a:pt x="1054" y="1094"/>
                </a:lnTo>
                <a:lnTo>
                  <a:pt x="1058" y="1092"/>
                </a:lnTo>
                <a:lnTo>
                  <a:pt x="1060" y="1090"/>
                </a:lnTo>
                <a:lnTo>
                  <a:pt x="1062" y="1088"/>
                </a:lnTo>
                <a:lnTo>
                  <a:pt x="1062" y="1088"/>
                </a:lnTo>
                <a:lnTo>
                  <a:pt x="1052" y="1088"/>
                </a:lnTo>
                <a:lnTo>
                  <a:pt x="1052" y="1088"/>
                </a:lnTo>
                <a:lnTo>
                  <a:pt x="1050" y="1086"/>
                </a:lnTo>
                <a:lnTo>
                  <a:pt x="1050" y="1086"/>
                </a:lnTo>
                <a:lnTo>
                  <a:pt x="1050" y="1086"/>
                </a:lnTo>
                <a:lnTo>
                  <a:pt x="1050" y="1086"/>
                </a:lnTo>
                <a:lnTo>
                  <a:pt x="1046" y="1082"/>
                </a:lnTo>
                <a:lnTo>
                  <a:pt x="1046" y="1082"/>
                </a:lnTo>
                <a:lnTo>
                  <a:pt x="1046" y="1082"/>
                </a:lnTo>
                <a:lnTo>
                  <a:pt x="1046" y="1082"/>
                </a:lnTo>
                <a:lnTo>
                  <a:pt x="1054" y="1078"/>
                </a:lnTo>
                <a:lnTo>
                  <a:pt x="1054" y="1078"/>
                </a:lnTo>
                <a:lnTo>
                  <a:pt x="1062" y="1080"/>
                </a:lnTo>
                <a:lnTo>
                  <a:pt x="1066" y="1082"/>
                </a:lnTo>
                <a:lnTo>
                  <a:pt x="1066" y="1082"/>
                </a:lnTo>
                <a:lnTo>
                  <a:pt x="1072" y="1088"/>
                </a:lnTo>
                <a:lnTo>
                  <a:pt x="1080" y="1090"/>
                </a:lnTo>
                <a:lnTo>
                  <a:pt x="1080" y="1090"/>
                </a:lnTo>
                <a:lnTo>
                  <a:pt x="1094" y="1092"/>
                </a:lnTo>
                <a:lnTo>
                  <a:pt x="1108" y="1092"/>
                </a:lnTo>
                <a:lnTo>
                  <a:pt x="1108" y="1092"/>
                </a:lnTo>
                <a:lnTo>
                  <a:pt x="1118" y="1090"/>
                </a:lnTo>
                <a:lnTo>
                  <a:pt x="1118" y="1090"/>
                </a:lnTo>
                <a:lnTo>
                  <a:pt x="1108" y="1086"/>
                </a:lnTo>
                <a:lnTo>
                  <a:pt x="1108" y="1086"/>
                </a:lnTo>
                <a:lnTo>
                  <a:pt x="1084" y="1086"/>
                </a:lnTo>
                <a:lnTo>
                  <a:pt x="1084" y="1086"/>
                </a:lnTo>
                <a:lnTo>
                  <a:pt x="1074" y="1086"/>
                </a:lnTo>
                <a:lnTo>
                  <a:pt x="1074" y="1086"/>
                </a:lnTo>
                <a:lnTo>
                  <a:pt x="1082" y="1080"/>
                </a:lnTo>
                <a:lnTo>
                  <a:pt x="1082" y="1080"/>
                </a:lnTo>
                <a:lnTo>
                  <a:pt x="1070" y="1080"/>
                </a:lnTo>
                <a:lnTo>
                  <a:pt x="1070" y="1080"/>
                </a:lnTo>
                <a:lnTo>
                  <a:pt x="1068" y="1080"/>
                </a:lnTo>
                <a:lnTo>
                  <a:pt x="1068" y="1080"/>
                </a:lnTo>
                <a:lnTo>
                  <a:pt x="1062" y="1074"/>
                </a:lnTo>
                <a:lnTo>
                  <a:pt x="1058" y="1072"/>
                </a:lnTo>
                <a:lnTo>
                  <a:pt x="1052" y="1072"/>
                </a:lnTo>
                <a:lnTo>
                  <a:pt x="1046" y="1076"/>
                </a:lnTo>
                <a:lnTo>
                  <a:pt x="1046" y="1076"/>
                </a:lnTo>
                <a:lnTo>
                  <a:pt x="1044" y="1064"/>
                </a:lnTo>
                <a:lnTo>
                  <a:pt x="1044" y="1064"/>
                </a:lnTo>
                <a:lnTo>
                  <a:pt x="1048" y="1064"/>
                </a:lnTo>
                <a:lnTo>
                  <a:pt x="1048" y="1064"/>
                </a:lnTo>
                <a:lnTo>
                  <a:pt x="1058" y="1068"/>
                </a:lnTo>
                <a:lnTo>
                  <a:pt x="1068" y="1068"/>
                </a:lnTo>
                <a:lnTo>
                  <a:pt x="1068" y="1068"/>
                </a:lnTo>
                <a:lnTo>
                  <a:pt x="1072" y="1074"/>
                </a:lnTo>
                <a:lnTo>
                  <a:pt x="1080" y="1076"/>
                </a:lnTo>
                <a:lnTo>
                  <a:pt x="1080" y="1076"/>
                </a:lnTo>
                <a:lnTo>
                  <a:pt x="1076" y="1070"/>
                </a:lnTo>
                <a:lnTo>
                  <a:pt x="1076" y="1070"/>
                </a:lnTo>
                <a:lnTo>
                  <a:pt x="1086" y="1064"/>
                </a:lnTo>
                <a:lnTo>
                  <a:pt x="1088" y="1062"/>
                </a:lnTo>
                <a:lnTo>
                  <a:pt x="1086" y="1056"/>
                </a:lnTo>
                <a:lnTo>
                  <a:pt x="1086" y="1056"/>
                </a:lnTo>
                <a:lnTo>
                  <a:pt x="1080" y="1056"/>
                </a:lnTo>
                <a:lnTo>
                  <a:pt x="1080" y="1056"/>
                </a:lnTo>
                <a:lnTo>
                  <a:pt x="1072" y="1054"/>
                </a:lnTo>
                <a:lnTo>
                  <a:pt x="1064" y="1054"/>
                </a:lnTo>
                <a:lnTo>
                  <a:pt x="1058" y="1056"/>
                </a:lnTo>
                <a:lnTo>
                  <a:pt x="1052" y="1058"/>
                </a:lnTo>
                <a:lnTo>
                  <a:pt x="1052" y="1058"/>
                </a:lnTo>
                <a:lnTo>
                  <a:pt x="1048" y="1060"/>
                </a:lnTo>
                <a:lnTo>
                  <a:pt x="1044" y="1060"/>
                </a:lnTo>
                <a:lnTo>
                  <a:pt x="1044" y="1060"/>
                </a:lnTo>
                <a:lnTo>
                  <a:pt x="1042" y="1056"/>
                </a:lnTo>
                <a:lnTo>
                  <a:pt x="1042" y="1056"/>
                </a:lnTo>
                <a:lnTo>
                  <a:pt x="1044" y="1054"/>
                </a:lnTo>
                <a:lnTo>
                  <a:pt x="1044" y="1054"/>
                </a:lnTo>
                <a:lnTo>
                  <a:pt x="1038" y="1054"/>
                </a:lnTo>
                <a:lnTo>
                  <a:pt x="1038" y="1054"/>
                </a:lnTo>
                <a:lnTo>
                  <a:pt x="1036" y="1052"/>
                </a:lnTo>
                <a:lnTo>
                  <a:pt x="1036" y="1052"/>
                </a:lnTo>
                <a:lnTo>
                  <a:pt x="1036" y="1054"/>
                </a:lnTo>
                <a:lnTo>
                  <a:pt x="1036" y="1054"/>
                </a:lnTo>
                <a:lnTo>
                  <a:pt x="1030" y="1056"/>
                </a:lnTo>
                <a:lnTo>
                  <a:pt x="1030" y="1056"/>
                </a:lnTo>
                <a:lnTo>
                  <a:pt x="1024" y="1056"/>
                </a:lnTo>
                <a:lnTo>
                  <a:pt x="1020" y="1052"/>
                </a:lnTo>
                <a:lnTo>
                  <a:pt x="1020" y="1052"/>
                </a:lnTo>
                <a:lnTo>
                  <a:pt x="1016" y="1048"/>
                </a:lnTo>
                <a:lnTo>
                  <a:pt x="1016" y="1048"/>
                </a:lnTo>
                <a:lnTo>
                  <a:pt x="1012" y="1046"/>
                </a:lnTo>
                <a:lnTo>
                  <a:pt x="1012" y="1046"/>
                </a:lnTo>
                <a:lnTo>
                  <a:pt x="1008" y="1046"/>
                </a:lnTo>
                <a:lnTo>
                  <a:pt x="1004" y="1046"/>
                </a:lnTo>
                <a:lnTo>
                  <a:pt x="1000" y="1042"/>
                </a:lnTo>
                <a:lnTo>
                  <a:pt x="1000" y="1042"/>
                </a:lnTo>
                <a:lnTo>
                  <a:pt x="984" y="1044"/>
                </a:lnTo>
                <a:lnTo>
                  <a:pt x="984" y="1044"/>
                </a:lnTo>
                <a:lnTo>
                  <a:pt x="968" y="1046"/>
                </a:lnTo>
                <a:lnTo>
                  <a:pt x="968" y="1046"/>
                </a:lnTo>
                <a:lnTo>
                  <a:pt x="972" y="1040"/>
                </a:lnTo>
                <a:lnTo>
                  <a:pt x="972" y="1040"/>
                </a:lnTo>
                <a:lnTo>
                  <a:pt x="966" y="1038"/>
                </a:lnTo>
                <a:lnTo>
                  <a:pt x="964" y="1036"/>
                </a:lnTo>
                <a:lnTo>
                  <a:pt x="964" y="1032"/>
                </a:lnTo>
                <a:lnTo>
                  <a:pt x="964" y="1030"/>
                </a:lnTo>
                <a:lnTo>
                  <a:pt x="964" y="1030"/>
                </a:lnTo>
                <a:lnTo>
                  <a:pt x="960" y="1026"/>
                </a:lnTo>
                <a:lnTo>
                  <a:pt x="956" y="1026"/>
                </a:lnTo>
                <a:lnTo>
                  <a:pt x="952" y="1024"/>
                </a:lnTo>
                <a:lnTo>
                  <a:pt x="950" y="1022"/>
                </a:lnTo>
                <a:lnTo>
                  <a:pt x="950" y="1022"/>
                </a:lnTo>
                <a:lnTo>
                  <a:pt x="990" y="1020"/>
                </a:lnTo>
                <a:lnTo>
                  <a:pt x="990" y="1020"/>
                </a:lnTo>
                <a:lnTo>
                  <a:pt x="988" y="1012"/>
                </a:lnTo>
                <a:lnTo>
                  <a:pt x="988" y="1012"/>
                </a:lnTo>
                <a:lnTo>
                  <a:pt x="1002" y="1016"/>
                </a:lnTo>
                <a:lnTo>
                  <a:pt x="1002" y="1016"/>
                </a:lnTo>
                <a:lnTo>
                  <a:pt x="1018" y="1008"/>
                </a:lnTo>
                <a:lnTo>
                  <a:pt x="1018" y="1008"/>
                </a:lnTo>
                <a:lnTo>
                  <a:pt x="1014" y="1002"/>
                </a:lnTo>
                <a:lnTo>
                  <a:pt x="1008" y="1000"/>
                </a:lnTo>
                <a:lnTo>
                  <a:pt x="1000" y="996"/>
                </a:lnTo>
                <a:lnTo>
                  <a:pt x="990" y="994"/>
                </a:lnTo>
                <a:lnTo>
                  <a:pt x="990" y="994"/>
                </a:lnTo>
                <a:lnTo>
                  <a:pt x="990" y="994"/>
                </a:lnTo>
                <a:lnTo>
                  <a:pt x="990" y="994"/>
                </a:lnTo>
                <a:lnTo>
                  <a:pt x="990" y="994"/>
                </a:lnTo>
                <a:lnTo>
                  <a:pt x="990" y="994"/>
                </a:lnTo>
                <a:lnTo>
                  <a:pt x="990" y="994"/>
                </a:lnTo>
                <a:lnTo>
                  <a:pt x="962" y="984"/>
                </a:lnTo>
                <a:lnTo>
                  <a:pt x="962" y="984"/>
                </a:lnTo>
                <a:lnTo>
                  <a:pt x="964" y="990"/>
                </a:lnTo>
                <a:lnTo>
                  <a:pt x="936" y="990"/>
                </a:lnTo>
                <a:lnTo>
                  <a:pt x="936" y="990"/>
                </a:lnTo>
                <a:lnTo>
                  <a:pt x="952" y="978"/>
                </a:lnTo>
                <a:lnTo>
                  <a:pt x="952" y="978"/>
                </a:lnTo>
                <a:lnTo>
                  <a:pt x="970" y="976"/>
                </a:lnTo>
                <a:lnTo>
                  <a:pt x="970" y="976"/>
                </a:lnTo>
                <a:lnTo>
                  <a:pt x="982" y="976"/>
                </a:lnTo>
                <a:lnTo>
                  <a:pt x="982" y="976"/>
                </a:lnTo>
                <a:lnTo>
                  <a:pt x="980" y="972"/>
                </a:lnTo>
                <a:lnTo>
                  <a:pt x="980" y="968"/>
                </a:lnTo>
                <a:lnTo>
                  <a:pt x="978" y="966"/>
                </a:lnTo>
                <a:lnTo>
                  <a:pt x="972" y="964"/>
                </a:lnTo>
                <a:lnTo>
                  <a:pt x="972" y="964"/>
                </a:lnTo>
                <a:lnTo>
                  <a:pt x="988" y="960"/>
                </a:lnTo>
                <a:lnTo>
                  <a:pt x="988" y="960"/>
                </a:lnTo>
                <a:lnTo>
                  <a:pt x="992" y="964"/>
                </a:lnTo>
                <a:lnTo>
                  <a:pt x="992" y="968"/>
                </a:lnTo>
                <a:lnTo>
                  <a:pt x="990" y="970"/>
                </a:lnTo>
                <a:lnTo>
                  <a:pt x="990" y="974"/>
                </a:lnTo>
                <a:lnTo>
                  <a:pt x="990" y="974"/>
                </a:lnTo>
                <a:lnTo>
                  <a:pt x="1006" y="980"/>
                </a:lnTo>
                <a:lnTo>
                  <a:pt x="1006" y="980"/>
                </a:lnTo>
                <a:lnTo>
                  <a:pt x="1002" y="968"/>
                </a:lnTo>
                <a:lnTo>
                  <a:pt x="1002" y="968"/>
                </a:lnTo>
                <a:lnTo>
                  <a:pt x="1018" y="964"/>
                </a:lnTo>
                <a:lnTo>
                  <a:pt x="1018" y="964"/>
                </a:lnTo>
                <a:lnTo>
                  <a:pt x="1024" y="970"/>
                </a:lnTo>
                <a:lnTo>
                  <a:pt x="1024" y="970"/>
                </a:lnTo>
                <a:lnTo>
                  <a:pt x="1026" y="964"/>
                </a:lnTo>
                <a:lnTo>
                  <a:pt x="1026" y="964"/>
                </a:lnTo>
                <a:lnTo>
                  <a:pt x="1032" y="962"/>
                </a:lnTo>
                <a:lnTo>
                  <a:pt x="1040" y="962"/>
                </a:lnTo>
                <a:lnTo>
                  <a:pt x="1046" y="964"/>
                </a:lnTo>
                <a:lnTo>
                  <a:pt x="1054" y="964"/>
                </a:lnTo>
                <a:lnTo>
                  <a:pt x="1054" y="964"/>
                </a:lnTo>
                <a:lnTo>
                  <a:pt x="1042" y="954"/>
                </a:lnTo>
                <a:lnTo>
                  <a:pt x="1042" y="954"/>
                </a:lnTo>
                <a:lnTo>
                  <a:pt x="1054" y="954"/>
                </a:lnTo>
                <a:lnTo>
                  <a:pt x="1056" y="956"/>
                </a:lnTo>
                <a:lnTo>
                  <a:pt x="1058" y="958"/>
                </a:lnTo>
                <a:lnTo>
                  <a:pt x="1058" y="958"/>
                </a:lnTo>
                <a:lnTo>
                  <a:pt x="1076" y="958"/>
                </a:lnTo>
                <a:lnTo>
                  <a:pt x="1084" y="954"/>
                </a:lnTo>
                <a:lnTo>
                  <a:pt x="1088" y="950"/>
                </a:lnTo>
                <a:lnTo>
                  <a:pt x="1088" y="950"/>
                </a:lnTo>
                <a:lnTo>
                  <a:pt x="1106" y="954"/>
                </a:lnTo>
                <a:lnTo>
                  <a:pt x="1106" y="954"/>
                </a:lnTo>
                <a:lnTo>
                  <a:pt x="1106" y="956"/>
                </a:lnTo>
                <a:lnTo>
                  <a:pt x="1106" y="956"/>
                </a:lnTo>
                <a:lnTo>
                  <a:pt x="1100" y="956"/>
                </a:lnTo>
                <a:lnTo>
                  <a:pt x="1100" y="956"/>
                </a:lnTo>
                <a:lnTo>
                  <a:pt x="1090" y="958"/>
                </a:lnTo>
                <a:lnTo>
                  <a:pt x="1090" y="958"/>
                </a:lnTo>
                <a:lnTo>
                  <a:pt x="1096" y="962"/>
                </a:lnTo>
                <a:lnTo>
                  <a:pt x="1096" y="962"/>
                </a:lnTo>
                <a:lnTo>
                  <a:pt x="1098" y="964"/>
                </a:lnTo>
                <a:lnTo>
                  <a:pt x="1098" y="968"/>
                </a:lnTo>
                <a:lnTo>
                  <a:pt x="1098" y="968"/>
                </a:lnTo>
                <a:lnTo>
                  <a:pt x="1106" y="964"/>
                </a:lnTo>
                <a:lnTo>
                  <a:pt x="1106" y="964"/>
                </a:lnTo>
                <a:lnTo>
                  <a:pt x="1108" y="964"/>
                </a:lnTo>
                <a:lnTo>
                  <a:pt x="1108" y="964"/>
                </a:lnTo>
                <a:lnTo>
                  <a:pt x="1116" y="966"/>
                </a:lnTo>
                <a:lnTo>
                  <a:pt x="1124" y="966"/>
                </a:lnTo>
                <a:lnTo>
                  <a:pt x="1124" y="966"/>
                </a:lnTo>
                <a:lnTo>
                  <a:pt x="1130" y="966"/>
                </a:lnTo>
                <a:lnTo>
                  <a:pt x="1136" y="966"/>
                </a:lnTo>
                <a:lnTo>
                  <a:pt x="1136" y="966"/>
                </a:lnTo>
                <a:lnTo>
                  <a:pt x="1138" y="976"/>
                </a:lnTo>
                <a:lnTo>
                  <a:pt x="1138" y="976"/>
                </a:lnTo>
                <a:lnTo>
                  <a:pt x="1150" y="978"/>
                </a:lnTo>
                <a:lnTo>
                  <a:pt x="1150" y="978"/>
                </a:lnTo>
                <a:lnTo>
                  <a:pt x="1140" y="980"/>
                </a:lnTo>
                <a:lnTo>
                  <a:pt x="1134" y="980"/>
                </a:lnTo>
                <a:lnTo>
                  <a:pt x="1130" y="978"/>
                </a:lnTo>
                <a:lnTo>
                  <a:pt x="1130" y="978"/>
                </a:lnTo>
                <a:lnTo>
                  <a:pt x="1130" y="984"/>
                </a:lnTo>
                <a:lnTo>
                  <a:pt x="1130" y="984"/>
                </a:lnTo>
                <a:lnTo>
                  <a:pt x="1126" y="990"/>
                </a:lnTo>
                <a:lnTo>
                  <a:pt x="1126" y="990"/>
                </a:lnTo>
                <a:lnTo>
                  <a:pt x="1136" y="988"/>
                </a:lnTo>
                <a:lnTo>
                  <a:pt x="1146" y="986"/>
                </a:lnTo>
                <a:lnTo>
                  <a:pt x="1154" y="986"/>
                </a:lnTo>
                <a:lnTo>
                  <a:pt x="1162" y="990"/>
                </a:lnTo>
                <a:lnTo>
                  <a:pt x="1162" y="990"/>
                </a:lnTo>
                <a:lnTo>
                  <a:pt x="1168" y="984"/>
                </a:lnTo>
                <a:lnTo>
                  <a:pt x="1168" y="984"/>
                </a:lnTo>
                <a:lnTo>
                  <a:pt x="1172" y="984"/>
                </a:lnTo>
                <a:lnTo>
                  <a:pt x="1176" y="984"/>
                </a:lnTo>
                <a:lnTo>
                  <a:pt x="1186" y="984"/>
                </a:lnTo>
                <a:lnTo>
                  <a:pt x="1186" y="984"/>
                </a:lnTo>
                <a:lnTo>
                  <a:pt x="1206" y="986"/>
                </a:lnTo>
                <a:lnTo>
                  <a:pt x="1206" y="986"/>
                </a:lnTo>
                <a:lnTo>
                  <a:pt x="1188" y="1000"/>
                </a:lnTo>
                <a:lnTo>
                  <a:pt x="1188" y="1000"/>
                </a:lnTo>
                <a:lnTo>
                  <a:pt x="1184" y="1002"/>
                </a:lnTo>
                <a:lnTo>
                  <a:pt x="1178" y="1002"/>
                </a:lnTo>
                <a:lnTo>
                  <a:pt x="1178" y="1002"/>
                </a:lnTo>
                <a:lnTo>
                  <a:pt x="1172" y="1000"/>
                </a:lnTo>
                <a:lnTo>
                  <a:pt x="1164" y="1002"/>
                </a:lnTo>
                <a:lnTo>
                  <a:pt x="1164" y="1002"/>
                </a:lnTo>
                <a:lnTo>
                  <a:pt x="1166" y="1008"/>
                </a:lnTo>
                <a:lnTo>
                  <a:pt x="1166" y="1008"/>
                </a:lnTo>
                <a:lnTo>
                  <a:pt x="1148" y="1012"/>
                </a:lnTo>
                <a:lnTo>
                  <a:pt x="1140" y="1014"/>
                </a:lnTo>
                <a:lnTo>
                  <a:pt x="1130" y="1014"/>
                </a:lnTo>
                <a:lnTo>
                  <a:pt x="1130" y="1014"/>
                </a:lnTo>
                <a:lnTo>
                  <a:pt x="1130" y="1012"/>
                </a:lnTo>
                <a:lnTo>
                  <a:pt x="1130" y="1012"/>
                </a:lnTo>
                <a:lnTo>
                  <a:pt x="1138" y="1010"/>
                </a:lnTo>
                <a:lnTo>
                  <a:pt x="1138" y="1010"/>
                </a:lnTo>
                <a:lnTo>
                  <a:pt x="1126" y="1004"/>
                </a:lnTo>
                <a:lnTo>
                  <a:pt x="1126" y="1004"/>
                </a:lnTo>
                <a:lnTo>
                  <a:pt x="1114" y="1004"/>
                </a:lnTo>
                <a:lnTo>
                  <a:pt x="1114" y="1004"/>
                </a:lnTo>
                <a:lnTo>
                  <a:pt x="1114" y="1008"/>
                </a:lnTo>
                <a:lnTo>
                  <a:pt x="1112" y="1010"/>
                </a:lnTo>
                <a:lnTo>
                  <a:pt x="1112" y="1010"/>
                </a:lnTo>
                <a:lnTo>
                  <a:pt x="1108" y="1012"/>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096" y="1020"/>
                </a:lnTo>
                <a:lnTo>
                  <a:pt x="1096" y="1020"/>
                </a:lnTo>
                <a:lnTo>
                  <a:pt x="1088" y="1018"/>
                </a:lnTo>
                <a:lnTo>
                  <a:pt x="1080" y="1016"/>
                </a:lnTo>
                <a:lnTo>
                  <a:pt x="1072" y="1014"/>
                </a:lnTo>
                <a:lnTo>
                  <a:pt x="1064" y="1010"/>
                </a:lnTo>
                <a:lnTo>
                  <a:pt x="1064" y="1010"/>
                </a:lnTo>
                <a:lnTo>
                  <a:pt x="1056" y="1004"/>
                </a:lnTo>
                <a:lnTo>
                  <a:pt x="1056" y="1004"/>
                </a:lnTo>
                <a:lnTo>
                  <a:pt x="1050" y="1008"/>
                </a:lnTo>
                <a:lnTo>
                  <a:pt x="1050" y="1008"/>
                </a:lnTo>
                <a:lnTo>
                  <a:pt x="1032" y="1008"/>
                </a:lnTo>
                <a:lnTo>
                  <a:pt x="1032" y="1008"/>
                </a:lnTo>
                <a:lnTo>
                  <a:pt x="1028" y="1012"/>
                </a:lnTo>
                <a:lnTo>
                  <a:pt x="1026" y="1014"/>
                </a:lnTo>
                <a:lnTo>
                  <a:pt x="1026" y="1014"/>
                </a:lnTo>
                <a:lnTo>
                  <a:pt x="1056" y="1014"/>
                </a:lnTo>
                <a:lnTo>
                  <a:pt x="1056" y="1014"/>
                </a:lnTo>
                <a:lnTo>
                  <a:pt x="1064" y="1016"/>
                </a:lnTo>
                <a:lnTo>
                  <a:pt x="1064" y="1016"/>
                </a:lnTo>
                <a:lnTo>
                  <a:pt x="1086" y="1024"/>
                </a:lnTo>
                <a:lnTo>
                  <a:pt x="1086" y="1024"/>
                </a:lnTo>
                <a:lnTo>
                  <a:pt x="1080" y="1028"/>
                </a:lnTo>
                <a:lnTo>
                  <a:pt x="1080" y="1028"/>
                </a:lnTo>
                <a:lnTo>
                  <a:pt x="1072" y="1030"/>
                </a:lnTo>
                <a:lnTo>
                  <a:pt x="1072" y="1030"/>
                </a:lnTo>
                <a:lnTo>
                  <a:pt x="1064" y="1032"/>
                </a:lnTo>
                <a:lnTo>
                  <a:pt x="1062" y="1030"/>
                </a:lnTo>
                <a:lnTo>
                  <a:pt x="1058" y="1026"/>
                </a:lnTo>
                <a:lnTo>
                  <a:pt x="1058" y="1026"/>
                </a:lnTo>
                <a:lnTo>
                  <a:pt x="1050" y="1026"/>
                </a:lnTo>
                <a:lnTo>
                  <a:pt x="1050" y="1026"/>
                </a:lnTo>
                <a:lnTo>
                  <a:pt x="1052" y="1032"/>
                </a:lnTo>
                <a:lnTo>
                  <a:pt x="1052" y="1032"/>
                </a:lnTo>
                <a:lnTo>
                  <a:pt x="1046" y="1038"/>
                </a:lnTo>
                <a:lnTo>
                  <a:pt x="1046" y="1038"/>
                </a:lnTo>
                <a:lnTo>
                  <a:pt x="1050" y="1038"/>
                </a:lnTo>
                <a:lnTo>
                  <a:pt x="1054" y="1036"/>
                </a:lnTo>
                <a:lnTo>
                  <a:pt x="1054" y="1036"/>
                </a:lnTo>
                <a:lnTo>
                  <a:pt x="1060" y="1034"/>
                </a:lnTo>
                <a:lnTo>
                  <a:pt x="1066" y="1034"/>
                </a:lnTo>
                <a:lnTo>
                  <a:pt x="1076" y="1034"/>
                </a:lnTo>
                <a:lnTo>
                  <a:pt x="1076" y="1034"/>
                </a:lnTo>
                <a:lnTo>
                  <a:pt x="1082" y="1034"/>
                </a:lnTo>
                <a:lnTo>
                  <a:pt x="1088" y="1032"/>
                </a:lnTo>
                <a:lnTo>
                  <a:pt x="1088" y="1032"/>
                </a:lnTo>
                <a:lnTo>
                  <a:pt x="1100" y="1024"/>
                </a:lnTo>
                <a:lnTo>
                  <a:pt x="1100" y="1024"/>
                </a:lnTo>
                <a:lnTo>
                  <a:pt x="1114" y="1026"/>
                </a:lnTo>
                <a:lnTo>
                  <a:pt x="1120" y="1024"/>
                </a:lnTo>
                <a:lnTo>
                  <a:pt x="1126" y="1020"/>
                </a:lnTo>
                <a:lnTo>
                  <a:pt x="1126" y="1020"/>
                </a:lnTo>
                <a:lnTo>
                  <a:pt x="1144" y="1030"/>
                </a:lnTo>
                <a:lnTo>
                  <a:pt x="1144" y="1030"/>
                </a:lnTo>
                <a:lnTo>
                  <a:pt x="1150" y="1024"/>
                </a:lnTo>
                <a:lnTo>
                  <a:pt x="1150" y="1024"/>
                </a:lnTo>
                <a:lnTo>
                  <a:pt x="1158" y="1022"/>
                </a:lnTo>
                <a:lnTo>
                  <a:pt x="1158" y="1022"/>
                </a:lnTo>
                <a:lnTo>
                  <a:pt x="1162" y="1024"/>
                </a:lnTo>
                <a:lnTo>
                  <a:pt x="1162" y="1024"/>
                </a:lnTo>
                <a:lnTo>
                  <a:pt x="1156" y="1028"/>
                </a:lnTo>
                <a:lnTo>
                  <a:pt x="1156" y="1028"/>
                </a:lnTo>
                <a:lnTo>
                  <a:pt x="1154" y="1030"/>
                </a:lnTo>
                <a:lnTo>
                  <a:pt x="1154" y="1030"/>
                </a:lnTo>
                <a:lnTo>
                  <a:pt x="1156" y="1036"/>
                </a:lnTo>
                <a:lnTo>
                  <a:pt x="1156" y="1036"/>
                </a:lnTo>
                <a:lnTo>
                  <a:pt x="1132" y="1042"/>
                </a:lnTo>
                <a:lnTo>
                  <a:pt x="1132" y="1042"/>
                </a:lnTo>
                <a:lnTo>
                  <a:pt x="1118" y="1038"/>
                </a:lnTo>
                <a:lnTo>
                  <a:pt x="1104" y="1040"/>
                </a:lnTo>
                <a:lnTo>
                  <a:pt x="1104" y="1040"/>
                </a:lnTo>
                <a:lnTo>
                  <a:pt x="1112" y="1046"/>
                </a:lnTo>
                <a:lnTo>
                  <a:pt x="1112" y="1046"/>
                </a:lnTo>
                <a:lnTo>
                  <a:pt x="1118" y="1042"/>
                </a:lnTo>
                <a:lnTo>
                  <a:pt x="1122" y="1040"/>
                </a:lnTo>
                <a:lnTo>
                  <a:pt x="1126" y="1042"/>
                </a:lnTo>
                <a:lnTo>
                  <a:pt x="1126" y="1042"/>
                </a:lnTo>
                <a:lnTo>
                  <a:pt x="1134" y="1046"/>
                </a:lnTo>
                <a:lnTo>
                  <a:pt x="1142" y="1048"/>
                </a:lnTo>
                <a:lnTo>
                  <a:pt x="1142" y="1048"/>
                </a:lnTo>
                <a:lnTo>
                  <a:pt x="1146" y="1052"/>
                </a:lnTo>
                <a:lnTo>
                  <a:pt x="1146" y="1052"/>
                </a:lnTo>
                <a:lnTo>
                  <a:pt x="1140" y="1054"/>
                </a:lnTo>
                <a:lnTo>
                  <a:pt x="1136" y="1058"/>
                </a:lnTo>
                <a:lnTo>
                  <a:pt x="1136" y="1058"/>
                </a:lnTo>
                <a:lnTo>
                  <a:pt x="1132" y="1064"/>
                </a:lnTo>
                <a:lnTo>
                  <a:pt x="1124" y="1068"/>
                </a:lnTo>
                <a:lnTo>
                  <a:pt x="1124" y="1068"/>
                </a:lnTo>
                <a:lnTo>
                  <a:pt x="1122" y="1070"/>
                </a:lnTo>
                <a:lnTo>
                  <a:pt x="1124" y="1072"/>
                </a:lnTo>
                <a:lnTo>
                  <a:pt x="1124" y="1072"/>
                </a:lnTo>
                <a:lnTo>
                  <a:pt x="1148" y="1070"/>
                </a:lnTo>
                <a:lnTo>
                  <a:pt x="1148" y="1070"/>
                </a:lnTo>
                <a:lnTo>
                  <a:pt x="1166" y="1066"/>
                </a:lnTo>
                <a:lnTo>
                  <a:pt x="1184" y="1064"/>
                </a:lnTo>
                <a:lnTo>
                  <a:pt x="1184" y="1064"/>
                </a:lnTo>
                <a:lnTo>
                  <a:pt x="1194" y="1062"/>
                </a:lnTo>
                <a:lnTo>
                  <a:pt x="1204" y="1064"/>
                </a:lnTo>
                <a:lnTo>
                  <a:pt x="1204" y="1064"/>
                </a:lnTo>
                <a:lnTo>
                  <a:pt x="1204" y="1062"/>
                </a:lnTo>
                <a:lnTo>
                  <a:pt x="1206" y="1060"/>
                </a:lnTo>
                <a:lnTo>
                  <a:pt x="1210" y="1058"/>
                </a:lnTo>
                <a:lnTo>
                  <a:pt x="1216" y="1058"/>
                </a:lnTo>
                <a:lnTo>
                  <a:pt x="1220" y="1056"/>
                </a:lnTo>
                <a:lnTo>
                  <a:pt x="1220" y="1056"/>
                </a:lnTo>
                <a:lnTo>
                  <a:pt x="1214" y="1050"/>
                </a:lnTo>
                <a:lnTo>
                  <a:pt x="1202" y="1050"/>
                </a:lnTo>
                <a:lnTo>
                  <a:pt x="1202" y="1050"/>
                </a:lnTo>
                <a:lnTo>
                  <a:pt x="1210" y="1044"/>
                </a:lnTo>
                <a:lnTo>
                  <a:pt x="1210" y="1044"/>
                </a:lnTo>
                <a:lnTo>
                  <a:pt x="1196" y="1040"/>
                </a:lnTo>
                <a:lnTo>
                  <a:pt x="1196" y="1040"/>
                </a:lnTo>
                <a:lnTo>
                  <a:pt x="1192" y="1044"/>
                </a:lnTo>
                <a:lnTo>
                  <a:pt x="1190" y="1046"/>
                </a:lnTo>
                <a:lnTo>
                  <a:pt x="1186" y="1050"/>
                </a:lnTo>
                <a:lnTo>
                  <a:pt x="1180" y="1050"/>
                </a:lnTo>
                <a:lnTo>
                  <a:pt x="1180" y="1050"/>
                </a:lnTo>
                <a:lnTo>
                  <a:pt x="1176" y="1046"/>
                </a:lnTo>
                <a:lnTo>
                  <a:pt x="1170" y="1044"/>
                </a:lnTo>
                <a:lnTo>
                  <a:pt x="1170" y="1044"/>
                </a:lnTo>
                <a:lnTo>
                  <a:pt x="1156" y="1040"/>
                </a:lnTo>
                <a:lnTo>
                  <a:pt x="1156" y="1040"/>
                </a:lnTo>
                <a:lnTo>
                  <a:pt x="1162" y="1034"/>
                </a:lnTo>
                <a:lnTo>
                  <a:pt x="1168" y="1030"/>
                </a:lnTo>
                <a:lnTo>
                  <a:pt x="1178" y="1018"/>
                </a:lnTo>
                <a:lnTo>
                  <a:pt x="1178" y="1018"/>
                </a:lnTo>
                <a:lnTo>
                  <a:pt x="1186" y="1014"/>
                </a:lnTo>
                <a:lnTo>
                  <a:pt x="1196" y="1012"/>
                </a:lnTo>
                <a:lnTo>
                  <a:pt x="1196" y="1012"/>
                </a:lnTo>
                <a:lnTo>
                  <a:pt x="1204" y="1012"/>
                </a:lnTo>
                <a:lnTo>
                  <a:pt x="1204" y="1012"/>
                </a:lnTo>
                <a:lnTo>
                  <a:pt x="1204" y="1012"/>
                </a:lnTo>
                <a:lnTo>
                  <a:pt x="1204" y="1012"/>
                </a:lnTo>
                <a:lnTo>
                  <a:pt x="1192" y="1004"/>
                </a:lnTo>
                <a:lnTo>
                  <a:pt x="1192" y="1004"/>
                </a:lnTo>
                <a:lnTo>
                  <a:pt x="1198" y="1002"/>
                </a:lnTo>
                <a:lnTo>
                  <a:pt x="1198" y="1002"/>
                </a:lnTo>
                <a:lnTo>
                  <a:pt x="1214" y="998"/>
                </a:lnTo>
                <a:lnTo>
                  <a:pt x="1214" y="998"/>
                </a:lnTo>
                <a:lnTo>
                  <a:pt x="1214" y="994"/>
                </a:lnTo>
                <a:lnTo>
                  <a:pt x="1214" y="990"/>
                </a:lnTo>
                <a:lnTo>
                  <a:pt x="1214" y="990"/>
                </a:lnTo>
                <a:lnTo>
                  <a:pt x="1220" y="988"/>
                </a:lnTo>
                <a:lnTo>
                  <a:pt x="1226" y="986"/>
                </a:lnTo>
                <a:lnTo>
                  <a:pt x="1226" y="986"/>
                </a:lnTo>
                <a:lnTo>
                  <a:pt x="1226" y="978"/>
                </a:lnTo>
                <a:lnTo>
                  <a:pt x="1226" y="974"/>
                </a:lnTo>
                <a:lnTo>
                  <a:pt x="1220" y="970"/>
                </a:lnTo>
                <a:lnTo>
                  <a:pt x="1214" y="968"/>
                </a:lnTo>
                <a:lnTo>
                  <a:pt x="1214" y="968"/>
                </a:lnTo>
                <a:lnTo>
                  <a:pt x="1214" y="966"/>
                </a:lnTo>
                <a:lnTo>
                  <a:pt x="1218" y="966"/>
                </a:lnTo>
                <a:lnTo>
                  <a:pt x="1224" y="966"/>
                </a:lnTo>
                <a:lnTo>
                  <a:pt x="1224" y="966"/>
                </a:lnTo>
                <a:lnTo>
                  <a:pt x="1230" y="970"/>
                </a:lnTo>
                <a:lnTo>
                  <a:pt x="1230" y="970"/>
                </a:lnTo>
                <a:lnTo>
                  <a:pt x="1238" y="972"/>
                </a:lnTo>
                <a:lnTo>
                  <a:pt x="1244" y="970"/>
                </a:lnTo>
                <a:lnTo>
                  <a:pt x="1244" y="970"/>
                </a:lnTo>
                <a:lnTo>
                  <a:pt x="1258" y="968"/>
                </a:lnTo>
                <a:lnTo>
                  <a:pt x="1270" y="970"/>
                </a:lnTo>
                <a:lnTo>
                  <a:pt x="1270" y="970"/>
                </a:lnTo>
                <a:lnTo>
                  <a:pt x="1278" y="970"/>
                </a:lnTo>
                <a:lnTo>
                  <a:pt x="1278" y="970"/>
                </a:lnTo>
                <a:lnTo>
                  <a:pt x="1268" y="964"/>
                </a:lnTo>
                <a:lnTo>
                  <a:pt x="1264" y="962"/>
                </a:lnTo>
                <a:lnTo>
                  <a:pt x="1256" y="962"/>
                </a:lnTo>
                <a:lnTo>
                  <a:pt x="1256" y="962"/>
                </a:lnTo>
                <a:lnTo>
                  <a:pt x="1250" y="960"/>
                </a:lnTo>
                <a:lnTo>
                  <a:pt x="1250" y="960"/>
                </a:lnTo>
                <a:lnTo>
                  <a:pt x="1256" y="954"/>
                </a:lnTo>
                <a:lnTo>
                  <a:pt x="1256" y="954"/>
                </a:lnTo>
                <a:lnTo>
                  <a:pt x="1260" y="948"/>
                </a:lnTo>
                <a:lnTo>
                  <a:pt x="1260" y="948"/>
                </a:lnTo>
                <a:lnTo>
                  <a:pt x="1256" y="938"/>
                </a:lnTo>
                <a:lnTo>
                  <a:pt x="1256" y="938"/>
                </a:lnTo>
                <a:lnTo>
                  <a:pt x="1252" y="942"/>
                </a:lnTo>
                <a:lnTo>
                  <a:pt x="1248" y="944"/>
                </a:lnTo>
                <a:lnTo>
                  <a:pt x="1244" y="944"/>
                </a:lnTo>
                <a:lnTo>
                  <a:pt x="1238" y="944"/>
                </a:lnTo>
                <a:lnTo>
                  <a:pt x="1238" y="944"/>
                </a:lnTo>
                <a:lnTo>
                  <a:pt x="1234" y="942"/>
                </a:lnTo>
                <a:lnTo>
                  <a:pt x="1228" y="944"/>
                </a:lnTo>
                <a:lnTo>
                  <a:pt x="1222" y="942"/>
                </a:lnTo>
                <a:lnTo>
                  <a:pt x="1218" y="940"/>
                </a:lnTo>
                <a:lnTo>
                  <a:pt x="1218" y="940"/>
                </a:lnTo>
                <a:lnTo>
                  <a:pt x="1224" y="940"/>
                </a:lnTo>
                <a:lnTo>
                  <a:pt x="1224" y="940"/>
                </a:lnTo>
                <a:lnTo>
                  <a:pt x="1232" y="938"/>
                </a:lnTo>
                <a:lnTo>
                  <a:pt x="1236" y="936"/>
                </a:lnTo>
                <a:lnTo>
                  <a:pt x="1238" y="932"/>
                </a:lnTo>
                <a:lnTo>
                  <a:pt x="1238" y="932"/>
                </a:lnTo>
                <a:lnTo>
                  <a:pt x="1240" y="930"/>
                </a:lnTo>
                <a:lnTo>
                  <a:pt x="1242" y="928"/>
                </a:lnTo>
                <a:lnTo>
                  <a:pt x="1250" y="928"/>
                </a:lnTo>
                <a:lnTo>
                  <a:pt x="1250" y="928"/>
                </a:lnTo>
                <a:lnTo>
                  <a:pt x="1274" y="934"/>
                </a:lnTo>
                <a:lnTo>
                  <a:pt x="1274" y="934"/>
                </a:lnTo>
                <a:lnTo>
                  <a:pt x="1270" y="930"/>
                </a:lnTo>
                <a:lnTo>
                  <a:pt x="1270" y="930"/>
                </a:lnTo>
                <a:lnTo>
                  <a:pt x="1270" y="928"/>
                </a:lnTo>
                <a:lnTo>
                  <a:pt x="1270" y="928"/>
                </a:lnTo>
                <a:lnTo>
                  <a:pt x="1274" y="926"/>
                </a:lnTo>
                <a:lnTo>
                  <a:pt x="1274" y="926"/>
                </a:lnTo>
                <a:lnTo>
                  <a:pt x="1292" y="932"/>
                </a:lnTo>
                <a:lnTo>
                  <a:pt x="1292" y="932"/>
                </a:lnTo>
                <a:lnTo>
                  <a:pt x="1282" y="938"/>
                </a:lnTo>
                <a:lnTo>
                  <a:pt x="1282" y="938"/>
                </a:lnTo>
                <a:lnTo>
                  <a:pt x="1284" y="940"/>
                </a:lnTo>
                <a:lnTo>
                  <a:pt x="1284" y="942"/>
                </a:lnTo>
                <a:lnTo>
                  <a:pt x="1282" y="946"/>
                </a:lnTo>
                <a:lnTo>
                  <a:pt x="1276" y="950"/>
                </a:lnTo>
                <a:lnTo>
                  <a:pt x="1272" y="952"/>
                </a:lnTo>
                <a:lnTo>
                  <a:pt x="1272" y="952"/>
                </a:lnTo>
                <a:lnTo>
                  <a:pt x="1280" y="952"/>
                </a:lnTo>
                <a:lnTo>
                  <a:pt x="1280" y="952"/>
                </a:lnTo>
                <a:lnTo>
                  <a:pt x="1286" y="950"/>
                </a:lnTo>
                <a:lnTo>
                  <a:pt x="1290" y="950"/>
                </a:lnTo>
                <a:lnTo>
                  <a:pt x="1292" y="952"/>
                </a:lnTo>
                <a:lnTo>
                  <a:pt x="1294" y="954"/>
                </a:lnTo>
                <a:lnTo>
                  <a:pt x="1294" y="954"/>
                </a:lnTo>
                <a:lnTo>
                  <a:pt x="1292" y="960"/>
                </a:lnTo>
                <a:lnTo>
                  <a:pt x="1290" y="964"/>
                </a:lnTo>
                <a:lnTo>
                  <a:pt x="1290" y="964"/>
                </a:lnTo>
                <a:lnTo>
                  <a:pt x="1286" y="966"/>
                </a:lnTo>
                <a:lnTo>
                  <a:pt x="1286" y="968"/>
                </a:lnTo>
                <a:lnTo>
                  <a:pt x="1286" y="972"/>
                </a:lnTo>
                <a:lnTo>
                  <a:pt x="1286" y="972"/>
                </a:lnTo>
                <a:lnTo>
                  <a:pt x="1298" y="974"/>
                </a:lnTo>
                <a:lnTo>
                  <a:pt x="1298" y="974"/>
                </a:lnTo>
                <a:lnTo>
                  <a:pt x="1298" y="972"/>
                </a:lnTo>
                <a:lnTo>
                  <a:pt x="1300" y="968"/>
                </a:lnTo>
                <a:lnTo>
                  <a:pt x="1310" y="966"/>
                </a:lnTo>
                <a:lnTo>
                  <a:pt x="1310" y="966"/>
                </a:lnTo>
                <a:lnTo>
                  <a:pt x="1318" y="964"/>
                </a:lnTo>
                <a:lnTo>
                  <a:pt x="1324" y="964"/>
                </a:lnTo>
                <a:lnTo>
                  <a:pt x="1324" y="964"/>
                </a:lnTo>
                <a:lnTo>
                  <a:pt x="1328" y="962"/>
                </a:lnTo>
                <a:lnTo>
                  <a:pt x="1332" y="962"/>
                </a:lnTo>
                <a:lnTo>
                  <a:pt x="1342" y="962"/>
                </a:lnTo>
                <a:lnTo>
                  <a:pt x="1342" y="962"/>
                </a:lnTo>
                <a:lnTo>
                  <a:pt x="1364" y="952"/>
                </a:lnTo>
                <a:lnTo>
                  <a:pt x="1364" y="952"/>
                </a:lnTo>
                <a:lnTo>
                  <a:pt x="1350" y="946"/>
                </a:lnTo>
                <a:lnTo>
                  <a:pt x="1350" y="946"/>
                </a:lnTo>
                <a:lnTo>
                  <a:pt x="1356" y="944"/>
                </a:lnTo>
                <a:lnTo>
                  <a:pt x="1362" y="942"/>
                </a:lnTo>
                <a:lnTo>
                  <a:pt x="1362" y="942"/>
                </a:lnTo>
                <a:lnTo>
                  <a:pt x="1364" y="938"/>
                </a:lnTo>
                <a:lnTo>
                  <a:pt x="1368" y="938"/>
                </a:lnTo>
                <a:lnTo>
                  <a:pt x="1378" y="936"/>
                </a:lnTo>
                <a:lnTo>
                  <a:pt x="1378" y="936"/>
                </a:lnTo>
                <a:lnTo>
                  <a:pt x="1384" y="938"/>
                </a:lnTo>
                <a:lnTo>
                  <a:pt x="1386" y="942"/>
                </a:lnTo>
                <a:lnTo>
                  <a:pt x="1386" y="942"/>
                </a:lnTo>
                <a:lnTo>
                  <a:pt x="1384" y="950"/>
                </a:lnTo>
                <a:lnTo>
                  <a:pt x="1384" y="950"/>
                </a:lnTo>
                <a:lnTo>
                  <a:pt x="1394" y="948"/>
                </a:lnTo>
                <a:lnTo>
                  <a:pt x="1394" y="948"/>
                </a:lnTo>
                <a:lnTo>
                  <a:pt x="1388" y="944"/>
                </a:lnTo>
                <a:lnTo>
                  <a:pt x="1388" y="944"/>
                </a:lnTo>
                <a:lnTo>
                  <a:pt x="1392" y="942"/>
                </a:lnTo>
                <a:lnTo>
                  <a:pt x="1396" y="940"/>
                </a:lnTo>
                <a:lnTo>
                  <a:pt x="1406" y="940"/>
                </a:lnTo>
                <a:lnTo>
                  <a:pt x="1406" y="940"/>
                </a:lnTo>
                <a:lnTo>
                  <a:pt x="1406" y="946"/>
                </a:lnTo>
                <a:lnTo>
                  <a:pt x="1408" y="954"/>
                </a:lnTo>
                <a:lnTo>
                  <a:pt x="1414" y="960"/>
                </a:lnTo>
                <a:lnTo>
                  <a:pt x="1420" y="966"/>
                </a:lnTo>
                <a:lnTo>
                  <a:pt x="1420" y="966"/>
                </a:lnTo>
                <a:lnTo>
                  <a:pt x="1412" y="966"/>
                </a:lnTo>
                <a:lnTo>
                  <a:pt x="1412" y="966"/>
                </a:lnTo>
                <a:lnTo>
                  <a:pt x="1402" y="964"/>
                </a:lnTo>
                <a:lnTo>
                  <a:pt x="1396" y="960"/>
                </a:lnTo>
                <a:lnTo>
                  <a:pt x="1396" y="960"/>
                </a:lnTo>
                <a:lnTo>
                  <a:pt x="1392" y="956"/>
                </a:lnTo>
                <a:lnTo>
                  <a:pt x="1388" y="956"/>
                </a:lnTo>
                <a:lnTo>
                  <a:pt x="1384" y="956"/>
                </a:lnTo>
                <a:lnTo>
                  <a:pt x="1380" y="960"/>
                </a:lnTo>
                <a:lnTo>
                  <a:pt x="1380" y="960"/>
                </a:lnTo>
                <a:lnTo>
                  <a:pt x="1376" y="964"/>
                </a:lnTo>
                <a:lnTo>
                  <a:pt x="1376" y="964"/>
                </a:lnTo>
                <a:lnTo>
                  <a:pt x="1352" y="970"/>
                </a:lnTo>
                <a:lnTo>
                  <a:pt x="1352" y="970"/>
                </a:lnTo>
                <a:lnTo>
                  <a:pt x="1354" y="972"/>
                </a:lnTo>
                <a:lnTo>
                  <a:pt x="1352" y="974"/>
                </a:lnTo>
                <a:lnTo>
                  <a:pt x="1342" y="976"/>
                </a:lnTo>
                <a:lnTo>
                  <a:pt x="1342" y="976"/>
                </a:lnTo>
                <a:lnTo>
                  <a:pt x="1348" y="978"/>
                </a:lnTo>
                <a:lnTo>
                  <a:pt x="1352" y="978"/>
                </a:lnTo>
                <a:lnTo>
                  <a:pt x="1358" y="976"/>
                </a:lnTo>
                <a:lnTo>
                  <a:pt x="1358" y="976"/>
                </a:lnTo>
                <a:lnTo>
                  <a:pt x="1364" y="976"/>
                </a:lnTo>
                <a:lnTo>
                  <a:pt x="1366" y="978"/>
                </a:lnTo>
                <a:lnTo>
                  <a:pt x="1366" y="980"/>
                </a:lnTo>
                <a:lnTo>
                  <a:pt x="1366" y="980"/>
                </a:lnTo>
                <a:lnTo>
                  <a:pt x="1386" y="982"/>
                </a:lnTo>
                <a:lnTo>
                  <a:pt x="1386" y="982"/>
                </a:lnTo>
                <a:lnTo>
                  <a:pt x="1380" y="984"/>
                </a:lnTo>
                <a:lnTo>
                  <a:pt x="1380" y="984"/>
                </a:lnTo>
                <a:lnTo>
                  <a:pt x="1394" y="996"/>
                </a:lnTo>
                <a:lnTo>
                  <a:pt x="1394" y="996"/>
                </a:lnTo>
                <a:lnTo>
                  <a:pt x="1398" y="998"/>
                </a:lnTo>
                <a:lnTo>
                  <a:pt x="1402" y="998"/>
                </a:lnTo>
                <a:lnTo>
                  <a:pt x="1408" y="1000"/>
                </a:lnTo>
                <a:lnTo>
                  <a:pt x="1412" y="1004"/>
                </a:lnTo>
                <a:lnTo>
                  <a:pt x="1412" y="1004"/>
                </a:lnTo>
                <a:lnTo>
                  <a:pt x="1400" y="1004"/>
                </a:lnTo>
                <a:lnTo>
                  <a:pt x="1394" y="1004"/>
                </a:lnTo>
                <a:lnTo>
                  <a:pt x="1388" y="1002"/>
                </a:lnTo>
                <a:lnTo>
                  <a:pt x="1388" y="1002"/>
                </a:lnTo>
                <a:lnTo>
                  <a:pt x="1380" y="1002"/>
                </a:lnTo>
                <a:lnTo>
                  <a:pt x="1380" y="1002"/>
                </a:lnTo>
                <a:lnTo>
                  <a:pt x="1378" y="1004"/>
                </a:lnTo>
                <a:lnTo>
                  <a:pt x="1376" y="1006"/>
                </a:lnTo>
                <a:lnTo>
                  <a:pt x="1376" y="1006"/>
                </a:lnTo>
                <a:lnTo>
                  <a:pt x="1380" y="1006"/>
                </a:lnTo>
                <a:lnTo>
                  <a:pt x="1380" y="1006"/>
                </a:lnTo>
                <a:lnTo>
                  <a:pt x="1388" y="1008"/>
                </a:lnTo>
                <a:lnTo>
                  <a:pt x="1388" y="1008"/>
                </a:lnTo>
                <a:lnTo>
                  <a:pt x="1388" y="1010"/>
                </a:lnTo>
                <a:lnTo>
                  <a:pt x="1388" y="1010"/>
                </a:lnTo>
                <a:lnTo>
                  <a:pt x="1376" y="1010"/>
                </a:lnTo>
                <a:lnTo>
                  <a:pt x="1376" y="1010"/>
                </a:lnTo>
                <a:lnTo>
                  <a:pt x="1364" y="1016"/>
                </a:lnTo>
                <a:lnTo>
                  <a:pt x="1364" y="1016"/>
                </a:lnTo>
                <a:lnTo>
                  <a:pt x="1380" y="1022"/>
                </a:lnTo>
                <a:lnTo>
                  <a:pt x="1380" y="1022"/>
                </a:lnTo>
                <a:lnTo>
                  <a:pt x="1390" y="1020"/>
                </a:lnTo>
                <a:lnTo>
                  <a:pt x="1390" y="1020"/>
                </a:lnTo>
                <a:lnTo>
                  <a:pt x="1398" y="1020"/>
                </a:lnTo>
                <a:lnTo>
                  <a:pt x="1400" y="1020"/>
                </a:lnTo>
                <a:lnTo>
                  <a:pt x="1402" y="1024"/>
                </a:lnTo>
                <a:lnTo>
                  <a:pt x="1402" y="1024"/>
                </a:lnTo>
                <a:lnTo>
                  <a:pt x="1406" y="1026"/>
                </a:lnTo>
                <a:lnTo>
                  <a:pt x="1410" y="1026"/>
                </a:lnTo>
                <a:lnTo>
                  <a:pt x="1410" y="1026"/>
                </a:lnTo>
                <a:lnTo>
                  <a:pt x="1410" y="1028"/>
                </a:lnTo>
                <a:lnTo>
                  <a:pt x="1406" y="1030"/>
                </a:lnTo>
                <a:lnTo>
                  <a:pt x="1400" y="1032"/>
                </a:lnTo>
                <a:lnTo>
                  <a:pt x="1400" y="1032"/>
                </a:lnTo>
                <a:lnTo>
                  <a:pt x="1384" y="1036"/>
                </a:lnTo>
                <a:lnTo>
                  <a:pt x="1384" y="1036"/>
                </a:lnTo>
                <a:lnTo>
                  <a:pt x="1386" y="1038"/>
                </a:lnTo>
                <a:lnTo>
                  <a:pt x="1386" y="1040"/>
                </a:lnTo>
                <a:lnTo>
                  <a:pt x="1380" y="1044"/>
                </a:lnTo>
                <a:lnTo>
                  <a:pt x="1380" y="1044"/>
                </a:lnTo>
                <a:lnTo>
                  <a:pt x="1380" y="1044"/>
                </a:lnTo>
                <a:lnTo>
                  <a:pt x="1380" y="1044"/>
                </a:lnTo>
                <a:lnTo>
                  <a:pt x="1380" y="1044"/>
                </a:lnTo>
                <a:lnTo>
                  <a:pt x="1380" y="1044"/>
                </a:lnTo>
                <a:lnTo>
                  <a:pt x="1380" y="1044"/>
                </a:lnTo>
                <a:lnTo>
                  <a:pt x="1380" y="1044"/>
                </a:lnTo>
                <a:lnTo>
                  <a:pt x="1380" y="1044"/>
                </a:lnTo>
                <a:lnTo>
                  <a:pt x="1368" y="1048"/>
                </a:lnTo>
                <a:lnTo>
                  <a:pt x="1368" y="1048"/>
                </a:lnTo>
                <a:lnTo>
                  <a:pt x="1374" y="1054"/>
                </a:lnTo>
                <a:lnTo>
                  <a:pt x="1374" y="1054"/>
                </a:lnTo>
                <a:lnTo>
                  <a:pt x="1364" y="1062"/>
                </a:lnTo>
                <a:lnTo>
                  <a:pt x="1364" y="1062"/>
                </a:lnTo>
                <a:lnTo>
                  <a:pt x="1366" y="1070"/>
                </a:lnTo>
                <a:lnTo>
                  <a:pt x="1366" y="1074"/>
                </a:lnTo>
                <a:lnTo>
                  <a:pt x="1364" y="1080"/>
                </a:lnTo>
                <a:lnTo>
                  <a:pt x="1358" y="1086"/>
                </a:lnTo>
                <a:lnTo>
                  <a:pt x="1358" y="1086"/>
                </a:lnTo>
                <a:lnTo>
                  <a:pt x="1350" y="1092"/>
                </a:lnTo>
                <a:lnTo>
                  <a:pt x="1350" y="1092"/>
                </a:lnTo>
                <a:lnTo>
                  <a:pt x="1350" y="1094"/>
                </a:lnTo>
                <a:lnTo>
                  <a:pt x="1350" y="1098"/>
                </a:lnTo>
                <a:lnTo>
                  <a:pt x="1350" y="1098"/>
                </a:lnTo>
                <a:lnTo>
                  <a:pt x="1354" y="1094"/>
                </a:lnTo>
                <a:lnTo>
                  <a:pt x="1354" y="1094"/>
                </a:lnTo>
                <a:lnTo>
                  <a:pt x="1360" y="1090"/>
                </a:lnTo>
                <a:lnTo>
                  <a:pt x="1366" y="1088"/>
                </a:lnTo>
                <a:lnTo>
                  <a:pt x="1374" y="1088"/>
                </a:lnTo>
                <a:lnTo>
                  <a:pt x="1382" y="1090"/>
                </a:lnTo>
                <a:lnTo>
                  <a:pt x="1382" y="1090"/>
                </a:lnTo>
                <a:lnTo>
                  <a:pt x="1392" y="1092"/>
                </a:lnTo>
                <a:lnTo>
                  <a:pt x="1400" y="1088"/>
                </a:lnTo>
                <a:lnTo>
                  <a:pt x="1400" y="1088"/>
                </a:lnTo>
                <a:lnTo>
                  <a:pt x="1408" y="1084"/>
                </a:lnTo>
                <a:lnTo>
                  <a:pt x="1408" y="1084"/>
                </a:lnTo>
                <a:lnTo>
                  <a:pt x="1408" y="1076"/>
                </a:lnTo>
                <a:lnTo>
                  <a:pt x="1408" y="1076"/>
                </a:lnTo>
                <a:lnTo>
                  <a:pt x="1394" y="1074"/>
                </a:lnTo>
                <a:lnTo>
                  <a:pt x="1394" y="1074"/>
                </a:lnTo>
                <a:lnTo>
                  <a:pt x="1402" y="1070"/>
                </a:lnTo>
                <a:lnTo>
                  <a:pt x="1402" y="1070"/>
                </a:lnTo>
                <a:lnTo>
                  <a:pt x="1394" y="1070"/>
                </a:lnTo>
                <a:lnTo>
                  <a:pt x="1386" y="1070"/>
                </a:lnTo>
                <a:lnTo>
                  <a:pt x="1380" y="1072"/>
                </a:lnTo>
                <a:lnTo>
                  <a:pt x="1372" y="1070"/>
                </a:lnTo>
                <a:lnTo>
                  <a:pt x="1372" y="1070"/>
                </a:lnTo>
                <a:lnTo>
                  <a:pt x="1374" y="1066"/>
                </a:lnTo>
                <a:lnTo>
                  <a:pt x="1374" y="1066"/>
                </a:lnTo>
                <a:lnTo>
                  <a:pt x="1374" y="1062"/>
                </a:lnTo>
                <a:lnTo>
                  <a:pt x="1376" y="1058"/>
                </a:lnTo>
                <a:lnTo>
                  <a:pt x="1382" y="1056"/>
                </a:lnTo>
                <a:lnTo>
                  <a:pt x="1388" y="1056"/>
                </a:lnTo>
                <a:lnTo>
                  <a:pt x="1388" y="1056"/>
                </a:lnTo>
                <a:lnTo>
                  <a:pt x="1394" y="1054"/>
                </a:lnTo>
                <a:lnTo>
                  <a:pt x="1400" y="1052"/>
                </a:lnTo>
                <a:lnTo>
                  <a:pt x="1400" y="1052"/>
                </a:lnTo>
                <a:lnTo>
                  <a:pt x="1404" y="1048"/>
                </a:lnTo>
                <a:lnTo>
                  <a:pt x="1410" y="1046"/>
                </a:lnTo>
                <a:lnTo>
                  <a:pt x="1422" y="1046"/>
                </a:lnTo>
                <a:lnTo>
                  <a:pt x="1422" y="1046"/>
                </a:lnTo>
                <a:lnTo>
                  <a:pt x="1432" y="1046"/>
                </a:lnTo>
                <a:lnTo>
                  <a:pt x="1440" y="1044"/>
                </a:lnTo>
                <a:lnTo>
                  <a:pt x="1440" y="1044"/>
                </a:lnTo>
                <a:lnTo>
                  <a:pt x="1446" y="1046"/>
                </a:lnTo>
                <a:lnTo>
                  <a:pt x="1446" y="1046"/>
                </a:lnTo>
                <a:lnTo>
                  <a:pt x="1448" y="1046"/>
                </a:lnTo>
                <a:lnTo>
                  <a:pt x="1448" y="1046"/>
                </a:lnTo>
                <a:lnTo>
                  <a:pt x="1442" y="1038"/>
                </a:lnTo>
                <a:lnTo>
                  <a:pt x="1442" y="1038"/>
                </a:lnTo>
                <a:lnTo>
                  <a:pt x="1450" y="1032"/>
                </a:lnTo>
                <a:lnTo>
                  <a:pt x="1450" y="1032"/>
                </a:lnTo>
                <a:lnTo>
                  <a:pt x="1454" y="1034"/>
                </a:lnTo>
                <a:lnTo>
                  <a:pt x="1454" y="1034"/>
                </a:lnTo>
                <a:lnTo>
                  <a:pt x="1464" y="1030"/>
                </a:lnTo>
                <a:lnTo>
                  <a:pt x="1464" y="1030"/>
                </a:lnTo>
                <a:lnTo>
                  <a:pt x="1468" y="1034"/>
                </a:lnTo>
                <a:lnTo>
                  <a:pt x="1472" y="1036"/>
                </a:lnTo>
                <a:lnTo>
                  <a:pt x="1480" y="1036"/>
                </a:lnTo>
                <a:lnTo>
                  <a:pt x="1488" y="1034"/>
                </a:lnTo>
                <a:lnTo>
                  <a:pt x="1496" y="1032"/>
                </a:lnTo>
                <a:lnTo>
                  <a:pt x="1496" y="1032"/>
                </a:lnTo>
                <a:lnTo>
                  <a:pt x="1496" y="1030"/>
                </a:lnTo>
                <a:lnTo>
                  <a:pt x="1496" y="1028"/>
                </a:lnTo>
                <a:lnTo>
                  <a:pt x="1502" y="1026"/>
                </a:lnTo>
                <a:lnTo>
                  <a:pt x="1502" y="1026"/>
                </a:lnTo>
                <a:lnTo>
                  <a:pt x="1506" y="1026"/>
                </a:lnTo>
                <a:lnTo>
                  <a:pt x="1510" y="1028"/>
                </a:lnTo>
                <a:lnTo>
                  <a:pt x="1510" y="1028"/>
                </a:lnTo>
                <a:lnTo>
                  <a:pt x="1512" y="1030"/>
                </a:lnTo>
                <a:lnTo>
                  <a:pt x="1512" y="1034"/>
                </a:lnTo>
                <a:lnTo>
                  <a:pt x="1506" y="1040"/>
                </a:lnTo>
                <a:lnTo>
                  <a:pt x="1506" y="1040"/>
                </a:lnTo>
                <a:lnTo>
                  <a:pt x="1512" y="1044"/>
                </a:lnTo>
                <a:lnTo>
                  <a:pt x="1518" y="1048"/>
                </a:lnTo>
                <a:lnTo>
                  <a:pt x="1518" y="1048"/>
                </a:lnTo>
                <a:lnTo>
                  <a:pt x="1528" y="1048"/>
                </a:lnTo>
                <a:lnTo>
                  <a:pt x="1538" y="1048"/>
                </a:lnTo>
                <a:lnTo>
                  <a:pt x="1546" y="1046"/>
                </a:lnTo>
                <a:lnTo>
                  <a:pt x="1554" y="1040"/>
                </a:lnTo>
                <a:lnTo>
                  <a:pt x="1554" y="1040"/>
                </a:lnTo>
                <a:lnTo>
                  <a:pt x="1560" y="1040"/>
                </a:lnTo>
                <a:lnTo>
                  <a:pt x="1560" y="1040"/>
                </a:lnTo>
                <a:lnTo>
                  <a:pt x="1570" y="1038"/>
                </a:lnTo>
                <a:lnTo>
                  <a:pt x="1578" y="1038"/>
                </a:lnTo>
                <a:lnTo>
                  <a:pt x="1578" y="1038"/>
                </a:lnTo>
                <a:lnTo>
                  <a:pt x="1592" y="1040"/>
                </a:lnTo>
                <a:lnTo>
                  <a:pt x="1600" y="1038"/>
                </a:lnTo>
                <a:lnTo>
                  <a:pt x="1606" y="1036"/>
                </a:lnTo>
                <a:lnTo>
                  <a:pt x="1606" y="1036"/>
                </a:lnTo>
                <a:lnTo>
                  <a:pt x="1614" y="1042"/>
                </a:lnTo>
                <a:lnTo>
                  <a:pt x="1614" y="1042"/>
                </a:lnTo>
                <a:lnTo>
                  <a:pt x="1620" y="1042"/>
                </a:lnTo>
                <a:lnTo>
                  <a:pt x="1626" y="1044"/>
                </a:lnTo>
                <a:lnTo>
                  <a:pt x="1638" y="1050"/>
                </a:lnTo>
                <a:lnTo>
                  <a:pt x="1628" y="1050"/>
                </a:lnTo>
                <a:lnTo>
                  <a:pt x="1628" y="1050"/>
                </a:lnTo>
                <a:lnTo>
                  <a:pt x="1632" y="1054"/>
                </a:lnTo>
                <a:lnTo>
                  <a:pt x="1636" y="1054"/>
                </a:lnTo>
                <a:lnTo>
                  <a:pt x="1642" y="1054"/>
                </a:lnTo>
                <a:lnTo>
                  <a:pt x="1646" y="1056"/>
                </a:lnTo>
                <a:lnTo>
                  <a:pt x="1646" y="1056"/>
                </a:lnTo>
                <a:lnTo>
                  <a:pt x="1632" y="1062"/>
                </a:lnTo>
                <a:lnTo>
                  <a:pt x="1632" y="1062"/>
                </a:lnTo>
                <a:lnTo>
                  <a:pt x="1646" y="1068"/>
                </a:lnTo>
                <a:lnTo>
                  <a:pt x="1646" y="1068"/>
                </a:lnTo>
                <a:lnTo>
                  <a:pt x="1648" y="1078"/>
                </a:lnTo>
                <a:lnTo>
                  <a:pt x="1648" y="1078"/>
                </a:lnTo>
                <a:lnTo>
                  <a:pt x="1656" y="1074"/>
                </a:lnTo>
                <a:lnTo>
                  <a:pt x="1656" y="1074"/>
                </a:lnTo>
                <a:lnTo>
                  <a:pt x="1662" y="1070"/>
                </a:lnTo>
                <a:lnTo>
                  <a:pt x="1662" y="1070"/>
                </a:lnTo>
                <a:lnTo>
                  <a:pt x="1666" y="1068"/>
                </a:lnTo>
                <a:lnTo>
                  <a:pt x="1672" y="1068"/>
                </a:lnTo>
                <a:lnTo>
                  <a:pt x="1682" y="1068"/>
                </a:lnTo>
                <a:lnTo>
                  <a:pt x="1682" y="1068"/>
                </a:lnTo>
                <a:lnTo>
                  <a:pt x="1696" y="1072"/>
                </a:lnTo>
                <a:lnTo>
                  <a:pt x="1700" y="1074"/>
                </a:lnTo>
                <a:lnTo>
                  <a:pt x="1704" y="1078"/>
                </a:lnTo>
                <a:lnTo>
                  <a:pt x="1704" y="1078"/>
                </a:lnTo>
                <a:lnTo>
                  <a:pt x="1710" y="1074"/>
                </a:lnTo>
                <a:lnTo>
                  <a:pt x="1716" y="1074"/>
                </a:lnTo>
                <a:lnTo>
                  <a:pt x="1728" y="1074"/>
                </a:lnTo>
                <a:lnTo>
                  <a:pt x="1728" y="1074"/>
                </a:lnTo>
                <a:lnTo>
                  <a:pt x="1724" y="1080"/>
                </a:lnTo>
                <a:lnTo>
                  <a:pt x="1724" y="1080"/>
                </a:lnTo>
                <a:lnTo>
                  <a:pt x="1758" y="1084"/>
                </a:lnTo>
                <a:lnTo>
                  <a:pt x="1758" y="1084"/>
                </a:lnTo>
                <a:lnTo>
                  <a:pt x="1742" y="1090"/>
                </a:lnTo>
                <a:lnTo>
                  <a:pt x="1742" y="1090"/>
                </a:lnTo>
                <a:lnTo>
                  <a:pt x="1746" y="1102"/>
                </a:lnTo>
                <a:lnTo>
                  <a:pt x="1746" y="1102"/>
                </a:lnTo>
                <a:lnTo>
                  <a:pt x="1758" y="1114"/>
                </a:lnTo>
                <a:lnTo>
                  <a:pt x="1758" y="1114"/>
                </a:lnTo>
                <a:lnTo>
                  <a:pt x="1748" y="1116"/>
                </a:lnTo>
                <a:lnTo>
                  <a:pt x="1748" y="1116"/>
                </a:lnTo>
                <a:lnTo>
                  <a:pt x="1752" y="1120"/>
                </a:lnTo>
                <a:lnTo>
                  <a:pt x="1752" y="1120"/>
                </a:lnTo>
                <a:lnTo>
                  <a:pt x="1738" y="1120"/>
                </a:lnTo>
                <a:lnTo>
                  <a:pt x="1726" y="1124"/>
                </a:lnTo>
                <a:lnTo>
                  <a:pt x="1726" y="1124"/>
                </a:lnTo>
                <a:lnTo>
                  <a:pt x="1726" y="1124"/>
                </a:lnTo>
                <a:lnTo>
                  <a:pt x="1726" y="1124"/>
                </a:lnTo>
                <a:lnTo>
                  <a:pt x="1720" y="1124"/>
                </a:lnTo>
                <a:lnTo>
                  <a:pt x="1716" y="1124"/>
                </a:lnTo>
                <a:lnTo>
                  <a:pt x="1708" y="1128"/>
                </a:lnTo>
                <a:lnTo>
                  <a:pt x="1708" y="1128"/>
                </a:lnTo>
                <a:lnTo>
                  <a:pt x="1706" y="1126"/>
                </a:lnTo>
                <a:lnTo>
                  <a:pt x="1704" y="1124"/>
                </a:lnTo>
                <a:lnTo>
                  <a:pt x="1700" y="1124"/>
                </a:lnTo>
                <a:lnTo>
                  <a:pt x="1694" y="1124"/>
                </a:lnTo>
                <a:lnTo>
                  <a:pt x="1688" y="1124"/>
                </a:lnTo>
                <a:lnTo>
                  <a:pt x="1688" y="1124"/>
                </a:lnTo>
                <a:lnTo>
                  <a:pt x="1692" y="1126"/>
                </a:lnTo>
                <a:lnTo>
                  <a:pt x="1694" y="1130"/>
                </a:lnTo>
                <a:lnTo>
                  <a:pt x="1692" y="1132"/>
                </a:lnTo>
                <a:lnTo>
                  <a:pt x="1688" y="1134"/>
                </a:lnTo>
                <a:lnTo>
                  <a:pt x="1688" y="1134"/>
                </a:lnTo>
                <a:lnTo>
                  <a:pt x="1686" y="1138"/>
                </a:lnTo>
                <a:lnTo>
                  <a:pt x="1684" y="1140"/>
                </a:lnTo>
                <a:lnTo>
                  <a:pt x="1684" y="1140"/>
                </a:lnTo>
                <a:lnTo>
                  <a:pt x="1684" y="1144"/>
                </a:lnTo>
                <a:lnTo>
                  <a:pt x="1686" y="1148"/>
                </a:lnTo>
                <a:lnTo>
                  <a:pt x="1686" y="1148"/>
                </a:lnTo>
                <a:lnTo>
                  <a:pt x="1678" y="1150"/>
                </a:lnTo>
                <a:lnTo>
                  <a:pt x="1670" y="1152"/>
                </a:lnTo>
                <a:lnTo>
                  <a:pt x="1670" y="1152"/>
                </a:lnTo>
                <a:lnTo>
                  <a:pt x="1662" y="1152"/>
                </a:lnTo>
                <a:lnTo>
                  <a:pt x="1656" y="1152"/>
                </a:lnTo>
                <a:lnTo>
                  <a:pt x="1656" y="1152"/>
                </a:lnTo>
                <a:lnTo>
                  <a:pt x="1648" y="1150"/>
                </a:lnTo>
                <a:lnTo>
                  <a:pt x="1642" y="1154"/>
                </a:lnTo>
                <a:lnTo>
                  <a:pt x="1642" y="1154"/>
                </a:lnTo>
                <a:lnTo>
                  <a:pt x="1636" y="1156"/>
                </a:lnTo>
                <a:lnTo>
                  <a:pt x="1636" y="1156"/>
                </a:lnTo>
                <a:lnTo>
                  <a:pt x="1640" y="1160"/>
                </a:lnTo>
                <a:lnTo>
                  <a:pt x="1644" y="1160"/>
                </a:lnTo>
                <a:lnTo>
                  <a:pt x="1654" y="1158"/>
                </a:lnTo>
                <a:lnTo>
                  <a:pt x="1654" y="1158"/>
                </a:lnTo>
                <a:lnTo>
                  <a:pt x="1664" y="1158"/>
                </a:lnTo>
                <a:lnTo>
                  <a:pt x="1664" y="1158"/>
                </a:lnTo>
                <a:lnTo>
                  <a:pt x="1666" y="1160"/>
                </a:lnTo>
                <a:lnTo>
                  <a:pt x="1666" y="1160"/>
                </a:lnTo>
                <a:lnTo>
                  <a:pt x="1660" y="1162"/>
                </a:lnTo>
                <a:lnTo>
                  <a:pt x="1660" y="1162"/>
                </a:lnTo>
                <a:lnTo>
                  <a:pt x="1662" y="1164"/>
                </a:lnTo>
                <a:lnTo>
                  <a:pt x="1684" y="1164"/>
                </a:lnTo>
                <a:lnTo>
                  <a:pt x="1684" y="1164"/>
                </a:lnTo>
                <a:lnTo>
                  <a:pt x="1684" y="1168"/>
                </a:lnTo>
                <a:lnTo>
                  <a:pt x="1686" y="1170"/>
                </a:lnTo>
                <a:lnTo>
                  <a:pt x="1694" y="1172"/>
                </a:lnTo>
                <a:lnTo>
                  <a:pt x="1694" y="1172"/>
                </a:lnTo>
                <a:lnTo>
                  <a:pt x="1700" y="1174"/>
                </a:lnTo>
                <a:lnTo>
                  <a:pt x="1704" y="1176"/>
                </a:lnTo>
                <a:lnTo>
                  <a:pt x="1706" y="1178"/>
                </a:lnTo>
                <a:lnTo>
                  <a:pt x="1706" y="1178"/>
                </a:lnTo>
                <a:lnTo>
                  <a:pt x="1696" y="1182"/>
                </a:lnTo>
                <a:lnTo>
                  <a:pt x="1696" y="1182"/>
                </a:lnTo>
                <a:lnTo>
                  <a:pt x="1696" y="1184"/>
                </a:lnTo>
                <a:lnTo>
                  <a:pt x="1696" y="1186"/>
                </a:lnTo>
                <a:lnTo>
                  <a:pt x="1696" y="1186"/>
                </a:lnTo>
                <a:lnTo>
                  <a:pt x="1694" y="1188"/>
                </a:lnTo>
                <a:lnTo>
                  <a:pt x="1688" y="1190"/>
                </a:lnTo>
                <a:lnTo>
                  <a:pt x="1678" y="1190"/>
                </a:lnTo>
                <a:lnTo>
                  <a:pt x="1678" y="1190"/>
                </a:lnTo>
                <a:lnTo>
                  <a:pt x="1686" y="1194"/>
                </a:lnTo>
                <a:lnTo>
                  <a:pt x="1686" y="1194"/>
                </a:lnTo>
                <a:lnTo>
                  <a:pt x="1690" y="1198"/>
                </a:lnTo>
                <a:lnTo>
                  <a:pt x="1690" y="1198"/>
                </a:lnTo>
                <a:lnTo>
                  <a:pt x="1708" y="1202"/>
                </a:lnTo>
                <a:lnTo>
                  <a:pt x="1708" y="1202"/>
                </a:lnTo>
                <a:lnTo>
                  <a:pt x="1714" y="1196"/>
                </a:lnTo>
                <a:lnTo>
                  <a:pt x="1714" y="1196"/>
                </a:lnTo>
                <a:lnTo>
                  <a:pt x="1718" y="1196"/>
                </a:lnTo>
                <a:lnTo>
                  <a:pt x="1718" y="1196"/>
                </a:lnTo>
                <a:lnTo>
                  <a:pt x="1720" y="1196"/>
                </a:lnTo>
                <a:lnTo>
                  <a:pt x="1720" y="1196"/>
                </a:lnTo>
                <a:lnTo>
                  <a:pt x="1724" y="1196"/>
                </a:lnTo>
                <a:lnTo>
                  <a:pt x="1728" y="1200"/>
                </a:lnTo>
                <a:lnTo>
                  <a:pt x="1728" y="1200"/>
                </a:lnTo>
                <a:lnTo>
                  <a:pt x="1732" y="1202"/>
                </a:lnTo>
                <a:lnTo>
                  <a:pt x="1736" y="1204"/>
                </a:lnTo>
                <a:lnTo>
                  <a:pt x="1736" y="1204"/>
                </a:lnTo>
                <a:lnTo>
                  <a:pt x="1748" y="1206"/>
                </a:lnTo>
                <a:lnTo>
                  <a:pt x="1748" y="1206"/>
                </a:lnTo>
                <a:lnTo>
                  <a:pt x="1754" y="1206"/>
                </a:lnTo>
                <a:lnTo>
                  <a:pt x="1754" y="1206"/>
                </a:lnTo>
                <a:lnTo>
                  <a:pt x="1758" y="1202"/>
                </a:lnTo>
                <a:lnTo>
                  <a:pt x="1758" y="1202"/>
                </a:lnTo>
                <a:lnTo>
                  <a:pt x="1764" y="1204"/>
                </a:lnTo>
                <a:lnTo>
                  <a:pt x="1764" y="1204"/>
                </a:lnTo>
                <a:lnTo>
                  <a:pt x="1766" y="1204"/>
                </a:lnTo>
                <a:lnTo>
                  <a:pt x="1766" y="1204"/>
                </a:lnTo>
                <a:lnTo>
                  <a:pt x="1764" y="1206"/>
                </a:lnTo>
                <a:lnTo>
                  <a:pt x="1764" y="1206"/>
                </a:lnTo>
                <a:lnTo>
                  <a:pt x="1766" y="1208"/>
                </a:lnTo>
                <a:lnTo>
                  <a:pt x="1766" y="1208"/>
                </a:lnTo>
                <a:lnTo>
                  <a:pt x="1736" y="1206"/>
                </a:lnTo>
                <a:lnTo>
                  <a:pt x="1736" y="1206"/>
                </a:lnTo>
                <a:lnTo>
                  <a:pt x="1744" y="1210"/>
                </a:lnTo>
                <a:lnTo>
                  <a:pt x="1744" y="1210"/>
                </a:lnTo>
                <a:lnTo>
                  <a:pt x="1732" y="1216"/>
                </a:lnTo>
                <a:lnTo>
                  <a:pt x="1732" y="1216"/>
                </a:lnTo>
                <a:lnTo>
                  <a:pt x="1736" y="1218"/>
                </a:lnTo>
                <a:lnTo>
                  <a:pt x="1738" y="1220"/>
                </a:lnTo>
                <a:lnTo>
                  <a:pt x="1738" y="1220"/>
                </a:lnTo>
                <a:lnTo>
                  <a:pt x="1738" y="1224"/>
                </a:lnTo>
                <a:lnTo>
                  <a:pt x="1740" y="1226"/>
                </a:lnTo>
                <a:lnTo>
                  <a:pt x="1746" y="1226"/>
                </a:lnTo>
                <a:lnTo>
                  <a:pt x="1746" y="1226"/>
                </a:lnTo>
                <a:lnTo>
                  <a:pt x="1746" y="1232"/>
                </a:lnTo>
                <a:lnTo>
                  <a:pt x="1752" y="1232"/>
                </a:lnTo>
                <a:lnTo>
                  <a:pt x="1752" y="1232"/>
                </a:lnTo>
                <a:lnTo>
                  <a:pt x="1750" y="1230"/>
                </a:lnTo>
                <a:lnTo>
                  <a:pt x="1748" y="1228"/>
                </a:lnTo>
                <a:lnTo>
                  <a:pt x="1750" y="1226"/>
                </a:lnTo>
                <a:lnTo>
                  <a:pt x="1752" y="1224"/>
                </a:lnTo>
                <a:lnTo>
                  <a:pt x="1752" y="1224"/>
                </a:lnTo>
                <a:lnTo>
                  <a:pt x="1750" y="1222"/>
                </a:lnTo>
                <a:lnTo>
                  <a:pt x="1748" y="1220"/>
                </a:lnTo>
                <a:lnTo>
                  <a:pt x="1748" y="1220"/>
                </a:lnTo>
                <a:lnTo>
                  <a:pt x="1750" y="1218"/>
                </a:lnTo>
                <a:lnTo>
                  <a:pt x="1754" y="1216"/>
                </a:lnTo>
                <a:lnTo>
                  <a:pt x="1754" y="1216"/>
                </a:lnTo>
                <a:lnTo>
                  <a:pt x="1766" y="1216"/>
                </a:lnTo>
                <a:lnTo>
                  <a:pt x="1780" y="1218"/>
                </a:lnTo>
                <a:lnTo>
                  <a:pt x="1780" y="1218"/>
                </a:lnTo>
                <a:lnTo>
                  <a:pt x="1780" y="1210"/>
                </a:lnTo>
                <a:lnTo>
                  <a:pt x="1780" y="1210"/>
                </a:lnTo>
                <a:lnTo>
                  <a:pt x="1780" y="1210"/>
                </a:lnTo>
                <a:lnTo>
                  <a:pt x="1780" y="1210"/>
                </a:lnTo>
                <a:lnTo>
                  <a:pt x="1772" y="1210"/>
                </a:lnTo>
                <a:lnTo>
                  <a:pt x="1768" y="1208"/>
                </a:lnTo>
                <a:lnTo>
                  <a:pt x="1768" y="1208"/>
                </a:lnTo>
                <a:lnTo>
                  <a:pt x="1766" y="1208"/>
                </a:lnTo>
                <a:lnTo>
                  <a:pt x="1766" y="1208"/>
                </a:lnTo>
                <a:lnTo>
                  <a:pt x="1770" y="1206"/>
                </a:lnTo>
                <a:lnTo>
                  <a:pt x="1770" y="1206"/>
                </a:lnTo>
                <a:lnTo>
                  <a:pt x="1780" y="1206"/>
                </a:lnTo>
                <a:lnTo>
                  <a:pt x="1780" y="1206"/>
                </a:lnTo>
                <a:lnTo>
                  <a:pt x="1782" y="1204"/>
                </a:lnTo>
                <a:lnTo>
                  <a:pt x="1782" y="1204"/>
                </a:lnTo>
                <a:lnTo>
                  <a:pt x="1778" y="1206"/>
                </a:lnTo>
                <a:lnTo>
                  <a:pt x="1778" y="1200"/>
                </a:lnTo>
                <a:lnTo>
                  <a:pt x="1778" y="1200"/>
                </a:lnTo>
                <a:lnTo>
                  <a:pt x="1782" y="1200"/>
                </a:lnTo>
                <a:lnTo>
                  <a:pt x="1782" y="1200"/>
                </a:lnTo>
                <a:lnTo>
                  <a:pt x="1784" y="1174"/>
                </a:lnTo>
                <a:lnTo>
                  <a:pt x="1784" y="1174"/>
                </a:lnTo>
                <a:lnTo>
                  <a:pt x="1788" y="1176"/>
                </a:lnTo>
                <a:lnTo>
                  <a:pt x="1792" y="1178"/>
                </a:lnTo>
                <a:lnTo>
                  <a:pt x="1792" y="1178"/>
                </a:lnTo>
                <a:lnTo>
                  <a:pt x="1792" y="1184"/>
                </a:lnTo>
                <a:lnTo>
                  <a:pt x="1792" y="1190"/>
                </a:lnTo>
                <a:lnTo>
                  <a:pt x="1792" y="1190"/>
                </a:lnTo>
                <a:lnTo>
                  <a:pt x="1790" y="1190"/>
                </a:lnTo>
                <a:lnTo>
                  <a:pt x="1786" y="1192"/>
                </a:lnTo>
                <a:lnTo>
                  <a:pt x="1786" y="1192"/>
                </a:lnTo>
                <a:lnTo>
                  <a:pt x="1796" y="1194"/>
                </a:lnTo>
                <a:lnTo>
                  <a:pt x="1796" y="1194"/>
                </a:lnTo>
                <a:lnTo>
                  <a:pt x="1802" y="1200"/>
                </a:lnTo>
                <a:lnTo>
                  <a:pt x="1802" y="1200"/>
                </a:lnTo>
                <a:lnTo>
                  <a:pt x="1794" y="1200"/>
                </a:lnTo>
                <a:lnTo>
                  <a:pt x="1794" y="1200"/>
                </a:lnTo>
                <a:lnTo>
                  <a:pt x="1782" y="1204"/>
                </a:lnTo>
                <a:lnTo>
                  <a:pt x="1782" y="1204"/>
                </a:lnTo>
                <a:lnTo>
                  <a:pt x="1782" y="1206"/>
                </a:lnTo>
                <a:lnTo>
                  <a:pt x="1782" y="1206"/>
                </a:lnTo>
                <a:lnTo>
                  <a:pt x="1786" y="1208"/>
                </a:lnTo>
                <a:lnTo>
                  <a:pt x="1786" y="1208"/>
                </a:lnTo>
                <a:lnTo>
                  <a:pt x="1786" y="1208"/>
                </a:lnTo>
                <a:lnTo>
                  <a:pt x="1786" y="1208"/>
                </a:lnTo>
                <a:lnTo>
                  <a:pt x="1802" y="1212"/>
                </a:lnTo>
                <a:lnTo>
                  <a:pt x="1802" y="1212"/>
                </a:lnTo>
                <a:lnTo>
                  <a:pt x="1798" y="1214"/>
                </a:lnTo>
                <a:lnTo>
                  <a:pt x="1794" y="1214"/>
                </a:lnTo>
                <a:lnTo>
                  <a:pt x="1794" y="1214"/>
                </a:lnTo>
                <a:lnTo>
                  <a:pt x="1790" y="1212"/>
                </a:lnTo>
                <a:lnTo>
                  <a:pt x="1784" y="1210"/>
                </a:lnTo>
                <a:lnTo>
                  <a:pt x="1784" y="1210"/>
                </a:lnTo>
                <a:lnTo>
                  <a:pt x="1780" y="1218"/>
                </a:lnTo>
                <a:lnTo>
                  <a:pt x="1780" y="1218"/>
                </a:lnTo>
                <a:lnTo>
                  <a:pt x="1782" y="1218"/>
                </a:lnTo>
                <a:lnTo>
                  <a:pt x="1782" y="1218"/>
                </a:lnTo>
                <a:lnTo>
                  <a:pt x="1778" y="1224"/>
                </a:lnTo>
                <a:lnTo>
                  <a:pt x="1778" y="1224"/>
                </a:lnTo>
                <a:lnTo>
                  <a:pt x="1786" y="1230"/>
                </a:lnTo>
                <a:lnTo>
                  <a:pt x="1786" y="1230"/>
                </a:lnTo>
                <a:lnTo>
                  <a:pt x="1776" y="1234"/>
                </a:lnTo>
                <a:lnTo>
                  <a:pt x="1776" y="1234"/>
                </a:lnTo>
                <a:lnTo>
                  <a:pt x="1788" y="1240"/>
                </a:lnTo>
                <a:lnTo>
                  <a:pt x="1788" y="1240"/>
                </a:lnTo>
                <a:lnTo>
                  <a:pt x="1782" y="1246"/>
                </a:lnTo>
                <a:lnTo>
                  <a:pt x="1782" y="1246"/>
                </a:lnTo>
                <a:lnTo>
                  <a:pt x="1774" y="1246"/>
                </a:lnTo>
                <a:lnTo>
                  <a:pt x="1770" y="1248"/>
                </a:lnTo>
                <a:lnTo>
                  <a:pt x="1768" y="1250"/>
                </a:lnTo>
                <a:lnTo>
                  <a:pt x="1766" y="1254"/>
                </a:lnTo>
                <a:lnTo>
                  <a:pt x="1748" y="1254"/>
                </a:lnTo>
                <a:lnTo>
                  <a:pt x="1748" y="1254"/>
                </a:lnTo>
                <a:lnTo>
                  <a:pt x="1760" y="1258"/>
                </a:lnTo>
                <a:lnTo>
                  <a:pt x="1764" y="1262"/>
                </a:lnTo>
                <a:lnTo>
                  <a:pt x="1766" y="1264"/>
                </a:lnTo>
                <a:lnTo>
                  <a:pt x="1764" y="1268"/>
                </a:lnTo>
                <a:lnTo>
                  <a:pt x="1764" y="1268"/>
                </a:lnTo>
                <a:lnTo>
                  <a:pt x="1756" y="1262"/>
                </a:lnTo>
                <a:lnTo>
                  <a:pt x="1756" y="1262"/>
                </a:lnTo>
                <a:lnTo>
                  <a:pt x="1754" y="1266"/>
                </a:lnTo>
                <a:lnTo>
                  <a:pt x="1752" y="1268"/>
                </a:lnTo>
                <a:lnTo>
                  <a:pt x="1746" y="1268"/>
                </a:lnTo>
                <a:lnTo>
                  <a:pt x="1738" y="1270"/>
                </a:lnTo>
                <a:lnTo>
                  <a:pt x="1732" y="1270"/>
                </a:lnTo>
                <a:lnTo>
                  <a:pt x="1732" y="1270"/>
                </a:lnTo>
                <a:lnTo>
                  <a:pt x="1734" y="1274"/>
                </a:lnTo>
                <a:lnTo>
                  <a:pt x="1732" y="1276"/>
                </a:lnTo>
                <a:lnTo>
                  <a:pt x="1732" y="1276"/>
                </a:lnTo>
                <a:lnTo>
                  <a:pt x="1728" y="1280"/>
                </a:lnTo>
                <a:lnTo>
                  <a:pt x="1726" y="1282"/>
                </a:lnTo>
                <a:lnTo>
                  <a:pt x="1726" y="1288"/>
                </a:lnTo>
                <a:lnTo>
                  <a:pt x="1726" y="1288"/>
                </a:lnTo>
                <a:lnTo>
                  <a:pt x="1722" y="1292"/>
                </a:lnTo>
                <a:lnTo>
                  <a:pt x="1722" y="1292"/>
                </a:lnTo>
                <a:lnTo>
                  <a:pt x="1720" y="1296"/>
                </a:lnTo>
                <a:lnTo>
                  <a:pt x="1720" y="1296"/>
                </a:lnTo>
                <a:lnTo>
                  <a:pt x="1728" y="1298"/>
                </a:lnTo>
                <a:lnTo>
                  <a:pt x="1728" y="1298"/>
                </a:lnTo>
                <a:lnTo>
                  <a:pt x="1734" y="1296"/>
                </a:lnTo>
                <a:lnTo>
                  <a:pt x="1734" y="1296"/>
                </a:lnTo>
                <a:lnTo>
                  <a:pt x="1734" y="1294"/>
                </a:lnTo>
                <a:lnTo>
                  <a:pt x="1734" y="1292"/>
                </a:lnTo>
                <a:lnTo>
                  <a:pt x="1738" y="1286"/>
                </a:lnTo>
                <a:lnTo>
                  <a:pt x="1744" y="1284"/>
                </a:lnTo>
                <a:lnTo>
                  <a:pt x="1748" y="1280"/>
                </a:lnTo>
                <a:lnTo>
                  <a:pt x="1748" y="1280"/>
                </a:lnTo>
                <a:lnTo>
                  <a:pt x="1758" y="1278"/>
                </a:lnTo>
                <a:lnTo>
                  <a:pt x="1768" y="1280"/>
                </a:lnTo>
                <a:lnTo>
                  <a:pt x="1788" y="1286"/>
                </a:lnTo>
                <a:lnTo>
                  <a:pt x="1788" y="1286"/>
                </a:lnTo>
                <a:lnTo>
                  <a:pt x="1788" y="1278"/>
                </a:lnTo>
                <a:lnTo>
                  <a:pt x="1792" y="1276"/>
                </a:lnTo>
                <a:lnTo>
                  <a:pt x="1796" y="1274"/>
                </a:lnTo>
                <a:lnTo>
                  <a:pt x="1796" y="1274"/>
                </a:lnTo>
                <a:lnTo>
                  <a:pt x="1798" y="1272"/>
                </a:lnTo>
                <a:lnTo>
                  <a:pt x="1798" y="1272"/>
                </a:lnTo>
                <a:lnTo>
                  <a:pt x="1798" y="1268"/>
                </a:lnTo>
                <a:lnTo>
                  <a:pt x="1800" y="1266"/>
                </a:lnTo>
                <a:lnTo>
                  <a:pt x="1808" y="1262"/>
                </a:lnTo>
                <a:lnTo>
                  <a:pt x="1808" y="1262"/>
                </a:lnTo>
                <a:lnTo>
                  <a:pt x="1818" y="1266"/>
                </a:lnTo>
                <a:lnTo>
                  <a:pt x="1820" y="1266"/>
                </a:lnTo>
                <a:lnTo>
                  <a:pt x="1824" y="1264"/>
                </a:lnTo>
                <a:lnTo>
                  <a:pt x="1824" y="1264"/>
                </a:lnTo>
                <a:lnTo>
                  <a:pt x="1790" y="1248"/>
                </a:lnTo>
                <a:lnTo>
                  <a:pt x="1790" y="1248"/>
                </a:lnTo>
                <a:lnTo>
                  <a:pt x="1796" y="1242"/>
                </a:lnTo>
                <a:lnTo>
                  <a:pt x="1796" y="1242"/>
                </a:lnTo>
                <a:lnTo>
                  <a:pt x="1796" y="1240"/>
                </a:lnTo>
                <a:lnTo>
                  <a:pt x="1796" y="1240"/>
                </a:lnTo>
                <a:lnTo>
                  <a:pt x="1796" y="1240"/>
                </a:lnTo>
                <a:lnTo>
                  <a:pt x="1794" y="1236"/>
                </a:lnTo>
                <a:lnTo>
                  <a:pt x="1794" y="1232"/>
                </a:lnTo>
                <a:lnTo>
                  <a:pt x="1796" y="1224"/>
                </a:lnTo>
                <a:lnTo>
                  <a:pt x="1796" y="1224"/>
                </a:lnTo>
                <a:lnTo>
                  <a:pt x="1802" y="1222"/>
                </a:lnTo>
                <a:lnTo>
                  <a:pt x="1802" y="1222"/>
                </a:lnTo>
                <a:lnTo>
                  <a:pt x="1808" y="1218"/>
                </a:lnTo>
                <a:lnTo>
                  <a:pt x="1816" y="1220"/>
                </a:lnTo>
                <a:lnTo>
                  <a:pt x="1816" y="1220"/>
                </a:lnTo>
                <a:lnTo>
                  <a:pt x="1816" y="1222"/>
                </a:lnTo>
                <a:lnTo>
                  <a:pt x="1816" y="1222"/>
                </a:lnTo>
                <a:lnTo>
                  <a:pt x="1816" y="1224"/>
                </a:lnTo>
                <a:lnTo>
                  <a:pt x="1818" y="1226"/>
                </a:lnTo>
                <a:lnTo>
                  <a:pt x="1822" y="1230"/>
                </a:lnTo>
                <a:lnTo>
                  <a:pt x="1822" y="1230"/>
                </a:lnTo>
                <a:lnTo>
                  <a:pt x="1830" y="1228"/>
                </a:lnTo>
                <a:lnTo>
                  <a:pt x="1834" y="1226"/>
                </a:lnTo>
                <a:lnTo>
                  <a:pt x="1834" y="1226"/>
                </a:lnTo>
                <a:lnTo>
                  <a:pt x="1840" y="1220"/>
                </a:lnTo>
                <a:lnTo>
                  <a:pt x="1846" y="1218"/>
                </a:lnTo>
                <a:lnTo>
                  <a:pt x="1846" y="1218"/>
                </a:lnTo>
                <a:lnTo>
                  <a:pt x="1850" y="1220"/>
                </a:lnTo>
                <a:lnTo>
                  <a:pt x="1850" y="1220"/>
                </a:lnTo>
                <a:lnTo>
                  <a:pt x="1854" y="1216"/>
                </a:lnTo>
                <a:lnTo>
                  <a:pt x="1854" y="1216"/>
                </a:lnTo>
                <a:lnTo>
                  <a:pt x="1862" y="1218"/>
                </a:lnTo>
                <a:lnTo>
                  <a:pt x="1862" y="1218"/>
                </a:lnTo>
                <a:lnTo>
                  <a:pt x="1860" y="1216"/>
                </a:lnTo>
                <a:lnTo>
                  <a:pt x="1860" y="1216"/>
                </a:lnTo>
                <a:lnTo>
                  <a:pt x="1860" y="1216"/>
                </a:lnTo>
                <a:lnTo>
                  <a:pt x="1860" y="1216"/>
                </a:lnTo>
                <a:lnTo>
                  <a:pt x="1860" y="1214"/>
                </a:lnTo>
                <a:lnTo>
                  <a:pt x="1860" y="1214"/>
                </a:lnTo>
                <a:lnTo>
                  <a:pt x="1858" y="1214"/>
                </a:lnTo>
                <a:lnTo>
                  <a:pt x="1858" y="1214"/>
                </a:lnTo>
                <a:lnTo>
                  <a:pt x="1868" y="1210"/>
                </a:lnTo>
                <a:lnTo>
                  <a:pt x="1880" y="1210"/>
                </a:lnTo>
                <a:lnTo>
                  <a:pt x="1880" y="1210"/>
                </a:lnTo>
                <a:lnTo>
                  <a:pt x="1884" y="1208"/>
                </a:lnTo>
                <a:lnTo>
                  <a:pt x="1884" y="1208"/>
                </a:lnTo>
                <a:lnTo>
                  <a:pt x="1884" y="1216"/>
                </a:lnTo>
                <a:lnTo>
                  <a:pt x="1884" y="1216"/>
                </a:lnTo>
                <a:lnTo>
                  <a:pt x="1886" y="1214"/>
                </a:lnTo>
                <a:lnTo>
                  <a:pt x="1886" y="1206"/>
                </a:lnTo>
                <a:lnTo>
                  <a:pt x="1886" y="1206"/>
                </a:lnTo>
                <a:lnTo>
                  <a:pt x="1910" y="1192"/>
                </a:lnTo>
                <a:lnTo>
                  <a:pt x="1928" y="1178"/>
                </a:lnTo>
                <a:lnTo>
                  <a:pt x="1928" y="1178"/>
                </a:lnTo>
                <a:lnTo>
                  <a:pt x="1938" y="1180"/>
                </a:lnTo>
                <a:lnTo>
                  <a:pt x="1938" y="1180"/>
                </a:lnTo>
                <a:lnTo>
                  <a:pt x="1938" y="1178"/>
                </a:lnTo>
                <a:lnTo>
                  <a:pt x="1940" y="1176"/>
                </a:lnTo>
                <a:lnTo>
                  <a:pt x="1946" y="1174"/>
                </a:lnTo>
                <a:lnTo>
                  <a:pt x="1952" y="1174"/>
                </a:lnTo>
                <a:lnTo>
                  <a:pt x="1958" y="1172"/>
                </a:lnTo>
                <a:lnTo>
                  <a:pt x="1958" y="1172"/>
                </a:lnTo>
                <a:lnTo>
                  <a:pt x="1940" y="1166"/>
                </a:lnTo>
                <a:lnTo>
                  <a:pt x="1940" y="1166"/>
                </a:lnTo>
                <a:lnTo>
                  <a:pt x="1950" y="1156"/>
                </a:lnTo>
                <a:lnTo>
                  <a:pt x="1952" y="1148"/>
                </a:lnTo>
                <a:lnTo>
                  <a:pt x="1952" y="1142"/>
                </a:lnTo>
                <a:lnTo>
                  <a:pt x="1948" y="1136"/>
                </a:lnTo>
                <a:lnTo>
                  <a:pt x="1948" y="1136"/>
                </a:lnTo>
                <a:lnTo>
                  <a:pt x="1952" y="1138"/>
                </a:lnTo>
                <a:lnTo>
                  <a:pt x="1956" y="1140"/>
                </a:lnTo>
                <a:lnTo>
                  <a:pt x="1956" y="1140"/>
                </a:lnTo>
                <a:lnTo>
                  <a:pt x="1958" y="1142"/>
                </a:lnTo>
                <a:lnTo>
                  <a:pt x="1962" y="1140"/>
                </a:lnTo>
                <a:lnTo>
                  <a:pt x="1962" y="1140"/>
                </a:lnTo>
                <a:lnTo>
                  <a:pt x="1956" y="1132"/>
                </a:lnTo>
                <a:lnTo>
                  <a:pt x="1956" y="1132"/>
                </a:lnTo>
                <a:lnTo>
                  <a:pt x="1980" y="1132"/>
                </a:lnTo>
                <a:lnTo>
                  <a:pt x="1992" y="1134"/>
                </a:lnTo>
                <a:lnTo>
                  <a:pt x="2002" y="1138"/>
                </a:lnTo>
                <a:lnTo>
                  <a:pt x="2002" y="1138"/>
                </a:lnTo>
                <a:lnTo>
                  <a:pt x="2004" y="1138"/>
                </a:lnTo>
                <a:lnTo>
                  <a:pt x="2008" y="1140"/>
                </a:lnTo>
                <a:lnTo>
                  <a:pt x="2008" y="1140"/>
                </a:lnTo>
                <a:lnTo>
                  <a:pt x="2012" y="1140"/>
                </a:lnTo>
                <a:lnTo>
                  <a:pt x="2016" y="1140"/>
                </a:lnTo>
                <a:lnTo>
                  <a:pt x="2018" y="1144"/>
                </a:lnTo>
                <a:lnTo>
                  <a:pt x="2018" y="1144"/>
                </a:lnTo>
                <a:lnTo>
                  <a:pt x="2020" y="1148"/>
                </a:lnTo>
                <a:lnTo>
                  <a:pt x="2024" y="1152"/>
                </a:lnTo>
                <a:lnTo>
                  <a:pt x="2024" y="1152"/>
                </a:lnTo>
                <a:lnTo>
                  <a:pt x="2028" y="1152"/>
                </a:lnTo>
                <a:lnTo>
                  <a:pt x="2032" y="1156"/>
                </a:lnTo>
                <a:lnTo>
                  <a:pt x="2034" y="1160"/>
                </a:lnTo>
                <a:lnTo>
                  <a:pt x="2034" y="1160"/>
                </a:lnTo>
                <a:lnTo>
                  <a:pt x="2046" y="1162"/>
                </a:lnTo>
                <a:lnTo>
                  <a:pt x="2056" y="1162"/>
                </a:lnTo>
                <a:lnTo>
                  <a:pt x="2076" y="1156"/>
                </a:lnTo>
                <a:lnTo>
                  <a:pt x="2076" y="1156"/>
                </a:lnTo>
                <a:lnTo>
                  <a:pt x="2080" y="1150"/>
                </a:lnTo>
                <a:lnTo>
                  <a:pt x="2080" y="1150"/>
                </a:lnTo>
                <a:lnTo>
                  <a:pt x="2084" y="1150"/>
                </a:lnTo>
                <a:lnTo>
                  <a:pt x="2086" y="1150"/>
                </a:lnTo>
                <a:lnTo>
                  <a:pt x="2094" y="1148"/>
                </a:lnTo>
                <a:lnTo>
                  <a:pt x="2094" y="1148"/>
                </a:lnTo>
                <a:lnTo>
                  <a:pt x="2096" y="1140"/>
                </a:lnTo>
                <a:lnTo>
                  <a:pt x="2096" y="1140"/>
                </a:lnTo>
                <a:lnTo>
                  <a:pt x="2092" y="1136"/>
                </a:lnTo>
                <a:lnTo>
                  <a:pt x="2092" y="1136"/>
                </a:lnTo>
                <a:lnTo>
                  <a:pt x="2084" y="1138"/>
                </a:lnTo>
                <a:lnTo>
                  <a:pt x="2084" y="1138"/>
                </a:lnTo>
                <a:lnTo>
                  <a:pt x="2092" y="1136"/>
                </a:lnTo>
                <a:lnTo>
                  <a:pt x="2092" y="1136"/>
                </a:lnTo>
                <a:lnTo>
                  <a:pt x="2092" y="1136"/>
                </a:lnTo>
                <a:lnTo>
                  <a:pt x="2092" y="1136"/>
                </a:lnTo>
                <a:lnTo>
                  <a:pt x="2092" y="1136"/>
                </a:lnTo>
                <a:lnTo>
                  <a:pt x="2092" y="1136"/>
                </a:lnTo>
                <a:lnTo>
                  <a:pt x="2092" y="1136"/>
                </a:lnTo>
                <a:lnTo>
                  <a:pt x="2092" y="1136"/>
                </a:lnTo>
                <a:lnTo>
                  <a:pt x="2092" y="1136"/>
                </a:lnTo>
                <a:lnTo>
                  <a:pt x="2092" y="1136"/>
                </a:lnTo>
                <a:lnTo>
                  <a:pt x="2096" y="1140"/>
                </a:lnTo>
                <a:lnTo>
                  <a:pt x="2096" y="1140"/>
                </a:lnTo>
                <a:lnTo>
                  <a:pt x="2104" y="1118"/>
                </a:lnTo>
                <a:lnTo>
                  <a:pt x="2108" y="1108"/>
                </a:lnTo>
                <a:lnTo>
                  <a:pt x="2110" y="1102"/>
                </a:lnTo>
                <a:lnTo>
                  <a:pt x="2110" y="1102"/>
                </a:lnTo>
                <a:lnTo>
                  <a:pt x="2106" y="1120"/>
                </a:lnTo>
                <a:lnTo>
                  <a:pt x="2100" y="1142"/>
                </a:lnTo>
                <a:lnTo>
                  <a:pt x="2100" y="1142"/>
                </a:lnTo>
                <a:lnTo>
                  <a:pt x="2100" y="1142"/>
                </a:lnTo>
                <a:lnTo>
                  <a:pt x="2100" y="1142"/>
                </a:lnTo>
                <a:lnTo>
                  <a:pt x="2106" y="1122"/>
                </a:lnTo>
                <a:lnTo>
                  <a:pt x="2112" y="1102"/>
                </a:lnTo>
                <a:lnTo>
                  <a:pt x="2112" y="1102"/>
                </a:lnTo>
                <a:lnTo>
                  <a:pt x="2112" y="1102"/>
                </a:lnTo>
                <a:lnTo>
                  <a:pt x="2112" y="1102"/>
                </a:lnTo>
                <a:lnTo>
                  <a:pt x="2116" y="1104"/>
                </a:lnTo>
                <a:lnTo>
                  <a:pt x="2118" y="1106"/>
                </a:lnTo>
                <a:lnTo>
                  <a:pt x="2122" y="1106"/>
                </a:lnTo>
                <a:lnTo>
                  <a:pt x="2128" y="1104"/>
                </a:lnTo>
                <a:lnTo>
                  <a:pt x="2128" y="1104"/>
                </a:lnTo>
                <a:lnTo>
                  <a:pt x="2136" y="1100"/>
                </a:lnTo>
                <a:lnTo>
                  <a:pt x="2142" y="1100"/>
                </a:lnTo>
                <a:lnTo>
                  <a:pt x="2150" y="1100"/>
                </a:lnTo>
                <a:lnTo>
                  <a:pt x="2158" y="1102"/>
                </a:lnTo>
                <a:lnTo>
                  <a:pt x="2158" y="1102"/>
                </a:lnTo>
                <a:lnTo>
                  <a:pt x="2164" y="1104"/>
                </a:lnTo>
                <a:lnTo>
                  <a:pt x="2170" y="1102"/>
                </a:lnTo>
                <a:lnTo>
                  <a:pt x="2170" y="1102"/>
                </a:lnTo>
                <a:lnTo>
                  <a:pt x="2180" y="1098"/>
                </a:lnTo>
                <a:lnTo>
                  <a:pt x="2180" y="1098"/>
                </a:lnTo>
                <a:lnTo>
                  <a:pt x="2186" y="1102"/>
                </a:lnTo>
                <a:lnTo>
                  <a:pt x="2196" y="1104"/>
                </a:lnTo>
                <a:lnTo>
                  <a:pt x="2204" y="1104"/>
                </a:lnTo>
                <a:lnTo>
                  <a:pt x="2212" y="1108"/>
                </a:lnTo>
                <a:lnTo>
                  <a:pt x="2212" y="1108"/>
                </a:lnTo>
                <a:lnTo>
                  <a:pt x="2212" y="1112"/>
                </a:lnTo>
                <a:lnTo>
                  <a:pt x="2214" y="1114"/>
                </a:lnTo>
                <a:lnTo>
                  <a:pt x="2222" y="1118"/>
                </a:lnTo>
                <a:lnTo>
                  <a:pt x="2222" y="1118"/>
                </a:lnTo>
                <a:lnTo>
                  <a:pt x="2206" y="1130"/>
                </a:lnTo>
                <a:lnTo>
                  <a:pt x="2206" y="1130"/>
                </a:lnTo>
                <a:lnTo>
                  <a:pt x="2198" y="1122"/>
                </a:lnTo>
                <a:lnTo>
                  <a:pt x="2198" y="1122"/>
                </a:lnTo>
                <a:lnTo>
                  <a:pt x="2190" y="1126"/>
                </a:lnTo>
                <a:lnTo>
                  <a:pt x="2190" y="1126"/>
                </a:lnTo>
                <a:lnTo>
                  <a:pt x="2186" y="1124"/>
                </a:lnTo>
                <a:lnTo>
                  <a:pt x="2186" y="1124"/>
                </a:lnTo>
                <a:lnTo>
                  <a:pt x="2188" y="1120"/>
                </a:lnTo>
                <a:lnTo>
                  <a:pt x="2188" y="1120"/>
                </a:lnTo>
                <a:lnTo>
                  <a:pt x="2182" y="1118"/>
                </a:lnTo>
                <a:lnTo>
                  <a:pt x="2176" y="1116"/>
                </a:lnTo>
                <a:lnTo>
                  <a:pt x="2162" y="1118"/>
                </a:lnTo>
                <a:lnTo>
                  <a:pt x="2162" y="1118"/>
                </a:lnTo>
                <a:lnTo>
                  <a:pt x="2172" y="1122"/>
                </a:lnTo>
                <a:lnTo>
                  <a:pt x="2172" y="1122"/>
                </a:lnTo>
                <a:lnTo>
                  <a:pt x="2184" y="1132"/>
                </a:lnTo>
                <a:lnTo>
                  <a:pt x="2192" y="1134"/>
                </a:lnTo>
                <a:lnTo>
                  <a:pt x="2202" y="1134"/>
                </a:lnTo>
                <a:lnTo>
                  <a:pt x="2202" y="1134"/>
                </a:lnTo>
                <a:lnTo>
                  <a:pt x="2202" y="1134"/>
                </a:lnTo>
                <a:lnTo>
                  <a:pt x="2202" y="1134"/>
                </a:lnTo>
                <a:lnTo>
                  <a:pt x="2216" y="1136"/>
                </a:lnTo>
                <a:lnTo>
                  <a:pt x="2226" y="1134"/>
                </a:lnTo>
                <a:lnTo>
                  <a:pt x="2226" y="1134"/>
                </a:lnTo>
                <a:lnTo>
                  <a:pt x="2244" y="1144"/>
                </a:lnTo>
                <a:lnTo>
                  <a:pt x="2244" y="1144"/>
                </a:lnTo>
                <a:lnTo>
                  <a:pt x="2228" y="1148"/>
                </a:lnTo>
                <a:lnTo>
                  <a:pt x="2228" y="1148"/>
                </a:lnTo>
                <a:lnTo>
                  <a:pt x="2228" y="1150"/>
                </a:lnTo>
                <a:lnTo>
                  <a:pt x="2228" y="1150"/>
                </a:lnTo>
                <a:lnTo>
                  <a:pt x="2240" y="1150"/>
                </a:lnTo>
                <a:lnTo>
                  <a:pt x="2240" y="1150"/>
                </a:lnTo>
                <a:lnTo>
                  <a:pt x="2240" y="1152"/>
                </a:lnTo>
                <a:lnTo>
                  <a:pt x="2240" y="1152"/>
                </a:lnTo>
                <a:lnTo>
                  <a:pt x="2230" y="1156"/>
                </a:lnTo>
                <a:lnTo>
                  <a:pt x="2230" y="1156"/>
                </a:lnTo>
                <a:lnTo>
                  <a:pt x="2240" y="1160"/>
                </a:lnTo>
                <a:lnTo>
                  <a:pt x="2240" y="1160"/>
                </a:lnTo>
                <a:lnTo>
                  <a:pt x="2250" y="1156"/>
                </a:lnTo>
                <a:lnTo>
                  <a:pt x="2250" y="1156"/>
                </a:lnTo>
                <a:lnTo>
                  <a:pt x="2256" y="1168"/>
                </a:lnTo>
                <a:lnTo>
                  <a:pt x="2256" y="1168"/>
                </a:lnTo>
                <a:lnTo>
                  <a:pt x="2258" y="1168"/>
                </a:lnTo>
                <a:lnTo>
                  <a:pt x="2258" y="1168"/>
                </a:lnTo>
                <a:lnTo>
                  <a:pt x="2262" y="1164"/>
                </a:lnTo>
                <a:lnTo>
                  <a:pt x="2262" y="1164"/>
                </a:lnTo>
                <a:lnTo>
                  <a:pt x="2270" y="1168"/>
                </a:lnTo>
                <a:lnTo>
                  <a:pt x="2270" y="1168"/>
                </a:lnTo>
                <a:lnTo>
                  <a:pt x="2252" y="1176"/>
                </a:lnTo>
                <a:lnTo>
                  <a:pt x="2252" y="1176"/>
                </a:lnTo>
                <a:lnTo>
                  <a:pt x="2258" y="1184"/>
                </a:lnTo>
                <a:lnTo>
                  <a:pt x="2258" y="1184"/>
                </a:lnTo>
                <a:lnTo>
                  <a:pt x="2268" y="1180"/>
                </a:lnTo>
                <a:lnTo>
                  <a:pt x="2268" y="1180"/>
                </a:lnTo>
                <a:lnTo>
                  <a:pt x="2276" y="1178"/>
                </a:lnTo>
                <a:lnTo>
                  <a:pt x="2286" y="1180"/>
                </a:lnTo>
                <a:lnTo>
                  <a:pt x="2286" y="1180"/>
                </a:lnTo>
                <a:lnTo>
                  <a:pt x="2278" y="1180"/>
                </a:lnTo>
                <a:lnTo>
                  <a:pt x="2274" y="1182"/>
                </a:lnTo>
                <a:lnTo>
                  <a:pt x="2272" y="1184"/>
                </a:lnTo>
                <a:lnTo>
                  <a:pt x="2272" y="1184"/>
                </a:lnTo>
                <a:lnTo>
                  <a:pt x="2276" y="1186"/>
                </a:lnTo>
                <a:lnTo>
                  <a:pt x="2278" y="1186"/>
                </a:lnTo>
                <a:lnTo>
                  <a:pt x="2286" y="1184"/>
                </a:lnTo>
                <a:lnTo>
                  <a:pt x="2286" y="1184"/>
                </a:lnTo>
                <a:lnTo>
                  <a:pt x="2292" y="1182"/>
                </a:lnTo>
                <a:lnTo>
                  <a:pt x="2298" y="1184"/>
                </a:lnTo>
                <a:lnTo>
                  <a:pt x="2298" y="1184"/>
                </a:lnTo>
                <a:lnTo>
                  <a:pt x="2302" y="1190"/>
                </a:lnTo>
                <a:lnTo>
                  <a:pt x="2302" y="1190"/>
                </a:lnTo>
                <a:lnTo>
                  <a:pt x="2306" y="1196"/>
                </a:lnTo>
                <a:lnTo>
                  <a:pt x="2306" y="1196"/>
                </a:lnTo>
                <a:lnTo>
                  <a:pt x="2308" y="1198"/>
                </a:lnTo>
                <a:lnTo>
                  <a:pt x="2310" y="1200"/>
                </a:lnTo>
                <a:lnTo>
                  <a:pt x="2318" y="1198"/>
                </a:lnTo>
                <a:lnTo>
                  <a:pt x="2318" y="1198"/>
                </a:lnTo>
                <a:lnTo>
                  <a:pt x="2306" y="1188"/>
                </a:lnTo>
                <a:lnTo>
                  <a:pt x="2306" y="1188"/>
                </a:lnTo>
                <a:lnTo>
                  <a:pt x="2322" y="1186"/>
                </a:lnTo>
                <a:lnTo>
                  <a:pt x="2322" y="1186"/>
                </a:lnTo>
                <a:lnTo>
                  <a:pt x="2340" y="1182"/>
                </a:lnTo>
                <a:lnTo>
                  <a:pt x="2340" y="1182"/>
                </a:lnTo>
                <a:lnTo>
                  <a:pt x="2344" y="1178"/>
                </a:lnTo>
                <a:lnTo>
                  <a:pt x="2348" y="1176"/>
                </a:lnTo>
                <a:lnTo>
                  <a:pt x="2348" y="1176"/>
                </a:lnTo>
                <a:lnTo>
                  <a:pt x="2358" y="1174"/>
                </a:lnTo>
                <a:lnTo>
                  <a:pt x="2364" y="1174"/>
                </a:lnTo>
                <a:lnTo>
                  <a:pt x="2370" y="1174"/>
                </a:lnTo>
                <a:lnTo>
                  <a:pt x="2370" y="1174"/>
                </a:lnTo>
                <a:lnTo>
                  <a:pt x="2374" y="1180"/>
                </a:lnTo>
                <a:lnTo>
                  <a:pt x="2382" y="1180"/>
                </a:lnTo>
                <a:lnTo>
                  <a:pt x="2382" y="1180"/>
                </a:lnTo>
                <a:lnTo>
                  <a:pt x="2384" y="1178"/>
                </a:lnTo>
                <a:lnTo>
                  <a:pt x="2386" y="1176"/>
                </a:lnTo>
                <a:lnTo>
                  <a:pt x="2386" y="1176"/>
                </a:lnTo>
                <a:lnTo>
                  <a:pt x="2374" y="1172"/>
                </a:lnTo>
                <a:lnTo>
                  <a:pt x="2374" y="1172"/>
                </a:lnTo>
                <a:lnTo>
                  <a:pt x="2374" y="1170"/>
                </a:lnTo>
                <a:lnTo>
                  <a:pt x="2374" y="1170"/>
                </a:lnTo>
                <a:lnTo>
                  <a:pt x="2394" y="1170"/>
                </a:lnTo>
                <a:lnTo>
                  <a:pt x="2394" y="1170"/>
                </a:lnTo>
                <a:lnTo>
                  <a:pt x="2396" y="1162"/>
                </a:lnTo>
                <a:lnTo>
                  <a:pt x="2396" y="1162"/>
                </a:lnTo>
                <a:lnTo>
                  <a:pt x="2402" y="1170"/>
                </a:lnTo>
                <a:lnTo>
                  <a:pt x="2402" y="1170"/>
                </a:lnTo>
                <a:lnTo>
                  <a:pt x="2404" y="1172"/>
                </a:lnTo>
                <a:lnTo>
                  <a:pt x="2402" y="1176"/>
                </a:lnTo>
                <a:lnTo>
                  <a:pt x="2402" y="1176"/>
                </a:lnTo>
                <a:lnTo>
                  <a:pt x="2400" y="1180"/>
                </a:lnTo>
                <a:lnTo>
                  <a:pt x="2398" y="1182"/>
                </a:lnTo>
                <a:lnTo>
                  <a:pt x="2402" y="1184"/>
                </a:lnTo>
                <a:lnTo>
                  <a:pt x="2406" y="1186"/>
                </a:lnTo>
                <a:lnTo>
                  <a:pt x="2406" y="1186"/>
                </a:lnTo>
                <a:lnTo>
                  <a:pt x="2426" y="1186"/>
                </a:lnTo>
                <a:lnTo>
                  <a:pt x="2426" y="1186"/>
                </a:lnTo>
                <a:lnTo>
                  <a:pt x="2444" y="1184"/>
                </a:lnTo>
                <a:lnTo>
                  <a:pt x="2444" y="1184"/>
                </a:lnTo>
                <a:lnTo>
                  <a:pt x="2446" y="1184"/>
                </a:lnTo>
                <a:lnTo>
                  <a:pt x="2446" y="1184"/>
                </a:lnTo>
                <a:lnTo>
                  <a:pt x="2440" y="1190"/>
                </a:lnTo>
                <a:lnTo>
                  <a:pt x="2440" y="1190"/>
                </a:lnTo>
                <a:lnTo>
                  <a:pt x="2454" y="1190"/>
                </a:lnTo>
                <a:lnTo>
                  <a:pt x="2454" y="1190"/>
                </a:lnTo>
                <a:lnTo>
                  <a:pt x="2472" y="1188"/>
                </a:lnTo>
                <a:lnTo>
                  <a:pt x="2472" y="1188"/>
                </a:lnTo>
                <a:lnTo>
                  <a:pt x="2476" y="1188"/>
                </a:lnTo>
                <a:lnTo>
                  <a:pt x="2478" y="1190"/>
                </a:lnTo>
                <a:lnTo>
                  <a:pt x="2476" y="1196"/>
                </a:lnTo>
                <a:lnTo>
                  <a:pt x="2476" y="1196"/>
                </a:lnTo>
                <a:lnTo>
                  <a:pt x="2470" y="1192"/>
                </a:lnTo>
                <a:lnTo>
                  <a:pt x="2470" y="1192"/>
                </a:lnTo>
                <a:lnTo>
                  <a:pt x="2458" y="1196"/>
                </a:lnTo>
                <a:lnTo>
                  <a:pt x="2458" y="1196"/>
                </a:lnTo>
                <a:lnTo>
                  <a:pt x="2462" y="1198"/>
                </a:lnTo>
                <a:lnTo>
                  <a:pt x="2464" y="1200"/>
                </a:lnTo>
                <a:lnTo>
                  <a:pt x="2468" y="1200"/>
                </a:lnTo>
                <a:lnTo>
                  <a:pt x="2472" y="1198"/>
                </a:lnTo>
                <a:lnTo>
                  <a:pt x="2472" y="1198"/>
                </a:lnTo>
                <a:lnTo>
                  <a:pt x="2478" y="1198"/>
                </a:lnTo>
                <a:lnTo>
                  <a:pt x="2484" y="1198"/>
                </a:lnTo>
                <a:lnTo>
                  <a:pt x="2484" y="1198"/>
                </a:lnTo>
                <a:lnTo>
                  <a:pt x="2480" y="1202"/>
                </a:lnTo>
                <a:lnTo>
                  <a:pt x="2474" y="1204"/>
                </a:lnTo>
                <a:lnTo>
                  <a:pt x="2468" y="1206"/>
                </a:lnTo>
                <a:lnTo>
                  <a:pt x="2462" y="1210"/>
                </a:lnTo>
                <a:lnTo>
                  <a:pt x="2462" y="1210"/>
                </a:lnTo>
                <a:lnTo>
                  <a:pt x="2474" y="1208"/>
                </a:lnTo>
                <a:lnTo>
                  <a:pt x="2484" y="1208"/>
                </a:lnTo>
                <a:lnTo>
                  <a:pt x="2502" y="1214"/>
                </a:lnTo>
                <a:lnTo>
                  <a:pt x="2502" y="1214"/>
                </a:lnTo>
                <a:lnTo>
                  <a:pt x="2494" y="1220"/>
                </a:lnTo>
                <a:lnTo>
                  <a:pt x="2494" y="1220"/>
                </a:lnTo>
                <a:lnTo>
                  <a:pt x="2496" y="1222"/>
                </a:lnTo>
                <a:lnTo>
                  <a:pt x="2500" y="1220"/>
                </a:lnTo>
                <a:lnTo>
                  <a:pt x="2504" y="1218"/>
                </a:lnTo>
                <a:lnTo>
                  <a:pt x="2504" y="1218"/>
                </a:lnTo>
                <a:lnTo>
                  <a:pt x="2516" y="1218"/>
                </a:lnTo>
                <a:lnTo>
                  <a:pt x="2516" y="1218"/>
                </a:lnTo>
                <a:lnTo>
                  <a:pt x="2510" y="1230"/>
                </a:lnTo>
                <a:lnTo>
                  <a:pt x="2510" y="1230"/>
                </a:lnTo>
                <a:lnTo>
                  <a:pt x="2524" y="1224"/>
                </a:lnTo>
                <a:lnTo>
                  <a:pt x="2524" y="1224"/>
                </a:lnTo>
                <a:lnTo>
                  <a:pt x="2520" y="1214"/>
                </a:lnTo>
                <a:lnTo>
                  <a:pt x="2520" y="1214"/>
                </a:lnTo>
                <a:lnTo>
                  <a:pt x="2506" y="1216"/>
                </a:lnTo>
                <a:lnTo>
                  <a:pt x="2506" y="1216"/>
                </a:lnTo>
                <a:lnTo>
                  <a:pt x="2506" y="1214"/>
                </a:lnTo>
                <a:lnTo>
                  <a:pt x="2506" y="1212"/>
                </a:lnTo>
                <a:lnTo>
                  <a:pt x="2512" y="1210"/>
                </a:lnTo>
                <a:lnTo>
                  <a:pt x="2512" y="1210"/>
                </a:lnTo>
                <a:lnTo>
                  <a:pt x="2524" y="1212"/>
                </a:lnTo>
                <a:lnTo>
                  <a:pt x="2534" y="1214"/>
                </a:lnTo>
                <a:lnTo>
                  <a:pt x="2534" y="1214"/>
                </a:lnTo>
                <a:lnTo>
                  <a:pt x="2536" y="1218"/>
                </a:lnTo>
                <a:lnTo>
                  <a:pt x="2538" y="1220"/>
                </a:lnTo>
                <a:lnTo>
                  <a:pt x="2538" y="1224"/>
                </a:lnTo>
                <a:lnTo>
                  <a:pt x="2542" y="1226"/>
                </a:lnTo>
                <a:lnTo>
                  <a:pt x="2528" y="1226"/>
                </a:lnTo>
                <a:lnTo>
                  <a:pt x="2528" y="1226"/>
                </a:lnTo>
                <a:lnTo>
                  <a:pt x="2532" y="1228"/>
                </a:lnTo>
                <a:lnTo>
                  <a:pt x="2538" y="1230"/>
                </a:lnTo>
                <a:lnTo>
                  <a:pt x="2548" y="1228"/>
                </a:lnTo>
                <a:lnTo>
                  <a:pt x="2548" y="1228"/>
                </a:lnTo>
                <a:lnTo>
                  <a:pt x="2554" y="1226"/>
                </a:lnTo>
                <a:lnTo>
                  <a:pt x="2560" y="1228"/>
                </a:lnTo>
                <a:lnTo>
                  <a:pt x="2566" y="1228"/>
                </a:lnTo>
                <a:lnTo>
                  <a:pt x="2570" y="1230"/>
                </a:lnTo>
                <a:lnTo>
                  <a:pt x="2570" y="1230"/>
                </a:lnTo>
                <a:lnTo>
                  <a:pt x="2578" y="1234"/>
                </a:lnTo>
                <a:lnTo>
                  <a:pt x="2584" y="1232"/>
                </a:lnTo>
                <a:lnTo>
                  <a:pt x="2590" y="1230"/>
                </a:lnTo>
                <a:lnTo>
                  <a:pt x="2596" y="1230"/>
                </a:lnTo>
                <a:lnTo>
                  <a:pt x="2596" y="1230"/>
                </a:lnTo>
                <a:lnTo>
                  <a:pt x="2596" y="1234"/>
                </a:lnTo>
                <a:lnTo>
                  <a:pt x="2596" y="1236"/>
                </a:lnTo>
                <a:lnTo>
                  <a:pt x="2604" y="1238"/>
                </a:lnTo>
                <a:lnTo>
                  <a:pt x="2604" y="1238"/>
                </a:lnTo>
                <a:lnTo>
                  <a:pt x="2610" y="1240"/>
                </a:lnTo>
                <a:lnTo>
                  <a:pt x="2612" y="1244"/>
                </a:lnTo>
                <a:lnTo>
                  <a:pt x="2612" y="1244"/>
                </a:lnTo>
                <a:lnTo>
                  <a:pt x="2600" y="1244"/>
                </a:lnTo>
                <a:lnTo>
                  <a:pt x="2594" y="1244"/>
                </a:lnTo>
                <a:lnTo>
                  <a:pt x="2590" y="1242"/>
                </a:lnTo>
                <a:lnTo>
                  <a:pt x="2590" y="1242"/>
                </a:lnTo>
                <a:lnTo>
                  <a:pt x="2586" y="1240"/>
                </a:lnTo>
                <a:lnTo>
                  <a:pt x="2586" y="1240"/>
                </a:lnTo>
                <a:lnTo>
                  <a:pt x="2578" y="1242"/>
                </a:lnTo>
                <a:lnTo>
                  <a:pt x="2570" y="1240"/>
                </a:lnTo>
                <a:lnTo>
                  <a:pt x="2556" y="1234"/>
                </a:lnTo>
                <a:lnTo>
                  <a:pt x="2556" y="1234"/>
                </a:lnTo>
                <a:lnTo>
                  <a:pt x="2552" y="1234"/>
                </a:lnTo>
                <a:lnTo>
                  <a:pt x="2548" y="1232"/>
                </a:lnTo>
                <a:lnTo>
                  <a:pt x="2540" y="1234"/>
                </a:lnTo>
                <a:lnTo>
                  <a:pt x="2540" y="1234"/>
                </a:lnTo>
                <a:lnTo>
                  <a:pt x="2538" y="1236"/>
                </a:lnTo>
                <a:lnTo>
                  <a:pt x="2538" y="1236"/>
                </a:lnTo>
                <a:lnTo>
                  <a:pt x="2534" y="1238"/>
                </a:lnTo>
                <a:lnTo>
                  <a:pt x="2534" y="1238"/>
                </a:lnTo>
                <a:lnTo>
                  <a:pt x="2548" y="1240"/>
                </a:lnTo>
                <a:lnTo>
                  <a:pt x="2548" y="1240"/>
                </a:lnTo>
                <a:lnTo>
                  <a:pt x="2534" y="1244"/>
                </a:lnTo>
                <a:lnTo>
                  <a:pt x="2534" y="1244"/>
                </a:lnTo>
                <a:lnTo>
                  <a:pt x="2538" y="1246"/>
                </a:lnTo>
                <a:lnTo>
                  <a:pt x="2540" y="1246"/>
                </a:lnTo>
                <a:lnTo>
                  <a:pt x="2546" y="1246"/>
                </a:lnTo>
                <a:lnTo>
                  <a:pt x="2546" y="1246"/>
                </a:lnTo>
                <a:lnTo>
                  <a:pt x="2554" y="1246"/>
                </a:lnTo>
                <a:lnTo>
                  <a:pt x="2556" y="1248"/>
                </a:lnTo>
                <a:lnTo>
                  <a:pt x="2558" y="1250"/>
                </a:lnTo>
                <a:lnTo>
                  <a:pt x="2558" y="1250"/>
                </a:lnTo>
                <a:lnTo>
                  <a:pt x="2560" y="1252"/>
                </a:lnTo>
                <a:lnTo>
                  <a:pt x="2560" y="1252"/>
                </a:lnTo>
                <a:lnTo>
                  <a:pt x="2576" y="1252"/>
                </a:lnTo>
                <a:lnTo>
                  <a:pt x="2576" y="1252"/>
                </a:lnTo>
                <a:lnTo>
                  <a:pt x="2572" y="1260"/>
                </a:lnTo>
                <a:lnTo>
                  <a:pt x="2572" y="1260"/>
                </a:lnTo>
                <a:lnTo>
                  <a:pt x="2562" y="1260"/>
                </a:lnTo>
                <a:lnTo>
                  <a:pt x="2552" y="1266"/>
                </a:lnTo>
                <a:lnTo>
                  <a:pt x="2552" y="1266"/>
                </a:lnTo>
                <a:lnTo>
                  <a:pt x="2544" y="1268"/>
                </a:lnTo>
                <a:lnTo>
                  <a:pt x="2536" y="1268"/>
                </a:lnTo>
                <a:lnTo>
                  <a:pt x="2536" y="1268"/>
                </a:lnTo>
                <a:lnTo>
                  <a:pt x="2538" y="1260"/>
                </a:lnTo>
                <a:lnTo>
                  <a:pt x="2514" y="1260"/>
                </a:lnTo>
                <a:lnTo>
                  <a:pt x="2514" y="1260"/>
                </a:lnTo>
                <a:lnTo>
                  <a:pt x="2516" y="1256"/>
                </a:lnTo>
                <a:lnTo>
                  <a:pt x="2514" y="1252"/>
                </a:lnTo>
                <a:lnTo>
                  <a:pt x="2512" y="1248"/>
                </a:lnTo>
                <a:lnTo>
                  <a:pt x="2508" y="1246"/>
                </a:lnTo>
                <a:lnTo>
                  <a:pt x="2508" y="1246"/>
                </a:lnTo>
                <a:lnTo>
                  <a:pt x="2490" y="1246"/>
                </a:lnTo>
                <a:lnTo>
                  <a:pt x="2490" y="1246"/>
                </a:lnTo>
                <a:lnTo>
                  <a:pt x="2492" y="1252"/>
                </a:lnTo>
                <a:lnTo>
                  <a:pt x="2496" y="1258"/>
                </a:lnTo>
                <a:lnTo>
                  <a:pt x="2502" y="1260"/>
                </a:lnTo>
                <a:lnTo>
                  <a:pt x="2514" y="1260"/>
                </a:lnTo>
                <a:lnTo>
                  <a:pt x="2514" y="1260"/>
                </a:lnTo>
                <a:lnTo>
                  <a:pt x="2502" y="1264"/>
                </a:lnTo>
                <a:lnTo>
                  <a:pt x="2502" y="1264"/>
                </a:lnTo>
                <a:lnTo>
                  <a:pt x="2512" y="1272"/>
                </a:lnTo>
                <a:lnTo>
                  <a:pt x="2512" y="1272"/>
                </a:lnTo>
                <a:lnTo>
                  <a:pt x="2506" y="1276"/>
                </a:lnTo>
                <a:lnTo>
                  <a:pt x="2502" y="1278"/>
                </a:lnTo>
                <a:lnTo>
                  <a:pt x="2502" y="1282"/>
                </a:lnTo>
                <a:lnTo>
                  <a:pt x="2502" y="1282"/>
                </a:lnTo>
                <a:lnTo>
                  <a:pt x="2496" y="1284"/>
                </a:lnTo>
                <a:lnTo>
                  <a:pt x="2496" y="1284"/>
                </a:lnTo>
                <a:lnTo>
                  <a:pt x="2488" y="1284"/>
                </a:lnTo>
                <a:lnTo>
                  <a:pt x="2488" y="1284"/>
                </a:lnTo>
                <a:lnTo>
                  <a:pt x="2486" y="1286"/>
                </a:lnTo>
                <a:lnTo>
                  <a:pt x="2486" y="1288"/>
                </a:lnTo>
                <a:lnTo>
                  <a:pt x="2486" y="1288"/>
                </a:lnTo>
                <a:lnTo>
                  <a:pt x="2488" y="1290"/>
                </a:lnTo>
                <a:lnTo>
                  <a:pt x="2490" y="1290"/>
                </a:lnTo>
                <a:lnTo>
                  <a:pt x="2490" y="1290"/>
                </a:lnTo>
                <a:lnTo>
                  <a:pt x="2498" y="1288"/>
                </a:lnTo>
                <a:lnTo>
                  <a:pt x="2498" y="1288"/>
                </a:lnTo>
                <a:lnTo>
                  <a:pt x="2508" y="1282"/>
                </a:lnTo>
                <a:lnTo>
                  <a:pt x="2508" y="1282"/>
                </a:lnTo>
                <a:lnTo>
                  <a:pt x="2510" y="1280"/>
                </a:lnTo>
                <a:lnTo>
                  <a:pt x="2514" y="1280"/>
                </a:lnTo>
                <a:lnTo>
                  <a:pt x="2516" y="1280"/>
                </a:lnTo>
                <a:lnTo>
                  <a:pt x="2516" y="1284"/>
                </a:lnTo>
                <a:lnTo>
                  <a:pt x="2516" y="1284"/>
                </a:lnTo>
                <a:lnTo>
                  <a:pt x="2528" y="1282"/>
                </a:lnTo>
                <a:lnTo>
                  <a:pt x="2528" y="1282"/>
                </a:lnTo>
                <a:lnTo>
                  <a:pt x="2536" y="1280"/>
                </a:lnTo>
                <a:lnTo>
                  <a:pt x="2544" y="1282"/>
                </a:lnTo>
                <a:lnTo>
                  <a:pt x="2556" y="1286"/>
                </a:lnTo>
                <a:lnTo>
                  <a:pt x="2556" y="1286"/>
                </a:lnTo>
                <a:lnTo>
                  <a:pt x="2560" y="1288"/>
                </a:lnTo>
                <a:lnTo>
                  <a:pt x="2562" y="1290"/>
                </a:lnTo>
                <a:lnTo>
                  <a:pt x="2562" y="1292"/>
                </a:lnTo>
                <a:lnTo>
                  <a:pt x="2560" y="1296"/>
                </a:lnTo>
                <a:lnTo>
                  <a:pt x="2560" y="1296"/>
                </a:lnTo>
                <a:lnTo>
                  <a:pt x="2568" y="1298"/>
                </a:lnTo>
                <a:lnTo>
                  <a:pt x="2568" y="1298"/>
                </a:lnTo>
                <a:lnTo>
                  <a:pt x="2572" y="1298"/>
                </a:lnTo>
                <a:lnTo>
                  <a:pt x="2576" y="1296"/>
                </a:lnTo>
                <a:lnTo>
                  <a:pt x="2576" y="1296"/>
                </a:lnTo>
                <a:lnTo>
                  <a:pt x="2578" y="1294"/>
                </a:lnTo>
                <a:lnTo>
                  <a:pt x="2576" y="1290"/>
                </a:lnTo>
                <a:lnTo>
                  <a:pt x="2576" y="1290"/>
                </a:lnTo>
                <a:lnTo>
                  <a:pt x="2570" y="1284"/>
                </a:lnTo>
                <a:lnTo>
                  <a:pt x="2564" y="1280"/>
                </a:lnTo>
                <a:lnTo>
                  <a:pt x="2564" y="1280"/>
                </a:lnTo>
                <a:lnTo>
                  <a:pt x="2560" y="1276"/>
                </a:lnTo>
                <a:lnTo>
                  <a:pt x="2558" y="1276"/>
                </a:lnTo>
                <a:lnTo>
                  <a:pt x="2550" y="1278"/>
                </a:lnTo>
                <a:lnTo>
                  <a:pt x="2550" y="1278"/>
                </a:lnTo>
                <a:lnTo>
                  <a:pt x="2550" y="1278"/>
                </a:lnTo>
                <a:lnTo>
                  <a:pt x="2550" y="1278"/>
                </a:lnTo>
                <a:lnTo>
                  <a:pt x="2546" y="1274"/>
                </a:lnTo>
                <a:lnTo>
                  <a:pt x="2546" y="1272"/>
                </a:lnTo>
                <a:lnTo>
                  <a:pt x="2552" y="1270"/>
                </a:lnTo>
                <a:lnTo>
                  <a:pt x="2562" y="1270"/>
                </a:lnTo>
                <a:lnTo>
                  <a:pt x="2562" y="1270"/>
                </a:lnTo>
                <a:lnTo>
                  <a:pt x="2562" y="1264"/>
                </a:lnTo>
                <a:lnTo>
                  <a:pt x="2562" y="1264"/>
                </a:lnTo>
                <a:lnTo>
                  <a:pt x="2578" y="1262"/>
                </a:lnTo>
                <a:lnTo>
                  <a:pt x="2586" y="1262"/>
                </a:lnTo>
                <a:lnTo>
                  <a:pt x="2594" y="1264"/>
                </a:lnTo>
                <a:lnTo>
                  <a:pt x="2594" y="1264"/>
                </a:lnTo>
                <a:lnTo>
                  <a:pt x="2602" y="1262"/>
                </a:lnTo>
                <a:lnTo>
                  <a:pt x="2602" y="1262"/>
                </a:lnTo>
                <a:lnTo>
                  <a:pt x="2594" y="1258"/>
                </a:lnTo>
                <a:lnTo>
                  <a:pt x="2594" y="1258"/>
                </a:lnTo>
                <a:lnTo>
                  <a:pt x="2588" y="1256"/>
                </a:lnTo>
                <a:lnTo>
                  <a:pt x="2588" y="1256"/>
                </a:lnTo>
                <a:lnTo>
                  <a:pt x="2588" y="1254"/>
                </a:lnTo>
                <a:lnTo>
                  <a:pt x="2588" y="1254"/>
                </a:lnTo>
                <a:lnTo>
                  <a:pt x="2606" y="1256"/>
                </a:lnTo>
                <a:lnTo>
                  <a:pt x="2606" y="1256"/>
                </a:lnTo>
                <a:lnTo>
                  <a:pt x="2604" y="1262"/>
                </a:lnTo>
                <a:lnTo>
                  <a:pt x="2604" y="1262"/>
                </a:lnTo>
                <a:lnTo>
                  <a:pt x="2620" y="1264"/>
                </a:lnTo>
                <a:lnTo>
                  <a:pt x="2628" y="1266"/>
                </a:lnTo>
                <a:lnTo>
                  <a:pt x="2636" y="1264"/>
                </a:lnTo>
                <a:lnTo>
                  <a:pt x="2636" y="1264"/>
                </a:lnTo>
                <a:lnTo>
                  <a:pt x="2640" y="1264"/>
                </a:lnTo>
                <a:lnTo>
                  <a:pt x="2640" y="1264"/>
                </a:lnTo>
                <a:lnTo>
                  <a:pt x="2644" y="1266"/>
                </a:lnTo>
                <a:lnTo>
                  <a:pt x="2648" y="1264"/>
                </a:lnTo>
                <a:lnTo>
                  <a:pt x="2648" y="1264"/>
                </a:lnTo>
                <a:lnTo>
                  <a:pt x="2654" y="1262"/>
                </a:lnTo>
                <a:lnTo>
                  <a:pt x="2654" y="1262"/>
                </a:lnTo>
                <a:lnTo>
                  <a:pt x="2678" y="1262"/>
                </a:lnTo>
                <a:lnTo>
                  <a:pt x="2678" y="1262"/>
                </a:lnTo>
                <a:lnTo>
                  <a:pt x="2690" y="1262"/>
                </a:lnTo>
                <a:lnTo>
                  <a:pt x="2694" y="1262"/>
                </a:lnTo>
                <a:lnTo>
                  <a:pt x="2700" y="1264"/>
                </a:lnTo>
                <a:lnTo>
                  <a:pt x="2700" y="1264"/>
                </a:lnTo>
                <a:lnTo>
                  <a:pt x="2686" y="1274"/>
                </a:lnTo>
                <a:lnTo>
                  <a:pt x="2686" y="1274"/>
                </a:lnTo>
                <a:lnTo>
                  <a:pt x="2682" y="1270"/>
                </a:lnTo>
                <a:lnTo>
                  <a:pt x="2676" y="1270"/>
                </a:lnTo>
                <a:lnTo>
                  <a:pt x="2670" y="1268"/>
                </a:lnTo>
                <a:lnTo>
                  <a:pt x="2666" y="1266"/>
                </a:lnTo>
                <a:lnTo>
                  <a:pt x="2666" y="1266"/>
                </a:lnTo>
                <a:lnTo>
                  <a:pt x="2660" y="1266"/>
                </a:lnTo>
                <a:lnTo>
                  <a:pt x="2658" y="1268"/>
                </a:lnTo>
                <a:lnTo>
                  <a:pt x="2656" y="1270"/>
                </a:lnTo>
                <a:lnTo>
                  <a:pt x="2656" y="1270"/>
                </a:lnTo>
                <a:lnTo>
                  <a:pt x="2664" y="1272"/>
                </a:lnTo>
                <a:lnTo>
                  <a:pt x="2670" y="1274"/>
                </a:lnTo>
                <a:lnTo>
                  <a:pt x="2670" y="1274"/>
                </a:lnTo>
                <a:lnTo>
                  <a:pt x="2674" y="1280"/>
                </a:lnTo>
                <a:lnTo>
                  <a:pt x="2678" y="1282"/>
                </a:lnTo>
                <a:lnTo>
                  <a:pt x="2686" y="1282"/>
                </a:lnTo>
                <a:lnTo>
                  <a:pt x="2692" y="1282"/>
                </a:lnTo>
                <a:lnTo>
                  <a:pt x="2692" y="1282"/>
                </a:lnTo>
                <a:lnTo>
                  <a:pt x="2712" y="1280"/>
                </a:lnTo>
                <a:lnTo>
                  <a:pt x="2732" y="1280"/>
                </a:lnTo>
                <a:lnTo>
                  <a:pt x="2732" y="1280"/>
                </a:lnTo>
                <a:lnTo>
                  <a:pt x="2740" y="1280"/>
                </a:lnTo>
                <a:lnTo>
                  <a:pt x="2744" y="1278"/>
                </a:lnTo>
                <a:lnTo>
                  <a:pt x="2744" y="1278"/>
                </a:lnTo>
                <a:lnTo>
                  <a:pt x="2746" y="1274"/>
                </a:lnTo>
                <a:lnTo>
                  <a:pt x="2748" y="1272"/>
                </a:lnTo>
                <a:lnTo>
                  <a:pt x="2758" y="1272"/>
                </a:lnTo>
                <a:lnTo>
                  <a:pt x="2758" y="1272"/>
                </a:lnTo>
                <a:lnTo>
                  <a:pt x="2778" y="1272"/>
                </a:lnTo>
                <a:lnTo>
                  <a:pt x="2778" y="1272"/>
                </a:lnTo>
                <a:lnTo>
                  <a:pt x="2780" y="1272"/>
                </a:lnTo>
                <a:lnTo>
                  <a:pt x="2780" y="1272"/>
                </a:lnTo>
                <a:lnTo>
                  <a:pt x="2788" y="1274"/>
                </a:lnTo>
                <a:lnTo>
                  <a:pt x="2794" y="1274"/>
                </a:lnTo>
                <a:lnTo>
                  <a:pt x="2800" y="1272"/>
                </a:lnTo>
                <a:lnTo>
                  <a:pt x="2806" y="1272"/>
                </a:lnTo>
                <a:lnTo>
                  <a:pt x="2806" y="1272"/>
                </a:lnTo>
                <a:lnTo>
                  <a:pt x="2804" y="1268"/>
                </a:lnTo>
                <a:lnTo>
                  <a:pt x="2804" y="1268"/>
                </a:lnTo>
                <a:lnTo>
                  <a:pt x="2812" y="1266"/>
                </a:lnTo>
                <a:lnTo>
                  <a:pt x="2818" y="1264"/>
                </a:lnTo>
                <a:lnTo>
                  <a:pt x="2822" y="1260"/>
                </a:lnTo>
                <a:lnTo>
                  <a:pt x="2824" y="1256"/>
                </a:lnTo>
                <a:lnTo>
                  <a:pt x="2824" y="1256"/>
                </a:lnTo>
                <a:lnTo>
                  <a:pt x="2812" y="1252"/>
                </a:lnTo>
                <a:lnTo>
                  <a:pt x="2812" y="1252"/>
                </a:lnTo>
                <a:lnTo>
                  <a:pt x="2814" y="1242"/>
                </a:lnTo>
                <a:lnTo>
                  <a:pt x="2814" y="1242"/>
                </a:lnTo>
                <a:lnTo>
                  <a:pt x="2844" y="1232"/>
                </a:lnTo>
                <a:lnTo>
                  <a:pt x="2844" y="1232"/>
                </a:lnTo>
                <a:lnTo>
                  <a:pt x="2858" y="1230"/>
                </a:lnTo>
                <a:lnTo>
                  <a:pt x="2858" y="1230"/>
                </a:lnTo>
                <a:lnTo>
                  <a:pt x="2874" y="1230"/>
                </a:lnTo>
                <a:lnTo>
                  <a:pt x="2874" y="1230"/>
                </a:lnTo>
                <a:lnTo>
                  <a:pt x="2868" y="1218"/>
                </a:lnTo>
                <a:lnTo>
                  <a:pt x="2868" y="1218"/>
                </a:lnTo>
                <a:lnTo>
                  <a:pt x="2894" y="1216"/>
                </a:lnTo>
                <a:lnTo>
                  <a:pt x="2894" y="1216"/>
                </a:lnTo>
                <a:lnTo>
                  <a:pt x="2898" y="1210"/>
                </a:lnTo>
                <a:lnTo>
                  <a:pt x="2898" y="1210"/>
                </a:lnTo>
                <a:lnTo>
                  <a:pt x="2892" y="1208"/>
                </a:lnTo>
                <a:lnTo>
                  <a:pt x="2892" y="1208"/>
                </a:lnTo>
                <a:lnTo>
                  <a:pt x="2904" y="1208"/>
                </a:lnTo>
                <a:lnTo>
                  <a:pt x="2908" y="1210"/>
                </a:lnTo>
                <a:lnTo>
                  <a:pt x="2912" y="1212"/>
                </a:lnTo>
                <a:lnTo>
                  <a:pt x="2912" y="1212"/>
                </a:lnTo>
                <a:lnTo>
                  <a:pt x="2914" y="1214"/>
                </a:lnTo>
                <a:lnTo>
                  <a:pt x="2920" y="1216"/>
                </a:lnTo>
                <a:lnTo>
                  <a:pt x="2920" y="1216"/>
                </a:lnTo>
                <a:lnTo>
                  <a:pt x="2928" y="1216"/>
                </a:lnTo>
                <a:lnTo>
                  <a:pt x="2936" y="1216"/>
                </a:lnTo>
                <a:lnTo>
                  <a:pt x="2944" y="1216"/>
                </a:lnTo>
                <a:lnTo>
                  <a:pt x="2952" y="1216"/>
                </a:lnTo>
                <a:lnTo>
                  <a:pt x="2952" y="1216"/>
                </a:lnTo>
                <a:lnTo>
                  <a:pt x="2952" y="1210"/>
                </a:lnTo>
                <a:lnTo>
                  <a:pt x="2952" y="1206"/>
                </a:lnTo>
                <a:lnTo>
                  <a:pt x="2956" y="1204"/>
                </a:lnTo>
                <a:lnTo>
                  <a:pt x="2964" y="1202"/>
                </a:lnTo>
                <a:lnTo>
                  <a:pt x="2964" y="1202"/>
                </a:lnTo>
                <a:lnTo>
                  <a:pt x="2964" y="1196"/>
                </a:lnTo>
                <a:lnTo>
                  <a:pt x="2992" y="1196"/>
                </a:lnTo>
                <a:lnTo>
                  <a:pt x="2992" y="1196"/>
                </a:lnTo>
                <a:lnTo>
                  <a:pt x="2990" y="1192"/>
                </a:lnTo>
                <a:lnTo>
                  <a:pt x="2990" y="1192"/>
                </a:lnTo>
                <a:lnTo>
                  <a:pt x="2986" y="1188"/>
                </a:lnTo>
                <a:lnTo>
                  <a:pt x="2986" y="1188"/>
                </a:lnTo>
                <a:lnTo>
                  <a:pt x="2980" y="1188"/>
                </a:lnTo>
                <a:lnTo>
                  <a:pt x="2972" y="1188"/>
                </a:lnTo>
                <a:lnTo>
                  <a:pt x="2966" y="1188"/>
                </a:lnTo>
                <a:lnTo>
                  <a:pt x="2962" y="1190"/>
                </a:lnTo>
                <a:lnTo>
                  <a:pt x="2962" y="1190"/>
                </a:lnTo>
                <a:lnTo>
                  <a:pt x="2958" y="1194"/>
                </a:lnTo>
                <a:lnTo>
                  <a:pt x="2952" y="1196"/>
                </a:lnTo>
                <a:lnTo>
                  <a:pt x="2942" y="1198"/>
                </a:lnTo>
                <a:lnTo>
                  <a:pt x="2942" y="1198"/>
                </a:lnTo>
                <a:lnTo>
                  <a:pt x="2922" y="1200"/>
                </a:lnTo>
                <a:lnTo>
                  <a:pt x="2922" y="1200"/>
                </a:lnTo>
                <a:lnTo>
                  <a:pt x="2920" y="1198"/>
                </a:lnTo>
                <a:lnTo>
                  <a:pt x="2918" y="1196"/>
                </a:lnTo>
                <a:lnTo>
                  <a:pt x="2910" y="1194"/>
                </a:lnTo>
                <a:lnTo>
                  <a:pt x="2910" y="1194"/>
                </a:lnTo>
                <a:lnTo>
                  <a:pt x="2912" y="1190"/>
                </a:lnTo>
                <a:lnTo>
                  <a:pt x="2916" y="1188"/>
                </a:lnTo>
                <a:lnTo>
                  <a:pt x="2926" y="1182"/>
                </a:lnTo>
                <a:lnTo>
                  <a:pt x="2926" y="1182"/>
                </a:lnTo>
                <a:lnTo>
                  <a:pt x="2922" y="1178"/>
                </a:lnTo>
                <a:lnTo>
                  <a:pt x="2922" y="1178"/>
                </a:lnTo>
                <a:lnTo>
                  <a:pt x="2936" y="1174"/>
                </a:lnTo>
                <a:lnTo>
                  <a:pt x="2936" y="1174"/>
                </a:lnTo>
                <a:lnTo>
                  <a:pt x="2934" y="1172"/>
                </a:lnTo>
                <a:lnTo>
                  <a:pt x="2934" y="1172"/>
                </a:lnTo>
                <a:lnTo>
                  <a:pt x="2934" y="1168"/>
                </a:lnTo>
                <a:lnTo>
                  <a:pt x="2934" y="1166"/>
                </a:lnTo>
                <a:lnTo>
                  <a:pt x="2942" y="1166"/>
                </a:lnTo>
                <a:lnTo>
                  <a:pt x="2942" y="1166"/>
                </a:lnTo>
                <a:lnTo>
                  <a:pt x="2950" y="1166"/>
                </a:lnTo>
                <a:lnTo>
                  <a:pt x="2950" y="1166"/>
                </a:lnTo>
                <a:lnTo>
                  <a:pt x="2954" y="1162"/>
                </a:lnTo>
                <a:lnTo>
                  <a:pt x="2954" y="1162"/>
                </a:lnTo>
                <a:lnTo>
                  <a:pt x="2962" y="1164"/>
                </a:lnTo>
                <a:lnTo>
                  <a:pt x="2964" y="1166"/>
                </a:lnTo>
                <a:lnTo>
                  <a:pt x="2968" y="1164"/>
                </a:lnTo>
                <a:lnTo>
                  <a:pt x="2968" y="1164"/>
                </a:lnTo>
                <a:lnTo>
                  <a:pt x="2972" y="1164"/>
                </a:lnTo>
                <a:lnTo>
                  <a:pt x="2976" y="1164"/>
                </a:lnTo>
                <a:lnTo>
                  <a:pt x="2982" y="1168"/>
                </a:lnTo>
                <a:lnTo>
                  <a:pt x="2982" y="1168"/>
                </a:lnTo>
                <a:lnTo>
                  <a:pt x="2990" y="1158"/>
                </a:lnTo>
                <a:lnTo>
                  <a:pt x="2990" y="1158"/>
                </a:lnTo>
                <a:lnTo>
                  <a:pt x="2998" y="1158"/>
                </a:lnTo>
                <a:lnTo>
                  <a:pt x="3006" y="1158"/>
                </a:lnTo>
                <a:lnTo>
                  <a:pt x="3014" y="1160"/>
                </a:lnTo>
                <a:lnTo>
                  <a:pt x="3020" y="1164"/>
                </a:lnTo>
                <a:lnTo>
                  <a:pt x="3020" y="1164"/>
                </a:lnTo>
                <a:lnTo>
                  <a:pt x="3026" y="1166"/>
                </a:lnTo>
                <a:lnTo>
                  <a:pt x="3032" y="1166"/>
                </a:lnTo>
                <a:lnTo>
                  <a:pt x="3032" y="1166"/>
                </a:lnTo>
                <a:lnTo>
                  <a:pt x="3038" y="1166"/>
                </a:lnTo>
                <a:lnTo>
                  <a:pt x="3042" y="1166"/>
                </a:lnTo>
                <a:lnTo>
                  <a:pt x="3042" y="1166"/>
                </a:lnTo>
                <a:lnTo>
                  <a:pt x="3048" y="1168"/>
                </a:lnTo>
                <a:lnTo>
                  <a:pt x="3056" y="1170"/>
                </a:lnTo>
                <a:lnTo>
                  <a:pt x="3068" y="1166"/>
                </a:lnTo>
                <a:lnTo>
                  <a:pt x="3068" y="1166"/>
                </a:lnTo>
                <a:lnTo>
                  <a:pt x="3072" y="1164"/>
                </a:lnTo>
                <a:lnTo>
                  <a:pt x="3074" y="1158"/>
                </a:lnTo>
                <a:lnTo>
                  <a:pt x="3080" y="1140"/>
                </a:lnTo>
                <a:lnTo>
                  <a:pt x="3080" y="1140"/>
                </a:lnTo>
                <a:lnTo>
                  <a:pt x="3070" y="1142"/>
                </a:lnTo>
                <a:lnTo>
                  <a:pt x="3070" y="1142"/>
                </a:lnTo>
                <a:lnTo>
                  <a:pt x="3070" y="1140"/>
                </a:lnTo>
                <a:lnTo>
                  <a:pt x="3068" y="1138"/>
                </a:lnTo>
                <a:lnTo>
                  <a:pt x="3064" y="1138"/>
                </a:lnTo>
                <a:lnTo>
                  <a:pt x="3058" y="1136"/>
                </a:lnTo>
                <a:lnTo>
                  <a:pt x="3054" y="1134"/>
                </a:lnTo>
                <a:lnTo>
                  <a:pt x="3054" y="1134"/>
                </a:lnTo>
                <a:lnTo>
                  <a:pt x="3048" y="1126"/>
                </a:lnTo>
                <a:lnTo>
                  <a:pt x="3040" y="1120"/>
                </a:lnTo>
                <a:lnTo>
                  <a:pt x="3040" y="1120"/>
                </a:lnTo>
                <a:lnTo>
                  <a:pt x="3044" y="1118"/>
                </a:lnTo>
                <a:lnTo>
                  <a:pt x="3044" y="1114"/>
                </a:lnTo>
                <a:lnTo>
                  <a:pt x="3046" y="1110"/>
                </a:lnTo>
                <a:lnTo>
                  <a:pt x="3054" y="1108"/>
                </a:lnTo>
                <a:lnTo>
                  <a:pt x="3054" y="1108"/>
                </a:lnTo>
                <a:lnTo>
                  <a:pt x="3052" y="1122"/>
                </a:lnTo>
                <a:lnTo>
                  <a:pt x="3052" y="1122"/>
                </a:lnTo>
                <a:lnTo>
                  <a:pt x="3060" y="1122"/>
                </a:lnTo>
                <a:lnTo>
                  <a:pt x="3066" y="1120"/>
                </a:lnTo>
                <a:lnTo>
                  <a:pt x="3066" y="1120"/>
                </a:lnTo>
                <a:lnTo>
                  <a:pt x="3076" y="1116"/>
                </a:lnTo>
                <a:lnTo>
                  <a:pt x="3076" y="1116"/>
                </a:lnTo>
                <a:lnTo>
                  <a:pt x="3076" y="1116"/>
                </a:lnTo>
                <a:lnTo>
                  <a:pt x="3076" y="1116"/>
                </a:lnTo>
                <a:lnTo>
                  <a:pt x="3076" y="1116"/>
                </a:lnTo>
                <a:lnTo>
                  <a:pt x="3076" y="1116"/>
                </a:lnTo>
                <a:lnTo>
                  <a:pt x="3076" y="1116"/>
                </a:lnTo>
                <a:lnTo>
                  <a:pt x="3076" y="1116"/>
                </a:lnTo>
                <a:lnTo>
                  <a:pt x="3076" y="1116"/>
                </a:lnTo>
                <a:lnTo>
                  <a:pt x="3078" y="1116"/>
                </a:lnTo>
                <a:lnTo>
                  <a:pt x="3078" y="1116"/>
                </a:lnTo>
                <a:lnTo>
                  <a:pt x="3078" y="1120"/>
                </a:lnTo>
                <a:lnTo>
                  <a:pt x="3078" y="1122"/>
                </a:lnTo>
                <a:lnTo>
                  <a:pt x="3084" y="1124"/>
                </a:lnTo>
                <a:lnTo>
                  <a:pt x="3084" y="1124"/>
                </a:lnTo>
                <a:lnTo>
                  <a:pt x="3086" y="1124"/>
                </a:lnTo>
                <a:lnTo>
                  <a:pt x="3086" y="1124"/>
                </a:lnTo>
                <a:lnTo>
                  <a:pt x="3088" y="1116"/>
                </a:lnTo>
                <a:lnTo>
                  <a:pt x="3088" y="1116"/>
                </a:lnTo>
                <a:lnTo>
                  <a:pt x="3084" y="1116"/>
                </a:lnTo>
                <a:lnTo>
                  <a:pt x="3084" y="1116"/>
                </a:lnTo>
                <a:lnTo>
                  <a:pt x="3084" y="1116"/>
                </a:lnTo>
                <a:lnTo>
                  <a:pt x="3084" y="1116"/>
                </a:lnTo>
                <a:lnTo>
                  <a:pt x="3084" y="1116"/>
                </a:lnTo>
                <a:lnTo>
                  <a:pt x="3084" y="1116"/>
                </a:lnTo>
                <a:lnTo>
                  <a:pt x="3088" y="1116"/>
                </a:lnTo>
                <a:lnTo>
                  <a:pt x="3088" y="1116"/>
                </a:lnTo>
                <a:lnTo>
                  <a:pt x="3088" y="1114"/>
                </a:lnTo>
                <a:lnTo>
                  <a:pt x="3074" y="1114"/>
                </a:lnTo>
                <a:lnTo>
                  <a:pt x="3074" y="1114"/>
                </a:lnTo>
                <a:lnTo>
                  <a:pt x="3074" y="1114"/>
                </a:lnTo>
                <a:lnTo>
                  <a:pt x="3088" y="1114"/>
                </a:lnTo>
                <a:lnTo>
                  <a:pt x="3088" y="1114"/>
                </a:lnTo>
                <a:lnTo>
                  <a:pt x="3090" y="1102"/>
                </a:lnTo>
                <a:lnTo>
                  <a:pt x="3090" y="1102"/>
                </a:lnTo>
                <a:lnTo>
                  <a:pt x="3088" y="1100"/>
                </a:lnTo>
                <a:lnTo>
                  <a:pt x="3088" y="1100"/>
                </a:lnTo>
                <a:lnTo>
                  <a:pt x="3092" y="1100"/>
                </a:lnTo>
                <a:lnTo>
                  <a:pt x="3092" y="1100"/>
                </a:lnTo>
                <a:lnTo>
                  <a:pt x="3094" y="1088"/>
                </a:lnTo>
                <a:lnTo>
                  <a:pt x="3094" y="1088"/>
                </a:lnTo>
                <a:lnTo>
                  <a:pt x="3084" y="1090"/>
                </a:lnTo>
                <a:lnTo>
                  <a:pt x="3084" y="1090"/>
                </a:lnTo>
                <a:lnTo>
                  <a:pt x="3084" y="1090"/>
                </a:lnTo>
                <a:lnTo>
                  <a:pt x="3084" y="1090"/>
                </a:lnTo>
                <a:lnTo>
                  <a:pt x="3094" y="1088"/>
                </a:lnTo>
                <a:lnTo>
                  <a:pt x="3094" y="1088"/>
                </a:lnTo>
                <a:lnTo>
                  <a:pt x="3102" y="1066"/>
                </a:lnTo>
                <a:lnTo>
                  <a:pt x="3106" y="1060"/>
                </a:lnTo>
                <a:lnTo>
                  <a:pt x="3108" y="1058"/>
                </a:lnTo>
                <a:lnTo>
                  <a:pt x="3108" y="1058"/>
                </a:lnTo>
                <a:lnTo>
                  <a:pt x="3108" y="1058"/>
                </a:lnTo>
                <a:lnTo>
                  <a:pt x="3110" y="1056"/>
                </a:lnTo>
                <a:lnTo>
                  <a:pt x="3110" y="1056"/>
                </a:lnTo>
                <a:lnTo>
                  <a:pt x="3106" y="1058"/>
                </a:lnTo>
                <a:lnTo>
                  <a:pt x="3106" y="1058"/>
                </a:lnTo>
                <a:lnTo>
                  <a:pt x="3102" y="1058"/>
                </a:lnTo>
                <a:lnTo>
                  <a:pt x="3102" y="1058"/>
                </a:lnTo>
                <a:lnTo>
                  <a:pt x="3106" y="1054"/>
                </a:lnTo>
                <a:lnTo>
                  <a:pt x="3110" y="1052"/>
                </a:lnTo>
                <a:lnTo>
                  <a:pt x="3110" y="1052"/>
                </a:lnTo>
                <a:lnTo>
                  <a:pt x="3112" y="1054"/>
                </a:lnTo>
                <a:lnTo>
                  <a:pt x="3112" y="1054"/>
                </a:lnTo>
                <a:lnTo>
                  <a:pt x="3114" y="1052"/>
                </a:lnTo>
                <a:lnTo>
                  <a:pt x="3114" y="1052"/>
                </a:lnTo>
                <a:lnTo>
                  <a:pt x="3114" y="1056"/>
                </a:lnTo>
                <a:lnTo>
                  <a:pt x="3114" y="1056"/>
                </a:lnTo>
                <a:lnTo>
                  <a:pt x="3114" y="1056"/>
                </a:lnTo>
                <a:lnTo>
                  <a:pt x="3114" y="1056"/>
                </a:lnTo>
                <a:lnTo>
                  <a:pt x="3114" y="1056"/>
                </a:lnTo>
                <a:lnTo>
                  <a:pt x="3114" y="1056"/>
                </a:lnTo>
                <a:lnTo>
                  <a:pt x="3108" y="1090"/>
                </a:lnTo>
                <a:lnTo>
                  <a:pt x="3108" y="1090"/>
                </a:lnTo>
                <a:lnTo>
                  <a:pt x="3108" y="1090"/>
                </a:lnTo>
                <a:lnTo>
                  <a:pt x="3108" y="1090"/>
                </a:lnTo>
                <a:lnTo>
                  <a:pt x="3108" y="1090"/>
                </a:lnTo>
                <a:lnTo>
                  <a:pt x="3108" y="1090"/>
                </a:lnTo>
                <a:lnTo>
                  <a:pt x="3108" y="1090"/>
                </a:lnTo>
                <a:lnTo>
                  <a:pt x="3108" y="1090"/>
                </a:lnTo>
                <a:lnTo>
                  <a:pt x="3106" y="1104"/>
                </a:lnTo>
                <a:lnTo>
                  <a:pt x="3106" y="1104"/>
                </a:lnTo>
                <a:lnTo>
                  <a:pt x="3108" y="1104"/>
                </a:lnTo>
                <a:lnTo>
                  <a:pt x="3108" y="1104"/>
                </a:lnTo>
                <a:lnTo>
                  <a:pt x="3118" y="1104"/>
                </a:lnTo>
                <a:lnTo>
                  <a:pt x="3118" y="1104"/>
                </a:lnTo>
                <a:lnTo>
                  <a:pt x="3122" y="1142"/>
                </a:lnTo>
                <a:lnTo>
                  <a:pt x="3122" y="1142"/>
                </a:lnTo>
                <a:lnTo>
                  <a:pt x="3120" y="1142"/>
                </a:lnTo>
                <a:lnTo>
                  <a:pt x="3120" y="1142"/>
                </a:lnTo>
                <a:lnTo>
                  <a:pt x="3112" y="1142"/>
                </a:lnTo>
                <a:lnTo>
                  <a:pt x="3104" y="1140"/>
                </a:lnTo>
                <a:lnTo>
                  <a:pt x="3104" y="1140"/>
                </a:lnTo>
                <a:lnTo>
                  <a:pt x="3100" y="1138"/>
                </a:lnTo>
                <a:lnTo>
                  <a:pt x="3100" y="1138"/>
                </a:lnTo>
                <a:lnTo>
                  <a:pt x="3096" y="1148"/>
                </a:lnTo>
                <a:lnTo>
                  <a:pt x="3094" y="1152"/>
                </a:lnTo>
                <a:lnTo>
                  <a:pt x="3094" y="1152"/>
                </a:lnTo>
                <a:lnTo>
                  <a:pt x="3102" y="1150"/>
                </a:lnTo>
                <a:lnTo>
                  <a:pt x="3102" y="1150"/>
                </a:lnTo>
                <a:lnTo>
                  <a:pt x="3102" y="1150"/>
                </a:lnTo>
                <a:lnTo>
                  <a:pt x="3102" y="1150"/>
                </a:lnTo>
                <a:lnTo>
                  <a:pt x="3106" y="1146"/>
                </a:lnTo>
                <a:lnTo>
                  <a:pt x="3106" y="1146"/>
                </a:lnTo>
                <a:lnTo>
                  <a:pt x="3102" y="1144"/>
                </a:lnTo>
                <a:lnTo>
                  <a:pt x="3102" y="1144"/>
                </a:lnTo>
                <a:lnTo>
                  <a:pt x="3102" y="1144"/>
                </a:lnTo>
                <a:lnTo>
                  <a:pt x="3102" y="1144"/>
                </a:lnTo>
                <a:lnTo>
                  <a:pt x="3106" y="1146"/>
                </a:lnTo>
                <a:lnTo>
                  <a:pt x="3106" y="1146"/>
                </a:lnTo>
                <a:lnTo>
                  <a:pt x="3102" y="1150"/>
                </a:lnTo>
                <a:lnTo>
                  <a:pt x="3102" y="1150"/>
                </a:lnTo>
                <a:lnTo>
                  <a:pt x="3118" y="1146"/>
                </a:lnTo>
                <a:lnTo>
                  <a:pt x="3118" y="1146"/>
                </a:lnTo>
                <a:lnTo>
                  <a:pt x="3122" y="1146"/>
                </a:lnTo>
                <a:lnTo>
                  <a:pt x="3122" y="1146"/>
                </a:lnTo>
                <a:lnTo>
                  <a:pt x="3124" y="1166"/>
                </a:lnTo>
                <a:lnTo>
                  <a:pt x="3126" y="1172"/>
                </a:lnTo>
                <a:lnTo>
                  <a:pt x="3128" y="1174"/>
                </a:lnTo>
                <a:lnTo>
                  <a:pt x="3128" y="1174"/>
                </a:lnTo>
                <a:lnTo>
                  <a:pt x="3136" y="1172"/>
                </a:lnTo>
                <a:lnTo>
                  <a:pt x="3146" y="1172"/>
                </a:lnTo>
                <a:lnTo>
                  <a:pt x="3146" y="1172"/>
                </a:lnTo>
                <a:lnTo>
                  <a:pt x="3164" y="1172"/>
                </a:lnTo>
                <a:lnTo>
                  <a:pt x="3180" y="1168"/>
                </a:lnTo>
                <a:lnTo>
                  <a:pt x="3180" y="1168"/>
                </a:lnTo>
                <a:lnTo>
                  <a:pt x="3196" y="1166"/>
                </a:lnTo>
                <a:lnTo>
                  <a:pt x="3212" y="1170"/>
                </a:lnTo>
                <a:lnTo>
                  <a:pt x="3212" y="1170"/>
                </a:lnTo>
                <a:lnTo>
                  <a:pt x="3222" y="1174"/>
                </a:lnTo>
                <a:lnTo>
                  <a:pt x="3232" y="1178"/>
                </a:lnTo>
                <a:lnTo>
                  <a:pt x="3232" y="1178"/>
                </a:lnTo>
                <a:lnTo>
                  <a:pt x="3236" y="1180"/>
                </a:lnTo>
                <a:lnTo>
                  <a:pt x="3242" y="1180"/>
                </a:lnTo>
                <a:lnTo>
                  <a:pt x="3246" y="1182"/>
                </a:lnTo>
                <a:lnTo>
                  <a:pt x="3250" y="1184"/>
                </a:lnTo>
                <a:lnTo>
                  <a:pt x="3250" y="1184"/>
                </a:lnTo>
                <a:lnTo>
                  <a:pt x="3268" y="1176"/>
                </a:lnTo>
                <a:lnTo>
                  <a:pt x="3268" y="1176"/>
                </a:lnTo>
                <a:lnTo>
                  <a:pt x="3254" y="1170"/>
                </a:lnTo>
                <a:lnTo>
                  <a:pt x="3240" y="1168"/>
                </a:lnTo>
                <a:lnTo>
                  <a:pt x="3240" y="1168"/>
                </a:lnTo>
                <a:lnTo>
                  <a:pt x="3232" y="1170"/>
                </a:lnTo>
                <a:lnTo>
                  <a:pt x="3230" y="1168"/>
                </a:lnTo>
                <a:lnTo>
                  <a:pt x="3226" y="1166"/>
                </a:lnTo>
                <a:lnTo>
                  <a:pt x="3226" y="1166"/>
                </a:lnTo>
                <a:lnTo>
                  <a:pt x="3250" y="1160"/>
                </a:lnTo>
                <a:lnTo>
                  <a:pt x="3250" y="1160"/>
                </a:lnTo>
                <a:lnTo>
                  <a:pt x="3258" y="1156"/>
                </a:lnTo>
                <a:lnTo>
                  <a:pt x="3250" y="1156"/>
                </a:lnTo>
                <a:lnTo>
                  <a:pt x="3250" y="1156"/>
                </a:lnTo>
                <a:lnTo>
                  <a:pt x="3250" y="1152"/>
                </a:lnTo>
                <a:lnTo>
                  <a:pt x="3250" y="1150"/>
                </a:lnTo>
                <a:lnTo>
                  <a:pt x="3254" y="1148"/>
                </a:lnTo>
                <a:lnTo>
                  <a:pt x="3260" y="1146"/>
                </a:lnTo>
                <a:lnTo>
                  <a:pt x="3262" y="1144"/>
                </a:lnTo>
                <a:lnTo>
                  <a:pt x="3262" y="1144"/>
                </a:lnTo>
                <a:lnTo>
                  <a:pt x="3252" y="1136"/>
                </a:lnTo>
                <a:lnTo>
                  <a:pt x="3252" y="1136"/>
                </a:lnTo>
                <a:lnTo>
                  <a:pt x="3258" y="1136"/>
                </a:lnTo>
                <a:lnTo>
                  <a:pt x="3264" y="1130"/>
                </a:lnTo>
                <a:lnTo>
                  <a:pt x="3264" y="1130"/>
                </a:lnTo>
                <a:lnTo>
                  <a:pt x="3248" y="1130"/>
                </a:lnTo>
                <a:lnTo>
                  <a:pt x="3248" y="1130"/>
                </a:lnTo>
                <a:lnTo>
                  <a:pt x="3270" y="1128"/>
                </a:lnTo>
                <a:lnTo>
                  <a:pt x="3270" y="1128"/>
                </a:lnTo>
                <a:lnTo>
                  <a:pt x="3270" y="1134"/>
                </a:lnTo>
                <a:lnTo>
                  <a:pt x="3270" y="1134"/>
                </a:lnTo>
                <a:lnTo>
                  <a:pt x="3268" y="1134"/>
                </a:lnTo>
                <a:lnTo>
                  <a:pt x="3268" y="1134"/>
                </a:lnTo>
                <a:lnTo>
                  <a:pt x="3270" y="1136"/>
                </a:lnTo>
                <a:lnTo>
                  <a:pt x="3270" y="1136"/>
                </a:lnTo>
                <a:lnTo>
                  <a:pt x="3266" y="1138"/>
                </a:lnTo>
                <a:lnTo>
                  <a:pt x="3266" y="1138"/>
                </a:lnTo>
                <a:lnTo>
                  <a:pt x="3266" y="1140"/>
                </a:lnTo>
                <a:lnTo>
                  <a:pt x="3266" y="1142"/>
                </a:lnTo>
                <a:lnTo>
                  <a:pt x="3266" y="1142"/>
                </a:lnTo>
                <a:lnTo>
                  <a:pt x="3264" y="1150"/>
                </a:lnTo>
                <a:lnTo>
                  <a:pt x="3258" y="1156"/>
                </a:lnTo>
                <a:lnTo>
                  <a:pt x="3272" y="1156"/>
                </a:lnTo>
                <a:lnTo>
                  <a:pt x="3272" y="1156"/>
                </a:lnTo>
                <a:lnTo>
                  <a:pt x="3270" y="1136"/>
                </a:lnTo>
                <a:lnTo>
                  <a:pt x="3270" y="1136"/>
                </a:lnTo>
                <a:lnTo>
                  <a:pt x="3280" y="1138"/>
                </a:lnTo>
                <a:lnTo>
                  <a:pt x="3284" y="1138"/>
                </a:lnTo>
                <a:lnTo>
                  <a:pt x="3286" y="1136"/>
                </a:lnTo>
                <a:lnTo>
                  <a:pt x="3286" y="1136"/>
                </a:lnTo>
                <a:lnTo>
                  <a:pt x="3290" y="1134"/>
                </a:lnTo>
                <a:lnTo>
                  <a:pt x="3294" y="1134"/>
                </a:lnTo>
                <a:lnTo>
                  <a:pt x="3304" y="1136"/>
                </a:lnTo>
                <a:lnTo>
                  <a:pt x="3304" y="1136"/>
                </a:lnTo>
                <a:lnTo>
                  <a:pt x="3302" y="1132"/>
                </a:lnTo>
                <a:lnTo>
                  <a:pt x="3302" y="1132"/>
                </a:lnTo>
                <a:lnTo>
                  <a:pt x="3314" y="1134"/>
                </a:lnTo>
                <a:lnTo>
                  <a:pt x="3314" y="1134"/>
                </a:lnTo>
                <a:lnTo>
                  <a:pt x="3310" y="1126"/>
                </a:lnTo>
                <a:lnTo>
                  <a:pt x="3310" y="1126"/>
                </a:lnTo>
                <a:lnTo>
                  <a:pt x="3310" y="1126"/>
                </a:lnTo>
                <a:lnTo>
                  <a:pt x="3310" y="1126"/>
                </a:lnTo>
                <a:lnTo>
                  <a:pt x="3322" y="1126"/>
                </a:lnTo>
                <a:lnTo>
                  <a:pt x="3322" y="1126"/>
                </a:lnTo>
                <a:lnTo>
                  <a:pt x="3332" y="1126"/>
                </a:lnTo>
                <a:lnTo>
                  <a:pt x="3338" y="1130"/>
                </a:lnTo>
                <a:lnTo>
                  <a:pt x="3338" y="1130"/>
                </a:lnTo>
                <a:lnTo>
                  <a:pt x="3338" y="1130"/>
                </a:lnTo>
                <a:lnTo>
                  <a:pt x="3338" y="1130"/>
                </a:lnTo>
                <a:lnTo>
                  <a:pt x="3336" y="1132"/>
                </a:lnTo>
                <a:lnTo>
                  <a:pt x="3336" y="1132"/>
                </a:lnTo>
                <a:lnTo>
                  <a:pt x="3334" y="1136"/>
                </a:lnTo>
                <a:lnTo>
                  <a:pt x="3336" y="1140"/>
                </a:lnTo>
                <a:lnTo>
                  <a:pt x="3342" y="1142"/>
                </a:lnTo>
                <a:lnTo>
                  <a:pt x="3348" y="1144"/>
                </a:lnTo>
                <a:lnTo>
                  <a:pt x="3348" y="1144"/>
                </a:lnTo>
                <a:lnTo>
                  <a:pt x="3368" y="1148"/>
                </a:lnTo>
                <a:lnTo>
                  <a:pt x="3378" y="1148"/>
                </a:lnTo>
                <a:lnTo>
                  <a:pt x="3388" y="1148"/>
                </a:lnTo>
                <a:lnTo>
                  <a:pt x="3388" y="1148"/>
                </a:lnTo>
                <a:lnTo>
                  <a:pt x="3400" y="1144"/>
                </a:lnTo>
                <a:lnTo>
                  <a:pt x="3404" y="1140"/>
                </a:lnTo>
                <a:lnTo>
                  <a:pt x="3406" y="1136"/>
                </a:lnTo>
                <a:lnTo>
                  <a:pt x="3406" y="1136"/>
                </a:lnTo>
                <a:lnTo>
                  <a:pt x="3396" y="1132"/>
                </a:lnTo>
                <a:lnTo>
                  <a:pt x="3396" y="1132"/>
                </a:lnTo>
                <a:lnTo>
                  <a:pt x="3408" y="1126"/>
                </a:lnTo>
                <a:lnTo>
                  <a:pt x="3408" y="1126"/>
                </a:lnTo>
                <a:lnTo>
                  <a:pt x="3412" y="1130"/>
                </a:lnTo>
                <a:lnTo>
                  <a:pt x="3412" y="1130"/>
                </a:lnTo>
                <a:lnTo>
                  <a:pt x="3420" y="1130"/>
                </a:lnTo>
                <a:lnTo>
                  <a:pt x="3420" y="1130"/>
                </a:lnTo>
                <a:lnTo>
                  <a:pt x="3422" y="1130"/>
                </a:lnTo>
                <a:lnTo>
                  <a:pt x="3422" y="1130"/>
                </a:lnTo>
                <a:lnTo>
                  <a:pt x="3422" y="1132"/>
                </a:lnTo>
                <a:lnTo>
                  <a:pt x="3422" y="1132"/>
                </a:lnTo>
                <a:lnTo>
                  <a:pt x="3420" y="1136"/>
                </a:lnTo>
                <a:lnTo>
                  <a:pt x="3420" y="1136"/>
                </a:lnTo>
                <a:lnTo>
                  <a:pt x="3422" y="1136"/>
                </a:lnTo>
                <a:lnTo>
                  <a:pt x="3422" y="1136"/>
                </a:lnTo>
                <a:lnTo>
                  <a:pt x="3422" y="1156"/>
                </a:lnTo>
                <a:lnTo>
                  <a:pt x="3422" y="1156"/>
                </a:lnTo>
                <a:lnTo>
                  <a:pt x="3414" y="1158"/>
                </a:lnTo>
                <a:lnTo>
                  <a:pt x="3414" y="1158"/>
                </a:lnTo>
                <a:lnTo>
                  <a:pt x="3408" y="1160"/>
                </a:lnTo>
                <a:lnTo>
                  <a:pt x="3406" y="1164"/>
                </a:lnTo>
                <a:lnTo>
                  <a:pt x="3406" y="1164"/>
                </a:lnTo>
                <a:lnTo>
                  <a:pt x="3422" y="1168"/>
                </a:lnTo>
                <a:lnTo>
                  <a:pt x="3422" y="1168"/>
                </a:lnTo>
                <a:lnTo>
                  <a:pt x="3422" y="1168"/>
                </a:lnTo>
                <a:lnTo>
                  <a:pt x="3424" y="1166"/>
                </a:lnTo>
                <a:lnTo>
                  <a:pt x="3424" y="1166"/>
                </a:lnTo>
                <a:lnTo>
                  <a:pt x="3424" y="1178"/>
                </a:lnTo>
                <a:lnTo>
                  <a:pt x="3426" y="1184"/>
                </a:lnTo>
                <a:lnTo>
                  <a:pt x="3426" y="1184"/>
                </a:lnTo>
                <a:lnTo>
                  <a:pt x="3434" y="1178"/>
                </a:lnTo>
                <a:lnTo>
                  <a:pt x="3436" y="1176"/>
                </a:lnTo>
                <a:lnTo>
                  <a:pt x="3436" y="1172"/>
                </a:lnTo>
                <a:lnTo>
                  <a:pt x="3446" y="1172"/>
                </a:lnTo>
                <a:lnTo>
                  <a:pt x="3446" y="1172"/>
                </a:lnTo>
                <a:lnTo>
                  <a:pt x="3450" y="1176"/>
                </a:lnTo>
                <a:lnTo>
                  <a:pt x="3450" y="1176"/>
                </a:lnTo>
                <a:lnTo>
                  <a:pt x="3452" y="1132"/>
                </a:lnTo>
                <a:lnTo>
                  <a:pt x="3452" y="1132"/>
                </a:lnTo>
                <a:lnTo>
                  <a:pt x="3454" y="1130"/>
                </a:lnTo>
                <a:lnTo>
                  <a:pt x="3454" y="1130"/>
                </a:lnTo>
                <a:lnTo>
                  <a:pt x="3452" y="1130"/>
                </a:lnTo>
                <a:lnTo>
                  <a:pt x="3452" y="1130"/>
                </a:lnTo>
                <a:lnTo>
                  <a:pt x="3452" y="1120"/>
                </a:lnTo>
                <a:lnTo>
                  <a:pt x="3452" y="1120"/>
                </a:lnTo>
                <a:lnTo>
                  <a:pt x="3444" y="1124"/>
                </a:lnTo>
                <a:lnTo>
                  <a:pt x="3444" y="1124"/>
                </a:lnTo>
                <a:lnTo>
                  <a:pt x="3442" y="1124"/>
                </a:lnTo>
                <a:lnTo>
                  <a:pt x="3442" y="1124"/>
                </a:lnTo>
                <a:lnTo>
                  <a:pt x="3428" y="1118"/>
                </a:lnTo>
                <a:lnTo>
                  <a:pt x="3428" y="1118"/>
                </a:lnTo>
                <a:lnTo>
                  <a:pt x="3446" y="1114"/>
                </a:lnTo>
                <a:lnTo>
                  <a:pt x="3446" y="1114"/>
                </a:lnTo>
                <a:lnTo>
                  <a:pt x="3446" y="1114"/>
                </a:lnTo>
                <a:lnTo>
                  <a:pt x="3440" y="1110"/>
                </a:lnTo>
                <a:lnTo>
                  <a:pt x="3438" y="1108"/>
                </a:lnTo>
                <a:lnTo>
                  <a:pt x="3434" y="1108"/>
                </a:lnTo>
                <a:lnTo>
                  <a:pt x="3428" y="1112"/>
                </a:lnTo>
                <a:lnTo>
                  <a:pt x="3428" y="1112"/>
                </a:lnTo>
                <a:lnTo>
                  <a:pt x="3422" y="1116"/>
                </a:lnTo>
                <a:lnTo>
                  <a:pt x="3422" y="1116"/>
                </a:lnTo>
                <a:lnTo>
                  <a:pt x="3422" y="1116"/>
                </a:lnTo>
                <a:lnTo>
                  <a:pt x="3422" y="1116"/>
                </a:lnTo>
                <a:lnTo>
                  <a:pt x="3422" y="1100"/>
                </a:lnTo>
                <a:lnTo>
                  <a:pt x="3422" y="1100"/>
                </a:lnTo>
                <a:lnTo>
                  <a:pt x="3408" y="1102"/>
                </a:lnTo>
                <a:lnTo>
                  <a:pt x="3396" y="1102"/>
                </a:lnTo>
                <a:lnTo>
                  <a:pt x="3396" y="1102"/>
                </a:lnTo>
                <a:lnTo>
                  <a:pt x="3390" y="1102"/>
                </a:lnTo>
                <a:lnTo>
                  <a:pt x="3384" y="1102"/>
                </a:lnTo>
                <a:lnTo>
                  <a:pt x="3384" y="1102"/>
                </a:lnTo>
                <a:lnTo>
                  <a:pt x="3380" y="1102"/>
                </a:lnTo>
                <a:lnTo>
                  <a:pt x="3380" y="1102"/>
                </a:lnTo>
                <a:lnTo>
                  <a:pt x="3346" y="1104"/>
                </a:lnTo>
                <a:lnTo>
                  <a:pt x="3346" y="1104"/>
                </a:lnTo>
                <a:lnTo>
                  <a:pt x="3346" y="1102"/>
                </a:lnTo>
                <a:lnTo>
                  <a:pt x="3346" y="1102"/>
                </a:lnTo>
                <a:lnTo>
                  <a:pt x="3340" y="1102"/>
                </a:lnTo>
                <a:lnTo>
                  <a:pt x="3336" y="1104"/>
                </a:lnTo>
                <a:lnTo>
                  <a:pt x="3336" y="1104"/>
                </a:lnTo>
                <a:lnTo>
                  <a:pt x="3336" y="1104"/>
                </a:lnTo>
                <a:lnTo>
                  <a:pt x="3336" y="1104"/>
                </a:lnTo>
                <a:lnTo>
                  <a:pt x="3336" y="1104"/>
                </a:lnTo>
                <a:lnTo>
                  <a:pt x="3336" y="1104"/>
                </a:lnTo>
                <a:lnTo>
                  <a:pt x="3334" y="1106"/>
                </a:lnTo>
                <a:lnTo>
                  <a:pt x="3334" y="1106"/>
                </a:lnTo>
                <a:lnTo>
                  <a:pt x="3338" y="1106"/>
                </a:lnTo>
                <a:lnTo>
                  <a:pt x="3338" y="1106"/>
                </a:lnTo>
                <a:lnTo>
                  <a:pt x="3336" y="1108"/>
                </a:lnTo>
                <a:lnTo>
                  <a:pt x="3334" y="1110"/>
                </a:lnTo>
                <a:lnTo>
                  <a:pt x="3328" y="1114"/>
                </a:lnTo>
                <a:lnTo>
                  <a:pt x="3340" y="1114"/>
                </a:lnTo>
                <a:lnTo>
                  <a:pt x="3340" y="1114"/>
                </a:lnTo>
                <a:lnTo>
                  <a:pt x="3344" y="1120"/>
                </a:lnTo>
                <a:lnTo>
                  <a:pt x="3346" y="1124"/>
                </a:lnTo>
                <a:lnTo>
                  <a:pt x="3344" y="1128"/>
                </a:lnTo>
                <a:lnTo>
                  <a:pt x="3344" y="1128"/>
                </a:lnTo>
                <a:lnTo>
                  <a:pt x="3336" y="1124"/>
                </a:lnTo>
                <a:lnTo>
                  <a:pt x="3330" y="1122"/>
                </a:lnTo>
                <a:lnTo>
                  <a:pt x="3330" y="1122"/>
                </a:lnTo>
                <a:lnTo>
                  <a:pt x="3320" y="1120"/>
                </a:lnTo>
                <a:lnTo>
                  <a:pt x="3320" y="1120"/>
                </a:lnTo>
                <a:lnTo>
                  <a:pt x="3312" y="1116"/>
                </a:lnTo>
                <a:lnTo>
                  <a:pt x="3312" y="1116"/>
                </a:lnTo>
                <a:lnTo>
                  <a:pt x="3302" y="1122"/>
                </a:lnTo>
                <a:lnTo>
                  <a:pt x="3302" y="1122"/>
                </a:lnTo>
                <a:lnTo>
                  <a:pt x="3306" y="1124"/>
                </a:lnTo>
                <a:lnTo>
                  <a:pt x="3306" y="1124"/>
                </a:lnTo>
                <a:lnTo>
                  <a:pt x="3306" y="1124"/>
                </a:lnTo>
                <a:lnTo>
                  <a:pt x="3306" y="1124"/>
                </a:lnTo>
                <a:lnTo>
                  <a:pt x="3300" y="1124"/>
                </a:lnTo>
                <a:lnTo>
                  <a:pt x="3292" y="1124"/>
                </a:lnTo>
                <a:lnTo>
                  <a:pt x="3292" y="1124"/>
                </a:lnTo>
                <a:lnTo>
                  <a:pt x="3288" y="1124"/>
                </a:lnTo>
                <a:lnTo>
                  <a:pt x="3288" y="1124"/>
                </a:lnTo>
                <a:lnTo>
                  <a:pt x="3282" y="1120"/>
                </a:lnTo>
                <a:lnTo>
                  <a:pt x="3282" y="1120"/>
                </a:lnTo>
                <a:lnTo>
                  <a:pt x="3286" y="1120"/>
                </a:lnTo>
                <a:lnTo>
                  <a:pt x="3286" y="1120"/>
                </a:lnTo>
                <a:lnTo>
                  <a:pt x="3290" y="1118"/>
                </a:lnTo>
                <a:lnTo>
                  <a:pt x="3294" y="1114"/>
                </a:lnTo>
                <a:lnTo>
                  <a:pt x="3294" y="1114"/>
                </a:lnTo>
                <a:lnTo>
                  <a:pt x="3282" y="1114"/>
                </a:lnTo>
                <a:lnTo>
                  <a:pt x="3282" y="1114"/>
                </a:lnTo>
                <a:lnTo>
                  <a:pt x="3278" y="1116"/>
                </a:lnTo>
                <a:lnTo>
                  <a:pt x="3278" y="1118"/>
                </a:lnTo>
                <a:lnTo>
                  <a:pt x="3278" y="1120"/>
                </a:lnTo>
                <a:lnTo>
                  <a:pt x="3270" y="1120"/>
                </a:lnTo>
                <a:lnTo>
                  <a:pt x="3270" y="1120"/>
                </a:lnTo>
                <a:lnTo>
                  <a:pt x="3270" y="1126"/>
                </a:lnTo>
                <a:lnTo>
                  <a:pt x="3270" y="1126"/>
                </a:lnTo>
                <a:lnTo>
                  <a:pt x="3250" y="1124"/>
                </a:lnTo>
                <a:lnTo>
                  <a:pt x="3250" y="1124"/>
                </a:lnTo>
                <a:lnTo>
                  <a:pt x="3246" y="1122"/>
                </a:lnTo>
                <a:lnTo>
                  <a:pt x="3246" y="1122"/>
                </a:lnTo>
                <a:lnTo>
                  <a:pt x="3242" y="1128"/>
                </a:lnTo>
                <a:lnTo>
                  <a:pt x="3242" y="1128"/>
                </a:lnTo>
                <a:lnTo>
                  <a:pt x="3242" y="1128"/>
                </a:lnTo>
                <a:lnTo>
                  <a:pt x="3242" y="1128"/>
                </a:lnTo>
                <a:lnTo>
                  <a:pt x="3246" y="1122"/>
                </a:lnTo>
                <a:lnTo>
                  <a:pt x="3246" y="1122"/>
                </a:lnTo>
                <a:lnTo>
                  <a:pt x="3242" y="1122"/>
                </a:lnTo>
                <a:lnTo>
                  <a:pt x="3242" y="1122"/>
                </a:lnTo>
                <a:lnTo>
                  <a:pt x="3244" y="1122"/>
                </a:lnTo>
                <a:lnTo>
                  <a:pt x="3244" y="1122"/>
                </a:lnTo>
                <a:lnTo>
                  <a:pt x="3246" y="1122"/>
                </a:lnTo>
                <a:lnTo>
                  <a:pt x="3246" y="1122"/>
                </a:lnTo>
                <a:lnTo>
                  <a:pt x="3246" y="1122"/>
                </a:lnTo>
                <a:lnTo>
                  <a:pt x="3246" y="1122"/>
                </a:lnTo>
                <a:lnTo>
                  <a:pt x="3246" y="1122"/>
                </a:lnTo>
                <a:lnTo>
                  <a:pt x="3246" y="1122"/>
                </a:lnTo>
                <a:lnTo>
                  <a:pt x="3246" y="1122"/>
                </a:lnTo>
                <a:lnTo>
                  <a:pt x="3246" y="1122"/>
                </a:lnTo>
                <a:lnTo>
                  <a:pt x="3244" y="1122"/>
                </a:lnTo>
                <a:lnTo>
                  <a:pt x="3244" y="1122"/>
                </a:lnTo>
                <a:lnTo>
                  <a:pt x="3244" y="1122"/>
                </a:lnTo>
                <a:lnTo>
                  <a:pt x="3244" y="1122"/>
                </a:lnTo>
                <a:lnTo>
                  <a:pt x="3242" y="1120"/>
                </a:lnTo>
                <a:lnTo>
                  <a:pt x="3242" y="1120"/>
                </a:lnTo>
                <a:lnTo>
                  <a:pt x="3238" y="1122"/>
                </a:lnTo>
                <a:lnTo>
                  <a:pt x="3238" y="1122"/>
                </a:lnTo>
                <a:lnTo>
                  <a:pt x="3238" y="1122"/>
                </a:lnTo>
                <a:lnTo>
                  <a:pt x="3238" y="1122"/>
                </a:lnTo>
                <a:lnTo>
                  <a:pt x="3232" y="1122"/>
                </a:lnTo>
                <a:lnTo>
                  <a:pt x="3232" y="1122"/>
                </a:lnTo>
                <a:lnTo>
                  <a:pt x="3232" y="1122"/>
                </a:lnTo>
                <a:lnTo>
                  <a:pt x="3232" y="1122"/>
                </a:lnTo>
                <a:lnTo>
                  <a:pt x="3238" y="1122"/>
                </a:lnTo>
                <a:lnTo>
                  <a:pt x="3238" y="1122"/>
                </a:lnTo>
                <a:lnTo>
                  <a:pt x="3238" y="1122"/>
                </a:lnTo>
                <a:lnTo>
                  <a:pt x="3238" y="1122"/>
                </a:lnTo>
                <a:lnTo>
                  <a:pt x="3224" y="1122"/>
                </a:lnTo>
                <a:lnTo>
                  <a:pt x="3208" y="1124"/>
                </a:lnTo>
                <a:lnTo>
                  <a:pt x="3208" y="1124"/>
                </a:lnTo>
                <a:lnTo>
                  <a:pt x="3218" y="1128"/>
                </a:lnTo>
                <a:lnTo>
                  <a:pt x="3218" y="1128"/>
                </a:lnTo>
                <a:lnTo>
                  <a:pt x="3208" y="1128"/>
                </a:lnTo>
                <a:lnTo>
                  <a:pt x="3202" y="1130"/>
                </a:lnTo>
                <a:lnTo>
                  <a:pt x="3198" y="1132"/>
                </a:lnTo>
                <a:lnTo>
                  <a:pt x="3198" y="1132"/>
                </a:lnTo>
                <a:lnTo>
                  <a:pt x="3198" y="1132"/>
                </a:lnTo>
                <a:lnTo>
                  <a:pt x="3198" y="1132"/>
                </a:lnTo>
                <a:lnTo>
                  <a:pt x="3198" y="1130"/>
                </a:lnTo>
                <a:lnTo>
                  <a:pt x="3198" y="1130"/>
                </a:lnTo>
                <a:lnTo>
                  <a:pt x="3202" y="1126"/>
                </a:lnTo>
                <a:lnTo>
                  <a:pt x="3204" y="1124"/>
                </a:lnTo>
                <a:lnTo>
                  <a:pt x="3204" y="1124"/>
                </a:lnTo>
                <a:lnTo>
                  <a:pt x="3196" y="1122"/>
                </a:lnTo>
                <a:lnTo>
                  <a:pt x="3196" y="1122"/>
                </a:lnTo>
                <a:lnTo>
                  <a:pt x="3196" y="1116"/>
                </a:lnTo>
                <a:lnTo>
                  <a:pt x="3196" y="1116"/>
                </a:lnTo>
                <a:lnTo>
                  <a:pt x="3202" y="1116"/>
                </a:lnTo>
                <a:lnTo>
                  <a:pt x="3202" y="1116"/>
                </a:lnTo>
                <a:lnTo>
                  <a:pt x="3210" y="1116"/>
                </a:lnTo>
                <a:lnTo>
                  <a:pt x="3218" y="1118"/>
                </a:lnTo>
                <a:lnTo>
                  <a:pt x="3218" y="1118"/>
                </a:lnTo>
                <a:lnTo>
                  <a:pt x="3214" y="1116"/>
                </a:lnTo>
                <a:lnTo>
                  <a:pt x="3210" y="1114"/>
                </a:lnTo>
                <a:lnTo>
                  <a:pt x="3202" y="1112"/>
                </a:lnTo>
                <a:lnTo>
                  <a:pt x="3202" y="1112"/>
                </a:lnTo>
                <a:lnTo>
                  <a:pt x="3196" y="1112"/>
                </a:lnTo>
                <a:lnTo>
                  <a:pt x="3196" y="1112"/>
                </a:lnTo>
                <a:lnTo>
                  <a:pt x="3196" y="1104"/>
                </a:lnTo>
                <a:lnTo>
                  <a:pt x="3196" y="1104"/>
                </a:lnTo>
                <a:lnTo>
                  <a:pt x="3202" y="1104"/>
                </a:lnTo>
                <a:lnTo>
                  <a:pt x="3202" y="1104"/>
                </a:lnTo>
                <a:lnTo>
                  <a:pt x="3200" y="1104"/>
                </a:lnTo>
                <a:lnTo>
                  <a:pt x="3196" y="1102"/>
                </a:lnTo>
                <a:lnTo>
                  <a:pt x="3196" y="1102"/>
                </a:lnTo>
                <a:lnTo>
                  <a:pt x="3196" y="1096"/>
                </a:lnTo>
                <a:lnTo>
                  <a:pt x="3196" y="1096"/>
                </a:lnTo>
                <a:lnTo>
                  <a:pt x="3204" y="1096"/>
                </a:lnTo>
                <a:lnTo>
                  <a:pt x="3204" y="1096"/>
                </a:lnTo>
                <a:lnTo>
                  <a:pt x="3208" y="1096"/>
                </a:lnTo>
                <a:lnTo>
                  <a:pt x="3212" y="1092"/>
                </a:lnTo>
                <a:lnTo>
                  <a:pt x="3214" y="1090"/>
                </a:lnTo>
                <a:lnTo>
                  <a:pt x="3214" y="1086"/>
                </a:lnTo>
                <a:lnTo>
                  <a:pt x="3214" y="1086"/>
                </a:lnTo>
                <a:lnTo>
                  <a:pt x="3210" y="1080"/>
                </a:lnTo>
                <a:lnTo>
                  <a:pt x="3210" y="1080"/>
                </a:lnTo>
                <a:lnTo>
                  <a:pt x="3222" y="1080"/>
                </a:lnTo>
                <a:lnTo>
                  <a:pt x="3222" y="1080"/>
                </a:lnTo>
                <a:lnTo>
                  <a:pt x="3224" y="1076"/>
                </a:lnTo>
                <a:lnTo>
                  <a:pt x="3228" y="1074"/>
                </a:lnTo>
                <a:lnTo>
                  <a:pt x="3228" y="1074"/>
                </a:lnTo>
                <a:lnTo>
                  <a:pt x="3230" y="1074"/>
                </a:lnTo>
                <a:lnTo>
                  <a:pt x="3230" y="1074"/>
                </a:lnTo>
                <a:lnTo>
                  <a:pt x="3240" y="1072"/>
                </a:lnTo>
                <a:lnTo>
                  <a:pt x="3252" y="1074"/>
                </a:lnTo>
                <a:lnTo>
                  <a:pt x="3252" y="1074"/>
                </a:lnTo>
                <a:lnTo>
                  <a:pt x="3268" y="1072"/>
                </a:lnTo>
                <a:lnTo>
                  <a:pt x="3268" y="1072"/>
                </a:lnTo>
                <a:lnTo>
                  <a:pt x="3268" y="1072"/>
                </a:lnTo>
                <a:lnTo>
                  <a:pt x="3268" y="1072"/>
                </a:lnTo>
                <a:lnTo>
                  <a:pt x="3270" y="1078"/>
                </a:lnTo>
                <a:lnTo>
                  <a:pt x="3270" y="1078"/>
                </a:lnTo>
                <a:lnTo>
                  <a:pt x="3278" y="1080"/>
                </a:lnTo>
                <a:lnTo>
                  <a:pt x="3278" y="1080"/>
                </a:lnTo>
                <a:lnTo>
                  <a:pt x="3288" y="1080"/>
                </a:lnTo>
                <a:lnTo>
                  <a:pt x="3290" y="1080"/>
                </a:lnTo>
                <a:lnTo>
                  <a:pt x="3292" y="1076"/>
                </a:lnTo>
                <a:lnTo>
                  <a:pt x="3292" y="1076"/>
                </a:lnTo>
                <a:lnTo>
                  <a:pt x="3294" y="1072"/>
                </a:lnTo>
                <a:lnTo>
                  <a:pt x="3294" y="1072"/>
                </a:lnTo>
                <a:lnTo>
                  <a:pt x="3298" y="1072"/>
                </a:lnTo>
                <a:lnTo>
                  <a:pt x="3298" y="1072"/>
                </a:lnTo>
                <a:lnTo>
                  <a:pt x="3302" y="1072"/>
                </a:lnTo>
                <a:lnTo>
                  <a:pt x="3304" y="1076"/>
                </a:lnTo>
                <a:lnTo>
                  <a:pt x="3304" y="1076"/>
                </a:lnTo>
                <a:lnTo>
                  <a:pt x="3306" y="1078"/>
                </a:lnTo>
                <a:lnTo>
                  <a:pt x="3306" y="1078"/>
                </a:lnTo>
                <a:lnTo>
                  <a:pt x="3312" y="1076"/>
                </a:lnTo>
                <a:lnTo>
                  <a:pt x="3318" y="1074"/>
                </a:lnTo>
                <a:lnTo>
                  <a:pt x="3318" y="1074"/>
                </a:lnTo>
                <a:lnTo>
                  <a:pt x="3326" y="1072"/>
                </a:lnTo>
                <a:lnTo>
                  <a:pt x="3330" y="1068"/>
                </a:lnTo>
                <a:lnTo>
                  <a:pt x="3330" y="1068"/>
                </a:lnTo>
                <a:lnTo>
                  <a:pt x="3334" y="1068"/>
                </a:lnTo>
                <a:lnTo>
                  <a:pt x="3334" y="1066"/>
                </a:lnTo>
                <a:lnTo>
                  <a:pt x="3336" y="1062"/>
                </a:lnTo>
                <a:lnTo>
                  <a:pt x="3336" y="1062"/>
                </a:lnTo>
                <a:lnTo>
                  <a:pt x="3326" y="1066"/>
                </a:lnTo>
                <a:lnTo>
                  <a:pt x="3326" y="1066"/>
                </a:lnTo>
                <a:lnTo>
                  <a:pt x="3324" y="1066"/>
                </a:lnTo>
                <a:lnTo>
                  <a:pt x="3324" y="1064"/>
                </a:lnTo>
                <a:lnTo>
                  <a:pt x="3326" y="1062"/>
                </a:lnTo>
                <a:lnTo>
                  <a:pt x="3326" y="1062"/>
                </a:lnTo>
                <a:lnTo>
                  <a:pt x="3342" y="1062"/>
                </a:lnTo>
                <a:lnTo>
                  <a:pt x="3342" y="1062"/>
                </a:lnTo>
                <a:lnTo>
                  <a:pt x="3354" y="1064"/>
                </a:lnTo>
                <a:lnTo>
                  <a:pt x="3354" y="1064"/>
                </a:lnTo>
                <a:lnTo>
                  <a:pt x="3354" y="1064"/>
                </a:lnTo>
                <a:lnTo>
                  <a:pt x="3354" y="1064"/>
                </a:lnTo>
                <a:lnTo>
                  <a:pt x="3342" y="1056"/>
                </a:lnTo>
                <a:lnTo>
                  <a:pt x="3330" y="1046"/>
                </a:lnTo>
                <a:lnTo>
                  <a:pt x="3330" y="1046"/>
                </a:lnTo>
                <a:lnTo>
                  <a:pt x="3324" y="1042"/>
                </a:lnTo>
                <a:lnTo>
                  <a:pt x="3316" y="1040"/>
                </a:lnTo>
                <a:lnTo>
                  <a:pt x="3316" y="1040"/>
                </a:lnTo>
                <a:lnTo>
                  <a:pt x="3314" y="1036"/>
                </a:lnTo>
                <a:lnTo>
                  <a:pt x="3310" y="1036"/>
                </a:lnTo>
                <a:lnTo>
                  <a:pt x="3302" y="1036"/>
                </a:lnTo>
                <a:lnTo>
                  <a:pt x="3302" y="1036"/>
                </a:lnTo>
                <a:lnTo>
                  <a:pt x="3276" y="1030"/>
                </a:lnTo>
                <a:lnTo>
                  <a:pt x="3276" y="1030"/>
                </a:lnTo>
                <a:lnTo>
                  <a:pt x="3274" y="1028"/>
                </a:lnTo>
                <a:lnTo>
                  <a:pt x="3270" y="1026"/>
                </a:lnTo>
                <a:lnTo>
                  <a:pt x="3270" y="1026"/>
                </a:lnTo>
                <a:lnTo>
                  <a:pt x="3284" y="1024"/>
                </a:lnTo>
                <a:lnTo>
                  <a:pt x="3284" y="1024"/>
                </a:lnTo>
                <a:lnTo>
                  <a:pt x="3288" y="1024"/>
                </a:lnTo>
                <a:lnTo>
                  <a:pt x="3290" y="1022"/>
                </a:lnTo>
                <a:lnTo>
                  <a:pt x="3290" y="1022"/>
                </a:lnTo>
                <a:lnTo>
                  <a:pt x="3342" y="1046"/>
                </a:lnTo>
                <a:lnTo>
                  <a:pt x="3360" y="1054"/>
                </a:lnTo>
                <a:lnTo>
                  <a:pt x="3370" y="1056"/>
                </a:lnTo>
                <a:lnTo>
                  <a:pt x="3370" y="1056"/>
                </a:lnTo>
                <a:lnTo>
                  <a:pt x="3370" y="1054"/>
                </a:lnTo>
                <a:lnTo>
                  <a:pt x="3372" y="1052"/>
                </a:lnTo>
                <a:lnTo>
                  <a:pt x="3380" y="1052"/>
                </a:lnTo>
                <a:lnTo>
                  <a:pt x="3380" y="1052"/>
                </a:lnTo>
                <a:lnTo>
                  <a:pt x="3376" y="1050"/>
                </a:lnTo>
                <a:lnTo>
                  <a:pt x="3374" y="1048"/>
                </a:lnTo>
                <a:lnTo>
                  <a:pt x="3374" y="1048"/>
                </a:lnTo>
                <a:lnTo>
                  <a:pt x="3378" y="1044"/>
                </a:lnTo>
                <a:lnTo>
                  <a:pt x="3378" y="1044"/>
                </a:lnTo>
                <a:lnTo>
                  <a:pt x="3364" y="1042"/>
                </a:lnTo>
                <a:lnTo>
                  <a:pt x="3364" y="1042"/>
                </a:lnTo>
                <a:lnTo>
                  <a:pt x="3364" y="1036"/>
                </a:lnTo>
                <a:lnTo>
                  <a:pt x="3364" y="1036"/>
                </a:lnTo>
                <a:lnTo>
                  <a:pt x="3332" y="1028"/>
                </a:lnTo>
                <a:lnTo>
                  <a:pt x="3332" y="1028"/>
                </a:lnTo>
                <a:lnTo>
                  <a:pt x="3330" y="1034"/>
                </a:lnTo>
                <a:lnTo>
                  <a:pt x="3328" y="1036"/>
                </a:lnTo>
                <a:lnTo>
                  <a:pt x="3328" y="1036"/>
                </a:lnTo>
                <a:lnTo>
                  <a:pt x="3326" y="1028"/>
                </a:lnTo>
                <a:lnTo>
                  <a:pt x="3326" y="1028"/>
                </a:lnTo>
                <a:lnTo>
                  <a:pt x="3314" y="1022"/>
                </a:lnTo>
                <a:lnTo>
                  <a:pt x="3314" y="1022"/>
                </a:lnTo>
                <a:lnTo>
                  <a:pt x="3324" y="1020"/>
                </a:lnTo>
                <a:lnTo>
                  <a:pt x="3324" y="1020"/>
                </a:lnTo>
                <a:lnTo>
                  <a:pt x="3326" y="1026"/>
                </a:lnTo>
                <a:lnTo>
                  <a:pt x="3326" y="1026"/>
                </a:lnTo>
                <a:lnTo>
                  <a:pt x="3326" y="1020"/>
                </a:lnTo>
                <a:lnTo>
                  <a:pt x="3326" y="1020"/>
                </a:lnTo>
                <a:lnTo>
                  <a:pt x="3334" y="1018"/>
                </a:lnTo>
                <a:lnTo>
                  <a:pt x="3334" y="1018"/>
                </a:lnTo>
                <a:lnTo>
                  <a:pt x="3332" y="1028"/>
                </a:lnTo>
                <a:lnTo>
                  <a:pt x="3332" y="1028"/>
                </a:lnTo>
                <a:lnTo>
                  <a:pt x="3356" y="1024"/>
                </a:lnTo>
                <a:lnTo>
                  <a:pt x="3356" y="1024"/>
                </a:lnTo>
                <a:lnTo>
                  <a:pt x="3356" y="1024"/>
                </a:lnTo>
                <a:lnTo>
                  <a:pt x="3356" y="1024"/>
                </a:lnTo>
                <a:lnTo>
                  <a:pt x="3356" y="1024"/>
                </a:lnTo>
                <a:lnTo>
                  <a:pt x="3356" y="1024"/>
                </a:lnTo>
                <a:lnTo>
                  <a:pt x="3358" y="1022"/>
                </a:lnTo>
                <a:lnTo>
                  <a:pt x="3358" y="1022"/>
                </a:lnTo>
                <a:lnTo>
                  <a:pt x="3366" y="1018"/>
                </a:lnTo>
                <a:lnTo>
                  <a:pt x="3366" y="1018"/>
                </a:lnTo>
                <a:lnTo>
                  <a:pt x="3382" y="1016"/>
                </a:lnTo>
                <a:lnTo>
                  <a:pt x="3398" y="1016"/>
                </a:lnTo>
                <a:lnTo>
                  <a:pt x="3398" y="1016"/>
                </a:lnTo>
                <a:lnTo>
                  <a:pt x="3404" y="1014"/>
                </a:lnTo>
                <a:lnTo>
                  <a:pt x="3404" y="1014"/>
                </a:lnTo>
                <a:lnTo>
                  <a:pt x="3394" y="1012"/>
                </a:lnTo>
                <a:lnTo>
                  <a:pt x="3386" y="1010"/>
                </a:lnTo>
                <a:lnTo>
                  <a:pt x="3386" y="1010"/>
                </a:lnTo>
                <a:lnTo>
                  <a:pt x="3380" y="1006"/>
                </a:lnTo>
                <a:lnTo>
                  <a:pt x="3374" y="1000"/>
                </a:lnTo>
                <a:lnTo>
                  <a:pt x="3374" y="1000"/>
                </a:lnTo>
                <a:lnTo>
                  <a:pt x="3378" y="998"/>
                </a:lnTo>
                <a:lnTo>
                  <a:pt x="3378" y="998"/>
                </a:lnTo>
                <a:lnTo>
                  <a:pt x="3378" y="998"/>
                </a:lnTo>
                <a:lnTo>
                  <a:pt x="3378" y="998"/>
                </a:lnTo>
                <a:lnTo>
                  <a:pt x="3378" y="998"/>
                </a:lnTo>
                <a:lnTo>
                  <a:pt x="3378" y="998"/>
                </a:lnTo>
                <a:lnTo>
                  <a:pt x="3386" y="996"/>
                </a:lnTo>
                <a:lnTo>
                  <a:pt x="3398" y="996"/>
                </a:lnTo>
                <a:lnTo>
                  <a:pt x="3398" y="996"/>
                </a:lnTo>
                <a:lnTo>
                  <a:pt x="3402" y="998"/>
                </a:lnTo>
                <a:lnTo>
                  <a:pt x="3402" y="998"/>
                </a:lnTo>
                <a:lnTo>
                  <a:pt x="3410" y="998"/>
                </a:lnTo>
                <a:lnTo>
                  <a:pt x="3412" y="1004"/>
                </a:lnTo>
                <a:lnTo>
                  <a:pt x="3412" y="1004"/>
                </a:lnTo>
                <a:lnTo>
                  <a:pt x="3422" y="1004"/>
                </a:lnTo>
                <a:lnTo>
                  <a:pt x="3422" y="1004"/>
                </a:lnTo>
                <a:lnTo>
                  <a:pt x="3424" y="1006"/>
                </a:lnTo>
                <a:lnTo>
                  <a:pt x="3424" y="1006"/>
                </a:lnTo>
                <a:lnTo>
                  <a:pt x="3406" y="1006"/>
                </a:lnTo>
                <a:lnTo>
                  <a:pt x="3406" y="1006"/>
                </a:lnTo>
                <a:lnTo>
                  <a:pt x="3420" y="1010"/>
                </a:lnTo>
                <a:lnTo>
                  <a:pt x="3420" y="1010"/>
                </a:lnTo>
                <a:lnTo>
                  <a:pt x="3416" y="1016"/>
                </a:lnTo>
                <a:lnTo>
                  <a:pt x="3416" y="1016"/>
                </a:lnTo>
                <a:lnTo>
                  <a:pt x="3422" y="1016"/>
                </a:lnTo>
                <a:lnTo>
                  <a:pt x="3422" y="1016"/>
                </a:lnTo>
                <a:lnTo>
                  <a:pt x="3420" y="1020"/>
                </a:lnTo>
                <a:lnTo>
                  <a:pt x="3420" y="1020"/>
                </a:lnTo>
                <a:lnTo>
                  <a:pt x="3400" y="1026"/>
                </a:lnTo>
                <a:lnTo>
                  <a:pt x="3396" y="1028"/>
                </a:lnTo>
                <a:lnTo>
                  <a:pt x="3394" y="1028"/>
                </a:lnTo>
                <a:lnTo>
                  <a:pt x="3394" y="1028"/>
                </a:lnTo>
                <a:lnTo>
                  <a:pt x="3404" y="1030"/>
                </a:lnTo>
                <a:lnTo>
                  <a:pt x="3408" y="1028"/>
                </a:lnTo>
                <a:lnTo>
                  <a:pt x="3412" y="1028"/>
                </a:lnTo>
                <a:lnTo>
                  <a:pt x="3412" y="1028"/>
                </a:lnTo>
                <a:lnTo>
                  <a:pt x="3418" y="1024"/>
                </a:lnTo>
                <a:lnTo>
                  <a:pt x="3418" y="1024"/>
                </a:lnTo>
                <a:lnTo>
                  <a:pt x="3416" y="1032"/>
                </a:lnTo>
                <a:lnTo>
                  <a:pt x="3416" y="1032"/>
                </a:lnTo>
                <a:lnTo>
                  <a:pt x="3424" y="1032"/>
                </a:lnTo>
                <a:lnTo>
                  <a:pt x="3426" y="1032"/>
                </a:lnTo>
                <a:lnTo>
                  <a:pt x="3428" y="1036"/>
                </a:lnTo>
                <a:lnTo>
                  <a:pt x="3428" y="1036"/>
                </a:lnTo>
                <a:lnTo>
                  <a:pt x="3410" y="1036"/>
                </a:lnTo>
                <a:lnTo>
                  <a:pt x="3410" y="1036"/>
                </a:lnTo>
                <a:lnTo>
                  <a:pt x="3412" y="1040"/>
                </a:lnTo>
                <a:lnTo>
                  <a:pt x="3416" y="1042"/>
                </a:lnTo>
                <a:lnTo>
                  <a:pt x="3424" y="1046"/>
                </a:lnTo>
                <a:lnTo>
                  <a:pt x="3424" y="1046"/>
                </a:lnTo>
                <a:lnTo>
                  <a:pt x="3442" y="1040"/>
                </a:lnTo>
                <a:lnTo>
                  <a:pt x="3442" y="1040"/>
                </a:lnTo>
                <a:lnTo>
                  <a:pt x="3440" y="1044"/>
                </a:lnTo>
                <a:lnTo>
                  <a:pt x="3440" y="1048"/>
                </a:lnTo>
                <a:lnTo>
                  <a:pt x="3440" y="1048"/>
                </a:lnTo>
                <a:lnTo>
                  <a:pt x="3436" y="1050"/>
                </a:lnTo>
                <a:lnTo>
                  <a:pt x="3436" y="1050"/>
                </a:lnTo>
                <a:lnTo>
                  <a:pt x="3434" y="1048"/>
                </a:lnTo>
                <a:lnTo>
                  <a:pt x="3434" y="1048"/>
                </a:lnTo>
                <a:lnTo>
                  <a:pt x="3430" y="1050"/>
                </a:lnTo>
                <a:lnTo>
                  <a:pt x="3430" y="1050"/>
                </a:lnTo>
                <a:lnTo>
                  <a:pt x="3426" y="1050"/>
                </a:lnTo>
                <a:lnTo>
                  <a:pt x="3426" y="1050"/>
                </a:lnTo>
                <a:lnTo>
                  <a:pt x="3424" y="1050"/>
                </a:lnTo>
                <a:lnTo>
                  <a:pt x="3424" y="1050"/>
                </a:lnTo>
                <a:lnTo>
                  <a:pt x="3418" y="1050"/>
                </a:lnTo>
                <a:lnTo>
                  <a:pt x="3418" y="1050"/>
                </a:lnTo>
                <a:lnTo>
                  <a:pt x="3410" y="1052"/>
                </a:lnTo>
                <a:lnTo>
                  <a:pt x="3410" y="1052"/>
                </a:lnTo>
                <a:lnTo>
                  <a:pt x="3386" y="1052"/>
                </a:lnTo>
                <a:lnTo>
                  <a:pt x="3386" y="1052"/>
                </a:lnTo>
                <a:lnTo>
                  <a:pt x="3386" y="1054"/>
                </a:lnTo>
                <a:lnTo>
                  <a:pt x="3386" y="1054"/>
                </a:lnTo>
                <a:lnTo>
                  <a:pt x="3408" y="1052"/>
                </a:lnTo>
                <a:lnTo>
                  <a:pt x="3408" y="1052"/>
                </a:lnTo>
                <a:lnTo>
                  <a:pt x="3404" y="1054"/>
                </a:lnTo>
                <a:lnTo>
                  <a:pt x="3404" y="1054"/>
                </a:lnTo>
                <a:lnTo>
                  <a:pt x="3404" y="1056"/>
                </a:lnTo>
                <a:lnTo>
                  <a:pt x="3406" y="1058"/>
                </a:lnTo>
                <a:lnTo>
                  <a:pt x="3408" y="1062"/>
                </a:lnTo>
                <a:lnTo>
                  <a:pt x="3408" y="1062"/>
                </a:lnTo>
                <a:lnTo>
                  <a:pt x="3414" y="1068"/>
                </a:lnTo>
                <a:lnTo>
                  <a:pt x="3424" y="1072"/>
                </a:lnTo>
                <a:lnTo>
                  <a:pt x="3424" y="1072"/>
                </a:lnTo>
                <a:lnTo>
                  <a:pt x="3420" y="1076"/>
                </a:lnTo>
                <a:lnTo>
                  <a:pt x="3414" y="1080"/>
                </a:lnTo>
                <a:lnTo>
                  <a:pt x="3408" y="1082"/>
                </a:lnTo>
                <a:lnTo>
                  <a:pt x="3402" y="1082"/>
                </a:lnTo>
                <a:lnTo>
                  <a:pt x="3402" y="1082"/>
                </a:lnTo>
                <a:lnTo>
                  <a:pt x="3390" y="1082"/>
                </a:lnTo>
                <a:lnTo>
                  <a:pt x="3378" y="1086"/>
                </a:lnTo>
                <a:lnTo>
                  <a:pt x="3378" y="1086"/>
                </a:lnTo>
                <a:lnTo>
                  <a:pt x="3370" y="1080"/>
                </a:lnTo>
                <a:lnTo>
                  <a:pt x="3370" y="1080"/>
                </a:lnTo>
                <a:lnTo>
                  <a:pt x="3374" y="1076"/>
                </a:lnTo>
                <a:lnTo>
                  <a:pt x="3376" y="1076"/>
                </a:lnTo>
                <a:lnTo>
                  <a:pt x="3384" y="1074"/>
                </a:lnTo>
                <a:lnTo>
                  <a:pt x="3392" y="1074"/>
                </a:lnTo>
                <a:lnTo>
                  <a:pt x="3398" y="1074"/>
                </a:lnTo>
                <a:lnTo>
                  <a:pt x="3398" y="1074"/>
                </a:lnTo>
                <a:lnTo>
                  <a:pt x="3394" y="1070"/>
                </a:lnTo>
                <a:lnTo>
                  <a:pt x="3388" y="1068"/>
                </a:lnTo>
                <a:lnTo>
                  <a:pt x="3376" y="1066"/>
                </a:lnTo>
                <a:lnTo>
                  <a:pt x="3376" y="1066"/>
                </a:lnTo>
                <a:lnTo>
                  <a:pt x="3372" y="1066"/>
                </a:lnTo>
                <a:lnTo>
                  <a:pt x="3368" y="1068"/>
                </a:lnTo>
                <a:lnTo>
                  <a:pt x="3368" y="1068"/>
                </a:lnTo>
                <a:lnTo>
                  <a:pt x="3372" y="1068"/>
                </a:lnTo>
                <a:lnTo>
                  <a:pt x="3372" y="1070"/>
                </a:lnTo>
                <a:lnTo>
                  <a:pt x="3372" y="1070"/>
                </a:lnTo>
                <a:lnTo>
                  <a:pt x="3364" y="1076"/>
                </a:lnTo>
                <a:lnTo>
                  <a:pt x="3354" y="1078"/>
                </a:lnTo>
                <a:lnTo>
                  <a:pt x="3344" y="1082"/>
                </a:lnTo>
                <a:lnTo>
                  <a:pt x="3336" y="1086"/>
                </a:lnTo>
                <a:lnTo>
                  <a:pt x="3336" y="1086"/>
                </a:lnTo>
                <a:lnTo>
                  <a:pt x="3334" y="1086"/>
                </a:lnTo>
                <a:lnTo>
                  <a:pt x="3334" y="1086"/>
                </a:lnTo>
                <a:lnTo>
                  <a:pt x="3326" y="1086"/>
                </a:lnTo>
                <a:lnTo>
                  <a:pt x="3320" y="1088"/>
                </a:lnTo>
                <a:lnTo>
                  <a:pt x="3320" y="1088"/>
                </a:lnTo>
                <a:lnTo>
                  <a:pt x="3306" y="1086"/>
                </a:lnTo>
                <a:lnTo>
                  <a:pt x="3292" y="1084"/>
                </a:lnTo>
                <a:lnTo>
                  <a:pt x="3292" y="1084"/>
                </a:lnTo>
                <a:lnTo>
                  <a:pt x="3280" y="1086"/>
                </a:lnTo>
                <a:lnTo>
                  <a:pt x="3270" y="1088"/>
                </a:lnTo>
                <a:lnTo>
                  <a:pt x="3270" y="1088"/>
                </a:lnTo>
                <a:lnTo>
                  <a:pt x="3270" y="1090"/>
                </a:lnTo>
                <a:lnTo>
                  <a:pt x="3270" y="1090"/>
                </a:lnTo>
                <a:lnTo>
                  <a:pt x="3264" y="1088"/>
                </a:lnTo>
                <a:lnTo>
                  <a:pt x="3264" y="1088"/>
                </a:lnTo>
                <a:lnTo>
                  <a:pt x="3270" y="1088"/>
                </a:lnTo>
                <a:lnTo>
                  <a:pt x="3270" y="1088"/>
                </a:lnTo>
                <a:lnTo>
                  <a:pt x="3270" y="1078"/>
                </a:lnTo>
                <a:lnTo>
                  <a:pt x="3270" y="1078"/>
                </a:lnTo>
                <a:lnTo>
                  <a:pt x="3264" y="1078"/>
                </a:lnTo>
                <a:lnTo>
                  <a:pt x="3264" y="1078"/>
                </a:lnTo>
                <a:lnTo>
                  <a:pt x="3260" y="1076"/>
                </a:lnTo>
                <a:lnTo>
                  <a:pt x="3252" y="1074"/>
                </a:lnTo>
                <a:lnTo>
                  <a:pt x="3252" y="1074"/>
                </a:lnTo>
                <a:lnTo>
                  <a:pt x="3236" y="1076"/>
                </a:lnTo>
                <a:lnTo>
                  <a:pt x="3236" y="1076"/>
                </a:lnTo>
                <a:lnTo>
                  <a:pt x="3230" y="1076"/>
                </a:lnTo>
                <a:lnTo>
                  <a:pt x="3226" y="1078"/>
                </a:lnTo>
                <a:lnTo>
                  <a:pt x="3222" y="1082"/>
                </a:lnTo>
                <a:lnTo>
                  <a:pt x="3222" y="1086"/>
                </a:lnTo>
                <a:lnTo>
                  <a:pt x="3222" y="1086"/>
                </a:lnTo>
                <a:lnTo>
                  <a:pt x="3236" y="1086"/>
                </a:lnTo>
                <a:lnTo>
                  <a:pt x="3236" y="1086"/>
                </a:lnTo>
                <a:lnTo>
                  <a:pt x="3238" y="1086"/>
                </a:lnTo>
                <a:lnTo>
                  <a:pt x="3238" y="1086"/>
                </a:lnTo>
                <a:lnTo>
                  <a:pt x="3226" y="1090"/>
                </a:lnTo>
                <a:lnTo>
                  <a:pt x="3226" y="1090"/>
                </a:lnTo>
                <a:lnTo>
                  <a:pt x="3222" y="1092"/>
                </a:lnTo>
                <a:lnTo>
                  <a:pt x="3222" y="1094"/>
                </a:lnTo>
                <a:lnTo>
                  <a:pt x="3222" y="1098"/>
                </a:lnTo>
                <a:lnTo>
                  <a:pt x="3224" y="1100"/>
                </a:lnTo>
                <a:lnTo>
                  <a:pt x="3224" y="1100"/>
                </a:lnTo>
                <a:lnTo>
                  <a:pt x="3228" y="1096"/>
                </a:lnTo>
                <a:lnTo>
                  <a:pt x="3232" y="1094"/>
                </a:lnTo>
                <a:lnTo>
                  <a:pt x="3232" y="1094"/>
                </a:lnTo>
                <a:lnTo>
                  <a:pt x="3236" y="1094"/>
                </a:lnTo>
                <a:lnTo>
                  <a:pt x="3240" y="1092"/>
                </a:lnTo>
                <a:lnTo>
                  <a:pt x="3242" y="1086"/>
                </a:lnTo>
                <a:lnTo>
                  <a:pt x="3242" y="1086"/>
                </a:lnTo>
                <a:lnTo>
                  <a:pt x="3244" y="1086"/>
                </a:lnTo>
                <a:lnTo>
                  <a:pt x="3244" y="1086"/>
                </a:lnTo>
                <a:lnTo>
                  <a:pt x="3254" y="1086"/>
                </a:lnTo>
                <a:lnTo>
                  <a:pt x="3262" y="1088"/>
                </a:lnTo>
                <a:lnTo>
                  <a:pt x="3262" y="1088"/>
                </a:lnTo>
                <a:lnTo>
                  <a:pt x="3258" y="1088"/>
                </a:lnTo>
                <a:lnTo>
                  <a:pt x="3258" y="1088"/>
                </a:lnTo>
                <a:lnTo>
                  <a:pt x="3264" y="1096"/>
                </a:lnTo>
                <a:lnTo>
                  <a:pt x="3264" y="1096"/>
                </a:lnTo>
                <a:lnTo>
                  <a:pt x="3270" y="1096"/>
                </a:lnTo>
                <a:lnTo>
                  <a:pt x="3270" y="1096"/>
                </a:lnTo>
                <a:lnTo>
                  <a:pt x="3270" y="1118"/>
                </a:lnTo>
                <a:lnTo>
                  <a:pt x="3270" y="1118"/>
                </a:lnTo>
                <a:lnTo>
                  <a:pt x="3276" y="1110"/>
                </a:lnTo>
                <a:lnTo>
                  <a:pt x="3276" y="1110"/>
                </a:lnTo>
                <a:lnTo>
                  <a:pt x="3278" y="1108"/>
                </a:lnTo>
                <a:lnTo>
                  <a:pt x="3282" y="1106"/>
                </a:lnTo>
                <a:lnTo>
                  <a:pt x="3282" y="1106"/>
                </a:lnTo>
                <a:lnTo>
                  <a:pt x="3298" y="1102"/>
                </a:lnTo>
                <a:lnTo>
                  <a:pt x="3314" y="1102"/>
                </a:lnTo>
                <a:lnTo>
                  <a:pt x="3314" y="1102"/>
                </a:lnTo>
                <a:lnTo>
                  <a:pt x="3320" y="1100"/>
                </a:lnTo>
                <a:lnTo>
                  <a:pt x="3324" y="1098"/>
                </a:lnTo>
                <a:lnTo>
                  <a:pt x="3324" y="1098"/>
                </a:lnTo>
                <a:lnTo>
                  <a:pt x="3332" y="1094"/>
                </a:lnTo>
                <a:lnTo>
                  <a:pt x="3340" y="1094"/>
                </a:lnTo>
                <a:lnTo>
                  <a:pt x="3348" y="1094"/>
                </a:lnTo>
                <a:lnTo>
                  <a:pt x="3356" y="1094"/>
                </a:lnTo>
                <a:lnTo>
                  <a:pt x="3356" y="1094"/>
                </a:lnTo>
                <a:lnTo>
                  <a:pt x="3368" y="1098"/>
                </a:lnTo>
                <a:lnTo>
                  <a:pt x="3368" y="1098"/>
                </a:lnTo>
                <a:lnTo>
                  <a:pt x="3374" y="1102"/>
                </a:lnTo>
                <a:lnTo>
                  <a:pt x="3378" y="1102"/>
                </a:lnTo>
                <a:lnTo>
                  <a:pt x="3382" y="1100"/>
                </a:lnTo>
                <a:lnTo>
                  <a:pt x="3388" y="1096"/>
                </a:lnTo>
                <a:lnTo>
                  <a:pt x="3388" y="1096"/>
                </a:lnTo>
                <a:lnTo>
                  <a:pt x="3390" y="1094"/>
                </a:lnTo>
                <a:lnTo>
                  <a:pt x="3390" y="1094"/>
                </a:lnTo>
                <a:lnTo>
                  <a:pt x="3378" y="1090"/>
                </a:lnTo>
                <a:lnTo>
                  <a:pt x="3378" y="1090"/>
                </a:lnTo>
                <a:lnTo>
                  <a:pt x="3390" y="1086"/>
                </a:lnTo>
                <a:lnTo>
                  <a:pt x="3390" y="1086"/>
                </a:lnTo>
                <a:lnTo>
                  <a:pt x="3398" y="1088"/>
                </a:lnTo>
                <a:lnTo>
                  <a:pt x="3398" y="1088"/>
                </a:lnTo>
                <a:lnTo>
                  <a:pt x="3404" y="1086"/>
                </a:lnTo>
                <a:lnTo>
                  <a:pt x="3406" y="1086"/>
                </a:lnTo>
                <a:lnTo>
                  <a:pt x="3408" y="1088"/>
                </a:lnTo>
                <a:lnTo>
                  <a:pt x="3408" y="1088"/>
                </a:lnTo>
                <a:lnTo>
                  <a:pt x="3408" y="1090"/>
                </a:lnTo>
                <a:lnTo>
                  <a:pt x="3408" y="1092"/>
                </a:lnTo>
                <a:lnTo>
                  <a:pt x="3404" y="1096"/>
                </a:lnTo>
                <a:lnTo>
                  <a:pt x="3404" y="1096"/>
                </a:lnTo>
                <a:lnTo>
                  <a:pt x="3404" y="1096"/>
                </a:lnTo>
                <a:lnTo>
                  <a:pt x="3404" y="1096"/>
                </a:lnTo>
                <a:lnTo>
                  <a:pt x="3424" y="1096"/>
                </a:lnTo>
                <a:lnTo>
                  <a:pt x="3424" y="1096"/>
                </a:lnTo>
                <a:lnTo>
                  <a:pt x="3434" y="1098"/>
                </a:lnTo>
                <a:lnTo>
                  <a:pt x="3446" y="1096"/>
                </a:lnTo>
                <a:lnTo>
                  <a:pt x="3446" y="1096"/>
                </a:lnTo>
                <a:lnTo>
                  <a:pt x="3424" y="1090"/>
                </a:lnTo>
                <a:lnTo>
                  <a:pt x="3424" y="1090"/>
                </a:lnTo>
                <a:lnTo>
                  <a:pt x="3434" y="1086"/>
                </a:lnTo>
                <a:lnTo>
                  <a:pt x="3434" y="1086"/>
                </a:lnTo>
                <a:lnTo>
                  <a:pt x="3426" y="1080"/>
                </a:lnTo>
                <a:lnTo>
                  <a:pt x="3426" y="1080"/>
                </a:lnTo>
                <a:lnTo>
                  <a:pt x="3430" y="1074"/>
                </a:lnTo>
                <a:lnTo>
                  <a:pt x="3432" y="1070"/>
                </a:lnTo>
                <a:lnTo>
                  <a:pt x="3432" y="1070"/>
                </a:lnTo>
                <a:lnTo>
                  <a:pt x="3434" y="1068"/>
                </a:lnTo>
                <a:lnTo>
                  <a:pt x="3436" y="1066"/>
                </a:lnTo>
                <a:lnTo>
                  <a:pt x="3440" y="1066"/>
                </a:lnTo>
                <a:lnTo>
                  <a:pt x="3440" y="1064"/>
                </a:lnTo>
                <a:lnTo>
                  <a:pt x="3440" y="1064"/>
                </a:lnTo>
                <a:lnTo>
                  <a:pt x="3438" y="1062"/>
                </a:lnTo>
                <a:lnTo>
                  <a:pt x="3434" y="1060"/>
                </a:lnTo>
                <a:lnTo>
                  <a:pt x="3426" y="1060"/>
                </a:lnTo>
                <a:lnTo>
                  <a:pt x="3426" y="1060"/>
                </a:lnTo>
                <a:lnTo>
                  <a:pt x="3436" y="1054"/>
                </a:lnTo>
                <a:lnTo>
                  <a:pt x="3436" y="1054"/>
                </a:lnTo>
                <a:lnTo>
                  <a:pt x="3438" y="1052"/>
                </a:lnTo>
                <a:lnTo>
                  <a:pt x="3438" y="1052"/>
                </a:lnTo>
                <a:lnTo>
                  <a:pt x="3454" y="1050"/>
                </a:lnTo>
                <a:lnTo>
                  <a:pt x="3454" y="1050"/>
                </a:lnTo>
                <a:lnTo>
                  <a:pt x="3454" y="1048"/>
                </a:lnTo>
                <a:lnTo>
                  <a:pt x="3450" y="1044"/>
                </a:lnTo>
                <a:lnTo>
                  <a:pt x="3450" y="1044"/>
                </a:lnTo>
                <a:lnTo>
                  <a:pt x="3444" y="1040"/>
                </a:lnTo>
                <a:lnTo>
                  <a:pt x="3444" y="1040"/>
                </a:lnTo>
                <a:lnTo>
                  <a:pt x="3452" y="1038"/>
                </a:lnTo>
                <a:lnTo>
                  <a:pt x="3456" y="1038"/>
                </a:lnTo>
                <a:lnTo>
                  <a:pt x="3456" y="1038"/>
                </a:lnTo>
                <a:lnTo>
                  <a:pt x="3458" y="1034"/>
                </a:lnTo>
                <a:lnTo>
                  <a:pt x="3460" y="1030"/>
                </a:lnTo>
                <a:lnTo>
                  <a:pt x="3462" y="1026"/>
                </a:lnTo>
                <a:lnTo>
                  <a:pt x="3472" y="1026"/>
                </a:lnTo>
                <a:lnTo>
                  <a:pt x="3472" y="1026"/>
                </a:lnTo>
                <a:lnTo>
                  <a:pt x="3464" y="1022"/>
                </a:lnTo>
                <a:lnTo>
                  <a:pt x="3464" y="1022"/>
                </a:lnTo>
                <a:lnTo>
                  <a:pt x="3464" y="1020"/>
                </a:lnTo>
                <a:lnTo>
                  <a:pt x="3464" y="1018"/>
                </a:lnTo>
                <a:lnTo>
                  <a:pt x="3464" y="1018"/>
                </a:lnTo>
                <a:lnTo>
                  <a:pt x="3470" y="1016"/>
                </a:lnTo>
                <a:lnTo>
                  <a:pt x="3470" y="1016"/>
                </a:lnTo>
                <a:lnTo>
                  <a:pt x="3472" y="1016"/>
                </a:lnTo>
                <a:lnTo>
                  <a:pt x="3472" y="1016"/>
                </a:lnTo>
                <a:lnTo>
                  <a:pt x="3474" y="1018"/>
                </a:lnTo>
                <a:lnTo>
                  <a:pt x="3474" y="1018"/>
                </a:lnTo>
                <a:lnTo>
                  <a:pt x="3478" y="1018"/>
                </a:lnTo>
                <a:lnTo>
                  <a:pt x="3478" y="1018"/>
                </a:lnTo>
                <a:lnTo>
                  <a:pt x="3480" y="1018"/>
                </a:lnTo>
                <a:lnTo>
                  <a:pt x="3480" y="1018"/>
                </a:lnTo>
                <a:lnTo>
                  <a:pt x="3482" y="1022"/>
                </a:lnTo>
                <a:lnTo>
                  <a:pt x="3482" y="1022"/>
                </a:lnTo>
                <a:lnTo>
                  <a:pt x="3476" y="1024"/>
                </a:lnTo>
                <a:lnTo>
                  <a:pt x="3476" y="1024"/>
                </a:lnTo>
                <a:lnTo>
                  <a:pt x="3482" y="1024"/>
                </a:lnTo>
                <a:lnTo>
                  <a:pt x="3482" y="1024"/>
                </a:lnTo>
                <a:lnTo>
                  <a:pt x="3484" y="1022"/>
                </a:lnTo>
                <a:lnTo>
                  <a:pt x="3484" y="1020"/>
                </a:lnTo>
                <a:lnTo>
                  <a:pt x="3484" y="1020"/>
                </a:lnTo>
                <a:lnTo>
                  <a:pt x="3486" y="1022"/>
                </a:lnTo>
                <a:lnTo>
                  <a:pt x="3486" y="1022"/>
                </a:lnTo>
                <a:lnTo>
                  <a:pt x="3488" y="1034"/>
                </a:lnTo>
                <a:lnTo>
                  <a:pt x="3490" y="1038"/>
                </a:lnTo>
                <a:lnTo>
                  <a:pt x="3490" y="1038"/>
                </a:lnTo>
                <a:lnTo>
                  <a:pt x="3488" y="1032"/>
                </a:lnTo>
                <a:lnTo>
                  <a:pt x="3488" y="1032"/>
                </a:lnTo>
                <a:lnTo>
                  <a:pt x="3506" y="1032"/>
                </a:lnTo>
                <a:lnTo>
                  <a:pt x="3506" y="1032"/>
                </a:lnTo>
                <a:lnTo>
                  <a:pt x="3506" y="1012"/>
                </a:lnTo>
                <a:lnTo>
                  <a:pt x="3506" y="1012"/>
                </a:lnTo>
                <a:lnTo>
                  <a:pt x="3510" y="1014"/>
                </a:lnTo>
                <a:lnTo>
                  <a:pt x="3510" y="1014"/>
                </a:lnTo>
                <a:lnTo>
                  <a:pt x="3512" y="1018"/>
                </a:lnTo>
                <a:lnTo>
                  <a:pt x="3510" y="1022"/>
                </a:lnTo>
                <a:lnTo>
                  <a:pt x="3510" y="1022"/>
                </a:lnTo>
                <a:lnTo>
                  <a:pt x="3508" y="1024"/>
                </a:lnTo>
                <a:lnTo>
                  <a:pt x="3508" y="1026"/>
                </a:lnTo>
                <a:lnTo>
                  <a:pt x="3512" y="1030"/>
                </a:lnTo>
                <a:lnTo>
                  <a:pt x="3512" y="1030"/>
                </a:lnTo>
                <a:lnTo>
                  <a:pt x="3526" y="1038"/>
                </a:lnTo>
                <a:lnTo>
                  <a:pt x="3526" y="1038"/>
                </a:lnTo>
                <a:lnTo>
                  <a:pt x="3520" y="1040"/>
                </a:lnTo>
                <a:lnTo>
                  <a:pt x="3516" y="1044"/>
                </a:lnTo>
                <a:lnTo>
                  <a:pt x="3514" y="1048"/>
                </a:lnTo>
                <a:lnTo>
                  <a:pt x="3512" y="1052"/>
                </a:lnTo>
                <a:lnTo>
                  <a:pt x="3512" y="1052"/>
                </a:lnTo>
                <a:lnTo>
                  <a:pt x="3520" y="1054"/>
                </a:lnTo>
                <a:lnTo>
                  <a:pt x="3524" y="1054"/>
                </a:lnTo>
                <a:lnTo>
                  <a:pt x="3526" y="1058"/>
                </a:lnTo>
                <a:lnTo>
                  <a:pt x="3526" y="1058"/>
                </a:lnTo>
                <a:lnTo>
                  <a:pt x="3514" y="1062"/>
                </a:lnTo>
                <a:lnTo>
                  <a:pt x="3514" y="1062"/>
                </a:lnTo>
                <a:lnTo>
                  <a:pt x="3520" y="1064"/>
                </a:lnTo>
                <a:lnTo>
                  <a:pt x="3526" y="1064"/>
                </a:lnTo>
                <a:lnTo>
                  <a:pt x="3526" y="1064"/>
                </a:lnTo>
                <a:lnTo>
                  <a:pt x="3540" y="1056"/>
                </a:lnTo>
                <a:lnTo>
                  <a:pt x="3552" y="1050"/>
                </a:lnTo>
                <a:lnTo>
                  <a:pt x="3552" y="1050"/>
                </a:lnTo>
                <a:lnTo>
                  <a:pt x="3556" y="1046"/>
                </a:lnTo>
                <a:lnTo>
                  <a:pt x="3560" y="1044"/>
                </a:lnTo>
                <a:lnTo>
                  <a:pt x="3566" y="1044"/>
                </a:lnTo>
                <a:lnTo>
                  <a:pt x="3572" y="1044"/>
                </a:lnTo>
                <a:lnTo>
                  <a:pt x="3572" y="1044"/>
                </a:lnTo>
                <a:lnTo>
                  <a:pt x="3582" y="1046"/>
                </a:lnTo>
                <a:lnTo>
                  <a:pt x="3592" y="1044"/>
                </a:lnTo>
                <a:lnTo>
                  <a:pt x="3592" y="1044"/>
                </a:lnTo>
                <a:lnTo>
                  <a:pt x="3602" y="1038"/>
                </a:lnTo>
                <a:lnTo>
                  <a:pt x="3602" y="1038"/>
                </a:lnTo>
                <a:lnTo>
                  <a:pt x="3608" y="1036"/>
                </a:lnTo>
                <a:lnTo>
                  <a:pt x="3614" y="1038"/>
                </a:lnTo>
                <a:lnTo>
                  <a:pt x="3614" y="1038"/>
                </a:lnTo>
                <a:lnTo>
                  <a:pt x="3614" y="1040"/>
                </a:lnTo>
                <a:lnTo>
                  <a:pt x="3612" y="1042"/>
                </a:lnTo>
                <a:lnTo>
                  <a:pt x="3612" y="1042"/>
                </a:lnTo>
                <a:lnTo>
                  <a:pt x="3616" y="1044"/>
                </a:lnTo>
                <a:lnTo>
                  <a:pt x="3616" y="1044"/>
                </a:lnTo>
                <a:lnTo>
                  <a:pt x="3618" y="1046"/>
                </a:lnTo>
                <a:lnTo>
                  <a:pt x="3618" y="1048"/>
                </a:lnTo>
                <a:lnTo>
                  <a:pt x="3614" y="1052"/>
                </a:lnTo>
                <a:lnTo>
                  <a:pt x="3614" y="1052"/>
                </a:lnTo>
                <a:lnTo>
                  <a:pt x="3608" y="1054"/>
                </a:lnTo>
                <a:lnTo>
                  <a:pt x="3608" y="1054"/>
                </a:lnTo>
                <a:lnTo>
                  <a:pt x="3602" y="1068"/>
                </a:lnTo>
                <a:lnTo>
                  <a:pt x="3602" y="1068"/>
                </a:lnTo>
                <a:lnTo>
                  <a:pt x="3590" y="1074"/>
                </a:lnTo>
                <a:lnTo>
                  <a:pt x="3590" y="1074"/>
                </a:lnTo>
                <a:lnTo>
                  <a:pt x="3584" y="1076"/>
                </a:lnTo>
                <a:lnTo>
                  <a:pt x="3582" y="1074"/>
                </a:lnTo>
                <a:lnTo>
                  <a:pt x="3582" y="1074"/>
                </a:lnTo>
                <a:lnTo>
                  <a:pt x="3578" y="1070"/>
                </a:lnTo>
                <a:lnTo>
                  <a:pt x="3576" y="1068"/>
                </a:lnTo>
                <a:lnTo>
                  <a:pt x="3572" y="1068"/>
                </a:lnTo>
                <a:lnTo>
                  <a:pt x="3566" y="1068"/>
                </a:lnTo>
                <a:lnTo>
                  <a:pt x="3566" y="1068"/>
                </a:lnTo>
                <a:lnTo>
                  <a:pt x="3554" y="1072"/>
                </a:lnTo>
                <a:lnTo>
                  <a:pt x="3554" y="1072"/>
                </a:lnTo>
                <a:lnTo>
                  <a:pt x="3574" y="1082"/>
                </a:lnTo>
                <a:lnTo>
                  <a:pt x="3574" y="1082"/>
                </a:lnTo>
                <a:lnTo>
                  <a:pt x="3572" y="1086"/>
                </a:lnTo>
                <a:lnTo>
                  <a:pt x="3572" y="1088"/>
                </a:lnTo>
                <a:lnTo>
                  <a:pt x="3576" y="1092"/>
                </a:lnTo>
                <a:lnTo>
                  <a:pt x="3576" y="1092"/>
                </a:lnTo>
                <a:lnTo>
                  <a:pt x="3576" y="1096"/>
                </a:lnTo>
                <a:lnTo>
                  <a:pt x="3576" y="1096"/>
                </a:lnTo>
                <a:lnTo>
                  <a:pt x="3566" y="1092"/>
                </a:lnTo>
                <a:lnTo>
                  <a:pt x="3566" y="1092"/>
                </a:lnTo>
                <a:lnTo>
                  <a:pt x="3560" y="1098"/>
                </a:lnTo>
                <a:lnTo>
                  <a:pt x="3560" y="1098"/>
                </a:lnTo>
                <a:lnTo>
                  <a:pt x="3566" y="1100"/>
                </a:lnTo>
                <a:lnTo>
                  <a:pt x="3566" y="1104"/>
                </a:lnTo>
                <a:lnTo>
                  <a:pt x="3568" y="1110"/>
                </a:lnTo>
                <a:lnTo>
                  <a:pt x="3570" y="1114"/>
                </a:lnTo>
                <a:lnTo>
                  <a:pt x="3570" y="1114"/>
                </a:lnTo>
                <a:lnTo>
                  <a:pt x="3556" y="1114"/>
                </a:lnTo>
                <a:lnTo>
                  <a:pt x="3556" y="1114"/>
                </a:lnTo>
                <a:lnTo>
                  <a:pt x="3548" y="1114"/>
                </a:lnTo>
                <a:lnTo>
                  <a:pt x="3538" y="1114"/>
                </a:lnTo>
                <a:lnTo>
                  <a:pt x="3530" y="1116"/>
                </a:lnTo>
                <a:lnTo>
                  <a:pt x="3524" y="1122"/>
                </a:lnTo>
                <a:lnTo>
                  <a:pt x="3524" y="1122"/>
                </a:lnTo>
                <a:lnTo>
                  <a:pt x="3518" y="1124"/>
                </a:lnTo>
                <a:lnTo>
                  <a:pt x="3518" y="1124"/>
                </a:lnTo>
                <a:lnTo>
                  <a:pt x="3522" y="1124"/>
                </a:lnTo>
                <a:lnTo>
                  <a:pt x="3526" y="1124"/>
                </a:lnTo>
                <a:lnTo>
                  <a:pt x="3532" y="1122"/>
                </a:lnTo>
                <a:lnTo>
                  <a:pt x="3532" y="1122"/>
                </a:lnTo>
                <a:lnTo>
                  <a:pt x="3536" y="1120"/>
                </a:lnTo>
                <a:lnTo>
                  <a:pt x="3544" y="1118"/>
                </a:lnTo>
                <a:lnTo>
                  <a:pt x="3550" y="1118"/>
                </a:lnTo>
                <a:lnTo>
                  <a:pt x="3556" y="1120"/>
                </a:lnTo>
                <a:lnTo>
                  <a:pt x="3556" y="1120"/>
                </a:lnTo>
                <a:lnTo>
                  <a:pt x="3560" y="1122"/>
                </a:lnTo>
                <a:lnTo>
                  <a:pt x="3564" y="1124"/>
                </a:lnTo>
                <a:lnTo>
                  <a:pt x="3576" y="1124"/>
                </a:lnTo>
                <a:lnTo>
                  <a:pt x="3576" y="1124"/>
                </a:lnTo>
                <a:lnTo>
                  <a:pt x="3580" y="1126"/>
                </a:lnTo>
                <a:lnTo>
                  <a:pt x="3580" y="1126"/>
                </a:lnTo>
                <a:lnTo>
                  <a:pt x="3586" y="1124"/>
                </a:lnTo>
                <a:lnTo>
                  <a:pt x="3590" y="1122"/>
                </a:lnTo>
                <a:lnTo>
                  <a:pt x="3592" y="1120"/>
                </a:lnTo>
                <a:lnTo>
                  <a:pt x="3592" y="1114"/>
                </a:lnTo>
                <a:lnTo>
                  <a:pt x="3592" y="1114"/>
                </a:lnTo>
                <a:lnTo>
                  <a:pt x="3578" y="1118"/>
                </a:lnTo>
                <a:lnTo>
                  <a:pt x="3578" y="1108"/>
                </a:lnTo>
                <a:lnTo>
                  <a:pt x="3578" y="1108"/>
                </a:lnTo>
                <a:lnTo>
                  <a:pt x="3586" y="1108"/>
                </a:lnTo>
                <a:lnTo>
                  <a:pt x="3586" y="1108"/>
                </a:lnTo>
                <a:lnTo>
                  <a:pt x="3582" y="1102"/>
                </a:lnTo>
                <a:lnTo>
                  <a:pt x="3582" y="1100"/>
                </a:lnTo>
                <a:lnTo>
                  <a:pt x="3584" y="1098"/>
                </a:lnTo>
                <a:lnTo>
                  <a:pt x="3584" y="1098"/>
                </a:lnTo>
                <a:lnTo>
                  <a:pt x="3596" y="1098"/>
                </a:lnTo>
                <a:lnTo>
                  <a:pt x="3596" y="1098"/>
                </a:lnTo>
                <a:lnTo>
                  <a:pt x="3604" y="1100"/>
                </a:lnTo>
                <a:lnTo>
                  <a:pt x="3608" y="1100"/>
                </a:lnTo>
                <a:lnTo>
                  <a:pt x="3612" y="1096"/>
                </a:lnTo>
                <a:lnTo>
                  <a:pt x="3612" y="1096"/>
                </a:lnTo>
                <a:lnTo>
                  <a:pt x="3616" y="1096"/>
                </a:lnTo>
                <a:lnTo>
                  <a:pt x="3620" y="1094"/>
                </a:lnTo>
                <a:lnTo>
                  <a:pt x="3620" y="1094"/>
                </a:lnTo>
                <a:lnTo>
                  <a:pt x="3624" y="1094"/>
                </a:lnTo>
                <a:lnTo>
                  <a:pt x="3628" y="1092"/>
                </a:lnTo>
                <a:lnTo>
                  <a:pt x="3628" y="1092"/>
                </a:lnTo>
                <a:lnTo>
                  <a:pt x="3632" y="1090"/>
                </a:lnTo>
                <a:lnTo>
                  <a:pt x="3634" y="1090"/>
                </a:lnTo>
                <a:lnTo>
                  <a:pt x="3642" y="1090"/>
                </a:lnTo>
                <a:lnTo>
                  <a:pt x="3642" y="1090"/>
                </a:lnTo>
                <a:lnTo>
                  <a:pt x="3648" y="1092"/>
                </a:lnTo>
                <a:lnTo>
                  <a:pt x="3656" y="1092"/>
                </a:lnTo>
                <a:lnTo>
                  <a:pt x="3656" y="1092"/>
                </a:lnTo>
                <a:lnTo>
                  <a:pt x="3662" y="1092"/>
                </a:lnTo>
                <a:lnTo>
                  <a:pt x="3662" y="1092"/>
                </a:lnTo>
                <a:lnTo>
                  <a:pt x="3666" y="1098"/>
                </a:lnTo>
                <a:lnTo>
                  <a:pt x="3666" y="1098"/>
                </a:lnTo>
                <a:lnTo>
                  <a:pt x="3670" y="1102"/>
                </a:lnTo>
                <a:lnTo>
                  <a:pt x="3670" y="1102"/>
                </a:lnTo>
                <a:lnTo>
                  <a:pt x="3668" y="1104"/>
                </a:lnTo>
                <a:lnTo>
                  <a:pt x="3668" y="1104"/>
                </a:lnTo>
                <a:lnTo>
                  <a:pt x="3664" y="1110"/>
                </a:lnTo>
                <a:lnTo>
                  <a:pt x="3662" y="1114"/>
                </a:lnTo>
                <a:lnTo>
                  <a:pt x="3664" y="1118"/>
                </a:lnTo>
                <a:lnTo>
                  <a:pt x="3670" y="1124"/>
                </a:lnTo>
                <a:lnTo>
                  <a:pt x="3670" y="1124"/>
                </a:lnTo>
                <a:lnTo>
                  <a:pt x="3672" y="1128"/>
                </a:lnTo>
                <a:lnTo>
                  <a:pt x="3674" y="1132"/>
                </a:lnTo>
                <a:lnTo>
                  <a:pt x="3674" y="1132"/>
                </a:lnTo>
                <a:lnTo>
                  <a:pt x="3684" y="1132"/>
                </a:lnTo>
                <a:lnTo>
                  <a:pt x="3694" y="1132"/>
                </a:lnTo>
                <a:lnTo>
                  <a:pt x="3704" y="1130"/>
                </a:lnTo>
                <a:lnTo>
                  <a:pt x="3714" y="1128"/>
                </a:lnTo>
                <a:lnTo>
                  <a:pt x="3714" y="1128"/>
                </a:lnTo>
                <a:lnTo>
                  <a:pt x="3706" y="1122"/>
                </a:lnTo>
                <a:lnTo>
                  <a:pt x="3706" y="1122"/>
                </a:lnTo>
                <a:lnTo>
                  <a:pt x="3716" y="1118"/>
                </a:lnTo>
                <a:lnTo>
                  <a:pt x="3716" y="1118"/>
                </a:lnTo>
                <a:lnTo>
                  <a:pt x="3724" y="1122"/>
                </a:lnTo>
                <a:lnTo>
                  <a:pt x="3730" y="1122"/>
                </a:lnTo>
                <a:lnTo>
                  <a:pt x="3734" y="1122"/>
                </a:lnTo>
                <a:lnTo>
                  <a:pt x="3734" y="1122"/>
                </a:lnTo>
                <a:lnTo>
                  <a:pt x="3726" y="1116"/>
                </a:lnTo>
                <a:lnTo>
                  <a:pt x="3716" y="1114"/>
                </a:lnTo>
                <a:lnTo>
                  <a:pt x="3716" y="1114"/>
                </a:lnTo>
                <a:lnTo>
                  <a:pt x="3706" y="1112"/>
                </a:lnTo>
                <a:lnTo>
                  <a:pt x="3706" y="1112"/>
                </a:lnTo>
                <a:lnTo>
                  <a:pt x="3706" y="1108"/>
                </a:lnTo>
                <a:lnTo>
                  <a:pt x="3708" y="1104"/>
                </a:lnTo>
                <a:lnTo>
                  <a:pt x="3716" y="1096"/>
                </a:lnTo>
                <a:lnTo>
                  <a:pt x="3716" y="1096"/>
                </a:lnTo>
                <a:lnTo>
                  <a:pt x="3718" y="1100"/>
                </a:lnTo>
                <a:lnTo>
                  <a:pt x="3718" y="1100"/>
                </a:lnTo>
                <a:lnTo>
                  <a:pt x="3720" y="1100"/>
                </a:lnTo>
                <a:lnTo>
                  <a:pt x="3720" y="1100"/>
                </a:lnTo>
                <a:lnTo>
                  <a:pt x="3720" y="1094"/>
                </a:lnTo>
                <a:lnTo>
                  <a:pt x="3720" y="1094"/>
                </a:lnTo>
                <a:lnTo>
                  <a:pt x="3726" y="1094"/>
                </a:lnTo>
                <a:lnTo>
                  <a:pt x="3730" y="1094"/>
                </a:lnTo>
                <a:lnTo>
                  <a:pt x="3732" y="1090"/>
                </a:lnTo>
                <a:lnTo>
                  <a:pt x="3732" y="1090"/>
                </a:lnTo>
                <a:lnTo>
                  <a:pt x="3720" y="1086"/>
                </a:lnTo>
                <a:lnTo>
                  <a:pt x="3720" y="1086"/>
                </a:lnTo>
                <a:lnTo>
                  <a:pt x="3718" y="1084"/>
                </a:lnTo>
                <a:lnTo>
                  <a:pt x="3716" y="1082"/>
                </a:lnTo>
                <a:lnTo>
                  <a:pt x="3716" y="1082"/>
                </a:lnTo>
                <a:lnTo>
                  <a:pt x="3718" y="1080"/>
                </a:lnTo>
                <a:lnTo>
                  <a:pt x="3720" y="1080"/>
                </a:lnTo>
                <a:lnTo>
                  <a:pt x="3724" y="1080"/>
                </a:lnTo>
                <a:lnTo>
                  <a:pt x="3724" y="1080"/>
                </a:lnTo>
                <a:lnTo>
                  <a:pt x="3736" y="1082"/>
                </a:lnTo>
                <a:lnTo>
                  <a:pt x="3748" y="1082"/>
                </a:lnTo>
                <a:lnTo>
                  <a:pt x="3748" y="1082"/>
                </a:lnTo>
                <a:lnTo>
                  <a:pt x="3756" y="1082"/>
                </a:lnTo>
                <a:lnTo>
                  <a:pt x="3764" y="1086"/>
                </a:lnTo>
                <a:lnTo>
                  <a:pt x="3764" y="1086"/>
                </a:lnTo>
                <a:lnTo>
                  <a:pt x="3762" y="1092"/>
                </a:lnTo>
                <a:lnTo>
                  <a:pt x="3762" y="1092"/>
                </a:lnTo>
                <a:lnTo>
                  <a:pt x="3772" y="1092"/>
                </a:lnTo>
                <a:lnTo>
                  <a:pt x="3772" y="1092"/>
                </a:lnTo>
                <a:lnTo>
                  <a:pt x="3770" y="1086"/>
                </a:lnTo>
                <a:lnTo>
                  <a:pt x="3770" y="1086"/>
                </a:lnTo>
                <a:lnTo>
                  <a:pt x="3784" y="1090"/>
                </a:lnTo>
                <a:lnTo>
                  <a:pt x="3784" y="1090"/>
                </a:lnTo>
                <a:lnTo>
                  <a:pt x="3804" y="1078"/>
                </a:lnTo>
                <a:lnTo>
                  <a:pt x="3804" y="1078"/>
                </a:lnTo>
                <a:lnTo>
                  <a:pt x="3788" y="1080"/>
                </a:lnTo>
                <a:lnTo>
                  <a:pt x="3780" y="1078"/>
                </a:lnTo>
                <a:lnTo>
                  <a:pt x="3772" y="1078"/>
                </a:lnTo>
                <a:lnTo>
                  <a:pt x="3772" y="1078"/>
                </a:lnTo>
                <a:lnTo>
                  <a:pt x="3752" y="1074"/>
                </a:lnTo>
                <a:lnTo>
                  <a:pt x="3732" y="1070"/>
                </a:lnTo>
                <a:lnTo>
                  <a:pt x="3732" y="1070"/>
                </a:lnTo>
                <a:lnTo>
                  <a:pt x="3722" y="1070"/>
                </a:lnTo>
                <a:lnTo>
                  <a:pt x="3716" y="1070"/>
                </a:lnTo>
                <a:lnTo>
                  <a:pt x="3712" y="1072"/>
                </a:lnTo>
                <a:lnTo>
                  <a:pt x="3712" y="1072"/>
                </a:lnTo>
                <a:lnTo>
                  <a:pt x="3706" y="1074"/>
                </a:lnTo>
                <a:lnTo>
                  <a:pt x="3702" y="1072"/>
                </a:lnTo>
                <a:lnTo>
                  <a:pt x="3700" y="1070"/>
                </a:lnTo>
                <a:lnTo>
                  <a:pt x="3700" y="1070"/>
                </a:lnTo>
                <a:lnTo>
                  <a:pt x="3706" y="1068"/>
                </a:lnTo>
                <a:lnTo>
                  <a:pt x="3706" y="1068"/>
                </a:lnTo>
                <a:lnTo>
                  <a:pt x="3710" y="1066"/>
                </a:lnTo>
                <a:lnTo>
                  <a:pt x="3712" y="1066"/>
                </a:lnTo>
                <a:lnTo>
                  <a:pt x="3710" y="1064"/>
                </a:lnTo>
                <a:lnTo>
                  <a:pt x="3708" y="1062"/>
                </a:lnTo>
                <a:lnTo>
                  <a:pt x="3708" y="1062"/>
                </a:lnTo>
                <a:lnTo>
                  <a:pt x="3704" y="1060"/>
                </a:lnTo>
                <a:lnTo>
                  <a:pt x="3698" y="1060"/>
                </a:lnTo>
                <a:lnTo>
                  <a:pt x="3698" y="1060"/>
                </a:lnTo>
                <a:lnTo>
                  <a:pt x="3694" y="1060"/>
                </a:lnTo>
                <a:lnTo>
                  <a:pt x="3690" y="1060"/>
                </a:lnTo>
                <a:lnTo>
                  <a:pt x="3690" y="1060"/>
                </a:lnTo>
                <a:lnTo>
                  <a:pt x="3690" y="1058"/>
                </a:lnTo>
                <a:lnTo>
                  <a:pt x="3690" y="1058"/>
                </a:lnTo>
                <a:lnTo>
                  <a:pt x="3696" y="1056"/>
                </a:lnTo>
                <a:lnTo>
                  <a:pt x="3702" y="1056"/>
                </a:lnTo>
                <a:lnTo>
                  <a:pt x="3702" y="1056"/>
                </a:lnTo>
                <a:lnTo>
                  <a:pt x="3708" y="1056"/>
                </a:lnTo>
                <a:lnTo>
                  <a:pt x="3712" y="1054"/>
                </a:lnTo>
                <a:lnTo>
                  <a:pt x="3720" y="1048"/>
                </a:lnTo>
                <a:lnTo>
                  <a:pt x="3720" y="1048"/>
                </a:lnTo>
                <a:lnTo>
                  <a:pt x="3724" y="1042"/>
                </a:lnTo>
                <a:lnTo>
                  <a:pt x="3732" y="1038"/>
                </a:lnTo>
                <a:lnTo>
                  <a:pt x="3732" y="1038"/>
                </a:lnTo>
                <a:lnTo>
                  <a:pt x="3714" y="1034"/>
                </a:lnTo>
                <a:lnTo>
                  <a:pt x="3714" y="1034"/>
                </a:lnTo>
                <a:lnTo>
                  <a:pt x="3714" y="1034"/>
                </a:lnTo>
                <a:lnTo>
                  <a:pt x="3712" y="1030"/>
                </a:lnTo>
                <a:lnTo>
                  <a:pt x="3712" y="1030"/>
                </a:lnTo>
                <a:lnTo>
                  <a:pt x="3712" y="1030"/>
                </a:lnTo>
                <a:lnTo>
                  <a:pt x="3712" y="1030"/>
                </a:lnTo>
                <a:lnTo>
                  <a:pt x="3706" y="1034"/>
                </a:lnTo>
                <a:lnTo>
                  <a:pt x="3704" y="1036"/>
                </a:lnTo>
                <a:lnTo>
                  <a:pt x="3704" y="1040"/>
                </a:lnTo>
                <a:lnTo>
                  <a:pt x="3704" y="1040"/>
                </a:lnTo>
                <a:lnTo>
                  <a:pt x="3702" y="1042"/>
                </a:lnTo>
                <a:lnTo>
                  <a:pt x="3698" y="1042"/>
                </a:lnTo>
                <a:lnTo>
                  <a:pt x="3698" y="1042"/>
                </a:lnTo>
                <a:lnTo>
                  <a:pt x="3690" y="1046"/>
                </a:lnTo>
                <a:lnTo>
                  <a:pt x="3690" y="1048"/>
                </a:lnTo>
                <a:lnTo>
                  <a:pt x="3692" y="1052"/>
                </a:lnTo>
                <a:lnTo>
                  <a:pt x="3692" y="1052"/>
                </a:lnTo>
                <a:lnTo>
                  <a:pt x="3674" y="1056"/>
                </a:lnTo>
                <a:lnTo>
                  <a:pt x="3674" y="1056"/>
                </a:lnTo>
                <a:lnTo>
                  <a:pt x="3656" y="1066"/>
                </a:lnTo>
                <a:lnTo>
                  <a:pt x="3656" y="1066"/>
                </a:lnTo>
                <a:lnTo>
                  <a:pt x="3652" y="1068"/>
                </a:lnTo>
                <a:lnTo>
                  <a:pt x="3652" y="1068"/>
                </a:lnTo>
                <a:lnTo>
                  <a:pt x="3646" y="1070"/>
                </a:lnTo>
                <a:lnTo>
                  <a:pt x="3644" y="1074"/>
                </a:lnTo>
                <a:lnTo>
                  <a:pt x="3642" y="1078"/>
                </a:lnTo>
                <a:lnTo>
                  <a:pt x="3644" y="1082"/>
                </a:lnTo>
                <a:lnTo>
                  <a:pt x="3644" y="1082"/>
                </a:lnTo>
                <a:lnTo>
                  <a:pt x="3640" y="1082"/>
                </a:lnTo>
                <a:lnTo>
                  <a:pt x="3636" y="1082"/>
                </a:lnTo>
                <a:lnTo>
                  <a:pt x="3634" y="1078"/>
                </a:lnTo>
                <a:lnTo>
                  <a:pt x="3632" y="1072"/>
                </a:lnTo>
                <a:lnTo>
                  <a:pt x="3632" y="1072"/>
                </a:lnTo>
                <a:lnTo>
                  <a:pt x="3646" y="1064"/>
                </a:lnTo>
                <a:lnTo>
                  <a:pt x="3646" y="1064"/>
                </a:lnTo>
                <a:lnTo>
                  <a:pt x="3634" y="1062"/>
                </a:lnTo>
                <a:lnTo>
                  <a:pt x="3634" y="1062"/>
                </a:lnTo>
                <a:lnTo>
                  <a:pt x="3634" y="1058"/>
                </a:lnTo>
                <a:lnTo>
                  <a:pt x="3638" y="1056"/>
                </a:lnTo>
                <a:lnTo>
                  <a:pt x="3646" y="1054"/>
                </a:lnTo>
                <a:lnTo>
                  <a:pt x="3646" y="1054"/>
                </a:lnTo>
                <a:lnTo>
                  <a:pt x="3642" y="1048"/>
                </a:lnTo>
                <a:lnTo>
                  <a:pt x="3640" y="1046"/>
                </a:lnTo>
                <a:lnTo>
                  <a:pt x="3640" y="1042"/>
                </a:lnTo>
                <a:lnTo>
                  <a:pt x="3640" y="1042"/>
                </a:lnTo>
                <a:lnTo>
                  <a:pt x="3646" y="1040"/>
                </a:lnTo>
                <a:lnTo>
                  <a:pt x="3652" y="1038"/>
                </a:lnTo>
                <a:lnTo>
                  <a:pt x="3666" y="1034"/>
                </a:lnTo>
                <a:lnTo>
                  <a:pt x="3666" y="1034"/>
                </a:lnTo>
                <a:lnTo>
                  <a:pt x="3678" y="1034"/>
                </a:lnTo>
                <a:lnTo>
                  <a:pt x="3684" y="1034"/>
                </a:lnTo>
                <a:lnTo>
                  <a:pt x="3688" y="1036"/>
                </a:lnTo>
                <a:lnTo>
                  <a:pt x="3688" y="1036"/>
                </a:lnTo>
                <a:lnTo>
                  <a:pt x="3696" y="1036"/>
                </a:lnTo>
                <a:lnTo>
                  <a:pt x="3696" y="1036"/>
                </a:lnTo>
                <a:lnTo>
                  <a:pt x="3684" y="1026"/>
                </a:lnTo>
                <a:lnTo>
                  <a:pt x="3684" y="1026"/>
                </a:lnTo>
                <a:lnTo>
                  <a:pt x="3696" y="1018"/>
                </a:lnTo>
                <a:lnTo>
                  <a:pt x="3696" y="1018"/>
                </a:lnTo>
                <a:lnTo>
                  <a:pt x="3690" y="1014"/>
                </a:lnTo>
                <a:lnTo>
                  <a:pt x="3690" y="1014"/>
                </a:lnTo>
                <a:lnTo>
                  <a:pt x="3692" y="1008"/>
                </a:lnTo>
                <a:lnTo>
                  <a:pt x="3694" y="1004"/>
                </a:lnTo>
                <a:lnTo>
                  <a:pt x="3698" y="1002"/>
                </a:lnTo>
                <a:lnTo>
                  <a:pt x="3698" y="1002"/>
                </a:lnTo>
                <a:lnTo>
                  <a:pt x="3696" y="998"/>
                </a:lnTo>
                <a:lnTo>
                  <a:pt x="3696" y="998"/>
                </a:lnTo>
                <a:lnTo>
                  <a:pt x="3700" y="1000"/>
                </a:lnTo>
                <a:lnTo>
                  <a:pt x="3700" y="1000"/>
                </a:lnTo>
                <a:lnTo>
                  <a:pt x="3702" y="994"/>
                </a:lnTo>
                <a:lnTo>
                  <a:pt x="3702" y="994"/>
                </a:lnTo>
                <a:lnTo>
                  <a:pt x="3704" y="994"/>
                </a:lnTo>
                <a:lnTo>
                  <a:pt x="3704" y="994"/>
                </a:lnTo>
                <a:lnTo>
                  <a:pt x="3704" y="1002"/>
                </a:lnTo>
                <a:lnTo>
                  <a:pt x="3704" y="1002"/>
                </a:lnTo>
                <a:lnTo>
                  <a:pt x="3706" y="1006"/>
                </a:lnTo>
                <a:lnTo>
                  <a:pt x="3710" y="1008"/>
                </a:lnTo>
                <a:lnTo>
                  <a:pt x="3710" y="1008"/>
                </a:lnTo>
                <a:lnTo>
                  <a:pt x="3708" y="994"/>
                </a:lnTo>
                <a:lnTo>
                  <a:pt x="3708" y="994"/>
                </a:lnTo>
                <a:lnTo>
                  <a:pt x="3718" y="994"/>
                </a:lnTo>
                <a:lnTo>
                  <a:pt x="3722" y="996"/>
                </a:lnTo>
                <a:lnTo>
                  <a:pt x="3724" y="998"/>
                </a:lnTo>
                <a:lnTo>
                  <a:pt x="3724" y="998"/>
                </a:lnTo>
                <a:lnTo>
                  <a:pt x="3724" y="1000"/>
                </a:lnTo>
                <a:lnTo>
                  <a:pt x="3722" y="1002"/>
                </a:lnTo>
                <a:lnTo>
                  <a:pt x="3716" y="1004"/>
                </a:lnTo>
                <a:lnTo>
                  <a:pt x="3716" y="1004"/>
                </a:lnTo>
                <a:lnTo>
                  <a:pt x="3718" y="1008"/>
                </a:lnTo>
                <a:lnTo>
                  <a:pt x="3718" y="1008"/>
                </a:lnTo>
                <a:lnTo>
                  <a:pt x="3722" y="1006"/>
                </a:lnTo>
                <a:lnTo>
                  <a:pt x="3722" y="1006"/>
                </a:lnTo>
                <a:lnTo>
                  <a:pt x="3738" y="1004"/>
                </a:lnTo>
                <a:lnTo>
                  <a:pt x="3738" y="1004"/>
                </a:lnTo>
                <a:lnTo>
                  <a:pt x="3732" y="1000"/>
                </a:lnTo>
                <a:lnTo>
                  <a:pt x="3732" y="1000"/>
                </a:lnTo>
                <a:lnTo>
                  <a:pt x="3730" y="1000"/>
                </a:lnTo>
                <a:lnTo>
                  <a:pt x="3730" y="1000"/>
                </a:lnTo>
                <a:lnTo>
                  <a:pt x="3732" y="1000"/>
                </a:lnTo>
                <a:lnTo>
                  <a:pt x="3732" y="1000"/>
                </a:lnTo>
                <a:lnTo>
                  <a:pt x="3724" y="998"/>
                </a:lnTo>
                <a:lnTo>
                  <a:pt x="3724" y="998"/>
                </a:lnTo>
                <a:lnTo>
                  <a:pt x="3724" y="994"/>
                </a:lnTo>
                <a:lnTo>
                  <a:pt x="3720" y="992"/>
                </a:lnTo>
                <a:lnTo>
                  <a:pt x="3720" y="992"/>
                </a:lnTo>
                <a:lnTo>
                  <a:pt x="3716" y="990"/>
                </a:lnTo>
                <a:lnTo>
                  <a:pt x="3714" y="988"/>
                </a:lnTo>
                <a:lnTo>
                  <a:pt x="3714" y="982"/>
                </a:lnTo>
                <a:lnTo>
                  <a:pt x="3714" y="982"/>
                </a:lnTo>
                <a:lnTo>
                  <a:pt x="3716" y="980"/>
                </a:lnTo>
                <a:lnTo>
                  <a:pt x="3718" y="978"/>
                </a:lnTo>
                <a:lnTo>
                  <a:pt x="3726" y="978"/>
                </a:lnTo>
                <a:lnTo>
                  <a:pt x="3726" y="978"/>
                </a:lnTo>
                <a:lnTo>
                  <a:pt x="3734" y="980"/>
                </a:lnTo>
                <a:lnTo>
                  <a:pt x="3734" y="980"/>
                </a:lnTo>
                <a:lnTo>
                  <a:pt x="3738" y="980"/>
                </a:lnTo>
                <a:lnTo>
                  <a:pt x="3738" y="980"/>
                </a:lnTo>
                <a:lnTo>
                  <a:pt x="3744" y="982"/>
                </a:lnTo>
                <a:lnTo>
                  <a:pt x="3744" y="982"/>
                </a:lnTo>
                <a:lnTo>
                  <a:pt x="3744" y="988"/>
                </a:lnTo>
                <a:lnTo>
                  <a:pt x="3744" y="988"/>
                </a:lnTo>
                <a:lnTo>
                  <a:pt x="3748" y="992"/>
                </a:lnTo>
                <a:lnTo>
                  <a:pt x="3748" y="992"/>
                </a:lnTo>
                <a:lnTo>
                  <a:pt x="3744" y="988"/>
                </a:lnTo>
                <a:lnTo>
                  <a:pt x="3744" y="988"/>
                </a:lnTo>
                <a:lnTo>
                  <a:pt x="3746" y="1004"/>
                </a:lnTo>
                <a:lnTo>
                  <a:pt x="3746" y="1004"/>
                </a:lnTo>
                <a:lnTo>
                  <a:pt x="3756" y="1004"/>
                </a:lnTo>
                <a:lnTo>
                  <a:pt x="3756" y="1004"/>
                </a:lnTo>
                <a:lnTo>
                  <a:pt x="3758" y="994"/>
                </a:lnTo>
                <a:lnTo>
                  <a:pt x="3758" y="994"/>
                </a:lnTo>
                <a:lnTo>
                  <a:pt x="3756" y="994"/>
                </a:lnTo>
                <a:lnTo>
                  <a:pt x="3756" y="994"/>
                </a:lnTo>
                <a:lnTo>
                  <a:pt x="3758" y="994"/>
                </a:lnTo>
                <a:lnTo>
                  <a:pt x="3758" y="994"/>
                </a:lnTo>
                <a:lnTo>
                  <a:pt x="3762" y="982"/>
                </a:lnTo>
                <a:lnTo>
                  <a:pt x="3762" y="982"/>
                </a:lnTo>
                <a:lnTo>
                  <a:pt x="3764" y="980"/>
                </a:lnTo>
                <a:lnTo>
                  <a:pt x="3764" y="980"/>
                </a:lnTo>
                <a:lnTo>
                  <a:pt x="3768" y="980"/>
                </a:lnTo>
                <a:lnTo>
                  <a:pt x="3770" y="982"/>
                </a:lnTo>
                <a:lnTo>
                  <a:pt x="3772" y="986"/>
                </a:lnTo>
                <a:lnTo>
                  <a:pt x="3772" y="986"/>
                </a:lnTo>
                <a:lnTo>
                  <a:pt x="3780" y="990"/>
                </a:lnTo>
                <a:lnTo>
                  <a:pt x="3780" y="990"/>
                </a:lnTo>
                <a:lnTo>
                  <a:pt x="3780" y="988"/>
                </a:lnTo>
                <a:lnTo>
                  <a:pt x="3780" y="988"/>
                </a:lnTo>
                <a:lnTo>
                  <a:pt x="3780" y="990"/>
                </a:lnTo>
                <a:lnTo>
                  <a:pt x="3780" y="990"/>
                </a:lnTo>
                <a:lnTo>
                  <a:pt x="3784" y="990"/>
                </a:lnTo>
                <a:lnTo>
                  <a:pt x="3784" y="990"/>
                </a:lnTo>
                <a:lnTo>
                  <a:pt x="3790" y="992"/>
                </a:lnTo>
                <a:lnTo>
                  <a:pt x="3790" y="992"/>
                </a:lnTo>
                <a:lnTo>
                  <a:pt x="3792" y="982"/>
                </a:lnTo>
                <a:lnTo>
                  <a:pt x="3792" y="982"/>
                </a:lnTo>
                <a:lnTo>
                  <a:pt x="3796" y="978"/>
                </a:lnTo>
                <a:lnTo>
                  <a:pt x="3796" y="978"/>
                </a:lnTo>
                <a:lnTo>
                  <a:pt x="3792" y="974"/>
                </a:lnTo>
                <a:lnTo>
                  <a:pt x="3792" y="974"/>
                </a:lnTo>
                <a:lnTo>
                  <a:pt x="3794" y="968"/>
                </a:lnTo>
                <a:lnTo>
                  <a:pt x="3796" y="968"/>
                </a:lnTo>
                <a:lnTo>
                  <a:pt x="3796" y="968"/>
                </a:lnTo>
                <a:lnTo>
                  <a:pt x="3800" y="972"/>
                </a:lnTo>
                <a:lnTo>
                  <a:pt x="3800" y="972"/>
                </a:lnTo>
                <a:lnTo>
                  <a:pt x="3802" y="986"/>
                </a:lnTo>
                <a:lnTo>
                  <a:pt x="3802" y="986"/>
                </a:lnTo>
                <a:lnTo>
                  <a:pt x="3806" y="986"/>
                </a:lnTo>
                <a:lnTo>
                  <a:pt x="3808" y="986"/>
                </a:lnTo>
                <a:lnTo>
                  <a:pt x="3808" y="986"/>
                </a:lnTo>
                <a:lnTo>
                  <a:pt x="3814" y="986"/>
                </a:lnTo>
                <a:lnTo>
                  <a:pt x="3814" y="986"/>
                </a:lnTo>
                <a:lnTo>
                  <a:pt x="3812" y="982"/>
                </a:lnTo>
                <a:lnTo>
                  <a:pt x="3812" y="982"/>
                </a:lnTo>
                <a:lnTo>
                  <a:pt x="3810" y="982"/>
                </a:lnTo>
                <a:lnTo>
                  <a:pt x="3810" y="982"/>
                </a:lnTo>
                <a:lnTo>
                  <a:pt x="3812" y="982"/>
                </a:lnTo>
                <a:lnTo>
                  <a:pt x="3812" y="982"/>
                </a:lnTo>
                <a:lnTo>
                  <a:pt x="3812" y="980"/>
                </a:lnTo>
                <a:lnTo>
                  <a:pt x="3812" y="980"/>
                </a:lnTo>
                <a:lnTo>
                  <a:pt x="3816" y="978"/>
                </a:lnTo>
                <a:lnTo>
                  <a:pt x="3816" y="978"/>
                </a:lnTo>
                <a:lnTo>
                  <a:pt x="3822" y="978"/>
                </a:lnTo>
                <a:lnTo>
                  <a:pt x="3826" y="978"/>
                </a:lnTo>
                <a:lnTo>
                  <a:pt x="3828" y="980"/>
                </a:lnTo>
                <a:lnTo>
                  <a:pt x="3828" y="980"/>
                </a:lnTo>
                <a:lnTo>
                  <a:pt x="3822" y="982"/>
                </a:lnTo>
                <a:lnTo>
                  <a:pt x="3822" y="982"/>
                </a:lnTo>
                <a:lnTo>
                  <a:pt x="3820" y="982"/>
                </a:lnTo>
                <a:lnTo>
                  <a:pt x="3818" y="982"/>
                </a:lnTo>
                <a:lnTo>
                  <a:pt x="3818" y="982"/>
                </a:lnTo>
                <a:lnTo>
                  <a:pt x="3820" y="986"/>
                </a:lnTo>
                <a:lnTo>
                  <a:pt x="3820" y="986"/>
                </a:lnTo>
                <a:lnTo>
                  <a:pt x="3824" y="984"/>
                </a:lnTo>
                <a:lnTo>
                  <a:pt x="3828" y="980"/>
                </a:lnTo>
                <a:lnTo>
                  <a:pt x="3828" y="980"/>
                </a:lnTo>
                <a:lnTo>
                  <a:pt x="3832" y="980"/>
                </a:lnTo>
                <a:lnTo>
                  <a:pt x="3832" y="980"/>
                </a:lnTo>
                <a:lnTo>
                  <a:pt x="3836" y="980"/>
                </a:lnTo>
                <a:lnTo>
                  <a:pt x="3836" y="980"/>
                </a:lnTo>
                <a:lnTo>
                  <a:pt x="3840" y="978"/>
                </a:lnTo>
                <a:lnTo>
                  <a:pt x="3840" y="978"/>
                </a:lnTo>
                <a:lnTo>
                  <a:pt x="3842" y="976"/>
                </a:lnTo>
                <a:lnTo>
                  <a:pt x="3840" y="972"/>
                </a:lnTo>
                <a:lnTo>
                  <a:pt x="3838" y="970"/>
                </a:lnTo>
                <a:lnTo>
                  <a:pt x="3836" y="968"/>
                </a:lnTo>
                <a:lnTo>
                  <a:pt x="3836" y="968"/>
                </a:lnTo>
                <a:lnTo>
                  <a:pt x="3854" y="968"/>
                </a:lnTo>
                <a:lnTo>
                  <a:pt x="3854" y="968"/>
                </a:lnTo>
                <a:lnTo>
                  <a:pt x="3862" y="968"/>
                </a:lnTo>
                <a:lnTo>
                  <a:pt x="3864" y="970"/>
                </a:lnTo>
                <a:lnTo>
                  <a:pt x="3868" y="974"/>
                </a:lnTo>
                <a:lnTo>
                  <a:pt x="3868" y="974"/>
                </a:lnTo>
                <a:lnTo>
                  <a:pt x="3860" y="980"/>
                </a:lnTo>
                <a:lnTo>
                  <a:pt x="3860" y="980"/>
                </a:lnTo>
                <a:lnTo>
                  <a:pt x="3872" y="986"/>
                </a:lnTo>
                <a:lnTo>
                  <a:pt x="3880" y="994"/>
                </a:lnTo>
                <a:lnTo>
                  <a:pt x="3880" y="994"/>
                </a:lnTo>
                <a:lnTo>
                  <a:pt x="3884" y="994"/>
                </a:lnTo>
                <a:lnTo>
                  <a:pt x="3884" y="994"/>
                </a:lnTo>
                <a:lnTo>
                  <a:pt x="3884" y="996"/>
                </a:lnTo>
                <a:lnTo>
                  <a:pt x="3884" y="996"/>
                </a:lnTo>
                <a:lnTo>
                  <a:pt x="3884" y="996"/>
                </a:lnTo>
                <a:lnTo>
                  <a:pt x="3882" y="996"/>
                </a:lnTo>
                <a:lnTo>
                  <a:pt x="3882" y="996"/>
                </a:lnTo>
                <a:lnTo>
                  <a:pt x="3884" y="1004"/>
                </a:lnTo>
                <a:lnTo>
                  <a:pt x="3884" y="1004"/>
                </a:lnTo>
                <a:lnTo>
                  <a:pt x="3890" y="1004"/>
                </a:lnTo>
                <a:lnTo>
                  <a:pt x="3892" y="1002"/>
                </a:lnTo>
                <a:lnTo>
                  <a:pt x="3896" y="998"/>
                </a:lnTo>
                <a:lnTo>
                  <a:pt x="3896" y="998"/>
                </a:lnTo>
                <a:lnTo>
                  <a:pt x="3896" y="1024"/>
                </a:lnTo>
                <a:lnTo>
                  <a:pt x="3896" y="1024"/>
                </a:lnTo>
                <a:lnTo>
                  <a:pt x="3888" y="1022"/>
                </a:lnTo>
                <a:lnTo>
                  <a:pt x="3878" y="1022"/>
                </a:lnTo>
                <a:lnTo>
                  <a:pt x="3878" y="1022"/>
                </a:lnTo>
                <a:lnTo>
                  <a:pt x="3862" y="1024"/>
                </a:lnTo>
                <a:lnTo>
                  <a:pt x="3856" y="1024"/>
                </a:lnTo>
                <a:lnTo>
                  <a:pt x="3848" y="1022"/>
                </a:lnTo>
                <a:lnTo>
                  <a:pt x="3848" y="1022"/>
                </a:lnTo>
                <a:lnTo>
                  <a:pt x="3840" y="1020"/>
                </a:lnTo>
                <a:lnTo>
                  <a:pt x="3832" y="1020"/>
                </a:lnTo>
                <a:lnTo>
                  <a:pt x="3818" y="1024"/>
                </a:lnTo>
                <a:lnTo>
                  <a:pt x="3818" y="1024"/>
                </a:lnTo>
                <a:lnTo>
                  <a:pt x="3816" y="1024"/>
                </a:lnTo>
                <a:lnTo>
                  <a:pt x="3816" y="1024"/>
                </a:lnTo>
                <a:lnTo>
                  <a:pt x="3816" y="1016"/>
                </a:lnTo>
                <a:lnTo>
                  <a:pt x="3816" y="1016"/>
                </a:lnTo>
                <a:lnTo>
                  <a:pt x="3810" y="1018"/>
                </a:lnTo>
                <a:lnTo>
                  <a:pt x="3810" y="1018"/>
                </a:lnTo>
                <a:lnTo>
                  <a:pt x="3814" y="1012"/>
                </a:lnTo>
                <a:lnTo>
                  <a:pt x="3814" y="1012"/>
                </a:lnTo>
                <a:lnTo>
                  <a:pt x="3814" y="1012"/>
                </a:lnTo>
                <a:lnTo>
                  <a:pt x="3814" y="1012"/>
                </a:lnTo>
                <a:lnTo>
                  <a:pt x="3816" y="1010"/>
                </a:lnTo>
                <a:lnTo>
                  <a:pt x="3816" y="1010"/>
                </a:lnTo>
                <a:lnTo>
                  <a:pt x="3814" y="990"/>
                </a:lnTo>
                <a:lnTo>
                  <a:pt x="3814" y="990"/>
                </a:lnTo>
                <a:lnTo>
                  <a:pt x="3810" y="992"/>
                </a:lnTo>
                <a:lnTo>
                  <a:pt x="3804" y="994"/>
                </a:lnTo>
                <a:lnTo>
                  <a:pt x="3804" y="994"/>
                </a:lnTo>
                <a:lnTo>
                  <a:pt x="3802" y="994"/>
                </a:lnTo>
                <a:lnTo>
                  <a:pt x="3802" y="994"/>
                </a:lnTo>
                <a:lnTo>
                  <a:pt x="3804" y="1004"/>
                </a:lnTo>
                <a:lnTo>
                  <a:pt x="3804" y="1004"/>
                </a:lnTo>
                <a:lnTo>
                  <a:pt x="3814" y="1012"/>
                </a:lnTo>
                <a:lnTo>
                  <a:pt x="3814" y="1012"/>
                </a:lnTo>
                <a:lnTo>
                  <a:pt x="3804" y="1012"/>
                </a:lnTo>
                <a:lnTo>
                  <a:pt x="3804" y="1012"/>
                </a:lnTo>
                <a:lnTo>
                  <a:pt x="3808" y="1030"/>
                </a:lnTo>
                <a:lnTo>
                  <a:pt x="3812" y="1034"/>
                </a:lnTo>
                <a:lnTo>
                  <a:pt x="3814" y="1038"/>
                </a:lnTo>
                <a:lnTo>
                  <a:pt x="3814" y="1038"/>
                </a:lnTo>
                <a:lnTo>
                  <a:pt x="3816" y="1030"/>
                </a:lnTo>
                <a:lnTo>
                  <a:pt x="3816" y="1030"/>
                </a:lnTo>
                <a:lnTo>
                  <a:pt x="3822" y="1030"/>
                </a:lnTo>
                <a:lnTo>
                  <a:pt x="3822" y="1030"/>
                </a:lnTo>
                <a:lnTo>
                  <a:pt x="3828" y="1030"/>
                </a:lnTo>
                <a:lnTo>
                  <a:pt x="3832" y="1030"/>
                </a:lnTo>
                <a:lnTo>
                  <a:pt x="3832" y="1030"/>
                </a:lnTo>
                <a:lnTo>
                  <a:pt x="3838" y="1036"/>
                </a:lnTo>
                <a:lnTo>
                  <a:pt x="3848" y="1038"/>
                </a:lnTo>
                <a:lnTo>
                  <a:pt x="3864" y="1036"/>
                </a:lnTo>
                <a:lnTo>
                  <a:pt x="3864" y="1036"/>
                </a:lnTo>
                <a:lnTo>
                  <a:pt x="3874" y="1036"/>
                </a:lnTo>
                <a:lnTo>
                  <a:pt x="3884" y="1038"/>
                </a:lnTo>
                <a:lnTo>
                  <a:pt x="3884" y="1038"/>
                </a:lnTo>
                <a:lnTo>
                  <a:pt x="3886" y="1044"/>
                </a:lnTo>
                <a:lnTo>
                  <a:pt x="3888" y="1048"/>
                </a:lnTo>
                <a:lnTo>
                  <a:pt x="3894" y="1052"/>
                </a:lnTo>
                <a:lnTo>
                  <a:pt x="3902" y="1054"/>
                </a:lnTo>
                <a:lnTo>
                  <a:pt x="3902" y="1054"/>
                </a:lnTo>
                <a:lnTo>
                  <a:pt x="3896" y="1042"/>
                </a:lnTo>
                <a:lnTo>
                  <a:pt x="3896" y="1042"/>
                </a:lnTo>
                <a:lnTo>
                  <a:pt x="3932" y="1040"/>
                </a:lnTo>
                <a:lnTo>
                  <a:pt x="3932" y="1040"/>
                </a:lnTo>
                <a:lnTo>
                  <a:pt x="3940" y="1040"/>
                </a:lnTo>
                <a:lnTo>
                  <a:pt x="3948" y="1034"/>
                </a:lnTo>
                <a:lnTo>
                  <a:pt x="3948" y="1034"/>
                </a:lnTo>
                <a:lnTo>
                  <a:pt x="3948" y="1034"/>
                </a:lnTo>
                <a:lnTo>
                  <a:pt x="3936" y="1028"/>
                </a:lnTo>
                <a:lnTo>
                  <a:pt x="3928" y="1028"/>
                </a:lnTo>
                <a:lnTo>
                  <a:pt x="3920" y="1028"/>
                </a:lnTo>
                <a:lnTo>
                  <a:pt x="3920" y="1028"/>
                </a:lnTo>
                <a:lnTo>
                  <a:pt x="3912" y="1028"/>
                </a:lnTo>
                <a:lnTo>
                  <a:pt x="3904" y="1026"/>
                </a:lnTo>
                <a:lnTo>
                  <a:pt x="3904" y="1026"/>
                </a:lnTo>
                <a:lnTo>
                  <a:pt x="3898" y="1024"/>
                </a:lnTo>
                <a:lnTo>
                  <a:pt x="3898" y="1024"/>
                </a:lnTo>
                <a:lnTo>
                  <a:pt x="3902" y="1020"/>
                </a:lnTo>
                <a:lnTo>
                  <a:pt x="3902" y="1020"/>
                </a:lnTo>
                <a:lnTo>
                  <a:pt x="3914" y="1018"/>
                </a:lnTo>
                <a:lnTo>
                  <a:pt x="3914" y="1018"/>
                </a:lnTo>
                <a:lnTo>
                  <a:pt x="3926" y="1012"/>
                </a:lnTo>
                <a:lnTo>
                  <a:pt x="3926" y="1012"/>
                </a:lnTo>
                <a:lnTo>
                  <a:pt x="3924" y="1002"/>
                </a:lnTo>
                <a:lnTo>
                  <a:pt x="3924" y="1002"/>
                </a:lnTo>
                <a:lnTo>
                  <a:pt x="3922" y="1002"/>
                </a:lnTo>
                <a:lnTo>
                  <a:pt x="3916" y="1000"/>
                </a:lnTo>
                <a:lnTo>
                  <a:pt x="3914" y="998"/>
                </a:lnTo>
                <a:lnTo>
                  <a:pt x="3914" y="994"/>
                </a:lnTo>
                <a:lnTo>
                  <a:pt x="3914" y="994"/>
                </a:lnTo>
                <a:lnTo>
                  <a:pt x="3922" y="992"/>
                </a:lnTo>
                <a:lnTo>
                  <a:pt x="3924" y="990"/>
                </a:lnTo>
                <a:lnTo>
                  <a:pt x="3924" y="986"/>
                </a:lnTo>
                <a:lnTo>
                  <a:pt x="3924" y="986"/>
                </a:lnTo>
                <a:lnTo>
                  <a:pt x="3914" y="982"/>
                </a:lnTo>
                <a:lnTo>
                  <a:pt x="3914" y="982"/>
                </a:lnTo>
                <a:lnTo>
                  <a:pt x="3924" y="976"/>
                </a:lnTo>
                <a:lnTo>
                  <a:pt x="3934" y="976"/>
                </a:lnTo>
                <a:lnTo>
                  <a:pt x="3934" y="976"/>
                </a:lnTo>
                <a:lnTo>
                  <a:pt x="3942" y="964"/>
                </a:lnTo>
                <a:lnTo>
                  <a:pt x="3942" y="964"/>
                </a:lnTo>
                <a:lnTo>
                  <a:pt x="3926" y="958"/>
                </a:lnTo>
                <a:lnTo>
                  <a:pt x="3926" y="958"/>
                </a:lnTo>
                <a:lnTo>
                  <a:pt x="3924" y="956"/>
                </a:lnTo>
                <a:lnTo>
                  <a:pt x="3924" y="954"/>
                </a:lnTo>
                <a:lnTo>
                  <a:pt x="3924" y="954"/>
                </a:lnTo>
                <a:lnTo>
                  <a:pt x="3930" y="952"/>
                </a:lnTo>
                <a:lnTo>
                  <a:pt x="3930" y="952"/>
                </a:lnTo>
                <a:lnTo>
                  <a:pt x="3970" y="950"/>
                </a:lnTo>
                <a:lnTo>
                  <a:pt x="3970" y="950"/>
                </a:lnTo>
                <a:lnTo>
                  <a:pt x="3966" y="946"/>
                </a:lnTo>
                <a:lnTo>
                  <a:pt x="3966" y="942"/>
                </a:lnTo>
                <a:lnTo>
                  <a:pt x="3966" y="936"/>
                </a:lnTo>
                <a:lnTo>
                  <a:pt x="3964" y="932"/>
                </a:lnTo>
                <a:lnTo>
                  <a:pt x="3964" y="932"/>
                </a:lnTo>
                <a:lnTo>
                  <a:pt x="3970" y="930"/>
                </a:lnTo>
                <a:lnTo>
                  <a:pt x="3976" y="928"/>
                </a:lnTo>
                <a:lnTo>
                  <a:pt x="3988" y="930"/>
                </a:lnTo>
                <a:lnTo>
                  <a:pt x="3988" y="930"/>
                </a:lnTo>
                <a:lnTo>
                  <a:pt x="4006" y="934"/>
                </a:lnTo>
                <a:lnTo>
                  <a:pt x="4006" y="934"/>
                </a:lnTo>
                <a:lnTo>
                  <a:pt x="4014" y="936"/>
                </a:lnTo>
                <a:lnTo>
                  <a:pt x="4024" y="934"/>
                </a:lnTo>
                <a:lnTo>
                  <a:pt x="4024" y="934"/>
                </a:lnTo>
                <a:lnTo>
                  <a:pt x="4018" y="922"/>
                </a:lnTo>
                <a:lnTo>
                  <a:pt x="4018" y="922"/>
                </a:lnTo>
                <a:lnTo>
                  <a:pt x="4022" y="922"/>
                </a:lnTo>
                <a:lnTo>
                  <a:pt x="4022" y="922"/>
                </a:lnTo>
                <a:lnTo>
                  <a:pt x="4034" y="920"/>
                </a:lnTo>
                <a:lnTo>
                  <a:pt x="4044" y="918"/>
                </a:lnTo>
                <a:lnTo>
                  <a:pt x="4044" y="918"/>
                </a:lnTo>
                <a:lnTo>
                  <a:pt x="4056" y="914"/>
                </a:lnTo>
                <a:lnTo>
                  <a:pt x="4066" y="914"/>
                </a:lnTo>
                <a:lnTo>
                  <a:pt x="4066" y="914"/>
                </a:lnTo>
                <a:lnTo>
                  <a:pt x="4076" y="914"/>
                </a:lnTo>
                <a:lnTo>
                  <a:pt x="4084" y="914"/>
                </a:lnTo>
                <a:lnTo>
                  <a:pt x="4094" y="914"/>
                </a:lnTo>
                <a:lnTo>
                  <a:pt x="4102" y="918"/>
                </a:lnTo>
                <a:lnTo>
                  <a:pt x="4102" y="918"/>
                </a:lnTo>
                <a:lnTo>
                  <a:pt x="4106" y="918"/>
                </a:lnTo>
                <a:lnTo>
                  <a:pt x="4106" y="918"/>
                </a:lnTo>
                <a:lnTo>
                  <a:pt x="4112" y="916"/>
                </a:lnTo>
                <a:lnTo>
                  <a:pt x="4118" y="918"/>
                </a:lnTo>
                <a:lnTo>
                  <a:pt x="4126" y="922"/>
                </a:lnTo>
                <a:lnTo>
                  <a:pt x="4126" y="922"/>
                </a:lnTo>
                <a:lnTo>
                  <a:pt x="4126" y="924"/>
                </a:lnTo>
                <a:lnTo>
                  <a:pt x="4126" y="924"/>
                </a:lnTo>
                <a:lnTo>
                  <a:pt x="4126" y="928"/>
                </a:lnTo>
                <a:lnTo>
                  <a:pt x="4126" y="928"/>
                </a:lnTo>
                <a:lnTo>
                  <a:pt x="4134" y="930"/>
                </a:lnTo>
                <a:lnTo>
                  <a:pt x="4134" y="930"/>
                </a:lnTo>
                <a:lnTo>
                  <a:pt x="4146" y="926"/>
                </a:lnTo>
                <a:lnTo>
                  <a:pt x="4146" y="926"/>
                </a:lnTo>
                <a:lnTo>
                  <a:pt x="4158" y="926"/>
                </a:lnTo>
                <a:lnTo>
                  <a:pt x="4164" y="926"/>
                </a:lnTo>
                <a:lnTo>
                  <a:pt x="4170" y="928"/>
                </a:lnTo>
                <a:lnTo>
                  <a:pt x="4170" y="928"/>
                </a:lnTo>
                <a:lnTo>
                  <a:pt x="4180" y="932"/>
                </a:lnTo>
                <a:lnTo>
                  <a:pt x="4190" y="934"/>
                </a:lnTo>
                <a:lnTo>
                  <a:pt x="4190" y="934"/>
                </a:lnTo>
                <a:lnTo>
                  <a:pt x="4214" y="934"/>
                </a:lnTo>
                <a:lnTo>
                  <a:pt x="4214" y="934"/>
                </a:lnTo>
                <a:lnTo>
                  <a:pt x="4226" y="936"/>
                </a:lnTo>
                <a:lnTo>
                  <a:pt x="4230" y="938"/>
                </a:lnTo>
                <a:lnTo>
                  <a:pt x="4234" y="942"/>
                </a:lnTo>
                <a:lnTo>
                  <a:pt x="4234" y="942"/>
                </a:lnTo>
                <a:lnTo>
                  <a:pt x="4242" y="950"/>
                </a:lnTo>
                <a:lnTo>
                  <a:pt x="4242" y="950"/>
                </a:lnTo>
                <a:lnTo>
                  <a:pt x="4258" y="942"/>
                </a:lnTo>
                <a:lnTo>
                  <a:pt x="4258" y="942"/>
                </a:lnTo>
                <a:lnTo>
                  <a:pt x="4258" y="946"/>
                </a:lnTo>
                <a:lnTo>
                  <a:pt x="4258" y="946"/>
                </a:lnTo>
                <a:lnTo>
                  <a:pt x="4262" y="948"/>
                </a:lnTo>
                <a:lnTo>
                  <a:pt x="4266" y="950"/>
                </a:lnTo>
                <a:lnTo>
                  <a:pt x="4270" y="956"/>
                </a:lnTo>
                <a:lnTo>
                  <a:pt x="4270" y="956"/>
                </a:lnTo>
                <a:lnTo>
                  <a:pt x="4278" y="956"/>
                </a:lnTo>
                <a:lnTo>
                  <a:pt x="4282" y="954"/>
                </a:lnTo>
                <a:lnTo>
                  <a:pt x="4286" y="952"/>
                </a:lnTo>
                <a:lnTo>
                  <a:pt x="4286" y="952"/>
                </a:lnTo>
                <a:lnTo>
                  <a:pt x="4292" y="950"/>
                </a:lnTo>
                <a:lnTo>
                  <a:pt x="4292" y="950"/>
                </a:lnTo>
                <a:lnTo>
                  <a:pt x="4296" y="956"/>
                </a:lnTo>
                <a:lnTo>
                  <a:pt x="4300" y="960"/>
                </a:lnTo>
                <a:lnTo>
                  <a:pt x="4306" y="966"/>
                </a:lnTo>
                <a:lnTo>
                  <a:pt x="4314" y="968"/>
                </a:lnTo>
                <a:lnTo>
                  <a:pt x="4314" y="968"/>
                </a:lnTo>
                <a:lnTo>
                  <a:pt x="4306" y="978"/>
                </a:lnTo>
                <a:lnTo>
                  <a:pt x="4306" y="978"/>
                </a:lnTo>
                <a:lnTo>
                  <a:pt x="4320" y="980"/>
                </a:lnTo>
                <a:lnTo>
                  <a:pt x="4320" y="980"/>
                </a:lnTo>
                <a:lnTo>
                  <a:pt x="4328" y="982"/>
                </a:lnTo>
                <a:lnTo>
                  <a:pt x="4330" y="984"/>
                </a:lnTo>
                <a:lnTo>
                  <a:pt x="4332" y="986"/>
                </a:lnTo>
                <a:lnTo>
                  <a:pt x="4332" y="986"/>
                </a:lnTo>
                <a:lnTo>
                  <a:pt x="4336" y="998"/>
                </a:lnTo>
                <a:lnTo>
                  <a:pt x="4336" y="998"/>
                </a:lnTo>
                <a:lnTo>
                  <a:pt x="4328" y="1004"/>
                </a:lnTo>
                <a:lnTo>
                  <a:pt x="4328" y="1004"/>
                </a:lnTo>
                <a:lnTo>
                  <a:pt x="4334" y="1006"/>
                </a:lnTo>
                <a:lnTo>
                  <a:pt x="4334" y="1006"/>
                </a:lnTo>
                <a:lnTo>
                  <a:pt x="4334" y="1012"/>
                </a:lnTo>
                <a:lnTo>
                  <a:pt x="4338" y="1014"/>
                </a:lnTo>
                <a:lnTo>
                  <a:pt x="4348" y="1018"/>
                </a:lnTo>
                <a:lnTo>
                  <a:pt x="4348" y="1018"/>
                </a:lnTo>
                <a:lnTo>
                  <a:pt x="4354" y="1020"/>
                </a:lnTo>
                <a:lnTo>
                  <a:pt x="4356" y="1024"/>
                </a:lnTo>
                <a:lnTo>
                  <a:pt x="4358" y="1028"/>
                </a:lnTo>
                <a:lnTo>
                  <a:pt x="4358" y="1032"/>
                </a:lnTo>
                <a:lnTo>
                  <a:pt x="4358" y="1032"/>
                </a:lnTo>
                <a:lnTo>
                  <a:pt x="4360" y="1034"/>
                </a:lnTo>
                <a:lnTo>
                  <a:pt x="4362" y="1036"/>
                </a:lnTo>
                <a:lnTo>
                  <a:pt x="4362" y="1036"/>
                </a:lnTo>
                <a:lnTo>
                  <a:pt x="4364" y="1028"/>
                </a:lnTo>
                <a:lnTo>
                  <a:pt x="4368" y="1022"/>
                </a:lnTo>
                <a:lnTo>
                  <a:pt x="4368" y="1022"/>
                </a:lnTo>
                <a:lnTo>
                  <a:pt x="4374" y="1016"/>
                </a:lnTo>
                <a:lnTo>
                  <a:pt x="4382" y="1010"/>
                </a:lnTo>
                <a:lnTo>
                  <a:pt x="4382" y="1010"/>
                </a:lnTo>
                <a:lnTo>
                  <a:pt x="4374" y="1004"/>
                </a:lnTo>
                <a:lnTo>
                  <a:pt x="4372" y="1000"/>
                </a:lnTo>
                <a:lnTo>
                  <a:pt x="4372" y="996"/>
                </a:lnTo>
                <a:lnTo>
                  <a:pt x="4372" y="996"/>
                </a:lnTo>
                <a:lnTo>
                  <a:pt x="4370" y="994"/>
                </a:lnTo>
                <a:lnTo>
                  <a:pt x="4368" y="992"/>
                </a:lnTo>
                <a:lnTo>
                  <a:pt x="4372" y="988"/>
                </a:lnTo>
                <a:lnTo>
                  <a:pt x="4372" y="988"/>
                </a:lnTo>
                <a:lnTo>
                  <a:pt x="4370" y="986"/>
                </a:lnTo>
                <a:lnTo>
                  <a:pt x="4370" y="982"/>
                </a:lnTo>
                <a:lnTo>
                  <a:pt x="4370" y="978"/>
                </a:lnTo>
                <a:lnTo>
                  <a:pt x="4368" y="976"/>
                </a:lnTo>
                <a:lnTo>
                  <a:pt x="4368" y="976"/>
                </a:lnTo>
                <a:lnTo>
                  <a:pt x="4382" y="974"/>
                </a:lnTo>
                <a:lnTo>
                  <a:pt x="4382" y="974"/>
                </a:lnTo>
                <a:lnTo>
                  <a:pt x="4380" y="970"/>
                </a:lnTo>
                <a:lnTo>
                  <a:pt x="4380" y="968"/>
                </a:lnTo>
                <a:lnTo>
                  <a:pt x="4382" y="966"/>
                </a:lnTo>
                <a:lnTo>
                  <a:pt x="4386" y="964"/>
                </a:lnTo>
                <a:lnTo>
                  <a:pt x="4386" y="964"/>
                </a:lnTo>
                <a:lnTo>
                  <a:pt x="4388" y="962"/>
                </a:lnTo>
                <a:lnTo>
                  <a:pt x="4386" y="960"/>
                </a:lnTo>
                <a:lnTo>
                  <a:pt x="4382" y="958"/>
                </a:lnTo>
                <a:lnTo>
                  <a:pt x="4382" y="958"/>
                </a:lnTo>
                <a:lnTo>
                  <a:pt x="4378" y="956"/>
                </a:lnTo>
                <a:lnTo>
                  <a:pt x="4376" y="952"/>
                </a:lnTo>
                <a:lnTo>
                  <a:pt x="4378" y="950"/>
                </a:lnTo>
                <a:lnTo>
                  <a:pt x="4382" y="946"/>
                </a:lnTo>
                <a:lnTo>
                  <a:pt x="4382" y="946"/>
                </a:lnTo>
                <a:lnTo>
                  <a:pt x="4384" y="942"/>
                </a:lnTo>
                <a:lnTo>
                  <a:pt x="4384" y="942"/>
                </a:lnTo>
                <a:lnTo>
                  <a:pt x="4372" y="940"/>
                </a:lnTo>
                <a:lnTo>
                  <a:pt x="4372" y="940"/>
                </a:lnTo>
                <a:lnTo>
                  <a:pt x="4366" y="940"/>
                </a:lnTo>
                <a:lnTo>
                  <a:pt x="4364" y="938"/>
                </a:lnTo>
                <a:lnTo>
                  <a:pt x="4364" y="938"/>
                </a:lnTo>
                <a:lnTo>
                  <a:pt x="4362" y="934"/>
                </a:lnTo>
                <a:lnTo>
                  <a:pt x="4360" y="932"/>
                </a:lnTo>
                <a:lnTo>
                  <a:pt x="4352" y="926"/>
                </a:lnTo>
                <a:lnTo>
                  <a:pt x="4352" y="926"/>
                </a:lnTo>
                <a:lnTo>
                  <a:pt x="4348" y="920"/>
                </a:lnTo>
                <a:lnTo>
                  <a:pt x="4348" y="920"/>
                </a:lnTo>
                <a:lnTo>
                  <a:pt x="4354" y="922"/>
                </a:lnTo>
                <a:lnTo>
                  <a:pt x="4354" y="922"/>
                </a:lnTo>
                <a:lnTo>
                  <a:pt x="4360" y="924"/>
                </a:lnTo>
                <a:lnTo>
                  <a:pt x="4364" y="924"/>
                </a:lnTo>
                <a:lnTo>
                  <a:pt x="4374" y="922"/>
                </a:lnTo>
                <a:lnTo>
                  <a:pt x="4374" y="922"/>
                </a:lnTo>
                <a:lnTo>
                  <a:pt x="4380" y="916"/>
                </a:lnTo>
                <a:lnTo>
                  <a:pt x="4380" y="916"/>
                </a:lnTo>
                <a:lnTo>
                  <a:pt x="4386" y="914"/>
                </a:lnTo>
                <a:lnTo>
                  <a:pt x="4388" y="910"/>
                </a:lnTo>
                <a:lnTo>
                  <a:pt x="4388" y="908"/>
                </a:lnTo>
                <a:lnTo>
                  <a:pt x="4386" y="904"/>
                </a:lnTo>
                <a:lnTo>
                  <a:pt x="4386" y="904"/>
                </a:lnTo>
                <a:lnTo>
                  <a:pt x="4388" y="900"/>
                </a:lnTo>
                <a:lnTo>
                  <a:pt x="4388" y="896"/>
                </a:lnTo>
                <a:lnTo>
                  <a:pt x="4386" y="894"/>
                </a:lnTo>
                <a:lnTo>
                  <a:pt x="4380" y="892"/>
                </a:lnTo>
                <a:lnTo>
                  <a:pt x="4380" y="892"/>
                </a:lnTo>
                <a:lnTo>
                  <a:pt x="4368" y="888"/>
                </a:lnTo>
                <a:lnTo>
                  <a:pt x="4368" y="888"/>
                </a:lnTo>
                <a:lnTo>
                  <a:pt x="4362" y="886"/>
                </a:lnTo>
                <a:lnTo>
                  <a:pt x="4364" y="884"/>
                </a:lnTo>
                <a:lnTo>
                  <a:pt x="4366" y="880"/>
                </a:lnTo>
                <a:lnTo>
                  <a:pt x="4366" y="880"/>
                </a:lnTo>
                <a:lnTo>
                  <a:pt x="4370" y="876"/>
                </a:lnTo>
                <a:lnTo>
                  <a:pt x="4378" y="872"/>
                </a:lnTo>
                <a:lnTo>
                  <a:pt x="4378" y="872"/>
                </a:lnTo>
                <a:lnTo>
                  <a:pt x="4382" y="870"/>
                </a:lnTo>
                <a:lnTo>
                  <a:pt x="4386" y="868"/>
                </a:lnTo>
                <a:lnTo>
                  <a:pt x="4386" y="868"/>
                </a:lnTo>
                <a:lnTo>
                  <a:pt x="4380" y="862"/>
                </a:lnTo>
                <a:lnTo>
                  <a:pt x="4380" y="862"/>
                </a:lnTo>
                <a:lnTo>
                  <a:pt x="4386" y="862"/>
                </a:lnTo>
                <a:lnTo>
                  <a:pt x="4392" y="864"/>
                </a:lnTo>
                <a:lnTo>
                  <a:pt x="4396" y="868"/>
                </a:lnTo>
                <a:lnTo>
                  <a:pt x="4402" y="870"/>
                </a:lnTo>
                <a:lnTo>
                  <a:pt x="4402" y="870"/>
                </a:lnTo>
                <a:lnTo>
                  <a:pt x="4418" y="882"/>
                </a:lnTo>
                <a:lnTo>
                  <a:pt x="4418" y="882"/>
                </a:lnTo>
                <a:lnTo>
                  <a:pt x="4444" y="880"/>
                </a:lnTo>
                <a:lnTo>
                  <a:pt x="4444" y="880"/>
                </a:lnTo>
                <a:lnTo>
                  <a:pt x="4450" y="884"/>
                </a:lnTo>
                <a:lnTo>
                  <a:pt x="4456" y="884"/>
                </a:lnTo>
                <a:lnTo>
                  <a:pt x="4458" y="884"/>
                </a:lnTo>
                <a:lnTo>
                  <a:pt x="4460" y="880"/>
                </a:lnTo>
                <a:lnTo>
                  <a:pt x="4460" y="880"/>
                </a:lnTo>
                <a:lnTo>
                  <a:pt x="4436" y="872"/>
                </a:lnTo>
                <a:lnTo>
                  <a:pt x="4436" y="872"/>
                </a:lnTo>
                <a:lnTo>
                  <a:pt x="4434" y="870"/>
                </a:lnTo>
                <a:lnTo>
                  <a:pt x="4436" y="868"/>
                </a:lnTo>
                <a:lnTo>
                  <a:pt x="4438" y="864"/>
                </a:lnTo>
                <a:lnTo>
                  <a:pt x="4444" y="862"/>
                </a:lnTo>
                <a:lnTo>
                  <a:pt x="4446" y="860"/>
                </a:lnTo>
                <a:lnTo>
                  <a:pt x="4446" y="860"/>
                </a:lnTo>
                <a:lnTo>
                  <a:pt x="4452" y="862"/>
                </a:lnTo>
                <a:lnTo>
                  <a:pt x="4452" y="862"/>
                </a:lnTo>
                <a:lnTo>
                  <a:pt x="4452" y="864"/>
                </a:lnTo>
                <a:lnTo>
                  <a:pt x="4450" y="868"/>
                </a:lnTo>
                <a:lnTo>
                  <a:pt x="4450" y="868"/>
                </a:lnTo>
                <a:lnTo>
                  <a:pt x="4464" y="870"/>
                </a:lnTo>
                <a:lnTo>
                  <a:pt x="4464" y="870"/>
                </a:lnTo>
                <a:lnTo>
                  <a:pt x="4464" y="872"/>
                </a:lnTo>
                <a:lnTo>
                  <a:pt x="4466" y="874"/>
                </a:lnTo>
                <a:lnTo>
                  <a:pt x="4466" y="874"/>
                </a:lnTo>
                <a:lnTo>
                  <a:pt x="4472" y="870"/>
                </a:lnTo>
                <a:lnTo>
                  <a:pt x="4486" y="860"/>
                </a:lnTo>
                <a:lnTo>
                  <a:pt x="4508" y="844"/>
                </a:lnTo>
                <a:lnTo>
                  <a:pt x="4508" y="844"/>
                </a:lnTo>
                <a:lnTo>
                  <a:pt x="4524" y="838"/>
                </a:lnTo>
                <a:lnTo>
                  <a:pt x="4524" y="838"/>
                </a:lnTo>
                <a:lnTo>
                  <a:pt x="4554" y="828"/>
                </a:lnTo>
                <a:lnTo>
                  <a:pt x="4554" y="828"/>
                </a:lnTo>
                <a:lnTo>
                  <a:pt x="4550" y="822"/>
                </a:lnTo>
                <a:lnTo>
                  <a:pt x="4550" y="822"/>
                </a:lnTo>
                <a:lnTo>
                  <a:pt x="4554" y="808"/>
                </a:lnTo>
                <a:lnTo>
                  <a:pt x="4562" y="784"/>
                </a:lnTo>
                <a:lnTo>
                  <a:pt x="4566" y="760"/>
                </a:lnTo>
                <a:lnTo>
                  <a:pt x="4566" y="752"/>
                </a:lnTo>
                <a:lnTo>
                  <a:pt x="4564" y="746"/>
                </a:lnTo>
                <a:lnTo>
                  <a:pt x="4564" y="746"/>
                </a:lnTo>
                <a:close/>
                <a:moveTo>
                  <a:pt x="3632" y="204"/>
                </a:moveTo>
                <a:lnTo>
                  <a:pt x="3632" y="204"/>
                </a:lnTo>
                <a:lnTo>
                  <a:pt x="3624" y="202"/>
                </a:lnTo>
                <a:lnTo>
                  <a:pt x="3624" y="202"/>
                </a:lnTo>
                <a:lnTo>
                  <a:pt x="3626" y="200"/>
                </a:lnTo>
                <a:lnTo>
                  <a:pt x="3632" y="198"/>
                </a:lnTo>
                <a:lnTo>
                  <a:pt x="3642" y="198"/>
                </a:lnTo>
                <a:lnTo>
                  <a:pt x="3642" y="198"/>
                </a:lnTo>
                <a:lnTo>
                  <a:pt x="3638" y="202"/>
                </a:lnTo>
                <a:lnTo>
                  <a:pt x="3632" y="204"/>
                </a:lnTo>
                <a:lnTo>
                  <a:pt x="3632" y="204"/>
                </a:lnTo>
                <a:close/>
                <a:moveTo>
                  <a:pt x="2520" y="96"/>
                </a:moveTo>
                <a:lnTo>
                  <a:pt x="2520" y="96"/>
                </a:lnTo>
                <a:lnTo>
                  <a:pt x="2524" y="88"/>
                </a:lnTo>
                <a:lnTo>
                  <a:pt x="2524" y="88"/>
                </a:lnTo>
                <a:lnTo>
                  <a:pt x="2524" y="88"/>
                </a:lnTo>
                <a:lnTo>
                  <a:pt x="2524" y="88"/>
                </a:lnTo>
                <a:lnTo>
                  <a:pt x="2522" y="96"/>
                </a:lnTo>
                <a:lnTo>
                  <a:pt x="2522" y="96"/>
                </a:lnTo>
                <a:lnTo>
                  <a:pt x="2518" y="96"/>
                </a:lnTo>
                <a:lnTo>
                  <a:pt x="2518" y="96"/>
                </a:lnTo>
                <a:lnTo>
                  <a:pt x="2520" y="96"/>
                </a:lnTo>
                <a:lnTo>
                  <a:pt x="2520" y="96"/>
                </a:lnTo>
                <a:close/>
                <a:moveTo>
                  <a:pt x="318" y="324"/>
                </a:moveTo>
                <a:lnTo>
                  <a:pt x="318" y="324"/>
                </a:lnTo>
                <a:lnTo>
                  <a:pt x="316" y="324"/>
                </a:lnTo>
                <a:lnTo>
                  <a:pt x="312" y="324"/>
                </a:lnTo>
                <a:lnTo>
                  <a:pt x="312" y="324"/>
                </a:lnTo>
                <a:lnTo>
                  <a:pt x="316" y="324"/>
                </a:lnTo>
                <a:lnTo>
                  <a:pt x="318" y="324"/>
                </a:lnTo>
                <a:lnTo>
                  <a:pt x="318" y="324"/>
                </a:lnTo>
                <a:lnTo>
                  <a:pt x="318" y="322"/>
                </a:lnTo>
                <a:lnTo>
                  <a:pt x="318" y="322"/>
                </a:lnTo>
                <a:lnTo>
                  <a:pt x="318" y="322"/>
                </a:lnTo>
                <a:lnTo>
                  <a:pt x="318" y="322"/>
                </a:lnTo>
                <a:lnTo>
                  <a:pt x="318" y="324"/>
                </a:lnTo>
                <a:lnTo>
                  <a:pt x="318" y="324"/>
                </a:lnTo>
                <a:close/>
                <a:moveTo>
                  <a:pt x="104" y="888"/>
                </a:moveTo>
                <a:lnTo>
                  <a:pt x="104" y="888"/>
                </a:lnTo>
                <a:lnTo>
                  <a:pt x="108" y="888"/>
                </a:lnTo>
                <a:lnTo>
                  <a:pt x="110" y="886"/>
                </a:lnTo>
                <a:lnTo>
                  <a:pt x="110" y="886"/>
                </a:lnTo>
                <a:lnTo>
                  <a:pt x="106" y="884"/>
                </a:lnTo>
                <a:lnTo>
                  <a:pt x="106" y="884"/>
                </a:lnTo>
                <a:lnTo>
                  <a:pt x="110" y="886"/>
                </a:lnTo>
                <a:lnTo>
                  <a:pt x="110" y="886"/>
                </a:lnTo>
                <a:lnTo>
                  <a:pt x="108" y="888"/>
                </a:lnTo>
                <a:lnTo>
                  <a:pt x="104" y="888"/>
                </a:lnTo>
                <a:lnTo>
                  <a:pt x="104" y="888"/>
                </a:lnTo>
                <a:close/>
                <a:moveTo>
                  <a:pt x="124" y="884"/>
                </a:moveTo>
                <a:lnTo>
                  <a:pt x="124" y="884"/>
                </a:lnTo>
                <a:lnTo>
                  <a:pt x="124" y="884"/>
                </a:lnTo>
                <a:lnTo>
                  <a:pt x="124" y="884"/>
                </a:lnTo>
                <a:lnTo>
                  <a:pt x="130" y="882"/>
                </a:lnTo>
                <a:lnTo>
                  <a:pt x="130" y="882"/>
                </a:lnTo>
                <a:lnTo>
                  <a:pt x="130" y="880"/>
                </a:lnTo>
                <a:lnTo>
                  <a:pt x="130" y="880"/>
                </a:lnTo>
                <a:lnTo>
                  <a:pt x="130" y="880"/>
                </a:lnTo>
                <a:lnTo>
                  <a:pt x="130" y="880"/>
                </a:lnTo>
                <a:lnTo>
                  <a:pt x="130" y="882"/>
                </a:lnTo>
                <a:lnTo>
                  <a:pt x="130" y="882"/>
                </a:lnTo>
                <a:lnTo>
                  <a:pt x="124" y="884"/>
                </a:lnTo>
                <a:lnTo>
                  <a:pt x="124" y="884"/>
                </a:lnTo>
                <a:close/>
                <a:moveTo>
                  <a:pt x="562" y="334"/>
                </a:moveTo>
                <a:lnTo>
                  <a:pt x="562" y="334"/>
                </a:lnTo>
                <a:lnTo>
                  <a:pt x="562" y="334"/>
                </a:lnTo>
                <a:lnTo>
                  <a:pt x="562" y="334"/>
                </a:lnTo>
                <a:lnTo>
                  <a:pt x="566" y="336"/>
                </a:lnTo>
                <a:lnTo>
                  <a:pt x="566" y="336"/>
                </a:lnTo>
                <a:lnTo>
                  <a:pt x="562" y="338"/>
                </a:lnTo>
                <a:lnTo>
                  <a:pt x="562" y="338"/>
                </a:lnTo>
                <a:lnTo>
                  <a:pt x="562" y="338"/>
                </a:lnTo>
                <a:lnTo>
                  <a:pt x="562" y="338"/>
                </a:lnTo>
                <a:lnTo>
                  <a:pt x="566" y="336"/>
                </a:lnTo>
                <a:lnTo>
                  <a:pt x="566" y="336"/>
                </a:lnTo>
                <a:lnTo>
                  <a:pt x="562" y="334"/>
                </a:lnTo>
                <a:lnTo>
                  <a:pt x="562" y="334"/>
                </a:lnTo>
                <a:close/>
                <a:moveTo>
                  <a:pt x="560" y="948"/>
                </a:moveTo>
                <a:lnTo>
                  <a:pt x="560" y="948"/>
                </a:lnTo>
                <a:lnTo>
                  <a:pt x="562" y="948"/>
                </a:lnTo>
                <a:lnTo>
                  <a:pt x="562" y="948"/>
                </a:lnTo>
                <a:lnTo>
                  <a:pt x="562" y="948"/>
                </a:lnTo>
                <a:lnTo>
                  <a:pt x="562" y="948"/>
                </a:lnTo>
                <a:lnTo>
                  <a:pt x="556" y="950"/>
                </a:lnTo>
                <a:lnTo>
                  <a:pt x="556" y="950"/>
                </a:lnTo>
                <a:lnTo>
                  <a:pt x="556" y="950"/>
                </a:lnTo>
                <a:lnTo>
                  <a:pt x="556" y="950"/>
                </a:lnTo>
                <a:lnTo>
                  <a:pt x="562" y="948"/>
                </a:lnTo>
                <a:lnTo>
                  <a:pt x="562" y="948"/>
                </a:lnTo>
                <a:lnTo>
                  <a:pt x="560" y="948"/>
                </a:lnTo>
                <a:lnTo>
                  <a:pt x="560" y="948"/>
                </a:lnTo>
                <a:close/>
                <a:moveTo>
                  <a:pt x="554" y="932"/>
                </a:moveTo>
                <a:lnTo>
                  <a:pt x="554" y="932"/>
                </a:lnTo>
                <a:lnTo>
                  <a:pt x="554" y="932"/>
                </a:lnTo>
                <a:lnTo>
                  <a:pt x="554" y="932"/>
                </a:lnTo>
                <a:lnTo>
                  <a:pt x="556" y="936"/>
                </a:lnTo>
                <a:lnTo>
                  <a:pt x="556" y="936"/>
                </a:lnTo>
                <a:lnTo>
                  <a:pt x="550" y="936"/>
                </a:lnTo>
                <a:lnTo>
                  <a:pt x="550" y="936"/>
                </a:lnTo>
                <a:lnTo>
                  <a:pt x="550" y="936"/>
                </a:lnTo>
                <a:lnTo>
                  <a:pt x="550" y="936"/>
                </a:lnTo>
                <a:lnTo>
                  <a:pt x="554" y="936"/>
                </a:lnTo>
                <a:lnTo>
                  <a:pt x="554" y="936"/>
                </a:lnTo>
                <a:lnTo>
                  <a:pt x="554" y="932"/>
                </a:lnTo>
                <a:lnTo>
                  <a:pt x="554" y="932"/>
                </a:lnTo>
                <a:close/>
                <a:moveTo>
                  <a:pt x="492" y="912"/>
                </a:moveTo>
                <a:lnTo>
                  <a:pt x="492" y="912"/>
                </a:lnTo>
                <a:lnTo>
                  <a:pt x="492" y="910"/>
                </a:lnTo>
                <a:lnTo>
                  <a:pt x="492" y="910"/>
                </a:lnTo>
                <a:lnTo>
                  <a:pt x="492" y="910"/>
                </a:lnTo>
                <a:lnTo>
                  <a:pt x="492" y="910"/>
                </a:lnTo>
                <a:lnTo>
                  <a:pt x="492" y="912"/>
                </a:lnTo>
                <a:lnTo>
                  <a:pt x="492" y="912"/>
                </a:lnTo>
                <a:lnTo>
                  <a:pt x="490" y="912"/>
                </a:lnTo>
                <a:lnTo>
                  <a:pt x="490" y="912"/>
                </a:lnTo>
                <a:lnTo>
                  <a:pt x="490" y="912"/>
                </a:lnTo>
                <a:lnTo>
                  <a:pt x="490" y="912"/>
                </a:lnTo>
                <a:lnTo>
                  <a:pt x="492" y="912"/>
                </a:lnTo>
                <a:lnTo>
                  <a:pt x="492" y="912"/>
                </a:lnTo>
                <a:close/>
                <a:moveTo>
                  <a:pt x="484" y="920"/>
                </a:moveTo>
                <a:lnTo>
                  <a:pt x="484" y="920"/>
                </a:lnTo>
                <a:lnTo>
                  <a:pt x="500" y="926"/>
                </a:lnTo>
                <a:lnTo>
                  <a:pt x="500" y="926"/>
                </a:lnTo>
                <a:lnTo>
                  <a:pt x="500" y="926"/>
                </a:lnTo>
                <a:lnTo>
                  <a:pt x="500" y="926"/>
                </a:lnTo>
                <a:lnTo>
                  <a:pt x="484" y="920"/>
                </a:lnTo>
                <a:lnTo>
                  <a:pt x="484" y="920"/>
                </a:lnTo>
                <a:lnTo>
                  <a:pt x="476" y="922"/>
                </a:lnTo>
                <a:lnTo>
                  <a:pt x="472" y="924"/>
                </a:lnTo>
                <a:lnTo>
                  <a:pt x="468" y="928"/>
                </a:lnTo>
                <a:lnTo>
                  <a:pt x="468" y="928"/>
                </a:lnTo>
                <a:lnTo>
                  <a:pt x="468" y="928"/>
                </a:lnTo>
                <a:lnTo>
                  <a:pt x="472" y="924"/>
                </a:lnTo>
                <a:lnTo>
                  <a:pt x="476" y="922"/>
                </a:lnTo>
                <a:lnTo>
                  <a:pt x="484" y="920"/>
                </a:lnTo>
                <a:lnTo>
                  <a:pt x="484" y="920"/>
                </a:lnTo>
                <a:close/>
                <a:moveTo>
                  <a:pt x="466" y="814"/>
                </a:moveTo>
                <a:lnTo>
                  <a:pt x="466" y="814"/>
                </a:lnTo>
                <a:lnTo>
                  <a:pt x="466" y="814"/>
                </a:lnTo>
                <a:lnTo>
                  <a:pt x="466" y="814"/>
                </a:lnTo>
                <a:lnTo>
                  <a:pt x="466" y="814"/>
                </a:lnTo>
                <a:lnTo>
                  <a:pt x="466" y="814"/>
                </a:lnTo>
                <a:lnTo>
                  <a:pt x="466" y="814"/>
                </a:lnTo>
                <a:lnTo>
                  <a:pt x="466" y="814"/>
                </a:lnTo>
                <a:lnTo>
                  <a:pt x="460" y="814"/>
                </a:lnTo>
                <a:lnTo>
                  <a:pt x="460" y="814"/>
                </a:lnTo>
                <a:lnTo>
                  <a:pt x="460" y="814"/>
                </a:lnTo>
                <a:lnTo>
                  <a:pt x="460" y="814"/>
                </a:lnTo>
                <a:lnTo>
                  <a:pt x="466" y="814"/>
                </a:lnTo>
                <a:lnTo>
                  <a:pt x="466" y="814"/>
                </a:lnTo>
                <a:close/>
                <a:moveTo>
                  <a:pt x="454" y="864"/>
                </a:moveTo>
                <a:lnTo>
                  <a:pt x="454" y="864"/>
                </a:lnTo>
                <a:lnTo>
                  <a:pt x="466" y="858"/>
                </a:lnTo>
                <a:lnTo>
                  <a:pt x="466" y="858"/>
                </a:lnTo>
                <a:lnTo>
                  <a:pt x="466" y="858"/>
                </a:lnTo>
                <a:lnTo>
                  <a:pt x="466" y="858"/>
                </a:lnTo>
                <a:lnTo>
                  <a:pt x="454" y="864"/>
                </a:lnTo>
                <a:lnTo>
                  <a:pt x="454" y="864"/>
                </a:lnTo>
                <a:lnTo>
                  <a:pt x="454" y="864"/>
                </a:lnTo>
                <a:lnTo>
                  <a:pt x="454" y="864"/>
                </a:lnTo>
                <a:close/>
                <a:moveTo>
                  <a:pt x="464" y="922"/>
                </a:moveTo>
                <a:lnTo>
                  <a:pt x="464" y="922"/>
                </a:lnTo>
                <a:lnTo>
                  <a:pt x="458" y="924"/>
                </a:lnTo>
                <a:lnTo>
                  <a:pt x="456" y="924"/>
                </a:lnTo>
                <a:lnTo>
                  <a:pt x="456" y="924"/>
                </a:lnTo>
                <a:lnTo>
                  <a:pt x="458" y="924"/>
                </a:lnTo>
                <a:lnTo>
                  <a:pt x="464" y="922"/>
                </a:lnTo>
                <a:lnTo>
                  <a:pt x="464" y="922"/>
                </a:lnTo>
                <a:lnTo>
                  <a:pt x="464" y="922"/>
                </a:lnTo>
                <a:lnTo>
                  <a:pt x="464" y="922"/>
                </a:lnTo>
                <a:close/>
                <a:moveTo>
                  <a:pt x="448" y="912"/>
                </a:moveTo>
                <a:lnTo>
                  <a:pt x="448" y="912"/>
                </a:lnTo>
                <a:lnTo>
                  <a:pt x="450" y="912"/>
                </a:lnTo>
                <a:lnTo>
                  <a:pt x="450" y="912"/>
                </a:lnTo>
                <a:lnTo>
                  <a:pt x="454" y="910"/>
                </a:lnTo>
                <a:lnTo>
                  <a:pt x="454" y="910"/>
                </a:lnTo>
                <a:lnTo>
                  <a:pt x="454" y="906"/>
                </a:lnTo>
                <a:lnTo>
                  <a:pt x="454" y="906"/>
                </a:lnTo>
                <a:lnTo>
                  <a:pt x="454" y="906"/>
                </a:lnTo>
                <a:lnTo>
                  <a:pt x="454" y="906"/>
                </a:lnTo>
                <a:lnTo>
                  <a:pt x="454" y="910"/>
                </a:lnTo>
                <a:lnTo>
                  <a:pt x="454" y="912"/>
                </a:lnTo>
                <a:lnTo>
                  <a:pt x="450" y="912"/>
                </a:lnTo>
                <a:lnTo>
                  <a:pt x="450" y="912"/>
                </a:lnTo>
                <a:lnTo>
                  <a:pt x="448" y="912"/>
                </a:lnTo>
                <a:lnTo>
                  <a:pt x="448" y="912"/>
                </a:lnTo>
                <a:lnTo>
                  <a:pt x="448" y="912"/>
                </a:lnTo>
                <a:lnTo>
                  <a:pt x="448" y="912"/>
                </a:lnTo>
                <a:close/>
                <a:moveTo>
                  <a:pt x="440" y="870"/>
                </a:moveTo>
                <a:lnTo>
                  <a:pt x="440" y="870"/>
                </a:lnTo>
                <a:lnTo>
                  <a:pt x="442" y="870"/>
                </a:lnTo>
                <a:lnTo>
                  <a:pt x="442" y="870"/>
                </a:lnTo>
                <a:lnTo>
                  <a:pt x="446" y="874"/>
                </a:lnTo>
                <a:lnTo>
                  <a:pt x="446" y="874"/>
                </a:lnTo>
                <a:lnTo>
                  <a:pt x="446" y="874"/>
                </a:lnTo>
                <a:lnTo>
                  <a:pt x="446" y="874"/>
                </a:lnTo>
                <a:lnTo>
                  <a:pt x="442" y="870"/>
                </a:lnTo>
                <a:lnTo>
                  <a:pt x="442" y="870"/>
                </a:lnTo>
                <a:lnTo>
                  <a:pt x="440" y="870"/>
                </a:lnTo>
                <a:lnTo>
                  <a:pt x="440" y="870"/>
                </a:lnTo>
                <a:lnTo>
                  <a:pt x="440" y="870"/>
                </a:lnTo>
                <a:lnTo>
                  <a:pt x="440" y="870"/>
                </a:lnTo>
                <a:close/>
                <a:moveTo>
                  <a:pt x="438" y="928"/>
                </a:moveTo>
                <a:lnTo>
                  <a:pt x="438" y="928"/>
                </a:lnTo>
                <a:lnTo>
                  <a:pt x="438" y="928"/>
                </a:lnTo>
                <a:lnTo>
                  <a:pt x="438" y="928"/>
                </a:lnTo>
                <a:lnTo>
                  <a:pt x="438" y="930"/>
                </a:lnTo>
                <a:lnTo>
                  <a:pt x="438" y="930"/>
                </a:lnTo>
                <a:lnTo>
                  <a:pt x="438" y="930"/>
                </a:lnTo>
                <a:lnTo>
                  <a:pt x="438" y="930"/>
                </a:lnTo>
                <a:lnTo>
                  <a:pt x="438" y="928"/>
                </a:lnTo>
                <a:lnTo>
                  <a:pt x="438" y="928"/>
                </a:lnTo>
                <a:close/>
                <a:moveTo>
                  <a:pt x="438" y="884"/>
                </a:moveTo>
                <a:lnTo>
                  <a:pt x="438" y="884"/>
                </a:lnTo>
                <a:lnTo>
                  <a:pt x="438" y="882"/>
                </a:lnTo>
                <a:lnTo>
                  <a:pt x="438" y="882"/>
                </a:lnTo>
                <a:lnTo>
                  <a:pt x="438" y="884"/>
                </a:lnTo>
                <a:lnTo>
                  <a:pt x="438" y="884"/>
                </a:lnTo>
                <a:close/>
                <a:moveTo>
                  <a:pt x="442" y="914"/>
                </a:moveTo>
                <a:lnTo>
                  <a:pt x="442" y="914"/>
                </a:lnTo>
                <a:lnTo>
                  <a:pt x="444" y="916"/>
                </a:lnTo>
                <a:lnTo>
                  <a:pt x="444" y="916"/>
                </a:lnTo>
                <a:lnTo>
                  <a:pt x="440" y="918"/>
                </a:lnTo>
                <a:lnTo>
                  <a:pt x="440" y="918"/>
                </a:lnTo>
                <a:lnTo>
                  <a:pt x="440" y="918"/>
                </a:lnTo>
                <a:lnTo>
                  <a:pt x="440" y="918"/>
                </a:lnTo>
                <a:lnTo>
                  <a:pt x="444" y="916"/>
                </a:lnTo>
                <a:lnTo>
                  <a:pt x="444" y="916"/>
                </a:lnTo>
                <a:lnTo>
                  <a:pt x="442" y="914"/>
                </a:lnTo>
                <a:lnTo>
                  <a:pt x="442" y="914"/>
                </a:lnTo>
                <a:close/>
                <a:moveTo>
                  <a:pt x="440" y="880"/>
                </a:moveTo>
                <a:lnTo>
                  <a:pt x="440" y="880"/>
                </a:lnTo>
                <a:lnTo>
                  <a:pt x="442" y="878"/>
                </a:lnTo>
                <a:lnTo>
                  <a:pt x="442" y="878"/>
                </a:lnTo>
                <a:lnTo>
                  <a:pt x="440" y="880"/>
                </a:lnTo>
                <a:lnTo>
                  <a:pt x="440" y="880"/>
                </a:lnTo>
                <a:close/>
                <a:moveTo>
                  <a:pt x="442" y="878"/>
                </a:moveTo>
                <a:lnTo>
                  <a:pt x="442" y="878"/>
                </a:lnTo>
                <a:lnTo>
                  <a:pt x="444" y="878"/>
                </a:lnTo>
                <a:lnTo>
                  <a:pt x="444" y="878"/>
                </a:lnTo>
                <a:lnTo>
                  <a:pt x="444" y="878"/>
                </a:lnTo>
                <a:lnTo>
                  <a:pt x="444" y="878"/>
                </a:lnTo>
                <a:lnTo>
                  <a:pt x="442" y="878"/>
                </a:lnTo>
                <a:lnTo>
                  <a:pt x="442" y="878"/>
                </a:lnTo>
                <a:close/>
                <a:moveTo>
                  <a:pt x="438" y="858"/>
                </a:moveTo>
                <a:lnTo>
                  <a:pt x="438" y="858"/>
                </a:lnTo>
                <a:lnTo>
                  <a:pt x="438" y="858"/>
                </a:lnTo>
                <a:lnTo>
                  <a:pt x="438" y="858"/>
                </a:lnTo>
                <a:lnTo>
                  <a:pt x="438" y="854"/>
                </a:lnTo>
                <a:lnTo>
                  <a:pt x="436" y="854"/>
                </a:lnTo>
                <a:lnTo>
                  <a:pt x="436" y="854"/>
                </a:lnTo>
                <a:lnTo>
                  <a:pt x="438" y="854"/>
                </a:lnTo>
                <a:lnTo>
                  <a:pt x="438" y="858"/>
                </a:lnTo>
                <a:lnTo>
                  <a:pt x="438" y="858"/>
                </a:lnTo>
                <a:close/>
                <a:moveTo>
                  <a:pt x="422" y="940"/>
                </a:moveTo>
                <a:lnTo>
                  <a:pt x="422" y="940"/>
                </a:lnTo>
                <a:lnTo>
                  <a:pt x="424" y="940"/>
                </a:lnTo>
                <a:lnTo>
                  <a:pt x="424" y="940"/>
                </a:lnTo>
                <a:lnTo>
                  <a:pt x="430" y="910"/>
                </a:lnTo>
                <a:lnTo>
                  <a:pt x="438" y="884"/>
                </a:lnTo>
                <a:lnTo>
                  <a:pt x="438" y="884"/>
                </a:lnTo>
                <a:lnTo>
                  <a:pt x="430" y="910"/>
                </a:lnTo>
                <a:lnTo>
                  <a:pt x="424" y="940"/>
                </a:lnTo>
                <a:lnTo>
                  <a:pt x="424" y="940"/>
                </a:lnTo>
                <a:lnTo>
                  <a:pt x="426" y="940"/>
                </a:lnTo>
                <a:lnTo>
                  <a:pt x="426" y="940"/>
                </a:lnTo>
                <a:lnTo>
                  <a:pt x="428" y="944"/>
                </a:lnTo>
                <a:lnTo>
                  <a:pt x="428" y="944"/>
                </a:lnTo>
                <a:lnTo>
                  <a:pt x="426" y="944"/>
                </a:lnTo>
                <a:lnTo>
                  <a:pt x="426" y="944"/>
                </a:lnTo>
                <a:lnTo>
                  <a:pt x="426" y="940"/>
                </a:lnTo>
                <a:lnTo>
                  <a:pt x="426" y="940"/>
                </a:lnTo>
                <a:lnTo>
                  <a:pt x="424" y="940"/>
                </a:lnTo>
                <a:lnTo>
                  <a:pt x="424" y="940"/>
                </a:lnTo>
                <a:lnTo>
                  <a:pt x="420" y="950"/>
                </a:lnTo>
                <a:lnTo>
                  <a:pt x="418" y="954"/>
                </a:lnTo>
                <a:lnTo>
                  <a:pt x="418" y="954"/>
                </a:lnTo>
                <a:lnTo>
                  <a:pt x="418" y="954"/>
                </a:lnTo>
                <a:lnTo>
                  <a:pt x="418" y="954"/>
                </a:lnTo>
                <a:lnTo>
                  <a:pt x="420" y="950"/>
                </a:lnTo>
                <a:lnTo>
                  <a:pt x="424" y="940"/>
                </a:lnTo>
                <a:lnTo>
                  <a:pt x="424" y="940"/>
                </a:lnTo>
                <a:lnTo>
                  <a:pt x="422" y="940"/>
                </a:lnTo>
                <a:lnTo>
                  <a:pt x="422" y="940"/>
                </a:lnTo>
                <a:lnTo>
                  <a:pt x="422" y="940"/>
                </a:lnTo>
                <a:lnTo>
                  <a:pt x="422" y="940"/>
                </a:lnTo>
                <a:close/>
                <a:moveTo>
                  <a:pt x="420" y="918"/>
                </a:moveTo>
                <a:lnTo>
                  <a:pt x="420" y="918"/>
                </a:lnTo>
                <a:lnTo>
                  <a:pt x="418" y="916"/>
                </a:lnTo>
                <a:lnTo>
                  <a:pt x="418" y="916"/>
                </a:lnTo>
                <a:lnTo>
                  <a:pt x="418" y="916"/>
                </a:lnTo>
                <a:lnTo>
                  <a:pt x="418" y="916"/>
                </a:lnTo>
                <a:lnTo>
                  <a:pt x="420" y="918"/>
                </a:lnTo>
                <a:lnTo>
                  <a:pt x="420" y="918"/>
                </a:lnTo>
                <a:lnTo>
                  <a:pt x="414" y="918"/>
                </a:lnTo>
                <a:lnTo>
                  <a:pt x="414" y="918"/>
                </a:lnTo>
                <a:lnTo>
                  <a:pt x="414" y="918"/>
                </a:lnTo>
                <a:lnTo>
                  <a:pt x="414" y="918"/>
                </a:lnTo>
                <a:lnTo>
                  <a:pt x="420" y="918"/>
                </a:lnTo>
                <a:lnTo>
                  <a:pt x="420" y="918"/>
                </a:lnTo>
                <a:close/>
                <a:moveTo>
                  <a:pt x="414" y="984"/>
                </a:moveTo>
                <a:lnTo>
                  <a:pt x="414" y="984"/>
                </a:lnTo>
                <a:lnTo>
                  <a:pt x="418" y="986"/>
                </a:lnTo>
                <a:lnTo>
                  <a:pt x="420" y="992"/>
                </a:lnTo>
                <a:lnTo>
                  <a:pt x="420" y="992"/>
                </a:lnTo>
                <a:lnTo>
                  <a:pt x="420" y="992"/>
                </a:lnTo>
                <a:lnTo>
                  <a:pt x="420" y="992"/>
                </a:lnTo>
                <a:lnTo>
                  <a:pt x="418" y="986"/>
                </a:lnTo>
                <a:lnTo>
                  <a:pt x="414" y="984"/>
                </a:lnTo>
                <a:lnTo>
                  <a:pt x="414" y="984"/>
                </a:lnTo>
                <a:lnTo>
                  <a:pt x="404" y="982"/>
                </a:lnTo>
                <a:lnTo>
                  <a:pt x="398" y="978"/>
                </a:lnTo>
                <a:lnTo>
                  <a:pt x="398" y="978"/>
                </a:lnTo>
                <a:lnTo>
                  <a:pt x="398" y="978"/>
                </a:lnTo>
                <a:lnTo>
                  <a:pt x="398" y="978"/>
                </a:lnTo>
                <a:lnTo>
                  <a:pt x="404" y="982"/>
                </a:lnTo>
                <a:lnTo>
                  <a:pt x="414" y="984"/>
                </a:lnTo>
                <a:lnTo>
                  <a:pt x="414" y="984"/>
                </a:lnTo>
                <a:close/>
                <a:moveTo>
                  <a:pt x="406" y="992"/>
                </a:moveTo>
                <a:lnTo>
                  <a:pt x="406" y="992"/>
                </a:lnTo>
                <a:lnTo>
                  <a:pt x="402" y="992"/>
                </a:lnTo>
                <a:lnTo>
                  <a:pt x="402" y="992"/>
                </a:lnTo>
                <a:lnTo>
                  <a:pt x="402" y="992"/>
                </a:lnTo>
                <a:lnTo>
                  <a:pt x="402" y="992"/>
                </a:lnTo>
                <a:lnTo>
                  <a:pt x="406" y="992"/>
                </a:lnTo>
                <a:lnTo>
                  <a:pt x="406" y="992"/>
                </a:lnTo>
                <a:close/>
                <a:moveTo>
                  <a:pt x="404" y="918"/>
                </a:moveTo>
                <a:lnTo>
                  <a:pt x="404" y="918"/>
                </a:lnTo>
                <a:lnTo>
                  <a:pt x="400" y="914"/>
                </a:lnTo>
                <a:lnTo>
                  <a:pt x="400" y="914"/>
                </a:lnTo>
                <a:lnTo>
                  <a:pt x="404" y="918"/>
                </a:lnTo>
                <a:lnTo>
                  <a:pt x="404" y="918"/>
                </a:lnTo>
                <a:lnTo>
                  <a:pt x="398" y="918"/>
                </a:lnTo>
                <a:lnTo>
                  <a:pt x="398" y="918"/>
                </a:lnTo>
                <a:lnTo>
                  <a:pt x="398" y="918"/>
                </a:lnTo>
                <a:lnTo>
                  <a:pt x="398" y="918"/>
                </a:lnTo>
                <a:lnTo>
                  <a:pt x="404" y="918"/>
                </a:lnTo>
                <a:lnTo>
                  <a:pt x="404" y="918"/>
                </a:lnTo>
                <a:close/>
                <a:moveTo>
                  <a:pt x="386" y="844"/>
                </a:moveTo>
                <a:lnTo>
                  <a:pt x="386" y="844"/>
                </a:lnTo>
                <a:lnTo>
                  <a:pt x="396" y="846"/>
                </a:lnTo>
                <a:lnTo>
                  <a:pt x="396" y="846"/>
                </a:lnTo>
                <a:lnTo>
                  <a:pt x="396" y="844"/>
                </a:lnTo>
                <a:lnTo>
                  <a:pt x="396" y="844"/>
                </a:lnTo>
                <a:lnTo>
                  <a:pt x="394" y="842"/>
                </a:lnTo>
                <a:lnTo>
                  <a:pt x="394" y="842"/>
                </a:lnTo>
                <a:lnTo>
                  <a:pt x="396" y="844"/>
                </a:lnTo>
                <a:lnTo>
                  <a:pt x="396" y="844"/>
                </a:lnTo>
                <a:lnTo>
                  <a:pt x="396" y="846"/>
                </a:lnTo>
                <a:lnTo>
                  <a:pt x="396" y="846"/>
                </a:lnTo>
                <a:lnTo>
                  <a:pt x="386" y="844"/>
                </a:lnTo>
                <a:lnTo>
                  <a:pt x="386" y="844"/>
                </a:lnTo>
                <a:lnTo>
                  <a:pt x="386" y="844"/>
                </a:lnTo>
                <a:lnTo>
                  <a:pt x="386" y="844"/>
                </a:lnTo>
                <a:close/>
                <a:moveTo>
                  <a:pt x="390" y="918"/>
                </a:moveTo>
                <a:lnTo>
                  <a:pt x="390" y="918"/>
                </a:lnTo>
                <a:lnTo>
                  <a:pt x="390" y="918"/>
                </a:lnTo>
                <a:lnTo>
                  <a:pt x="390" y="918"/>
                </a:lnTo>
                <a:lnTo>
                  <a:pt x="372" y="920"/>
                </a:lnTo>
                <a:lnTo>
                  <a:pt x="372" y="920"/>
                </a:lnTo>
                <a:lnTo>
                  <a:pt x="372" y="920"/>
                </a:lnTo>
                <a:lnTo>
                  <a:pt x="372" y="920"/>
                </a:lnTo>
                <a:lnTo>
                  <a:pt x="390" y="918"/>
                </a:lnTo>
                <a:lnTo>
                  <a:pt x="390" y="918"/>
                </a:lnTo>
                <a:close/>
                <a:moveTo>
                  <a:pt x="376" y="842"/>
                </a:moveTo>
                <a:lnTo>
                  <a:pt x="376" y="842"/>
                </a:lnTo>
                <a:lnTo>
                  <a:pt x="376" y="842"/>
                </a:lnTo>
                <a:lnTo>
                  <a:pt x="376" y="842"/>
                </a:lnTo>
                <a:lnTo>
                  <a:pt x="376" y="842"/>
                </a:lnTo>
                <a:lnTo>
                  <a:pt x="376" y="842"/>
                </a:lnTo>
                <a:lnTo>
                  <a:pt x="380" y="840"/>
                </a:lnTo>
                <a:lnTo>
                  <a:pt x="380" y="840"/>
                </a:lnTo>
                <a:lnTo>
                  <a:pt x="376" y="840"/>
                </a:lnTo>
                <a:lnTo>
                  <a:pt x="376" y="840"/>
                </a:lnTo>
                <a:lnTo>
                  <a:pt x="376" y="840"/>
                </a:lnTo>
                <a:lnTo>
                  <a:pt x="376" y="840"/>
                </a:lnTo>
                <a:lnTo>
                  <a:pt x="380" y="840"/>
                </a:lnTo>
                <a:lnTo>
                  <a:pt x="380" y="840"/>
                </a:lnTo>
                <a:lnTo>
                  <a:pt x="376" y="842"/>
                </a:lnTo>
                <a:lnTo>
                  <a:pt x="376" y="842"/>
                </a:lnTo>
                <a:close/>
                <a:moveTo>
                  <a:pt x="362" y="310"/>
                </a:moveTo>
                <a:lnTo>
                  <a:pt x="362" y="310"/>
                </a:lnTo>
                <a:lnTo>
                  <a:pt x="374" y="312"/>
                </a:lnTo>
                <a:lnTo>
                  <a:pt x="374" y="312"/>
                </a:lnTo>
                <a:lnTo>
                  <a:pt x="378" y="316"/>
                </a:lnTo>
                <a:lnTo>
                  <a:pt x="376" y="318"/>
                </a:lnTo>
                <a:lnTo>
                  <a:pt x="376" y="318"/>
                </a:lnTo>
                <a:lnTo>
                  <a:pt x="376" y="318"/>
                </a:lnTo>
                <a:lnTo>
                  <a:pt x="376" y="318"/>
                </a:lnTo>
                <a:lnTo>
                  <a:pt x="378" y="316"/>
                </a:lnTo>
                <a:lnTo>
                  <a:pt x="374" y="312"/>
                </a:lnTo>
                <a:lnTo>
                  <a:pt x="374" y="312"/>
                </a:lnTo>
                <a:lnTo>
                  <a:pt x="362" y="310"/>
                </a:lnTo>
                <a:lnTo>
                  <a:pt x="362" y="310"/>
                </a:lnTo>
                <a:lnTo>
                  <a:pt x="362" y="310"/>
                </a:lnTo>
                <a:lnTo>
                  <a:pt x="362" y="310"/>
                </a:lnTo>
                <a:close/>
                <a:moveTo>
                  <a:pt x="364" y="840"/>
                </a:moveTo>
                <a:lnTo>
                  <a:pt x="364" y="840"/>
                </a:lnTo>
                <a:lnTo>
                  <a:pt x="362" y="840"/>
                </a:lnTo>
                <a:lnTo>
                  <a:pt x="362" y="840"/>
                </a:lnTo>
                <a:lnTo>
                  <a:pt x="364" y="840"/>
                </a:lnTo>
                <a:lnTo>
                  <a:pt x="364" y="840"/>
                </a:lnTo>
                <a:lnTo>
                  <a:pt x="366" y="842"/>
                </a:lnTo>
                <a:lnTo>
                  <a:pt x="366" y="844"/>
                </a:lnTo>
                <a:lnTo>
                  <a:pt x="366" y="844"/>
                </a:lnTo>
                <a:lnTo>
                  <a:pt x="362" y="844"/>
                </a:lnTo>
                <a:lnTo>
                  <a:pt x="360" y="846"/>
                </a:lnTo>
                <a:lnTo>
                  <a:pt x="360" y="846"/>
                </a:lnTo>
                <a:lnTo>
                  <a:pt x="364" y="844"/>
                </a:lnTo>
                <a:lnTo>
                  <a:pt x="364" y="844"/>
                </a:lnTo>
                <a:lnTo>
                  <a:pt x="366" y="842"/>
                </a:lnTo>
                <a:lnTo>
                  <a:pt x="364" y="840"/>
                </a:lnTo>
                <a:lnTo>
                  <a:pt x="364" y="840"/>
                </a:lnTo>
                <a:close/>
                <a:moveTo>
                  <a:pt x="358" y="864"/>
                </a:moveTo>
                <a:lnTo>
                  <a:pt x="358" y="864"/>
                </a:lnTo>
                <a:lnTo>
                  <a:pt x="358" y="864"/>
                </a:lnTo>
                <a:lnTo>
                  <a:pt x="354" y="866"/>
                </a:lnTo>
                <a:lnTo>
                  <a:pt x="350" y="868"/>
                </a:lnTo>
                <a:lnTo>
                  <a:pt x="342" y="864"/>
                </a:lnTo>
                <a:lnTo>
                  <a:pt x="342" y="864"/>
                </a:lnTo>
                <a:lnTo>
                  <a:pt x="342" y="864"/>
                </a:lnTo>
                <a:lnTo>
                  <a:pt x="350" y="868"/>
                </a:lnTo>
                <a:lnTo>
                  <a:pt x="354" y="866"/>
                </a:lnTo>
                <a:lnTo>
                  <a:pt x="358" y="864"/>
                </a:lnTo>
                <a:lnTo>
                  <a:pt x="358" y="864"/>
                </a:lnTo>
                <a:close/>
                <a:moveTo>
                  <a:pt x="338" y="850"/>
                </a:moveTo>
                <a:lnTo>
                  <a:pt x="338" y="850"/>
                </a:lnTo>
                <a:lnTo>
                  <a:pt x="344" y="850"/>
                </a:lnTo>
                <a:lnTo>
                  <a:pt x="346" y="848"/>
                </a:lnTo>
                <a:lnTo>
                  <a:pt x="346" y="848"/>
                </a:lnTo>
                <a:lnTo>
                  <a:pt x="346" y="846"/>
                </a:lnTo>
                <a:lnTo>
                  <a:pt x="346" y="846"/>
                </a:lnTo>
                <a:lnTo>
                  <a:pt x="346" y="846"/>
                </a:lnTo>
                <a:lnTo>
                  <a:pt x="346" y="846"/>
                </a:lnTo>
                <a:lnTo>
                  <a:pt x="346" y="848"/>
                </a:lnTo>
                <a:lnTo>
                  <a:pt x="346" y="848"/>
                </a:lnTo>
                <a:lnTo>
                  <a:pt x="344" y="850"/>
                </a:lnTo>
                <a:lnTo>
                  <a:pt x="338" y="850"/>
                </a:lnTo>
                <a:lnTo>
                  <a:pt x="338" y="850"/>
                </a:lnTo>
                <a:lnTo>
                  <a:pt x="338" y="850"/>
                </a:lnTo>
                <a:lnTo>
                  <a:pt x="338" y="850"/>
                </a:lnTo>
                <a:lnTo>
                  <a:pt x="338" y="850"/>
                </a:lnTo>
                <a:lnTo>
                  <a:pt x="338" y="850"/>
                </a:lnTo>
                <a:close/>
                <a:moveTo>
                  <a:pt x="336" y="864"/>
                </a:moveTo>
                <a:lnTo>
                  <a:pt x="336" y="864"/>
                </a:lnTo>
                <a:lnTo>
                  <a:pt x="336" y="862"/>
                </a:lnTo>
                <a:lnTo>
                  <a:pt x="336" y="862"/>
                </a:lnTo>
                <a:lnTo>
                  <a:pt x="336" y="862"/>
                </a:lnTo>
                <a:lnTo>
                  <a:pt x="336" y="862"/>
                </a:lnTo>
                <a:lnTo>
                  <a:pt x="336" y="864"/>
                </a:lnTo>
                <a:lnTo>
                  <a:pt x="336" y="864"/>
                </a:lnTo>
                <a:lnTo>
                  <a:pt x="330" y="868"/>
                </a:lnTo>
                <a:lnTo>
                  <a:pt x="330" y="868"/>
                </a:lnTo>
                <a:lnTo>
                  <a:pt x="322" y="866"/>
                </a:lnTo>
                <a:lnTo>
                  <a:pt x="322" y="866"/>
                </a:lnTo>
                <a:lnTo>
                  <a:pt x="322" y="866"/>
                </a:lnTo>
                <a:lnTo>
                  <a:pt x="322" y="866"/>
                </a:lnTo>
                <a:lnTo>
                  <a:pt x="330" y="868"/>
                </a:lnTo>
                <a:lnTo>
                  <a:pt x="330" y="868"/>
                </a:lnTo>
                <a:lnTo>
                  <a:pt x="336" y="864"/>
                </a:lnTo>
                <a:lnTo>
                  <a:pt x="336" y="864"/>
                </a:lnTo>
                <a:close/>
                <a:moveTo>
                  <a:pt x="302" y="846"/>
                </a:moveTo>
                <a:lnTo>
                  <a:pt x="302" y="846"/>
                </a:lnTo>
                <a:lnTo>
                  <a:pt x="316" y="844"/>
                </a:lnTo>
                <a:lnTo>
                  <a:pt x="316" y="844"/>
                </a:lnTo>
                <a:lnTo>
                  <a:pt x="320" y="846"/>
                </a:lnTo>
                <a:lnTo>
                  <a:pt x="324" y="848"/>
                </a:lnTo>
                <a:lnTo>
                  <a:pt x="324" y="848"/>
                </a:lnTo>
                <a:lnTo>
                  <a:pt x="316" y="850"/>
                </a:lnTo>
                <a:lnTo>
                  <a:pt x="308" y="850"/>
                </a:lnTo>
                <a:lnTo>
                  <a:pt x="292" y="850"/>
                </a:lnTo>
                <a:lnTo>
                  <a:pt x="292" y="850"/>
                </a:lnTo>
                <a:lnTo>
                  <a:pt x="290" y="848"/>
                </a:lnTo>
                <a:lnTo>
                  <a:pt x="288" y="846"/>
                </a:lnTo>
                <a:lnTo>
                  <a:pt x="288" y="846"/>
                </a:lnTo>
                <a:lnTo>
                  <a:pt x="302" y="846"/>
                </a:lnTo>
                <a:lnTo>
                  <a:pt x="302" y="846"/>
                </a:lnTo>
                <a:close/>
                <a:moveTo>
                  <a:pt x="320" y="860"/>
                </a:moveTo>
                <a:lnTo>
                  <a:pt x="320" y="860"/>
                </a:lnTo>
                <a:lnTo>
                  <a:pt x="320" y="860"/>
                </a:lnTo>
                <a:lnTo>
                  <a:pt x="320" y="860"/>
                </a:lnTo>
                <a:lnTo>
                  <a:pt x="320" y="864"/>
                </a:lnTo>
                <a:lnTo>
                  <a:pt x="318" y="864"/>
                </a:lnTo>
                <a:lnTo>
                  <a:pt x="316" y="866"/>
                </a:lnTo>
                <a:lnTo>
                  <a:pt x="316" y="866"/>
                </a:lnTo>
                <a:lnTo>
                  <a:pt x="314" y="864"/>
                </a:lnTo>
                <a:lnTo>
                  <a:pt x="314" y="864"/>
                </a:lnTo>
                <a:lnTo>
                  <a:pt x="316" y="866"/>
                </a:lnTo>
                <a:lnTo>
                  <a:pt x="316" y="866"/>
                </a:lnTo>
                <a:lnTo>
                  <a:pt x="318" y="864"/>
                </a:lnTo>
                <a:lnTo>
                  <a:pt x="320" y="864"/>
                </a:lnTo>
                <a:lnTo>
                  <a:pt x="320" y="860"/>
                </a:lnTo>
                <a:lnTo>
                  <a:pt x="320" y="860"/>
                </a:lnTo>
                <a:close/>
                <a:moveTo>
                  <a:pt x="280" y="624"/>
                </a:moveTo>
                <a:lnTo>
                  <a:pt x="280" y="624"/>
                </a:lnTo>
                <a:lnTo>
                  <a:pt x="290" y="626"/>
                </a:lnTo>
                <a:lnTo>
                  <a:pt x="290" y="626"/>
                </a:lnTo>
                <a:lnTo>
                  <a:pt x="284" y="628"/>
                </a:lnTo>
                <a:lnTo>
                  <a:pt x="280" y="628"/>
                </a:lnTo>
                <a:lnTo>
                  <a:pt x="280" y="628"/>
                </a:lnTo>
                <a:lnTo>
                  <a:pt x="290" y="626"/>
                </a:lnTo>
                <a:lnTo>
                  <a:pt x="290" y="626"/>
                </a:lnTo>
                <a:lnTo>
                  <a:pt x="280" y="624"/>
                </a:lnTo>
                <a:lnTo>
                  <a:pt x="280" y="624"/>
                </a:lnTo>
                <a:close/>
                <a:moveTo>
                  <a:pt x="268" y="630"/>
                </a:moveTo>
                <a:lnTo>
                  <a:pt x="268" y="630"/>
                </a:lnTo>
                <a:lnTo>
                  <a:pt x="268" y="802"/>
                </a:lnTo>
                <a:lnTo>
                  <a:pt x="268" y="802"/>
                </a:lnTo>
                <a:lnTo>
                  <a:pt x="268" y="802"/>
                </a:lnTo>
                <a:lnTo>
                  <a:pt x="268" y="802"/>
                </a:lnTo>
                <a:lnTo>
                  <a:pt x="268" y="630"/>
                </a:lnTo>
                <a:lnTo>
                  <a:pt x="268" y="630"/>
                </a:lnTo>
                <a:close/>
                <a:moveTo>
                  <a:pt x="262" y="630"/>
                </a:moveTo>
                <a:lnTo>
                  <a:pt x="262" y="630"/>
                </a:lnTo>
                <a:lnTo>
                  <a:pt x="262" y="636"/>
                </a:lnTo>
                <a:lnTo>
                  <a:pt x="262" y="636"/>
                </a:lnTo>
                <a:lnTo>
                  <a:pt x="262" y="630"/>
                </a:lnTo>
                <a:lnTo>
                  <a:pt x="262" y="630"/>
                </a:lnTo>
                <a:close/>
                <a:moveTo>
                  <a:pt x="244" y="804"/>
                </a:moveTo>
                <a:lnTo>
                  <a:pt x="244" y="804"/>
                </a:lnTo>
                <a:lnTo>
                  <a:pt x="254" y="806"/>
                </a:lnTo>
                <a:lnTo>
                  <a:pt x="254" y="806"/>
                </a:lnTo>
                <a:lnTo>
                  <a:pt x="248" y="808"/>
                </a:lnTo>
                <a:lnTo>
                  <a:pt x="242" y="808"/>
                </a:lnTo>
                <a:lnTo>
                  <a:pt x="242" y="808"/>
                </a:lnTo>
                <a:lnTo>
                  <a:pt x="248" y="808"/>
                </a:lnTo>
                <a:lnTo>
                  <a:pt x="254" y="806"/>
                </a:lnTo>
                <a:lnTo>
                  <a:pt x="254" y="806"/>
                </a:lnTo>
                <a:lnTo>
                  <a:pt x="244" y="804"/>
                </a:lnTo>
                <a:lnTo>
                  <a:pt x="244" y="804"/>
                </a:lnTo>
                <a:close/>
                <a:moveTo>
                  <a:pt x="244" y="816"/>
                </a:moveTo>
                <a:lnTo>
                  <a:pt x="244" y="816"/>
                </a:lnTo>
                <a:lnTo>
                  <a:pt x="244" y="816"/>
                </a:lnTo>
                <a:lnTo>
                  <a:pt x="244" y="816"/>
                </a:lnTo>
                <a:lnTo>
                  <a:pt x="248" y="822"/>
                </a:lnTo>
                <a:lnTo>
                  <a:pt x="248" y="822"/>
                </a:lnTo>
                <a:lnTo>
                  <a:pt x="244" y="824"/>
                </a:lnTo>
                <a:lnTo>
                  <a:pt x="244" y="824"/>
                </a:lnTo>
                <a:lnTo>
                  <a:pt x="242" y="822"/>
                </a:lnTo>
                <a:lnTo>
                  <a:pt x="242" y="822"/>
                </a:lnTo>
                <a:lnTo>
                  <a:pt x="244" y="824"/>
                </a:lnTo>
                <a:lnTo>
                  <a:pt x="244" y="824"/>
                </a:lnTo>
                <a:lnTo>
                  <a:pt x="248" y="822"/>
                </a:lnTo>
                <a:lnTo>
                  <a:pt x="248" y="822"/>
                </a:lnTo>
                <a:lnTo>
                  <a:pt x="244" y="816"/>
                </a:lnTo>
                <a:lnTo>
                  <a:pt x="244" y="816"/>
                </a:lnTo>
                <a:close/>
                <a:moveTo>
                  <a:pt x="244" y="880"/>
                </a:moveTo>
                <a:lnTo>
                  <a:pt x="244" y="880"/>
                </a:lnTo>
                <a:lnTo>
                  <a:pt x="250" y="882"/>
                </a:lnTo>
                <a:lnTo>
                  <a:pt x="250" y="882"/>
                </a:lnTo>
                <a:lnTo>
                  <a:pt x="250" y="880"/>
                </a:lnTo>
                <a:lnTo>
                  <a:pt x="250" y="880"/>
                </a:lnTo>
                <a:lnTo>
                  <a:pt x="250" y="880"/>
                </a:lnTo>
                <a:lnTo>
                  <a:pt x="250" y="882"/>
                </a:lnTo>
                <a:lnTo>
                  <a:pt x="250" y="882"/>
                </a:lnTo>
                <a:lnTo>
                  <a:pt x="244" y="880"/>
                </a:lnTo>
                <a:lnTo>
                  <a:pt x="244" y="880"/>
                </a:lnTo>
                <a:lnTo>
                  <a:pt x="244" y="880"/>
                </a:lnTo>
                <a:lnTo>
                  <a:pt x="244" y="880"/>
                </a:lnTo>
                <a:close/>
                <a:moveTo>
                  <a:pt x="190" y="918"/>
                </a:moveTo>
                <a:lnTo>
                  <a:pt x="190" y="918"/>
                </a:lnTo>
                <a:lnTo>
                  <a:pt x="190" y="916"/>
                </a:lnTo>
                <a:lnTo>
                  <a:pt x="190" y="916"/>
                </a:lnTo>
                <a:lnTo>
                  <a:pt x="190" y="916"/>
                </a:lnTo>
                <a:lnTo>
                  <a:pt x="190" y="916"/>
                </a:lnTo>
                <a:lnTo>
                  <a:pt x="190" y="918"/>
                </a:lnTo>
                <a:lnTo>
                  <a:pt x="190" y="918"/>
                </a:lnTo>
                <a:lnTo>
                  <a:pt x="186" y="920"/>
                </a:lnTo>
                <a:lnTo>
                  <a:pt x="184" y="918"/>
                </a:lnTo>
                <a:lnTo>
                  <a:pt x="184" y="918"/>
                </a:lnTo>
                <a:lnTo>
                  <a:pt x="190" y="918"/>
                </a:lnTo>
                <a:lnTo>
                  <a:pt x="190" y="918"/>
                </a:lnTo>
                <a:close/>
                <a:moveTo>
                  <a:pt x="182" y="876"/>
                </a:moveTo>
                <a:lnTo>
                  <a:pt x="182" y="876"/>
                </a:lnTo>
                <a:lnTo>
                  <a:pt x="182" y="876"/>
                </a:lnTo>
                <a:lnTo>
                  <a:pt x="182" y="876"/>
                </a:lnTo>
                <a:lnTo>
                  <a:pt x="182" y="876"/>
                </a:lnTo>
                <a:lnTo>
                  <a:pt x="182" y="876"/>
                </a:lnTo>
                <a:lnTo>
                  <a:pt x="182" y="876"/>
                </a:lnTo>
                <a:lnTo>
                  <a:pt x="182" y="876"/>
                </a:lnTo>
                <a:lnTo>
                  <a:pt x="172" y="876"/>
                </a:lnTo>
                <a:lnTo>
                  <a:pt x="172" y="876"/>
                </a:lnTo>
                <a:lnTo>
                  <a:pt x="172" y="876"/>
                </a:lnTo>
                <a:lnTo>
                  <a:pt x="182" y="876"/>
                </a:lnTo>
                <a:close/>
                <a:moveTo>
                  <a:pt x="168" y="860"/>
                </a:moveTo>
                <a:lnTo>
                  <a:pt x="168" y="860"/>
                </a:lnTo>
                <a:lnTo>
                  <a:pt x="172" y="858"/>
                </a:lnTo>
                <a:lnTo>
                  <a:pt x="172" y="856"/>
                </a:lnTo>
                <a:lnTo>
                  <a:pt x="170" y="852"/>
                </a:lnTo>
                <a:lnTo>
                  <a:pt x="170" y="852"/>
                </a:lnTo>
                <a:lnTo>
                  <a:pt x="170" y="852"/>
                </a:lnTo>
                <a:lnTo>
                  <a:pt x="170" y="852"/>
                </a:lnTo>
                <a:lnTo>
                  <a:pt x="172" y="856"/>
                </a:lnTo>
                <a:lnTo>
                  <a:pt x="172" y="858"/>
                </a:lnTo>
                <a:lnTo>
                  <a:pt x="168" y="860"/>
                </a:lnTo>
                <a:lnTo>
                  <a:pt x="168" y="860"/>
                </a:lnTo>
                <a:lnTo>
                  <a:pt x="166" y="860"/>
                </a:lnTo>
                <a:lnTo>
                  <a:pt x="166" y="860"/>
                </a:lnTo>
                <a:lnTo>
                  <a:pt x="168" y="860"/>
                </a:lnTo>
                <a:lnTo>
                  <a:pt x="168" y="860"/>
                </a:lnTo>
                <a:close/>
                <a:moveTo>
                  <a:pt x="154" y="882"/>
                </a:moveTo>
                <a:lnTo>
                  <a:pt x="154" y="882"/>
                </a:lnTo>
                <a:lnTo>
                  <a:pt x="162" y="876"/>
                </a:lnTo>
                <a:lnTo>
                  <a:pt x="162" y="876"/>
                </a:lnTo>
                <a:lnTo>
                  <a:pt x="184" y="884"/>
                </a:lnTo>
                <a:lnTo>
                  <a:pt x="184" y="884"/>
                </a:lnTo>
                <a:lnTo>
                  <a:pt x="180" y="884"/>
                </a:lnTo>
                <a:lnTo>
                  <a:pt x="176" y="884"/>
                </a:lnTo>
                <a:lnTo>
                  <a:pt x="168" y="884"/>
                </a:lnTo>
                <a:lnTo>
                  <a:pt x="168" y="884"/>
                </a:lnTo>
                <a:lnTo>
                  <a:pt x="162" y="884"/>
                </a:lnTo>
                <a:lnTo>
                  <a:pt x="158" y="884"/>
                </a:lnTo>
                <a:lnTo>
                  <a:pt x="154" y="882"/>
                </a:lnTo>
                <a:lnTo>
                  <a:pt x="154" y="882"/>
                </a:lnTo>
                <a:close/>
                <a:moveTo>
                  <a:pt x="164" y="966"/>
                </a:moveTo>
                <a:lnTo>
                  <a:pt x="164" y="966"/>
                </a:lnTo>
                <a:lnTo>
                  <a:pt x="174" y="966"/>
                </a:lnTo>
                <a:lnTo>
                  <a:pt x="174" y="966"/>
                </a:lnTo>
                <a:lnTo>
                  <a:pt x="174" y="966"/>
                </a:lnTo>
                <a:lnTo>
                  <a:pt x="174" y="966"/>
                </a:lnTo>
                <a:lnTo>
                  <a:pt x="164" y="966"/>
                </a:lnTo>
                <a:lnTo>
                  <a:pt x="164" y="966"/>
                </a:lnTo>
                <a:close/>
                <a:moveTo>
                  <a:pt x="176" y="930"/>
                </a:moveTo>
                <a:lnTo>
                  <a:pt x="176" y="930"/>
                </a:lnTo>
                <a:lnTo>
                  <a:pt x="178" y="928"/>
                </a:lnTo>
                <a:lnTo>
                  <a:pt x="178" y="928"/>
                </a:lnTo>
                <a:lnTo>
                  <a:pt x="176" y="928"/>
                </a:lnTo>
                <a:lnTo>
                  <a:pt x="176" y="928"/>
                </a:lnTo>
                <a:lnTo>
                  <a:pt x="176" y="928"/>
                </a:lnTo>
                <a:lnTo>
                  <a:pt x="176" y="928"/>
                </a:lnTo>
                <a:lnTo>
                  <a:pt x="178" y="928"/>
                </a:lnTo>
                <a:lnTo>
                  <a:pt x="178" y="928"/>
                </a:lnTo>
                <a:lnTo>
                  <a:pt x="176" y="930"/>
                </a:lnTo>
                <a:lnTo>
                  <a:pt x="176" y="930"/>
                </a:lnTo>
                <a:lnTo>
                  <a:pt x="176" y="930"/>
                </a:lnTo>
                <a:lnTo>
                  <a:pt x="176" y="930"/>
                </a:lnTo>
                <a:close/>
                <a:moveTo>
                  <a:pt x="182" y="954"/>
                </a:moveTo>
                <a:lnTo>
                  <a:pt x="182" y="954"/>
                </a:lnTo>
                <a:lnTo>
                  <a:pt x="190" y="952"/>
                </a:lnTo>
                <a:lnTo>
                  <a:pt x="190" y="952"/>
                </a:lnTo>
                <a:lnTo>
                  <a:pt x="178" y="950"/>
                </a:lnTo>
                <a:lnTo>
                  <a:pt x="178" y="950"/>
                </a:lnTo>
                <a:lnTo>
                  <a:pt x="190" y="952"/>
                </a:lnTo>
                <a:lnTo>
                  <a:pt x="190" y="952"/>
                </a:lnTo>
                <a:lnTo>
                  <a:pt x="182" y="954"/>
                </a:lnTo>
                <a:lnTo>
                  <a:pt x="182" y="954"/>
                </a:lnTo>
                <a:close/>
                <a:moveTo>
                  <a:pt x="192" y="872"/>
                </a:moveTo>
                <a:lnTo>
                  <a:pt x="192" y="872"/>
                </a:lnTo>
                <a:lnTo>
                  <a:pt x="200" y="872"/>
                </a:lnTo>
                <a:lnTo>
                  <a:pt x="200" y="872"/>
                </a:lnTo>
                <a:lnTo>
                  <a:pt x="200" y="870"/>
                </a:lnTo>
                <a:lnTo>
                  <a:pt x="200" y="870"/>
                </a:lnTo>
                <a:lnTo>
                  <a:pt x="200" y="870"/>
                </a:lnTo>
                <a:lnTo>
                  <a:pt x="200" y="872"/>
                </a:lnTo>
                <a:lnTo>
                  <a:pt x="200" y="872"/>
                </a:lnTo>
                <a:lnTo>
                  <a:pt x="192" y="872"/>
                </a:lnTo>
                <a:lnTo>
                  <a:pt x="192" y="872"/>
                </a:lnTo>
                <a:lnTo>
                  <a:pt x="192" y="872"/>
                </a:lnTo>
                <a:lnTo>
                  <a:pt x="192" y="872"/>
                </a:lnTo>
                <a:close/>
                <a:moveTo>
                  <a:pt x="194" y="958"/>
                </a:moveTo>
                <a:lnTo>
                  <a:pt x="194" y="958"/>
                </a:lnTo>
                <a:lnTo>
                  <a:pt x="198" y="958"/>
                </a:lnTo>
                <a:lnTo>
                  <a:pt x="202" y="954"/>
                </a:lnTo>
                <a:lnTo>
                  <a:pt x="202" y="954"/>
                </a:lnTo>
                <a:lnTo>
                  <a:pt x="202" y="954"/>
                </a:lnTo>
                <a:lnTo>
                  <a:pt x="202" y="954"/>
                </a:lnTo>
                <a:lnTo>
                  <a:pt x="198" y="958"/>
                </a:lnTo>
                <a:lnTo>
                  <a:pt x="194" y="958"/>
                </a:lnTo>
                <a:lnTo>
                  <a:pt x="194" y="958"/>
                </a:lnTo>
                <a:close/>
                <a:moveTo>
                  <a:pt x="202" y="908"/>
                </a:moveTo>
                <a:lnTo>
                  <a:pt x="202" y="908"/>
                </a:lnTo>
                <a:lnTo>
                  <a:pt x="210" y="908"/>
                </a:lnTo>
                <a:lnTo>
                  <a:pt x="210" y="908"/>
                </a:lnTo>
                <a:lnTo>
                  <a:pt x="210" y="908"/>
                </a:lnTo>
                <a:lnTo>
                  <a:pt x="210" y="908"/>
                </a:lnTo>
                <a:lnTo>
                  <a:pt x="202" y="908"/>
                </a:lnTo>
                <a:lnTo>
                  <a:pt x="202" y="908"/>
                </a:lnTo>
                <a:close/>
                <a:moveTo>
                  <a:pt x="208" y="892"/>
                </a:moveTo>
                <a:lnTo>
                  <a:pt x="208" y="892"/>
                </a:lnTo>
                <a:lnTo>
                  <a:pt x="208" y="892"/>
                </a:lnTo>
                <a:lnTo>
                  <a:pt x="208" y="892"/>
                </a:lnTo>
                <a:lnTo>
                  <a:pt x="214" y="890"/>
                </a:lnTo>
                <a:lnTo>
                  <a:pt x="214" y="890"/>
                </a:lnTo>
                <a:lnTo>
                  <a:pt x="214" y="888"/>
                </a:lnTo>
                <a:lnTo>
                  <a:pt x="214" y="888"/>
                </a:lnTo>
                <a:lnTo>
                  <a:pt x="212" y="888"/>
                </a:lnTo>
                <a:lnTo>
                  <a:pt x="212" y="888"/>
                </a:lnTo>
                <a:lnTo>
                  <a:pt x="214" y="888"/>
                </a:lnTo>
                <a:lnTo>
                  <a:pt x="214" y="888"/>
                </a:lnTo>
                <a:lnTo>
                  <a:pt x="214" y="890"/>
                </a:lnTo>
                <a:lnTo>
                  <a:pt x="214" y="890"/>
                </a:lnTo>
                <a:lnTo>
                  <a:pt x="208" y="892"/>
                </a:lnTo>
                <a:lnTo>
                  <a:pt x="208" y="892"/>
                </a:lnTo>
                <a:close/>
                <a:moveTo>
                  <a:pt x="220" y="888"/>
                </a:moveTo>
                <a:lnTo>
                  <a:pt x="220" y="888"/>
                </a:lnTo>
                <a:lnTo>
                  <a:pt x="220" y="882"/>
                </a:lnTo>
                <a:lnTo>
                  <a:pt x="220" y="882"/>
                </a:lnTo>
                <a:lnTo>
                  <a:pt x="232" y="880"/>
                </a:lnTo>
                <a:lnTo>
                  <a:pt x="238" y="882"/>
                </a:lnTo>
                <a:lnTo>
                  <a:pt x="244" y="886"/>
                </a:lnTo>
                <a:lnTo>
                  <a:pt x="244" y="886"/>
                </a:lnTo>
                <a:lnTo>
                  <a:pt x="230" y="892"/>
                </a:lnTo>
                <a:lnTo>
                  <a:pt x="230" y="892"/>
                </a:lnTo>
                <a:lnTo>
                  <a:pt x="224" y="892"/>
                </a:lnTo>
                <a:lnTo>
                  <a:pt x="220" y="888"/>
                </a:lnTo>
                <a:lnTo>
                  <a:pt x="220" y="888"/>
                </a:lnTo>
                <a:close/>
                <a:moveTo>
                  <a:pt x="226" y="908"/>
                </a:moveTo>
                <a:lnTo>
                  <a:pt x="226" y="908"/>
                </a:lnTo>
                <a:lnTo>
                  <a:pt x="232" y="908"/>
                </a:lnTo>
                <a:lnTo>
                  <a:pt x="232" y="908"/>
                </a:lnTo>
                <a:lnTo>
                  <a:pt x="230" y="910"/>
                </a:lnTo>
                <a:lnTo>
                  <a:pt x="230" y="910"/>
                </a:lnTo>
                <a:lnTo>
                  <a:pt x="230" y="910"/>
                </a:lnTo>
                <a:lnTo>
                  <a:pt x="230" y="910"/>
                </a:lnTo>
                <a:lnTo>
                  <a:pt x="232" y="908"/>
                </a:lnTo>
                <a:lnTo>
                  <a:pt x="232" y="908"/>
                </a:lnTo>
                <a:lnTo>
                  <a:pt x="226" y="908"/>
                </a:lnTo>
                <a:lnTo>
                  <a:pt x="226" y="908"/>
                </a:lnTo>
                <a:lnTo>
                  <a:pt x="226" y="908"/>
                </a:lnTo>
                <a:lnTo>
                  <a:pt x="226" y="908"/>
                </a:lnTo>
                <a:close/>
                <a:moveTo>
                  <a:pt x="240" y="942"/>
                </a:moveTo>
                <a:lnTo>
                  <a:pt x="240" y="942"/>
                </a:lnTo>
                <a:lnTo>
                  <a:pt x="248" y="940"/>
                </a:lnTo>
                <a:lnTo>
                  <a:pt x="248" y="940"/>
                </a:lnTo>
                <a:lnTo>
                  <a:pt x="242" y="936"/>
                </a:lnTo>
                <a:lnTo>
                  <a:pt x="242" y="936"/>
                </a:lnTo>
                <a:lnTo>
                  <a:pt x="248" y="940"/>
                </a:lnTo>
                <a:lnTo>
                  <a:pt x="248" y="940"/>
                </a:lnTo>
                <a:lnTo>
                  <a:pt x="244" y="942"/>
                </a:lnTo>
                <a:lnTo>
                  <a:pt x="240" y="942"/>
                </a:lnTo>
                <a:lnTo>
                  <a:pt x="240" y="942"/>
                </a:lnTo>
                <a:close/>
                <a:moveTo>
                  <a:pt x="248" y="936"/>
                </a:moveTo>
                <a:lnTo>
                  <a:pt x="248" y="936"/>
                </a:lnTo>
                <a:lnTo>
                  <a:pt x="238" y="930"/>
                </a:lnTo>
                <a:lnTo>
                  <a:pt x="238" y="930"/>
                </a:lnTo>
                <a:lnTo>
                  <a:pt x="230" y="926"/>
                </a:lnTo>
                <a:lnTo>
                  <a:pt x="230" y="926"/>
                </a:lnTo>
                <a:lnTo>
                  <a:pt x="234" y="922"/>
                </a:lnTo>
                <a:lnTo>
                  <a:pt x="240" y="920"/>
                </a:lnTo>
                <a:lnTo>
                  <a:pt x="252" y="922"/>
                </a:lnTo>
                <a:lnTo>
                  <a:pt x="252" y="922"/>
                </a:lnTo>
                <a:lnTo>
                  <a:pt x="256" y="916"/>
                </a:lnTo>
                <a:lnTo>
                  <a:pt x="256" y="916"/>
                </a:lnTo>
                <a:lnTo>
                  <a:pt x="264" y="916"/>
                </a:lnTo>
                <a:lnTo>
                  <a:pt x="264" y="916"/>
                </a:lnTo>
                <a:lnTo>
                  <a:pt x="274" y="916"/>
                </a:lnTo>
                <a:lnTo>
                  <a:pt x="274" y="916"/>
                </a:lnTo>
                <a:lnTo>
                  <a:pt x="248" y="936"/>
                </a:lnTo>
                <a:lnTo>
                  <a:pt x="248" y="936"/>
                </a:lnTo>
                <a:close/>
                <a:moveTo>
                  <a:pt x="268" y="940"/>
                </a:moveTo>
                <a:lnTo>
                  <a:pt x="268" y="940"/>
                </a:lnTo>
                <a:lnTo>
                  <a:pt x="268" y="940"/>
                </a:lnTo>
                <a:lnTo>
                  <a:pt x="268" y="940"/>
                </a:lnTo>
                <a:lnTo>
                  <a:pt x="278" y="940"/>
                </a:lnTo>
                <a:lnTo>
                  <a:pt x="286" y="936"/>
                </a:lnTo>
                <a:lnTo>
                  <a:pt x="286" y="936"/>
                </a:lnTo>
                <a:lnTo>
                  <a:pt x="278" y="934"/>
                </a:lnTo>
                <a:lnTo>
                  <a:pt x="278" y="934"/>
                </a:lnTo>
                <a:lnTo>
                  <a:pt x="286" y="936"/>
                </a:lnTo>
                <a:lnTo>
                  <a:pt x="286" y="936"/>
                </a:lnTo>
                <a:lnTo>
                  <a:pt x="278" y="940"/>
                </a:lnTo>
                <a:lnTo>
                  <a:pt x="268" y="940"/>
                </a:lnTo>
                <a:lnTo>
                  <a:pt x="268" y="940"/>
                </a:lnTo>
                <a:close/>
                <a:moveTo>
                  <a:pt x="278" y="900"/>
                </a:moveTo>
                <a:lnTo>
                  <a:pt x="278" y="900"/>
                </a:lnTo>
                <a:lnTo>
                  <a:pt x="274" y="904"/>
                </a:lnTo>
                <a:lnTo>
                  <a:pt x="268" y="902"/>
                </a:lnTo>
                <a:lnTo>
                  <a:pt x="262" y="902"/>
                </a:lnTo>
                <a:lnTo>
                  <a:pt x="256" y="902"/>
                </a:lnTo>
                <a:lnTo>
                  <a:pt x="256" y="902"/>
                </a:lnTo>
                <a:lnTo>
                  <a:pt x="260" y="898"/>
                </a:lnTo>
                <a:lnTo>
                  <a:pt x="264" y="896"/>
                </a:lnTo>
                <a:lnTo>
                  <a:pt x="268" y="894"/>
                </a:lnTo>
                <a:lnTo>
                  <a:pt x="274" y="894"/>
                </a:lnTo>
                <a:lnTo>
                  <a:pt x="274" y="894"/>
                </a:lnTo>
                <a:lnTo>
                  <a:pt x="286" y="894"/>
                </a:lnTo>
                <a:lnTo>
                  <a:pt x="292" y="896"/>
                </a:lnTo>
                <a:lnTo>
                  <a:pt x="296" y="900"/>
                </a:lnTo>
                <a:lnTo>
                  <a:pt x="296" y="900"/>
                </a:lnTo>
                <a:lnTo>
                  <a:pt x="292" y="904"/>
                </a:lnTo>
                <a:lnTo>
                  <a:pt x="288" y="904"/>
                </a:lnTo>
                <a:lnTo>
                  <a:pt x="284" y="904"/>
                </a:lnTo>
                <a:lnTo>
                  <a:pt x="278" y="900"/>
                </a:lnTo>
                <a:lnTo>
                  <a:pt x="278" y="900"/>
                </a:lnTo>
                <a:close/>
                <a:moveTo>
                  <a:pt x="338" y="970"/>
                </a:moveTo>
                <a:lnTo>
                  <a:pt x="338" y="970"/>
                </a:lnTo>
                <a:lnTo>
                  <a:pt x="338" y="970"/>
                </a:lnTo>
                <a:lnTo>
                  <a:pt x="338" y="970"/>
                </a:lnTo>
                <a:lnTo>
                  <a:pt x="340" y="968"/>
                </a:lnTo>
                <a:lnTo>
                  <a:pt x="340" y="968"/>
                </a:lnTo>
                <a:lnTo>
                  <a:pt x="338" y="966"/>
                </a:lnTo>
                <a:lnTo>
                  <a:pt x="338" y="966"/>
                </a:lnTo>
                <a:lnTo>
                  <a:pt x="338" y="966"/>
                </a:lnTo>
                <a:lnTo>
                  <a:pt x="338" y="966"/>
                </a:lnTo>
                <a:lnTo>
                  <a:pt x="340" y="968"/>
                </a:lnTo>
                <a:lnTo>
                  <a:pt x="340" y="968"/>
                </a:lnTo>
                <a:lnTo>
                  <a:pt x="338" y="970"/>
                </a:lnTo>
                <a:lnTo>
                  <a:pt x="338" y="970"/>
                </a:lnTo>
                <a:close/>
                <a:moveTo>
                  <a:pt x="376" y="972"/>
                </a:moveTo>
                <a:lnTo>
                  <a:pt x="376" y="972"/>
                </a:lnTo>
                <a:lnTo>
                  <a:pt x="360" y="954"/>
                </a:lnTo>
                <a:lnTo>
                  <a:pt x="360" y="954"/>
                </a:lnTo>
                <a:lnTo>
                  <a:pt x="368" y="956"/>
                </a:lnTo>
                <a:lnTo>
                  <a:pt x="372" y="956"/>
                </a:lnTo>
                <a:lnTo>
                  <a:pt x="376" y="954"/>
                </a:lnTo>
                <a:lnTo>
                  <a:pt x="376" y="954"/>
                </a:lnTo>
                <a:lnTo>
                  <a:pt x="372" y="952"/>
                </a:lnTo>
                <a:lnTo>
                  <a:pt x="368" y="952"/>
                </a:lnTo>
                <a:lnTo>
                  <a:pt x="360" y="952"/>
                </a:lnTo>
                <a:lnTo>
                  <a:pt x="360" y="952"/>
                </a:lnTo>
                <a:lnTo>
                  <a:pt x="358" y="954"/>
                </a:lnTo>
                <a:lnTo>
                  <a:pt x="356" y="958"/>
                </a:lnTo>
                <a:lnTo>
                  <a:pt x="356" y="958"/>
                </a:lnTo>
                <a:lnTo>
                  <a:pt x="354" y="960"/>
                </a:lnTo>
                <a:lnTo>
                  <a:pt x="352" y="962"/>
                </a:lnTo>
                <a:lnTo>
                  <a:pt x="352" y="962"/>
                </a:lnTo>
                <a:lnTo>
                  <a:pt x="346" y="962"/>
                </a:lnTo>
                <a:lnTo>
                  <a:pt x="342" y="960"/>
                </a:lnTo>
                <a:lnTo>
                  <a:pt x="342" y="960"/>
                </a:lnTo>
                <a:lnTo>
                  <a:pt x="338" y="958"/>
                </a:lnTo>
                <a:lnTo>
                  <a:pt x="334" y="956"/>
                </a:lnTo>
                <a:lnTo>
                  <a:pt x="326" y="952"/>
                </a:lnTo>
                <a:lnTo>
                  <a:pt x="326" y="952"/>
                </a:lnTo>
                <a:lnTo>
                  <a:pt x="322" y="956"/>
                </a:lnTo>
                <a:lnTo>
                  <a:pt x="320" y="960"/>
                </a:lnTo>
                <a:lnTo>
                  <a:pt x="316" y="962"/>
                </a:lnTo>
                <a:lnTo>
                  <a:pt x="310" y="964"/>
                </a:lnTo>
                <a:lnTo>
                  <a:pt x="310" y="964"/>
                </a:lnTo>
                <a:lnTo>
                  <a:pt x="308" y="956"/>
                </a:lnTo>
                <a:lnTo>
                  <a:pt x="308" y="956"/>
                </a:lnTo>
                <a:lnTo>
                  <a:pt x="308" y="956"/>
                </a:lnTo>
                <a:lnTo>
                  <a:pt x="308" y="956"/>
                </a:lnTo>
                <a:lnTo>
                  <a:pt x="302" y="950"/>
                </a:lnTo>
                <a:lnTo>
                  <a:pt x="302" y="950"/>
                </a:lnTo>
                <a:lnTo>
                  <a:pt x="312" y="942"/>
                </a:lnTo>
                <a:lnTo>
                  <a:pt x="312" y="942"/>
                </a:lnTo>
                <a:lnTo>
                  <a:pt x="304" y="938"/>
                </a:lnTo>
                <a:lnTo>
                  <a:pt x="304" y="938"/>
                </a:lnTo>
                <a:lnTo>
                  <a:pt x="316" y="936"/>
                </a:lnTo>
                <a:lnTo>
                  <a:pt x="316" y="936"/>
                </a:lnTo>
                <a:lnTo>
                  <a:pt x="324" y="930"/>
                </a:lnTo>
                <a:lnTo>
                  <a:pt x="330" y="926"/>
                </a:lnTo>
                <a:lnTo>
                  <a:pt x="336" y="924"/>
                </a:lnTo>
                <a:lnTo>
                  <a:pt x="336" y="924"/>
                </a:lnTo>
                <a:lnTo>
                  <a:pt x="334" y="916"/>
                </a:lnTo>
                <a:lnTo>
                  <a:pt x="334" y="916"/>
                </a:lnTo>
                <a:lnTo>
                  <a:pt x="318" y="914"/>
                </a:lnTo>
                <a:lnTo>
                  <a:pt x="318" y="914"/>
                </a:lnTo>
                <a:lnTo>
                  <a:pt x="328" y="908"/>
                </a:lnTo>
                <a:lnTo>
                  <a:pt x="328" y="908"/>
                </a:lnTo>
                <a:lnTo>
                  <a:pt x="332" y="910"/>
                </a:lnTo>
                <a:lnTo>
                  <a:pt x="334" y="912"/>
                </a:lnTo>
                <a:lnTo>
                  <a:pt x="334" y="912"/>
                </a:lnTo>
                <a:lnTo>
                  <a:pt x="344" y="910"/>
                </a:lnTo>
                <a:lnTo>
                  <a:pt x="344" y="910"/>
                </a:lnTo>
                <a:lnTo>
                  <a:pt x="346" y="910"/>
                </a:lnTo>
                <a:lnTo>
                  <a:pt x="346" y="910"/>
                </a:lnTo>
                <a:lnTo>
                  <a:pt x="358" y="908"/>
                </a:lnTo>
                <a:lnTo>
                  <a:pt x="362" y="910"/>
                </a:lnTo>
                <a:lnTo>
                  <a:pt x="366" y="910"/>
                </a:lnTo>
                <a:lnTo>
                  <a:pt x="366" y="910"/>
                </a:lnTo>
                <a:lnTo>
                  <a:pt x="368" y="914"/>
                </a:lnTo>
                <a:lnTo>
                  <a:pt x="368" y="916"/>
                </a:lnTo>
                <a:lnTo>
                  <a:pt x="366" y="920"/>
                </a:lnTo>
                <a:lnTo>
                  <a:pt x="362" y="924"/>
                </a:lnTo>
                <a:lnTo>
                  <a:pt x="362" y="924"/>
                </a:lnTo>
                <a:lnTo>
                  <a:pt x="358" y="922"/>
                </a:lnTo>
                <a:lnTo>
                  <a:pt x="354" y="920"/>
                </a:lnTo>
                <a:lnTo>
                  <a:pt x="350" y="920"/>
                </a:lnTo>
                <a:lnTo>
                  <a:pt x="344" y="922"/>
                </a:lnTo>
                <a:lnTo>
                  <a:pt x="344" y="922"/>
                </a:lnTo>
                <a:lnTo>
                  <a:pt x="358" y="924"/>
                </a:lnTo>
                <a:lnTo>
                  <a:pt x="358" y="924"/>
                </a:lnTo>
                <a:lnTo>
                  <a:pt x="374" y="930"/>
                </a:lnTo>
                <a:lnTo>
                  <a:pt x="374" y="930"/>
                </a:lnTo>
                <a:lnTo>
                  <a:pt x="362" y="936"/>
                </a:lnTo>
                <a:lnTo>
                  <a:pt x="356" y="938"/>
                </a:lnTo>
                <a:lnTo>
                  <a:pt x="348" y="938"/>
                </a:lnTo>
                <a:lnTo>
                  <a:pt x="348" y="938"/>
                </a:lnTo>
                <a:lnTo>
                  <a:pt x="354" y="942"/>
                </a:lnTo>
                <a:lnTo>
                  <a:pt x="354" y="942"/>
                </a:lnTo>
                <a:lnTo>
                  <a:pt x="356" y="944"/>
                </a:lnTo>
                <a:lnTo>
                  <a:pt x="356" y="948"/>
                </a:lnTo>
                <a:lnTo>
                  <a:pt x="356" y="948"/>
                </a:lnTo>
                <a:lnTo>
                  <a:pt x="364" y="944"/>
                </a:lnTo>
                <a:lnTo>
                  <a:pt x="364" y="944"/>
                </a:lnTo>
                <a:lnTo>
                  <a:pt x="376" y="942"/>
                </a:lnTo>
                <a:lnTo>
                  <a:pt x="376" y="942"/>
                </a:lnTo>
                <a:lnTo>
                  <a:pt x="372" y="938"/>
                </a:lnTo>
                <a:lnTo>
                  <a:pt x="372" y="938"/>
                </a:lnTo>
                <a:lnTo>
                  <a:pt x="378" y="936"/>
                </a:lnTo>
                <a:lnTo>
                  <a:pt x="378" y="936"/>
                </a:lnTo>
                <a:lnTo>
                  <a:pt x="380" y="946"/>
                </a:lnTo>
                <a:lnTo>
                  <a:pt x="380" y="946"/>
                </a:lnTo>
                <a:lnTo>
                  <a:pt x="388" y="950"/>
                </a:lnTo>
                <a:lnTo>
                  <a:pt x="388" y="950"/>
                </a:lnTo>
                <a:lnTo>
                  <a:pt x="384" y="954"/>
                </a:lnTo>
                <a:lnTo>
                  <a:pt x="384" y="954"/>
                </a:lnTo>
                <a:lnTo>
                  <a:pt x="384" y="956"/>
                </a:lnTo>
                <a:lnTo>
                  <a:pt x="386" y="958"/>
                </a:lnTo>
                <a:lnTo>
                  <a:pt x="392" y="960"/>
                </a:lnTo>
                <a:lnTo>
                  <a:pt x="398" y="962"/>
                </a:lnTo>
                <a:lnTo>
                  <a:pt x="400" y="964"/>
                </a:lnTo>
                <a:lnTo>
                  <a:pt x="400" y="968"/>
                </a:lnTo>
                <a:lnTo>
                  <a:pt x="400" y="968"/>
                </a:lnTo>
                <a:lnTo>
                  <a:pt x="394" y="970"/>
                </a:lnTo>
                <a:lnTo>
                  <a:pt x="388" y="970"/>
                </a:lnTo>
                <a:lnTo>
                  <a:pt x="380" y="970"/>
                </a:lnTo>
                <a:lnTo>
                  <a:pt x="376" y="972"/>
                </a:lnTo>
                <a:lnTo>
                  <a:pt x="376" y="972"/>
                </a:lnTo>
                <a:close/>
                <a:moveTo>
                  <a:pt x="412" y="1018"/>
                </a:moveTo>
                <a:lnTo>
                  <a:pt x="412" y="1018"/>
                </a:lnTo>
                <a:lnTo>
                  <a:pt x="406" y="1016"/>
                </a:lnTo>
                <a:lnTo>
                  <a:pt x="402" y="1014"/>
                </a:lnTo>
                <a:lnTo>
                  <a:pt x="400" y="1010"/>
                </a:lnTo>
                <a:lnTo>
                  <a:pt x="400" y="1006"/>
                </a:lnTo>
                <a:lnTo>
                  <a:pt x="400" y="1006"/>
                </a:lnTo>
                <a:lnTo>
                  <a:pt x="394" y="1006"/>
                </a:lnTo>
                <a:lnTo>
                  <a:pt x="392" y="1006"/>
                </a:lnTo>
                <a:lnTo>
                  <a:pt x="392" y="1006"/>
                </a:lnTo>
                <a:lnTo>
                  <a:pt x="394" y="1006"/>
                </a:lnTo>
                <a:lnTo>
                  <a:pt x="400" y="1006"/>
                </a:lnTo>
                <a:lnTo>
                  <a:pt x="400" y="1006"/>
                </a:lnTo>
                <a:lnTo>
                  <a:pt x="400" y="1010"/>
                </a:lnTo>
                <a:lnTo>
                  <a:pt x="402" y="1014"/>
                </a:lnTo>
                <a:lnTo>
                  <a:pt x="406" y="1016"/>
                </a:lnTo>
                <a:lnTo>
                  <a:pt x="412" y="1018"/>
                </a:lnTo>
                <a:lnTo>
                  <a:pt x="412" y="1018"/>
                </a:lnTo>
                <a:lnTo>
                  <a:pt x="412" y="1018"/>
                </a:lnTo>
                <a:lnTo>
                  <a:pt x="412" y="1018"/>
                </a:lnTo>
                <a:close/>
                <a:moveTo>
                  <a:pt x="568" y="964"/>
                </a:moveTo>
                <a:lnTo>
                  <a:pt x="568" y="964"/>
                </a:lnTo>
                <a:lnTo>
                  <a:pt x="558" y="968"/>
                </a:lnTo>
                <a:lnTo>
                  <a:pt x="546" y="968"/>
                </a:lnTo>
                <a:lnTo>
                  <a:pt x="546" y="968"/>
                </a:lnTo>
                <a:lnTo>
                  <a:pt x="540" y="968"/>
                </a:lnTo>
                <a:lnTo>
                  <a:pt x="536" y="970"/>
                </a:lnTo>
                <a:lnTo>
                  <a:pt x="532" y="972"/>
                </a:lnTo>
                <a:lnTo>
                  <a:pt x="528" y="974"/>
                </a:lnTo>
                <a:lnTo>
                  <a:pt x="528" y="974"/>
                </a:lnTo>
                <a:lnTo>
                  <a:pt x="524" y="976"/>
                </a:lnTo>
                <a:lnTo>
                  <a:pt x="524" y="976"/>
                </a:lnTo>
                <a:lnTo>
                  <a:pt x="508" y="974"/>
                </a:lnTo>
                <a:lnTo>
                  <a:pt x="508" y="974"/>
                </a:lnTo>
                <a:lnTo>
                  <a:pt x="508" y="972"/>
                </a:lnTo>
                <a:lnTo>
                  <a:pt x="508" y="972"/>
                </a:lnTo>
                <a:lnTo>
                  <a:pt x="524" y="968"/>
                </a:lnTo>
                <a:lnTo>
                  <a:pt x="524" y="968"/>
                </a:lnTo>
                <a:lnTo>
                  <a:pt x="490" y="970"/>
                </a:lnTo>
                <a:lnTo>
                  <a:pt x="474" y="972"/>
                </a:lnTo>
                <a:lnTo>
                  <a:pt x="460" y="976"/>
                </a:lnTo>
                <a:lnTo>
                  <a:pt x="460" y="976"/>
                </a:lnTo>
                <a:lnTo>
                  <a:pt x="452" y="970"/>
                </a:lnTo>
                <a:lnTo>
                  <a:pt x="448" y="970"/>
                </a:lnTo>
                <a:lnTo>
                  <a:pt x="444" y="972"/>
                </a:lnTo>
                <a:lnTo>
                  <a:pt x="444" y="972"/>
                </a:lnTo>
                <a:lnTo>
                  <a:pt x="444" y="968"/>
                </a:lnTo>
                <a:lnTo>
                  <a:pt x="444" y="968"/>
                </a:lnTo>
                <a:lnTo>
                  <a:pt x="442" y="972"/>
                </a:lnTo>
                <a:lnTo>
                  <a:pt x="442" y="972"/>
                </a:lnTo>
                <a:lnTo>
                  <a:pt x="438" y="974"/>
                </a:lnTo>
                <a:lnTo>
                  <a:pt x="438" y="974"/>
                </a:lnTo>
                <a:lnTo>
                  <a:pt x="436" y="976"/>
                </a:lnTo>
                <a:lnTo>
                  <a:pt x="434" y="978"/>
                </a:lnTo>
                <a:lnTo>
                  <a:pt x="436" y="980"/>
                </a:lnTo>
                <a:lnTo>
                  <a:pt x="438" y="984"/>
                </a:lnTo>
                <a:lnTo>
                  <a:pt x="438" y="984"/>
                </a:lnTo>
                <a:lnTo>
                  <a:pt x="428" y="1004"/>
                </a:lnTo>
                <a:lnTo>
                  <a:pt x="422" y="1012"/>
                </a:lnTo>
                <a:lnTo>
                  <a:pt x="420" y="1012"/>
                </a:lnTo>
                <a:lnTo>
                  <a:pt x="416" y="1012"/>
                </a:lnTo>
                <a:lnTo>
                  <a:pt x="416" y="1012"/>
                </a:lnTo>
                <a:lnTo>
                  <a:pt x="420" y="1008"/>
                </a:lnTo>
                <a:lnTo>
                  <a:pt x="422" y="1000"/>
                </a:lnTo>
                <a:lnTo>
                  <a:pt x="422" y="1000"/>
                </a:lnTo>
                <a:lnTo>
                  <a:pt x="418" y="998"/>
                </a:lnTo>
                <a:lnTo>
                  <a:pt x="414" y="996"/>
                </a:lnTo>
                <a:lnTo>
                  <a:pt x="414" y="996"/>
                </a:lnTo>
                <a:lnTo>
                  <a:pt x="410" y="994"/>
                </a:lnTo>
                <a:lnTo>
                  <a:pt x="408" y="992"/>
                </a:lnTo>
                <a:lnTo>
                  <a:pt x="400" y="992"/>
                </a:lnTo>
                <a:lnTo>
                  <a:pt x="400" y="992"/>
                </a:lnTo>
                <a:lnTo>
                  <a:pt x="400" y="992"/>
                </a:lnTo>
                <a:lnTo>
                  <a:pt x="400" y="992"/>
                </a:lnTo>
                <a:lnTo>
                  <a:pt x="408" y="992"/>
                </a:lnTo>
                <a:lnTo>
                  <a:pt x="410" y="994"/>
                </a:lnTo>
                <a:lnTo>
                  <a:pt x="414" y="996"/>
                </a:lnTo>
                <a:lnTo>
                  <a:pt x="414" y="996"/>
                </a:lnTo>
                <a:lnTo>
                  <a:pt x="418" y="998"/>
                </a:lnTo>
                <a:lnTo>
                  <a:pt x="422" y="1000"/>
                </a:lnTo>
                <a:lnTo>
                  <a:pt x="422" y="1000"/>
                </a:lnTo>
                <a:lnTo>
                  <a:pt x="430" y="968"/>
                </a:lnTo>
                <a:lnTo>
                  <a:pt x="432" y="952"/>
                </a:lnTo>
                <a:lnTo>
                  <a:pt x="436" y="942"/>
                </a:lnTo>
                <a:lnTo>
                  <a:pt x="436" y="942"/>
                </a:lnTo>
                <a:lnTo>
                  <a:pt x="438" y="930"/>
                </a:lnTo>
                <a:lnTo>
                  <a:pt x="438" y="930"/>
                </a:lnTo>
                <a:lnTo>
                  <a:pt x="438" y="930"/>
                </a:lnTo>
                <a:lnTo>
                  <a:pt x="438" y="930"/>
                </a:lnTo>
                <a:lnTo>
                  <a:pt x="436" y="942"/>
                </a:lnTo>
                <a:lnTo>
                  <a:pt x="436" y="942"/>
                </a:lnTo>
                <a:lnTo>
                  <a:pt x="436" y="940"/>
                </a:lnTo>
                <a:lnTo>
                  <a:pt x="436" y="940"/>
                </a:lnTo>
                <a:lnTo>
                  <a:pt x="434" y="976"/>
                </a:lnTo>
                <a:lnTo>
                  <a:pt x="432" y="990"/>
                </a:lnTo>
                <a:lnTo>
                  <a:pt x="430" y="998"/>
                </a:lnTo>
                <a:lnTo>
                  <a:pt x="430" y="998"/>
                </a:lnTo>
                <a:lnTo>
                  <a:pt x="432" y="990"/>
                </a:lnTo>
                <a:lnTo>
                  <a:pt x="434" y="976"/>
                </a:lnTo>
                <a:lnTo>
                  <a:pt x="438" y="940"/>
                </a:lnTo>
                <a:lnTo>
                  <a:pt x="438" y="940"/>
                </a:lnTo>
                <a:lnTo>
                  <a:pt x="438" y="940"/>
                </a:lnTo>
                <a:lnTo>
                  <a:pt x="438" y="940"/>
                </a:lnTo>
                <a:lnTo>
                  <a:pt x="444" y="940"/>
                </a:lnTo>
                <a:lnTo>
                  <a:pt x="444" y="940"/>
                </a:lnTo>
                <a:lnTo>
                  <a:pt x="458" y="936"/>
                </a:lnTo>
                <a:lnTo>
                  <a:pt x="458" y="936"/>
                </a:lnTo>
                <a:lnTo>
                  <a:pt x="452" y="930"/>
                </a:lnTo>
                <a:lnTo>
                  <a:pt x="452" y="930"/>
                </a:lnTo>
                <a:lnTo>
                  <a:pt x="480" y="932"/>
                </a:lnTo>
                <a:lnTo>
                  <a:pt x="480" y="932"/>
                </a:lnTo>
                <a:lnTo>
                  <a:pt x="480" y="934"/>
                </a:lnTo>
                <a:lnTo>
                  <a:pt x="480" y="934"/>
                </a:lnTo>
                <a:lnTo>
                  <a:pt x="482" y="936"/>
                </a:lnTo>
                <a:lnTo>
                  <a:pt x="482" y="936"/>
                </a:lnTo>
                <a:lnTo>
                  <a:pt x="486" y="936"/>
                </a:lnTo>
                <a:lnTo>
                  <a:pt x="486" y="938"/>
                </a:lnTo>
                <a:lnTo>
                  <a:pt x="486" y="938"/>
                </a:lnTo>
                <a:lnTo>
                  <a:pt x="488" y="944"/>
                </a:lnTo>
                <a:lnTo>
                  <a:pt x="490" y="946"/>
                </a:lnTo>
                <a:lnTo>
                  <a:pt x="500" y="952"/>
                </a:lnTo>
                <a:lnTo>
                  <a:pt x="500" y="952"/>
                </a:lnTo>
                <a:lnTo>
                  <a:pt x="498" y="954"/>
                </a:lnTo>
                <a:lnTo>
                  <a:pt x="494" y="954"/>
                </a:lnTo>
                <a:lnTo>
                  <a:pt x="490" y="954"/>
                </a:lnTo>
                <a:lnTo>
                  <a:pt x="486" y="954"/>
                </a:lnTo>
                <a:lnTo>
                  <a:pt x="486" y="954"/>
                </a:lnTo>
                <a:lnTo>
                  <a:pt x="494" y="958"/>
                </a:lnTo>
                <a:lnTo>
                  <a:pt x="498" y="960"/>
                </a:lnTo>
                <a:lnTo>
                  <a:pt x="502" y="958"/>
                </a:lnTo>
                <a:lnTo>
                  <a:pt x="502" y="958"/>
                </a:lnTo>
                <a:lnTo>
                  <a:pt x="506" y="958"/>
                </a:lnTo>
                <a:lnTo>
                  <a:pt x="506" y="958"/>
                </a:lnTo>
                <a:lnTo>
                  <a:pt x="512" y="960"/>
                </a:lnTo>
                <a:lnTo>
                  <a:pt x="518" y="960"/>
                </a:lnTo>
                <a:lnTo>
                  <a:pt x="530" y="956"/>
                </a:lnTo>
                <a:lnTo>
                  <a:pt x="530" y="956"/>
                </a:lnTo>
                <a:lnTo>
                  <a:pt x="540" y="954"/>
                </a:lnTo>
                <a:lnTo>
                  <a:pt x="540" y="954"/>
                </a:lnTo>
                <a:lnTo>
                  <a:pt x="552" y="954"/>
                </a:lnTo>
                <a:lnTo>
                  <a:pt x="558" y="958"/>
                </a:lnTo>
                <a:lnTo>
                  <a:pt x="564" y="960"/>
                </a:lnTo>
                <a:lnTo>
                  <a:pt x="564" y="960"/>
                </a:lnTo>
                <a:lnTo>
                  <a:pt x="564" y="956"/>
                </a:lnTo>
                <a:lnTo>
                  <a:pt x="566" y="954"/>
                </a:lnTo>
                <a:lnTo>
                  <a:pt x="570" y="954"/>
                </a:lnTo>
                <a:lnTo>
                  <a:pt x="570" y="954"/>
                </a:lnTo>
                <a:lnTo>
                  <a:pt x="570" y="960"/>
                </a:lnTo>
                <a:lnTo>
                  <a:pt x="570" y="962"/>
                </a:lnTo>
                <a:lnTo>
                  <a:pt x="568" y="964"/>
                </a:lnTo>
                <a:lnTo>
                  <a:pt x="568" y="964"/>
                </a:lnTo>
                <a:close/>
                <a:moveTo>
                  <a:pt x="700" y="978"/>
                </a:moveTo>
                <a:lnTo>
                  <a:pt x="700" y="978"/>
                </a:lnTo>
                <a:lnTo>
                  <a:pt x="704" y="978"/>
                </a:lnTo>
                <a:lnTo>
                  <a:pt x="704" y="978"/>
                </a:lnTo>
                <a:lnTo>
                  <a:pt x="704" y="976"/>
                </a:lnTo>
                <a:lnTo>
                  <a:pt x="704" y="976"/>
                </a:lnTo>
                <a:lnTo>
                  <a:pt x="704" y="976"/>
                </a:lnTo>
                <a:lnTo>
                  <a:pt x="706" y="978"/>
                </a:lnTo>
                <a:lnTo>
                  <a:pt x="706" y="978"/>
                </a:lnTo>
                <a:lnTo>
                  <a:pt x="700" y="978"/>
                </a:lnTo>
                <a:lnTo>
                  <a:pt x="700" y="978"/>
                </a:lnTo>
                <a:lnTo>
                  <a:pt x="700" y="978"/>
                </a:lnTo>
                <a:lnTo>
                  <a:pt x="700" y="978"/>
                </a:lnTo>
                <a:close/>
                <a:moveTo>
                  <a:pt x="704" y="1006"/>
                </a:moveTo>
                <a:lnTo>
                  <a:pt x="704" y="1006"/>
                </a:lnTo>
                <a:lnTo>
                  <a:pt x="704" y="1006"/>
                </a:lnTo>
                <a:lnTo>
                  <a:pt x="704" y="1006"/>
                </a:lnTo>
                <a:lnTo>
                  <a:pt x="706" y="1004"/>
                </a:lnTo>
                <a:lnTo>
                  <a:pt x="706" y="1004"/>
                </a:lnTo>
                <a:lnTo>
                  <a:pt x="704" y="1004"/>
                </a:lnTo>
                <a:lnTo>
                  <a:pt x="704" y="1004"/>
                </a:lnTo>
                <a:lnTo>
                  <a:pt x="704" y="1004"/>
                </a:lnTo>
                <a:lnTo>
                  <a:pt x="704" y="1004"/>
                </a:lnTo>
                <a:lnTo>
                  <a:pt x="706" y="1004"/>
                </a:lnTo>
                <a:lnTo>
                  <a:pt x="706" y="1004"/>
                </a:lnTo>
                <a:lnTo>
                  <a:pt x="704" y="1006"/>
                </a:lnTo>
                <a:lnTo>
                  <a:pt x="704" y="1006"/>
                </a:lnTo>
                <a:close/>
                <a:moveTo>
                  <a:pt x="648" y="1110"/>
                </a:moveTo>
                <a:lnTo>
                  <a:pt x="648" y="1110"/>
                </a:lnTo>
                <a:lnTo>
                  <a:pt x="658" y="1112"/>
                </a:lnTo>
                <a:lnTo>
                  <a:pt x="658" y="1112"/>
                </a:lnTo>
                <a:lnTo>
                  <a:pt x="658" y="1114"/>
                </a:lnTo>
                <a:lnTo>
                  <a:pt x="658" y="1114"/>
                </a:lnTo>
                <a:lnTo>
                  <a:pt x="658" y="1114"/>
                </a:lnTo>
                <a:lnTo>
                  <a:pt x="658" y="1114"/>
                </a:lnTo>
                <a:lnTo>
                  <a:pt x="658" y="1112"/>
                </a:lnTo>
                <a:lnTo>
                  <a:pt x="656" y="1112"/>
                </a:lnTo>
                <a:lnTo>
                  <a:pt x="648" y="1110"/>
                </a:lnTo>
                <a:lnTo>
                  <a:pt x="648" y="1110"/>
                </a:lnTo>
                <a:lnTo>
                  <a:pt x="648" y="1110"/>
                </a:lnTo>
                <a:lnTo>
                  <a:pt x="648" y="1110"/>
                </a:lnTo>
                <a:close/>
                <a:moveTo>
                  <a:pt x="658" y="1116"/>
                </a:moveTo>
                <a:lnTo>
                  <a:pt x="658" y="1116"/>
                </a:lnTo>
                <a:lnTo>
                  <a:pt x="658" y="1116"/>
                </a:lnTo>
                <a:lnTo>
                  <a:pt x="658" y="1116"/>
                </a:lnTo>
                <a:lnTo>
                  <a:pt x="658" y="1116"/>
                </a:lnTo>
                <a:lnTo>
                  <a:pt x="658" y="1116"/>
                </a:lnTo>
                <a:lnTo>
                  <a:pt x="658" y="1116"/>
                </a:lnTo>
                <a:lnTo>
                  <a:pt x="658" y="1116"/>
                </a:lnTo>
                <a:lnTo>
                  <a:pt x="658" y="1116"/>
                </a:lnTo>
                <a:close/>
                <a:moveTo>
                  <a:pt x="756" y="1122"/>
                </a:moveTo>
                <a:lnTo>
                  <a:pt x="756" y="1122"/>
                </a:lnTo>
                <a:lnTo>
                  <a:pt x="756" y="1122"/>
                </a:lnTo>
                <a:lnTo>
                  <a:pt x="756" y="1122"/>
                </a:lnTo>
                <a:lnTo>
                  <a:pt x="756" y="1122"/>
                </a:lnTo>
                <a:lnTo>
                  <a:pt x="756" y="1122"/>
                </a:lnTo>
                <a:lnTo>
                  <a:pt x="756" y="1122"/>
                </a:lnTo>
                <a:lnTo>
                  <a:pt x="756" y="1122"/>
                </a:lnTo>
                <a:lnTo>
                  <a:pt x="756" y="1122"/>
                </a:lnTo>
                <a:lnTo>
                  <a:pt x="756" y="1122"/>
                </a:lnTo>
                <a:close/>
                <a:moveTo>
                  <a:pt x="784" y="1108"/>
                </a:moveTo>
                <a:lnTo>
                  <a:pt x="784" y="1108"/>
                </a:lnTo>
                <a:lnTo>
                  <a:pt x="784" y="1108"/>
                </a:lnTo>
                <a:lnTo>
                  <a:pt x="784" y="1108"/>
                </a:lnTo>
                <a:lnTo>
                  <a:pt x="782" y="1106"/>
                </a:lnTo>
                <a:lnTo>
                  <a:pt x="782" y="1106"/>
                </a:lnTo>
                <a:lnTo>
                  <a:pt x="784" y="1108"/>
                </a:lnTo>
                <a:lnTo>
                  <a:pt x="784" y="1108"/>
                </a:lnTo>
                <a:close/>
                <a:moveTo>
                  <a:pt x="784" y="1124"/>
                </a:moveTo>
                <a:lnTo>
                  <a:pt x="784" y="1124"/>
                </a:lnTo>
                <a:lnTo>
                  <a:pt x="784" y="1124"/>
                </a:lnTo>
                <a:lnTo>
                  <a:pt x="784" y="1124"/>
                </a:lnTo>
                <a:lnTo>
                  <a:pt x="782" y="1124"/>
                </a:lnTo>
                <a:lnTo>
                  <a:pt x="782" y="1124"/>
                </a:lnTo>
                <a:lnTo>
                  <a:pt x="782" y="1124"/>
                </a:lnTo>
                <a:lnTo>
                  <a:pt x="782" y="1124"/>
                </a:lnTo>
                <a:lnTo>
                  <a:pt x="784" y="1124"/>
                </a:lnTo>
                <a:lnTo>
                  <a:pt x="784" y="1124"/>
                </a:lnTo>
                <a:close/>
                <a:moveTo>
                  <a:pt x="1110" y="1130"/>
                </a:moveTo>
                <a:lnTo>
                  <a:pt x="1110" y="1130"/>
                </a:lnTo>
                <a:lnTo>
                  <a:pt x="1118" y="1130"/>
                </a:lnTo>
                <a:lnTo>
                  <a:pt x="1124" y="1134"/>
                </a:lnTo>
                <a:lnTo>
                  <a:pt x="1124" y="1134"/>
                </a:lnTo>
                <a:lnTo>
                  <a:pt x="1126" y="1136"/>
                </a:lnTo>
                <a:lnTo>
                  <a:pt x="1126" y="1136"/>
                </a:lnTo>
                <a:lnTo>
                  <a:pt x="1120" y="1138"/>
                </a:lnTo>
                <a:lnTo>
                  <a:pt x="1120" y="1138"/>
                </a:lnTo>
                <a:lnTo>
                  <a:pt x="1112" y="1136"/>
                </a:lnTo>
                <a:lnTo>
                  <a:pt x="1110" y="1134"/>
                </a:lnTo>
                <a:lnTo>
                  <a:pt x="1110" y="1130"/>
                </a:lnTo>
                <a:lnTo>
                  <a:pt x="1110" y="1130"/>
                </a:lnTo>
                <a:close/>
                <a:moveTo>
                  <a:pt x="1072" y="1058"/>
                </a:moveTo>
                <a:lnTo>
                  <a:pt x="1072" y="1058"/>
                </a:lnTo>
                <a:lnTo>
                  <a:pt x="1082" y="1062"/>
                </a:lnTo>
                <a:lnTo>
                  <a:pt x="1082" y="1062"/>
                </a:lnTo>
                <a:lnTo>
                  <a:pt x="1074" y="1068"/>
                </a:lnTo>
                <a:lnTo>
                  <a:pt x="1074" y="1068"/>
                </a:lnTo>
                <a:lnTo>
                  <a:pt x="1074" y="1068"/>
                </a:lnTo>
                <a:lnTo>
                  <a:pt x="1074" y="1068"/>
                </a:lnTo>
                <a:lnTo>
                  <a:pt x="1082" y="1062"/>
                </a:lnTo>
                <a:lnTo>
                  <a:pt x="1082" y="1062"/>
                </a:lnTo>
                <a:lnTo>
                  <a:pt x="1072" y="1058"/>
                </a:lnTo>
                <a:lnTo>
                  <a:pt x="1072" y="1058"/>
                </a:lnTo>
                <a:lnTo>
                  <a:pt x="1072" y="1058"/>
                </a:lnTo>
                <a:lnTo>
                  <a:pt x="1072" y="1058"/>
                </a:lnTo>
                <a:close/>
                <a:moveTo>
                  <a:pt x="992" y="934"/>
                </a:moveTo>
                <a:lnTo>
                  <a:pt x="992" y="934"/>
                </a:lnTo>
                <a:lnTo>
                  <a:pt x="1000" y="934"/>
                </a:lnTo>
                <a:lnTo>
                  <a:pt x="1002" y="934"/>
                </a:lnTo>
                <a:lnTo>
                  <a:pt x="1004" y="932"/>
                </a:lnTo>
                <a:lnTo>
                  <a:pt x="1004" y="932"/>
                </a:lnTo>
                <a:lnTo>
                  <a:pt x="1004" y="932"/>
                </a:lnTo>
                <a:lnTo>
                  <a:pt x="1004" y="932"/>
                </a:lnTo>
                <a:lnTo>
                  <a:pt x="1002" y="934"/>
                </a:lnTo>
                <a:lnTo>
                  <a:pt x="1000" y="934"/>
                </a:lnTo>
                <a:lnTo>
                  <a:pt x="992" y="934"/>
                </a:lnTo>
                <a:lnTo>
                  <a:pt x="992" y="934"/>
                </a:lnTo>
                <a:lnTo>
                  <a:pt x="992" y="934"/>
                </a:lnTo>
                <a:lnTo>
                  <a:pt x="992" y="934"/>
                </a:lnTo>
                <a:close/>
                <a:moveTo>
                  <a:pt x="980" y="912"/>
                </a:moveTo>
                <a:lnTo>
                  <a:pt x="980" y="912"/>
                </a:lnTo>
                <a:lnTo>
                  <a:pt x="980" y="912"/>
                </a:lnTo>
                <a:lnTo>
                  <a:pt x="952" y="912"/>
                </a:lnTo>
                <a:lnTo>
                  <a:pt x="952" y="912"/>
                </a:lnTo>
                <a:lnTo>
                  <a:pt x="952" y="912"/>
                </a:lnTo>
                <a:lnTo>
                  <a:pt x="980" y="912"/>
                </a:lnTo>
                <a:close/>
                <a:moveTo>
                  <a:pt x="924" y="978"/>
                </a:moveTo>
                <a:lnTo>
                  <a:pt x="924" y="978"/>
                </a:lnTo>
                <a:lnTo>
                  <a:pt x="920" y="982"/>
                </a:lnTo>
                <a:lnTo>
                  <a:pt x="914" y="982"/>
                </a:lnTo>
                <a:lnTo>
                  <a:pt x="906" y="984"/>
                </a:lnTo>
                <a:lnTo>
                  <a:pt x="906" y="984"/>
                </a:lnTo>
                <a:lnTo>
                  <a:pt x="888" y="990"/>
                </a:lnTo>
                <a:lnTo>
                  <a:pt x="888" y="990"/>
                </a:lnTo>
                <a:lnTo>
                  <a:pt x="892" y="982"/>
                </a:lnTo>
                <a:lnTo>
                  <a:pt x="892" y="982"/>
                </a:lnTo>
                <a:lnTo>
                  <a:pt x="886" y="978"/>
                </a:lnTo>
                <a:lnTo>
                  <a:pt x="886" y="978"/>
                </a:lnTo>
                <a:lnTo>
                  <a:pt x="896" y="976"/>
                </a:lnTo>
                <a:lnTo>
                  <a:pt x="906" y="976"/>
                </a:lnTo>
                <a:lnTo>
                  <a:pt x="924" y="978"/>
                </a:lnTo>
                <a:lnTo>
                  <a:pt x="924" y="978"/>
                </a:lnTo>
                <a:close/>
                <a:moveTo>
                  <a:pt x="904" y="994"/>
                </a:moveTo>
                <a:lnTo>
                  <a:pt x="904" y="994"/>
                </a:lnTo>
                <a:lnTo>
                  <a:pt x="904" y="994"/>
                </a:lnTo>
                <a:lnTo>
                  <a:pt x="904" y="994"/>
                </a:lnTo>
                <a:lnTo>
                  <a:pt x="920" y="998"/>
                </a:lnTo>
                <a:lnTo>
                  <a:pt x="920" y="1000"/>
                </a:lnTo>
                <a:lnTo>
                  <a:pt x="920" y="1000"/>
                </a:lnTo>
                <a:lnTo>
                  <a:pt x="920" y="1000"/>
                </a:lnTo>
                <a:lnTo>
                  <a:pt x="920" y="1000"/>
                </a:lnTo>
                <a:lnTo>
                  <a:pt x="920" y="998"/>
                </a:lnTo>
                <a:lnTo>
                  <a:pt x="920" y="998"/>
                </a:lnTo>
                <a:lnTo>
                  <a:pt x="904" y="994"/>
                </a:lnTo>
                <a:lnTo>
                  <a:pt x="904" y="994"/>
                </a:lnTo>
                <a:close/>
                <a:moveTo>
                  <a:pt x="938" y="1038"/>
                </a:moveTo>
                <a:lnTo>
                  <a:pt x="938" y="1038"/>
                </a:lnTo>
                <a:lnTo>
                  <a:pt x="942" y="1042"/>
                </a:lnTo>
                <a:lnTo>
                  <a:pt x="942" y="1042"/>
                </a:lnTo>
                <a:lnTo>
                  <a:pt x="936" y="1042"/>
                </a:lnTo>
                <a:lnTo>
                  <a:pt x="936" y="1042"/>
                </a:lnTo>
                <a:lnTo>
                  <a:pt x="940" y="1042"/>
                </a:lnTo>
                <a:lnTo>
                  <a:pt x="940" y="1042"/>
                </a:lnTo>
                <a:lnTo>
                  <a:pt x="938" y="1038"/>
                </a:lnTo>
                <a:lnTo>
                  <a:pt x="938" y="1038"/>
                </a:lnTo>
                <a:close/>
                <a:moveTo>
                  <a:pt x="940" y="1046"/>
                </a:moveTo>
                <a:lnTo>
                  <a:pt x="940" y="1046"/>
                </a:lnTo>
                <a:lnTo>
                  <a:pt x="940" y="1046"/>
                </a:lnTo>
                <a:lnTo>
                  <a:pt x="940" y="1046"/>
                </a:lnTo>
                <a:lnTo>
                  <a:pt x="946" y="1048"/>
                </a:lnTo>
                <a:lnTo>
                  <a:pt x="946" y="1048"/>
                </a:lnTo>
                <a:lnTo>
                  <a:pt x="944" y="1048"/>
                </a:lnTo>
                <a:lnTo>
                  <a:pt x="944" y="1048"/>
                </a:lnTo>
                <a:lnTo>
                  <a:pt x="944" y="1048"/>
                </a:lnTo>
                <a:lnTo>
                  <a:pt x="944" y="1048"/>
                </a:lnTo>
                <a:lnTo>
                  <a:pt x="946" y="1048"/>
                </a:lnTo>
                <a:lnTo>
                  <a:pt x="946" y="1048"/>
                </a:lnTo>
                <a:lnTo>
                  <a:pt x="940" y="1046"/>
                </a:lnTo>
                <a:lnTo>
                  <a:pt x="940" y="1046"/>
                </a:lnTo>
                <a:close/>
                <a:moveTo>
                  <a:pt x="936" y="1052"/>
                </a:moveTo>
                <a:lnTo>
                  <a:pt x="936" y="1052"/>
                </a:lnTo>
                <a:lnTo>
                  <a:pt x="936" y="1052"/>
                </a:lnTo>
                <a:lnTo>
                  <a:pt x="936" y="1052"/>
                </a:lnTo>
                <a:lnTo>
                  <a:pt x="940" y="1054"/>
                </a:lnTo>
                <a:lnTo>
                  <a:pt x="940" y="1054"/>
                </a:lnTo>
                <a:lnTo>
                  <a:pt x="936" y="1056"/>
                </a:lnTo>
                <a:lnTo>
                  <a:pt x="936" y="1056"/>
                </a:lnTo>
                <a:lnTo>
                  <a:pt x="936" y="1056"/>
                </a:lnTo>
                <a:lnTo>
                  <a:pt x="936" y="1056"/>
                </a:lnTo>
                <a:lnTo>
                  <a:pt x="940" y="1054"/>
                </a:lnTo>
                <a:lnTo>
                  <a:pt x="940" y="1054"/>
                </a:lnTo>
                <a:lnTo>
                  <a:pt x="936" y="1052"/>
                </a:lnTo>
                <a:lnTo>
                  <a:pt x="936" y="1052"/>
                </a:lnTo>
                <a:close/>
                <a:moveTo>
                  <a:pt x="848" y="1038"/>
                </a:moveTo>
                <a:lnTo>
                  <a:pt x="848" y="1038"/>
                </a:lnTo>
                <a:lnTo>
                  <a:pt x="848" y="1038"/>
                </a:lnTo>
                <a:lnTo>
                  <a:pt x="848" y="1038"/>
                </a:lnTo>
                <a:lnTo>
                  <a:pt x="848" y="1040"/>
                </a:lnTo>
                <a:lnTo>
                  <a:pt x="848" y="1040"/>
                </a:lnTo>
                <a:lnTo>
                  <a:pt x="850" y="1038"/>
                </a:lnTo>
                <a:lnTo>
                  <a:pt x="850" y="1038"/>
                </a:lnTo>
                <a:lnTo>
                  <a:pt x="848" y="1040"/>
                </a:lnTo>
                <a:lnTo>
                  <a:pt x="848" y="1040"/>
                </a:lnTo>
                <a:lnTo>
                  <a:pt x="856" y="1048"/>
                </a:lnTo>
                <a:lnTo>
                  <a:pt x="856" y="1048"/>
                </a:lnTo>
                <a:lnTo>
                  <a:pt x="850" y="1050"/>
                </a:lnTo>
                <a:lnTo>
                  <a:pt x="850" y="1050"/>
                </a:lnTo>
                <a:lnTo>
                  <a:pt x="856" y="1048"/>
                </a:lnTo>
                <a:lnTo>
                  <a:pt x="856" y="1048"/>
                </a:lnTo>
                <a:lnTo>
                  <a:pt x="848" y="1040"/>
                </a:lnTo>
                <a:lnTo>
                  <a:pt x="848" y="1040"/>
                </a:lnTo>
                <a:lnTo>
                  <a:pt x="842" y="1052"/>
                </a:lnTo>
                <a:lnTo>
                  <a:pt x="842" y="1052"/>
                </a:lnTo>
                <a:lnTo>
                  <a:pt x="840" y="1052"/>
                </a:lnTo>
                <a:lnTo>
                  <a:pt x="840" y="1052"/>
                </a:lnTo>
                <a:lnTo>
                  <a:pt x="838" y="1050"/>
                </a:lnTo>
                <a:lnTo>
                  <a:pt x="838" y="1050"/>
                </a:lnTo>
                <a:lnTo>
                  <a:pt x="848" y="1040"/>
                </a:lnTo>
                <a:lnTo>
                  <a:pt x="848" y="1040"/>
                </a:lnTo>
                <a:lnTo>
                  <a:pt x="848" y="1038"/>
                </a:lnTo>
                <a:lnTo>
                  <a:pt x="848" y="1038"/>
                </a:lnTo>
                <a:close/>
                <a:moveTo>
                  <a:pt x="856" y="1052"/>
                </a:moveTo>
                <a:lnTo>
                  <a:pt x="856" y="1052"/>
                </a:lnTo>
                <a:lnTo>
                  <a:pt x="856" y="1050"/>
                </a:lnTo>
                <a:lnTo>
                  <a:pt x="856" y="1050"/>
                </a:lnTo>
                <a:lnTo>
                  <a:pt x="858" y="1050"/>
                </a:lnTo>
                <a:lnTo>
                  <a:pt x="858" y="1050"/>
                </a:lnTo>
                <a:lnTo>
                  <a:pt x="856" y="1052"/>
                </a:lnTo>
                <a:lnTo>
                  <a:pt x="856" y="1052"/>
                </a:lnTo>
                <a:close/>
                <a:moveTo>
                  <a:pt x="834" y="1056"/>
                </a:moveTo>
                <a:lnTo>
                  <a:pt x="834" y="1056"/>
                </a:lnTo>
                <a:lnTo>
                  <a:pt x="832" y="1056"/>
                </a:lnTo>
                <a:lnTo>
                  <a:pt x="832" y="1056"/>
                </a:lnTo>
                <a:lnTo>
                  <a:pt x="834" y="1054"/>
                </a:lnTo>
                <a:lnTo>
                  <a:pt x="834" y="1054"/>
                </a:lnTo>
                <a:lnTo>
                  <a:pt x="834" y="1056"/>
                </a:lnTo>
                <a:lnTo>
                  <a:pt x="834" y="1056"/>
                </a:lnTo>
                <a:close/>
                <a:moveTo>
                  <a:pt x="826" y="1072"/>
                </a:moveTo>
                <a:lnTo>
                  <a:pt x="826" y="1072"/>
                </a:lnTo>
                <a:lnTo>
                  <a:pt x="826" y="1076"/>
                </a:lnTo>
                <a:lnTo>
                  <a:pt x="826" y="1076"/>
                </a:lnTo>
                <a:lnTo>
                  <a:pt x="826" y="1072"/>
                </a:lnTo>
                <a:lnTo>
                  <a:pt x="826" y="1072"/>
                </a:lnTo>
                <a:lnTo>
                  <a:pt x="826" y="1072"/>
                </a:lnTo>
                <a:lnTo>
                  <a:pt x="826" y="1072"/>
                </a:lnTo>
                <a:close/>
                <a:moveTo>
                  <a:pt x="928" y="1050"/>
                </a:moveTo>
                <a:lnTo>
                  <a:pt x="928" y="1050"/>
                </a:lnTo>
                <a:lnTo>
                  <a:pt x="928" y="1050"/>
                </a:lnTo>
                <a:lnTo>
                  <a:pt x="928" y="1050"/>
                </a:lnTo>
                <a:lnTo>
                  <a:pt x="930" y="1048"/>
                </a:lnTo>
                <a:lnTo>
                  <a:pt x="930" y="1044"/>
                </a:lnTo>
                <a:lnTo>
                  <a:pt x="930" y="1044"/>
                </a:lnTo>
                <a:lnTo>
                  <a:pt x="914" y="1042"/>
                </a:lnTo>
                <a:lnTo>
                  <a:pt x="914" y="1042"/>
                </a:lnTo>
                <a:lnTo>
                  <a:pt x="914" y="1042"/>
                </a:lnTo>
                <a:lnTo>
                  <a:pt x="914" y="1042"/>
                </a:lnTo>
                <a:lnTo>
                  <a:pt x="930" y="1044"/>
                </a:lnTo>
                <a:lnTo>
                  <a:pt x="930" y="1044"/>
                </a:lnTo>
                <a:lnTo>
                  <a:pt x="930" y="1048"/>
                </a:lnTo>
                <a:lnTo>
                  <a:pt x="928" y="1050"/>
                </a:lnTo>
                <a:lnTo>
                  <a:pt x="928" y="1050"/>
                </a:lnTo>
                <a:close/>
                <a:moveTo>
                  <a:pt x="916" y="1050"/>
                </a:moveTo>
                <a:lnTo>
                  <a:pt x="916" y="1050"/>
                </a:lnTo>
                <a:lnTo>
                  <a:pt x="916" y="1050"/>
                </a:lnTo>
                <a:lnTo>
                  <a:pt x="916" y="1050"/>
                </a:lnTo>
                <a:lnTo>
                  <a:pt x="916" y="1054"/>
                </a:lnTo>
                <a:lnTo>
                  <a:pt x="916" y="1054"/>
                </a:lnTo>
                <a:lnTo>
                  <a:pt x="916" y="1054"/>
                </a:lnTo>
                <a:lnTo>
                  <a:pt x="916" y="1054"/>
                </a:lnTo>
                <a:lnTo>
                  <a:pt x="916" y="1050"/>
                </a:lnTo>
                <a:lnTo>
                  <a:pt x="916" y="1050"/>
                </a:lnTo>
                <a:close/>
                <a:moveTo>
                  <a:pt x="866" y="994"/>
                </a:moveTo>
                <a:lnTo>
                  <a:pt x="866" y="994"/>
                </a:lnTo>
                <a:lnTo>
                  <a:pt x="866" y="994"/>
                </a:lnTo>
                <a:lnTo>
                  <a:pt x="866" y="994"/>
                </a:lnTo>
                <a:lnTo>
                  <a:pt x="874" y="990"/>
                </a:lnTo>
                <a:lnTo>
                  <a:pt x="878" y="990"/>
                </a:lnTo>
                <a:lnTo>
                  <a:pt x="882" y="990"/>
                </a:lnTo>
                <a:lnTo>
                  <a:pt x="882" y="990"/>
                </a:lnTo>
                <a:lnTo>
                  <a:pt x="880" y="994"/>
                </a:lnTo>
                <a:lnTo>
                  <a:pt x="878" y="996"/>
                </a:lnTo>
                <a:lnTo>
                  <a:pt x="878" y="996"/>
                </a:lnTo>
                <a:lnTo>
                  <a:pt x="882" y="990"/>
                </a:lnTo>
                <a:lnTo>
                  <a:pt x="882" y="990"/>
                </a:lnTo>
                <a:lnTo>
                  <a:pt x="878" y="990"/>
                </a:lnTo>
                <a:lnTo>
                  <a:pt x="874" y="990"/>
                </a:lnTo>
                <a:lnTo>
                  <a:pt x="866" y="994"/>
                </a:lnTo>
                <a:lnTo>
                  <a:pt x="866" y="994"/>
                </a:lnTo>
                <a:close/>
                <a:moveTo>
                  <a:pt x="896" y="1012"/>
                </a:moveTo>
                <a:lnTo>
                  <a:pt x="896" y="1012"/>
                </a:lnTo>
                <a:lnTo>
                  <a:pt x="890" y="1010"/>
                </a:lnTo>
                <a:lnTo>
                  <a:pt x="890" y="1010"/>
                </a:lnTo>
                <a:lnTo>
                  <a:pt x="896" y="1012"/>
                </a:lnTo>
                <a:lnTo>
                  <a:pt x="896" y="1012"/>
                </a:lnTo>
                <a:lnTo>
                  <a:pt x="894" y="1016"/>
                </a:lnTo>
                <a:lnTo>
                  <a:pt x="890" y="1018"/>
                </a:lnTo>
                <a:lnTo>
                  <a:pt x="886" y="1020"/>
                </a:lnTo>
                <a:lnTo>
                  <a:pt x="880" y="1020"/>
                </a:lnTo>
                <a:lnTo>
                  <a:pt x="880" y="1020"/>
                </a:lnTo>
                <a:lnTo>
                  <a:pt x="886" y="1020"/>
                </a:lnTo>
                <a:lnTo>
                  <a:pt x="890" y="1018"/>
                </a:lnTo>
                <a:lnTo>
                  <a:pt x="894" y="1016"/>
                </a:lnTo>
                <a:lnTo>
                  <a:pt x="896" y="1012"/>
                </a:lnTo>
                <a:lnTo>
                  <a:pt x="896" y="1012"/>
                </a:lnTo>
                <a:close/>
                <a:moveTo>
                  <a:pt x="888" y="998"/>
                </a:moveTo>
                <a:lnTo>
                  <a:pt x="888" y="998"/>
                </a:lnTo>
                <a:lnTo>
                  <a:pt x="888" y="998"/>
                </a:lnTo>
                <a:lnTo>
                  <a:pt x="888" y="998"/>
                </a:lnTo>
                <a:lnTo>
                  <a:pt x="890" y="1000"/>
                </a:lnTo>
                <a:lnTo>
                  <a:pt x="890" y="1000"/>
                </a:lnTo>
                <a:lnTo>
                  <a:pt x="882" y="1002"/>
                </a:lnTo>
                <a:lnTo>
                  <a:pt x="882" y="1002"/>
                </a:lnTo>
                <a:lnTo>
                  <a:pt x="882" y="1002"/>
                </a:lnTo>
                <a:lnTo>
                  <a:pt x="882" y="1002"/>
                </a:lnTo>
                <a:lnTo>
                  <a:pt x="888" y="1000"/>
                </a:lnTo>
                <a:lnTo>
                  <a:pt x="888" y="1000"/>
                </a:lnTo>
                <a:lnTo>
                  <a:pt x="888" y="998"/>
                </a:lnTo>
                <a:lnTo>
                  <a:pt x="888" y="998"/>
                </a:lnTo>
                <a:close/>
                <a:moveTo>
                  <a:pt x="898" y="1022"/>
                </a:moveTo>
                <a:lnTo>
                  <a:pt x="898" y="1022"/>
                </a:lnTo>
                <a:lnTo>
                  <a:pt x="898" y="1022"/>
                </a:lnTo>
                <a:lnTo>
                  <a:pt x="898" y="1022"/>
                </a:lnTo>
                <a:lnTo>
                  <a:pt x="894" y="1026"/>
                </a:lnTo>
                <a:lnTo>
                  <a:pt x="890" y="1026"/>
                </a:lnTo>
                <a:lnTo>
                  <a:pt x="890" y="1026"/>
                </a:lnTo>
                <a:lnTo>
                  <a:pt x="894" y="1026"/>
                </a:lnTo>
                <a:lnTo>
                  <a:pt x="898" y="1022"/>
                </a:lnTo>
                <a:lnTo>
                  <a:pt x="898" y="1022"/>
                </a:lnTo>
                <a:close/>
                <a:moveTo>
                  <a:pt x="896" y="968"/>
                </a:moveTo>
                <a:lnTo>
                  <a:pt x="896" y="968"/>
                </a:lnTo>
                <a:lnTo>
                  <a:pt x="896" y="968"/>
                </a:lnTo>
                <a:lnTo>
                  <a:pt x="896" y="968"/>
                </a:lnTo>
                <a:lnTo>
                  <a:pt x="898" y="970"/>
                </a:lnTo>
                <a:lnTo>
                  <a:pt x="898" y="970"/>
                </a:lnTo>
                <a:lnTo>
                  <a:pt x="896" y="972"/>
                </a:lnTo>
                <a:lnTo>
                  <a:pt x="896" y="972"/>
                </a:lnTo>
                <a:lnTo>
                  <a:pt x="896" y="972"/>
                </a:lnTo>
                <a:lnTo>
                  <a:pt x="896" y="972"/>
                </a:lnTo>
                <a:lnTo>
                  <a:pt x="898" y="970"/>
                </a:lnTo>
                <a:lnTo>
                  <a:pt x="898" y="970"/>
                </a:lnTo>
                <a:lnTo>
                  <a:pt x="896" y="968"/>
                </a:lnTo>
                <a:lnTo>
                  <a:pt x="896" y="968"/>
                </a:lnTo>
                <a:close/>
                <a:moveTo>
                  <a:pt x="904" y="294"/>
                </a:moveTo>
                <a:lnTo>
                  <a:pt x="904" y="294"/>
                </a:lnTo>
                <a:lnTo>
                  <a:pt x="902" y="298"/>
                </a:lnTo>
                <a:lnTo>
                  <a:pt x="902" y="298"/>
                </a:lnTo>
                <a:lnTo>
                  <a:pt x="898" y="300"/>
                </a:lnTo>
                <a:lnTo>
                  <a:pt x="898" y="300"/>
                </a:lnTo>
                <a:lnTo>
                  <a:pt x="896" y="300"/>
                </a:lnTo>
                <a:lnTo>
                  <a:pt x="896" y="300"/>
                </a:lnTo>
                <a:lnTo>
                  <a:pt x="892" y="302"/>
                </a:lnTo>
                <a:lnTo>
                  <a:pt x="892" y="302"/>
                </a:lnTo>
                <a:lnTo>
                  <a:pt x="894" y="296"/>
                </a:lnTo>
                <a:lnTo>
                  <a:pt x="894" y="296"/>
                </a:lnTo>
                <a:lnTo>
                  <a:pt x="896" y="294"/>
                </a:lnTo>
                <a:lnTo>
                  <a:pt x="896" y="294"/>
                </a:lnTo>
                <a:lnTo>
                  <a:pt x="904" y="294"/>
                </a:lnTo>
                <a:lnTo>
                  <a:pt x="904" y="294"/>
                </a:lnTo>
                <a:close/>
                <a:moveTo>
                  <a:pt x="888" y="310"/>
                </a:moveTo>
                <a:lnTo>
                  <a:pt x="888" y="310"/>
                </a:lnTo>
                <a:lnTo>
                  <a:pt x="892" y="312"/>
                </a:lnTo>
                <a:lnTo>
                  <a:pt x="894" y="316"/>
                </a:lnTo>
                <a:lnTo>
                  <a:pt x="896" y="324"/>
                </a:lnTo>
                <a:lnTo>
                  <a:pt x="896" y="324"/>
                </a:lnTo>
                <a:lnTo>
                  <a:pt x="880" y="330"/>
                </a:lnTo>
                <a:lnTo>
                  <a:pt x="880" y="330"/>
                </a:lnTo>
                <a:lnTo>
                  <a:pt x="888" y="310"/>
                </a:lnTo>
                <a:lnTo>
                  <a:pt x="888" y="310"/>
                </a:lnTo>
                <a:close/>
                <a:moveTo>
                  <a:pt x="882" y="334"/>
                </a:moveTo>
                <a:lnTo>
                  <a:pt x="882" y="334"/>
                </a:lnTo>
                <a:lnTo>
                  <a:pt x="878" y="336"/>
                </a:lnTo>
                <a:lnTo>
                  <a:pt x="878" y="336"/>
                </a:lnTo>
                <a:lnTo>
                  <a:pt x="880" y="332"/>
                </a:lnTo>
                <a:lnTo>
                  <a:pt x="880" y="332"/>
                </a:lnTo>
                <a:lnTo>
                  <a:pt x="882" y="334"/>
                </a:lnTo>
                <a:lnTo>
                  <a:pt x="882" y="334"/>
                </a:lnTo>
                <a:close/>
                <a:moveTo>
                  <a:pt x="876" y="344"/>
                </a:moveTo>
                <a:lnTo>
                  <a:pt x="876" y="344"/>
                </a:lnTo>
                <a:lnTo>
                  <a:pt x="882" y="346"/>
                </a:lnTo>
                <a:lnTo>
                  <a:pt x="884" y="348"/>
                </a:lnTo>
                <a:lnTo>
                  <a:pt x="886" y="352"/>
                </a:lnTo>
                <a:lnTo>
                  <a:pt x="886" y="352"/>
                </a:lnTo>
                <a:lnTo>
                  <a:pt x="886" y="358"/>
                </a:lnTo>
                <a:lnTo>
                  <a:pt x="890" y="364"/>
                </a:lnTo>
                <a:lnTo>
                  <a:pt x="890" y="364"/>
                </a:lnTo>
                <a:lnTo>
                  <a:pt x="878" y="366"/>
                </a:lnTo>
                <a:lnTo>
                  <a:pt x="874" y="368"/>
                </a:lnTo>
                <a:lnTo>
                  <a:pt x="872" y="372"/>
                </a:lnTo>
                <a:lnTo>
                  <a:pt x="872" y="372"/>
                </a:lnTo>
                <a:lnTo>
                  <a:pt x="886" y="370"/>
                </a:lnTo>
                <a:lnTo>
                  <a:pt x="886" y="370"/>
                </a:lnTo>
                <a:lnTo>
                  <a:pt x="882" y="374"/>
                </a:lnTo>
                <a:lnTo>
                  <a:pt x="876" y="376"/>
                </a:lnTo>
                <a:lnTo>
                  <a:pt x="862" y="378"/>
                </a:lnTo>
                <a:lnTo>
                  <a:pt x="862" y="378"/>
                </a:lnTo>
                <a:lnTo>
                  <a:pt x="866" y="368"/>
                </a:lnTo>
                <a:lnTo>
                  <a:pt x="876" y="344"/>
                </a:lnTo>
                <a:lnTo>
                  <a:pt x="876" y="344"/>
                </a:lnTo>
                <a:close/>
                <a:moveTo>
                  <a:pt x="870" y="962"/>
                </a:moveTo>
                <a:lnTo>
                  <a:pt x="870" y="962"/>
                </a:lnTo>
                <a:lnTo>
                  <a:pt x="870" y="962"/>
                </a:lnTo>
                <a:lnTo>
                  <a:pt x="870" y="962"/>
                </a:lnTo>
                <a:lnTo>
                  <a:pt x="872" y="964"/>
                </a:lnTo>
                <a:lnTo>
                  <a:pt x="872" y="964"/>
                </a:lnTo>
                <a:lnTo>
                  <a:pt x="870" y="966"/>
                </a:lnTo>
                <a:lnTo>
                  <a:pt x="870" y="966"/>
                </a:lnTo>
                <a:lnTo>
                  <a:pt x="870" y="966"/>
                </a:lnTo>
                <a:lnTo>
                  <a:pt x="870" y="966"/>
                </a:lnTo>
                <a:lnTo>
                  <a:pt x="872" y="964"/>
                </a:lnTo>
                <a:lnTo>
                  <a:pt x="872" y="964"/>
                </a:lnTo>
                <a:lnTo>
                  <a:pt x="870" y="962"/>
                </a:lnTo>
                <a:lnTo>
                  <a:pt x="870" y="962"/>
                </a:lnTo>
                <a:close/>
                <a:moveTo>
                  <a:pt x="844" y="974"/>
                </a:moveTo>
                <a:lnTo>
                  <a:pt x="844" y="974"/>
                </a:lnTo>
                <a:lnTo>
                  <a:pt x="852" y="974"/>
                </a:lnTo>
                <a:lnTo>
                  <a:pt x="858" y="972"/>
                </a:lnTo>
                <a:lnTo>
                  <a:pt x="858" y="972"/>
                </a:lnTo>
                <a:lnTo>
                  <a:pt x="868" y="970"/>
                </a:lnTo>
                <a:lnTo>
                  <a:pt x="876" y="972"/>
                </a:lnTo>
                <a:lnTo>
                  <a:pt x="876" y="972"/>
                </a:lnTo>
                <a:lnTo>
                  <a:pt x="880" y="974"/>
                </a:lnTo>
                <a:lnTo>
                  <a:pt x="882" y="976"/>
                </a:lnTo>
                <a:lnTo>
                  <a:pt x="882" y="976"/>
                </a:lnTo>
                <a:lnTo>
                  <a:pt x="882" y="976"/>
                </a:lnTo>
                <a:lnTo>
                  <a:pt x="858" y="978"/>
                </a:lnTo>
                <a:lnTo>
                  <a:pt x="848" y="978"/>
                </a:lnTo>
                <a:lnTo>
                  <a:pt x="836" y="976"/>
                </a:lnTo>
                <a:lnTo>
                  <a:pt x="836" y="976"/>
                </a:lnTo>
                <a:lnTo>
                  <a:pt x="840" y="972"/>
                </a:lnTo>
                <a:lnTo>
                  <a:pt x="844" y="974"/>
                </a:lnTo>
                <a:lnTo>
                  <a:pt x="844" y="974"/>
                </a:lnTo>
                <a:close/>
                <a:moveTo>
                  <a:pt x="822" y="1006"/>
                </a:moveTo>
                <a:lnTo>
                  <a:pt x="822" y="1006"/>
                </a:lnTo>
                <a:lnTo>
                  <a:pt x="824" y="1006"/>
                </a:lnTo>
                <a:lnTo>
                  <a:pt x="824" y="1006"/>
                </a:lnTo>
                <a:lnTo>
                  <a:pt x="824" y="1006"/>
                </a:lnTo>
                <a:lnTo>
                  <a:pt x="824" y="1006"/>
                </a:lnTo>
                <a:lnTo>
                  <a:pt x="822" y="1006"/>
                </a:lnTo>
                <a:lnTo>
                  <a:pt x="822" y="1006"/>
                </a:lnTo>
                <a:lnTo>
                  <a:pt x="818" y="1006"/>
                </a:lnTo>
                <a:lnTo>
                  <a:pt x="818" y="1006"/>
                </a:lnTo>
                <a:lnTo>
                  <a:pt x="818" y="1006"/>
                </a:lnTo>
                <a:lnTo>
                  <a:pt x="818" y="1006"/>
                </a:lnTo>
                <a:lnTo>
                  <a:pt x="822" y="1006"/>
                </a:lnTo>
                <a:lnTo>
                  <a:pt x="822" y="1006"/>
                </a:lnTo>
                <a:close/>
                <a:moveTo>
                  <a:pt x="768" y="1046"/>
                </a:moveTo>
                <a:lnTo>
                  <a:pt x="768" y="1046"/>
                </a:lnTo>
                <a:lnTo>
                  <a:pt x="780" y="1044"/>
                </a:lnTo>
                <a:lnTo>
                  <a:pt x="780" y="1044"/>
                </a:lnTo>
                <a:lnTo>
                  <a:pt x="776" y="1042"/>
                </a:lnTo>
                <a:lnTo>
                  <a:pt x="774" y="1040"/>
                </a:lnTo>
                <a:lnTo>
                  <a:pt x="774" y="1040"/>
                </a:lnTo>
                <a:lnTo>
                  <a:pt x="776" y="1042"/>
                </a:lnTo>
                <a:lnTo>
                  <a:pt x="780" y="1044"/>
                </a:lnTo>
                <a:lnTo>
                  <a:pt x="780" y="1044"/>
                </a:lnTo>
                <a:lnTo>
                  <a:pt x="768" y="1046"/>
                </a:lnTo>
                <a:lnTo>
                  <a:pt x="768" y="1046"/>
                </a:lnTo>
                <a:close/>
                <a:moveTo>
                  <a:pt x="790" y="1034"/>
                </a:moveTo>
                <a:lnTo>
                  <a:pt x="790" y="1034"/>
                </a:lnTo>
                <a:lnTo>
                  <a:pt x="774" y="1034"/>
                </a:lnTo>
                <a:lnTo>
                  <a:pt x="774" y="1034"/>
                </a:lnTo>
                <a:lnTo>
                  <a:pt x="770" y="1026"/>
                </a:lnTo>
                <a:lnTo>
                  <a:pt x="770" y="1026"/>
                </a:lnTo>
                <a:lnTo>
                  <a:pt x="792" y="1026"/>
                </a:lnTo>
                <a:lnTo>
                  <a:pt x="792" y="1026"/>
                </a:lnTo>
                <a:lnTo>
                  <a:pt x="796" y="1022"/>
                </a:lnTo>
                <a:lnTo>
                  <a:pt x="800" y="1020"/>
                </a:lnTo>
                <a:lnTo>
                  <a:pt x="804" y="1020"/>
                </a:lnTo>
                <a:lnTo>
                  <a:pt x="810" y="1020"/>
                </a:lnTo>
                <a:lnTo>
                  <a:pt x="810" y="1020"/>
                </a:lnTo>
                <a:lnTo>
                  <a:pt x="820" y="1020"/>
                </a:lnTo>
                <a:lnTo>
                  <a:pt x="820" y="1020"/>
                </a:lnTo>
                <a:lnTo>
                  <a:pt x="816" y="1030"/>
                </a:lnTo>
                <a:lnTo>
                  <a:pt x="812" y="1034"/>
                </a:lnTo>
                <a:lnTo>
                  <a:pt x="812" y="1034"/>
                </a:lnTo>
                <a:lnTo>
                  <a:pt x="818" y="1034"/>
                </a:lnTo>
                <a:lnTo>
                  <a:pt x="822" y="1032"/>
                </a:lnTo>
                <a:lnTo>
                  <a:pt x="826" y="1026"/>
                </a:lnTo>
                <a:lnTo>
                  <a:pt x="830" y="1020"/>
                </a:lnTo>
                <a:lnTo>
                  <a:pt x="830" y="1020"/>
                </a:lnTo>
                <a:lnTo>
                  <a:pt x="826" y="1034"/>
                </a:lnTo>
                <a:lnTo>
                  <a:pt x="824" y="1040"/>
                </a:lnTo>
                <a:lnTo>
                  <a:pt x="824" y="1040"/>
                </a:lnTo>
                <a:lnTo>
                  <a:pt x="824" y="1040"/>
                </a:lnTo>
                <a:lnTo>
                  <a:pt x="826" y="1042"/>
                </a:lnTo>
                <a:lnTo>
                  <a:pt x="824" y="1046"/>
                </a:lnTo>
                <a:lnTo>
                  <a:pt x="824" y="1046"/>
                </a:lnTo>
                <a:lnTo>
                  <a:pt x="824" y="1046"/>
                </a:lnTo>
                <a:lnTo>
                  <a:pt x="824" y="1046"/>
                </a:lnTo>
                <a:lnTo>
                  <a:pt x="814" y="1044"/>
                </a:lnTo>
                <a:lnTo>
                  <a:pt x="814" y="1044"/>
                </a:lnTo>
                <a:lnTo>
                  <a:pt x="820" y="1038"/>
                </a:lnTo>
                <a:lnTo>
                  <a:pt x="820" y="1038"/>
                </a:lnTo>
                <a:lnTo>
                  <a:pt x="814" y="1040"/>
                </a:lnTo>
                <a:lnTo>
                  <a:pt x="804" y="1044"/>
                </a:lnTo>
                <a:lnTo>
                  <a:pt x="804" y="1044"/>
                </a:lnTo>
                <a:lnTo>
                  <a:pt x="796" y="1040"/>
                </a:lnTo>
                <a:lnTo>
                  <a:pt x="790" y="1034"/>
                </a:lnTo>
                <a:lnTo>
                  <a:pt x="790" y="1034"/>
                </a:lnTo>
                <a:close/>
                <a:moveTo>
                  <a:pt x="822" y="1058"/>
                </a:moveTo>
                <a:lnTo>
                  <a:pt x="822" y="1058"/>
                </a:lnTo>
                <a:lnTo>
                  <a:pt x="824" y="1056"/>
                </a:lnTo>
                <a:lnTo>
                  <a:pt x="824" y="1056"/>
                </a:lnTo>
                <a:lnTo>
                  <a:pt x="822" y="1058"/>
                </a:lnTo>
                <a:lnTo>
                  <a:pt x="822" y="1058"/>
                </a:lnTo>
                <a:lnTo>
                  <a:pt x="822" y="1058"/>
                </a:lnTo>
                <a:lnTo>
                  <a:pt x="822" y="1058"/>
                </a:lnTo>
                <a:close/>
                <a:moveTo>
                  <a:pt x="832" y="1050"/>
                </a:moveTo>
                <a:lnTo>
                  <a:pt x="832" y="1050"/>
                </a:lnTo>
                <a:lnTo>
                  <a:pt x="830" y="1048"/>
                </a:lnTo>
                <a:lnTo>
                  <a:pt x="830" y="1048"/>
                </a:lnTo>
                <a:lnTo>
                  <a:pt x="830" y="1048"/>
                </a:lnTo>
                <a:lnTo>
                  <a:pt x="830" y="1048"/>
                </a:lnTo>
                <a:lnTo>
                  <a:pt x="830" y="1044"/>
                </a:lnTo>
                <a:lnTo>
                  <a:pt x="830" y="1044"/>
                </a:lnTo>
                <a:lnTo>
                  <a:pt x="834" y="1038"/>
                </a:lnTo>
                <a:lnTo>
                  <a:pt x="836" y="1036"/>
                </a:lnTo>
                <a:lnTo>
                  <a:pt x="836" y="1038"/>
                </a:lnTo>
                <a:lnTo>
                  <a:pt x="836" y="1038"/>
                </a:lnTo>
                <a:lnTo>
                  <a:pt x="842" y="1024"/>
                </a:lnTo>
                <a:lnTo>
                  <a:pt x="842" y="1024"/>
                </a:lnTo>
                <a:lnTo>
                  <a:pt x="840" y="1022"/>
                </a:lnTo>
                <a:lnTo>
                  <a:pt x="840" y="1022"/>
                </a:lnTo>
                <a:lnTo>
                  <a:pt x="834" y="1034"/>
                </a:lnTo>
                <a:lnTo>
                  <a:pt x="830" y="1040"/>
                </a:lnTo>
                <a:lnTo>
                  <a:pt x="830" y="1040"/>
                </a:lnTo>
                <a:lnTo>
                  <a:pt x="834" y="1010"/>
                </a:lnTo>
                <a:lnTo>
                  <a:pt x="834" y="1010"/>
                </a:lnTo>
                <a:lnTo>
                  <a:pt x="840" y="996"/>
                </a:lnTo>
                <a:lnTo>
                  <a:pt x="840" y="996"/>
                </a:lnTo>
                <a:lnTo>
                  <a:pt x="830" y="992"/>
                </a:lnTo>
                <a:lnTo>
                  <a:pt x="830" y="992"/>
                </a:lnTo>
                <a:lnTo>
                  <a:pt x="832" y="984"/>
                </a:lnTo>
                <a:lnTo>
                  <a:pt x="832" y="984"/>
                </a:lnTo>
                <a:lnTo>
                  <a:pt x="834" y="986"/>
                </a:lnTo>
                <a:lnTo>
                  <a:pt x="836" y="988"/>
                </a:lnTo>
                <a:lnTo>
                  <a:pt x="844" y="988"/>
                </a:lnTo>
                <a:lnTo>
                  <a:pt x="844" y="988"/>
                </a:lnTo>
                <a:lnTo>
                  <a:pt x="844" y="994"/>
                </a:lnTo>
                <a:lnTo>
                  <a:pt x="844" y="994"/>
                </a:lnTo>
                <a:lnTo>
                  <a:pt x="852" y="990"/>
                </a:lnTo>
                <a:lnTo>
                  <a:pt x="852" y="990"/>
                </a:lnTo>
                <a:lnTo>
                  <a:pt x="854" y="994"/>
                </a:lnTo>
                <a:lnTo>
                  <a:pt x="854" y="994"/>
                </a:lnTo>
                <a:lnTo>
                  <a:pt x="854" y="996"/>
                </a:lnTo>
                <a:lnTo>
                  <a:pt x="854" y="998"/>
                </a:lnTo>
                <a:lnTo>
                  <a:pt x="860" y="1000"/>
                </a:lnTo>
                <a:lnTo>
                  <a:pt x="860" y="1000"/>
                </a:lnTo>
                <a:lnTo>
                  <a:pt x="864" y="1000"/>
                </a:lnTo>
                <a:lnTo>
                  <a:pt x="868" y="1002"/>
                </a:lnTo>
                <a:lnTo>
                  <a:pt x="874" y="1008"/>
                </a:lnTo>
                <a:lnTo>
                  <a:pt x="874" y="1008"/>
                </a:lnTo>
                <a:lnTo>
                  <a:pt x="868" y="1014"/>
                </a:lnTo>
                <a:lnTo>
                  <a:pt x="860" y="1016"/>
                </a:lnTo>
                <a:lnTo>
                  <a:pt x="860" y="1016"/>
                </a:lnTo>
                <a:lnTo>
                  <a:pt x="862" y="1026"/>
                </a:lnTo>
                <a:lnTo>
                  <a:pt x="862" y="1026"/>
                </a:lnTo>
                <a:lnTo>
                  <a:pt x="866" y="1022"/>
                </a:lnTo>
                <a:lnTo>
                  <a:pt x="870" y="1020"/>
                </a:lnTo>
                <a:lnTo>
                  <a:pt x="880" y="1020"/>
                </a:lnTo>
                <a:lnTo>
                  <a:pt x="880" y="1020"/>
                </a:lnTo>
                <a:lnTo>
                  <a:pt x="872" y="1026"/>
                </a:lnTo>
                <a:lnTo>
                  <a:pt x="872" y="1026"/>
                </a:lnTo>
                <a:lnTo>
                  <a:pt x="878" y="1032"/>
                </a:lnTo>
                <a:lnTo>
                  <a:pt x="878" y="1032"/>
                </a:lnTo>
                <a:lnTo>
                  <a:pt x="872" y="1034"/>
                </a:lnTo>
                <a:lnTo>
                  <a:pt x="872" y="1034"/>
                </a:lnTo>
                <a:lnTo>
                  <a:pt x="876" y="1036"/>
                </a:lnTo>
                <a:lnTo>
                  <a:pt x="882" y="1034"/>
                </a:lnTo>
                <a:lnTo>
                  <a:pt x="888" y="1034"/>
                </a:lnTo>
                <a:lnTo>
                  <a:pt x="894" y="1034"/>
                </a:lnTo>
                <a:lnTo>
                  <a:pt x="894" y="1034"/>
                </a:lnTo>
                <a:lnTo>
                  <a:pt x="880" y="1040"/>
                </a:lnTo>
                <a:lnTo>
                  <a:pt x="880" y="1040"/>
                </a:lnTo>
                <a:lnTo>
                  <a:pt x="892" y="1042"/>
                </a:lnTo>
                <a:lnTo>
                  <a:pt x="892" y="1042"/>
                </a:lnTo>
                <a:lnTo>
                  <a:pt x="884" y="1044"/>
                </a:lnTo>
                <a:lnTo>
                  <a:pt x="876" y="1042"/>
                </a:lnTo>
                <a:lnTo>
                  <a:pt x="876" y="1042"/>
                </a:lnTo>
                <a:lnTo>
                  <a:pt x="870" y="1042"/>
                </a:lnTo>
                <a:lnTo>
                  <a:pt x="870" y="1042"/>
                </a:lnTo>
                <a:lnTo>
                  <a:pt x="864" y="1042"/>
                </a:lnTo>
                <a:lnTo>
                  <a:pt x="858" y="1042"/>
                </a:lnTo>
                <a:lnTo>
                  <a:pt x="850" y="1038"/>
                </a:lnTo>
                <a:lnTo>
                  <a:pt x="850" y="1038"/>
                </a:lnTo>
                <a:lnTo>
                  <a:pt x="858" y="1028"/>
                </a:lnTo>
                <a:lnTo>
                  <a:pt x="860" y="1024"/>
                </a:lnTo>
                <a:lnTo>
                  <a:pt x="858" y="1024"/>
                </a:lnTo>
                <a:lnTo>
                  <a:pt x="858" y="1024"/>
                </a:lnTo>
                <a:lnTo>
                  <a:pt x="850" y="1038"/>
                </a:lnTo>
                <a:lnTo>
                  <a:pt x="850" y="1038"/>
                </a:lnTo>
                <a:lnTo>
                  <a:pt x="848" y="1036"/>
                </a:lnTo>
                <a:lnTo>
                  <a:pt x="848" y="1036"/>
                </a:lnTo>
                <a:lnTo>
                  <a:pt x="842" y="1034"/>
                </a:lnTo>
                <a:lnTo>
                  <a:pt x="842" y="1034"/>
                </a:lnTo>
                <a:lnTo>
                  <a:pt x="838" y="1040"/>
                </a:lnTo>
                <a:lnTo>
                  <a:pt x="838" y="1040"/>
                </a:lnTo>
                <a:lnTo>
                  <a:pt x="840" y="1040"/>
                </a:lnTo>
                <a:lnTo>
                  <a:pt x="840" y="1040"/>
                </a:lnTo>
                <a:lnTo>
                  <a:pt x="840" y="1040"/>
                </a:lnTo>
                <a:lnTo>
                  <a:pt x="840" y="1042"/>
                </a:lnTo>
                <a:lnTo>
                  <a:pt x="836" y="1050"/>
                </a:lnTo>
                <a:lnTo>
                  <a:pt x="836" y="1050"/>
                </a:lnTo>
                <a:lnTo>
                  <a:pt x="834" y="1050"/>
                </a:lnTo>
                <a:lnTo>
                  <a:pt x="834" y="1050"/>
                </a:lnTo>
                <a:lnTo>
                  <a:pt x="832" y="1058"/>
                </a:lnTo>
                <a:lnTo>
                  <a:pt x="832" y="1058"/>
                </a:lnTo>
                <a:lnTo>
                  <a:pt x="826" y="1062"/>
                </a:lnTo>
                <a:lnTo>
                  <a:pt x="826" y="1066"/>
                </a:lnTo>
                <a:lnTo>
                  <a:pt x="826" y="1070"/>
                </a:lnTo>
                <a:lnTo>
                  <a:pt x="826" y="1070"/>
                </a:lnTo>
                <a:lnTo>
                  <a:pt x="820" y="1078"/>
                </a:lnTo>
                <a:lnTo>
                  <a:pt x="820" y="1078"/>
                </a:lnTo>
                <a:lnTo>
                  <a:pt x="832" y="1050"/>
                </a:lnTo>
                <a:lnTo>
                  <a:pt x="832" y="1050"/>
                </a:lnTo>
                <a:close/>
                <a:moveTo>
                  <a:pt x="820" y="1082"/>
                </a:moveTo>
                <a:lnTo>
                  <a:pt x="820" y="1082"/>
                </a:lnTo>
                <a:lnTo>
                  <a:pt x="822" y="1082"/>
                </a:lnTo>
                <a:lnTo>
                  <a:pt x="822" y="1082"/>
                </a:lnTo>
                <a:lnTo>
                  <a:pt x="820" y="1088"/>
                </a:lnTo>
                <a:lnTo>
                  <a:pt x="820" y="1088"/>
                </a:lnTo>
                <a:lnTo>
                  <a:pt x="818" y="1086"/>
                </a:lnTo>
                <a:lnTo>
                  <a:pt x="818" y="1082"/>
                </a:lnTo>
                <a:lnTo>
                  <a:pt x="818" y="1082"/>
                </a:lnTo>
                <a:lnTo>
                  <a:pt x="820" y="1082"/>
                </a:lnTo>
                <a:lnTo>
                  <a:pt x="820" y="1082"/>
                </a:lnTo>
                <a:close/>
                <a:moveTo>
                  <a:pt x="824" y="1116"/>
                </a:moveTo>
                <a:lnTo>
                  <a:pt x="824" y="1116"/>
                </a:lnTo>
                <a:lnTo>
                  <a:pt x="824" y="1114"/>
                </a:lnTo>
                <a:lnTo>
                  <a:pt x="824" y="1114"/>
                </a:lnTo>
                <a:lnTo>
                  <a:pt x="820" y="1118"/>
                </a:lnTo>
                <a:lnTo>
                  <a:pt x="814" y="1118"/>
                </a:lnTo>
                <a:lnTo>
                  <a:pt x="814" y="1118"/>
                </a:lnTo>
                <a:lnTo>
                  <a:pt x="818" y="1116"/>
                </a:lnTo>
                <a:lnTo>
                  <a:pt x="816" y="1116"/>
                </a:lnTo>
                <a:lnTo>
                  <a:pt x="816" y="1116"/>
                </a:lnTo>
                <a:lnTo>
                  <a:pt x="820" y="1114"/>
                </a:lnTo>
                <a:lnTo>
                  <a:pt x="820" y="1114"/>
                </a:lnTo>
                <a:lnTo>
                  <a:pt x="820" y="1112"/>
                </a:lnTo>
                <a:lnTo>
                  <a:pt x="820" y="1112"/>
                </a:lnTo>
                <a:lnTo>
                  <a:pt x="814" y="1114"/>
                </a:lnTo>
                <a:lnTo>
                  <a:pt x="814" y="1114"/>
                </a:lnTo>
                <a:lnTo>
                  <a:pt x="816" y="1114"/>
                </a:lnTo>
                <a:lnTo>
                  <a:pt x="816" y="1114"/>
                </a:lnTo>
                <a:lnTo>
                  <a:pt x="812" y="1112"/>
                </a:lnTo>
                <a:lnTo>
                  <a:pt x="812" y="1110"/>
                </a:lnTo>
                <a:lnTo>
                  <a:pt x="814" y="1108"/>
                </a:lnTo>
                <a:lnTo>
                  <a:pt x="814" y="1108"/>
                </a:lnTo>
                <a:lnTo>
                  <a:pt x="816" y="1110"/>
                </a:lnTo>
                <a:lnTo>
                  <a:pt x="818" y="1108"/>
                </a:lnTo>
                <a:lnTo>
                  <a:pt x="818" y="1108"/>
                </a:lnTo>
                <a:lnTo>
                  <a:pt x="820" y="1112"/>
                </a:lnTo>
                <a:lnTo>
                  <a:pt x="820" y="1112"/>
                </a:lnTo>
                <a:lnTo>
                  <a:pt x="826" y="1106"/>
                </a:lnTo>
                <a:lnTo>
                  <a:pt x="826" y="1106"/>
                </a:lnTo>
                <a:lnTo>
                  <a:pt x="824" y="1106"/>
                </a:lnTo>
                <a:lnTo>
                  <a:pt x="824" y="1106"/>
                </a:lnTo>
                <a:lnTo>
                  <a:pt x="826" y="1104"/>
                </a:lnTo>
                <a:lnTo>
                  <a:pt x="826" y="1104"/>
                </a:lnTo>
                <a:lnTo>
                  <a:pt x="824" y="1102"/>
                </a:lnTo>
                <a:lnTo>
                  <a:pt x="824" y="1102"/>
                </a:lnTo>
                <a:lnTo>
                  <a:pt x="824" y="1102"/>
                </a:lnTo>
                <a:lnTo>
                  <a:pt x="824" y="1102"/>
                </a:lnTo>
                <a:lnTo>
                  <a:pt x="826" y="1104"/>
                </a:lnTo>
                <a:lnTo>
                  <a:pt x="826" y="1104"/>
                </a:lnTo>
                <a:lnTo>
                  <a:pt x="828" y="1096"/>
                </a:lnTo>
                <a:lnTo>
                  <a:pt x="828" y="1096"/>
                </a:lnTo>
                <a:lnTo>
                  <a:pt x="828" y="1098"/>
                </a:lnTo>
                <a:lnTo>
                  <a:pt x="828" y="1098"/>
                </a:lnTo>
                <a:lnTo>
                  <a:pt x="830" y="1092"/>
                </a:lnTo>
                <a:lnTo>
                  <a:pt x="830" y="1092"/>
                </a:lnTo>
                <a:lnTo>
                  <a:pt x="830" y="1086"/>
                </a:lnTo>
                <a:lnTo>
                  <a:pt x="830" y="1086"/>
                </a:lnTo>
                <a:lnTo>
                  <a:pt x="832" y="1086"/>
                </a:lnTo>
                <a:lnTo>
                  <a:pt x="832" y="1086"/>
                </a:lnTo>
                <a:lnTo>
                  <a:pt x="830" y="1086"/>
                </a:lnTo>
                <a:lnTo>
                  <a:pt x="830" y="1086"/>
                </a:lnTo>
                <a:lnTo>
                  <a:pt x="832" y="1078"/>
                </a:lnTo>
                <a:lnTo>
                  <a:pt x="832" y="1078"/>
                </a:lnTo>
                <a:lnTo>
                  <a:pt x="834" y="1080"/>
                </a:lnTo>
                <a:lnTo>
                  <a:pt x="834" y="1080"/>
                </a:lnTo>
                <a:lnTo>
                  <a:pt x="832" y="1086"/>
                </a:lnTo>
                <a:lnTo>
                  <a:pt x="832" y="1086"/>
                </a:lnTo>
                <a:lnTo>
                  <a:pt x="838" y="1084"/>
                </a:lnTo>
                <a:lnTo>
                  <a:pt x="838" y="1084"/>
                </a:lnTo>
                <a:lnTo>
                  <a:pt x="838" y="1082"/>
                </a:lnTo>
                <a:lnTo>
                  <a:pt x="838" y="1082"/>
                </a:lnTo>
                <a:lnTo>
                  <a:pt x="838" y="1084"/>
                </a:lnTo>
                <a:lnTo>
                  <a:pt x="838" y="1084"/>
                </a:lnTo>
                <a:lnTo>
                  <a:pt x="838" y="1084"/>
                </a:lnTo>
                <a:lnTo>
                  <a:pt x="838" y="1084"/>
                </a:lnTo>
                <a:lnTo>
                  <a:pt x="834" y="1094"/>
                </a:lnTo>
                <a:lnTo>
                  <a:pt x="834" y="1094"/>
                </a:lnTo>
                <a:lnTo>
                  <a:pt x="840" y="1084"/>
                </a:lnTo>
                <a:lnTo>
                  <a:pt x="840" y="1084"/>
                </a:lnTo>
                <a:lnTo>
                  <a:pt x="844" y="1088"/>
                </a:lnTo>
                <a:lnTo>
                  <a:pt x="844" y="1088"/>
                </a:lnTo>
                <a:lnTo>
                  <a:pt x="842" y="1088"/>
                </a:lnTo>
                <a:lnTo>
                  <a:pt x="842" y="1088"/>
                </a:lnTo>
                <a:lnTo>
                  <a:pt x="842" y="1088"/>
                </a:lnTo>
                <a:lnTo>
                  <a:pt x="842" y="1088"/>
                </a:lnTo>
                <a:lnTo>
                  <a:pt x="842" y="1090"/>
                </a:lnTo>
                <a:lnTo>
                  <a:pt x="842" y="1090"/>
                </a:lnTo>
                <a:lnTo>
                  <a:pt x="838" y="1096"/>
                </a:lnTo>
                <a:lnTo>
                  <a:pt x="838" y="1096"/>
                </a:lnTo>
                <a:lnTo>
                  <a:pt x="838" y="1098"/>
                </a:lnTo>
                <a:lnTo>
                  <a:pt x="838" y="1098"/>
                </a:lnTo>
                <a:lnTo>
                  <a:pt x="838" y="1098"/>
                </a:lnTo>
                <a:lnTo>
                  <a:pt x="838" y="1098"/>
                </a:lnTo>
                <a:lnTo>
                  <a:pt x="834" y="1104"/>
                </a:lnTo>
                <a:lnTo>
                  <a:pt x="834" y="1104"/>
                </a:lnTo>
                <a:lnTo>
                  <a:pt x="834" y="1104"/>
                </a:lnTo>
                <a:lnTo>
                  <a:pt x="834" y="1104"/>
                </a:lnTo>
                <a:lnTo>
                  <a:pt x="834" y="1104"/>
                </a:lnTo>
                <a:lnTo>
                  <a:pt x="834" y="1104"/>
                </a:lnTo>
                <a:lnTo>
                  <a:pt x="830" y="1110"/>
                </a:lnTo>
                <a:lnTo>
                  <a:pt x="830" y="1110"/>
                </a:lnTo>
                <a:lnTo>
                  <a:pt x="832" y="1106"/>
                </a:lnTo>
                <a:lnTo>
                  <a:pt x="832" y="1106"/>
                </a:lnTo>
                <a:lnTo>
                  <a:pt x="830" y="1106"/>
                </a:lnTo>
                <a:lnTo>
                  <a:pt x="830" y="1106"/>
                </a:lnTo>
                <a:lnTo>
                  <a:pt x="830" y="1110"/>
                </a:lnTo>
                <a:lnTo>
                  <a:pt x="830" y="1110"/>
                </a:lnTo>
                <a:lnTo>
                  <a:pt x="830" y="1108"/>
                </a:lnTo>
                <a:lnTo>
                  <a:pt x="830" y="1108"/>
                </a:lnTo>
                <a:lnTo>
                  <a:pt x="830" y="1108"/>
                </a:lnTo>
                <a:lnTo>
                  <a:pt x="830" y="1108"/>
                </a:lnTo>
                <a:lnTo>
                  <a:pt x="830" y="1108"/>
                </a:lnTo>
                <a:lnTo>
                  <a:pt x="830" y="1108"/>
                </a:lnTo>
                <a:lnTo>
                  <a:pt x="830" y="1108"/>
                </a:lnTo>
                <a:lnTo>
                  <a:pt x="830" y="1108"/>
                </a:lnTo>
                <a:lnTo>
                  <a:pt x="830" y="1108"/>
                </a:lnTo>
                <a:lnTo>
                  <a:pt x="830" y="1108"/>
                </a:lnTo>
                <a:lnTo>
                  <a:pt x="826" y="1114"/>
                </a:lnTo>
                <a:lnTo>
                  <a:pt x="826" y="1114"/>
                </a:lnTo>
                <a:lnTo>
                  <a:pt x="826" y="1114"/>
                </a:lnTo>
                <a:lnTo>
                  <a:pt x="826" y="1114"/>
                </a:lnTo>
                <a:lnTo>
                  <a:pt x="826" y="1116"/>
                </a:lnTo>
                <a:lnTo>
                  <a:pt x="826" y="1116"/>
                </a:lnTo>
                <a:lnTo>
                  <a:pt x="826" y="1120"/>
                </a:lnTo>
                <a:lnTo>
                  <a:pt x="826" y="1120"/>
                </a:lnTo>
                <a:lnTo>
                  <a:pt x="824" y="1120"/>
                </a:lnTo>
                <a:lnTo>
                  <a:pt x="824" y="1120"/>
                </a:lnTo>
                <a:lnTo>
                  <a:pt x="824" y="1122"/>
                </a:lnTo>
                <a:lnTo>
                  <a:pt x="824" y="1122"/>
                </a:lnTo>
                <a:lnTo>
                  <a:pt x="824" y="1122"/>
                </a:lnTo>
                <a:lnTo>
                  <a:pt x="824" y="1122"/>
                </a:lnTo>
                <a:lnTo>
                  <a:pt x="824" y="1120"/>
                </a:lnTo>
                <a:lnTo>
                  <a:pt x="824" y="1120"/>
                </a:lnTo>
                <a:lnTo>
                  <a:pt x="824" y="1120"/>
                </a:lnTo>
                <a:lnTo>
                  <a:pt x="824" y="1120"/>
                </a:lnTo>
                <a:lnTo>
                  <a:pt x="824" y="1120"/>
                </a:lnTo>
                <a:lnTo>
                  <a:pt x="824" y="1120"/>
                </a:lnTo>
                <a:lnTo>
                  <a:pt x="824" y="1122"/>
                </a:lnTo>
                <a:lnTo>
                  <a:pt x="824" y="1122"/>
                </a:lnTo>
                <a:lnTo>
                  <a:pt x="822" y="1118"/>
                </a:lnTo>
                <a:lnTo>
                  <a:pt x="824" y="1116"/>
                </a:lnTo>
                <a:lnTo>
                  <a:pt x="824" y="1116"/>
                </a:lnTo>
                <a:close/>
                <a:moveTo>
                  <a:pt x="820" y="1136"/>
                </a:moveTo>
                <a:lnTo>
                  <a:pt x="820" y="1136"/>
                </a:lnTo>
                <a:lnTo>
                  <a:pt x="820" y="1134"/>
                </a:lnTo>
                <a:lnTo>
                  <a:pt x="820" y="1134"/>
                </a:lnTo>
                <a:lnTo>
                  <a:pt x="820" y="1134"/>
                </a:lnTo>
                <a:lnTo>
                  <a:pt x="820" y="1134"/>
                </a:lnTo>
                <a:lnTo>
                  <a:pt x="820" y="1132"/>
                </a:lnTo>
                <a:lnTo>
                  <a:pt x="820" y="1132"/>
                </a:lnTo>
                <a:lnTo>
                  <a:pt x="822" y="1128"/>
                </a:lnTo>
                <a:lnTo>
                  <a:pt x="822" y="1128"/>
                </a:lnTo>
                <a:lnTo>
                  <a:pt x="822" y="1128"/>
                </a:lnTo>
                <a:lnTo>
                  <a:pt x="822" y="1128"/>
                </a:lnTo>
                <a:lnTo>
                  <a:pt x="820" y="1132"/>
                </a:lnTo>
                <a:lnTo>
                  <a:pt x="820" y="1132"/>
                </a:lnTo>
                <a:lnTo>
                  <a:pt x="822" y="1130"/>
                </a:lnTo>
                <a:lnTo>
                  <a:pt x="822" y="1130"/>
                </a:lnTo>
                <a:lnTo>
                  <a:pt x="820" y="1134"/>
                </a:lnTo>
                <a:lnTo>
                  <a:pt x="820" y="1134"/>
                </a:lnTo>
                <a:lnTo>
                  <a:pt x="820" y="1134"/>
                </a:lnTo>
                <a:lnTo>
                  <a:pt x="820" y="1134"/>
                </a:lnTo>
                <a:lnTo>
                  <a:pt x="820" y="1136"/>
                </a:lnTo>
                <a:lnTo>
                  <a:pt x="820" y="1136"/>
                </a:lnTo>
                <a:close/>
                <a:moveTo>
                  <a:pt x="846" y="1090"/>
                </a:moveTo>
                <a:lnTo>
                  <a:pt x="846" y="1090"/>
                </a:lnTo>
                <a:lnTo>
                  <a:pt x="848" y="1090"/>
                </a:lnTo>
                <a:lnTo>
                  <a:pt x="848" y="1090"/>
                </a:lnTo>
                <a:lnTo>
                  <a:pt x="848" y="1090"/>
                </a:lnTo>
                <a:lnTo>
                  <a:pt x="848" y="1090"/>
                </a:lnTo>
                <a:lnTo>
                  <a:pt x="846" y="1090"/>
                </a:lnTo>
                <a:lnTo>
                  <a:pt x="846" y="1090"/>
                </a:lnTo>
                <a:close/>
                <a:moveTo>
                  <a:pt x="972" y="1058"/>
                </a:moveTo>
                <a:lnTo>
                  <a:pt x="972" y="1058"/>
                </a:lnTo>
                <a:lnTo>
                  <a:pt x="968" y="1054"/>
                </a:lnTo>
                <a:lnTo>
                  <a:pt x="968" y="1054"/>
                </a:lnTo>
                <a:lnTo>
                  <a:pt x="970" y="1052"/>
                </a:lnTo>
                <a:lnTo>
                  <a:pt x="972" y="1050"/>
                </a:lnTo>
                <a:lnTo>
                  <a:pt x="978" y="1050"/>
                </a:lnTo>
                <a:lnTo>
                  <a:pt x="978" y="1050"/>
                </a:lnTo>
                <a:lnTo>
                  <a:pt x="986" y="1052"/>
                </a:lnTo>
                <a:lnTo>
                  <a:pt x="992" y="1052"/>
                </a:lnTo>
                <a:lnTo>
                  <a:pt x="992" y="1052"/>
                </a:lnTo>
                <a:lnTo>
                  <a:pt x="998" y="1050"/>
                </a:lnTo>
                <a:lnTo>
                  <a:pt x="1002" y="1052"/>
                </a:lnTo>
                <a:lnTo>
                  <a:pt x="1006" y="1054"/>
                </a:lnTo>
                <a:lnTo>
                  <a:pt x="1006" y="1054"/>
                </a:lnTo>
                <a:lnTo>
                  <a:pt x="1012" y="1058"/>
                </a:lnTo>
                <a:lnTo>
                  <a:pt x="1018" y="1058"/>
                </a:lnTo>
                <a:lnTo>
                  <a:pt x="1018" y="1058"/>
                </a:lnTo>
                <a:lnTo>
                  <a:pt x="1022" y="1060"/>
                </a:lnTo>
                <a:lnTo>
                  <a:pt x="1024" y="1066"/>
                </a:lnTo>
                <a:lnTo>
                  <a:pt x="1024" y="1066"/>
                </a:lnTo>
                <a:lnTo>
                  <a:pt x="1030" y="1064"/>
                </a:lnTo>
                <a:lnTo>
                  <a:pt x="1034" y="1062"/>
                </a:lnTo>
                <a:lnTo>
                  <a:pt x="1034" y="1062"/>
                </a:lnTo>
                <a:lnTo>
                  <a:pt x="1034" y="1080"/>
                </a:lnTo>
                <a:lnTo>
                  <a:pt x="1034" y="1080"/>
                </a:lnTo>
                <a:lnTo>
                  <a:pt x="1030" y="1080"/>
                </a:lnTo>
                <a:lnTo>
                  <a:pt x="1030" y="1080"/>
                </a:lnTo>
                <a:lnTo>
                  <a:pt x="1024" y="1066"/>
                </a:lnTo>
                <a:lnTo>
                  <a:pt x="1024" y="1066"/>
                </a:lnTo>
                <a:lnTo>
                  <a:pt x="1022" y="1068"/>
                </a:lnTo>
                <a:lnTo>
                  <a:pt x="1022" y="1068"/>
                </a:lnTo>
                <a:lnTo>
                  <a:pt x="1018" y="1060"/>
                </a:lnTo>
                <a:lnTo>
                  <a:pt x="1018" y="1060"/>
                </a:lnTo>
                <a:lnTo>
                  <a:pt x="998" y="1058"/>
                </a:lnTo>
                <a:lnTo>
                  <a:pt x="998" y="1058"/>
                </a:lnTo>
                <a:lnTo>
                  <a:pt x="972" y="1058"/>
                </a:lnTo>
                <a:lnTo>
                  <a:pt x="972" y="1058"/>
                </a:lnTo>
                <a:lnTo>
                  <a:pt x="974" y="1058"/>
                </a:lnTo>
                <a:lnTo>
                  <a:pt x="974" y="1058"/>
                </a:lnTo>
                <a:lnTo>
                  <a:pt x="976" y="1062"/>
                </a:lnTo>
                <a:lnTo>
                  <a:pt x="976" y="1062"/>
                </a:lnTo>
                <a:lnTo>
                  <a:pt x="984" y="1066"/>
                </a:lnTo>
                <a:lnTo>
                  <a:pt x="984" y="1066"/>
                </a:lnTo>
                <a:lnTo>
                  <a:pt x="976" y="1070"/>
                </a:lnTo>
                <a:lnTo>
                  <a:pt x="976" y="1070"/>
                </a:lnTo>
                <a:lnTo>
                  <a:pt x="974" y="1074"/>
                </a:lnTo>
                <a:lnTo>
                  <a:pt x="974" y="1074"/>
                </a:lnTo>
                <a:lnTo>
                  <a:pt x="972" y="1072"/>
                </a:lnTo>
                <a:lnTo>
                  <a:pt x="972" y="1072"/>
                </a:lnTo>
                <a:lnTo>
                  <a:pt x="968" y="1074"/>
                </a:lnTo>
                <a:lnTo>
                  <a:pt x="968" y="1074"/>
                </a:lnTo>
                <a:lnTo>
                  <a:pt x="962" y="1068"/>
                </a:lnTo>
                <a:lnTo>
                  <a:pt x="952" y="1062"/>
                </a:lnTo>
                <a:lnTo>
                  <a:pt x="952" y="1062"/>
                </a:lnTo>
                <a:lnTo>
                  <a:pt x="954" y="1062"/>
                </a:lnTo>
                <a:lnTo>
                  <a:pt x="954" y="1062"/>
                </a:lnTo>
                <a:lnTo>
                  <a:pt x="954" y="1062"/>
                </a:lnTo>
                <a:lnTo>
                  <a:pt x="954" y="1062"/>
                </a:lnTo>
                <a:lnTo>
                  <a:pt x="950" y="1062"/>
                </a:lnTo>
                <a:lnTo>
                  <a:pt x="948" y="1060"/>
                </a:lnTo>
                <a:lnTo>
                  <a:pt x="946" y="1054"/>
                </a:lnTo>
                <a:lnTo>
                  <a:pt x="946" y="1054"/>
                </a:lnTo>
                <a:lnTo>
                  <a:pt x="960" y="1056"/>
                </a:lnTo>
                <a:lnTo>
                  <a:pt x="972" y="1058"/>
                </a:lnTo>
                <a:lnTo>
                  <a:pt x="972" y="1058"/>
                </a:lnTo>
                <a:close/>
                <a:moveTo>
                  <a:pt x="990" y="994"/>
                </a:moveTo>
                <a:lnTo>
                  <a:pt x="990" y="994"/>
                </a:lnTo>
                <a:lnTo>
                  <a:pt x="990" y="994"/>
                </a:lnTo>
                <a:lnTo>
                  <a:pt x="990" y="994"/>
                </a:lnTo>
                <a:lnTo>
                  <a:pt x="990" y="994"/>
                </a:lnTo>
                <a:lnTo>
                  <a:pt x="990" y="994"/>
                </a:lnTo>
                <a:lnTo>
                  <a:pt x="990" y="998"/>
                </a:lnTo>
                <a:lnTo>
                  <a:pt x="990" y="998"/>
                </a:lnTo>
                <a:lnTo>
                  <a:pt x="988" y="1002"/>
                </a:lnTo>
                <a:lnTo>
                  <a:pt x="984" y="1002"/>
                </a:lnTo>
                <a:lnTo>
                  <a:pt x="984" y="1002"/>
                </a:lnTo>
                <a:lnTo>
                  <a:pt x="988" y="1000"/>
                </a:lnTo>
                <a:lnTo>
                  <a:pt x="990" y="998"/>
                </a:lnTo>
                <a:lnTo>
                  <a:pt x="990" y="998"/>
                </a:lnTo>
                <a:lnTo>
                  <a:pt x="990" y="994"/>
                </a:lnTo>
                <a:lnTo>
                  <a:pt x="990" y="994"/>
                </a:lnTo>
                <a:lnTo>
                  <a:pt x="980" y="996"/>
                </a:lnTo>
                <a:lnTo>
                  <a:pt x="968" y="992"/>
                </a:lnTo>
                <a:lnTo>
                  <a:pt x="968" y="992"/>
                </a:lnTo>
                <a:lnTo>
                  <a:pt x="968" y="992"/>
                </a:lnTo>
                <a:lnTo>
                  <a:pt x="968" y="992"/>
                </a:lnTo>
                <a:lnTo>
                  <a:pt x="980" y="996"/>
                </a:lnTo>
                <a:lnTo>
                  <a:pt x="990" y="994"/>
                </a:lnTo>
                <a:lnTo>
                  <a:pt x="990" y="994"/>
                </a:lnTo>
                <a:close/>
                <a:moveTo>
                  <a:pt x="960" y="994"/>
                </a:moveTo>
                <a:lnTo>
                  <a:pt x="960" y="994"/>
                </a:lnTo>
                <a:lnTo>
                  <a:pt x="968" y="998"/>
                </a:lnTo>
                <a:lnTo>
                  <a:pt x="968" y="998"/>
                </a:lnTo>
                <a:lnTo>
                  <a:pt x="968" y="998"/>
                </a:lnTo>
                <a:lnTo>
                  <a:pt x="968" y="998"/>
                </a:lnTo>
                <a:lnTo>
                  <a:pt x="968" y="998"/>
                </a:lnTo>
                <a:lnTo>
                  <a:pt x="968" y="998"/>
                </a:lnTo>
                <a:lnTo>
                  <a:pt x="966" y="1000"/>
                </a:lnTo>
                <a:lnTo>
                  <a:pt x="964" y="1002"/>
                </a:lnTo>
                <a:lnTo>
                  <a:pt x="964" y="1002"/>
                </a:lnTo>
                <a:lnTo>
                  <a:pt x="956" y="1004"/>
                </a:lnTo>
                <a:lnTo>
                  <a:pt x="956" y="1004"/>
                </a:lnTo>
                <a:lnTo>
                  <a:pt x="964" y="1002"/>
                </a:lnTo>
                <a:lnTo>
                  <a:pt x="964" y="1002"/>
                </a:lnTo>
                <a:lnTo>
                  <a:pt x="966" y="1000"/>
                </a:lnTo>
                <a:lnTo>
                  <a:pt x="968" y="998"/>
                </a:lnTo>
                <a:lnTo>
                  <a:pt x="968" y="998"/>
                </a:lnTo>
                <a:lnTo>
                  <a:pt x="960" y="994"/>
                </a:lnTo>
                <a:lnTo>
                  <a:pt x="960" y="994"/>
                </a:lnTo>
                <a:lnTo>
                  <a:pt x="954" y="994"/>
                </a:lnTo>
                <a:lnTo>
                  <a:pt x="954" y="994"/>
                </a:lnTo>
                <a:lnTo>
                  <a:pt x="960" y="994"/>
                </a:lnTo>
                <a:lnTo>
                  <a:pt x="960" y="994"/>
                </a:lnTo>
                <a:close/>
                <a:moveTo>
                  <a:pt x="950" y="1004"/>
                </a:moveTo>
                <a:lnTo>
                  <a:pt x="950" y="1004"/>
                </a:lnTo>
                <a:lnTo>
                  <a:pt x="956" y="1004"/>
                </a:lnTo>
                <a:lnTo>
                  <a:pt x="956" y="1004"/>
                </a:lnTo>
                <a:lnTo>
                  <a:pt x="950" y="1004"/>
                </a:lnTo>
                <a:lnTo>
                  <a:pt x="950" y="1004"/>
                </a:lnTo>
                <a:close/>
                <a:moveTo>
                  <a:pt x="932" y="1014"/>
                </a:moveTo>
                <a:lnTo>
                  <a:pt x="932" y="1014"/>
                </a:lnTo>
                <a:lnTo>
                  <a:pt x="928" y="1014"/>
                </a:lnTo>
                <a:lnTo>
                  <a:pt x="928" y="1014"/>
                </a:lnTo>
                <a:lnTo>
                  <a:pt x="922" y="1016"/>
                </a:lnTo>
                <a:lnTo>
                  <a:pt x="916" y="1016"/>
                </a:lnTo>
                <a:lnTo>
                  <a:pt x="908" y="1016"/>
                </a:lnTo>
                <a:lnTo>
                  <a:pt x="902" y="1016"/>
                </a:lnTo>
                <a:lnTo>
                  <a:pt x="902" y="1016"/>
                </a:lnTo>
                <a:lnTo>
                  <a:pt x="898" y="1014"/>
                </a:lnTo>
                <a:lnTo>
                  <a:pt x="898" y="1014"/>
                </a:lnTo>
                <a:lnTo>
                  <a:pt x="908" y="1008"/>
                </a:lnTo>
                <a:lnTo>
                  <a:pt x="918" y="1006"/>
                </a:lnTo>
                <a:lnTo>
                  <a:pt x="918" y="1006"/>
                </a:lnTo>
                <a:lnTo>
                  <a:pt x="936" y="1006"/>
                </a:lnTo>
                <a:lnTo>
                  <a:pt x="936" y="1006"/>
                </a:lnTo>
                <a:lnTo>
                  <a:pt x="948" y="1004"/>
                </a:lnTo>
                <a:lnTo>
                  <a:pt x="948" y="1004"/>
                </a:lnTo>
                <a:lnTo>
                  <a:pt x="942" y="1010"/>
                </a:lnTo>
                <a:lnTo>
                  <a:pt x="938" y="1012"/>
                </a:lnTo>
                <a:lnTo>
                  <a:pt x="932" y="1014"/>
                </a:lnTo>
                <a:lnTo>
                  <a:pt x="932" y="1014"/>
                </a:lnTo>
                <a:close/>
                <a:moveTo>
                  <a:pt x="940" y="996"/>
                </a:moveTo>
                <a:lnTo>
                  <a:pt x="940" y="996"/>
                </a:lnTo>
                <a:lnTo>
                  <a:pt x="940" y="996"/>
                </a:lnTo>
                <a:lnTo>
                  <a:pt x="940" y="996"/>
                </a:lnTo>
                <a:lnTo>
                  <a:pt x="940" y="998"/>
                </a:lnTo>
                <a:lnTo>
                  <a:pt x="940" y="998"/>
                </a:lnTo>
                <a:lnTo>
                  <a:pt x="934" y="1000"/>
                </a:lnTo>
                <a:lnTo>
                  <a:pt x="934" y="1000"/>
                </a:lnTo>
                <a:lnTo>
                  <a:pt x="934" y="998"/>
                </a:lnTo>
                <a:lnTo>
                  <a:pt x="934" y="998"/>
                </a:lnTo>
                <a:lnTo>
                  <a:pt x="940" y="998"/>
                </a:lnTo>
                <a:lnTo>
                  <a:pt x="940" y="998"/>
                </a:lnTo>
                <a:lnTo>
                  <a:pt x="940" y="996"/>
                </a:lnTo>
                <a:lnTo>
                  <a:pt x="940" y="996"/>
                </a:lnTo>
                <a:close/>
                <a:moveTo>
                  <a:pt x="924" y="940"/>
                </a:moveTo>
                <a:lnTo>
                  <a:pt x="924" y="940"/>
                </a:lnTo>
                <a:lnTo>
                  <a:pt x="924" y="940"/>
                </a:lnTo>
                <a:lnTo>
                  <a:pt x="924" y="940"/>
                </a:lnTo>
                <a:lnTo>
                  <a:pt x="938" y="932"/>
                </a:lnTo>
                <a:lnTo>
                  <a:pt x="938" y="932"/>
                </a:lnTo>
                <a:lnTo>
                  <a:pt x="928" y="932"/>
                </a:lnTo>
                <a:lnTo>
                  <a:pt x="920" y="932"/>
                </a:lnTo>
                <a:lnTo>
                  <a:pt x="920" y="932"/>
                </a:lnTo>
                <a:lnTo>
                  <a:pt x="928" y="932"/>
                </a:lnTo>
                <a:lnTo>
                  <a:pt x="938" y="932"/>
                </a:lnTo>
                <a:lnTo>
                  <a:pt x="938" y="932"/>
                </a:lnTo>
                <a:lnTo>
                  <a:pt x="924" y="940"/>
                </a:lnTo>
                <a:lnTo>
                  <a:pt x="924" y="940"/>
                </a:lnTo>
                <a:close/>
                <a:moveTo>
                  <a:pt x="944" y="982"/>
                </a:moveTo>
                <a:lnTo>
                  <a:pt x="944" y="982"/>
                </a:lnTo>
                <a:lnTo>
                  <a:pt x="938" y="982"/>
                </a:lnTo>
                <a:lnTo>
                  <a:pt x="938" y="982"/>
                </a:lnTo>
                <a:lnTo>
                  <a:pt x="938" y="982"/>
                </a:lnTo>
                <a:lnTo>
                  <a:pt x="938" y="982"/>
                </a:lnTo>
                <a:lnTo>
                  <a:pt x="944" y="982"/>
                </a:lnTo>
                <a:lnTo>
                  <a:pt x="944" y="982"/>
                </a:lnTo>
                <a:lnTo>
                  <a:pt x="944" y="980"/>
                </a:lnTo>
                <a:lnTo>
                  <a:pt x="944" y="980"/>
                </a:lnTo>
                <a:lnTo>
                  <a:pt x="944" y="980"/>
                </a:lnTo>
                <a:lnTo>
                  <a:pt x="944" y="980"/>
                </a:lnTo>
                <a:lnTo>
                  <a:pt x="944" y="982"/>
                </a:lnTo>
                <a:lnTo>
                  <a:pt x="944" y="982"/>
                </a:lnTo>
                <a:close/>
                <a:moveTo>
                  <a:pt x="938" y="956"/>
                </a:moveTo>
                <a:lnTo>
                  <a:pt x="938" y="956"/>
                </a:lnTo>
                <a:lnTo>
                  <a:pt x="938" y="956"/>
                </a:lnTo>
                <a:lnTo>
                  <a:pt x="938" y="956"/>
                </a:lnTo>
                <a:lnTo>
                  <a:pt x="948" y="954"/>
                </a:lnTo>
                <a:lnTo>
                  <a:pt x="948" y="954"/>
                </a:lnTo>
                <a:lnTo>
                  <a:pt x="944" y="952"/>
                </a:lnTo>
                <a:lnTo>
                  <a:pt x="944" y="952"/>
                </a:lnTo>
                <a:lnTo>
                  <a:pt x="948" y="954"/>
                </a:lnTo>
                <a:lnTo>
                  <a:pt x="948" y="954"/>
                </a:lnTo>
                <a:lnTo>
                  <a:pt x="938" y="956"/>
                </a:lnTo>
                <a:lnTo>
                  <a:pt x="938" y="956"/>
                </a:lnTo>
                <a:close/>
                <a:moveTo>
                  <a:pt x="958" y="944"/>
                </a:moveTo>
                <a:lnTo>
                  <a:pt x="958" y="944"/>
                </a:lnTo>
                <a:lnTo>
                  <a:pt x="958" y="944"/>
                </a:lnTo>
                <a:lnTo>
                  <a:pt x="958" y="944"/>
                </a:lnTo>
                <a:lnTo>
                  <a:pt x="958" y="946"/>
                </a:lnTo>
                <a:lnTo>
                  <a:pt x="958" y="946"/>
                </a:lnTo>
                <a:lnTo>
                  <a:pt x="956" y="948"/>
                </a:lnTo>
                <a:lnTo>
                  <a:pt x="952" y="948"/>
                </a:lnTo>
                <a:lnTo>
                  <a:pt x="944" y="946"/>
                </a:lnTo>
                <a:lnTo>
                  <a:pt x="944" y="946"/>
                </a:lnTo>
                <a:lnTo>
                  <a:pt x="944" y="946"/>
                </a:lnTo>
                <a:lnTo>
                  <a:pt x="944" y="946"/>
                </a:lnTo>
                <a:lnTo>
                  <a:pt x="952" y="948"/>
                </a:lnTo>
                <a:lnTo>
                  <a:pt x="956" y="948"/>
                </a:lnTo>
                <a:lnTo>
                  <a:pt x="958" y="946"/>
                </a:lnTo>
                <a:lnTo>
                  <a:pt x="958" y="946"/>
                </a:lnTo>
                <a:lnTo>
                  <a:pt x="958" y="944"/>
                </a:lnTo>
                <a:lnTo>
                  <a:pt x="958" y="944"/>
                </a:lnTo>
                <a:close/>
                <a:moveTo>
                  <a:pt x="952" y="978"/>
                </a:moveTo>
                <a:lnTo>
                  <a:pt x="952" y="978"/>
                </a:lnTo>
                <a:lnTo>
                  <a:pt x="950" y="974"/>
                </a:lnTo>
                <a:lnTo>
                  <a:pt x="950" y="974"/>
                </a:lnTo>
                <a:lnTo>
                  <a:pt x="950" y="974"/>
                </a:lnTo>
                <a:lnTo>
                  <a:pt x="952" y="978"/>
                </a:lnTo>
                <a:lnTo>
                  <a:pt x="952" y="978"/>
                </a:lnTo>
                <a:lnTo>
                  <a:pt x="952" y="978"/>
                </a:lnTo>
                <a:lnTo>
                  <a:pt x="952" y="978"/>
                </a:lnTo>
                <a:close/>
                <a:moveTo>
                  <a:pt x="972" y="968"/>
                </a:moveTo>
                <a:lnTo>
                  <a:pt x="972" y="968"/>
                </a:lnTo>
                <a:lnTo>
                  <a:pt x="966" y="972"/>
                </a:lnTo>
                <a:lnTo>
                  <a:pt x="962" y="974"/>
                </a:lnTo>
                <a:lnTo>
                  <a:pt x="958" y="972"/>
                </a:lnTo>
                <a:lnTo>
                  <a:pt x="958" y="972"/>
                </a:lnTo>
                <a:lnTo>
                  <a:pt x="950" y="974"/>
                </a:lnTo>
                <a:lnTo>
                  <a:pt x="950" y="974"/>
                </a:lnTo>
                <a:lnTo>
                  <a:pt x="950" y="974"/>
                </a:lnTo>
                <a:lnTo>
                  <a:pt x="950" y="974"/>
                </a:lnTo>
                <a:lnTo>
                  <a:pt x="958" y="972"/>
                </a:lnTo>
                <a:lnTo>
                  <a:pt x="958" y="972"/>
                </a:lnTo>
                <a:lnTo>
                  <a:pt x="962" y="974"/>
                </a:lnTo>
                <a:lnTo>
                  <a:pt x="966" y="972"/>
                </a:lnTo>
                <a:lnTo>
                  <a:pt x="972" y="968"/>
                </a:lnTo>
                <a:lnTo>
                  <a:pt x="972" y="968"/>
                </a:lnTo>
                <a:lnTo>
                  <a:pt x="970" y="966"/>
                </a:lnTo>
                <a:lnTo>
                  <a:pt x="970" y="966"/>
                </a:lnTo>
                <a:lnTo>
                  <a:pt x="972" y="968"/>
                </a:lnTo>
                <a:lnTo>
                  <a:pt x="972" y="968"/>
                </a:lnTo>
                <a:close/>
                <a:moveTo>
                  <a:pt x="976" y="950"/>
                </a:moveTo>
                <a:lnTo>
                  <a:pt x="976" y="950"/>
                </a:lnTo>
                <a:lnTo>
                  <a:pt x="976" y="950"/>
                </a:lnTo>
                <a:lnTo>
                  <a:pt x="976" y="950"/>
                </a:lnTo>
                <a:lnTo>
                  <a:pt x="978" y="946"/>
                </a:lnTo>
                <a:lnTo>
                  <a:pt x="974" y="944"/>
                </a:lnTo>
                <a:lnTo>
                  <a:pt x="974" y="944"/>
                </a:lnTo>
                <a:lnTo>
                  <a:pt x="970" y="944"/>
                </a:lnTo>
                <a:lnTo>
                  <a:pt x="966" y="944"/>
                </a:lnTo>
                <a:lnTo>
                  <a:pt x="962" y="950"/>
                </a:lnTo>
                <a:lnTo>
                  <a:pt x="962" y="950"/>
                </a:lnTo>
                <a:lnTo>
                  <a:pt x="962" y="950"/>
                </a:lnTo>
                <a:lnTo>
                  <a:pt x="966" y="944"/>
                </a:lnTo>
                <a:lnTo>
                  <a:pt x="970" y="944"/>
                </a:lnTo>
                <a:lnTo>
                  <a:pt x="974" y="944"/>
                </a:lnTo>
                <a:lnTo>
                  <a:pt x="974" y="944"/>
                </a:lnTo>
                <a:lnTo>
                  <a:pt x="978" y="946"/>
                </a:lnTo>
                <a:lnTo>
                  <a:pt x="976" y="950"/>
                </a:lnTo>
                <a:lnTo>
                  <a:pt x="976" y="950"/>
                </a:lnTo>
                <a:close/>
                <a:moveTo>
                  <a:pt x="954" y="928"/>
                </a:moveTo>
                <a:lnTo>
                  <a:pt x="954" y="928"/>
                </a:lnTo>
                <a:lnTo>
                  <a:pt x="946" y="928"/>
                </a:lnTo>
                <a:lnTo>
                  <a:pt x="946" y="928"/>
                </a:lnTo>
                <a:lnTo>
                  <a:pt x="920" y="922"/>
                </a:lnTo>
                <a:lnTo>
                  <a:pt x="920" y="922"/>
                </a:lnTo>
                <a:lnTo>
                  <a:pt x="924" y="918"/>
                </a:lnTo>
                <a:lnTo>
                  <a:pt x="926" y="918"/>
                </a:lnTo>
                <a:lnTo>
                  <a:pt x="932" y="918"/>
                </a:lnTo>
                <a:lnTo>
                  <a:pt x="938" y="920"/>
                </a:lnTo>
                <a:lnTo>
                  <a:pt x="938" y="920"/>
                </a:lnTo>
                <a:lnTo>
                  <a:pt x="944" y="916"/>
                </a:lnTo>
                <a:lnTo>
                  <a:pt x="950" y="916"/>
                </a:lnTo>
                <a:lnTo>
                  <a:pt x="962" y="920"/>
                </a:lnTo>
                <a:lnTo>
                  <a:pt x="962" y="920"/>
                </a:lnTo>
                <a:lnTo>
                  <a:pt x="972" y="922"/>
                </a:lnTo>
                <a:lnTo>
                  <a:pt x="972" y="922"/>
                </a:lnTo>
                <a:lnTo>
                  <a:pt x="990" y="920"/>
                </a:lnTo>
                <a:lnTo>
                  <a:pt x="990" y="920"/>
                </a:lnTo>
                <a:lnTo>
                  <a:pt x="988" y="924"/>
                </a:lnTo>
                <a:lnTo>
                  <a:pt x="986" y="924"/>
                </a:lnTo>
                <a:lnTo>
                  <a:pt x="980" y="926"/>
                </a:lnTo>
                <a:lnTo>
                  <a:pt x="980" y="926"/>
                </a:lnTo>
                <a:lnTo>
                  <a:pt x="966" y="926"/>
                </a:lnTo>
                <a:lnTo>
                  <a:pt x="954" y="928"/>
                </a:lnTo>
                <a:lnTo>
                  <a:pt x="954" y="928"/>
                </a:lnTo>
                <a:close/>
                <a:moveTo>
                  <a:pt x="986" y="942"/>
                </a:moveTo>
                <a:lnTo>
                  <a:pt x="986" y="942"/>
                </a:lnTo>
                <a:lnTo>
                  <a:pt x="986" y="942"/>
                </a:lnTo>
                <a:lnTo>
                  <a:pt x="986" y="942"/>
                </a:lnTo>
                <a:lnTo>
                  <a:pt x="990" y="940"/>
                </a:lnTo>
                <a:lnTo>
                  <a:pt x="990" y="940"/>
                </a:lnTo>
                <a:lnTo>
                  <a:pt x="990" y="938"/>
                </a:lnTo>
                <a:lnTo>
                  <a:pt x="990" y="938"/>
                </a:lnTo>
                <a:lnTo>
                  <a:pt x="990" y="938"/>
                </a:lnTo>
                <a:lnTo>
                  <a:pt x="990" y="938"/>
                </a:lnTo>
                <a:lnTo>
                  <a:pt x="992" y="940"/>
                </a:lnTo>
                <a:lnTo>
                  <a:pt x="992" y="940"/>
                </a:lnTo>
                <a:lnTo>
                  <a:pt x="986" y="942"/>
                </a:lnTo>
                <a:lnTo>
                  <a:pt x="986" y="942"/>
                </a:lnTo>
                <a:close/>
                <a:moveTo>
                  <a:pt x="1010" y="956"/>
                </a:moveTo>
                <a:lnTo>
                  <a:pt x="1010" y="956"/>
                </a:lnTo>
                <a:lnTo>
                  <a:pt x="1010" y="956"/>
                </a:lnTo>
                <a:lnTo>
                  <a:pt x="1010" y="956"/>
                </a:lnTo>
                <a:lnTo>
                  <a:pt x="1010" y="956"/>
                </a:lnTo>
                <a:lnTo>
                  <a:pt x="1012" y="952"/>
                </a:lnTo>
                <a:lnTo>
                  <a:pt x="1008" y="950"/>
                </a:lnTo>
                <a:lnTo>
                  <a:pt x="1008" y="950"/>
                </a:lnTo>
                <a:lnTo>
                  <a:pt x="996" y="950"/>
                </a:lnTo>
                <a:lnTo>
                  <a:pt x="996" y="950"/>
                </a:lnTo>
                <a:lnTo>
                  <a:pt x="988" y="952"/>
                </a:lnTo>
                <a:lnTo>
                  <a:pt x="988" y="952"/>
                </a:lnTo>
                <a:lnTo>
                  <a:pt x="988" y="952"/>
                </a:lnTo>
                <a:lnTo>
                  <a:pt x="988" y="952"/>
                </a:lnTo>
                <a:lnTo>
                  <a:pt x="996" y="950"/>
                </a:lnTo>
                <a:lnTo>
                  <a:pt x="996" y="950"/>
                </a:lnTo>
                <a:lnTo>
                  <a:pt x="1008" y="950"/>
                </a:lnTo>
                <a:lnTo>
                  <a:pt x="1008" y="950"/>
                </a:lnTo>
                <a:lnTo>
                  <a:pt x="1012" y="952"/>
                </a:lnTo>
                <a:lnTo>
                  <a:pt x="1010" y="956"/>
                </a:lnTo>
                <a:lnTo>
                  <a:pt x="1010" y="956"/>
                </a:lnTo>
                <a:close/>
                <a:moveTo>
                  <a:pt x="1014" y="962"/>
                </a:moveTo>
                <a:lnTo>
                  <a:pt x="1014" y="962"/>
                </a:lnTo>
                <a:lnTo>
                  <a:pt x="1014" y="962"/>
                </a:lnTo>
                <a:lnTo>
                  <a:pt x="1014" y="962"/>
                </a:lnTo>
                <a:lnTo>
                  <a:pt x="1020" y="962"/>
                </a:lnTo>
                <a:lnTo>
                  <a:pt x="1022" y="960"/>
                </a:lnTo>
                <a:lnTo>
                  <a:pt x="1022" y="958"/>
                </a:lnTo>
                <a:lnTo>
                  <a:pt x="1022" y="958"/>
                </a:lnTo>
                <a:lnTo>
                  <a:pt x="1022" y="958"/>
                </a:lnTo>
                <a:lnTo>
                  <a:pt x="1022" y="958"/>
                </a:lnTo>
                <a:lnTo>
                  <a:pt x="1022" y="960"/>
                </a:lnTo>
                <a:lnTo>
                  <a:pt x="1020" y="962"/>
                </a:lnTo>
                <a:lnTo>
                  <a:pt x="1014" y="962"/>
                </a:lnTo>
                <a:lnTo>
                  <a:pt x="1014" y="962"/>
                </a:lnTo>
                <a:close/>
                <a:moveTo>
                  <a:pt x="1020" y="956"/>
                </a:moveTo>
                <a:lnTo>
                  <a:pt x="1020" y="956"/>
                </a:lnTo>
                <a:lnTo>
                  <a:pt x="1020" y="956"/>
                </a:lnTo>
                <a:lnTo>
                  <a:pt x="1020" y="956"/>
                </a:lnTo>
                <a:lnTo>
                  <a:pt x="1024" y="952"/>
                </a:lnTo>
                <a:lnTo>
                  <a:pt x="1024" y="952"/>
                </a:lnTo>
                <a:lnTo>
                  <a:pt x="1024" y="952"/>
                </a:lnTo>
                <a:lnTo>
                  <a:pt x="1024" y="952"/>
                </a:lnTo>
                <a:lnTo>
                  <a:pt x="1020" y="956"/>
                </a:lnTo>
                <a:lnTo>
                  <a:pt x="1020" y="956"/>
                </a:lnTo>
                <a:close/>
                <a:moveTo>
                  <a:pt x="1102" y="1018"/>
                </a:moveTo>
                <a:lnTo>
                  <a:pt x="1102" y="1018"/>
                </a:lnTo>
                <a:lnTo>
                  <a:pt x="1102" y="1018"/>
                </a:lnTo>
                <a:lnTo>
                  <a:pt x="1102" y="1018"/>
                </a:lnTo>
                <a:lnTo>
                  <a:pt x="1114" y="1018"/>
                </a:lnTo>
                <a:lnTo>
                  <a:pt x="1114" y="1018"/>
                </a:lnTo>
                <a:lnTo>
                  <a:pt x="1112" y="1016"/>
                </a:lnTo>
                <a:lnTo>
                  <a:pt x="1108" y="1014"/>
                </a:lnTo>
                <a:lnTo>
                  <a:pt x="1108" y="1014"/>
                </a:lnTo>
                <a:lnTo>
                  <a:pt x="1112" y="1016"/>
                </a:lnTo>
                <a:lnTo>
                  <a:pt x="1114" y="1018"/>
                </a:lnTo>
                <a:lnTo>
                  <a:pt x="1114" y="1018"/>
                </a:lnTo>
                <a:lnTo>
                  <a:pt x="1102" y="1018"/>
                </a:lnTo>
                <a:lnTo>
                  <a:pt x="1102" y="1018"/>
                </a:lnTo>
                <a:close/>
                <a:moveTo>
                  <a:pt x="1192" y="1052"/>
                </a:moveTo>
                <a:lnTo>
                  <a:pt x="1192" y="1052"/>
                </a:lnTo>
                <a:lnTo>
                  <a:pt x="1192" y="1052"/>
                </a:lnTo>
                <a:lnTo>
                  <a:pt x="1192" y="1052"/>
                </a:lnTo>
                <a:lnTo>
                  <a:pt x="1196" y="1054"/>
                </a:lnTo>
                <a:lnTo>
                  <a:pt x="1196" y="1054"/>
                </a:lnTo>
                <a:lnTo>
                  <a:pt x="1192" y="1060"/>
                </a:lnTo>
                <a:lnTo>
                  <a:pt x="1192" y="1060"/>
                </a:lnTo>
                <a:lnTo>
                  <a:pt x="1192" y="1060"/>
                </a:lnTo>
                <a:lnTo>
                  <a:pt x="1192" y="1060"/>
                </a:lnTo>
                <a:lnTo>
                  <a:pt x="1194" y="1054"/>
                </a:lnTo>
                <a:lnTo>
                  <a:pt x="1194" y="1054"/>
                </a:lnTo>
                <a:lnTo>
                  <a:pt x="1192" y="1052"/>
                </a:lnTo>
                <a:lnTo>
                  <a:pt x="1192" y="1052"/>
                </a:lnTo>
                <a:close/>
                <a:moveTo>
                  <a:pt x="1162" y="1056"/>
                </a:moveTo>
                <a:lnTo>
                  <a:pt x="1162" y="1056"/>
                </a:lnTo>
                <a:lnTo>
                  <a:pt x="1174" y="1056"/>
                </a:lnTo>
                <a:lnTo>
                  <a:pt x="1174" y="1056"/>
                </a:lnTo>
                <a:lnTo>
                  <a:pt x="1168" y="1052"/>
                </a:lnTo>
                <a:lnTo>
                  <a:pt x="1168" y="1052"/>
                </a:lnTo>
                <a:lnTo>
                  <a:pt x="1174" y="1056"/>
                </a:lnTo>
                <a:lnTo>
                  <a:pt x="1174" y="1056"/>
                </a:lnTo>
                <a:lnTo>
                  <a:pt x="1162" y="1056"/>
                </a:lnTo>
                <a:lnTo>
                  <a:pt x="1162" y="1056"/>
                </a:lnTo>
                <a:lnTo>
                  <a:pt x="1162" y="1056"/>
                </a:lnTo>
                <a:lnTo>
                  <a:pt x="1162" y="1056"/>
                </a:lnTo>
                <a:close/>
                <a:moveTo>
                  <a:pt x="1200" y="936"/>
                </a:moveTo>
                <a:lnTo>
                  <a:pt x="1200" y="936"/>
                </a:lnTo>
                <a:lnTo>
                  <a:pt x="1200" y="936"/>
                </a:lnTo>
                <a:lnTo>
                  <a:pt x="1200" y="936"/>
                </a:lnTo>
                <a:lnTo>
                  <a:pt x="1198" y="938"/>
                </a:lnTo>
                <a:lnTo>
                  <a:pt x="1194" y="938"/>
                </a:lnTo>
                <a:lnTo>
                  <a:pt x="1194" y="938"/>
                </a:lnTo>
                <a:lnTo>
                  <a:pt x="1198" y="938"/>
                </a:lnTo>
                <a:lnTo>
                  <a:pt x="1200" y="936"/>
                </a:lnTo>
                <a:lnTo>
                  <a:pt x="1200" y="936"/>
                </a:lnTo>
                <a:close/>
                <a:moveTo>
                  <a:pt x="1182" y="942"/>
                </a:moveTo>
                <a:lnTo>
                  <a:pt x="1182" y="942"/>
                </a:lnTo>
                <a:lnTo>
                  <a:pt x="1186" y="940"/>
                </a:lnTo>
                <a:lnTo>
                  <a:pt x="1184" y="936"/>
                </a:lnTo>
                <a:lnTo>
                  <a:pt x="1184" y="936"/>
                </a:lnTo>
                <a:lnTo>
                  <a:pt x="1184" y="936"/>
                </a:lnTo>
                <a:lnTo>
                  <a:pt x="1184" y="936"/>
                </a:lnTo>
                <a:lnTo>
                  <a:pt x="1186" y="940"/>
                </a:lnTo>
                <a:lnTo>
                  <a:pt x="1182" y="942"/>
                </a:lnTo>
                <a:lnTo>
                  <a:pt x="1182" y="942"/>
                </a:lnTo>
                <a:lnTo>
                  <a:pt x="1182" y="942"/>
                </a:lnTo>
                <a:lnTo>
                  <a:pt x="1182" y="942"/>
                </a:lnTo>
                <a:lnTo>
                  <a:pt x="1182" y="942"/>
                </a:lnTo>
                <a:lnTo>
                  <a:pt x="1182" y="942"/>
                </a:lnTo>
                <a:close/>
                <a:moveTo>
                  <a:pt x="1158" y="908"/>
                </a:moveTo>
                <a:lnTo>
                  <a:pt x="1158" y="908"/>
                </a:lnTo>
                <a:lnTo>
                  <a:pt x="1166" y="914"/>
                </a:lnTo>
                <a:lnTo>
                  <a:pt x="1166" y="914"/>
                </a:lnTo>
                <a:lnTo>
                  <a:pt x="1166" y="914"/>
                </a:lnTo>
                <a:lnTo>
                  <a:pt x="1166" y="914"/>
                </a:lnTo>
                <a:lnTo>
                  <a:pt x="1158" y="908"/>
                </a:lnTo>
                <a:lnTo>
                  <a:pt x="1158" y="908"/>
                </a:lnTo>
                <a:lnTo>
                  <a:pt x="1158" y="908"/>
                </a:lnTo>
                <a:lnTo>
                  <a:pt x="1158" y="908"/>
                </a:lnTo>
                <a:close/>
                <a:moveTo>
                  <a:pt x="1158" y="912"/>
                </a:moveTo>
                <a:lnTo>
                  <a:pt x="1158" y="912"/>
                </a:lnTo>
                <a:lnTo>
                  <a:pt x="1152" y="912"/>
                </a:lnTo>
                <a:lnTo>
                  <a:pt x="1144" y="912"/>
                </a:lnTo>
                <a:lnTo>
                  <a:pt x="1144" y="912"/>
                </a:lnTo>
                <a:lnTo>
                  <a:pt x="1144" y="912"/>
                </a:lnTo>
                <a:lnTo>
                  <a:pt x="1144" y="912"/>
                </a:lnTo>
                <a:lnTo>
                  <a:pt x="1152" y="912"/>
                </a:lnTo>
                <a:lnTo>
                  <a:pt x="1158" y="912"/>
                </a:lnTo>
                <a:lnTo>
                  <a:pt x="1158" y="912"/>
                </a:lnTo>
                <a:close/>
                <a:moveTo>
                  <a:pt x="1160" y="926"/>
                </a:moveTo>
                <a:lnTo>
                  <a:pt x="1160" y="926"/>
                </a:lnTo>
                <a:lnTo>
                  <a:pt x="1152" y="930"/>
                </a:lnTo>
                <a:lnTo>
                  <a:pt x="1150" y="934"/>
                </a:lnTo>
                <a:lnTo>
                  <a:pt x="1152" y="938"/>
                </a:lnTo>
                <a:lnTo>
                  <a:pt x="1152" y="938"/>
                </a:lnTo>
                <a:lnTo>
                  <a:pt x="1148" y="938"/>
                </a:lnTo>
                <a:lnTo>
                  <a:pt x="1148" y="938"/>
                </a:lnTo>
                <a:lnTo>
                  <a:pt x="1136" y="932"/>
                </a:lnTo>
                <a:lnTo>
                  <a:pt x="1136" y="932"/>
                </a:lnTo>
                <a:lnTo>
                  <a:pt x="1148" y="926"/>
                </a:lnTo>
                <a:lnTo>
                  <a:pt x="1160" y="926"/>
                </a:lnTo>
                <a:lnTo>
                  <a:pt x="1160" y="926"/>
                </a:lnTo>
                <a:close/>
                <a:moveTo>
                  <a:pt x="1098" y="844"/>
                </a:moveTo>
                <a:lnTo>
                  <a:pt x="1098" y="844"/>
                </a:lnTo>
                <a:lnTo>
                  <a:pt x="1098" y="844"/>
                </a:lnTo>
                <a:lnTo>
                  <a:pt x="1098" y="844"/>
                </a:lnTo>
                <a:lnTo>
                  <a:pt x="1092" y="848"/>
                </a:lnTo>
                <a:lnTo>
                  <a:pt x="1088" y="850"/>
                </a:lnTo>
                <a:lnTo>
                  <a:pt x="1088" y="850"/>
                </a:lnTo>
                <a:lnTo>
                  <a:pt x="1092" y="848"/>
                </a:lnTo>
                <a:lnTo>
                  <a:pt x="1098" y="844"/>
                </a:lnTo>
                <a:lnTo>
                  <a:pt x="1098" y="844"/>
                </a:lnTo>
                <a:close/>
                <a:moveTo>
                  <a:pt x="1060" y="896"/>
                </a:moveTo>
                <a:lnTo>
                  <a:pt x="1060" y="896"/>
                </a:lnTo>
                <a:lnTo>
                  <a:pt x="1054" y="898"/>
                </a:lnTo>
                <a:lnTo>
                  <a:pt x="1054" y="898"/>
                </a:lnTo>
                <a:lnTo>
                  <a:pt x="1060" y="896"/>
                </a:lnTo>
                <a:lnTo>
                  <a:pt x="1060" y="896"/>
                </a:lnTo>
                <a:lnTo>
                  <a:pt x="1052" y="892"/>
                </a:lnTo>
                <a:lnTo>
                  <a:pt x="1052" y="892"/>
                </a:lnTo>
                <a:lnTo>
                  <a:pt x="1060" y="896"/>
                </a:lnTo>
                <a:lnTo>
                  <a:pt x="1060" y="896"/>
                </a:lnTo>
                <a:close/>
                <a:moveTo>
                  <a:pt x="1064" y="946"/>
                </a:moveTo>
                <a:lnTo>
                  <a:pt x="1064" y="946"/>
                </a:lnTo>
                <a:lnTo>
                  <a:pt x="1058" y="944"/>
                </a:lnTo>
                <a:lnTo>
                  <a:pt x="1058" y="944"/>
                </a:lnTo>
                <a:lnTo>
                  <a:pt x="1058" y="942"/>
                </a:lnTo>
                <a:lnTo>
                  <a:pt x="1058" y="942"/>
                </a:lnTo>
                <a:lnTo>
                  <a:pt x="1064" y="946"/>
                </a:lnTo>
                <a:lnTo>
                  <a:pt x="1064" y="946"/>
                </a:lnTo>
                <a:lnTo>
                  <a:pt x="1064" y="946"/>
                </a:lnTo>
                <a:lnTo>
                  <a:pt x="1064" y="946"/>
                </a:lnTo>
                <a:close/>
                <a:moveTo>
                  <a:pt x="1082" y="942"/>
                </a:moveTo>
                <a:lnTo>
                  <a:pt x="1082" y="942"/>
                </a:lnTo>
                <a:lnTo>
                  <a:pt x="1078" y="940"/>
                </a:lnTo>
                <a:lnTo>
                  <a:pt x="1074" y="938"/>
                </a:lnTo>
                <a:lnTo>
                  <a:pt x="1074" y="938"/>
                </a:lnTo>
                <a:lnTo>
                  <a:pt x="1058" y="938"/>
                </a:lnTo>
                <a:lnTo>
                  <a:pt x="1058" y="938"/>
                </a:lnTo>
                <a:lnTo>
                  <a:pt x="1054" y="940"/>
                </a:lnTo>
                <a:lnTo>
                  <a:pt x="1054" y="940"/>
                </a:lnTo>
                <a:lnTo>
                  <a:pt x="1058" y="938"/>
                </a:lnTo>
                <a:lnTo>
                  <a:pt x="1058" y="938"/>
                </a:lnTo>
                <a:lnTo>
                  <a:pt x="1074" y="938"/>
                </a:lnTo>
                <a:lnTo>
                  <a:pt x="1074" y="938"/>
                </a:lnTo>
                <a:lnTo>
                  <a:pt x="1078" y="940"/>
                </a:lnTo>
                <a:lnTo>
                  <a:pt x="1082" y="942"/>
                </a:lnTo>
                <a:lnTo>
                  <a:pt x="1082" y="942"/>
                </a:lnTo>
                <a:lnTo>
                  <a:pt x="1082" y="942"/>
                </a:lnTo>
                <a:lnTo>
                  <a:pt x="1082" y="942"/>
                </a:lnTo>
                <a:close/>
                <a:moveTo>
                  <a:pt x="1088" y="936"/>
                </a:moveTo>
                <a:lnTo>
                  <a:pt x="1088" y="936"/>
                </a:lnTo>
                <a:lnTo>
                  <a:pt x="1074" y="932"/>
                </a:lnTo>
                <a:lnTo>
                  <a:pt x="1074" y="932"/>
                </a:lnTo>
                <a:lnTo>
                  <a:pt x="1070" y="934"/>
                </a:lnTo>
                <a:lnTo>
                  <a:pt x="1066" y="934"/>
                </a:lnTo>
                <a:lnTo>
                  <a:pt x="1056" y="934"/>
                </a:lnTo>
                <a:lnTo>
                  <a:pt x="1056" y="934"/>
                </a:lnTo>
                <a:lnTo>
                  <a:pt x="1042" y="932"/>
                </a:lnTo>
                <a:lnTo>
                  <a:pt x="1036" y="932"/>
                </a:lnTo>
                <a:lnTo>
                  <a:pt x="1030" y="932"/>
                </a:lnTo>
                <a:lnTo>
                  <a:pt x="1030" y="932"/>
                </a:lnTo>
                <a:lnTo>
                  <a:pt x="1026" y="932"/>
                </a:lnTo>
                <a:lnTo>
                  <a:pt x="1026" y="928"/>
                </a:lnTo>
                <a:lnTo>
                  <a:pt x="1026" y="928"/>
                </a:lnTo>
                <a:lnTo>
                  <a:pt x="1026" y="928"/>
                </a:lnTo>
                <a:lnTo>
                  <a:pt x="1042" y="926"/>
                </a:lnTo>
                <a:lnTo>
                  <a:pt x="1042" y="926"/>
                </a:lnTo>
                <a:lnTo>
                  <a:pt x="1046" y="926"/>
                </a:lnTo>
                <a:lnTo>
                  <a:pt x="1046" y="926"/>
                </a:lnTo>
                <a:lnTo>
                  <a:pt x="1052" y="930"/>
                </a:lnTo>
                <a:lnTo>
                  <a:pt x="1056" y="930"/>
                </a:lnTo>
                <a:lnTo>
                  <a:pt x="1060" y="928"/>
                </a:lnTo>
                <a:lnTo>
                  <a:pt x="1066" y="924"/>
                </a:lnTo>
                <a:lnTo>
                  <a:pt x="1066" y="924"/>
                </a:lnTo>
                <a:lnTo>
                  <a:pt x="1068" y="924"/>
                </a:lnTo>
                <a:lnTo>
                  <a:pt x="1068" y="924"/>
                </a:lnTo>
                <a:lnTo>
                  <a:pt x="1070" y="928"/>
                </a:lnTo>
                <a:lnTo>
                  <a:pt x="1070" y="928"/>
                </a:lnTo>
                <a:lnTo>
                  <a:pt x="1102" y="926"/>
                </a:lnTo>
                <a:lnTo>
                  <a:pt x="1102" y="926"/>
                </a:lnTo>
                <a:lnTo>
                  <a:pt x="1112" y="924"/>
                </a:lnTo>
                <a:lnTo>
                  <a:pt x="1112" y="924"/>
                </a:lnTo>
                <a:lnTo>
                  <a:pt x="1110" y="926"/>
                </a:lnTo>
                <a:lnTo>
                  <a:pt x="1108" y="928"/>
                </a:lnTo>
                <a:lnTo>
                  <a:pt x="1092" y="930"/>
                </a:lnTo>
                <a:lnTo>
                  <a:pt x="1092" y="930"/>
                </a:lnTo>
                <a:lnTo>
                  <a:pt x="1088" y="936"/>
                </a:lnTo>
                <a:lnTo>
                  <a:pt x="1088" y="936"/>
                </a:lnTo>
                <a:close/>
                <a:moveTo>
                  <a:pt x="1096" y="946"/>
                </a:moveTo>
                <a:lnTo>
                  <a:pt x="1096" y="946"/>
                </a:lnTo>
                <a:lnTo>
                  <a:pt x="1096" y="946"/>
                </a:lnTo>
                <a:lnTo>
                  <a:pt x="1096" y="946"/>
                </a:lnTo>
                <a:lnTo>
                  <a:pt x="1108" y="946"/>
                </a:lnTo>
                <a:lnTo>
                  <a:pt x="1110" y="944"/>
                </a:lnTo>
                <a:lnTo>
                  <a:pt x="1112" y="942"/>
                </a:lnTo>
                <a:lnTo>
                  <a:pt x="1112" y="942"/>
                </a:lnTo>
                <a:lnTo>
                  <a:pt x="1112" y="942"/>
                </a:lnTo>
                <a:lnTo>
                  <a:pt x="1112" y="942"/>
                </a:lnTo>
                <a:lnTo>
                  <a:pt x="1110" y="944"/>
                </a:lnTo>
                <a:lnTo>
                  <a:pt x="1108" y="946"/>
                </a:lnTo>
                <a:lnTo>
                  <a:pt x="1096" y="946"/>
                </a:lnTo>
                <a:lnTo>
                  <a:pt x="1096" y="946"/>
                </a:lnTo>
                <a:close/>
                <a:moveTo>
                  <a:pt x="1158" y="952"/>
                </a:moveTo>
                <a:lnTo>
                  <a:pt x="1158" y="952"/>
                </a:lnTo>
                <a:lnTo>
                  <a:pt x="1176" y="960"/>
                </a:lnTo>
                <a:lnTo>
                  <a:pt x="1176" y="960"/>
                </a:lnTo>
                <a:lnTo>
                  <a:pt x="1154" y="968"/>
                </a:lnTo>
                <a:lnTo>
                  <a:pt x="1154" y="968"/>
                </a:lnTo>
                <a:lnTo>
                  <a:pt x="1142" y="964"/>
                </a:lnTo>
                <a:lnTo>
                  <a:pt x="1142" y="964"/>
                </a:lnTo>
                <a:lnTo>
                  <a:pt x="1136" y="966"/>
                </a:lnTo>
                <a:lnTo>
                  <a:pt x="1136" y="966"/>
                </a:lnTo>
                <a:lnTo>
                  <a:pt x="1136" y="966"/>
                </a:lnTo>
                <a:lnTo>
                  <a:pt x="1136" y="966"/>
                </a:lnTo>
                <a:lnTo>
                  <a:pt x="1120" y="960"/>
                </a:lnTo>
                <a:lnTo>
                  <a:pt x="1120" y="960"/>
                </a:lnTo>
                <a:lnTo>
                  <a:pt x="1122" y="954"/>
                </a:lnTo>
                <a:lnTo>
                  <a:pt x="1124" y="952"/>
                </a:lnTo>
                <a:lnTo>
                  <a:pt x="1130" y="952"/>
                </a:lnTo>
                <a:lnTo>
                  <a:pt x="1138" y="952"/>
                </a:lnTo>
                <a:lnTo>
                  <a:pt x="1138" y="952"/>
                </a:lnTo>
                <a:lnTo>
                  <a:pt x="1132" y="942"/>
                </a:lnTo>
                <a:lnTo>
                  <a:pt x="1132" y="942"/>
                </a:lnTo>
                <a:lnTo>
                  <a:pt x="1142" y="942"/>
                </a:lnTo>
                <a:lnTo>
                  <a:pt x="1142" y="942"/>
                </a:lnTo>
                <a:lnTo>
                  <a:pt x="1148" y="940"/>
                </a:lnTo>
                <a:lnTo>
                  <a:pt x="1148" y="940"/>
                </a:lnTo>
                <a:lnTo>
                  <a:pt x="1154" y="944"/>
                </a:lnTo>
                <a:lnTo>
                  <a:pt x="1160" y="944"/>
                </a:lnTo>
                <a:lnTo>
                  <a:pt x="1174" y="944"/>
                </a:lnTo>
                <a:lnTo>
                  <a:pt x="1174" y="944"/>
                </a:lnTo>
                <a:lnTo>
                  <a:pt x="1182" y="946"/>
                </a:lnTo>
                <a:lnTo>
                  <a:pt x="1190" y="944"/>
                </a:lnTo>
                <a:lnTo>
                  <a:pt x="1190" y="944"/>
                </a:lnTo>
                <a:lnTo>
                  <a:pt x="1194" y="946"/>
                </a:lnTo>
                <a:lnTo>
                  <a:pt x="1196" y="950"/>
                </a:lnTo>
                <a:lnTo>
                  <a:pt x="1196" y="956"/>
                </a:lnTo>
                <a:lnTo>
                  <a:pt x="1196" y="956"/>
                </a:lnTo>
                <a:lnTo>
                  <a:pt x="1186" y="956"/>
                </a:lnTo>
                <a:lnTo>
                  <a:pt x="1176" y="956"/>
                </a:lnTo>
                <a:lnTo>
                  <a:pt x="1158" y="952"/>
                </a:lnTo>
                <a:lnTo>
                  <a:pt x="1158" y="952"/>
                </a:lnTo>
                <a:close/>
                <a:moveTo>
                  <a:pt x="1194" y="980"/>
                </a:moveTo>
                <a:lnTo>
                  <a:pt x="1194" y="980"/>
                </a:lnTo>
                <a:lnTo>
                  <a:pt x="1194" y="980"/>
                </a:lnTo>
                <a:lnTo>
                  <a:pt x="1194" y="980"/>
                </a:lnTo>
                <a:lnTo>
                  <a:pt x="1202" y="974"/>
                </a:lnTo>
                <a:lnTo>
                  <a:pt x="1206" y="970"/>
                </a:lnTo>
                <a:lnTo>
                  <a:pt x="1212" y="968"/>
                </a:lnTo>
                <a:lnTo>
                  <a:pt x="1212" y="968"/>
                </a:lnTo>
                <a:lnTo>
                  <a:pt x="1212" y="968"/>
                </a:lnTo>
                <a:lnTo>
                  <a:pt x="1212" y="968"/>
                </a:lnTo>
                <a:lnTo>
                  <a:pt x="1206" y="970"/>
                </a:lnTo>
                <a:lnTo>
                  <a:pt x="1202" y="974"/>
                </a:lnTo>
                <a:lnTo>
                  <a:pt x="1194" y="980"/>
                </a:lnTo>
                <a:lnTo>
                  <a:pt x="1194" y="980"/>
                </a:lnTo>
                <a:close/>
                <a:moveTo>
                  <a:pt x="1216" y="930"/>
                </a:moveTo>
                <a:lnTo>
                  <a:pt x="1216" y="930"/>
                </a:lnTo>
                <a:lnTo>
                  <a:pt x="1214" y="930"/>
                </a:lnTo>
                <a:lnTo>
                  <a:pt x="1214" y="930"/>
                </a:lnTo>
                <a:lnTo>
                  <a:pt x="1214" y="930"/>
                </a:lnTo>
                <a:lnTo>
                  <a:pt x="1214" y="930"/>
                </a:lnTo>
                <a:lnTo>
                  <a:pt x="1220" y="930"/>
                </a:lnTo>
                <a:lnTo>
                  <a:pt x="1220" y="928"/>
                </a:lnTo>
                <a:lnTo>
                  <a:pt x="1220" y="926"/>
                </a:lnTo>
                <a:lnTo>
                  <a:pt x="1220" y="926"/>
                </a:lnTo>
                <a:lnTo>
                  <a:pt x="1206" y="924"/>
                </a:lnTo>
                <a:lnTo>
                  <a:pt x="1206" y="924"/>
                </a:lnTo>
                <a:lnTo>
                  <a:pt x="1206" y="924"/>
                </a:lnTo>
                <a:lnTo>
                  <a:pt x="1206" y="924"/>
                </a:lnTo>
                <a:lnTo>
                  <a:pt x="1220" y="926"/>
                </a:lnTo>
                <a:lnTo>
                  <a:pt x="1220" y="926"/>
                </a:lnTo>
                <a:lnTo>
                  <a:pt x="1220" y="928"/>
                </a:lnTo>
                <a:lnTo>
                  <a:pt x="1220" y="930"/>
                </a:lnTo>
                <a:lnTo>
                  <a:pt x="1216" y="930"/>
                </a:lnTo>
                <a:lnTo>
                  <a:pt x="1216" y="930"/>
                </a:lnTo>
                <a:close/>
                <a:moveTo>
                  <a:pt x="1264" y="922"/>
                </a:moveTo>
                <a:lnTo>
                  <a:pt x="1264" y="922"/>
                </a:lnTo>
                <a:lnTo>
                  <a:pt x="1260" y="920"/>
                </a:lnTo>
                <a:lnTo>
                  <a:pt x="1260" y="920"/>
                </a:lnTo>
                <a:lnTo>
                  <a:pt x="1264" y="922"/>
                </a:lnTo>
                <a:lnTo>
                  <a:pt x="1264" y="922"/>
                </a:lnTo>
                <a:lnTo>
                  <a:pt x="1270" y="918"/>
                </a:lnTo>
                <a:lnTo>
                  <a:pt x="1270" y="918"/>
                </a:lnTo>
                <a:lnTo>
                  <a:pt x="1268" y="916"/>
                </a:lnTo>
                <a:lnTo>
                  <a:pt x="1268" y="916"/>
                </a:lnTo>
                <a:lnTo>
                  <a:pt x="1270" y="918"/>
                </a:lnTo>
                <a:lnTo>
                  <a:pt x="1270" y="918"/>
                </a:lnTo>
                <a:lnTo>
                  <a:pt x="1264" y="922"/>
                </a:lnTo>
                <a:lnTo>
                  <a:pt x="1264" y="922"/>
                </a:lnTo>
                <a:close/>
                <a:moveTo>
                  <a:pt x="1404" y="918"/>
                </a:moveTo>
                <a:lnTo>
                  <a:pt x="1404" y="918"/>
                </a:lnTo>
                <a:lnTo>
                  <a:pt x="1404" y="920"/>
                </a:lnTo>
                <a:lnTo>
                  <a:pt x="1404" y="920"/>
                </a:lnTo>
                <a:lnTo>
                  <a:pt x="1404" y="920"/>
                </a:lnTo>
                <a:lnTo>
                  <a:pt x="1404" y="920"/>
                </a:lnTo>
                <a:lnTo>
                  <a:pt x="1404" y="920"/>
                </a:lnTo>
                <a:lnTo>
                  <a:pt x="1404" y="920"/>
                </a:lnTo>
                <a:lnTo>
                  <a:pt x="1404" y="920"/>
                </a:lnTo>
                <a:lnTo>
                  <a:pt x="1404" y="920"/>
                </a:lnTo>
                <a:lnTo>
                  <a:pt x="1404" y="918"/>
                </a:lnTo>
                <a:lnTo>
                  <a:pt x="1404" y="918"/>
                </a:lnTo>
                <a:lnTo>
                  <a:pt x="1404" y="918"/>
                </a:lnTo>
                <a:lnTo>
                  <a:pt x="1404" y="918"/>
                </a:lnTo>
                <a:close/>
                <a:moveTo>
                  <a:pt x="1356" y="904"/>
                </a:moveTo>
                <a:lnTo>
                  <a:pt x="1356" y="904"/>
                </a:lnTo>
                <a:lnTo>
                  <a:pt x="1350" y="904"/>
                </a:lnTo>
                <a:lnTo>
                  <a:pt x="1344" y="902"/>
                </a:lnTo>
                <a:lnTo>
                  <a:pt x="1344" y="902"/>
                </a:lnTo>
                <a:lnTo>
                  <a:pt x="1348" y="900"/>
                </a:lnTo>
                <a:lnTo>
                  <a:pt x="1350" y="900"/>
                </a:lnTo>
                <a:lnTo>
                  <a:pt x="1356" y="904"/>
                </a:lnTo>
                <a:lnTo>
                  <a:pt x="1356" y="904"/>
                </a:lnTo>
                <a:close/>
                <a:moveTo>
                  <a:pt x="1326" y="920"/>
                </a:moveTo>
                <a:lnTo>
                  <a:pt x="1326" y="920"/>
                </a:lnTo>
                <a:lnTo>
                  <a:pt x="1326" y="922"/>
                </a:lnTo>
                <a:lnTo>
                  <a:pt x="1326" y="922"/>
                </a:lnTo>
                <a:lnTo>
                  <a:pt x="1326" y="922"/>
                </a:lnTo>
                <a:lnTo>
                  <a:pt x="1326" y="922"/>
                </a:lnTo>
                <a:lnTo>
                  <a:pt x="1326" y="920"/>
                </a:lnTo>
                <a:lnTo>
                  <a:pt x="1326" y="920"/>
                </a:lnTo>
                <a:lnTo>
                  <a:pt x="1316" y="918"/>
                </a:lnTo>
                <a:lnTo>
                  <a:pt x="1316" y="918"/>
                </a:lnTo>
                <a:lnTo>
                  <a:pt x="1316" y="918"/>
                </a:lnTo>
                <a:lnTo>
                  <a:pt x="1316" y="918"/>
                </a:lnTo>
                <a:lnTo>
                  <a:pt x="1326" y="920"/>
                </a:lnTo>
                <a:lnTo>
                  <a:pt x="1326" y="920"/>
                </a:lnTo>
                <a:close/>
                <a:moveTo>
                  <a:pt x="1308" y="920"/>
                </a:moveTo>
                <a:lnTo>
                  <a:pt x="1308" y="920"/>
                </a:lnTo>
                <a:lnTo>
                  <a:pt x="1318" y="922"/>
                </a:lnTo>
                <a:lnTo>
                  <a:pt x="1318" y="922"/>
                </a:lnTo>
                <a:lnTo>
                  <a:pt x="1318" y="922"/>
                </a:lnTo>
                <a:lnTo>
                  <a:pt x="1318" y="922"/>
                </a:lnTo>
                <a:lnTo>
                  <a:pt x="1318" y="922"/>
                </a:lnTo>
                <a:lnTo>
                  <a:pt x="1318" y="922"/>
                </a:lnTo>
                <a:lnTo>
                  <a:pt x="1318" y="926"/>
                </a:lnTo>
                <a:lnTo>
                  <a:pt x="1318" y="926"/>
                </a:lnTo>
                <a:lnTo>
                  <a:pt x="1318" y="926"/>
                </a:lnTo>
                <a:lnTo>
                  <a:pt x="1318" y="926"/>
                </a:lnTo>
                <a:lnTo>
                  <a:pt x="1318" y="922"/>
                </a:lnTo>
                <a:lnTo>
                  <a:pt x="1318" y="922"/>
                </a:lnTo>
                <a:lnTo>
                  <a:pt x="1308" y="920"/>
                </a:lnTo>
                <a:lnTo>
                  <a:pt x="1308" y="920"/>
                </a:lnTo>
                <a:lnTo>
                  <a:pt x="1308" y="920"/>
                </a:lnTo>
                <a:lnTo>
                  <a:pt x="1308" y="920"/>
                </a:lnTo>
                <a:close/>
                <a:moveTo>
                  <a:pt x="1288" y="920"/>
                </a:moveTo>
                <a:lnTo>
                  <a:pt x="1288" y="920"/>
                </a:lnTo>
                <a:lnTo>
                  <a:pt x="1288" y="920"/>
                </a:lnTo>
                <a:lnTo>
                  <a:pt x="1288" y="920"/>
                </a:lnTo>
                <a:lnTo>
                  <a:pt x="1294" y="920"/>
                </a:lnTo>
                <a:lnTo>
                  <a:pt x="1298" y="916"/>
                </a:lnTo>
                <a:lnTo>
                  <a:pt x="1298" y="916"/>
                </a:lnTo>
                <a:lnTo>
                  <a:pt x="1298" y="916"/>
                </a:lnTo>
                <a:lnTo>
                  <a:pt x="1298" y="916"/>
                </a:lnTo>
                <a:lnTo>
                  <a:pt x="1294" y="920"/>
                </a:lnTo>
                <a:lnTo>
                  <a:pt x="1288" y="920"/>
                </a:lnTo>
                <a:lnTo>
                  <a:pt x="1288" y="920"/>
                </a:lnTo>
                <a:close/>
                <a:moveTo>
                  <a:pt x="1332" y="950"/>
                </a:moveTo>
                <a:lnTo>
                  <a:pt x="1332" y="950"/>
                </a:lnTo>
                <a:lnTo>
                  <a:pt x="1322" y="946"/>
                </a:lnTo>
                <a:lnTo>
                  <a:pt x="1322" y="946"/>
                </a:lnTo>
                <a:lnTo>
                  <a:pt x="1312" y="944"/>
                </a:lnTo>
                <a:lnTo>
                  <a:pt x="1312" y="944"/>
                </a:lnTo>
                <a:lnTo>
                  <a:pt x="1300" y="942"/>
                </a:lnTo>
                <a:lnTo>
                  <a:pt x="1300" y="942"/>
                </a:lnTo>
                <a:lnTo>
                  <a:pt x="1304" y="946"/>
                </a:lnTo>
                <a:lnTo>
                  <a:pt x="1308" y="948"/>
                </a:lnTo>
                <a:lnTo>
                  <a:pt x="1318" y="950"/>
                </a:lnTo>
                <a:lnTo>
                  <a:pt x="1318" y="950"/>
                </a:lnTo>
                <a:lnTo>
                  <a:pt x="1322" y="950"/>
                </a:lnTo>
                <a:lnTo>
                  <a:pt x="1324" y="952"/>
                </a:lnTo>
                <a:lnTo>
                  <a:pt x="1324" y="954"/>
                </a:lnTo>
                <a:lnTo>
                  <a:pt x="1324" y="954"/>
                </a:lnTo>
                <a:lnTo>
                  <a:pt x="1324" y="956"/>
                </a:lnTo>
                <a:lnTo>
                  <a:pt x="1322" y="956"/>
                </a:lnTo>
                <a:lnTo>
                  <a:pt x="1316" y="956"/>
                </a:lnTo>
                <a:lnTo>
                  <a:pt x="1316" y="956"/>
                </a:lnTo>
                <a:lnTo>
                  <a:pt x="1302" y="954"/>
                </a:lnTo>
                <a:lnTo>
                  <a:pt x="1302" y="954"/>
                </a:lnTo>
                <a:lnTo>
                  <a:pt x="1288" y="940"/>
                </a:lnTo>
                <a:lnTo>
                  <a:pt x="1288" y="940"/>
                </a:lnTo>
                <a:lnTo>
                  <a:pt x="1302" y="938"/>
                </a:lnTo>
                <a:lnTo>
                  <a:pt x="1310" y="938"/>
                </a:lnTo>
                <a:lnTo>
                  <a:pt x="1316" y="940"/>
                </a:lnTo>
                <a:lnTo>
                  <a:pt x="1316" y="940"/>
                </a:lnTo>
                <a:lnTo>
                  <a:pt x="1322" y="942"/>
                </a:lnTo>
                <a:lnTo>
                  <a:pt x="1326" y="942"/>
                </a:lnTo>
                <a:lnTo>
                  <a:pt x="1326" y="942"/>
                </a:lnTo>
                <a:lnTo>
                  <a:pt x="1336" y="944"/>
                </a:lnTo>
                <a:lnTo>
                  <a:pt x="1342" y="948"/>
                </a:lnTo>
                <a:lnTo>
                  <a:pt x="1342" y="948"/>
                </a:lnTo>
                <a:lnTo>
                  <a:pt x="1332" y="950"/>
                </a:lnTo>
                <a:lnTo>
                  <a:pt x="1332" y="950"/>
                </a:lnTo>
                <a:close/>
                <a:moveTo>
                  <a:pt x="1338" y="958"/>
                </a:moveTo>
                <a:lnTo>
                  <a:pt x="1338" y="958"/>
                </a:lnTo>
                <a:lnTo>
                  <a:pt x="1338" y="958"/>
                </a:lnTo>
                <a:lnTo>
                  <a:pt x="1338" y="958"/>
                </a:lnTo>
                <a:lnTo>
                  <a:pt x="1338" y="958"/>
                </a:lnTo>
                <a:lnTo>
                  <a:pt x="1338" y="958"/>
                </a:lnTo>
                <a:lnTo>
                  <a:pt x="1342" y="956"/>
                </a:lnTo>
                <a:lnTo>
                  <a:pt x="1342" y="956"/>
                </a:lnTo>
                <a:lnTo>
                  <a:pt x="1342" y="956"/>
                </a:lnTo>
                <a:lnTo>
                  <a:pt x="1342" y="956"/>
                </a:lnTo>
                <a:lnTo>
                  <a:pt x="1338" y="958"/>
                </a:lnTo>
                <a:lnTo>
                  <a:pt x="1338" y="958"/>
                </a:lnTo>
                <a:close/>
                <a:moveTo>
                  <a:pt x="1356" y="938"/>
                </a:moveTo>
                <a:lnTo>
                  <a:pt x="1356" y="938"/>
                </a:lnTo>
                <a:lnTo>
                  <a:pt x="1342" y="932"/>
                </a:lnTo>
                <a:lnTo>
                  <a:pt x="1342" y="932"/>
                </a:lnTo>
                <a:lnTo>
                  <a:pt x="1348" y="928"/>
                </a:lnTo>
                <a:lnTo>
                  <a:pt x="1354" y="928"/>
                </a:lnTo>
                <a:lnTo>
                  <a:pt x="1360" y="930"/>
                </a:lnTo>
                <a:lnTo>
                  <a:pt x="1368" y="932"/>
                </a:lnTo>
                <a:lnTo>
                  <a:pt x="1368" y="932"/>
                </a:lnTo>
                <a:lnTo>
                  <a:pt x="1356" y="938"/>
                </a:lnTo>
                <a:lnTo>
                  <a:pt x="1356" y="938"/>
                </a:lnTo>
                <a:close/>
                <a:moveTo>
                  <a:pt x="1366" y="916"/>
                </a:moveTo>
                <a:lnTo>
                  <a:pt x="1366" y="916"/>
                </a:lnTo>
                <a:lnTo>
                  <a:pt x="1354" y="914"/>
                </a:lnTo>
                <a:lnTo>
                  <a:pt x="1354" y="914"/>
                </a:lnTo>
                <a:lnTo>
                  <a:pt x="1352" y="914"/>
                </a:lnTo>
                <a:lnTo>
                  <a:pt x="1350" y="910"/>
                </a:lnTo>
                <a:lnTo>
                  <a:pt x="1350" y="910"/>
                </a:lnTo>
                <a:lnTo>
                  <a:pt x="1368" y="912"/>
                </a:lnTo>
                <a:lnTo>
                  <a:pt x="1368" y="912"/>
                </a:lnTo>
                <a:lnTo>
                  <a:pt x="1370" y="914"/>
                </a:lnTo>
                <a:lnTo>
                  <a:pt x="1370" y="914"/>
                </a:lnTo>
                <a:lnTo>
                  <a:pt x="1370" y="914"/>
                </a:lnTo>
                <a:lnTo>
                  <a:pt x="1370" y="914"/>
                </a:lnTo>
                <a:lnTo>
                  <a:pt x="1366" y="916"/>
                </a:lnTo>
                <a:lnTo>
                  <a:pt x="1366" y="916"/>
                </a:lnTo>
                <a:close/>
                <a:moveTo>
                  <a:pt x="1370" y="914"/>
                </a:moveTo>
                <a:lnTo>
                  <a:pt x="1370" y="914"/>
                </a:lnTo>
                <a:lnTo>
                  <a:pt x="1386" y="912"/>
                </a:lnTo>
                <a:lnTo>
                  <a:pt x="1396" y="914"/>
                </a:lnTo>
                <a:lnTo>
                  <a:pt x="1396" y="914"/>
                </a:lnTo>
                <a:lnTo>
                  <a:pt x="1382" y="916"/>
                </a:lnTo>
                <a:lnTo>
                  <a:pt x="1370" y="914"/>
                </a:lnTo>
                <a:lnTo>
                  <a:pt x="1370" y="914"/>
                </a:lnTo>
                <a:close/>
                <a:moveTo>
                  <a:pt x="1394" y="930"/>
                </a:moveTo>
                <a:lnTo>
                  <a:pt x="1394" y="930"/>
                </a:lnTo>
                <a:lnTo>
                  <a:pt x="1394" y="930"/>
                </a:lnTo>
                <a:lnTo>
                  <a:pt x="1394" y="930"/>
                </a:lnTo>
                <a:lnTo>
                  <a:pt x="1398" y="932"/>
                </a:lnTo>
                <a:lnTo>
                  <a:pt x="1402" y="932"/>
                </a:lnTo>
                <a:lnTo>
                  <a:pt x="1404" y="930"/>
                </a:lnTo>
                <a:lnTo>
                  <a:pt x="1406" y="928"/>
                </a:lnTo>
                <a:lnTo>
                  <a:pt x="1406" y="928"/>
                </a:lnTo>
                <a:lnTo>
                  <a:pt x="1406" y="928"/>
                </a:lnTo>
                <a:lnTo>
                  <a:pt x="1406" y="928"/>
                </a:lnTo>
                <a:lnTo>
                  <a:pt x="1404" y="930"/>
                </a:lnTo>
                <a:lnTo>
                  <a:pt x="1402" y="932"/>
                </a:lnTo>
                <a:lnTo>
                  <a:pt x="1398" y="932"/>
                </a:lnTo>
                <a:lnTo>
                  <a:pt x="1394" y="930"/>
                </a:lnTo>
                <a:lnTo>
                  <a:pt x="1394" y="930"/>
                </a:lnTo>
                <a:close/>
                <a:moveTo>
                  <a:pt x="1380" y="974"/>
                </a:moveTo>
                <a:lnTo>
                  <a:pt x="1380" y="974"/>
                </a:lnTo>
                <a:lnTo>
                  <a:pt x="1380" y="974"/>
                </a:lnTo>
                <a:lnTo>
                  <a:pt x="1388" y="974"/>
                </a:lnTo>
                <a:lnTo>
                  <a:pt x="1388" y="974"/>
                </a:lnTo>
                <a:lnTo>
                  <a:pt x="1388" y="972"/>
                </a:lnTo>
                <a:lnTo>
                  <a:pt x="1388" y="972"/>
                </a:lnTo>
                <a:lnTo>
                  <a:pt x="1388" y="972"/>
                </a:lnTo>
                <a:lnTo>
                  <a:pt x="1388" y="972"/>
                </a:lnTo>
                <a:lnTo>
                  <a:pt x="1388" y="974"/>
                </a:lnTo>
                <a:lnTo>
                  <a:pt x="1380" y="974"/>
                </a:lnTo>
                <a:close/>
                <a:moveTo>
                  <a:pt x="1396" y="992"/>
                </a:moveTo>
                <a:lnTo>
                  <a:pt x="1396" y="992"/>
                </a:lnTo>
                <a:lnTo>
                  <a:pt x="1392" y="990"/>
                </a:lnTo>
                <a:lnTo>
                  <a:pt x="1392" y="990"/>
                </a:lnTo>
                <a:lnTo>
                  <a:pt x="1396" y="990"/>
                </a:lnTo>
                <a:lnTo>
                  <a:pt x="1396" y="990"/>
                </a:lnTo>
                <a:lnTo>
                  <a:pt x="1398" y="988"/>
                </a:lnTo>
                <a:lnTo>
                  <a:pt x="1398" y="988"/>
                </a:lnTo>
                <a:lnTo>
                  <a:pt x="1396" y="986"/>
                </a:lnTo>
                <a:lnTo>
                  <a:pt x="1396" y="986"/>
                </a:lnTo>
                <a:lnTo>
                  <a:pt x="1398" y="988"/>
                </a:lnTo>
                <a:lnTo>
                  <a:pt x="1398" y="988"/>
                </a:lnTo>
                <a:lnTo>
                  <a:pt x="1396" y="992"/>
                </a:lnTo>
                <a:lnTo>
                  <a:pt x="1396" y="992"/>
                </a:lnTo>
                <a:close/>
                <a:moveTo>
                  <a:pt x="1398" y="1050"/>
                </a:moveTo>
                <a:lnTo>
                  <a:pt x="1398" y="1050"/>
                </a:lnTo>
                <a:lnTo>
                  <a:pt x="1392" y="1046"/>
                </a:lnTo>
                <a:lnTo>
                  <a:pt x="1380" y="1044"/>
                </a:lnTo>
                <a:lnTo>
                  <a:pt x="1380" y="1044"/>
                </a:lnTo>
                <a:lnTo>
                  <a:pt x="1380" y="1044"/>
                </a:lnTo>
                <a:lnTo>
                  <a:pt x="1380" y="1044"/>
                </a:lnTo>
                <a:lnTo>
                  <a:pt x="1392" y="1046"/>
                </a:lnTo>
                <a:lnTo>
                  <a:pt x="1398" y="1050"/>
                </a:lnTo>
                <a:lnTo>
                  <a:pt x="1398" y="1050"/>
                </a:lnTo>
                <a:lnTo>
                  <a:pt x="1398" y="1050"/>
                </a:lnTo>
                <a:lnTo>
                  <a:pt x="1398" y="1050"/>
                </a:lnTo>
                <a:close/>
                <a:moveTo>
                  <a:pt x="1488" y="948"/>
                </a:moveTo>
                <a:lnTo>
                  <a:pt x="1488" y="948"/>
                </a:lnTo>
                <a:lnTo>
                  <a:pt x="1486" y="948"/>
                </a:lnTo>
                <a:lnTo>
                  <a:pt x="1486" y="948"/>
                </a:lnTo>
                <a:lnTo>
                  <a:pt x="1488" y="948"/>
                </a:lnTo>
                <a:lnTo>
                  <a:pt x="1488" y="948"/>
                </a:lnTo>
                <a:lnTo>
                  <a:pt x="1488" y="948"/>
                </a:lnTo>
                <a:lnTo>
                  <a:pt x="1486" y="950"/>
                </a:lnTo>
                <a:lnTo>
                  <a:pt x="1486" y="950"/>
                </a:lnTo>
                <a:lnTo>
                  <a:pt x="1486" y="950"/>
                </a:lnTo>
                <a:lnTo>
                  <a:pt x="1486" y="950"/>
                </a:lnTo>
                <a:lnTo>
                  <a:pt x="1488" y="948"/>
                </a:lnTo>
                <a:lnTo>
                  <a:pt x="1488" y="948"/>
                </a:lnTo>
                <a:close/>
                <a:moveTo>
                  <a:pt x="1448" y="992"/>
                </a:moveTo>
                <a:lnTo>
                  <a:pt x="1448" y="992"/>
                </a:lnTo>
                <a:lnTo>
                  <a:pt x="1448" y="992"/>
                </a:lnTo>
                <a:lnTo>
                  <a:pt x="1442" y="996"/>
                </a:lnTo>
                <a:lnTo>
                  <a:pt x="1442" y="996"/>
                </a:lnTo>
                <a:lnTo>
                  <a:pt x="1440" y="994"/>
                </a:lnTo>
                <a:lnTo>
                  <a:pt x="1440" y="994"/>
                </a:lnTo>
                <a:lnTo>
                  <a:pt x="1442" y="996"/>
                </a:lnTo>
                <a:lnTo>
                  <a:pt x="1442" y="996"/>
                </a:lnTo>
                <a:lnTo>
                  <a:pt x="1448" y="992"/>
                </a:lnTo>
                <a:lnTo>
                  <a:pt x="1448" y="992"/>
                </a:lnTo>
                <a:lnTo>
                  <a:pt x="1448" y="992"/>
                </a:lnTo>
                <a:lnTo>
                  <a:pt x="1448" y="992"/>
                </a:lnTo>
                <a:close/>
                <a:moveTo>
                  <a:pt x="1442" y="958"/>
                </a:moveTo>
                <a:lnTo>
                  <a:pt x="1442" y="958"/>
                </a:lnTo>
                <a:lnTo>
                  <a:pt x="1438" y="960"/>
                </a:lnTo>
                <a:lnTo>
                  <a:pt x="1436" y="962"/>
                </a:lnTo>
                <a:lnTo>
                  <a:pt x="1436" y="962"/>
                </a:lnTo>
                <a:lnTo>
                  <a:pt x="1438" y="966"/>
                </a:lnTo>
                <a:lnTo>
                  <a:pt x="1440" y="968"/>
                </a:lnTo>
                <a:lnTo>
                  <a:pt x="1440" y="968"/>
                </a:lnTo>
                <a:lnTo>
                  <a:pt x="1440" y="968"/>
                </a:lnTo>
                <a:lnTo>
                  <a:pt x="1440" y="968"/>
                </a:lnTo>
                <a:lnTo>
                  <a:pt x="1438" y="966"/>
                </a:lnTo>
                <a:lnTo>
                  <a:pt x="1436" y="964"/>
                </a:lnTo>
                <a:lnTo>
                  <a:pt x="1436" y="964"/>
                </a:lnTo>
                <a:lnTo>
                  <a:pt x="1438" y="960"/>
                </a:lnTo>
                <a:lnTo>
                  <a:pt x="1442" y="958"/>
                </a:lnTo>
                <a:lnTo>
                  <a:pt x="1442" y="958"/>
                </a:lnTo>
                <a:lnTo>
                  <a:pt x="1424" y="960"/>
                </a:lnTo>
                <a:lnTo>
                  <a:pt x="1424" y="960"/>
                </a:lnTo>
                <a:lnTo>
                  <a:pt x="1424" y="960"/>
                </a:lnTo>
                <a:lnTo>
                  <a:pt x="1424" y="960"/>
                </a:lnTo>
                <a:lnTo>
                  <a:pt x="1442" y="958"/>
                </a:lnTo>
                <a:lnTo>
                  <a:pt x="1442" y="958"/>
                </a:lnTo>
                <a:close/>
                <a:moveTo>
                  <a:pt x="1434" y="170"/>
                </a:moveTo>
                <a:lnTo>
                  <a:pt x="1434" y="170"/>
                </a:lnTo>
                <a:lnTo>
                  <a:pt x="1434" y="168"/>
                </a:lnTo>
                <a:lnTo>
                  <a:pt x="1434" y="168"/>
                </a:lnTo>
                <a:lnTo>
                  <a:pt x="1434" y="168"/>
                </a:lnTo>
                <a:lnTo>
                  <a:pt x="1434" y="168"/>
                </a:lnTo>
                <a:lnTo>
                  <a:pt x="1434" y="170"/>
                </a:lnTo>
                <a:lnTo>
                  <a:pt x="1426" y="170"/>
                </a:lnTo>
                <a:lnTo>
                  <a:pt x="1426" y="170"/>
                </a:lnTo>
                <a:lnTo>
                  <a:pt x="1426" y="170"/>
                </a:lnTo>
                <a:lnTo>
                  <a:pt x="1434" y="170"/>
                </a:lnTo>
                <a:close/>
                <a:moveTo>
                  <a:pt x="1412" y="944"/>
                </a:moveTo>
                <a:lnTo>
                  <a:pt x="1412" y="944"/>
                </a:lnTo>
                <a:lnTo>
                  <a:pt x="1412" y="944"/>
                </a:lnTo>
                <a:lnTo>
                  <a:pt x="1412" y="944"/>
                </a:lnTo>
                <a:lnTo>
                  <a:pt x="1418" y="938"/>
                </a:lnTo>
                <a:lnTo>
                  <a:pt x="1422" y="936"/>
                </a:lnTo>
                <a:lnTo>
                  <a:pt x="1428" y="938"/>
                </a:lnTo>
                <a:lnTo>
                  <a:pt x="1434" y="940"/>
                </a:lnTo>
                <a:lnTo>
                  <a:pt x="1434" y="940"/>
                </a:lnTo>
                <a:lnTo>
                  <a:pt x="1434" y="940"/>
                </a:lnTo>
                <a:lnTo>
                  <a:pt x="1434" y="940"/>
                </a:lnTo>
                <a:lnTo>
                  <a:pt x="1428" y="938"/>
                </a:lnTo>
                <a:lnTo>
                  <a:pt x="1422" y="936"/>
                </a:lnTo>
                <a:lnTo>
                  <a:pt x="1418" y="938"/>
                </a:lnTo>
                <a:lnTo>
                  <a:pt x="1412" y="944"/>
                </a:lnTo>
                <a:lnTo>
                  <a:pt x="1412" y="944"/>
                </a:lnTo>
                <a:close/>
                <a:moveTo>
                  <a:pt x="1410" y="1026"/>
                </a:moveTo>
                <a:lnTo>
                  <a:pt x="1410" y="1026"/>
                </a:lnTo>
                <a:lnTo>
                  <a:pt x="1410" y="1026"/>
                </a:lnTo>
                <a:lnTo>
                  <a:pt x="1410" y="1026"/>
                </a:lnTo>
                <a:lnTo>
                  <a:pt x="1418" y="1028"/>
                </a:lnTo>
                <a:lnTo>
                  <a:pt x="1422" y="1030"/>
                </a:lnTo>
                <a:lnTo>
                  <a:pt x="1426" y="1028"/>
                </a:lnTo>
                <a:lnTo>
                  <a:pt x="1426" y="1028"/>
                </a:lnTo>
                <a:lnTo>
                  <a:pt x="1420" y="1022"/>
                </a:lnTo>
                <a:lnTo>
                  <a:pt x="1420" y="1022"/>
                </a:lnTo>
                <a:lnTo>
                  <a:pt x="1426" y="1028"/>
                </a:lnTo>
                <a:lnTo>
                  <a:pt x="1426" y="1028"/>
                </a:lnTo>
                <a:lnTo>
                  <a:pt x="1422" y="1030"/>
                </a:lnTo>
                <a:lnTo>
                  <a:pt x="1418" y="1028"/>
                </a:lnTo>
                <a:lnTo>
                  <a:pt x="1410" y="1026"/>
                </a:lnTo>
                <a:lnTo>
                  <a:pt x="1410" y="1026"/>
                </a:lnTo>
                <a:close/>
                <a:moveTo>
                  <a:pt x="1426" y="974"/>
                </a:moveTo>
                <a:lnTo>
                  <a:pt x="1426" y="974"/>
                </a:lnTo>
                <a:lnTo>
                  <a:pt x="1426" y="974"/>
                </a:lnTo>
                <a:lnTo>
                  <a:pt x="1426" y="974"/>
                </a:lnTo>
                <a:lnTo>
                  <a:pt x="1430" y="974"/>
                </a:lnTo>
                <a:lnTo>
                  <a:pt x="1430" y="974"/>
                </a:lnTo>
                <a:lnTo>
                  <a:pt x="1426" y="972"/>
                </a:lnTo>
                <a:lnTo>
                  <a:pt x="1426" y="972"/>
                </a:lnTo>
                <a:lnTo>
                  <a:pt x="1426" y="972"/>
                </a:lnTo>
                <a:lnTo>
                  <a:pt x="1426" y="972"/>
                </a:lnTo>
                <a:lnTo>
                  <a:pt x="1430" y="974"/>
                </a:lnTo>
                <a:lnTo>
                  <a:pt x="1430" y="974"/>
                </a:lnTo>
                <a:lnTo>
                  <a:pt x="1426" y="974"/>
                </a:lnTo>
                <a:lnTo>
                  <a:pt x="1426" y="974"/>
                </a:lnTo>
                <a:close/>
                <a:moveTo>
                  <a:pt x="1448" y="1026"/>
                </a:moveTo>
                <a:lnTo>
                  <a:pt x="1448" y="1026"/>
                </a:lnTo>
                <a:lnTo>
                  <a:pt x="1448" y="1026"/>
                </a:lnTo>
                <a:lnTo>
                  <a:pt x="1448" y="1026"/>
                </a:lnTo>
                <a:lnTo>
                  <a:pt x="1452" y="1018"/>
                </a:lnTo>
                <a:lnTo>
                  <a:pt x="1452" y="1018"/>
                </a:lnTo>
                <a:lnTo>
                  <a:pt x="1440" y="1014"/>
                </a:lnTo>
                <a:lnTo>
                  <a:pt x="1430" y="1014"/>
                </a:lnTo>
                <a:lnTo>
                  <a:pt x="1430" y="1014"/>
                </a:lnTo>
                <a:lnTo>
                  <a:pt x="1440" y="1014"/>
                </a:lnTo>
                <a:lnTo>
                  <a:pt x="1452" y="1018"/>
                </a:lnTo>
                <a:lnTo>
                  <a:pt x="1452" y="1018"/>
                </a:lnTo>
                <a:lnTo>
                  <a:pt x="1452" y="1018"/>
                </a:lnTo>
                <a:lnTo>
                  <a:pt x="1452" y="1018"/>
                </a:lnTo>
                <a:lnTo>
                  <a:pt x="1452" y="1018"/>
                </a:lnTo>
                <a:lnTo>
                  <a:pt x="1452" y="1018"/>
                </a:lnTo>
                <a:lnTo>
                  <a:pt x="1448" y="1026"/>
                </a:lnTo>
                <a:lnTo>
                  <a:pt x="1448" y="1026"/>
                </a:lnTo>
                <a:close/>
                <a:moveTo>
                  <a:pt x="1454" y="1016"/>
                </a:moveTo>
                <a:lnTo>
                  <a:pt x="1454" y="1016"/>
                </a:lnTo>
                <a:lnTo>
                  <a:pt x="1454" y="1016"/>
                </a:lnTo>
                <a:lnTo>
                  <a:pt x="1454" y="1016"/>
                </a:lnTo>
                <a:lnTo>
                  <a:pt x="1460" y="1012"/>
                </a:lnTo>
                <a:lnTo>
                  <a:pt x="1460" y="1012"/>
                </a:lnTo>
                <a:lnTo>
                  <a:pt x="1456" y="1010"/>
                </a:lnTo>
                <a:lnTo>
                  <a:pt x="1456" y="1010"/>
                </a:lnTo>
                <a:lnTo>
                  <a:pt x="1460" y="1012"/>
                </a:lnTo>
                <a:lnTo>
                  <a:pt x="1460" y="1012"/>
                </a:lnTo>
                <a:lnTo>
                  <a:pt x="1454" y="1016"/>
                </a:lnTo>
                <a:lnTo>
                  <a:pt x="1454" y="1016"/>
                </a:lnTo>
                <a:close/>
                <a:moveTo>
                  <a:pt x="1452" y="994"/>
                </a:moveTo>
                <a:lnTo>
                  <a:pt x="1452" y="994"/>
                </a:lnTo>
                <a:lnTo>
                  <a:pt x="1452" y="994"/>
                </a:lnTo>
                <a:lnTo>
                  <a:pt x="1452" y="994"/>
                </a:lnTo>
                <a:lnTo>
                  <a:pt x="1456" y="996"/>
                </a:lnTo>
                <a:lnTo>
                  <a:pt x="1458" y="996"/>
                </a:lnTo>
                <a:lnTo>
                  <a:pt x="1464" y="996"/>
                </a:lnTo>
                <a:lnTo>
                  <a:pt x="1464" y="996"/>
                </a:lnTo>
                <a:lnTo>
                  <a:pt x="1464" y="996"/>
                </a:lnTo>
                <a:lnTo>
                  <a:pt x="1464" y="996"/>
                </a:lnTo>
                <a:lnTo>
                  <a:pt x="1458" y="996"/>
                </a:lnTo>
                <a:lnTo>
                  <a:pt x="1456" y="996"/>
                </a:lnTo>
                <a:lnTo>
                  <a:pt x="1452" y="994"/>
                </a:lnTo>
                <a:lnTo>
                  <a:pt x="1452" y="994"/>
                </a:lnTo>
                <a:close/>
                <a:moveTo>
                  <a:pt x="1466" y="966"/>
                </a:moveTo>
                <a:lnTo>
                  <a:pt x="1466" y="966"/>
                </a:lnTo>
                <a:lnTo>
                  <a:pt x="1470" y="966"/>
                </a:lnTo>
                <a:lnTo>
                  <a:pt x="1478" y="970"/>
                </a:lnTo>
                <a:lnTo>
                  <a:pt x="1478" y="970"/>
                </a:lnTo>
                <a:lnTo>
                  <a:pt x="1490" y="968"/>
                </a:lnTo>
                <a:lnTo>
                  <a:pt x="1490" y="968"/>
                </a:lnTo>
                <a:lnTo>
                  <a:pt x="1490" y="970"/>
                </a:lnTo>
                <a:lnTo>
                  <a:pt x="1488" y="972"/>
                </a:lnTo>
                <a:lnTo>
                  <a:pt x="1488" y="972"/>
                </a:lnTo>
                <a:lnTo>
                  <a:pt x="1488" y="972"/>
                </a:lnTo>
                <a:lnTo>
                  <a:pt x="1488" y="972"/>
                </a:lnTo>
                <a:lnTo>
                  <a:pt x="1490" y="968"/>
                </a:lnTo>
                <a:lnTo>
                  <a:pt x="1490" y="968"/>
                </a:lnTo>
                <a:lnTo>
                  <a:pt x="1478" y="970"/>
                </a:lnTo>
                <a:lnTo>
                  <a:pt x="1478" y="970"/>
                </a:lnTo>
                <a:lnTo>
                  <a:pt x="1470" y="966"/>
                </a:lnTo>
                <a:lnTo>
                  <a:pt x="1466" y="966"/>
                </a:lnTo>
                <a:lnTo>
                  <a:pt x="1466" y="966"/>
                </a:lnTo>
                <a:close/>
                <a:moveTo>
                  <a:pt x="1488" y="1028"/>
                </a:moveTo>
                <a:lnTo>
                  <a:pt x="1488" y="1028"/>
                </a:lnTo>
                <a:lnTo>
                  <a:pt x="1488" y="1028"/>
                </a:lnTo>
                <a:lnTo>
                  <a:pt x="1488" y="1028"/>
                </a:lnTo>
                <a:lnTo>
                  <a:pt x="1490" y="1026"/>
                </a:lnTo>
                <a:lnTo>
                  <a:pt x="1490" y="1026"/>
                </a:lnTo>
                <a:lnTo>
                  <a:pt x="1486" y="1024"/>
                </a:lnTo>
                <a:lnTo>
                  <a:pt x="1486" y="1024"/>
                </a:lnTo>
                <a:lnTo>
                  <a:pt x="1486" y="1024"/>
                </a:lnTo>
                <a:lnTo>
                  <a:pt x="1486" y="1024"/>
                </a:lnTo>
                <a:lnTo>
                  <a:pt x="1490" y="1026"/>
                </a:lnTo>
                <a:lnTo>
                  <a:pt x="1490" y="1026"/>
                </a:lnTo>
                <a:lnTo>
                  <a:pt x="1488" y="1028"/>
                </a:lnTo>
                <a:lnTo>
                  <a:pt x="1488" y="1028"/>
                </a:lnTo>
                <a:close/>
                <a:moveTo>
                  <a:pt x="1688" y="1020"/>
                </a:moveTo>
                <a:lnTo>
                  <a:pt x="1688" y="1020"/>
                </a:lnTo>
                <a:lnTo>
                  <a:pt x="1690" y="1018"/>
                </a:lnTo>
                <a:lnTo>
                  <a:pt x="1690" y="1018"/>
                </a:lnTo>
                <a:lnTo>
                  <a:pt x="1690" y="1018"/>
                </a:lnTo>
                <a:lnTo>
                  <a:pt x="1690" y="1018"/>
                </a:lnTo>
                <a:lnTo>
                  <a:pt x="1688" y="1020"/>
                </a:lnTo>
                <a:lnTo>
                  <a:pt x="1688" y="1020"/>
                </a:lnTo>
                <a:lnTo>
                  <a:pt x="1684" y="1022"/>
                </a:lnTo>
                <a:lnTo>
                  <a:pt x="1682" y="1020"/>
                </a:lnTo>
                <a:lnTo>
                  <a:pt x="1682" y="1020"/>
                </a:lnTo>
                <a:lnTo>
                  <a:pt x="1684" y="1022"/>
                </a:lnTo>
                <a:lnTo>
                  <a:pt x="1688" y="1020"/>
                </a:lnTo>
                <a:lnTo>
                  <a:pt x="1688" y="1020"/>
                </a:lnTo>
                <a:close/>
                <a:moveTo>
                  <a:pt x="1676" y="980"/>
                </a:moveTo>
                <a:lnTo>
                  <a:pt x="1676" y="980"/>
                </a:lnTo>
                <a:lnTo>
                  <a:pt x="1678" y="982"/>
                </a:lnTo>
                <a:lnTo>
                  <a:pt x="1678" y="984"/>
                </a:lnTo>
                <a:lnTo>
                  <a:pt x="1676" y="988"/>
                </a:lnTo>
                <a:lnTo>
                  <a:pt x="1676" y="988"/>
                </a:lnTo>
                <a:lnTo>
                  <a:pt x="1676" y="988"/>
                </a:lnTo>
                <a:lnTo>
                  <a:pt x="1678" y="984"/>
                </a:lnTo>
                <a:lnTo>
                  <a:pt x="1678" y="982"/>
                </a:lnTo>
                <a:lnTo>
                  <a:pt x="1674" y="980"/>
                </a:lnTo>
                <a:lnTo>
                  <a:pt x="1674" y="980"/>
                </a:lnTo>
                <a:lnTo>
                  <a:pt x="1676" y="980"/>
                </a:lnTo>
                <a:lnTo>
                  <a:pt x="1676" y="980"/>
                </a:lnTo>
                <a:close/>
                <a:moveTo>
                  <a:pt x="1678" y="1030"/>
                </a:moveTo>
                <a:lnTo>
                  <a:pt x="1678" y="1030"/>
                </a:lnTo>
                <a:lnTo>
                  <a:pt x="1678" y="1030"/>
                </a:lnTo>
                <a:lnTo>
                  <a:pt x="1678" y="1030"/>
                </a:lnTo>
                <a:lnTo>
                  <a:pt x="1672" y="1024"/>
                </a:lnTo>
                <a:lnTo>
                  <a:pt x="1666" y="1026"/>
                </a:lnTo>
                <a:lnTo>
                  <a:pt x="1666" y="1026"/>
                </a:lnTo>
                <a:lnTo>
                  <a:pt x="1658" y="1028"/>
                </a:lnTo>
                <a:lnTo>
                  <a:pt x="1658" y="1028"/>
                </a:lnTo>
                <a:lnTo>
                  <a:pt x="1658" y="1028"/>
                </a:lnTo>
                <a:lnTo>
                  <a:pt x="1658" y="1028"/>
                </a:lnTo>
                <a:lnTo>
                  <a:pt x="1666" y="1026"/>
                </a:lnTo>
                <a:lnTo>
                  <a:pt x="1666" y="1026"/>
                </a:lnTo>
                <a:lnTo>
                  <a:pt x="1672" y="1024"/>
                </a:lnTo>
                <a:lnTo>
                  <a:pt x="1678" y="1030"/>
                </a:lnTo>
                <a:lnTo>
                  <a:pt x="1678" y="1030"/>
                </a:lnTo>
                <a:close/>
                <a:moveTo>
                  <a:pt x="1664" y="1038"/>
                </a:moveTo>
                <a:lnTo>
                  <a:pt x="1664" y="1038"/>
                </a:lnTo>
                <a:lnTo>
                  <a:pt x="1662" y="1036"/>
                </a:lnTo>
                <a:lnTo>
                  <a:pt x="1662" y="1036"/>
                </a:lnTo>
                <a:lnTo>
                  <a:pt x="1664" y="1038"/>
                </a:lnTo>
                <a:lnTo>
                  <a:pt x="1664" y="1038"/>
                </a:lnTo>
                <a:lnTo>
                  <a:pt x="1660" y="1042"/>
                </a:lnTo>
                <a:lnTo>
                  <a:pt x="1654" y="1042"/>
                </a:lnTo>
                <a:lnTo>
                  <a:pt x="1654" y="1042"/>
                </a:lnTo>
                <a:lnTo>
                  <a:pt x="1660" y="1042"/>
                </a:lnTo>
                <a:lnTo>
                  <a:pt x="1664" y="1038"/>
                </a:lnTo>
                <a:lnTo>
                  <a:pt x="1664" y="1038"/>
                </a:lnTo>
                <a:close/>
                <a:moveTo>
                  <a:pt x="1650" y="1028"/>
                </a:moveTo>
                <a:lnTo>
                  <a:pt x="1650" y="1028"/>
                </a:lnTo>
                <a:lnTo>
                  <a:pt x="1650" y="1028"/>
                </a:lnTo>
                <a:lnTo>
                  <a:pt x="1654" y="1026"/>
                </a:lnTo>
                <a:lnTo>
                  <a:pt x="1656" y="1028"/>
                </a:lnTo>
                <a:lnTo>
                  <a:pt x="1656" y="1028"/>
                </a:lnTo>
                <a:lnTo>
                  <a:pt x="1656" y="1028"/>
                </a:lnTo>
                <a:lnTo>
                  <a:pt x="1654" y="1026"/>
                </a:lnTo>
                <a:lnTo>
                  <a:pt x="1650" y="1028"/>
                </a:lnTo>
                <a:lnTo>
                  <a:pt x="1650" y="1028"/>
                </a:lnTo>
                <a:close/>
                <a:moveTo>
                  <a:pt x="1612" y="1004"/>
                </a:moveTo>
                <a:lnTo>
                  <a:pt x="1612" y="1004"/>
                </a:lnTo>
                <a:lnTo>
                  <a:pt x="1616" y="1002"/>
                </a:lnTo>
                <a:lnTo>
                  <a:pt x="1616" y="1002"/>
                </a:lnTo>
                <a:lnTo>
                  <a:pt x="1618" y="1000"/>
                </a:lnTo>
                <a:lnTo>
                  <a:pt x="1618" y="1000"/>
                </a:lnTo>
                <a:lnTo>
                  <a:pt x="1616" y="1000"/>
                </a:lnTo>
                <a:lnTo>
                  <a:pt x="1616" y="1000"/>
                </a:lnTo>
                <a:lnTo>
                  <a:pt x="1616" y="1000"/>
                </a:lnTo>
                <a:lnTo>
                  <a:pt x="1616" y="1000"/>
                </a:lnTo>
                <a:lnTo>
                  <a:pt x="1618" y="1000"/>
                </a:lnTo>
                <a:lnTo>
                  <a:pt x="1618" y="1000"/>
                </a:lnTo>
                <a:lnTo>
                  <a:pt x="1616" y="1002"/>
                </a:lnTo>
                <a:lnTo>
                  <a:pt x="1616" y="1002"/>
                </a:lnTo>
                <a:lnTo>
                  <a:pt x="1612" y="1004"/>
                </a:lnTo>
                <a:lnTo>
                  <a:pt x="1612" y="1004"/>
                </a:lnTo>
                <a:lnTo>
                  <a:pt x="1612" y="1004"/>
                </a:lnTo>
                <a:lnTo>
                  <a:pt x="1612" y="1004"/>
                </a:lnTo>
                <a:close/>
                <a:moveTo>
                  <a:pt x="1578" y="996"/>
                </a:moveTo>
                <a:lnTo>
                  <a:pt x="1578" y="996"/>
                </a:lnTo>
                <a:lnTo>
                  <a:pt x="1578" y="996"/>
                </a:lnTo>
                <a:lnTo>
                  <a:pt x="1578" y="996"/>
                </a:lnTo>
                <a:lnTo>
                  <a:pt x="1570" y="994"/>
                </a:lnTo>
                <a:lnTo>
                  <a:pt x="1564" y="994"/>
                </a:lnTo>
                <a:lnTo>
                  <a:pt x="1546" y="998"/>
                </a:lnTo>
                <a:lnTo>
                  <a:pt x="1546" y="998"/>
                </a:lnTo>
                <a:lnTo>
                  <a:pt x="1546" y="998"/>
                </a:lnTo>
                <a:lnTo>
                  <a:pt x="1546" y="998"/>
                </a:lnTo>
                <a:lnTo>
                  <a:pt x="1564" y="994"/>
                </a:lnTo>
                <a:lnTo>
                  <a:pt x="1570" y="994"/>
                </a:lnTo>
                <a:lnTo>
                  <a:pt x="1578" y="996"/>
                </a:lnTo>
                <a:lnTo>
                  <a:pt x="1578" y="996"/>
                </a:lnTo>
                <a:close/>
                <a:moveTo>
                  <a:pt x="1572" y="1006"/>
                </a:moveTo>
                <a:lnTo>
                  <a:pt x="1572" y="1006"/>
                </a:lnTo>
                <a:lnTo>
                  <a:pt x="1572" y="1006"/>
                </a:lnTo>
                <a:lnTo>
                  <a:pt x="1572" y="1006"/>
                </a:lnTo>
                <a:lnTo>
                  <a:pt x="1570" y="1002"/>
                </a:lnTo>
                <a:lnTo>
                  <a:pt x="1570" y="1000"/>
                </a:lnTo>
                <a:lnTo>
                  <a:pt x="1570" y="1000"/>
                </a:lnTo>
                <a:lnTo>
                  <a:pt x="1570" y="1002"/>
                </a:lnTo>
                <a:lnTo>
                  <a:pt x="1572" y="1006"/>
                </a:lnTo>
                <a:lnTo>
                  <a:pt x="1572" y="1006"/>
                </a:lnTo>
                <a:close/>
                <a:moveTo>
                  <a:pt x="1544" y="964"/>
                </a:moveTo>
                <a:lnTo>
                  <a:pt x="1544" y="964"/>
                </a:lnTo>
                <a:lnTo>
                  <a:pt x="1546" y="966"/>
                </a:lnTo>
                <a:lnTo>
                  <a:pt x="1546" y="966"/>
                </a:lnTo>
                <a:lnTo>
                  <a:pt x="1538" y="978"/>
                </a:lnTo>
                <a:lnTo>
                  <a:pt x="1538" y="978"/>
                </a:lnTo>
                <a:lnTo>
                  <a:pt x="1550" y="976"/>
                </a:lnTo>
                <a:lnTo>
                  <a:pt x="1562" y="978"/>
                </a:lnTo>
                <a:lnTo>
                  <a:pt x="1562" y="978"/>
                </a:lnTo>
                <a:lnTo>
                  <a:pt x="1556" y="982"/>
                </a:lnTo>
                <a:lnTo>
                  <a:pt x="1550" y="984"/>
                </a:lnTo>
                <a:lnTo>
                  <a:pt x="1538" y="986"/>
                </a:lnTo>
                <a:lnTo>
                  <a:pt x="1538" y="986"/>
                </a:lnTo>
                <a:lnTo>
                  <a:pt x="1522" y="970"/>
                </a:lnTo>
                <a:lnTo>
                  <a:pt x="1522" y="970"/>
                </a:lnTo>
                <a:lnTo>
                  <a:pt x="1544" y="964"/>
                </a:lnTo>
                <a:lnTo>
                  <a:pt x="1544" y="964"/>
                </a:lnTo>
                <a:close/>
                <a:moveTo>
                  <a:pt x="1544" y="1010"/>
                </a:moveTo>
                <a:lnTo>
                  <a:pt x="1544" y="1010"/>
                </a:lnTo>
                <a:lnTo>
                  <a:pt x="1544" y="1010"/>
                </a:lnTo>
                <a:lnTo>
                  <a:pt x="1544" y="1010"/>
                </a:lnTo>
                <a:lnTo>
                  <a:pt x="1546" y="1014"/>
                </a:lnTo>
                <a:lnTo>
                  <a:pt x="1546" y="1014"/>
                </a:lnTo>
                <a:lnTo>
                  <a:pt x="1542" y="1016"/>
                </a:lnTo>
                <a:lnTo>
                  <a:pt x="1542" y="1016"/>
                </a:lnTo>
                <a:lnTo>
                  <a:pt x="1542" y="1016"/>
                </a:lnTo>
                <a:lnTo>
                  <a:pt x="1546" y="1014"/>
                </a:lnTo>
                <a:lnTo>
                  <a:pt x="1546" y="1014"/>
                </a:lnTo>
                <a:lnTo>
                  <a:pt x="1544" y="1010"/>
                </a:lnTo>
                <a:lnTo>
                  <a:pt x="1544" y="1010"/>
                </a:lnTo>
                <a:close/>
                <a:moveTo>
                  <a:pt x="1520" y="948"/>
                </a:moveTo>
                <a:lnTo>
                  <a:pt x="1520" y="948"/>
                </a:lnTo>
                <a:lnTo>
                  <a:pt x="1522" y="948"/>
                </a:lnTo>
                <a:lnTo>
                  <a:pt x="1522" y="948"/>
                </a:lnTo>
                <a:lnTo>
                  <a:pt x="1524" y="950"/>
                </a:lnTo>
                <a:lnTo>
                  <a:pt x="1524" y="950"/>
                </a:lnTo>
                <a:lnTo>
                  <a:pt x="1520" y="952"/>
                </a:lnTo>
                <a:lnTo>
                  <a:pt x="1520" y="952"/>
                </a:lnTo>
                <a:lnTo>
                  <a:pt x="1520" y="952"/>
                </a:lnTo>
                <a:lnTo>
                  <a:pt x="1520" y="952"/>
                </a:lnTo>
                <a:lnTo>
                  <a:pt x="1522" y="950"/>
                </a:lnTo>
                <a:lnTo>
                  <a:pt x="1522" y="950"/>
                </a:lnTo>
                <a:lnTo>
                  <a:pt x="1520" y="948"/>
                </a:lnTo>
                <a:lnTo>
                  <a:pt x="1520" y="948"/>
                </a:lnTo>
                <a:close/>
                <a:moveTo>
                  <a:pt x="1528" y="1016"/>
                </a:moveTo>
                <a:lnTo>
                  <a:pt x="1528" y="1016"/>
                </a:lnTo>
                <a:lnTo>
                  <a:pt x="1528" y="1014"/>
                </a:lnTo>
                <a:lnTo>
                  <a:pt x="1528" y="1014"/>
                </a:lnTo>
                <a:lnTo>
                  <a:pt x="1526" y="1020"/>
                </a:lnTo>
                <a:lnTo>
                  <a:pt x="1520" y="1022"/>
                </a:lnTo>
                <a:lnTo>
                  <a:pt x="1520" y="1022"/>
                </a:lnTo>
                <a:lnTo>
                  <a:pt x="1526" y="1020"/>
                </a:lnTo>
                <a:lnTo>
                  <a:pt x="1528" y="1016"/>
                </a:lnTo>
                <a:lnTo>
                  <a:pt x="1528" y="1016"/>
                </a:lnTo>
                <a:close/>
                <a:moveTo>
                  <a:pt x="1612" y="1022"/>
                </a:moveTo>
                <a:lnTo>
                  <a:pt x="1612" y="1022"/>
                </a:lnTo>
                <a:lnTo>
                  <a:pt x="1608" y="1022"/>
                </a:lnTo>
                <a:lnTo>
                  <a:pt x="1608" y="1022"/>
                </a:lnTo>
                <a:lnTo>
                  <a:pt x="1600" y="1024"/>
                </a:lnTo>
                <a:lnTo>
                  <a:pt x="1592" y="1024"/>
                </a:lnTo>
                <a:lnTo>
                  <a:pt x="1574" y="1022"/>
                </a:lnTo>
                <a:lnTo>
                  <a:pt x="1574" y="1022"/>
                </a:lnTo>
                <a:lnTo>
                  <a:pt x="1572" y="1022"/>
                </a:lnTo>
                <a:lnTo>
                  <a:pt x="1572" y="1022"/>
                </a:lnTo>
                <a:lnTo>
                  <a:pt x="1572" y="1022"/>
                </a:lnTo>
                <a:lnTo>
                  <a:pt x="1570" y="1028"/>
                </a:lnTo>
                <a:lnTo>
                  <a:pt x="1570" y="1028"/>
                </a:lnTo>
                <a:lnTo>
                  <a:pt x="1564" y="1034"/>
                </a:lnTo>
                <a:lnTo>
                  <a:pt x="1564" y="1034"/>
                </a:lnTo>
                <a:lnTo>
                  <a:pt x="1548" y="1030"/>
                </a:lnTo>
                <a:lnTo>
                  <a:pt x="1548" y="1030"/>
                </a:lnTo>
                <a:lnTo>
                  <a:pt x="1542" y="1030"/>
                </a:lnTo>
                <a:lnTo>
                  <a:pt x="1536" y="1032"/>
                </a:lnTo>
                <a:lnTo>
                  <a:pt x="1530" y="1034"/>
                </a:lnTo>
                <a:lnTo>
                  <a:pt x="1524" y="1032"/>
                </a:lnTo>
                <a:lnTo>
                  <a:pt x="1524" y="1032"/>
                </a:lnTo>
                <a:lnTo>
                  <a:pt x="1526" y="1028"/>
                </a:lnTo>
                <a:lnTo>
                  <a:pt x="1530" y="1026"/>
                </a:lnTo>
                <a:lnTo>
                  <a:pt x="1538" y="1026"/>
                </a:lnTo>
                <a:lnTo>
                  <a:pt x="1538" y="1026"/>
                </a:lnTo>
                <a:lnTo>
                  <a:pt x="1544" y="1020"/>
                </a:lnTo>
                <a:lnTo>
                  <a:pt x="1544" y="1020"/>
                </a:lnTo>
                <a:lnTo>
                  <a:pt x="1548" y="1018"/>
                </a:lnTo>
                <a:lnTo>
                  <a:pt x="1550" y="1016"/>
                </a:lnTo>
                <a:lnTo>
                  <a:pt x="1554" y="1018"/>
                </a:lnTo>
                <a:lnTo>
                  <a:pt x="1556" y="1020"/>
                </a:lnTo>
                <a:lnTo>
                  <a:pt x="1556" y="1020"/>
                </a:lnTo>
                <a:lnTo>
                  <a:pt x="1562" y="1024"/>
                </a:lnTo>
                <a:lnTo>
                  <a:pt x="1564" y="1024"/>
                </a:lnTo>
                <a:lnTo>
                  <a:pt x="1568" y="1022"/>
                </a:lnTo>
                <a:lnTo>
                  <a:pt x="1568" y="1022"/>
                </a:lnTo>
                <a:lnTo>
                  <a:pt x="1566" y="1018"/>
                </a:lnTo>
                <a:lnTo>
                  <a:pt x="1564" y="1016"/>
                </a:lnTo>
                <a:lnTo>
                  <a:pt x="1554" y="1014"/>
                </a:lnTo>
                <a:lnTo>
                  <a:pt x="1554" y="1014"/>
                </a:lnTo>
                <a:lnTo>
                  <a:pt x="1556" y="1012"/>
                </a:lnTo>
                <a:lnTo>
                  <a:pt x="1556" y="1012"/>
                </a:lnTo>
                <a:lnTo>
                  <a:pt x="1566" y="1012"/>
                </a:lnTo>
                <a:lnTo>
                  <a:pt x="1574" y="1010"/>
                </a:lnTo>
                <a:lnTo>
                  <a:pt x="1588" y="1002"/>
                </a:lnTo>
                <a:lnTo>
                  <a:pt x="1588" y="1002"/>
                </a:lnTo>
                <a:lnTo>
                  <a:pt x="1596" y="1000"/>
                </a:lnTo>
                <a:lnTo>
                  <a:pt x="1608" y="1000"/>
                </a:lnTo>
                <a:lnTo>
                  <a:pt x="1608" y="1000"/>
                </a:lnTo>
                <a:lnTo>
                  <a:pt x="1600" y="1006"/>
                </a:lnTo>
                <a:lnTo>
                  <a:pt x="1592" y="1008"/>
                </a:lnTo>
                <a:lnTo>
                  <a:pt x="1592" y="1008"/>
                </a:lnTo>
                <a:lnTo>
                  <a:pt x="1600" y="1010"/>
                </a:lnTo>
                <a:lnTo>
                  <a:pt x="1602" y="1012"/>
                </a:lnTo>
                <a:lnTo>
                  <a:pt x="1604" y="1014"/>
                </a:lnTo>
                <a:lnTo>
                  <a:pt x="1604" y="1014"/>
                </a:lnTo>
                <a:lnTo>
                  <a:pt x="1606" y="1016"/>
                </a:lnTo>
                <a:lnTo>
                  <a:pt x="1606" y="1016"/>
                </a:lnTo>
                <a:lnTo>
                  <a:pt x="1620" y="1016"/>
                </a:lnTo>
                <a:lnTo>
                  <a:pt x="1620" y="1016"/>
                </a:lnTo>
                <a:lnTo>
                  <a:pt x="1626" y="1016"/>
                </a:lnTo>
                <a:lnTo>
                  <a:pt x="1632" y="1012"/>
                </a:lnTo>
                <a:lnTo>
                  <a:pt x="1632" y="1012"/>
                </a:lnTo>
                <a:lnTo>
                  <a:pt x="1638" y="1008"/>
                </a:lnTo>
                <a:lnTo>
                  <a:pt x="1646" y="1006"/>
                </a:lnTo>
                <a:lnTo>
                  <a:pt x="1646" y="1006"/>
                </a:lnTo>
                <a:lnTo>
                  <a:pt x="1664" y="1010"/>
                </a:lnTo>
                <a:lnTo>
                  <a:pt x="1664" y="1010"/>
                </a:lnTo>
                <a:lnTo>
                  <a:pt x="1664" y="1012"/>
                </a:lnTo>
                <a:lnTo>
                  <a:pt x="1662" y="1014"/>
                </a:lnTo>
                <a:lnTo>
                  <a:pt x="1658" y="1014"/>
                </a:lnTo>
                <a:lnTo>
                  <a:pt x="1658" y="1014"/>
                </a:lnTo>
                <a:lnTo>
                  <a:pt x="1646" y="1016"/>
                </a:lnTo>
                <a:lnTo>
                  <a:pt x="1634" y="1018"/>
                </a:lnTo>
                <a:lnTo>
                  <a:pt x="1624" y="1020"/>
                </a:lnTo>
                <a:lnTo>
                  <a:pt x="1612" y="1022"/>
                </a:lnTo>
                <a:lnTo>
                  <a:pt x="1612" y="1022"/>
                </a:lnTo>
                <a:close/>
                <a:moveTo>
                  <a:pt x="1646" y="1036"/>
                </a:moveTo>
                <a:lnTo>
                  <a:pt x="1646" y="1036"/>
                </a:lnTo>
                <a:lnTo>
                  <a:pt x="1646" y="1036"/>
                </a:lnTo>
                <a:lnTo>
                  <a:pt x="1646" y="1036"/>
                </a:lnTo>
                <a:lnTo>
                  <a:pt x="1654" y="1034"/>
                </a:lnTo>
                <a:lnTo>
                  <a:pt x="1654" y="1034"/>
                </a:lnTo>
                <a:lnTo>
                  <a:pt x="1652" y="1032"/>
                </a:lnTo>
                <a:lnTo>
                  <a:pt x="1652" y="1032"/>
                </a:lnTo>
                <a:lnTo>
                  <a:pt x="1652" y="1032"/>
                </a:lnTo>
                <a:lnTo>
                  <a:pt x="1652" y="1032"/>
                </a:lnTo>
                <a:lnTo>
                  <a:pt x="1654" y="1034"/>
                </a:lnTo>
                <a:lnTo>
                  <a:pt x="1654" y="1034"/>
                </a:lnTo>
                <a:lnTo>
                  <a:pt x="1646" y="1036"/>
                </a:lnTo>
                <a:lnTo>
                  <a:pt x="1646" y="1036"/>
                </a:lnTo>
                <a:close/>
                <a:moveTo>
                  <a:pt x="1652" y="1062"/>
                </a:moveTo>
                <a:lnTo>
                  <a:pt x="1652" y="1062"/>
                </a:lnTo>
                <a:lnTo>
                  <a:pt x="1652" y="1062"/>
                </a:lnTo>
                <a:lnTo>
                  <a:pt x="1652" y="1062"/>
                </a:lnTo>
                <a:lnTo>
                  <a:pt x="1658" y="1060"/>
                </a:lnTo>
                <a:lnTo>
                  <a:pt x="1658" y="1058"/>
                </a:lnTo>
                <a:lnTo>
                  <a:pt x="1658" y="1058"/>
                </a:lnTo>
                <a:lnTo>
                  <a:pt x="1658" y="1060"/>
                </a:lnTo>
                <a:lnTo>
                  <a:pt x="1652" y="1062"/>
                </a:lnTo>
                <a:lnTo>
                  <a:pt x="1652" y="1062"/>
                </a:lnTo>
                <a:close/>
                <a:moveTo>
                  <a:pt x="1664" y="1050"/>
                </a:moveTo>
                <a:lnTo>
                  <a:pt x="1664" y="1050"/>
                </a:lnTo>
                <a:lnTo>
                  <a:pt x="1662" y="1050"/>
                </a:lnTo>
                <a:lnTo>
                  <a:pt x="1662" y="1050"/>
                </a:lnTo>
                <a:lnTo>
                  <a:pt x="1664" y="1050"/>
                </a:lnTo>
                <a:lnTo>
                  <a:pt x="1664" y="1050"/>
                </a:lnTo>
                <a:lnTo>
                  <a:pt x="1668" y="1048"/>
                </a:lnTo>
                <a:lnTo>
                  <a:pt x="1668" y="1048"/>
                </a:lnTo>
                <a:lnTo>
                  <a:pt x="1668" y="1046"/>
                </a:lnTo>
                <a:lnTo>
                  <a:pt x="1666" y="1046"/>
                </a:lnTo>
                <a:lnTo>
                  <a:pt x="1666" y="1046"/>
                </a:lnTo>
                <a:lnTo>
                  <a:pt x="1668" y="1046"/>
                </a:lnTo>
                <a:lnTo>
                  <a:pt x="1668" y="1048"/>
                </a:lnTo>
                <a:lnTo>
                  <a:pt x="1668" y="1048"/>
                </a:lnTo>
                <a:lnTo>
                  <a:pt x="1664" y="1050"/>
                </a:lnTo>
                <a:lnTo>
                  <a:pt x="1664" y="1050"/>
                </a:lnTo>
                <a:close/>
                <a:moveTo>
                  <a:pt x="1670" y="1040"/>
                </a:moveTo>
                <a:lnTo>
                  <a:pt x="1670" y="1040"/>
                </a:lnTo>
                <a:lnTo>
                  <a:pt x="1670" y="1040"/>
                </a:lnTo>
                <a:lnTo>
                  <a:pt x="1670" y="1040"/>
                </a:lnTo>
                <a:lnTo>
                  <a:pt x="1678" y="1038"/>
                </a:lnTo>
                <a:lnTo>
                  <a:pt x="1678" y="1038"/>
                </a:lnTo>
                <a:lnTo>
                  <a:pt x="1678" y="1036"/>
                </a:lnTo>
                <a:lnTo>
                  <a:pt x="1678" y="1036"/>
                </a:lnTo>
                <a:lnTo>
                  <a:pt x="1678" y="1036"/>
                </a:lnTo>
                <a:lnTo>
                  <a:pt x="1678" y="1036"/>
                </a:lnTo>
                <a:lnTo>
                  <a:pt x="1678" y="1038"/>
                </a:lnTo>
                <a:lnTo>
                  <a:pt x="1678" y="1038"/>
                </a:lnTo>
                <a:lnTo>
                  <a:pt x="1670" y="1040"/>
                </a:lnTo>
                <a:lnTo>
                  <a:pt x="1670" y="1040"/>
                </a:lnTo>
                <a:close/>
                <a:moveTo>
                  <a:pt x="1708" y="1062"/>
                </a:moveTo>
                <a:lnTo>
                  <a:pt x="1708" y="1062"/>
                </a:lnTo>
                <a:lnTo>
                  <a:pt x="1708" y="1062"/>
                </a:lnTo>
                <a:lnTo>
                  <a:pt x="1708" y="1062"/>
                </a:lnTo>
                <a:lnTo>
                  <a:pt x="1712" y="1056"/>
                </a:lnTo>
                <a:lnTo>
                  <a:pt x="1712" y="1056"/>
                </a:lnTo>
                <a:lnTo>
                  <a:pt x="1712" y="1056"/>
                </a:lnTo>
                <a:lnTo>
                  <a:pt x="1690" y="1058"/>
                </a:lnTo>
                <a:lnTo>
                  <a:pt x="1690" y="1058"/>
                </a:lnTo>
                <a:lnTo>
                  <a:pt x="1684" y="1058"/>
                </a:lnTo>
                <a:lnTo>
                  <a:pt x="1684" y="1058"/>
                </a:lnTo>
                <a:lnTo>
                  <a:pt x="1678" y="1056"/>
                </a:lnTo>
                <a:lnTo>
                  <a:pt x="1674" y="1058"/>
                </a:lnTo>
                <a:lnTo>
                  <a:pt x="1674" y="1058"/>
                </a:lnTo>
                <a:lnTo>
                  <a:pt x="1678" y="1056"/>
                </a:lnTo>
                <a:lnTo>
                  <a:pt x="1684" y="1058"/>
                </a:lnTo>
                <a:lnTo>
                  <a:pt x="1684" y="1058"/>
                </a:lnTo>
                <a:lnTo>
                  <a:pt x="1690" y="1058"/>
                </a:lnTo>
                <a:lnTo>
                  <a:pt x="1690" y="1058"/>
                </a:lnTo>
                <a:lnTo>
                  <a:pt x="1712" y="1056"/>
                </a:lnTo>
                <a:lnTo>
                  <a:pt x="1712" y="1056"/>
                </a:lnTo>
                <a:lnTo>
                  <a:pt x="1708" y="1062"/>
                </a:lnTo>
                <a:lnTo>
                  <a:pt x="1708" y="1062"/>
                </a:lnTo>
                <a:close/>
                <a:moveTo>
                  <a:pt x="1704" y="1038"/>
                </a:moveTo>
                <a:lnTo>
                  <a:pt x="1704" y="1038"/>
                </a:lnTo>
                <a:lnTo>
                  <a:pt x="1708" y="1038"/>
                </a:lnTo>
                <a:lnTo>
                  <a:pt x="1708" y="1038"/>
                </a:lnTo>
                <a:lnTo>
                  <a:pt x="1702" y="1040"/>
                </a:lnTo>
                <a:lnTo>
                  <a:pt x="1696" y="1040"/>
                </a:lnTo>
                <a:lnTo>
                  <a:pt x="1696" y="1040"/>
                </a:lnTo>
                <a:lnTo>
                  <a:pt x="1702" y="1040"/>
                </a:lnTo>
                <a:lnTo>
                  <a:pt x="1708" y="1038"/>
                </a:lnTo>
                <a:lnTo>
                  <a:pt x="1708" y="1038"/>
                </a:lnTo>
                <a:lnTo>
                  <a:pt x="1704" y="1038"/>
                </a:lnTo>
                <a:lnTo>
                  <a:pt x="1704" y="1038"/>
                </a:lnTo>
                <a:close/>
                <a:moveTo>
                  <a:pt x="1704" y="1046"/>
                </a:moveTo>
                <a:lnTo>
                  <a:pt x="1704" y="1046"/>
                </a:lnTo>
                <a:lnTo>
                  <a:pt x="1704" y="1046"/>
                </a:lnTo>
                <a:lnTo>
                  <a:pt x="1704" y="1046"/>
                </a:lnTo>
                <a:lnTo>
                  <a:pt x="1708" y="1048"/>
                </a:lnTo>
                <a:lnTo>
                  <a:pt x="1708" y="1048"/>
                </a:lnTo>
                <a:lnTo>
                  <a:pt x="1706" y="1050"/>
                </a:lnTo>
                <a:lnTo>
                  <a:pt x="1706" y="1050"/>
                </a:lnTo>
                <a:lnTo>
                  <a:pt x="1706" y="1050"/>
                </a:lnTo>
                <a:lnTo>
                  <a:pt x="1706" y="1050"/>
                </a:lnTo>
                <a:lnTo>
                  <a:pt x="1708" y="1048"/>
                </a:lnTo>
                <a:lnTo>
                  <a:pt x="1708" y="1048"/>
                </a:lnTo>
                <a:lnTo>
                  <a:pt x="1704" y="1046"/>
                </a:lnTo>
                <a:lnTo>
                  <a:pt x="1704" y="1046"/>
                </a:lnTo>
                <a:close/>
                <a:moveTo>
                  <a:pt x="1716" y="1020"/>
                </a:moveTo>
                <a:lnTo>
                  <a:pt x="1716" y="1020"/>
                </a:lnTo>
                <a:lnTo>
                  <a:pt x="1712" y="1018"/>
                </a:lnTo>
                <a:lnTo>
                  <a:pt x="1710" y="1016"/>
                </a:lnTo>
                <a:lnTo>
                  <a:pt x="1706" y="1016"/>
                </a:lnTo>
                <a:lnTo>
                  <a:pt x="1702" y="1020"/>
                </a:lnTo>
                <a:lnTo>
                  <a:pt x="1702" y="1020"/>
                </a:lnTo>
                <a:lnTo>
                  <a:pt x="1694" y="1022"/>
                </a:lnTo>
                <a:lnTo>
                  <a:pt x="1694" y="1022"/>
                </a:lnTo>
                <a:lnTo>
                  <a:pt x="1688" y="1026"/>
                </a:lnTo>
                <a:lnTo>
                  <a:pt x="1688" y="1026"/>
                </a:lnTo>
                <a:lnTo>
                  <a:pt x="1688" y="1026"/>
                </a:lnTo>
                <a:lnTo>
                  <a:pt x="1688" y="1026"/>
                </a:lnTo>
                <a:lnTo>
                  <a:pt x="1694" y="1022"/>
                </a:lnTo>
                <a:lnTo>
                  <a:pt x="1694" y="1022"/>
                </a:lnTo>
                <a:lnTo>
                  <a:pt x="1702" y="1020"/>
                </a:lnTo>
                <a:lnTo>
                  <a:pt x="1702" y="1020"/>
                </a:lnTo>
                <a:lnTo>
                  <a:pt x="1706" y="1016"/>
                </a:lnTo>
                <a:lnTo>
                  <a:pt x="1710" y="1016"/>
                </a:lnTo>
                <a:lnTo>
                  <a:pt x="1712" y="1018"/>
                </a:lnTo>
                <a:lnTo>
                  <a:pt x="1716" y="1020"/>
                </a:lnTo>
                <a:lnTo>
                  <a:pt x="1716" y="1020"/>
                </a:lnTo>
                <a:lnTo>
                  <a:pt x="1716" y="1020"/>
                </a:lnTo>
                <a:lnTo>
                  <a:pt x="1716" y="1020"/>
                </a:lnTo>
                <a:close/>
                <a:moveTo>
                  <a:pt x="1738" y="1020"/>
                </a:moveTo>
                <a:lnTo>
                  <a:pt x="1738" y="1020"/>
                </a:lnTo>
                <a:lnTo>
                  <a:pt x="1736" y="1020"/>
                </a:lnTo>
                <a:lnTo>
                  <a:pt x="1736" y="1020"/>
                </a:lnTo>
                <a:lnTo>
                  <a:pt x="1740" y="1018"/>
                </a:lnTo>
                <a:lnTo>
                  <a:pt x="1740" y="1018"/>
                </a:lnTo>
                <a:lnTo>
                  <a:pt x="1736" y="1016"/>
                </a:lnTo>
                <a:lnTo>
                  <a:pt x="1736" y="1016"/>
                </a:lnTo>
                <a:lnTo>
                  <a:pt x="1736" y="1016"/>
                </a:lnTo>
                <a:lnTo>
                  <a:pt x="1736" y="1016"/>
                </a:lnTo>
                <a:lnTo>
                  <a:pt x="1740" y="1018"/>
                </a:lnTo>
                <a:lnTo>
                  <a:pt x="1740" y="1018"/>
                </a:lnTo>
                <a:lnTo>
                  <a:pt x="1738" y="1020"/>
                </a:lnTo>
                <a:lnTo>
                  <a:pt x="1738" y="1020"/>
                </a:lnTo>
                <a:close/>
                <a:moveTo>
                  <a:pt x="1798" y="1260"/>
                </a:moveTo>
                <a:lnTo>
                  <a:pt x="1798" y="1260"/>
                </a:lnTo>
                <a:lnTo>
                  <a:pt x="1798" y="1260"/>
                </a:lnTo>
                <a:lnTo>
                  <a:pt x="1798" y="1260"/>
                </a:lnTo>
                <a:lnTo>
                  <a:pt x="1800" y="1262"/>
                </a:lnTo>
                <a:lnTo>
                  <a:pt x="1800" y="1262"/>
                </a:lnTo>
                <a:lnTo>
                  <a:pt x="1798" y="1264"/>
                </a:lnTo>
                <a:lnTo>
                  <a:pt x="1798" y="1264"/>
                </a:lnTo>
                <a:lnTo>
                  <a:pt x="1798" y="1264"/>
                </a:lnTo>
                <a:lnTo>
                  <a:pt x="1798" y="1264"/>
                </a:lnTo>
                <a:lnTo>
                  <a:pt x="1800" y="1262"/>
                </a:lnTo>
                <a:lnTo>
                  <a:pt x="1800" y="1262"/>
                </a:lnTo>
                <a:lnTo>
                  <a:pt x="1798" y="1260"/>
                </a:lnTo>
                <a:lnTo>
                  <a:pt x="1798" y="1260"/>
                </a:lnTo>
                <a:close/>
                <a:moveTo>
                  <a:pt x="1796" y="1224"/>
                </a:moveTo>
                <a:lnTo>
                  <a:pt x="1796" y="1224"/>
                </a:lnTo>
                <a:lnTo>
                  <a:pt x="1796" y="1224"/>
                </a:lnTo>
                <a:lnTo>
                  <a:pt x="1796" y="1224"/>
                </a:lnTo>
                <a:lnTo>
                  <a:pt x="1796" y="1224"/>
                </a:lnTo>
                <a:lnTo>
                  <a:pt x="1796" y="1224"/>
                </a:lnTo>
                <a:lnTo>
                  <a:pt x="1796" y="1224"/>
                </a:lnTo>
                <a:lnTo>
                  <a:pt x="1796" y="1224"/>
                </a:lnTo>
                <a:lnTo>
                  <a:pt x="1794" y="1220"/>
                </a:lnTo>
                <a:lnTo>
                  <a:pt x="1790" y="1222"/>
                </a:lnTo>
                <a:lnTo>
                  <a:pt x="1790" y="1222"/>
                </a:lnTo>
                <a:lnTo>
                  <a:pt x="1790" y="1222"/>
                </a:lnTo>
                <a:lnTo>
                  <a:pt x="1790" y="1222"/>
                </a:lnTo>
                <a:lnTo>
                  <a:pt x="1794" y="1220"/>
                </a:lnTo>
                <a:lnTo>
                  <a:pt x="1796" y="1224"/>
                </a:lnTo>
                <a:lnTo>
                  <a:pt x="1796" y="1224"/>
                </a:lnTo>
                <a:lnTo>
                  <a:pt x="1796" y="1224"/>
                </a:lnTo>
                <a:lnTo>
                  <a:pt x="1796" y="1224"/>
                </a:lnTo>
                <a:close/>
                <a:moveTo>
                  <a:pt x="1976" y="1060"/>
                </a:moveTo>
                <a:lnTo>
                  <a:pt x="1976" y="1060"/>
                </a:lnTo>
                <a:lnTo>
                  <a:pt x="1962" y="1062"/>
                </a:lnTo>
                <a:lnTo>
                  <a:pt x="1962" y="1062"/>
                </a:lnTo>
                <a:lnTo>
                  <a:pt x="1944" y="1056"/>
                </a:lnTo>
                <a:lnTo>
                  <a:pt x="1944" y="1056"/>
                </a:lnTo>
                <a:lnTo>
                  <a:pt x="1964" y="1048"/>
                </a:lnTo>
                <a:lnTo>
                  <a:pt x="1964" y="1048"/>
                </a:lnTo>
                <a:lnTo>
                  <a:pt x="1976" y="1060"/>
                </a:lnTo>
                <a:lnTo>
                  <a:pt x="1976" y="1060"/>
                </a:lnTo>
                <a:close/>
                <a:moveTo>
                  <a:pt x="1956" y="1064"/>
                </a:moveTo>
                <a:lnTo>
                  <a:pt x="1956" y="1064"/>
                </a:lnTo>
                <a:lnTo>
                  <a:pt x="1956" y="1064"/>
                </a:lnTo>
                <a:lnTo>
                  <a:pt x="1956" y="1064"/>
                </a:lnTo>
                <a:lnTo>
                  <a:pt x="1956" y="1064"/>
                </a:lnTo>
                <a:lnTo>
                  <a:pt x="1954" y="1068"/>
                </a:lnTo>
                <a:lnTo>
                  <a:pt x="1954" y="1068"/>
                </a:lnTo>
                <a:lnTo>
                  <a:pt x="1954" y="1068"/>
                </a:lnTo>
                <a:lnTo>
                  <a:pt x="1954" y="1068"/>
                </a:lnTo>
                <a:lnTo>
                  <a:pt x="1956" y="1064"/>
                </a:lnTo>
                <a:lnTo>
                  <a:pt x="1956" y="1064"/>
                </a:lnTo>
                <a:lnTo>
                  <a:pt x="1956" y="1064"/>
                </a:lnTo>
                <a:lnTo>
                  <a:pt x="1956" y="1064"/>
                </a:lnTo>
                <a:close/>
                <a:moveTo>
                  <a:pt x="1944" y="1036"/>
                </a:moveTo>
                <a:lnTo>
                  <a:pt x="1944" y="1036"/>
                </a:lnTo>
                <a:lnTo>
                  <a:pt x="1944" y="1036"/>
                </a:lnTo>
                <a:lnTo>
                  <a:pt x="1944" y="1036"/>
                </a:lnTo>
                <a:lnTo>
                  <a:pt x="1942" y="1042"/>
                </a:lnTo>
                <a:lnTo>
                  <a:pt x="1938" y="1042"/>
                </a:lnTo>
                <a:lnTo>
                  <a:pt x="1938" y="1042"/>
                </a:lnTo>
                <a:lnTo>
                  <a:pt x="1938" y="1042"/>
                </a:lnTo>
                <a:lnTo>
                  <a:pt x="1938" y="1042"/>
                </a:lnTo>
                <a:lnTo>
                  <a:pt x="1942" y="1042"/>
                </a:lnTo>
                <a:lnTo>
                  <a:pt x="1944" y="1036"/>
                </a:lnTo>
                <a:lnTo>
                  <a:pt x="1944" y="1036"/>
                </a:lnTo>
                <a:close/>
                <a:moveTo>
                  <a:pt x="1938" y="1052"/>
                </a:moveTo>
                <a:lnTo>
                  <a:pt x="1938" y="1052"/>
                </a:lnTo>
                <a:lnTo>
                  <a:pt x="1930" y="1058"/>
                </a:lnTo>
                <a:lnTo>
                  <a:pt x="1930" y="1058"/>
                </a:lnTo>
                <a:lnTo>
                  <a:pt x="1912" y="1052"/>
                </a:lnTo>
                <a:lnTo>
                  <a:pt x="1912" y="1052"/>
                </a:lnTo>
                <a:lnTo>
                  <a:pt x="1922" y="1050"/>
                </a:lnTo>
                <a:lnTo>
                  <a:pt x="1922" y="1050"/>
                </a:lnTo>
                <a:lnTo>
                  <a:pt x="1922" y="1044"/>
                </a:lnTo>
                <a:lnTo>
                  <a:pt x="1922" y="1044"/>
                </a:lnTo>
                <a:lnTo>
                  <a:pt x="1926" y="1046"/>
                </a:lnTo>
                <a:lnTo>
                  <a:pt x="1930" y="1048"/>
                </a:lnTo>
                <a:lnTo>
                  <a:pt x="1938" y="1052"/>
                </a:lnTo>
                <a:lnTo>
                  <a:pt x="1938" y="1052"/>
                </a:lnTo>
                <a:close/>
                <a:moveTo>
                  <a:pt x="1908" y="1044"/>
                </a:moveTo>
                <a:lnTo>
                  <a:pt x="1908" y="1044"/>
                </a:lnTo>
                <a:lnTo>
                  <a:pt x="1912" y="1046"/>
                </a:lnTo>
                <a:lnTo>
                  <a:pt x="1912" y="1046"/>
                </a:lnTo>
                <a:lnTo>
                  <a:pt x="1908" y="1048"/>
                </a:lnTo>
                <a:lnTo>
                  <a:pt x="1908" y="1048"/>
                </a:lnTo>
                <a:lnTo>
                  <a:pt x="1908" y="1048"/>
                </a:lnTo>
                <a:lnTo>
                  <a:pt x="1908" y="1048"/>
                </a:lnTo>
                <a:lnTo>
                  <a:pt x="1912" y="1046"/>
                </a:lnTo>
                <a:lnTo>
                  <a:pt x="1912" y="1046"/>
                </a:lnTo>
                <a:lnTo>
                  <a:pt x="1908" y="1044"/>
                </a:lnTo>
                <a:lnTo>
                  <a:pt x="1908" y="1044"/>
                </a:lnTo>
                <a:close/>
                <a:moveTo>
                  <a:pt x="1914" y="1040"/>
                </a:moveTo>
                <a:lnTo>
                  <a:pt x="1914" y="1040"/>
                </a:lnTo>
                <a:lnTo>
                  <a:pt x="1916" y="1036"/>
                </a:lnTo>
                <a:lnTo>
                  <a:pt x="1916" y="1036"/>
                </a:lnTo>
                <a:lnTo>
                  <a:pt x="1916" y="1036"/>
                </a:lnTo>
                <a:lnTo>
                  <a:pt x="1916" y="1036"/>
                </a:lnTo>
                <a:lnTo>
                  <a:pt x="1914" y="1040"/>
                </a:lnTo>
                <a:lnTo>
                  <a:pt x="1914" y="1040"/>
                </a:lnTo>
                <a:lnTo>
                  <a:pt x="1914" y="1040"/>
                </a:lnTo>
                <a:lnTo>
                  <a:pt x="1914" y="1040"/>
                </a:lnTo>
                <a:close/>
                <a:moveTo>
                  <a:pt x="1914" y="1030"/>
                </a:moveTo>
                <a:lnTo>
                  <a:pt x="1914" y="1030"/>
                </a:lnTo>
                <a:lnTo>
                  <a:pt x="1926" y="1028"/>
                </a:lnTo>
                <a:lnTo>
                  <a:pt x="1926" y="1028"/>
                </a:lnTo>
                <a:lnTo>
                  <a:pt x="1930" y="1030"/>
                </a:lnTo>
                <a:lnTo>
                  <a:pt x="1930" y="1030"/>
                </a:lnTo>
                <a:lnTo>
                  <a:pt x="1930" y="1032"/>
                </a:lnTo>
                <a:lnTo>
                  <a:pt x="1928" y="1034"/>
                </a:lnTo>
                <a:lnTo>
                  <a:pt x="1928" y="1034"/>
                </a:lnTo>
                <a:lnTo>
                  <a:pt x="1930" y="1032"/>
                </a:lnTo>
                <a:lnTo>
                  <a:pt x="1930" y="1030"/>
                </a:lnTo>
                <a:lnTo>
                  <a:pt x="1930" y="1030"/>
                </a:lnTo>
                <a:lnTo>
                  <a:pt x="1926" y="1028"/>
                </a:lnTo>
                <a:lnTo>
                  <a:pt x="1926" y="1028"/>
                </a:lnTo>
                <a:lnTo>
                  <a:pt x="1914" y="1032"/>
                </a:lnTo>
                <a:lnTo>
                  <a:pt x="1914" y="1032"/>
                </a:lnTo>
                <a:lnTo>
                  <a:pt x="1906" y="1034"/>
                </a:lnTo>
                <a:lnTo>
                  <a:pt x="1906" y="1034"/>
                </a:lnTo>
                <a:lnTo>
                  <a:pt x="1906" y="1034"/>
                </a:lnTo>
                <a:lnTo>
                  <a:pt x="1906" y="1034"/>
                </a:lnTo>
                <a:lnTo>
                  <a:pt x="1914" y="1030"/>
                </a:lnTo>
                <a:lnTo>
                  <a:pt x="1914" y="1030"/>
                </a:lnTo>
                <a:close/>
                <a:moveTo>
                  <a:pt x="1892" y="1054"/>
                </a:moveTo>
                <a:lnTo>
                  <a:pt x="1892" y="1054"/>
                </a:lnTo>
                <a:lnTo>
                  <a:pt x="1894" y="1056"/>
                </a:lnTo>
                <a:lnTo>
                  <a:pt x="1894" y="1056"/>
                </a:lnTo>
                <a:lnTo>
                  <a:pt x="1890" y="1058"/>
                </a:lnTo>
                <a:lnTo>
                  <a:pt x="1886" y="1056"/>
                </a:lnTo>
                <a:lnTo>
                  <a:pt x="1886" y="1056"/>
                </a:lnTo>
                <a:lnTo>
                  <a:pt x="1890" y="1058"/>
                </a:lnTo>
                <a:lnTo>
                  <a:pt x="1894" y="1056"/>
                </a:lnTo>
                <a:lnTo>
                  <a:pt x="1894" y="1056"/>
                </a:lnTo>
                <a:lnTo>
                  <a:pt x="1892" y="1054"/>
                </a:lnTo>
                <a:lnTo>
                  <a:pt x="1892" y="1054"/>
                </a:lnTo>
                <a:lnTo>
                  <a:pt x="1892" y="1054"/>
                </a:lnTo>
                <a:lnTo>
                  <a:pt x="1892" y="1054"/>
                </a:lnTo>
                <a:close/>
                <a:moveTo>
                  <a:pt x="1890" y="1024"/>
                </a:moveTo>
                <a:lnTo>
                  <a:pt x="1890" y="1024"/>
                </a:lnTo>
                <a:lnTo>
                  <a:pt x="1890" y="1024"/>
                </a:lnTo>
                <a:lnTo>
                  <a:pt x="1890" y="1024"/>
                </a:lnTo>
                <a:lnTo>
                  <a:pt x="1886" y="1034"/>
                </a:lnTo>
                <a:lnTo>
                  <a:pt x="1886" y="1034"/>
                </a:lnTo>
                <a:lnTo>
                  <a:pt x="1886" y="1034"/>
                </a:lnTo>
                <a:lnTo>
                  <a:pt x="1886" y="1034"/>
                </a:lnTo>
                <a:lnTo>
                  <a:pt x="1890" y="1024"/>
                </a:lnTo>
                <a:lnTo>
                  <a:pt x="1890" y="1024"/>
                </a:lnTo>
                <a:close/>
                <a:moveTo>
                  <a:pt x="1872" y="1052"/>
                </a:moveTo>
                <a:lnTo>
                  <a:pt x="1872" y="1052"/>
                </a:lnTo>
                <a:lnTo>
                  <a:pt x="1880" y="1048"/>
                </a:lnTo>
                <a:lnTo>
                  <a:pt x="1884" y="1046"/>
                </a:lnTo>
                <a:lnTo>
                  <a:pt x="1884" y="1044"/>
                </a:lnTo>
                <a:lnTo>
                  <a:pt x="1884" y="1044"/>
                </a:lnTo>
                <a:lnTo>
                  <a:pt x="1884" y="1044"/>
                </a:lnTo>
                <a:lnTo>
                  <a:pt x="1884" y="1044"/>
                </a:lnTo>
                <a:lnTo>
                  <a:pt x="1884" y="1046"/>
                </a:lnTo>
                <a:lnTo>
                  <a:pt x="1880" y="1048"/>
                </a:lnTo>
                <a:lnTo>
                  <a:pt x="1872" y="1052"/>
                </a:lnTo>
                <a:lnTo>
                  <a:pt x="1872" y="1052"/>
                </a:lnTo>
                <a:lnTo>
                  <a:pt x="1872" y="1052"/>
                </a:lnTo>
                <a:lnTo>
                  <a:pt x="1872" y="1052"/>
                </a:lnTo>
                <a:close/>
                <a:moveTo>
                  <a:pt x="1876" y="1060"/>
                </a:moveTo>
                <a:lnTo>
                  <a:pt x="1876" y="1060"/>
                </a:lnTo>
                <a:lnTo>
                  <a:pt x="1890" y="1060"/>
                </a:lnTo>
                <a:lnTo>
                  <a:pt x="1896" y="1060"/>
                </a:lnTo>
                <a:lnTo>
                  <a:pt x="1902" y="1062"/>
                </a:lnTo>
                <a:lnTo>
                  <a:pt x="1902" y="1062"/>
                </a:lnTo>
                <a:lnTo>
                  <a:pt x="1906" y="1062"/>
                </a:lnTo>
                <a:lnTo>
                  <a:pt x="1910" y="1060"/>
                </a:lnTo>
                <a:lnTo>
                  <a:pt x="1910" y="1060"/>
                </a:lnTo>
                <a:lnTo>
                  <a:pt x="1916" y="1058"/>
                </a:lnTo>
                <a:lnTo>
                  <a:pt x="1916" y="1058"/>
                </a:lnTo>
                <a:lnTo>
                  <a:pt x="1926" y="1062"/>
                </a:lnTo>
                <a:lnTo>
                  <a:pt x="1934" y="1060"/>
                </a:lnTo>
                <a:lnTo>
                  <a:pt x="1934" y="1060"/>
                </a:lnTo>
                <a:lnTo>
                  <a:pt x="1944" y="1058"/>
                </a:lnTo>
                <a:lnTo>
                  <a:pt x="1944" y="1058"/>
                </a:lnTo>
                <a:lnTo>
                  <a:pt x="1934" y="1068"/>
                </a:lnTo>
                <a:lnTo>
                  <a:pt x="1934" y="1068"/>
                </a:lnTo>
                <a:lnTo>
                  <a:pt x="1940" y="1070"/>
                </a:lnTo>
                <a:lnTo>
                  <a:pt x="1948" y="1072"/>
                </a:lnTo>
                <a:lnTo>
                  <a:pt x="1954" y="1072"/>
                </a:lnTo>
                <a:lnTo>
                  <a:pt x="1958" y="1074"/>
                </a:lnTo>
                <a:lnTo>
                  <a:pt x="1960" y="1078"/>
                </a:lnTo>
                <a:lnTo>
                  <a:pt x="1960" y="1078"/>
                </a:lnTo>
                <a:lnTo>
                  <a:pt x="1936" y="1078"/>
                </a:lnTo>
                <a:lnTo>
                  <a:pt x="1936" y="1078"/>
                </a:lnTo>
                <a:lnTo>
                  <a:pt x="1934" y="1078"/>
                </a:lnTo>
                <a:lnTo>
                  <a:pt x="1934" y="1078"/>
                </a:lnTo>
                <a:lnTo>
                  <a:pt x="1928" y="1076"/>
                </a:lnTo>
                <a:lnTo>
                  <a:pt x="1922" y="1074"/>
                </a:lnTo>
                <a:lnTo>
                  <a:pt x="1908" y="1072"/>
                </a:lnTo>
                <a:lnTo>
                  <a:pt x="1908" y="1072"/>
                </a:lnTo>
                <a:lnTo>
                  <a:pt x="1900" y="1070"/>
                </a:lnTo>
                <a:lnTo>
                  <a:pt x="1900" y="1070"/>
                </a:lnTo>
                <a:lnTo>
                  <a:pt x="1886" y="1066"/>
                </a:lnTo>
                <a:lnTo>
                  <a:pt x="1880" y="1066"/>
                </a:lnTo>
                <a:lnTo>
                  <a:pt x="1872" y="1066"/>
                </a:lnTo>
                <a:lnTo>
                  <a:pt x="1872" y="1066"/>
                </a:lnTo>
                <a:lnTo>
                  <a:pt x="1872" y="1062"/>
                </a:lnTo>
                <a:lnTo>
                  <a:pt x="1874" y="1060"/>
                </a:lnTo>
                <a:lnTo>
                  <a:pt x="1876" y="1060"/>
                </a:lnTo>
                <a:lnTo>
                  <a:pt x="1876" y="1060"/>
                </a:lnTo>
                <a:close/>
                <a:moveTo>
                  <a:pt x="1798" y="1080"/>
                </a:moveTo>
                <a:lnTo>
                  <a:pt x="1798" y="1080"/>
                </a:lnTo>
                <a:lnTo>
                  <a:pt x="1798" y="1080"/>
                </a:lnTo>
                <a:lnTo>
                  <a:pt x="1798" y="1080"/>
                </a:lnTo>
                <a:lnTo>
                  <a:pt x="1818" y="1080"/>
                </a:lnTo>
                <a:lnTo>
                  <a:pt x="1818" y="1088"/>
                </a:lnTo>
                <a:lnTo>
                  <a:pt x="1818" y="1088"/>
                </a:lnTo>
                <a:lnTo>
                  <a:pt x="1816" y="1088"/>
                </a:lnTo>
                <a:lnTo>
                  <a:pt x="1816" y="1080"/>
                </a:lnTo>
                <a:lnTo>
                  <a:pt x="1798" y="1080"/>
                </a:lnTo>
                <a:close/>
                <a:moveTo>
                  <a:pt x="1804" y="1108"/>
                </a:moveTo>
                <a:lnTo>
                  <a:pt x="1804" y="1108"/>
                </a:lnTo>
                <a:lnTo>
                  <a:pt x="1810" y="1112"/>
                </a:lnTo>
                <a:lnTo>
                  <a:pt x="1810" y="1112"/>
                </a:lnTo>
                <a:lnTo>
                  <a:pt x="1816" y="1114"/>
                </a:lnTo>
                <a:lnTo>
                  <a:pt x="1816" y="1114"/>
                </a:lnTo>
                <a:lnTo>
                  <a:pt x="1818" y="1112"/>
                </a:lnTo>
                <a:lnTo>
                  <a:pt x="1818" y="1112"/>
                </a:lnTo>
                <a:lnTo>
                  <a:pt x="1816" y="1114"/>
                </a:lnTo>
                <a:lnTo>
                  <a:pt x="1816" y="1114"/>
                </a:lnTo>
                <a:lnTo>
                  <a:pt x="1810" y="1112"/>
                </a:lnTo>
                <a:lnTo>
                  <a:pt x="1810" y="1112"/>
                </a:lnTo>
                <a:lnTo>
                  <a:pt x="1804" y="1108"/>
                </a:lnTo>
                <a:lnTo>
                  <a:pt x="1804" y="1108"/>
                </a:lnTo>
                <a:lnTo>
                  <a:pt x="1804" y="1108"/>
                </a:lnTo>
                <a:lnTo>
                  <a:pt x="1804" y="1108"/>
                </a:lnTo>
                <a:close/>
                <a:moveTo>
                  <a:pt x="1808" y="1116"/>
                </a:moveTo>
                <a:lnTo>
                  <a:pt x="1808" y="1116"/>
                </a:lnTo>
                <a:lnTo>
                  <a:pt x="1808" y="1116"/>
                </a:lnTo>
                <a:lnTo>
                  <a:pt x="1808" y="1116"/>
                </a:lnTo>
                <a:lnTo>
                  <a:pt x="1810" y="1118"/>
                </a:lnTo>
                <a:lnTo>
                  <a:pt x="1810" y="1118"/>
                </a:lnTo>
                <a:lnTo>
                  <a:pt x="1804" y="1120"/>
                </a:lnTo>
                <a:lnTo>
                  <a:pt x="1804" y="1120"/>
                </a:lnTo>
                <a:lnTo>
                  <a:pt x="1804" y="1120"/>
                </a:lnTo>
                <a:lnTo>
                  <a:pt x="1804" y="1120"/>
                </a:lnTo>
                <a:lnTo>
                  <a:pt x="1810" y="1118"/>
                </a:lnTo>
                <a:lnTo>
                  <a:pt x="1810" y="1118"/>
                </a:lnTo>
                <a:lnTo>
                  <a:pt x="1808" y="1116"/>
                </a:lnTo>
                <a:lnTo>
                  <a:pt x="1808" y="1116"/>
                </a:lnTo>
                <a:close/>
                <a:moveTo>
                  <a:pt x="1818" y="1112"/>
                </a:moveTo>
                <a:lnTo>
                  <a:pt x="1818" y="1112"/>
                </a:lnTo>
                <a:lnTo>
                  <a:pt x="1818" y="1112"/>
                </a:lnTo>
                <a:lnTo>
                  <a:pt x="1818" y="1112"/>
                </a:lnTo>
                <a:lnTo>
                  <a:pt x="1818" y="1112"/>
                </a:lnTo>
                <a:lnTo>
                  <a:pt x="1818" y="1112"/>
                </a:lnTo>
                <a:lnTo>
                  <a:pt x="1818" y="1112"/>
                </a:lnTo>
                <a:lnTo>
                  <a:pt x="1818" y="1112"/>
                </a:lnTo>
                <a:close/>
                <a:moveTo>
                  <a:pt x="1840" y="1148"/>
                </a:moveTo>
                <a:lnTo>
                  <a:pt x="1840" y="1148"/>
                </a:lnTo>
                <a:lnTo>
                  <a:pt x="1842" y="1144"/>
                </a:lnTo>
                <a:lnTo>
                  <a:pt x="1842" y="1144"/>
                </a:lnTo>
                <a:lnTo>
                  <a:pt x="1836" y="1150"/>
                </a:lnTo>
                <a:lnTo>
                  <a:pt x="1836" y="1150"/>
                </a:lnTo>
                <a:lnTo>
                  <a:pt x="1830" y="1150"/>
                </a:lnTo>
                <a:lnTo>
                  <a:pt x="1830" y="1150"/>
                </a:lnTo>
                <a:lnTo>
                  <a:pt x="1818" y="1150"/>
                </a:lnTo>
                <a:lnTo>
                  <a:pt x="1818" y="1150"/>
                </a:lnTo>
                <a:lnTo>
                  <a:pt x="1818" y="1148"/>
                </a:lnTo>
                <a:lnTo>
                  <a:pt x="1818" y="1146"/>
                </a:lnTo>
                <a:lnTo>
                  <a:pt x="1822" y="1144"/>
                </a:lnTo>
                <a:lnTo>
                  <a:pt x="1822" y="1144"/>
                </a:lnTo>
                <a:lnTo>
                  <a:pt x="1840" y="1142"/>
                </a:lnTo>
                <a:lnTo>
                  <a:pt x="1840" y="1142"/>
                </a:lnTo>
                <a:lnTo>
                  <a:pt x="1844" y="1142"/>
                </a:lnTo>
                <a:lnTo>
                  <a:pt x="1848" y="1138"/>
                </a:lnTo>
                <a:lnTo>
                  <a:pt x="1848" y="1138"/>
                </a:lnTo>
                <a:lnTo>
                  <a:pt x="1850" y="1136"/>
                </a:lnTo>
                <a:lnTo>
                  <a:pt x="1854" y="1136"/>
                </a:lnTo>
                <a:lnTo>
                  <a:pt x="1860" y="1136"/>
                </a:lnTo>
                <a:lnTo>
                  <a:pt x="1860" y="1136"/>
                </a:lnTo>
                <a:lnTo>
                  <a:pt x="1858" y="1140"/>
                </a:lnTo>
                <a:lnTo>
                  <a:pt x="1858" y="1140"/>
                </a:lnTo>
                <a:lnTo>
                  <a:pt x="1860" y="1140"/>
                </a:lnTo>
                <a:lnTo>
                  <a:pt x="1860" y="1140"/>
                </a:lnTo>
                <a:lnTo>
                  <a:pt x="1840" y="1148"/>
                </a:lnTo>
                <a:lnTo>
                  <a:pt x="1840" y="1148"/>
                </a:lnTo>
                <a:close/>
                <a:moveTo>
                  <a:pt x="1834" y="1122"/>
                </a:moveTo>
                <a:lnTo>
                  <a:pt x="1834" y="1122"/>
                </a:lnTo>
                <a:lnTo>
                  <a:pt x="1834" y="1122"/>
                </a:lnTo>
                <a:lnTo>
                  <a:pt x="1834" y="1122"/>
                </a:lnTo>
                <a:lnTo>
                  <a:pt x="1852" y="1118"/>
                </a:lnTo>
                <a:lnTo>
                  <a:pt x="1852" y="1118"/>
                </a:lnTo>
                <a:lnTo>
                  <a:pt x="1852" y="1118"/>
                </a:lnTo>
                <a:lnTo>
                  <a:pt x="1852" y="1118"/>
                </a:lnTo>
                <a:lnTo>
                  <a:pt x="1834" y="1122"/>
                </a:lnTo>
                <a:lnTo>
                  <a:pt x="1834" y="1122"/>
                </a:lnTo>
                <a:close/>
                <a:moveTo>
                  <a:pt x="1856" y="1122"/>
                </a:moveTo>
                <a:lnTo>
                  <a:pt x="1856" y="1122"/>
                </a:lnTo>
                <a:lnTo>
                  <a:pt x="1862" y="1128"/>
                </a:lnTo>
                <a:lnTo>
                  <a:pt x="1862" y="1128"/>
                </a:lnTo>
                <a:lnTo>
                  <a:pt x="1862" y="1128"/>
                </a:lnTo>
                <a:lnTo>
                  <a:pt x="1862" y="1128"/>
                </a:lnTo>
                <a:lnTo>
                  <a:pt x="1856" y="1122"/>
                </a:lnTo>
                <a:lnTo>
                  <a:pt x="1856" y="1122"/>
                </a:lnTo>
                <a:lnTo>
                  <a:pt x="1840" y="1126"/>
                </a:lnTo>
                <a:lnTo>
                  <a:pt x="1840" y="1126"/>
                </a:lnTo>
                <a:lnTo>
                  <a:pt x="1840" y="1126"/>
                </a:lnTo>
                <a:lnTo>
                  <a:pt x="1840" y="1126"/>
                </a:lnTo>
                <a:lnTo>
                  <a:pt x="1856" y="1122"/>
                </a:lnTo>
                <a:lnTo>
                  <a:pt x="1856" y="1122"/>
                </a:lnTo>
                <a:close/>
                <a:moveTo>
                  <a:pt x="1888" y="1122"/>
                </a:moveTo>
                <a:lnTo>
                  <a:pt x="1888" y="1122"/>
                </a:lnTo>
                <a:lnTo>
                  <a:pt x="1884" y="1118"/>
                </a:lnTo>
                <a:lnTo>
                  <a:pt x="1884" y="1118"/>
                </a:lnTo>
                <a:lnTo>
                  <a:pt x="1888" y="1122"/>
                </a:lnTo>
                <a:lnTo>
                  <a:pt x="1888" y="1122"/>
                </a:lnTo>
                <a:lnTo>
                  <a:pt x="1880" y="1122"/>
                </a:lnTo>
                <a:lnTo>
                  <a:pt x="1874" y="1120"/>
                </a:lnTo>
                <a:lnTo>
                  <a:pt x="1874" y="1120"/>
                </a:lnTo>
                <a:lnTo>
                  <a:pt x="1874" y="1120"/>
                </a:lnTo>
                <a:lnTo>
                  <a:pt x="1874" y="1120"/>
                </a:lnTo>
                <a:lnTo>
                  <a:pt x="1880" y="1122"/>
                </a:lnTo>
                <a:lnTo>
                  <a:pt x="1888" y="1122"/>
                </a:lnTo>
                <a:lnTo>
                  <a:pt x="1888" y="1122"/>
                </a:lnTo>
                <a:close/>
                <a:moveTo>
                  <a:pt x="1882" y="1106"/>
                </a:moveTo>
                <a:lnTo>
                  <a:pt x="1882" y="1106"/>
                </a:lnTo>
                <a:lnTo>
                  <a:pt x="1882" y="1106"/>
                </a:lnTo>
                <a:lnTo>
                  <a:pt x="1882" y="1106"/>
                </a:lnTo>
                <a:lnTo>
                  <a:pt x="1886" y="1108"/>
                </a:lnTo>
                <a:lnTo>
                  <a:pt x="1886" y="1108"/>
                </a:lnTo>
                <a:lnTo>
                  <a:pt x="1892" y="1104"/>
                </a:lnTo>
                <a:lnTo>
                  <a:pt x="1892" y="1104"/>
                </a:lnTo>
                <a:lnTo>
                  <a:pt x="1892" y="1104"/>
                </a:lnTo>
                <a:lnTo>
                  <a:pt x="1892" y="1104"/>
                </a:lnTo>
                <a:lnTo>
                  <a:pt x="1886" y="1108"/>
                </a:lnTo>
                <a:lnTo>
                  <a:pt x="1886" y="1108"/>
                </a:lnTo>
                <a:lnTo>
                  <a:pt x="1882" y="1106"/>
                </a:lnTo>
                <a:lnTo>
                  <a:pt x="1882" y="1106"/>
                </a:lnTo>
                <a:close/>
                <a:moveTo>
                  <a:pt x="1904" y="1132"/>
                </a:moveTo>
                <a:lnTo>
                  <a:pt x="1904" y="1132"/>
                </a:lnTo>
                <a:lnTo>
                  <a:pt x="1898" y="1132"/>
                </a:lnTo>
                <a:lnTo>
                  <a:pt x="1898" y="1132"/>
                </a:lnTo>
                <a:lnTo>
                  <a:pt x="1904" y="1132"/>
                </a:lnTo>
                <a:lnTo>
                  <a:pt x="1904" y="1132"/>
                </a:lnTo>
                <a:lnTo>
                  <a:pt x="1904" y="1132"/>
                </a:lnTo>
                <a:lnTo>
                  <a:pt x="1904" y="1132"/>
                </a:lnTo>
                <a:close/>
                <a:moveTo>
                  <a:pt x="1898" y="1122"/>
                </a:moveTo>
                <a:lnTo>
                  <a:pt x="1898" y="1122"/>
                </a:lnTo>
                <a:lnTo>
                  <a:pt x="1902" y="1122"/>
                </a:lnTo>
                <a:lnTo>
                  <a:pt x="1904" y="1120"/>
                </a:lnTo>
                <a:lnTo>
                  <a:pt x="1904" y="1120"/>
                </a:lnTo>
                <a:lnTo>
                  <a:pt x="1906" y="1120"/>
                </a:lnTo>
                <a:lnTo>
                  <a:pt x="1906" y="1120"/>
                </a:lnTo>
                <a:lnTo>
                  <a:pt x="1902" y="1122"/>
                </a:lnTo>
                <a:lnTo>
                  <a:pt x="1898" y="1122"/>
                </a:lnTo>
                <a:lnTo>
                  <a:pt x="1898" y="1122"/>
                </a:lnTo>
                <a:close/>
                <a:moveTo>
                  <a:pt x="1910" y="1126"/>
                </a:moveTo>
                <a:lnTo>
                  <a:pt x="1910" y="1126"/>
                </a:lnTo>
                <a:lnTo>
                  <a:pt x="1910" y="1126"/>
                </a:lnTo>
                <a:lnTo>
                  <a:pt x="1910" y="1126"/>
                </a:lnTo>
                <a:lnTo>
                  <a:pt x="1916" y="1118"/>
                </a:lnTo>
                <a:lnTo>
                  <a:pt x="1916" y="1118"/>
                </a:lnTo>
                <a:lnTo>
                  <a:pt x="1910" y="1114"/>
                </a:lnTo>
                <a:lnTo>
                  <a:pt x="1910" y="1114"/>
                </a:lnTo>
                <a:lnTo>
                  <a:pt x="1910" y="1114"/>
                </a:lnTo>
                <a:lnTo>
                  <a:pt x="1910" y="1114"/>
                </a:lnTo>
                <a:lnTo>
                  <a:pt x="1916" y="1118"/>
                </a:lnTo>
                <a:lnTo>
                  <a:pt x="1916" y="1118"/>
                </a:lnTo>
                <a:lnTo>
                  <a:pt x="1916" y="1118"/>
                </a:lnTo>
                <a:lnTo>
                  <a:pt x="1916" y="1118"/>
                </a:lnTo>
                <a:lnTo>
                  <a:pt x="1916" y="1118"/>
                </a:lnTo>
                <a:lnTo>
                  <a:pt x="1916" y="1118"/>
                </a:lnTo>
                <a:lnTo>
                  <a:pt x="1916" y="1118"/>
                </a:lnTo>
                <a:lnTo>
                  <a:pt x="1916" y="1118"/>
                </a:lnTo>
                <a:lnTo>
                  <a:pt x="1916" y="1118"/>
                </a:lnTo>
                <a:lnTo>
                  <a:pt x="1916" y="1118"/>
                </a:lnTo>
                <a:lnTo>
                  <a:pt x="1910" y="1126"/>
                </a:lnTo>
                <a:lnTo>
                  <a:pt x="1910" y="1126"/>
                </a:lnTo>
                <a:close/>
                <a:moveTo>
                  <a:pt x="1912" y="1104"/>
                </a:moveTo>
                <a:lnTo>
                  <a:pt x="1912" y="1104"/>
                </a:lnTo>
                <a:lnTo>
                  <a:pt x="1922" y="1100"/>
                </a:lnTo>
                <a:lnTo>
                  <a:pt x="1922" y="1100"/>
                </a:lnTo>
                <a:lnTo>
                  <a:pt x="1894" y="1098"/>
                </a:lnTo>
                <a:lnTo>
                  <a:pt x="1894" y="1098"/>
                </a:lnTo>
                <a:lnTo>
                  <a:pt x="1894" y="1098"/>
                </a:lnTo>
                <a:lnTo>
                  <a:pt x="1894" y="1098"/>
                </a:lnTo>
                <a:lnTo>
                  <a:pt x="1922" y="1100"/>
                </a:lnTo>
                <a:lnTo>
                  <a:pt x="1922" y="1100"/>
                </a:lnTo>
                <a:lnTo>
                  <a:pt x="1912" y="1104"/>
                </a:lnTo>
                <a:lnTo>
                  <a:pt x="1912" y="1104"/>
                </a:lnTo>
                <a:close/>
                <a:moveTo>
                  <a:pt x="1870" y="1114"/>
                </a:moveTo>
                <a:lnTo>
                  <a:pt x="1870" y="1114"/>
                </a:lnTo>
                <a:lnTo>
                  <a:pt x="1874" y="1114"/>
                </a:lnTo>
                <a:lnTo>
                  <a:pt x="1874" y="1114"/>
                </a:lnTo>
                <a:lnTo>
                  <a:pt x="1876" y="1110"/>
                </a:lnTo>
                <a:lnTo>
                  <a:pt x="1876" y="1110"/>
                </a:lnTo>
                <a:lnTo>
                  <a:pt x="1876" y="1110"/>
                </a:lnTo>
                <a:lnTo>
                  <a:pt x="1876" y="1110"/>
                </a:lnTo>
                <a:lnTo>
                  <a:pt x="1874" y="1114"/>
                </a:lnTo>
                <a:lnTo>
                  <a:pt x="1874" y="1114"/>
                </a:lnTo>
                <a:lnTo>
                  <a:pt x="1870" y="1114"/>
                </a:lnTo>
                <a:lnTo>
                  <a:pt x="1870" y="1114"/>
                </a:lnTo>
                <a:lnTo>
                  <a:pt x="1870" y="1114"/>
                </a:lnTo>
                <a:lnTo>
                  <a:pt x="1870" y="1114"/>
                </a:lnTo>
                <a:close/>
                <a:moveTo>
                  <a:pt x="1832" y="1022"/>
                </a:moveTo>
                <a:lnTo>
                  <a:pt x="1832" y="1022"/>
                </a:lnTo>
                <a:lnTo>
                  <a:pt x="1840" y="1020"/>
                </a:lnTo>
                <a:lnTo>
                  <a:pt x="1850" y="1020"/>
                </a:lnTo>
                <a:lnTo>
                  <a:pt x="1850" y="1020"/>
                </a:lnTo>
                <a:lnTo>
                  <a:pt x="1862" y="1026"/>
                </a:lnTo>
                <a:lnTo>
                  <a:pt x="1862" y="1026"/>
                </a:lnTo>
                <a:lnTo>
                  <a:pt x="1856" y="1028"/>
                </a:lnTo>
                <a:lnTo>
                  <a:pt x="1856" y="1028"/>
                </a:lnTo>
                <a:lnTo>
                  <a:pt x="1846" y="1026"/>
                </a:lnTo>
                <a:lnTo>
                  <a:pt x="1836" y="1028"/>
                </a:lnTo>
                <a:lnTo>
                  <a:pt x="1836" y="1028"/>
                </a:lnTo>
                <a:lnTo>
                  <a:pt x="1832" y="1030"/>
                </a:lnTo>
                <a:lnTo>
                  <a:pt x="1828" y="1026"/>
                </a:lnTo>
                <a:lnTo>
                  <a:pt x="1828" y="1026"/>
                </a:lnTo>
                <a:lnTo>
                  <a:pt x="1828" y="1024"/>
                </a:lnTo>
                <a:lnTo>
                  <a:pt x="1832" y="1022"/>
                </a:lnTo>
                <a:lnTo>
                  <a:pt x="1832" y="1022"/>
                </a:lnTo>
                <a:close/>
                <a:moveTo>
                  <a:pt x="1826" y="1036"/>
                </a:moveTo>
                <a:lnTo>
                  <a:pt x="1826" y="1036"/>
                </a:lnTo>
                <a:lnTo>
                  <a:pt x="1826" y="1036"/>
                </a:lnTo>
                <a:lnTo>
                  <a:pt x="1826" y="1036"/>
                </a:lnTo>
                <a:lnTo>
                  <a:pt x="1820" y="1034"/>
                </a:lnTo>
                <a:lnTo>
                  <a:pt x="1816" y="1032"/>
                </a:lnTo>
                <a:lnTo>
                  <a:pt x="1816" y="1032"/>
                </a:lnTo>
                <a:lnTo>
                  <a:pt x="1820" y="1034"/>
                </a:lnTo>
                <a:lnTo>
                  <a:pt x="1826" y="1036"/>
                </a:lnTo>
                <a:lnTo>
                  <a:pt x="1826" y="1036"/>
                </a:lnTo>
                <a:close/>
                <a:moveTo>
                  <a:pt x="1814" y="990"/>
                </a:moveTo>
                <a:lnTo>
                  <a:pt x="1814" y="990"/>
                </a:lnTo>
                <a:lnTo>
                  <a:pt x="1818" y="990"/>
                </a:lnTo>
                <a:lnTo>
                  <a:pt x="1818" y="990"/>
                </a:lnTo>
                <a:lnTo>
                  <a:pt x="1816" y="990"/>
                </a:lnTo>
                <a:lnTo>
                  <a:pt x="1816" y="990"/>
                </a:lnTo>
                <a:lnTo>
                  <a:pt x="1814" y="990"/>
                </a:lnTo>
                <a:lnTo>
                  <a:pt x="1814" y="990"/>
                </a:lnTo>
                <a:lnTo>
                  <a:pt x="1814" y="990"/>
                </a:lnTo>
                <a:lnTo>
                  <a:pt x="1814" y="990"/>
                </a:lnTo>
                <a:close/>
                <a:moveTo>
                  <a:pt x="1816" y="1044"/>
                </a:moveTo>
                <a:lnTo>
                  <a:pt x="1816" y="1044"/>
                </a:lnTo>
                <a:lnTo>
                  <a:pt x="1812" y="1050"/>
                </a:lnTo>
                <a:lnTo>
                  <a:pt x="1812" y="1050"/>
                </a:lnTo>
                <a:lnTo>
                  <a:pt x="1828" y="1054"/>
                </a:lnTo>
                <a:lnTo>
                  <a:pt x="1828" y="1070"/>
                </a:lnTo>
                <a:lnTo>
                  <a:pt x="1828" y="1070"/>
                </a:lnTo>
                <a:lnTo>
                  <a:pt x="1814" y="1064"/>
                </a:lnTo>
                <a:lnTo>
                  <a:pt x="1800" y="1058"/>
                </a:lnTo>
                <a:lnTo>
                  <a:pt x="1800" y="1058"/>
                </a:lnTo>
                <a:lnTo>
                  <a:pt x="1802" y="1056"/>
                </a:lnTo>
                <a:lnTo>
                  <a:pt x="1802" y="1056"/>
                </a:lnTo>
                <a:lnTo>
                  <a:pt x="1816" y="1058"/>
                </a:lnTo>
                <a:lnTo>
                  <a:pt x="1816" y="1058"/>
                </a:lnTo>
                <a:lnTo>
                  <a:pt x="1818" y="1058"/>
                </a:lnTo>
                <a:lnTo>
                  <a:pt x="1818" y="1058"/>
                </a:lnTo>
                <a:lnTo>
                  <a:pt x="1812" y="1056"/>
                </a:lnTo>
                <a:lnTo>
                  <a:pt x="1806" y="1054"/>
                </a:lnTo>
                <a:lnTo>
                  <a:pt x="1800" y="1052"/>
                </a:lnTo>
                <a:lnTo>
                  <a:pt x="1796" y="1050"/>
                </a:lnTo>
                <a:lnTo>
                  <a:pt x="1796" y="1050"/>
                </a:lnTo>
                <a:lnTo>
                  <a:pt x="1814" y="1042"/>
                </a:lnTo>
                <a:lnTo>
                  <a:pt x="1814" y="1042"/>
                </a:lnTo>
                <a:lnTo>
                  <a:pt x="1816" y="1044"/>
                </a:lnTo>
                <a:lnTo>
                  <a:pt x="1816" y="1044"/>
                </a:lnTo>
                <a:close/>
                <a:moveTo>
                  <a:pt x="1806" y="1014"/>
                </a:moveTo>
                <a:lnTo>
                  <a:pt x="1806" y="1014"/>
                </a:lnTo>
                <a:lnTo>
                  <a:pt x="1806" y="1014"/>
                </a:lnTo>
                <a:lnTo>
                  <a:pt x="1806" y="1014"/>
                </a:lnTo>
                <a:lnTo>
                  <a:pt x="1808" y="1014"/>
                </a:lnTo>
                <a:lnTo>
                  <a:pt x="1808" y="1014"/>
                </a:lnTo>
                <a:lnTo>
                  <a:pt x="1804" y="1018"/>
                </a:lnTo>
                <a:lnTo>
                  <a:pt x="1804" y="1018"/>
                </a:lnTo>
                <a:lnTo>
                  <a:pt x="1804" y="1018"/>
                </a:lnTo>
                <a:lnTo>
                  <a:pt x="1804" y="1018"/>
                </a:lnTo>
                <a:lnTo>
                  <a:pt x="1808" y="1014"/>
                </a:lnTo>
                <a:lnTo>
                  <a:pt x="1808" y="1014"/>
                </a:lnTo>
                <a:lnTo>
                  <a:pt x="1806" y="1014"/>
                </a:lnTo>
                <a:lnTo>
                  <a:pt x="1806" y="1014"/>
                </a:lnTo>
                <a:close/>
                <a:moveTo>
                  <a:pt x="1804" y="1044"/>
                </a:moveTo>
                <a:lnTo>
                  <a:pt x="1804" y="1044"/>
                </a:lnTo>
                <a:lnTo>
                  <a:pt x="1802" y="1044"/>
                </a:lnTo>
                <a:lnTo>
                  <a:pt x="1802" y="1044"/>
                </a:lnTo>
                <a:lnTo>
                  <a:pt x="1804" y="1044"/>
                </a:lnTo>
                <a:lnTo>
                  <a:pt x="1804" y="1044"/>
                </a:lnTo>
                <a:lnTo>
                  <a:pt x="1800" y="1046"/>
                </a:lnTo>
                <a:lnTo>
                  <a:pt x="1794" y="1044"/>
                </a:lnTo>
                <a:lnTo>
                  <a:pt x="1794" y="1044"/>
                </a:lnTo>
                <a:lnTo>
                  <a:pt x="1800" y="1046"/>
                </a:lnTo>
                <a:lnTo>
                  <a:pt x="1804" y="1044"/>
                </a:lnTo>
                <a:lnTo>
                  <a:pt x="1804" y="1044"/>
                </a:lnTo>
                <a:close/>
                <a:moveTo>
                  <a:pt x="1796" y="1080"/>
                </a:moveTo>
                <a:lnTo>
                  <a:pt x="1796" y="1080"/>
                </a:lnTo>
                <a:lnTo>
                  <a:pt x="1796" y="1080"/>
                </a:lnTo>
                <a:lnTo>
                  <a:pt x="1796" y="1080"/>
                </a:lnTo>
                <a:lnTo>
                  <a:pt x="1792" y="1078"/>
                </a:lnTo>
                <a:lnTo>
                  <a:pt x="1788" y="1080"/>
                </a:lnTo>
                <a:lnTo>
                  <a:pt x="1788" y="1080"/>
                </a:lnTo>
                <a:lnTo>
                  <a:pt x="1788" y="1080"/>
                </a:lnTo>
                <a:lnTo>
                  <a:pt x="1788" y="1080"/>
                </a:lnTo>
                <a:lnTo>
                  <a:pt x="1792" y="1078"/>
                </a:lnTo>
                <a:lnTo>
                  <a:pt x="1796" y="1080"/>
                </a:lnTo>
                <a:lnTo>
                  <a:pt x="1796" y="1080"/>
                </a:lnTo>
                <a:close/>
                <a:moveTo>
                  <a:pt x="1784" y="1168"/>
                </a:moveTo>
                <a:lnTo>
                  <a:pt x="1784" y="1168"/>
                </a:lnTo>
                <a:lnTo>
                  <a:pt x="1784" y="1166"/>
                </a:lnTo>
                <a:lnTo>
                  <a:pt x="1784" y="1166"/>
                </a:lnTo>
                <a:lnTo>
                  <a:pt x="1784" y="1166"/>
                </a:lnTo>
                <a:lnTo>
                  <a:pt x="1784" y="1166"/>
                </a:lnTo>
                <a:lnTo>
                  <a:pt x="1784" y="1168"/>
                </a:lnTo>
                <a:lnTo>
                  <a:pt x="1784" y="1168"/>
                </a:lnTo>
                <a:lnTo>
                  <a:pt x="1772" y="1168"/>
                </a:lnTo>
                <a:lnTo>
                  <a:pt x="1772" y="1168"/>
                </a:lnTo>
                <a:lnTo>
                  <a:pt x="1772" y="1168"/>
                </a:lnTo>
                <a:lnTo>
                  <a:pt x="1772" y="1168"/>
                </a:lnTo>
                <a:lnTo>
                  <a:pt x="1784" y="1168"/>
                </a:lnTo>
                <a:lnTo>
                  <a:pt x="1784" y="1168"/>
                </a:lnTo>
                <a:close/>
                <a:moveTo>
                  <a:pt x="1782" y="1086"/>
                </a:moveTo>
                <a:lnTo>
                  <a:pt x="1782" y="1086"/>
                </a:lnTo>
                <a:lnTo>
                  <a:pt x="1784" y="1086"/>
                </a:lnTo>
                <a:lnTo>
                  <a:pt x="1784" y="1086"/>
                </a:lnTo>
                <a:lnTo>
                  <a:pt x="1786" y="1086"/>
                </a:lnTo>
                <a:lnTo>
                  <a:pt x="1786" y="1086"/>
                </a:lnTo>
                <a:lnTo>
                  <a:pt x="1786" y="1086"/>
                </a:lnTo>
                <a:lnTo>
                  <a:pt x="1782" y="1088"/>
                </a:lnTo>
                <a:lnTo>
                  <a:pt x="1782" y="1088"/>
                </a:lnTo>
                <a:lnTo>
                  <a:pt x="1782" y="1088"/>
                </a:lnTo>
                <a:lnTo>
                  <a:pt x="1782" y="1088"/>
                </a:lnTo>
                <a:lnTo>
                  <a:pt x="1786" y="1086"/>
                </a:lnTo>
                <a:lnTo>
                  <a:pt x="1786" y="1086"/>
                </a:lnTo>
                <a:lnTo>
                  <a:pt x="1786" y="1086"/>
                </a:lnTo>
                <a:lnTo>
                  <a:pt x="1782" y="1086"/>
                </a:lnTo>
                <a:lnTo>
                  <a:pt x="1782" y="1086"/>
                </a:lnTo>
                <a:close/>
                <a:moveTo>
                  <a:pt x="1758" y="1040"/>
                </a:moveTo>
                <a:lnTo>
                  <a:pt x="1758" y="1040"/>
                </a:lnTo>
                <a:lnTo>
                  <a:pt x="1758" y="1040"/>
                </a:lnTo>
                <a:lnTo>
                  <a:pt x="1758" y="1040"/>
                </a:lnTo>
                <a:lnTo>
                  <a:pt x="1760" y="1038"/>
                </a:lnTo>
                <a:lnTo>
                  <a:pt x="1760" y="1038"/>
                </a:lnTo>
                <a:lnTo>
                  <a:pt x="1758" y="1036"/>
                </a:lnTo>
                <a:lnTo>
                  <a:pt x="1758" y="1036"/>
                </a:lnTo>
                <a:lnTo>
                  <a:pt x="1758" y="1036"/>
                </a:lnTo>
                <a:lnTo>
                  <a:pt x="1758" y="1036"/>
                </a:lnTo>
                <a:lnTo>
                  <a:pt x="1762" y="1038"/>
                </a:lnTo>
                <a:lnTo>
                  <a:pt x="1762" y="1038"/>
                </a:lnTo>
                <a:lnTo>
                  <a:pt x="1758" y="1040"/>
                </a:lnTo>
                <a:lnTo>
                  <a:pt x="1758" y="1040"/>
                </a:lnTo>
                <a:close/>
                <a:moveTo>
                  <a:pt x="1714" y="1190"/>
                </a:moveTo>
                <a:lnTo>
                  <a:pt x="1714" y="1190"/>
                </a:lnTo>
                <a:lnTo>
                  <a:pt x="1712" y="1188"/>
                </a:lnTo>
                <a:lnTo>
                  <a:pt x="1712" y="1188"/>
                </a:lnTo>
                <a:lnTo>
                  <a:pt x="1712" y="1188"/>
                </a:lnTo>
                <a:lnTo>
                  <a:pt x="1712" y="1188"/>
                </a:lnTo>
                <a:lnTo>
                  <a:pt x="1714" y="1190"/>
                </a:lnTo>
                <a:lnTo>
                  <a:pt x="1714" y="1190"/>
                </a:lnTo>
                <a:lnTo>
                  <a:pt x="1714" y="1190"/>
                </a:lnTo>
                <a:lnTo>
                  <a:pt x="1714" y="1190"/>
                </a:lnTo>
                <a:close/>
                <a:moveTo>
                  <a:pt x="1728" y="1154"/>
                </a:moveTo>
                <a:lnTo>
                  <a:pt x="1728" y="1154"/>
                </a:lnTo>
                <a:lnTo>
                  <a:pt x="1728" y="1154"/>
                </a:lnTo>
                <a:lnTo>
                  <a:pt x="1728" y="1154"/>
                </a:lnTo>
                <a:lnTo>
                  <a:pt x="1722" y="1154"/>
                </a:lnTo>
                <a:lnTo>
                  <a:pt x="1722" y="1154"/>
                </a:lnTo>
                <a:lnTo>
                  <a:pt x="1728" y="1154"/>
                </a:lnTo>
                <a:lnTo>
                  <a:pt x="1728" y="1154"/>
                </a:lnTo>
                <a:close/>
                <a:moveTo>
                  <a:pt x="1714" y="1146"/>
                </a:moveTo>
                <a:lnTo>
                  <a:pt x="1714" y="1146"/>
                </a:lnTo>
                <a:lnTo>
                  <a:pt x="1714" y="1146"/>
                </a:lnTo>
                <a:lnTo>
                  <a:pt x="1714" y="1146"/>
                </a:lnTo>
                <a:lnTo>
                  <a:pt x="1712" y="1146"/>
                </a:lnTo>
                <a:lnTo>
                  <a:pt x="1712" y="1146"/>
                </a:lnTo>
                <a:lnTo>
                  <a:pt x="1714" y="1146"/>
                </a:lnTo>
                <a:lnTo>
                  <a:pt x="1714" y="1146"/>
                </a:lnTo>
                <a:lnTo>
                  <a:pt x="1714" y="1146"/>
                </a:lnTo>
                <a:lnTo>
                  <a:pt x="1714" y="1146"/>
                </a:lnTo>
                <a:close/>
                <a:moveTo>
                  <a:pt x="1698" y="1152"/>
                </a:moveTo>
                <a:lnTo>
                  <a:pt x="1698" y="1152"/>
                </a:lnTo>
                <a:lnTo>
                  <a:pt x="1698" y="1152"/>
                </a:lnTo>
                <a:lnTo>
                  <a:pt x="1698" y="1152"/>
                </a:lnTo>
                <a:lnTo>
                  <a:pt x="1708" y="1152"/>
                </a:lnTo>
                <a:lnTo>
                  <a:pt x="1710" y="1150"/>
                </a:lnTo>
                <a:lnTo>
                  <a:pt x="1712" y="1148"/>
                </a:lnTo>
                <a:lnTo>
                  <a:pt x="1712" y="1148"/>
                </a:lnTo>
                <a:lnTo>
                  <a:pt x="1712" y="1148"/>
                </a:lnTo>
                <a:lnTo>
                  <a:pt x="1712" y="1148"/>
                </a:lnTo>
                <a:lnTo>
                  <a:pt x="1712" y="1148"/>
                </a:lnTo>
                <a:lnTo>
                  <a:pt x="1712" y="1148"/>
                </a:lnTo>
                <a:lnTo>
                  <a:pt x="1710" y="1150"/>
                </a:lnTo>
                <a:lnTo>
                  <a:pt x="1708" y="1152"/>
                </a:lnTo>
                <a:lnTo>
                  <a:pt x="1698" y="1152"/>
                </a:lnTo>
                <a:lnTo>
                  <a:pt x="1698" y="1152"/>
                </a:lnTo>
                <a:close/>
                <a:moveTo>
                  <a:pt x="1702" y="1162"/>
                </a:moveTo>
                <a:lnTo>
                  <a:pt x="1702" y="1162"/>
                </a:lnTo>
                <a:lnTo>
                  <a:pt x="1702" y="1162"/>
                </a:lnTo>
                <a:lnTo>
                  <a:pt x="1702" y="1162"/>
                </a:lnTo>
                <a:lnTo>
                  <a:pt x="1712" y="1162"/>
                </a:lnTo>
                <a:lnTo>
                  <a:pt x="1712" y="1162"/>
                </a:lnTo>
                <a:lnTo>
                  <a:pt x="1712" y="1162"/>
                </a:lnTo>
                <a:lnTo>
                  <a:pt x="1712" y="1162"/>
                </a:lnTo>
                <a:lnTo>
                  <a:pt x="1702" y="1162"/>
                </a:lnTo>
                <a:lnTo>
                  <a:pt x="1702" y="1162"/>
                </a:lnTo>
                <a:close/>
                <a:moveTo>
                  <a:pt x="1692" y="1194"/>
                </a:moveTo>
                <a:lnTo>
                  <a:pt x="1692" y="1194"/>
                </a:lnTo>
                <a:lnTo>
                  <a:pt x="1698" y="1190"/>
                </a:lnTo>
                <a:lnTo>
                  <a:pt x="1698" y="1190"/>
                </a:lnTo>
                <a:lnTo>
                  <a:pt x="1708" y="1196"/>
                </a:lnTo>
                <a:lnTo>
                  <a:pt x="1708" y="1196"/>
                </a:lnTo>
                <a:lnTo>
                  <a:pt x="1708" y="1196"/>
                </a:lnTo>
                <a:lnTo>
                  <a:pt x="1708" y="1196"/>
                </a:lnTo>
                <a:lnTo>
                  <a:pt x="1692" y="1194"/>
                </a:lnTo>
                <a:lnTo>
                  <a:pt x="1692" y="1194"/>
                </a:lnTo>
                <a:close/>
                <a:moveTo>
                  <a:pt x="1746" y="1182"/>
                </a:moveTo>
                <a:lnTo>
                  <a:pt x="1746" y="1182"/>
                </a:lnTo>
                <a:lnTo>
                  <a:pt x="1750" y="1178"/>
                </a:lnTo>
                <a:lnTo>
                  <a:pt x="1756" y="1178"/>
                </a:lnTo>
                <a:lnTo>
                  <a:pt x="1756" y="1178"/>
                </a:lnTo>
                <a:lnTo>
                  <a:pt x="1762" y="1176"/>
                </a:lnTo>
                <a:lnTo>
                  <a:pt x="1762" y="1170"/>
                </a:lnTo>
                <a:lnTo>
                  <a:pt x="1762" y="1170"/>
                </a:lnTo>
                <a:lnTo>
                  <a:pt x="1764" y="1168"/>
                </a:lnTo>
                <a:lnTo>
                  <a:pt x="1766" y="1166"/>
                </a:lnTo>
                <a:lnTo>
                  <a:pt x="1766" y="1166"/>
                </a:lnTo>
                <a:lnTo>
                  <a:pt x="1776" y="1178"/>
                </a:lnTo>
                <a:lnTo>
                  <a:pt x="1776" y="1178"/>
                </a:lnTo>
                <a:lnTo>
                  <a:pt x="1764" y="1188"/>
                </a:lnTo>
                <a:lnTo>
                  <a:pt x="1764" y="1188"/>
                </a:lnTo>
                <a:lnTo>
                  <a:pt x="1746" y="1182"/>
                </a:lnTo>
                <a:lnTo>
                  <a:pt x="1746" y="1182"/>
                </a:lnTo>
                <a:close/>
                <a:moveTo>
                  <a:pt x="1758" y="1196"/>
                </a:moveTo>
                <a:lnTo>
                  <a:pt x="1758" y="1196"/>
                </a:lnTo>
                <a:lnTo>
                  <a:pt x="1758" y="1196"/>
                </a:lnTo>
                <a:lnTo>
                  <a:pt x="1758" y="1196"/>
                </a:lnTo>
                <a:lnTo>
                  <a:pt x="1758" y="1196"/>
                </a:lnTo>
                <a:lnTo>
                  <a:pt x="1758" y="1196"/>
                </a:lnTo>
                <a:lnTo>
                  <a:pt x="1758" y="1196"/>
                </a:lnTo>
                <a:lnTo>
                  <a:pt x="1758" y="1196"/>
                </a:lnTo>
                <a:lnTo>
                  <a:pt x="1758" y="1196"/>
                </a:lnTo>
                <a:lnTo>
                  <a:pt x="1758" y="1196"/>
                </a:lnTo>
                <a:lnTo>
                  <a:pt x="1758" y="1196"/>
                </a:lnTo>
                <a:lnTo>
                  <a:pt x="1758" y="1196"/>
                </a:lnTo>
                <a:close/>
                <a:moveTo>
                  <a:pt x="1768" y="1202"/>
                </a:moveTo>
                <a:lnTo>
                  <a:pt x="1768" y="1202"/>
                </a:lnTo>
                <a:lnTo>
                  <a:pt x="1764" y="1200"/>
                </a:lnTo>
                <a:lnTo>
                  <a:pt x="1764" y="1200"/>
                </a:lnTo>
                <a:lnTo>
                  <a:pt x="1772" y="1196"/>
                </a:lnTo>
                <a:lnTo>
                  <a:pt x="1772" y="1196"/>
                </a:lnTo>
                <a:lnTo>
                  <a:pt x="1778" y="1198"/>
                </a:lnTo>
                <a:lnTo>
                  <a:pt x="1778" y="1198"/>
                </a:lnTo>
                <a:lnTo>
                  <a:pt x="1768" y="1202"/>
                </a:lnTo>
                <a:lnTo>
                  <a:pt x="1768" y="1202"/>
                </a:lnTo>
                <a:close/>
                <a:moveTo>
                  <a:pt x="1784" y="1172"/>
                </a:moveTo>
                <a:lnTo>
                  <a:pt x="1784" y="1172"/>
                </a:lnTo>
                <a:lnTo>
                  <a:pt x="1784" y="1158"/>
                </a:lnTo>
                <a:lnTo>
                  <a:pt x="1784" y="1158"/>
                </a:lnTo>
                <a:lnTo>
                  <a:pt x="1788" y="1160"/>
                </a:lnTo>
                <a:lnTo>
                  <a:pt x="1788" y="1160"/>
                </a:lnTo>
                <a:lnTo>
                  <a:pt x="1808" y="1162"/>
                </a:lnTo>
                <a:lnTo>
                  <a:pt x="1808" y="1162"/>
                </a:lnTo>
                <a:lnTo>
                  <a:pt x="1802" y="1168"/>
                </a:lnTo>
                <a:lnTo>
                  <a:pt x="1802" y="1168"/>
                </a:lnTo>
                <a:lnTo>
                  <a:pt x="1800" y="1168"/>
                </a:lnTo>
                <a:lnTo>
                  <a:pt x="1800" y="1168"/>
                </a:lnTo>
                <a:lnTo>
                  <a:pt x="1796" y="1174"/>
                </a:lnTo>
                <a:lnTo>
                  <a:pt x="1796" y="1174"/>
                </a:lnTo>
                <a:lnTo>
                  <a:pt x="1796" y="1174"/>
                </a:lnTo>
                <a:lnTo>
                  <a:pt x="1796" y="1174"/>
                </a:lnTo>
                <a:lnTo>
                  <a:pt x="1788" y="1172"/>
                </a:lnTo>
                <a:lnTo>
                  <a:pt x="1784" y="1172"/>
                </a:lnTo>
                <a:lnTo>
                  <a:pt x="1784" y="1172"/>
                </a:lnTo>
                <a:close/>
                <a:moveTo>
                  <a:pt x="1828" y="1218"/>
                </a:moveTo>
                <a:lnTo>
                  <a:pt x="1828" y="1218"/>
                </a:lnTo>
                <a:lnTo>
                  <a:pt x="1828" y="1216"/>
                </a:lnTo>
                <a:lnTo>
                  <a:pt x="1828" y="1216"/>
                </a:lnTo>
                <a:lnTo>
                  <a:pt x="1828" y="1218"/>
                </a:lnTo>
                <a:lnTo>
                  <a:pt x="1828" y="1218"/>
                </a:lnTo>
                <a:close/>
                <a:moveTo>
                  <a:pt x="1976" y="1124"/>
                </a:moveTo>
                <a:lnTo>
                  <a:pt x="1976" y="1124"/>
                </a:lnTo>
                <a:lnTo>
                  <a:pt x="1968" y="1120"/>
                </a:lnTo>
                <a:lnTo>
                  <a:pt x="1968" y="1120"/>
                </a:lnTo>
                <a:lnTo>
                  <a:pt x="1958" y="1124"/>
                </a:lnTo>
                <a:lnTo>
                  <a:pt x="1950" y="1126"/>
                </a:lnTo>
                <a:lnTo>
                  <a:pt x="1950" y="1126"/>
                </a:lnTo>
                <a:lnTo>
                  <a:pt x="1944" y="1128"/>
                </a:lnTo>
                <a:lnTo>
                  <a:pt x="1940" y="1128"/>
                </a:lnTo>
                <a:lnTo>
                  <a:pt x="1930" y="1128"/>
                </a:lnTo>
                <a:lnTo>
                  <a:pt x="1930" y="1128"/>
                </a:lnTo>
                <a:lnTo>
                  <a:pt x="1920" y="1124"/>
                </a:lnTo>
                <a:lnTo>
                  <a:pt x="1918" y="1120"/>
                </a:lnTo>
                <a:lnTo>
                  <a:pt x="1916" y="1118"/>
                </a:lnTo>
                <a:lnTo>
                  <a:pt x="1916" y="1118"/>
                </a:lnTo>
                <a:lnTo>
                  <a:pt x="1934" y="1122"/>
                </a:lnTo>
                <a:lnTo>
                  <a:pt x="1934" y="1122"/>
                </a:lnTo>
                <a:lnTo>
                  <a:pt x="1936" y="1124"/>
                </a:lnTo>
                <a:lnTo>
                  <a:pt x="1940" y="1128"/>
                </a:lnTo>
                <a:lnTo>
                  <a:pt x="1940" y="1128"/>
                </a:lnTo>
                <a:lnTo>
                  <a:pt x="1942" y="1120"/>
                </a:lnTo>
                <a:lnTo>
                  <a:pt x="1942" y="1120"/>
                </a:lnTo>
                <a:lnTo>
                  <a:pt x="1956" y="1122"/>
                </a:lnTo>
                <a:lnTo>
                  <a:pt x="1956" y="1122"/>
                </a:lnTo>
                <a:lnTo>
                  <a:pt x="1958" y="1120"/>
                </a:lnTo>
                <a:lnTo>
                  <a:pt x="1958" y="1120"/>
                </a:lnTo>
                <a:lnTo>
                  <a:pt x="1952" y="1114"/>
                </a:lnTo>
                <a:lnTo>
                  <a:pt x="1952" y="1114"/>
                </a:lnTo>
                <a:lnTo>
                  <a:pt x="1960" y="1110"/>
                </a:lnTo>
                <a:lnTo>
                  <a:pt x="1960" y="1110"/>
                </a:lnTo>
                <a:lnTo>
                  <a:pt x="1962" y="1112"/>
                </a:lnTo>
                <a:lnTo>
                  <a:pt x="1962" y="1112"/>
                </a:lnTo>
                <a:lnTo>
                  <a:pt x="1966" y="1116"/>
                </a:lnTo>
                <a:lnTo>
                  <a:pt x="1968" y="1118"/>
                </a:lnTo>
                <a:lnTo>
                  <a:pt x="1974" y="1118"/>
                </a:lnTo>
                <a:lnTo>
                  <a:pt x="1974" y="1118"/>
                </a:lnTo>
                <a:lnTo>
                  <a:pt x="1976" y="1120"/>
                </a:lnTo>
                <a:lnTo>
                  <a:pt x="1978" y="1122"/>
                </a:lnTo>
                <a:lnTo>
                  <a:pt x="1978" y="1122"/>
                </a:lnTo>
                <a:lnTo>
                  <a:pt x="1976" y="1124"/>
                </a:lnTo>
                <a:lnTo>
                  <a:pt x="1976" y="1124"/>
                </a:lnTo>
                <a:close/>
                <a:moveTo>
                  <a:pt x="1976" y="1070"/>
                </a:moveTo>
                <a:lnTo>
                  <a:pt x="1976" y="1070"/>
                </a:lnTo>
                <a:lnTo>
                  <a:pt x="1976" y="1070"/>
                </a:lnTo>
                <a:lnTo>
                  <a:pt x="1976" y="1070"/>
                </a:lnTo>
                <a:lnTo>
                  <a:pt x="1984" y="1072"/>
                </a:lnTo>
                <a:lnTo>
                  <a:pt x="1990" y="1070"/>
                </a:lnTo>
                <a:lnTo>
                  <a:pt x="1990" y="1070"/>
                </a:lnTo>
                <a:lnTo>
                  <a:pt x="1990" y="1072"/>
                </a:lnTo>
                <a:lnTo>
                  <a:pt x="1990" y="1072"/>
                </a:lnTo>
                <a:lnTo>
                  <a:pt x="1984" y="1072"/>
                </a:lnTo>
                <a:lnTo>
                  <a:pt x="1976" y="1070"/>
                </a:lnTo>
                <a:lnTo>
                  <a:pt x="1976" y="1070"/>
                </a:lnTo>
                <a:close/>
                <a:moveTo>
                  <a:pt x="2010" y="1076"/>
                </a:moveTo>
                <a:lnTo>
                  <a:pt x="2010" y="1076"/>
                </a:lnTo>
                <a:lnTo>
                  <a:pt x="2010" y="1076"/>
                </a:lnTo>
                <a:lnTo>
                  <a:pt x="2010" y="1076"/>
                </a:lnTo>
                <a:lnTo>
                  <a:pt x="2014" y="1076"/>
                </a:lnTo>
                <a:lnTo>
                  <a:pt x="2014" y="1076"/>
                </a:lnTo>
                <a:lnTo>
                  <a:pt x="2010" y="1078"/>
                </a:lnTo>
                <a:lnTo>
                  <a:pt x="2010" y="1078"/>
                </a:lnTo>
                <a:lnTo>
                  <a:pt x="2010" y="1078"/>
                </a:lnTo>
                <a:lnTo>
                  <a:pt x="2010" y="1078"/>
                </a:lnTo>
                <a:lnTo>
                  <a:pt x="2014" y="1076"/>
                </a:lnTo>
                <a:lnTo>
                  <a:pt x="2014" y="1076"/>
                </a:lnTo>
                <a:lnTo>
                  <a:pt x="2010" y="1076"/>
                </a:lnTo>
                <a:lnTo>
                  <a:pt x="2010" y="1076"/>
                </a:lnTo>
                <a:close/>
                <a:moveTo>
                  <a:pt x="2006" y="1126"/>
                </a:moveTo>
                <a:lnTo>
                  <a:pt x="2006" y="1126"/>
                </a:lnTo>
                <a:lnTo>
                  <a:pt x="2006" y="1126"/>
                </a:lnTo>
                <a:lnTo>
                  <a:pt x="2006" y="1126"/>
                </a:lnTo>
                <a:lnTo>
                  <a:pt x="2024" y="1122"/>
                </a:lnTo>
                <a:lnTo>
                  <a:pt x="2024" y="1122"/>
                </a:lnTo>
                <a:lnTo>
                  <a:pt x="2018" y="1120"/>
                </a:lnTo>
                <a:lnTo>
                  <a:pt x="2012" y="1120"/>
                </a:lnTo>
                <a:lnTo>
                  <a:pt x="2012" y="1120"/>
                </a:lnTo>
                <a:lnTo>
                  <a:pt x="2018" y="1120"/>
                </a:lnTo>
                <a:lnTo>
                  <a:pt x="2024" y="1122"/>
                </a:lnTo>
                <a:lnTo>
                  <a:pt x="2024" y="1122"/>
                </a:lnTo>
                <a:lnTo>
                  <a:pt x="2006" y="1126"/>
                </a:lnTo>
                <a:lnTo>
                  <a:pt x="2006" y="1126"/>
                </a:lnTo>
                <a:close/>
                <a:moveTo>
                  <a:pt x="2030" y="1080"/>
                </a:moveTo>
                <a:lnTo>
                  <a:pt x="2030" y="1080"/>
                </a:lnTo>
                <a:lnTo>
                  <a:pt x="2030" y="1080"/>
                </a:lnTo>
                <a:lnTo>
                  <a:pt x="2032" y="1078"/>
                </a:lnTo>
                <a:lnTo>
                  <a:pt x="2032" y="1078"/>
                </a:lnTo>
                <a:lnTo>
                  <a:pt x="2030" y="1076"/>
                </a:lnTo>
                <a:lnTo>
                  <a:pt x="2030" y="1076"/>
                </a:lnTo>
                <a:lnTo>
                  <a:pt x="2028" y="1076"/>
                </a:lnTo>
                <a:lnTo>
                  <a:pt x="2028" y="1076"/>
                </a:lnTo>
                <a:lnTo>
                  <a:pt x="2030" y="1076"/>
                </a:lnTo>
                <a:lnTo>
                  <a:pt x="2030" y="1076"/>
                </a:lnTo>
                <a:lnTo>
                  <a:pt x="2032" y="1078"/>
                </a:lnTo>
                <a:lnTo>
                  <a:pt x="2032" y="1078"/>
                </a:lnTo>
                <a:lnTo>
                  <a:pt x="2030" y="1080"/>
                </a:lnTo>
                <a:lnTo>
                  <a:pt x="2030" y="1080"/>
                </a:lnTo>
                <a:close/>
                <a:moveTo>
                  <a:pt x="2050" y="1150"/>
                </a:moveTo>
                <a:lnTo>
                  <a:pt x="2050" y="1150"/>
                </a:lnTo>
                <a:lnTo>
                  <a:pt x="2050" y="1150"/>
                </a:lnTo>
                <a:lnTo>
                  <a:pt x="2050" y="1150"/>
                </a:lnTo>
                <a:lnTo>
                  <a:pt x="2058" y="1152"/>
                </a:lnTo>
                <a:lnTo>
                  <a:pt x="2064" y="1152"/>
                </a:lnTo>
                <a:lnTo>
                  <a:pt x="2064" y="1152"/>
                </a:lnTo>
                <a:lnTo>
                  <a:pt x="2064" y="1152"/>
                </a:lnTo>
                <a:lnTo>
                  <a:pt x="2064" y="1152"/>
                </a:lnTo>
                <a:lnTo>
                  <a:pt x="2058" y="1154"/>
                </a:lnTo>
                <a:lnTo>
                  <a:pt x="2050" y="1150"/>
                </a:lnTo>
                <a:lnTo>
                  <a:pt x="2050" y="1150"/>
                </a:lnTo>
                <a:close/>
                <a:moveTo>
                  <a:pt x="2098" y="1134"/>
                </a:moveTo>
                <a:lnTo>
                  <a:pt x="2098" y="1134"/>
                </a:lnTo>
                <a:lnTo>
                  <a:pt x="2098" y="1132"/>
                </a:lnTo>
                <a:lnTo>
                  <a:pt x="2098" y="1132"/>
                </a:lnTo>
                <a:lnTo>
                  <a:pt x="2094" y="1132"/>
                </a:lnTo>
                <a:lnTo>
                  <a:pt x="2094" y="1132"/>
                </a:lnTo>
                <a:lnTo>
                  <a:pt x="2098" y="1132"/>
                </a:lnTo>
                <a:lnTo>
                  <a:pt x="2098" y="1132"/>
                </a:lnTo>
                <a:lnTo>
                  <a:pt x="2098" y="1134"/>
                </a:lnTo>
                <a:lnTo>
                  <a:pt x="2098" y="1134"/>
                </a:lnTo>
                <a:close/>
                <a:moveTo>
                  <a:pt x="2112" y="1100"/>
                </a:moveTo>
                <a:lnTo>
                  <a:pt x="2112" y="1100"/>
                </a:lnTo>
                <a:lnTo>
                  <a:pt x="2114" y="1098"/>
                </a:lnTo>
                <a:lnTo>
                  <a:pt x="2114" y="1098"/>
                </a:lnTo>
                <a:lnTo>
                  <a:pt x="2114" y="1098"/>
                </a:lnTo>
                <a:lnTo>
                  <a:pt x="2112" y="1100"/>
                </a:lnTo>
                <a:lnTo>
                  <a:pt x="2112" y="1100"/>
                </a:lnTo>
                <a:close/>
                <a:moveTo>
                  <a:pt x="2160" y="1090"/>
                </a:moveTo>
                <a:lnTo>
                  <a:pt x="2160" y="1090"/>
                </a:lnTo>
                <a:lnTo>
                  <a:pt x="2168" y="1088"/>
                </a:lnTo>
                <a:lnTo>
                  <a:pt x="2168" y="1088"/>
                </a:lnTo>
                <a:lnTo>
                  <a:pt x="2160" y="1088"/>
                </a:lnTo>
                <a:lnTo>
                  <a:pt x="2160" y="1088"/>
                </a:lnTo>
                <a:lnTo>
                  <a:pt x="2168" y="1088"/>
                </a:lnTo>
                <a:lnTo>
                  <a:pt x="2168" y="1088"/>
                </a:lnTo>
                <a:lnTo>
                  <a:pt x="2160" y="1090"/>
                </a:lnTo>
                <a:lnTo>
                  <a:pt x="2160" y="1090"/>
                </a:lnTo>
                <a:close/>
                <a:moveTo>
                  <a:pt x="2188" y="1098"/>
                </a:moveTo>
                <a:lnTo>
                  <a:pt x="2188" y="1098"/>
                </a:lnTo>
                <a:lnTo>
                  <a:pt x="2192" y="1098"/>
                </a:lnTo>
                <a:lnTo>
                  <a:pt x="2194" y="1094"/>
                </a:lnTo>
                <a:lnTo>
                  <a:pt x="2194" y="1094"/>
                </a:lnTo>
                <a:lnTo>
                  <a:pt x="2194" y="1094"/>
                </a:lnTo>
                <a:lnTo>
                  <a:pt x="2194" y="1094"/>
                </a:lnTo>
                <a:lnTo>
                  <a:pt x="2192" y="1098"/>
                </a:lnTo>
                <a:lnTo>
                  <a:pt x="2188" y="1098"/>
                </a:lnTo>
                <a:lnTo>
                  <a:pt x="2188" y="1098"/>
                </a:lnTo>
                <a:close/>
                <a:moveTo>
                  <a:pt x="2322" y="1144"/>
                </a:moveTo>
                <a:lnTo>
                  <a:pt x="2322" y="1144"/>
                </a:lnTo>
                <a:lnTo>
                  <a:pt x="2322" y="1144"/>
                </a:lnTo>
                <a:lnTo>
                  <a:pt x="2322" y="1148"/>
                </a:lnTo>
                <a:lnTo>
                  <a:pt x="2322" y="1148"/>
                </a:lnTo>
                <a:lnTo>
                  <a:pt x="2312" y="1148"/>
                </a:lnTo>
                <a:lnTo>
                  <a:pt x="2312" y="1148"/>
                </a:lnTo>
                <a:lnTo>
                  <a:pt x="2312" y="1148"/>
                </a:lnTo>
                <a:lnTo>
                  <a:pt x="2312" y="1148"/>
                </a:lnTo>
                <a:lnTo>
                  <a:pt x="2322" y="1148"/>
                </a:lnTo>
                <a:lnTo>
                  <a:pt x="2322" y="1148"/>
                </a:lnTo>
                <a:lnTo>
                  <a:pt x="2322" y="1144"/>
                </a:lnTo>
                <a:lnTo>
                  <a:pt x="2322" y="1144"/>
                </a:lnTo>
                <a:close/>
                <a:moveTo>
                  <a:pt x="2312" y="1088"/>
                </a:moveTo>
                <a:lnTo>
                  <a:pt x="2312" y="1088"/>
                </a:lnTo>
                <a:lnTo>
                  <a:pt x="2318" y="1090"/>
                </a:lnTo>
                <a:lnTo>
                  <a:pt x="2322" y="1088"/>
                </a:lnTo>
                <a:lnTo>
                  <a:pt x="2322" y="1088"/>
                </a:lnTo>
                <a:lnTo>
                  <a:pt x="2320" y="1086"/>
                </a:lnTo>
                <a:lnTo>
                  <a:pt x="2320" y="1086"/>
                </a:lnTo>
                <a:lnTo>
                  <a:pt x="2320" y="1086"/>
                </a:lnTo>
                <a:lnTo>
                  <a:pt x="2320" y="1086"/>
                </a:lnTo>
                <a:lnTo>
                  <a:pt x="2322" y="1088"/>
                </a:lnTo>
                <a:lnTo>
                  <a:pt x="2322" y="1088"/>
                </a:lnTo>
                <a:lnTo>
                  <a:pt x="2318" y="1090"/>
                </a:lnTo>
                <a:lnTo>
                  <a:pt x="2312" y="1088"/>
                </a:lnTo>
                <a:lnTo>
                  <a:pt x="2312" y="1088"/>
                </a:lnTo>
                <a:lnTo>
                  <a:pt x="2312" y="1088"/>
                </a:lnTo>
                <a:lnTo>
                  <a:pt x="2312" y="1088"/>
                </a:lnTo>
                <a:close/>
                <a:moveTo>
                  <a:pt x="2310" y="1128"/>
                </a:moveTo>
                <a:lnTo>
                  <a:pt x="2310" y="1128"/>
                </a:lnTo>
                <a:lnTo>
                  <a:pt x="2316" y="1130"/>
                </a:lnTo>
                <a:lnTo>
                  <a:pt x="2316" y="1130"/>
                </a:lnTo>
                <a:lnTo>
                  <a:pt x="2314" y="1132"/>
                </a:lnTo>
                <a:lnTo>
                  <a:pt x="2314" y="1132"/>
                </a:lnTo>
                <a:lnTo>
                  <a:pt x="2314" y="1132"/>
                </a:lnTo>
                <a:lnTo>
                  <a:pt x="2314" y="1132"/>
                </a:lnTo>
                <a:lnTo>
                  <a:pt x="2314" y="1130"/>
                </a:lnTo>
                <a:lnTo>
                  <a:pt x="2314" y="1130"/>
                </a:lnTo>
                <a:lnTo>
                  <a:pt x="2310" y="1128"/>
                </a:lnTo>
                <a:lnTo>
                  <a:pt x="2310" y="1128"/>
                </a:lnTo>
                <a:lnTo>
                  <a:pt x="2310" y="1128"/>
                </a:lnTo>
                <a:lnTo>
                  <a:pt x="2310" y="1128"/>
                </a:lnTo>
                <a:close/>
                <a:moveTo>
                  <a:pt x="2300" y="1116"/>
                </a:moveTo>
                <a:lnTo>
                  <a:pt x="2300" y="1116"/>
                </a:lnTo>
                <a:lnTo>
                  <a:pt x="2308" y="1120"/>
                </a:lnTo>
                <a:lnTo>
                  <a:pt x="2308" y="1120"/>
                </a:lnTo>
                <a:lnTo>
                  <a:pt x="2308" y="1120"/>
                </a:lnTo>
                <a:lnTo>
                  <a:pt x="2304" y="1122"/>
                </a:lnTo>
                <a:lnTo>
                  <a:pt x="2304" y="1122"/>
                </a:lnTo>
                <a:lnTo>
                  <a:pt x="2304" y="1122"/>
                </a:lnTo>
                <a:lnTo>
                  <a:pt x="2304" y="1122"/>
                </a:lnTo>
                <a:lnTo>
                  <a:pt x="2308" y="1120"/>
                </a:lnTo>
                <a:lnTo>
                  <a:pt x="2308" y="1120"/>
                </a:lnTo>
                <a:lnTo>
                  <a:pt x="2300" y="1116"/>
                </a:lnTo>
                <a:lnTo>
                  <a:pt x="2300" y="1116"/>
                </a:lnTo>
                <a:lnTo>
                  <a:pt x="2300" y="1116"/>
                </a:lnTo>
                <a:lnTo>
                  <a:pt x="2300" y="1116"/>
                </a:lnTo>
                <a:close/>
                <a:moveTo>
                  <a:pt x="2292" y="1122"/>
                </a:moveTo>
                <a:lnTo>
                  <a:pt x="2292" y="1122"/>
                </a:lnTo>
                <a:lnTo>
                  <a:pt x="2294" y="1124"/>
                </a:lnTo>
                <a:lnTo>
                  <a:pt x="2294" y="1124"/>
                </a:lnTo>
                <a:lnTo>
                  <a:pt x="2292" y="1126"/>
                </a:lnTo>
                <a:lnTo>
                  <a:pt x="2292" y="1126"/>
                </a:lnTo>
                <a:lnTo>
                  <a:pt x="2292" y="1126"/>
                </a:lnTo>
                <a:lnTo>
                  <a:pt x="2292" y="1126"/>
                </a:lnTo>
                <a:lnTo>
                  <a:pt x="2294" y="1124"/>
                </a:lnTo>
                <a:lnTo>
                  <a:pt x="2294" y="1124"/>
                </a:lnTo>
                <a:lnTo>
                  <a:pt x="2292" y="1122"/>
                </a:lnTo>
                <a:lnTo>
                  <a:pt x="2292" y="1122"/>
                </a:lnTo>
                <a:lnTo>
                  <a:pt x="2292" y="1122"/>
                </a:lnTo>
                <a:lnTo>
                  <a:pt x="2292" y="1122"/>
                </a:lnTo>
                <a:close/>
                <a:moveTo>
                  <a:pt x="2284" y="1150"/>
                </a:moveTo>
                <a:lnTo>
                  <a:pt x="2284" y="1150"/>
                </a:lnTo>
                <a:lnTo>
                  <a:pt x="2290" y="1152"/>
                </a:lnTo>
                <a:lnTo>
                  <a:pt x="2290" y="1152"/>
                </a:lnTo>
                <a:lnTo>
                  <a:pt x="2284" y="1154"/>
                </a:lnTo>
                <a:lnTo>
                  <a:pt x="2278" y="1156"/>
                </a:lnTo>
                <a:lnTo>
                  <a:pt x="2278" y="1156"/>
                </a:lnTo>
                <a:lnTo>
                  <a:pt x="2284" y="1154"/>
                </a:lnTo>
                <a:lnTo>
                  <a:pt x="2290" y="1152"/>
                </a:lnTo>
                <a:lnTo>
                  <a:pt x="2290" y="1152"/>
                </a:lnTo>
                <a:lnTo>
                  <a:pt x="2284" y="1150"/>
                </a:lnTo>
                <a:lnTo>
                  <a:pt x="2284" y="1150"/>
                </a:lnTo>
                <a:close/>
                <a:moveTo>
                  <a:pt x="2280" y="1064"/>
                </a:moveTo>
                <a:lnTo>
                  <a:pt x="2280" y="1064"/>
                </a:lnTo>
                <a:lnTo>
                  <a:pt x="2284" y="1066"/>
                </a:lnTo>
                <a:lnTo>
                  <a:pt x="2284" y="1066"/>
                </a:lnTo>
                <a:lnTo>
                  <a:pt x="2282" y="1066"/>
                </a:lnTo>
                <a:lnTo>
                  <a:pt x="2282" y="1066"/>
                </a:lnTo>
                <a:lnTo>
                  <a:pt x="2282" y="1066"/>
                </a:lnTo>
                <a:lnTo>
                  <a:pt x="2282" y="1066"/>
                </a:lnTo>
                <a:lnTo>
                  <a:pt x="2284" y="1066"/>
                </a:lnTo>
                <a:lnTo>
                  <a:pt x="2284" y="1066"/>
                </a:lnTo>
                <a:lnTo>
                  <a:pt x="2280" y="1064"/>
                </a:lnTo>
                <a:lnTo>
                  <a:pt x="2280" y="1064"/>
                </a:lnTo>
                <a:lnTo>
                  <a:pt x="2280" y="1064"/>
                </a:lnTo>
                <a:lnTo>
                  <a:pt x="2280" y="1064"/>
                </a:lnTo>
                <a:close/>
                <a:moveTo>
                  <a:pt x="2270" y="1100"/>
                </a:moveTo>
                <a:lnTo>
                  <a:pt x="2270" y="1100"/>
                </a:lnTo>
                <a:lnTo>
                  <a:pt x="2280" y="1104"/>
                </a:lnTo>
                <a:lnTo>
                  <a:pt x="2280" y="1104"/>
                </a:lnTo>
                <a:lnTo>
                  <a:pt x="2286" y="1100"/>
                </a:lnTo>
                <a:lnTo>
                  <a:pt x="2286" y="1100"/>
                </a:lnTo>
                <a:lnTo>
                  <a:pt x="2286" y="1100"/>
                </a:lnTo>
                <a:lnTo>
                  <a:pt x="2280" y="1104"/>
                </a:lnTo>
                <a:lnTo>
                  <a:pt x="2280" y="1104"/>
                </a:lnTo>
                <a:lnTo>
                  <a:pt x="2270" y="1100"/>
                </a:lnTo>
                <a:lnTo>
                  <a:pt x="2270" y="1100"/>
                </a:lnTo>
                <a:close/>
                <a:moveTo>
                  <a:pt x="2278" y="1126"/>
                </a:moveTo>
                <a:lnTo>
                  <a:pt x="2278" y="1126"/>
                </a:lnTo>
                <a:lnTo>
                  <a:pt x="2278" y="1126"/>
                </a:lnTo>
                <a:lnTo>
                  <a:pt x="2278" y="1126"/>
                </a:lnTo>
                <a:lnTo>
                  <a:pt x="2282" y="1126"/>
                </a:lnTo>
                <a:lnTo>
                  <a:pt x="2282" y="1126"/>
                </a:lnTo>
                <a:lnTo>
                  <a:pt x="2280" y="1126"/>
                </a:lnTo>
                <a:lnTo>
                  <a:pt x="2280" y="1126"/>
                </a:lnTo>
                <a:lnTo>
                  <a:pt x="2280" y="1126"/>
                </a:lnTo>
                <a:lnTo>
                  <a:pt x="2280" y="1126"/>
                </a:lnTo>
                <a:lnTo>
                  <a:pt x="2282" y="1126"/>
                </a:lnTo>
                <a:lnTo>
                  <a:pt x="2282" y="1126"/>
                </a:lnTo>
                <a:lnTo>
                  <a:pt x="2278" y="1126"/>
                </a:lnTo>
                <a:lnTo>
                  <a:pt x="2278" y="1126"/>
                </a:lnTo>
                <a:close/>
                <a:moveTo>
                  <a:pt x="2278" y="1132"/>
                </a:moveTo>
                <a:lnTo>
                  <a:pt x="2278" y="1132"/>
                </a:lnTo>
                <a:lnTo>
                  <a:pt x="2278" y="1132"/>
                </a:lnTo>
                <a:lnTo>
                  <a:pt x="2266" y="1128"/>
                </a:lnTo>
                <a:lnTo>
                  <a:pt x="2266" y="1128"/>
                </a:lnTo>
                <a:lnTo>
                  <a:pt x="2266" y="1128"/>
                </a:lnTo>
                <a:lnTo>
                  <a:pt x="2266" y="1128"/>
                </a:lnTo>
                <a:lnTo>
                  <a:pt x="2278" y="1132"/>
                </a:lnTo>
                <a:lnTo>
                  <a:pt x="2278" y="1132"/>
                </a:lnTo>
                <a:close/>
                <a:moveTo>
                  <a:pt x="2262" y="1060"/>
                </a:moveTo>
                <a:lnTo>
                  <a:pt x="2262" y="1060"/>
                </a:lnTo>
                <a:lnTo>
                  <a:pt x="2270" y="1064"/>
                </a:lnTo>
                <a:lnTo>
                  <a:pt x="2270" y="1064"/>
                </a:lnTo>
                <a:lnTo>
                  <a:pt x="2266" y="1066"/>
                </a:lnTo>
                <a:lnTo>
                  <a:pt x="2266" y="1066"/>
                </a:lnTo>
                <a:lnTo>
                  <a:pt x="2264" y="1066"/>
                </a:lnTo>
                <a:lnTo>
                  <a:pt x="2264" y="1066"/>
                </a:lnTo>
                <a:lnTo>
                  <a:pt x="2266" y="1066"/>
                </a:lnTo>
                <a:lnTo>
                  <a:pt x="2266" y="1066"/>
                </a:lnTo>
                <a:lnTo>
                  <a:pt x="2270" y="1064"/>
                </a:lnTo>
                <a:lnTo>
                  <a:pt x="2270" y="1064"/>
                </a:lnTo>
                <a:lnTo>
                  <a:pt x="2262" y="1060"/>
                </a:lnTo>
                <a:lnTo>
                  <a:pt x="2262" y="1060"/>
                </a:lnTo>
                <a:lnTo>
                  <a:pt x="2262" y="1060"/>
                </a:lnTo>
                <a:lnTo>
                  <a:pt x="2262" y="1060"/>
                </a:lnTo>
                <a:close/>
                <a:moveTo>
                  <a:pt x="2276" y="1120"/>
                </a:moveTo>
                <a:lnTo>
                  <a:pt x="2276" y="1120"/>
                </a:lnTo>
                <a:lnTo>
                  <a:pt x="2276" y="1120"/>
                </a:lnTo>
                <a:lnTo>
                  <a:pt x="2276" y="1120"/>
                </a:lnTo>
                <a:lnTo>
                  <a:pt x="2260" y="1124"/>
                </a:lnTo>
                <a:lnTo>
                  <a:pt x="2260" y="1124"/>
                </a:lnTo>
                <a:lnTo>
                  <a:pt x="2260" y="1124"/>
                </a:lnTo>
                <a:lnTo>
                  <a:pt x="2260" y="1124"/>
                </a:lnTo>
                <a:lnTo>
                  <a:pt x="2260" y="1124"/>
                </a:lnTo>
                <a:lnTo>
                  <a:pt x="2276" y="1120"/>
                </a:lnTo>
                <a:lnTo>
                  <a:pt x="2276" y="1120"/>
                </a:lnTo>
                <a:close/>
                <a:moveTo>
                  <a:pt x="2254" y="1110"/>
                </a:moveTo>
                <a:lnTo>
                  <a:pt x="2254" y="1110"/>
                </a:lnTo>
                <a:lnTo>
                  <a:pt x="2254" y="1106"/>
                </a:lnTo>
                <a:lnTo>
                  <a:pt x="2254" y="1106"/>
                </a:lnTo>
                <a:lnTo>
                  <a:pt x="2254" y="1106"/>
                </a:lnTo>
                <a:lnTo>
                  <a:pt x="2254" y="1106"/>
                </a:lnTo>
                <a:lnTo>
                  <a:pt x="2254" y="1106"/>
                </a:lnTo>
                <a:lnTo>
                  <a:pt x="2254" y="1106"/>
                </a:lnTo>
                <a:lnTo>
                  <a:pt x="2254" y="1110"/>
                </a:lnTo>
                <a:lnTo>
                  <a:pt x="2254" y="1110"/>
                </a:lnTo>
                <a:lnTo>
                  <a:pt x="2250" y="1108"/>
                </a:lnTo>
                <a:lnTo>
                  <a:pt x="2250" y="1108"/>
                </a:lnTo>
                <a:lnTo>
                  <a:pt x="2250" y="1108"/>
                </a:lnTo>
                <a:lnTo>
                  <a:pt x="2250" y="1108"/>
                </a:lnTo>
                <a:lnTo>
                  <a:pt x="2254" y="1110"/>
                </a:lnTo>
                <a:lnTo>
                  <a:pt x="2254" y="1110"/>
                </a:lnTo>
                <a:close/>
                <a:moveTo>
                  <a:pt x="2242" y="1118"/>
                </a:moveTo>
                <a:lnTo>
                  <a:pt x="2242" y="1118"/>
                </a:lnTo>
                <a:lnTo>
                  <a:pt x="2234" y="1120"/>
                </a:lnTo>
                <a:lnTo>
                  <a:pt x="2234" y="1120"/>
                </a:lnTo>
                <a:lnTo>
                  <a:pt x="2218" y="1110"/>
                </a:lnTo>
                <a:lnTo>
                  <a:pt x="2218" y="1110"/>
                </a:lnTo>
                <a:lnTo>
                  <a:pt x="2222" y="1108"/>
                </a:lnTo>
                <a:lnTo>
                  <a:pt x="2224" y="1106"/>
                </a:lnTo>
                <a:lnTo>
                  <a:pt x="2224" y="1106"/>
                </a:lnTo>
                <a:lnTo>
                  <a:pt x="2228" y="1108"/>
                </a:lnTo>
                <a:lnTo>
                  <a:pt x="2234" y="1110"/>
                </a:lnTo>
                <a:lnTo>
                  <a:pt x="2234" y="1110"/>
                </a:lnTo>
                <a:lnTo>
                  <a:pt x="2240" y="1110"/>
                </a:lnTo>
                <a:lnTo>
                  <a:pt x="2240" y="1110"/>
                </a:lnTo>
                <a:lnTo>
                  <a:pt x="2246" y="1112"/>
                </a:lnTo>
                <a:lnTo>
                  <a:pt x="2246" y="1112"/>
                </a:lnTo>
                <a:lnTo>
                  <a:pt x="2242" y="1118"/>
                </a:lnTo>
                <a:lnTo>
                  <a:pt x="2242" y="1118"/>
                </a:lnTo>
                <a:close/>
                <a:moveTo>
                  <a:pt x="2248" y="1118"/>
                </a:moveTo>
                <a:lnTo>
                  <a:pt x="2248" y="1118"/>
                </a:lnTo>
                <a:lnTo>
                  <a:pt x="2260" y="1124"/>
                </a:lnTo>
                <a:lnTo>
                  <a:pt x="2260" y="1124"/>
                </a:lnTo>
                <a:lnTo>
                  <a:pt x="2260" y="1124"/>
                </a:lnTo>
                <a:lnTo>
                  <a:pt x="2260" y="1124"/>
                </a:lnTo>
                <a:lnTo>
                  <a:pt x="2248" y="1118"/>
                </a:lnTo>
                <a:lnTo>
                  <a:pt x="2248" y="1118"/>
                </a:lnTo>
                <a:lnTo>
                  <a:pt x="2248" y="1118"/>
                </a:lnTo>
                <a:lnTo>
                  <a:pt x="2248" y="1118"/>
                </a:lnTo>
                <a:close/>
                <a:moveTo>
                  <a:pt x="2274" y="1154"/>
                </a:moveTo>
                <a:lnTo>
                  <a:pt x="2274" y="1154"/>
                </a:lnTo>
                <a:lnTo>
                  <a:pt x="2274" y="1154"/>
                </a:lnTo>
                <a:lnTo>
                  <a:pt x="2274" y="1154"/>
                </a:lnTo>
                <a:lnTo>
                  <a:pt x="2276" y="1150"/>
                </a:lnTo>
                <a:lnTo>
                  <a:pt x="2270" y="1150"/>
                </a:lnTo>
                <a:lnTo>
                  <a:pt x="2270" y="1150"/>
                </a:lnTo>
                <a:lnTo>
                  <a:pt x="2270" y="1150"/>
                </a:lnTo>
                <a:lnTo>
                  <a:pt x="2270" y="1150"/>
                </a:lnTo>
                <a:lnTo>
                  <a:pt x="2276" y="1150"/>
                </a:lnTo>
                <a:lnTo>
                  <a:pt x="2274" y="1154"/>
                </a:lnTo>
                <a:lnTo>
                  <a:pt x="2274" y="1154"/>
                </a:lnTo>
                <a:close/>
                <a:moveTo>
                  <a:pt x="2256" y="1142"/>
                </a:moveTo>
                <a:lnTo>
                  <a:pt x="2256" y="1142"/>
                </a:lnTo>
                <a:lnTo>
                  <a:pt x="2248" y="1136"/>
                </a:lnTo>
                <a:lnTo>
                  <a:pt x="2248" y="1136"/>
                </a:lnTo>
                <a:lnTo>
                  <a:pt x="2258" y="1134"/>
                </a:lnTo>
                <a:lnTo>
                  <a:pt x="2266" y="1136"/>
                </a:lnTo>
                <a:lnTo>
                  <a:pt x="2274" y="1136"/>
                </a:lnTo>
                <a:lnTo>
                  <a:pt x="2282" y="1136"/>
                </a:lnTo>
                <a:lnTo>
                  <a:pt x="2282" y="1136"/>
                </a:lnTo>
                <a:lnTo>
                  <a:pt x="2280" y="1142"/>
                </a:lnTo>
                <a:lnTo>
                  <a:pt x="2280" y="1142"/>
                </a:lnTo>
                <a:lnTo>
                  <a:pt x="2256" y="1142"/>
                </a:lnTo>
                <a:lnTo>
                  <a:pt x="2256" y="1142"/>
                </a:lnTo>
                <a:close/>
                <a:moveTo>
                  <a:pt x="2330" y="1178"/>
                </a:moveTo>
                <a:lnTo>
                  <a:pt x="2330" y="1178"/>
                </a:lnTo>
                <a:lnTo>
                  <a:pt x="2320" y="1178"/>
                </a:lnTo>
                <a:lnTo>
                  <a:pt x="2316" y="1178"/>
                </a:lnTo>
                <a:lnTo>
                  <a:pt x="2312" y="1180"/>
                </a:lnTo>
                <a:lnTo>
                  <a:pt x="2312" y="1180"/>
                </a:lnTo>
                <a:lnTo>
                  <a:pt x="2300" y="1176"/>
                </a:lnTo>
                <a:lnTo>
                  <a:pt x="2296" y="1172"/>
                </a:lnTo>
                <a:lnTo>
                  <a:pt x="2294" y="1170"/>
                </a:lnTo>
                <a:lnTo>
                  <a:pt x="2294" y="1166"/>
                </a:lnTo>
                <a:lnTo>
                  <a:pt x="2294" y="1166"/>
                </a:lnTo>
                <a:lnTo>
                  <a:pt x="2278" y="1166"/>
                </a:lnTo>
                <a:lnTo>
                  <a:pt x="2278" y="1166"/>
                </a:lnTo>
                <a:lnTo>
                  <a:pt x="2282" y="1160"/>
                </a:lnTo>
                <a:lnTo>
                  <a:pt x="2284" y="1158"/>
                </a:lnTo>
                <a:lnTo>
                  <a:pt x="2288" y="1158"/>
                </a:lnTo>
                <a:lnTo>
                  <a:pt x="2288" y="1158"/>
                </a:lnTo>
                <a:lnTo>
                  <a:pt x="2298" y="1158"/>
                </a:lnTo>
                <a:lnTo>
                  <a:pt x="2306" y="1162"/>
                </a:lnTo>
                <a:lnTo>
                  <a:pt x="2306" y="1162"/>
                </a:lnTo>
                <a:lnTo>
                  <a:pt x="2324" y="1172"/>
                </a:lnTo>
                <a:lnTo>
                  <a:pt x="2324" y="1172"/>
                </a:lnTo>
                <a:lnTo>
                  <a:pt x="2332" y="1176"/>
                </a:lnTo>
                <a:lnTo>
                  <a:pt x="2332" y="1176"/>
                </a:lnTo>
                <a:lnTo>
                  <a:pt x="2330" y="1178"/>
                </a:lnTo>
                <a:lnTo>
                  <a:pt x="2330" y="1178"/>
                </a:lnTo>
                <a:close/>
                <a:moveTo>
                  <a:pt x="2380" y="54"/>
                </a:moveTo>
                <a:lnTo>
                  <a:pt x="2380" y="54"/>
                </a:lnTo>
                <a:lnTo>
                  <a:pt x="2384" y="52"/>
                </a:lnTo>
                <a:lnTo>
                  <a:pt x="2384" y="50"/>
                </a:lnTo>
                <a:lnTo>
                  <a:pt x="2384" y="50"/>
                </a:lnTo>
                <a:lnTo>
                  <a:pt x="2384" y="50"/>
                </a:lnTo>
                <a:lnTo>
                  <a:pt x="2384" y="50"/>
                </a:lnTo>
                <a:lnTo>
                  <a:pt x="2384" y="52"/>
                </a:lnTo>
                <a:lnTo>
                  <a:pt x="2380" y="54"/>
                </a:lnTo>
                <a:lnTo>
                  <a:pt x="2380" y="54"/>
                </a:lnTo>
                <a:lnTo>
                  <a:pt x="2380" y="54"/>
                </a:lnTo>
                <a:lnTo>
                  <a:pt x="2380" y="54"/>
                </a:lnTo>
                <a:lnTo>
                  <a:pt x="2380" y="54"/>
                </a:lnTo>
                <a:lnTo>
                  <a:pt x="2380" y="54"/>
                </a:lnTo>
                <a:close/>
                <a:moveTo>
                  <a:pt x="2382" y="1130"/>
                </a:moveTo>
                <a:lnTo>
                  <a:pt x="2382" y="1130"/>
                </a:lnTo>
                <a:lnTo>
                  <a:pt x="2382" y="1130"/>
                </a:lnTo>
                <a:lnTo>
                  <a:pt x="2382" y="1130"/>
                </a:lnTo>
                <a:lnTo>
                  <a:pt x="2378" y="1132"/>
                </a:lnTo>
                <a:lnTo>
                  <a:pt x="2374" y="1130"/>
                </a:lnTo>
                <a:lnTo>
                  <a:pt x="2374" y="1130"/>
                </a:lnTo>
                <a:lnTo>
                  <a:pt x="2378" y="1132"/>
                </a:lnTo>
                <a:lnTo>
                  <a:pt x="2382" y="1130"/>
                </a:lnTo>
                <a:lnTo>
                  <a:pt x="2382" y="1130"/>
                </a:lnTo>
                <a:close/>
                <a:moveTo>
                  <a:pt x="2358" y="1148"/>
                </a:moveTo>
                <a:lnTo>
                  <a:pt x="2358" y="1148"/>
                </a:lnTo>
                <a:lnTo>
                  <a:pt x="2360" y="1150"/>
                </a:lnTo>
                <a:lnTo>
                  <a:pt x="2360" y="1150"/>
                </a:lnTo>
                <a:lnTo>
                  <a:pt x="2354" y="1150"/>
                </a:lnTo>
                <a:lnTo>
                  <a:pt x="2348" y="1150"/>
                </a:lnTo>
                <a:lnTo>
                  <a:pt x="2348" y="1150"/>
                </a:lnTo>
                <a:lnTo>
                  <a:pt x="2354" y="1150"/>
                </a:lnTo>
                <a:lnTo>
                  <a:pt x="2360" y="1150"/>
                </a:lnTo>
                <a:lnTo>
                  <a:pt x="2360" y="1150"/>
                </a:lnTo>
                <a:lnTo>
                  <a:pt x="2358" y="1148"/>
                </a:lnTo>
                <a:lnTo>
                  <a:pt x="2358" y="1148"/>
                </a:lnTo>
                <a:close/>
                <a:moveTo>
                  <a:pt x="2340" y="354"/>
                </a:moveTo>
                <a:lnTo>
                  <a:pt x="2340" y="354"/>
                </a:lnTo>
                <a:lnTo>
                  <a:pt x="2340" y="354"/>
                </a:lnTo>
                <a:lnTo>
                  <a:pt x="2340" y="354"/>
                </a:lnTo>
                <a:lnTo>
                  <a:pt x="2346" y="356"/>
                </a:lnTo>
                <a:lnTo>
                  <a:pt x="2348" y="354"/>
                </a:lnTo>
                <a:lnTo>
                  <a:pt x="2350" y="352"/>
                </a:lnTo>
                <a:lnTo>
                  <a:pt x="2350" y="352"/>
                </a:lnTo>
                <a:lnTo>
                  <a:pt x="2350" y="352"/>
                </a:lnTo>
                <a:lnTo>
                  <a:pt x="2350" y="352"/>
                </a:lnTo>
                <a:lnTo>
                  <a:pt x="2348" y="354"/>
                </a:lnTo>
                <a:lnTo>
                  <a:pt x="2346" y="356"/>
                </a:lnTo>
                <a:lnTo>
                  <a:pt x="2340" y="354"/>
                </a:lnTo>
                <a:lnTo>
                  <a:pt x="2340" y="354"/>
                </a:lnTo>
                <a:close/>
                <a:moveTo>
                  <a:pt x="2350" y="1170"/>
                </a:moveTo>
                <a:lnTo>
                  <a:pt x="2350" y="1170"/>
                </a:lnTo>
                <a:lnTo>
                  <a:pt x="2342" y="1158"/>
                </a:lnTo>
                <a:lnTo>
                  <a:pt x="2342" y="1158"/>
                </a:lnTo>
                <a:lnTo>
                  <a:pt x="2354" y="1158"/>
                </a:lnTo>
                <a:lnTo>
                  <a:pt x="2366" y="1158"/>
                </a:lnTo>
                <a:lnTo>
                  <a:pt x="2390" y="1160"/>
                </a:lnTo>
                <a:lnTo>
                  <a:pt x="2390" y="1160"/>
                </a:lnTo>
                <a:lnTo>
                  <a:pt x="2382" y="1164"/>
                </a:lnTo>
                <a:lnTo>
                  <a:pt x="2372" y="1166"/>
                </a:lnTo>
                <a:lnTo>
                  <a:pt x="2362" y="1168"/>
                </a:lnTo>
                <a:lnTo>
                  <a:pt x="2350" y="1170"/>
                </a:lnTo>
                <a:lnTo>
                  <a:pt x="2350" y="1170"/>
                </a:lnTo>
                <a:close/>
                <a:moveTo>
                  <a:pt x="2394" y="1104"/>
                </a:moveTo>
                <a:lnTo>
                  <a:pt x="2394" y="1104"/>
                </a:lnTo>
                <a:lnTo>
                  <a:pt x="2394" y="1104"/>
                </a:lnTo>
                <a:lnTo>
                  <a:pt x="2394" y="1104"/>
                </a:lnTo>
                <a:lnTo>
                  <a:pt x="2394" y="1104"/>
                </a:lnTo>
                <a:lnTo>
                  <a:pt x="2394" y="1104"/>
                </a:lnTo>
                <a:lnTo>
                  <a:pt x="2396" y="1104"/>
                </a:lnTo>
                <a:lnTo>
                  <a:pt x="2396" y="1104"/>
                </a:lnTo>
                <a:lnTo>
                  <a:pt x="2394" y="1102"/>
                </a:lnTo>
                <a:lnTo>
                  <a:pt x="2394" y="1102"/>
                </a:lnTo>
                <a:lnTo>
                  <a:pt x="2394" y="1102"/>
                </a:lnTo>
                <a:lnTo>
                  <a:pt x="2394" y="1102"/>
                </a:lnTo>
                <a:lnTo>
                  <a:pt x="2396" y="1104"/>
                </a:lnTo>
                <a:lnTo>
                  <a:pt x="2396" y="1104"/>
                </a:lnTo>
                <a:lnTo>
                  <a:pt x="2394" y="1104"/>
                </a:lnTo>
                <a:lnTo>
                  <a:pt x="2394" y="1104"/>
                </a:lnTo>
                <a:close/>
                <a:moveTo>
                  <a:pt x="2406" y="356"/>
                </a:moveTo>
                <a:lnTo>
                  <a:pt x="2406" y="356"/>
                </a:lnTo>
                <a:lnTo>
                  <a:pt x="2406" y="356"/>
                </a:lnTo>
                <a:lnTo>
                  <a:pt x="2406" y="356"/>
                </a:lnTo>
                <a:lnTo>
                  <a:pt x="2416" y="356"/>
                </a:lnTo>
                <a:lnTo>
                  <a:pt x="2416" y="356"/>
                </a:lnTo>
                <a:lnTo>
                  <a:pt x="2412" y="354"/>
                </a:lnTo>
                <a:lnTo>
                  <a:pt x="2412" y="354"/>
                </a:lnTo>
                <a:lnTo>
                  <a:pt x="2416" y="356"/>
                </a:lnTo>
                <a:lnTo>
                  <a:pt x="2416" y="356"/>
                </a:lnTo>
                <a:lnTo>
                  <a:pt x="2406" y="356"/>
                </a:lnTo>
                <a:lnTo>
                  <a:pt x="2406" y="356"/>
                </a:lnTo>
                <a:close/>
                <a:moveTo>
                  <a:pt x="2410" y="1154"/>
                </a:moveTo>
                <a:lnTo>
                  <a:pt x="2410" y="1154"/>
                </a:lnTo>
                <a:lnTo>
                  <a:pt x="2436" y="1160"/>
                </a:lnTo>
                <a:lnTo>
                  <a:pt x="2436" y="1160"/>
                </a:lnTo>
                <a:lnTo>
                  <a:pt x="2440" y="1162"/>
                </a:lnTo>
                <a:lnTo>
                  <a:pt x="2440" y="1164"/>
                </a:lnTo>
                <a:lnTo>
                  <a:pt x="2440" y="1168"/>
                </a:lnTo>
                <a:lnTo>
                  <a:pt x="2438" y="1170"/>
                </a:lnTo>
                <a:lnTo>
                  <a:pt x="2438" y="1170"/>
                </a:lnTo>
                <a:lnTo>
                  <a:pt x="2438" y="1170"/>
                </a:lnTo>
                <a:lnTo>
                  <a:pt x="2434" y="1164"/>
                </a:lnTo>
                <a:lnTo>
                  <a:pt x="2432" y="1162"/>
                </a:lnTo>
                <a:lnTo>
                  <a:pt x="2426" y="1162"/>
                </a:lnTo>
                <a:lnTo>
                  <a:pt x="2418" y="1162"/>
                </a:lnTo>
                <a:lnTo>
                  <a:pt x="2418" y="1162"/>
                </a:lnTo>
                <a:lnTo>
                  <a:pt x="2408" y="1164"/>
                </a:lnTo>
                <a:lnTo>
                  <a:pt x="2408" y="1164"/>
                </a:lnTo>
                <a:lnTo>
                  <a:pt x="2410" y="1154"/>
                </a:lnTo>
                <a:lnTo>
                  <a:pt x="2410" y="1154"/>
                </a:lnTo>
                <a:close/>
                <a:moveTo>
                  <a:pt x="2446" y="1178"/>
                </a:moveTo>
                <a:lnTo>
                  <a:pt x="2446" y="1178"/>
                </a:lnTo>
                <a:lnTo>
                  <a:pt x="2420" y="1172"/>
                </a:lnTo>
                <a:lnTo>
                  <a:pt x="2416" y="1174"/>
                </a:lnTo>
                <a:lnTo>
                  <a:pt x="2410" y="1176"/>
                </a:lnTo>
                <a:lnTo>
                  <a:pt x="2410" y="1176"/>
                </a:lnTo>
                <a:lnTo>
                  <a:pt x="2410" y="1176"/>
                </a:lnTo>
                <a:lnTo>
                  <a:pt x="2410" y="1176"/>
                </a:lnTo>
                <a:lnTo>
                  <a:pt x="2416" y="1172"/>
                </a:lnTo>
                <a:lnTo>
                  <a:pt x="2420" y="1172"/>
                </a:lnTo>
                <a:lnTo>
                  <a:pt x="2446" y="1178"/>
                </a:lnTo>
                <a:lnTo>
                  <a:pt x="2446" y="1178"/>
                </a:lnTo>
                <a:lnTo>
                  <a:pt x="2446" y="1178"/>
                </a:lnTo>
                <a:lnTo>
                  <a:pt x="2446" y="1178"/>
                </a:lnTo>
                <a:close/>
                <a:moveTo>
                  <a:pt x="2436" y="1156"/>
                </a:moveTo>
                <a:lnTo>
                  <a:pt x="2436" y="1156"/>
                </a:lnTo>
                <a:lnTo>
                  <a:pt x="2436" y="1156"/>
                </a:lnTo>
                <a:lnTo>
                  <a:pt x="2436" y="1156"/>
                </a:lnTo>
                <a:lnTo>
                  <a:pt x="2444" y="1156"/>
                </a:lnTo>
                <a:lnTo>
                  <a:pt x="2450" y="1152"/>
                </a:lnTo>
                <a:lnTo>
                  <a:pt x="2450" y="1152"/>
                </a:lnTo>
                <a:lnTo>
                  <a:pt x="2450" y="1152"/>
                </a:lnTo>
                <a:lnTo>
                  <a:pt x="2450" y="1152"/>
                </a:lnTo>
                <a:lnTo>
                  <a:pt x="2444" y="1156"/>
                </a:lnTo>
                <a:lnTo>
                  <a:pt x="2436" y="1156"/>
                </a:lnTo>
                <a:lnTo>
                  <a:pt x="2436" y="1156"/>
                </a:lnTo>
                <a:close/>
                <a:moveTo>
                  <a:pt x="2448" y="1172"/>
                </a:moveTo>
                <a:lnTo>
                  <a:pt x="2448" y="1172"/>
                </a:lnTo>
                <a:lnTo>
                  <a:pt x="2448" y="1172"/>
                </a:lnTo>
                <a:lnTo>
                  <a:pt x="2448" y="1172"/>
                </a:lnTo>
                <a:lnTo>
                  <a:pt x="2460" y="1174"/>
                </a:lnTo>
                <a:lnTo>
                  <a:pt x="2468" y="1170"/>
                </a:lnTo>
                <a:lnTo>
                  <a:pt x="2468" y="1170"/>
                </a:lnTo>
                <a:lnTo>
                  <a:pt x="2468" y="1170"/>
                </a:lnTo>
                <a:lnTo>
                  <a:pt x="2468" y="1170"/>
                </a:lnTo>
                <a:lnTo>
                  <a:pt x="2460" y="1174"/>
                </a:lnTo>
                <a:lnTo>
                  <a:pt x="2448" y="1172"/>
                </a:lnTo>
                <a:lnTo>
                  <a:pt x="2448" y="1172"/>
                </a:lnTo>
                <a:close/>
                <a:moveTo>
                  <a:pt x="2464" y="1140"/>
                </a:moveTo>
                <a:lnTo>
                  <a:pt x="2464" y="1140"/>
                </a:lnTo>
                <a:lnTo>
                  <a:pt x="2468" y="1138"/>
                </a:lnTo>
                <a:lnTo>
                  <a:pt x="2470" y="1132"/>
                </a:lnTo>
                <a:lnTo>
                  <a:pt x="2470" y="1132"/>
                </a:lnTo>
                <a:lnTo>
                  <a:pt x="2470" y="1132"/>
                </a:lnTo>
                <a:lnTo>
                  <a:pt x="2470" y="1132"/>
                </a:lnTo>
                <a:lnTo>
                  <a:pt x="2468" y="1138"/>
                </a:lnTo>
                <a:lnTo>
                  <a:pt x="2464" y="1140"/>
                </a:lnTo>
                <a:lnTo>
                  <a:pt x="2464" y="1140"/>
                </a:lnTo>
                <a:close/>
                <a:moveTo>
                  <a:pt x="2478" y="390"/>
                </a:moveTo>
                <a:lnTo>
                  <a:pt x="2478" y="390"/>
                </a:lnTo>
                <a:lnTo>
                  <a:pt x="2478" y="390"/>
                </a:lnTo>
                <a:lnTo>
                  <a:pt x="2478" y="390"/>
                </a:lnTo>
                <a:lnTo>
                  <a:pt x="2482" y="392"/>
                </a:lnTo>
                <a:lnTo>
                  <a:pt x="2482" y="392"/>
                </a:lnTo>
                <a:lnTo>
                  <a:pt x="2478" y="396"/>
                </a:lnTo>
                <a:lnTo>
                  <a:pt x="2478" y="396"/>
                </a:lnTo>
                <a:lnTo>
                  <a:pt x="2478" y="396"/>
                </a:lnTo>
                <a:lnTo>
                  <a:pt x="2478" y="396"/>
                </a:lnTo>
                <a:lnTo>
                  <a:pt x="2482" y="392"/>
                </a:lnTo>
                <a:lnTo>
                  <a:pt x="2482" y="392"/>
                </a:lnTo>
                <a:lnTo>
                  <a:pt x="2478" y="390"/>
                </a:lnTo>
                <a:lnTo>
                  <a:pt x="2478" y="390"/>
                </a:lnTo>
                <a:close/>
                <a:moveTo>
                  <a:pt x="2474" y="1148"/>
                </a:moveTo>
                <a:lnTo>
                  <a:pt x="2474" y="1148"/>
                </a:lnTo>
                <a:lnTo>
                  <a:pt x="2488" y="1148"/>
                </a:lnTo>
                <a:lnTo>
                  <a:pt x="2488" y="1148"/>
                </a:lnTo>
                <a:lnTo>
                  <a:pt x="2488" y="1148"/>
                </a:lnTo>
                <a:lnTo>
                  <a:pt x="2488" y="1148"/>
                </a:lnTo>
                <a:lnTo>
                  <a:pt x="2474" y="1148"/>
                </a:lnTo>
                <a:lnTo>
                  <a:pt x="2474" y="1148"/>
                </a:lnTo>
                <a:lnTo>
                  <a:pt x="2474" y="1148"/>
                </a:lnTo>
                <a:lnTo>
                  <a:pt x="2474" y="1148"/>
                </a:lnTo>
                <a:close/>
                <a:moveTo>
                  <a:pt x="2490" y="1186"/>
                </a:moveTo>
                <a:lnTo>
                  <a:pt x="2490" y="1186"/>
                </a:lnTo>
                <a:lnTo>
                  <a:pt x="2492" y="1184"/>
                </a:lnTo>
                <a:lnTo>
                  <a:pt x="2490" y="1180"/>
                </a:lnTo>
                <a:lnTo>
                  <a:pt x="2476" y="1180"/>
                </a:lnTo>
                <a:lnTo>
                  <a:pt x="2476" y="1180"/>
                </a:lnTo>
                <a:lnTo>
                  <a:pt x="2476" y="1180"/>
                </a:lnTo>
                <a:lnTo>
                  <a:pt x="2490" y="1180"/>
                </a:lnTo>
                <a:lnTo>
                  <a:pt x="2490" y="1180"/>
                </a:lnTo>
                <a:lnTo>
                  <a:pt x="2492" y="1184"/>
                </a:lnTo>
                <a:lnTo>
                  <a:pt x="2490" y="1186"/>
                </a:lnTo>
                <a:lnTo>
                  <a:pt x="2490" y="1186"/>
                </a:lnTo>
                <a:close/>
                <a:moveTo>
                  <a:pt x="2504" y="1254"/>
                </a:moveTo>
                <a:lnTo>
                  <a:pt x="2504" y="1254"/>
                </a:lnTo>
                <a:lnTo>
                  <a:pt x="2502" y="1254"/>
                </a:lnTo>
                <a:lnTo>
                  <a:pt x="2502" y="1254"/>
                </a:lnTo>
                <a:lnTo>
                  <a:pt x="2506" y="1250"/>
                </a:lnTo>
                <a:lnTo>
                  <a:pt x="2506" y="1250"/>
                </a:lnTo>
                <a:lnTo>
                  <a:pt x="2504" y="1250"/>
                </a:lnTo>
                <a:lnTo>
                  <a:pt x="2504" y="1250"/>
                </a:lnTo>
                <a:lnTo>
                  <a:pt x="2504" y="1250"/>
                </a:lnTo>
                <a:lnTo>
                  <a:pt x="2504" y="1250"/>
                </a:lnTo>
                <a:lnTo>
                  <a:pt x="2506" y="1250"/>
                </a:lnTo>
                <a:lnTo>
                  <a:pt x="2506" y="1250"/>
                </a:lnTo>
                <a:lnTo>
                  <a:pt x="2504" y="1254"/>
                </a:lnTo>
                <a:lnTo>
                  <a:pt x="2504" y="1254"/>
                </a:lnTo>
                <a:close/>
                <a:moveTo>
                  <a:pt x="2558" y="1280"/>
                </a:moveTo>
                <a:lnTo>
                  <a:pt x="2558" y="1280"/>
                </a:lnTo>
                <a:lnTo>
                  <a:pt x="2558" y="1280"/>
                </a:lnTo>
                <a:lnTo>
                  <a:pt x="2558" y="1280"/>
                </a:lnTo>
                <a:lnTo>
                  <a:pt x="2550" y="1280"/>
                </a:lnTo>
                <a:lnTo>
                  <a:pt x="2550" y="1280"/>
                </a:lnTo>
                <a:lnTo>
                  <a:pt x="2550" y="1280"/>
                </a:lnTo>
                <a:lnTo>
                  <a:pt x="2550" y="1280"/>
                </a:lnTo>
                <a:lnTo>
                  <a:pt x="2558" y="1280"/>
                </a:lnTo>
                <a:lnTo>
                  <a:pt x="2558" y="1280"/>
                </a:lnTo>
                <a:close/>
                <a:moveTo>
                  <a:pt x="2576" y="1250"/>
                </a:moveTo>
                <a:lnTo>
                  <a:pt x="2576" y="1250"/>
                </a:lnTo>
                <a:lnTo>
                  <a:pt x="2576" y="1250"/>
                </a:lnTo>
                <a:lnTo>
                  <a:pt x="2576" y="1250"/>
                </a:lnTo>
                <a:lnTo>
                  <a:pt x="2580" y="1244"/>
                </a:lnTo>
                <a:lnTo>
                  <a:pt x="2580" y="1244"/>
                </a:lnTo>
                <a:lnTo>
                  <a:pt x="2574" y="1246"/>
                </a:lnTo>
                <a:lnTo>
                  <a:pt x="2574" y="1246"/>
                </a:lnTo>
                <a:lnTo>
                  <a:pt x="2580" y="1244"/>
                </a:lnTo>
                <a:lnTo>
                  <a:pt x="2580" y="1244"/>
                </a:lnTo>
                <a:lnTo>
                  <a:pt x="2576" y="1250"/>
                </a:lnTo>
                <a:lnTo>
                  <a:pt x="2576" y="1250"/>
                </a:lnTo>
                <a:close/>
                <a:moveTo>
                  <a:pt x="2678" y="188"/>
                </a:moveTo>
                <a:lnTo>
                  <a:pt x="2678" y="188"/>
                </a:lnTo>
                <a:lnTo>
                  <a:pt x="2678" y="188"/>
                </a:lnTo>
                <a:lnTo>
                  <a:pt x="2678" y="188"/>
                </a:lnTo>
                <a:lnTo>
                  <a:pt x="2680" y="190"/>
                </a:lnTo>
                <a:lnTo>
                  <a:pt x="2680" y="190"/>
                </a:lnTo>
                <a:lnTo>
                  <a:pt x="2674" y="190"/>
                </a:lnTo>
                <a:lnTo>
                  <a:pt x="2674" y="190"/>
                </a:lnTo>
                <a:lnTo>
                  <a:pt x="2674" y="190"/>
                </a:lnTo>
                <a:lnTo>
                  <a:pt x="2674" y="190"/>
                </a:lnTo>
                <a:lnTo>
                  <a:pt x="2678" y="190"/>
                </a:lnTo>
                <a:lnTo>
                  <a:pt x="2678" y="190"/>
                </a:lnTo>
                <a:lnTo>
                  <a:pt x="2678" y="188"/>
                </a:lnTo>
                <a:lnTo>
                  <a:pt x="2678" y="188"/>
                </a:lnTo>
                <a:close/>
                <a:moveTo>
                  <a:pt x="2676" y="1216"/>
                </a:moveTo>
                <a:lnTo>
                  <a:pt x="2676" y="1216"/>
                </a:lnTo>
                <a:lnTo>
                  <a:pt x="2676" y="1216"/>
                </a:lnTo>
                <a:lnTo>
                  <a:pt x="2676" y="1216"/>
                </a:lnTo>
                <a:lnTo>
                  <a:pt x="2676" y="1216"/>
                </a:lnTo>
                <a:lnTo>
                  <a:pt x="2670" y="1224"/>
                </a:lnTo>
                <a:lnTo>
                  <a:pt x="2670" y="1224"/>
                </a:lnTo>
                <a:lnTo>
                  <a:pt x="2670" y="1222"/>
                </a:lnTo>
                <a:lnTo>
                  <a:pt x="2670" y="1222"/>
                </a:lnTo>
                <a:lnTo>
                  <a:pt x="2676" y="1216"/>
                </a:lnTo>
                <a:lnTo>
                  <a:pt x="2676" y="1216"/>
                </a:lnTo>
                <a:close/>
                <a:moveTo>
                  <a:pt x="2654" y="120"/>
                </a:moveTo>
                <a:lnTo>
                  <a:pt x="2654" y="120"/>
                </a:lnTo>
                <a:lnTo>
                  <a:pt x="2656" y="120"/>
                </a:lnTo>
                <a:lnTo>
                  <a:pt x="2656" y="120"/>
                </a:lnTo>
                <a:lnTo>
                  <a:pt x="2656" y="122"/>
                </a:lnTo>
                <a:lnTo>
                  <a:pt x="2656" y="122"/>
                </a:lnTo>
                <a:lnTo>
                  <a:pt x="2652" y="122"/>
                </a:lnTo>
                <a:lnTo>
                  <a:pt x="2652" y="122"/>
                </a:lnTo>
                <a:lnTo>
                  <a:pt x="2650" y="122"/>
                </a:lnTo>
                <a:lnTo>
                  <a:pt x="2650" y="122"/>
                </a:lnTo>
                <a:lnTo>
                  <a:pt x="2656" y="122"/>
                </a:lnTo>
                <a:lnTo>
                  <a:pt x="2656" y="122"/>
                </a:lnTo>
                <a:lnTo>
                  <a:pt x="2654" y="120"/>
                </a:lnTo>
                <a:lnTo>
                  <a:pt x="2654" y="120"/>
                </a:lnTo>
                <a:close/>
                <a:moveTo>
                  <a:pt x="2634" y="1222"/>
                </a:moveTo>
                <a:lnTo>
                  <a:pt x="2634" y="1222"/>
                </a:lnTo>
                <a:lnTo>
                  <a:pt x="2628" y="1228"/>
                </a:lnTo>
                <a:lnTo>
                  <a:pt x="2628" y="1228"/>
                </a:lnTo>
                <a:lnTo>
                  <a:pt x="2628" y="1228"/>
                </a:lnTo>
                <a:lnTo>
                  <a:pt x="2628" y="1228"/>
                </a:lnTo>
                <a:lnTo>
                  <a:pt x="2632" y="1224"/>
                </a:lnTo>
                <a:lnTo>
                  <a:pt x="2632" y="1224"/>
                </a:lnTo>
                <a:lnTo>
                  <a:pt x="2634" y="1222"/>
                </a:lnTo>
                <a:lnTo>
                  <a:pt x="2634" y="1222"/>
                </a:lnTo>
                <a:close/>
                <a:moveTo>
                  <a:pt x="2596" y="1174"/>
                </a:moveTo>
                <a:lnTo>
                  <a:pt x="2596" y="1174"/>
                </a:lnTo>
                <a:lnTo>
                  <a:pt x="2596" y="1172"/>
                </a:lnTo>
                <a:lnTo>
                  <a:pt x="2596" y="1172"/>
                </a:lnTo>
                <a:lnTo>
                  <a:pt x="2596" y="1174"/>
                </a:lnTo>
                <a:lnTo>
                  <a:pt x="2596" y="1174"/>
                </a:lnTo>
                <a:lnTo>
                  <a:pt x="2596" y="1174"/>
                </a:lnTo>
                <a:lnTo>
                  <a:pt x="2596" y="1174"/>
                </a:lnTo>
                <a:lnTo>
                  <a:pt x="2586" y="1176"/>
                </a:lnTo>
                <a:lnTo>
                  <a:pt x="2586" y="1176"/>
                </a:lnTo>
                <a:lnTo>
                  <a:pt x="2586" y="1176"/>
                </a:lnTo>
                <a:lnTo>
                  <a:pt x="2586" y="1176"/>
                </a:lnTo>
                <a:lnTo>
                  <a:pt x="2596" y="1174"/>
                </a:lnTo>
                <a:lnTo>
                  <a:pt x="2596" y="1174"/>
                </a:lnTo>
                <a:close/>
                <a:moveTo>
                  <a:pt x="2582" y="1166"/>
                </a:moveTo>
                <a:lnTo>
                  <a:pt x="2582" y="1166"/>
                </a:lnTo>
                <a:lnTo>
                  <a:pt x="2580" y="1168"/>
                </a:lnTo>
                <a:lnTo>
                  <a:pt x="2574" y="1170"/>
                </a:lnTo>
                <a:lnTo>
                  <a:pt x="2574" y="1170"/>
                </a:lnTo>
                <a:lnTo>
                  <a:pt x="2580" y="1168"/>
                </a:lnTo>
                <a:lnTo>
                  <a:pt x="2582" y="1166"/>
                </a:lnTo>
                <a:lnTo>
                  <a:pt x="2582" y="1166"/>
                </a:lnTo>
                <a:lnTo>
                  <a:pt x="2572" y="1164"/>
                </a:lnTo>
                <a:lnTo>
                  <a:pt x="2572" y="1164"/>
                </a:lnTo>
                <a:lnTo>
                  <a:pt x="2582" y="1166"/>
                </a:lnTo>
                <a:lnTo>
                  <a:pt x="2582" y="1166"/>
                </a:lnTo>
                <a:close/>
                <a:moveTo>
                  <a:pt x="2572" y="1180"/>
                </a:moveTo>
                <a:lnTo>
                  <a:pt x="2572" y="1180"/>
                </a:lnTo>
                <a:lnTo>
                  <a:pt x="2572" y="1180"/>
                </a:lnTo>
                <a:lnTo>
                  <a:pt x="2572" y="1180"/>
                </a:lnTo>
                <a:lnTo>
                  <a:pt x="2576" y="1182"/>
                </a:lnTo>
                <a:lnTo>
                  <a:pt x="2576" y="1182"/>
                </a:lnTo>
                <a:lnTo>
                  <a:pt x="2572" y="1182"/>
                </a:lnTo>
                <a:lnTo>
                  <a:pt x="2572" y="1182"/>
                </a:lnTo>
                <a:lnTo>
                  <a:pt x="2572" y="1182"/>
                </a:lnTo>
                <a:lnTo>
                  <a:pt x="2572" y="1182"/>
                </a:lnTo>
                <a:lnTo>
                  <a:pt x="2576" y="1182"/>
                </a:lnTo>
                <a:lnTo>
                  <a:pt x="2576" y="1182"/>
                </a:lnTo>
                <a:lnTo>
                  <a:pt x="2576" y="1182"/>
                </a:lnTo>
                <a:lnTo>
                  <a:pt x="2572" y="1180"/>
                </a:lnTo>
                <a:lnTo>
                  <a:pt x="2572" y="1180"/>
                </a:lnTo>
                <a:close/>
                <a:moveTo>
                  <a:pt x="2564" y="1172"/>
                </a:moveTo>
                <a:lnTo>
                  <a:pt x="2564" y="1172"/>
                </a:lnTo>
                <a:lnTo>
                  <a:pt x="2570" y="1170"/>
                </a:lnTo>
                <a:lnTo>
                  <a:pt x="2570" y="1170"/>
                </a:lnTo>
                <a:lnTo>
                  <a:pt x="2564" y="1172"/>
                </a:lnTo>
                <a:lnTo>
                  <a:pt x="2564" y="1172"/>
                </a:lnTo>
                <a:lnTo>
                  <a:pt x="2564" y="1172"/>
                </a:lnTo>
                <a:lnTo>
                  <a:pt x="2564" y="1172"/>
                </a:lnTo>
                <a:close/>
                <a:moveTo>
                  <a:pt x="2558" y="1170"/>
                </a:moveTo>
                <a:lnTo>
                  <a:pt x="2558" y="1170"/>
                </a:lnTo>
                <a:lnTo>
                  <a:pt x="2558" y="1170"/>
                </a:lnTo>
                <a:lnTo>
                  <a:pt x="2556" y="1166"/>
                </a:lnTo>
                <a:lnTo>
                  <a:pt x="2552" y="1166"/>
                </a:lnTo>
                <a:lnTo>
                  <a:pt x="2552" y="1166"/>
                </a:lnTo>
                <a:lnTo>
                  <a:pt x="2556" y="1166"/>
                </a:lnTo>
                <a:lnTo>
                  <a:pt x="2558" y="1170"/>
                </a:lnTo>
                <a:lnTo>
                  <a:pt x="2558" y="1170"/>
                </a:lnTo>
                <a:close/>
                <a:moveTo>
                  <a:pt x="2542" y="1104"/>
                </a:moveTo>
                <a:lnTo>
                  <a:pt x="2542" y="1104"/>
                </a:lnTo>
                <a:lnTo>
                  <a:pt x="2546" y="1104"/>
                </a:lnTo>
                <a:lnTo>
                  <a:pt x="2546" y="1104"/>
                </a:lnTo>
                <a:lnTo>
                  <a:pt x="2546" y="1106"/>
                </a:lnTo>
                <a:lnTo>
                  <a:pt x="2546" y="1106"/>
                </a:lnTo>
                <a:lnTo>
                  <a:pt x="2546" y="1106"/>
                </a:lnTo>
                <a:lnTo>
                  <a:pt x="2546" y="1106"/>
                </a:lnTo>
                <a:lnTo>
                  <a:pt x="2546" y="1104"/>
                </a:lnTo>
                <a:lnTo>
                  <a:pt x="2546" y="1104"/>
                </a:lnTo>
                <a:lnTo>
                  <a:pt x="2542" y="1104"/>
                </a:lnTo>
                <a:lnTo>
                  <a:pt x="2542" y="1104"/>
                </a:lnTo>
                <a:lnTo>
                  <a:pt x="2542" y="1104"/>
                </a:lnTo>
                <a:lnTo>
                  <a:pt x="2542" y="1104"/>
                </a:lnTo>
                <a:close/>
                <a:moveTo>
                  <a:pt x="2516" y="1148"/>
                </a:moveTo>
                <a:lnTo>
                  <a:pt x="2516" y="1148"/>
                </a:lnTo>
                <a:lnTo>
                  <a:pt x="2522" y="1148"/>
                </a:lnTo>
                <a:lnTo>
                  <a:pt x="2522" y="1148"/>
                </a:lnTo>
                <a:lnTo>
                  <a:pt x="2516" y="1150"/>
                </a:lnTo>
                <a:lnTo>
                  <a:pt x="2516" y="1150"/>
                </a:lnTo>
                <a:lnTo>
                  <a:pt x="2516" y="1150"/>
                </a:lnTo>
                <a:lnTo>
                  <a:pt x="2516" y="1150"/>
                </a:lnTo>
                <a:lnTo>
                  <a:pt x="2520" y="1148"/>
                </a:lnTo>
                <a:lnTo>
                  <a:pt x="2520" y="1148"/>
                </a:lnTo>
                <a:lnTo>
                  <a:pt x="2516" y="1148"/>
                </a:lnTo>
                <a:lnTo>
                  <a:pt x="2516" y="1148"/>
                </a:lnTo>
                <a:lnTo>
                  <a:pt x="2516" y="1148"/>
                </a:lnTo>
                <a:lnTo>
                  <a:pt x="2516" y="1148"/>
                </a:lnTo>
                <a:close/>
                <a:moveTo>
                  <a:pt x="2548" y="1206"/>
                </a:moveTo>
                <a:lnTo>
                  <a:pt x="2548" y="1206"/>
                </a:lnTo>
                <a:lnTo>
                  <a:pt x="2538" y="1198"/>
                </a:lnTo>
                <a:lnTo>
                  <a:pt x="2538" y="1198"/>
                </a:lnTo>
                <a:lnTo>
                  <a:pt x="2536" y="1196"/>
                </a:lnTo>
                <a:lnTo>
                  <a:pt x="2534" y="1196"/>
                </a:lnTo>
                <a:lnTo>
                  <a:pt x="2532" y="1196"/>
                </a:lnTo>
                <a:lnTo>
                  <a:pt x="2530" y="1194"/>
                </a:lnTo>
                <a:lnTo>
                  <a:pt x="2530" y="1194"/>
                </a:lnTo>
                <a:lnTo>
                  <a:pt x="2526" y="1190"/>
                </a:lnTo>
                <a:lnTo>
                  <a:pt x="2528" y="1188"/>
                </a:lnTo>
                <a:lnTo>
                  <a:pt x="2530" y="1186"/>
                </a:lnTo>
                <a:lnTo>
                  <a:pt x="2530" y="1186"/>
                </a:lnTo>
                <a:lnTo>
                  <a:pt x="2524" y="1186"/>
                </a:lnTo>
                <a:lnTo>
                  <a:pt x="2522" y="1190"/>
                </a:lnTo>
                <a:lnTo>
                  <a:pt x="2520" y="1192"/>
                </a:lnTo>
                <a:lnTo>
                  <a:pt x="2518" y="1194"/>
                </a:lnTo>
                <a:lnTo>
                  <a:pt x="2518" y="1194"/>
                </a:lnTo>
                <a:lnTo>
                  <a:pt x="2516" y="1194"/>
                </a:lnTo>
                <a:lnTo>
                  <a:pt x="2514" y="1192"/>
                </a:lnTo>
                <a:lnTo>
                  <a:pt x="2512" y="1188"/>
                </a:lnTo>
                <a:lnTo>
                  <a:pt x="2512" y="1188"/>
                </a:lnTo>
                <a:lnTo>
                  <a:pt x="2512" y="1182"/>
                </a:lnTo>
                <a:lnTo>
                  <a:pt x="2516" y="1178"/>
                </a:lnTo>
                <a:lnTo>
                  <a:pt x="2522" y="1176"/>
                </a:lnTo>
                <a:lnTo>
                  <a:pt x="2530" y="1176"/>
                </a:lnTo>
                <a:lnTo>
                  <a:pt x="2530" y="1176"/>
                </a:lnTo>
                <a:lnTo>
                  <a:pt x="2556" y="1180"/>
                </a:lnTo>
                <a:lnTo>
                  <a:pt x="2556" y="1180"/>
                </a:lnTo>
                <a:lnTo>
                  <a:pt x="2556" y="1184"/>
                </a:lnTo>
                <a:lnTo>
                  <a:pt x="2552" y="1186"/>
                </a:lnTo>
                <a:lnTo>
                  <a:pt x="2542" y="1188"/>
                </a:lnTo>
                <a:lnTo>
                  <a:pt x="2542" y="1188"/>
                </a:lnTo>
                <a:lnTo>
                  <a:pt x="2548" y="1190"/>
                </a:lnTo>
                <a:lnTo>
                  <a:pt x="2554" y="1190"/>
                </a:lnTo>
                <a:lnTo>
                  <a:pt x="2554" y="1190"/>
                </a:lnTo>
                <a:lnTo>
                  <a:pt x="2574" y="1186"/>
                </a:lnTo>
                <a:lnTo>
                  <a:pt x="2574" y="1186"/>
                </a:lnTo>
                <a:lnTo>
                  <a:pt x="2590" y="1184"/>
                </a:lnTo>
                <a:lnTo>
                  <a:pt x="2590" y="1184"/>
                </a:lnTo>
                <a:lnTo>
                  <a:pt x="2594" y="1186"/>
                </a:lnTo>
                <a:lnTo>
                  <a:pt x="2596" y="1188"/>
                </a:lnTo>
                <a:lnTo>
                  <a:pt x="2596" y="1188"/>
                </a:lnTo>
                <a:lnTo>
                  <a:pt x="2586" y="1190"/>
                </a:lnTo>
                <a:lnTo>
                  <a:pt x="2586" y="1190"/>
                </a:lnTo>
                <a:lnTo>
                  <a:pt x="2588" y="1192"/>
                </a:lnTo>
                <a:lnTo>
                  <a:pt x="2588" y="1194"/>
                </a:lnTo>
                <a:lnTo>
                  <a:pt x="2594" y="1196"/>
                </a:lnTo>
                <a:lnTo>
                  <a:pt x="2598" y="1196"/>
                </a:lnTo>
                <a:lnTo>
                  <a:pt x="2602" y="1198"/>
                </a:lnTo>
                <a:lnTo>
                  <a:pt x="2602" y="1198"/>
                </a:lnTo>
                <a:lnTo>
                  <a:pt x="2586" y="1202"/>
                </a:lnTo>
                <a:lnTo>
                  <a:pt x="2578" y="1206"/>
                </a:lnTo>
                <a:lnTo>
                  <a:pt x="2572" y="1210"/>
                </a:lnTo>
                <a:lnTo>
                  <a:pt x="2572" y="1210"/>
                </a:lnTo>
                <a:lnTo>
                  <a:pt x="2548" y="1204"/>
                </a:lnTo>
                <a:lnTo>
                  <a:pt x="2548" y="1206"/>
                </a:lnTo>
                <a:close/>
                <a:moveTo>
                  <a:pt x="2602" y="1222"/>
                </a:moveTo>
                <a:lnTo>
                  <a:pt x="2602" y="1222"/>
                </a:lnTo>
                <a:lnTo>
                  <a:pt x="2600" y="1228"/>
                </a:lnTo>
                <a:lnTo>
                  <a:pt x="2600" y="1228"/>
                </a:lnTo>
                <a:lnTo>
                  <a:pt x="2588" y="1226"/>
                </a:lnTo>
                <a:lnTo>
                  <a:pt x="2588" y="1226"/>
                </a:lnTo>
                <a:lnTo>
                  <a:pt x="2580" y="1226"/>
                </a:lnTo>
                <a:lnTo>
                  <a:pt x="2580" y="1226"/>
                </a:lnTo>
                <a:lnTo>
                  <a:pt x="2572" y="1226"/>
                </a:lnTo>
                <a:lnTo>
                  <a:pt x="2564" y="1226"/>
                </a:lnTo>
                <a:lnTo>
                  <a:pt x="2556" y="1224"/>
                </a:lnTo>
                <a:lnTo>
                  <a:pt x="2548" y="1220"/>
                </a:lnTo>
                <a:lnTo>
                  <a:pt x="2548" y="1220"/>
                </a:lnTo>
                <a:lnTo>
                  <a:pt x="2552" y="1216"/>
                </a:lnTo>
                <a:lnTo>
                  <a:pt x="2558" y="1214"/>
                </a:lnTo>
                <a:lnTo>
                  <a:pt x="2568" y="1216"/>
                </a:lnTo>
                <a:lnTo>
                  <a:pt x="2568" y="1216"/>
                </a:lnTo>
                <a:lnTo>
                  <a:pt x="2568" y="1220"/>
                </a:lnTo>
                <a:lnTo>
                  <a:pt x="2568" y="1220"/>
                </a:lnTo>
                <a:lnTo>
                  <a:pt x="2578" y="1224"/>
                </a:lnTo>
                <a:lnTo>
                  <a:pt x="2578" y="1224"/>
                </a:lnTo>
                <a:lnTo>
                  <a:pt x="2578" y="1220"/>
                </a:lnTo>
                <a:lnTo>
                  <a:pt x="2578" y="1220"/>
                </a:lnTo>
                <a:lnTo>
                  <a:pt x="2574" y="1218"/>
                </a:lnTo>
                <a:lnTo>
                  <a:pt x="2574" y="1218"/>
                </a:lnTo>
                <a:lnTo>
                  <a:pt x="2586" y="1214"/>
                </a:lnTo>
                <a:lnTo>
                  <a:pt x="2586" y="1214"/>
                </a:lnTo>
                <a:lnTo>
                  <a:pt x="2586" y="1212"/>
                </a:lnTo>
                <a:lnTo>
                  <a:pt x="2586" y="1212"/>
                </a:lnTo>
                <a:lnTo>
                  <a:pt x="2590" y="1208"/>
                </a:lnTo>
                <a:lnTo>
                  <a:pt x="2596" y="1206"/>
                </a:lnTo>
                <a:lnTo>
                  <a:pt x="2610" y="1208"/>
                </a:lnTo>
                <a:lnTo>
                  <a:pt x="2610" y="1208"/>
                </a:lnTo>
                <a:lnTo>
                  <a:pt x="2624" y="1208"/>
                </a:lnTo>
                <a:lnTo>
                  <a:pt x="2624" y="1208"/>
                </a:lnTo>
                <a:lnTo>
                  <a:pt x="2630" y="1210"/>
                </a:lnTo>
                <a:lnTo>
                  <a:pt x="2630" y="1210"/>
                </a:lnTo>
                <a:lnTo>
                  <a:pt x="2628" y="1214"/>
                </a:lnTo>
                <a:lnTo>
                  <a:pt x="2624" y="1214"/>
                </a:lnTo>
                <a:lnTo>
                  <a:pt x="2614" y="1214"/>
                </a:lnTo>
                <a:lnTo>
                  <a:pt x="2614" y="1214"/>
                </a:lnTo>
                <a:lnTo>
                  <a:pt x="2622" y="1218"/>
                </a:lnTo>
                <a:lnTo>
                  <a:pt x="2622" y="1218"/>
                </a:lnTo>
                <a:lnTo>
                  <a:pt x="2618" y="1220"/>
                </a:lnTo>
                <a:lnTo>
                  <a:pt x="2612" y="1222"/>
                </a:lnTo>
                <a:lnTo>
                  <a:pt x="2602" y="1222"/>
                </a:lnTo>
                <a:lnTo>
                  <a:pt x="2602" y="1222"/>
                </a:lnTo>
                <a:close/>
                <a:moveTo>
                  <a:pt x="2640" y="1260"/>
                </a:moveTo>
                <a:lnTo>
                  <a:pt x="2640" y="1260"/>
                </a:lnTo>
                <a:lnTo>
                  <a:pt x="2640" y="1260"/>
                </a:lnTo>
                <a:lnTo>
                  <a:pt x="2640" y="1260"/>
                </a:lnTo>
                <a:lnTo>
                  <a:pt x="2642" y="1260"/>
                </a:lnTo>
                <a:lnTo>
                  <a:pt x="2642" y="1260"/>
                </a:lnTo>
                <a:lnTo>
                  <a:pt x="2640" y="1256"/>
                </a:lnTo>
                <a:lnTo>
                  <a:pt x="2640" y="1256"/>
                </a:lnTo>
                <a:lnTo>
                  <a:pt x="2636" y="1256"/>
                </a:lnTo>
                <a:lnTo>
                  <a:pt x="2636" y="1256"/>
                </a:lnTo>
                <a:lnTo>
                  <a:pt x="2636" y="1256"/>
                </a:lnTo>
                <a:lnTo>
                  <a:pt x="2636" y="1256"/>
                </a:lnTo>
                <a:lnTo>
                  <a:pt x="2640" y="1256"/>
                </a:lnTo>
                <a:lnTo>
                  <a:pt x="2640" y="1256"/>
                </a:lnTo>
                <a:lnTo>
                  <a:pt x="2642" y="1260"/>
                </a:lnTo>
                <a:lnTo>
                  <a:pt x="2642" y="1260"/>
                </a:lnTo>
                <a:lnTo>
                  <a:pt x="2640" y="1260"/>
                </a:lnTo>
                <a:lnTo>
                  <a:pt x="2640" y="1260"/>
                </a:lnTo>
                <a:close/>
                <a:moveTo>
                  <a:pt x="2678" y="1252"/>
                </a:moveTo>
                <a:lnTo>
                  <a:pt x="2678" y="1252"/>
                </a:lnTo>
                <a:lnTo>
                  <a:pt x="2656" y="1252"/>
                </a:lnTo>
                <a:lnTo>
                  <a:pt x="2644" y="1250"/>
                </a:lnTo>
                <a:lnTo>
                  <a:pt x="2634" y="1248"/>
                </a:lnTo>
                <a:lnTo>
                  <a:pt x="2634" y="1248"/>
                </a:lnTo>
                <a:lnTo>
                  <a:pt x="2626" y="1244"/>
                </a:lnTo>
                <a:lnTo>
                  <a:pt x="2626" y="1244"/>
                </a:lnTo>
                <a:lnTo>
                  <a:pt x="2622" y="1242"/>
                </a:lnTo>
                <a:lnTo>
                  <a:pt x="2620" y="1240"/>
                </a:lnTo>
                <a:lnTo>
                  <a:pt x="2620" y="1240"/>
                </a:lnTo>
                <a:lnTo>
                  <a:pt x="2622" y="1238"/>
                </a:lnTo>
                <a:lnTo>
                  <a:pt x="2624" y="1236"/>
                </a:lnTo>
                <a:lnTo>
                  <a:pt x="2624" y="1236"/>
                </a:lnTo>
                <a:lnTo>
                  <a:pt x="2628" y="1234"/>
                </a:lnTo>
                <a:lnTo>
                  <a:pt x="2632" y="1236"/>
                </a:lnTo>
                <a:lnTo>
                  <a:pt x="2632" y="1236"/>
                </a:lnTo>
                <a:lnTo>
                  <a:pt x="2662" y="1248"/>
                </a:lnTo>
                <a:lnTo>
                  <a:pt x="2662" y="1248"/>
                </a:lnTo>
                <a:lnTo>
                  <a:pt x="2670" y="1250"/>
                </a:lnTo>
                <a:lnTo>
                  <a:pt x="2674" y="1250"/>
                </a:lnTo>
                <a:lnTo>
                  <a:pt x="2678" y="1248"/>
                </a:lnTo>
                <a:lnTo>
                  <a:pt x="2678" y="1248"/>
                </a:lnTo>
                <a:lnTo>
                  <a:pt x="2682" y="1248"/>
                </a:lnTo>
                <a:lnTo>
                  <a:pt x="2682" y="1248"/>
                </a:lnTo>
                <a:lnTo>
                  <a:pt x="2682" y="1250"/>
                </a:lnTo>
                <a:lnTo>
                  <a:pt x="2682" y="1250"/>
                </a:lnTo>
                <a:lnTo>
                  <a:pt x="2678" y="1252"/>
                </a:lnTo>
                <a:lnTo>
                  <a:pt x="2678" y="1252"/>
                </a:lnTo>
                <a:close/>
                <a:moveTo>
                  <a:pt x="2682" y="176"/>
                </a:moveTo>
                <a:lnTo>
                  <a:pt x="2682" y="176"/>
                </a:lnTo>
                <a:lnTo>
                  <a:pt x="2688" y="174"/>
                </a:lnTo>
                <a:lnTo>
                  <a:pt x="2688" y="174"/>
                </a:lnTo>
                <a:lnTo>
                  <a:pt x="2688" y="172"/>
                </a:lnTo>
                <a:lnTo>
                  <a:pt x="2688" y="172"/>
                </a:lnTo>
                <a:lnTo>
                  <a:pt x="2690" y="172"/>
                </a:lnTo>
                <a:lnTo>
                  <a:pt x="2690" y="172"/>
                </a:lnTo>
                <a:lnTo>
                  <a:pt x="2688" y="174"/>
                </a:lnTo>
                <a:lnTo>
                  <a:pt x="2688" y="174"/>
                </a:lnTo>
                <a:lnTo>
                  <a:pt x="2682" y="176"/>
                </a:lnTo>
                <a:lnTo>
                  <a:pt x="2682" y="176"/>
                </a:lnTo>
                <a:close/>
                <a:moveTo>
                  <a:pt x="2736" y="1238"/>
                </a:moveTo>
                <a:lnTo>
                  <a:pt x="2736" y="1238"/>
                </a:lnTo>
                <a:lnTo>
                  <a:pt x="2736" y="1238"/>
                </a:lnTo>
                <a:lnTo>
                  <a:pt x="2736" y="1238"/>
                </a:lnTo>
                <a:lnTo>
                  <a:pt x="2740" y="1236"/>
                </a:lnTo>
                <a:lnTo>
                  <a:pt x="2740" y="1236"/>
                </a:lnTo>
                <a:lnTo>
                  <a:pt x="2740" y="1236"/>
                </a:lnTo>
                <a:lnTo>
                  <a:pt x="2740" y="1236"/>
                </a:lnTo>
                <a:lnTo>
                  <a:pt x="2736" y="1238"/>
                </a:lnTo>
                <a:lnTo>
                  <a:pt x="2736" y="1238"/>
                </a:lnTo>
                <a:close/>
                <a:moveTo>
                  <a:pt x="2756" y="1236"/>
                </a:moveTo>
                <a:lnTo>
                  <a:pt x="2756" y="1236"/>
                </a:lnTo>
                <a:lnTo>
                  <a:pt x="2748" y="1232"/>
                </a:lnTo>
                <a:lnTo>
                  <a:pt x="2740" y="1230"/>
                </a:lnTo>
                <a:lnTo>
                  <a:pt x="2740" y="1230"/>
                </a:lnTo>
                <a:lnTo>
                  <a:pt x="2738" y="1230"/>
                </a:lnTo>
                <a:lnTo>
                  <a:pt x="2738" y="1230"/>
                </a:lnTo>
                <a:lnTo>
                  <a:pt x="2748" y="1232"/>
                </a:lnTo>
                <a:lnTo>
                  <a:pt x="2756" y="1236"/>
                </a:lnTo>
                <a:lnTo>
                  <a:pt x="2756" y="1236"/>
                </a:lnTo>
                <a:lnTo>
                  <a:pt x="2756" y="1236"/>
                </a:lnTo>
                <a:lnTo>
                  <a:pt x="2756" y="1236"/>
                </a:lnTo>
                <a:close/>
                <a:moveTo>
                  <a:pt x="2766" y="226"/>
                </a:moveTo>
                <a:lnTo>
                  <a:pt x="2766" y="226"/>
                </a:lnTo>
                <a:lnTo>
                  <a:pt x="2762" y="224"/>
                </a:lnTo>
                <a:lnTo>
                  <a:pt x="2762" y="224"/>
                </a:lnTo>
                <a:lnTo>
                  <a:pt x="2764" y="224"/>
                </a:lnTo>
                <a:lnTo>
                  <a:pt x="2766" y="226"/>
                </a:lnTo>
                <a:lnTo>
                  <a:pt x="2766" y="226"/>
                </a:lnTo>
                <a:lnTo>
                  <a:pt x="2766" y="226"/>
                </a:lnTo>
                <a:lnTo>
                  <a:pt x="2766" y="226"/>
                </a:lnTo>
                <a:close/>
                <a:moveTo>
                  <a:pt x="2778" y="1180"/>
                </a:moveTo>
                <a:lnTo>
                  <a:pt x="2778" y="1180"/>
                </a:lnTo>
                <a:lnTo>
                  <a:pt x="2784" y="1182"/>
                </a:lnTo>
                <a:lnTo>
                  <a:pt x="2784" y="1182"/>
                </a:lnTo>
                <a:lnTo>
                  <a:pt x="2784" y="1182"/>
                </a:lnTo>
                <a:lnTo>
                  <a:pt x="2784" y="1182"/>
                </a:lnTo>
                <a:lnTo>
                  <a:pt x="2784" y="1182"/>
                </a:lnTo>
                <a:lnTo>
                  <a:pt x="2784" y="1182"/>
                </a:lnTo>
                <a:lnTo>
                  <a:pt x="2784" y="1182"/>
                </a:lnTo>
                <a:lnTo>
                  <a:pt x="2778" y="1180"/>
                </a:lnTo>
                <a:lnTo>
                  <a:pt x="2778" y="1180"/>
                </a:lnTo>
                <a:lnTo>
                  <a:pt x="2778" y="1180"/>
                </a:lnTo>
                <a:lnTo>
                  <a:pt x="2778" y="1180"/>
                </a:lnTo>
                <a:close/>
                <a:moveTo>
                  <a:pt x="2776" y="1208"/>
                </a:moveTo>
                <a:lnTo>
                  <a:pt x="2776" y="1208"/>
                </a:lnTo>
                <a:lnTo>
                  <a:pt x="2776" y="1208"/>
                </a:lnTo>
                <a:lnTo>
                  <a:pt x="2776" y="1208"/>
                </a:lnTo>
                <a:lnTo>
                  <a:pt x="2784" y="1198"/>
                </a:lnTo>
                <a:lnTo>
                  <a:pt x="2786" y="1196"/>
                </a:lnTo>
                <a:lnTo>
                  <a:pt x="2784" y="1194"/>
                </a:lnTo>
                <a:lnTo>
                  <a:pt x="2784" y="1194"/>
                </a:lnTo>
                <a:lnTo>
                  <a:pt x="2784" y="1194"/>
                </a:lnTo>
                <a:lnTo>
                  <a:pt x="2784" y="1194"/>
                </a:lnTo>
                <a:lnTo>
                  <a:pt x="2786" y="1196"/>
                </a:lnTo>
                <a:lnTo>
                  <a:pt x="2784" y="1198"/>
                </a:lnTo>
                <a:lnTo>
                  <a:pt x="2776" y="1208"/>
                </a:lnTo>
                <a:lnTo>
                  <a:pt x="2776" y="1208"/>
                </a:lnTo>
                <a:close/>
                <a:moveTo>
                  <a:pt x="2802" y="1182"/>
                </a:moveTo>
                <a:lnTo>
                  <a:pt x="2802" y="1182"/>
                </a:lnTo>
                <a:lnTo>
                  <a:pt x="2802" y="1182"/>
                </a:lnTo>
                <a:lnTo>
                  <a:pt x="2802" y="1182"/>
                </a:lnTo>
                <a:lnTo>
                  <a:pt x="2806" y="1180"/>
                </a:lnTo>
                <a:lnTo>
                  <a:pt x="2806" y="1180"/>
                </a:lnTo>
                <a:lnTo>
                  <a:pt x="2802" y="1178"/>
                </a:lnTo>
                <a:lnTo>
                  <a:pt x="2802" y="1178"/>
                </a:lnTo>
                <a:lnTo>
                  <a:pt x="2802" y="1178"/>
                </a:lnTo>
                <a:lnTo>
                  <a:pt x="2802" y="1178"/>
                </a:lnTo>
                <a:lnTo>
                  <a:pt x="2806" y="1180"/>
                </a:lnTo>
                <a:lnTo>
                  <a:pt x="2806" y="1180"/>
                </a:lnTo>
                <a:lnTo>
                  <a:pt x="2802" y="1182"/>
                </a:lnTo>
                <a:lnTo>
                  <a:pt x="2802" y="1182"/>
                </a:lnTo>
                <a:close/>
                <a:moveTo>
                  <a:pt x="2816" y="714"/>
                </a:moveTo>
                <a:lnTo>
                  <a:pt x="2816" y="714"/>
                </a:lnTo>
                <a:lnTo>
                  <a:pt x="2816" y="714"/>
                </a:lnTo>
                <a:lnTo>
                  <a:pt x="2816" y="714"/>
                </a:lnTo>
                <a:lnTo>
                  <a:pt x="2816" y="712"/>
                </a:lnTo>
                <a:lnTo>
                  <a:pt x="2816" y="712"/>
                </a:lnTo>
                <a:lnTo>
                  <a:pt x="2812" y="712"/>
                </a:lnTo>
                <a:lnTo>
                  <a:pt x="2812" y="712"/>
                </a:lnTo>
                <a:lnTo>
                  <a:pt x="2812" y="712"/>
                </a:lnTo>
                <a:lnTo>
                  <a:pt x="2812" y="712"/>
                </a:lnTo>
                <a:lnTo>
                  <a:pt x="2812" y="712"/>
                </a:lnTo>
                <a:lnTo>
                  <a:pt x="2816" y="712"/>
                </a:lnTo>
                <a:lnTo>
                  <a:pt x="2816" y="712"/>
                </a:lnTo>
                <a:lnTo>
                  <a:pt x="2816" y="714"/>
                </a:lnTo>
                <a:lnTo>
                  <a:pt x="2816" y="714"/>
                </a:lnTo>
                <a:close/>
                <a:moveTo>
                  <a:pt x="2878" y="190"/>
                </a:moveTo>
                <a:lnTo>
                  <a:pt x="2878" y="190"/>
                </a:lnTo>
                <a:lnTo>
                  <a:pt x="2888" y="186"/>
                </a:lnTo>
                <a:lnTo>
                  <a:pt x="2888" y="186"/>
                </a:lnTo>
                <a:lnTo>
                  <a:pt x="2888" y="186"/>
                </a:lnTo>
                <a:lnTo>
                  <a:pt x="2888" y="186"/>
                </a:lnTo>
                <a:lnTo>
                  <a:pt x="2878" y="190"/>
                </a:lnTo>
                <a:lnTo>
                  <a:pt x="2878" y="190"/>
                </a:lnTo>
                <a:lnTo>
                  <a:pt x="2878" y="190"/>
                </a:lnTo>
                <a:lnTo>
                  <a:pt x="2878" y="190"/>
                </a:lnTo>
                <a:close/>
                <a:moveTo>
                  <a:pt x="2876" y="182"/>
                </a:moveTo>
                <a:lnTo>
                  <a:pt x="2876" y="182"/>
                </a:lnTo>
                <a:lnTo>
                  <a:pt x="2878" y="180"/>
                </a:lnTo>
                <a:lnTo>
                  <a:pt x="2878" y="180"/>
                </a:lnTo>
                <a:lnTo>
                  <a:pt x="2876" y="178"/>
                </a:lnTo>
                <a:lnTo>
                  <a:pt x="2876" y="178"/>
                </a:lnTo>
                <a:lnTo>
                  <a:pt x="2876" y="178"/>
                </a:lnTo>
                <a:lnTo>
                  <a:pt x="2876" y="178"/>
                </a:lnTo>
                <a:lnTo>
                  <a:pt x="2878" y="180"/>
                </a:lnTo>
                <a:lnTo>
                  <a:pt x="2878" y="180"/>
                </a:lnTo>
                <a:lnTo>
                  <a:pt x="2876" y="182"/>
                </a:lnTo>
                <a:lnTo>
                  <a:pt x="2876" y="182"/>
                </a:lnTo>
                <a:lnTo>
                  <a:pt x="2876" y="182"/>
                </a:lnTo>
                <a:lnTo>
                  <a:pt x="2876" y="182"/>
                </a:lnTo>
                <a:lnTo>
                  <a:pt x="2876" y="182"/>
                </a:lnTo>
                <a:lnTo>
                  <a:pt x="2876" y="182"/>
                </a:lnTo>
                <a:close/>
                <a:moveTo>
                  <a:pt x="2876" y="204"/>
                </a:moveTo>
                <a:lnTo>
                  <a:pt x="2876" y="204"/>
                </a:lnTo>
                <a:lnTo>
                  <a:pt x="2884" y="204"/>
                </a:lnTo>
                <a:lnTo>
                  <a:pt x="2884" y="204"/>
                </a:lnTo>
                <a:lnTo>
                  <a:pt x="2892" y="204"/>
                </a:lnTo>
                <a:lnTo>
                  <a:pt x="2900" y="204"/>
                </a:lnTo>
                <a:lnTo>
                  <a:pt x="2900" y="204"/>
                </a:lnTo>
                <a:lnTo>
                  <a:pt x="2892" y="204"/>
                </a:lnTo>
                <a:lnTo>
                  <a:pt x="2884" y="204"/>
                </a:lnTo>
                <a:lnTo>
                  <a:pt x="2884" y="204"/>
                </a:lnTo>
                <a:lnTo>
                  <a:pt x="2876" y="204"/>
                </a:lnTo>
                <a:lnTo>
                  <a:pt x="2876" y="204"/>
                </a:lnTo>
                <a:lnTo>
                  <a:pt x="2876" y="204"/>
                </a:lnTo>
                <a:lnTo>
                  <a:pt x="2876" y="204"/>
                </a:lnTo>
                <a:close/>
                <a:moveTo>
                  <a:pt x="2884" y="1176"/>
                </a:moveTo>
                <a:lnTo>
                  <a:pt x="2884" y="1176"/>
                </a:lnTo>
                <a:lnTo>
                  <a:pt x="2884" y="1176"/>
                </a:lnTo>
                <a:lnTo>
                  <a:pt x="2884" y="1176"/>
                </a:lnTo>
                <a:lnTo>
                  <a:pt x="2890" y="1176"/>
                </a:lnTo>
                <a:lnTo>
                  <a:pt x="2892" y="1176"/>
                </a:lnTo>
                <a:lnTo>
                  <a:pt x="2898" y="1172"/>
                </a:lnTo>
                <a:lnTo>
                  <a:pt x="2898" y="1172"/>
                </a:lnTo>
                <a:lnTo>
                  <a:pt x="2898" y="1172"/>
                </a:lnTo>
                <a:lnTo>
                  <a:pt x="2898" y="1172"/>
                </a:lnTo>
                <a:lnTo>
                  <a:pt x="2892" y="1176"/>
                </a:lnTo>
                <a:lnTo>
                  <a:pt x="2890" y="1176"/>
                </a:lnTo>
                <a:lnTo>
                  <a:pt x="2884" y="1176"/>
                </a:lnTo>
                <a:lnTo>
                  <a:pt x="2884" y="1176"/>
                </a:lnTo>
                <a:close/>
                <a:moveTo>
                  <a:pt x="2892" y="1164"/>
                </a:moveTo>
                <a:lnTo>
                  <a:pt x="2892" y="1164"/>
                </a:lnTo>
                <a:lnTo>
                  <a:pt x="2892" y="1164"/>
                </a:lnTo>
                <a:lnTo>
                  <a:pt x="2892" y="1164"/>
                </a:lnTo>
                <a:lnTo>
                  <a:pt x="2896" y="1164"/>
                </a:lnTo>
                <a:lnTo>
                  <a:pt x="2896" y="1164"/>
                </a:lnTo>
                <a:lnTo>
                  <a:pt x="2898" y="1162"/>
                </a:lnTo>
                <a:lnTo>
                  <a:pt x="2898" y="1162"/>
                </a:lnTo>
                <a:lnTo>
                  <a:pt x="2898" y="1162"/>
                </a:lnTo>
                <a:lnTo>
                  <a:pt x="2898" y="1162"/>
                </a:lnTo>
                <a:lnTo>
                  <a:pt x="2898" y="1164"/>
                </a:lnTo>
                <a:lnTo>
                  <a:pt x="2898" y="1164"/>
                </a:lnTo>
                <a:lnTo>
                  <a:pt x="2892" y="1164"/>
                </a:lnTo>
                <a:lnTo>
                  <a:pt x="2892" y="1164"/>
                </a:lnTo>
                <a:close/>
                <a:moveTo>
                  <a:pt x="2894" y="1152"/>
                </a:moveTo>
                <a:lnTo>
                  <a:pt x="2894" y="1152"/>
                </a:lnTo>
                <a:lnTo>
                  <a:pt x="2894" y="1152"/>
                </a:lnTo>
                <a:lnTo>
                  <a:pt x="2894" y="1152"/>
                </a:lnTo>
                <a:lnTo>
                  <a:pt x="2894" y="1152"/>
                </a:lnTo>
                <a:lnTo>
                  <a:pt x="2894" y="1152"/>
                </a:lnTo>
                <a:lnTo>
                  <a:pt x="2898" y="1150"/>
                </a:lnTo>
                <a:lnTo>
                  <a:pt x="2898" y="1150"/>
                </a:lnTo>
                <a:lnTo>
                  <a:pt x="2896" y="1148"/>
                </a:lnTo>
                <a:lnTo>
                  <a:pt x="2896" y="1148"/>
                </a:lnTo>
                <a:lnTo>
                  <a:pt x="2898" y="1150"/>
                </a:lnTo>
                <a:lnTo>
                  <a:pt x="2898" y="1150"/>
                </a:lnTo>
                <a:lnTo>
                  <a:pt x="2894" y="1152"/>
                </a:lnTo>
                <a:lnTo>
                  <a:pt x="2894" y="1152"/>
                </a:lnTo>
                <a:close/>
                <a:moveTo>
                  <a:pt x="2878" y="794"/>
                </a:moveTo>
                <a:lnTo>
                  <a:pt x="2878" y="794"/>
                </a:lnTo>
                <a:lnTo>
                  <a:pt x="2876" y="792"/>
                </a:lnTo>
                <a:lnTo>
                  <a:pt x="2878" y="788"/>
                </a:lnTo>
                <a:lnTo>
                  <a:pt x="2878" y="786"/>
                </a:lnTo>
                <a:lnTo>
                  <a:pt x="2876" y="784"/>
                </a:lnTo>
                <a:lnTo>
                  <a:pt x="2876" y="784"/>
                </a:lnTo>
                <a:lnTo>
                  <a:pt x="2880" y="782"/>
                </a:lnTo>
                <a:lnTo>
                  <a:pt x="2886" y="782"/>
                </a:lnTo>
                <a:lnTo>
                  <a:pt x="2886" y="782"/>
                </a:lnTo>
                <a:lnTo>
                  <a:pt x="2902" y="790"/>
                </a:lnTo>
                <a:lnTo>
                  <a:pt x="2902" y="790"/>
                </a:lnTo>
                <a:lnTo>
                  <a:pt x="2896" y="792"/>
                </a:lnTo>
                <a:lnTo>
                  <a:pt x="2888" y="792"/>
                </a:lnTo>
                <a:lnTo>
                  <a:pt x="2882" y="792"/>
                </a:lnTo>
                <a:lnTo>
                  <a:pt x="2880" y="792"/>
                </a:lnTo>
                <a:lnTo>
                  <a:pt x="2878" y="794"/>
                </a:lnTo>
                <a:lnTo>
                  <a:pt x="2878" y="794"/>
                </a:lnTo>
                <a:close/>
                <a:moveTo>
                  <a:pt x="2920" y="208"/>
                </a:moveTo>
                <a:lnTo>
                  <a:pt x="2920" y="208"/>
                </a:lnTo>
                <a:lnTo>
                  <a:pt x="2920" y="208"/>
                </a:lnTo>
                <a:lnTo>
                  <a:pt x="2920" y="200"/>
                </a:lnTo>
                <a:lnTo>
                  <a:pt x="2920" y="200"/>
                </a:lnTo>
                <a:lnTo>
                  <a:pt x="2912" y="200"/>
                </a:lnTo>
                <a:lnTo>
                  <a:pt x="2906" y="202"/>
                </a:lnTo>
                <a:lnTo>
                  <a:pt x="2906" y="202"/>
                </a:lnTo>
                <a:lnTo>
                  <a:pt x="2906" y="202"/>
                </a:lnTo>
                <a:lnTo>
                  <a:pt x="2906" y="202"/>
                </a:lnTo>
                <a:lnTo>
                  <a:pt x="2912" y="200"/>
                </a:lnTo>
                <a:lnTo>
                  <a:pt x="2920" y="200"/>
                </a:lnTo>
                <a:lnTo>
                  <a:pt x="2920" y="208"/>
                </a:lnTo>
                <a:close/>
                <a:moveTo>
                  <a:pt x="2966" y="286"/>
                </a:moveTo>
                <a:lnTo>
                  <a:pt x="2966" y="286"/>
                </a:lnTo>
                <a:lnTo>
                  <a:pt x="2970" y="286"/>
                </a:lnTo>
                <a:lnTo>
                  <a:pt x="2976" y="282"/>
                </a:lnTo>
                <a:lnTo>
                  <a:pt x="2976" y="282"/>
                </a:lnTo>
                <a:lnTo>
                  <a:pt x="2966" y="282"/>
                </a:lnTo>
                <a:lnTo>
                  <a:pt x="2966" y="282"/>
                </a:lnTo>
                <a:lnTo>
                  <a:pt x="2976" y="282"/>
                </a:lnTo>
                <a:lnTo>
                  <a:pt x="2976" y="282"/>
                </a:lnTo>
                <a:lnTo>
                  <a:pt x="2970" y="286"/>
                </a:lnTo>
                <a:lnTo>
                  <a:pt x="2966" y="286"/>
                </a:lnTo>
                <a:lnTo>
                  <a:pt x="2966" y="286"/>
                </a:lnTo>
                <a:close/>
                <a:moveTo>
                  <a:pt x="3052" y="1166"/>
                </a:moveTo>
                <a:lnTo>
                  <a:pt x="3052" y="1166"/>
                </a:lnTo>
                <a:lnTo>
                  <a:pt x="3058" y="1166"/>
                </a:lnTo>
                <a:lnTo>
                  <a:pt x="3058" y="1164"/>
                </a:lnTo>
                <a:lnTo>
                  <a:pt x="3058" y="1162"/>
                </a:lnTo>
                <a:lnTo>
                  <a:pt x="3058" y="1162"/>
                </a:lnTo>
                <a:lnTo>
                  <a:pt x="3058" y="1162"/>
                </a:lnTo>
                <a:lnTo>
                  <a:pt x="3058" y="1162"/>
                </a:lnTo>
                <a:lnTo>
                  <a:pt x="3058" y="1166"/>
                </a:lnTo>
                <a:lnTo>
                  <a:pt x="3058" y="1166"/>
                </a:lnTo>
                <a:lnTo>
                  <a:pt x="3050" y="1166"/>
                </a:lnTo>
                <a:lnTo>
                  <a:pt x="3050" y="1166"/>
                </a:lnTo>
                <a:lnTo>
                  <a:pt x="3052" y="1166"/>
                </a:lnTo>
                <a:lnTo>
                  <a:pt x="3052" y="1166"/>
                </a:lnTo>
                <a:close/>
                <a:moveTo>
                  <a:pt x="3064" y="1096"/>
                </a:moveTo>
                <a:lnTo>
                  <a:pt x="3064" y="1096"/>
                </a:lnTo>
                <a:lnTo>
                  <a:pt x="3068" y="1096"/>
                </a:lnTo>
                <a:lnTo>
                  <a:pt x="3068" y="1096"/>
                </a:lnTo>
                <a:lnTo>
                  <a:pt x="3068" y="1096"/>
                </a:lnTo>
                <a:lnTo>
                  <a:pt x="3068" y="1096"/>
                </a:lnTo>
                <a:lnTo>
                  <a:pt x="3064" y="1096"/>
                </a:lnTo>
                <a:lnTo>
                  <a:pt x="3064" y="1096"/>
                </a:lnTo>
                <a:lnTo>
                  <a:pt x="3062" y="1096"/>
                </a:lnTo>
                <a:lnTo>
                  <a:pt x="3062" y="1096"/>
                </a:lnTo>
                <a:lnTo>
                  <a:pt x="3064" y="1096"/>
                </a:lnTo>
                <a:lnTo>
                  <a:pt x="3064" y="1096"/>
                </a:lnTo>
                <a:close/>
                <a:moveTo>
                  <a:pt x="3024" y="170"/>
                </a:moveTo>
                <a:lnTo>
                  <a:pt x="3024" y="170"/>
                </a:lnTo>
                <a:lnTo>
                  <a:pt x="3016" y="172"/>
                </a:lnTo>
                <a:lnTo>
                  <a:pt x="3010" y="172"/>
                </a:lnTo>
                <a:lnTo>
                  <a:pt x="3010" y="172"/>
                </a:lnTo>
                <a:lnTo>
                  <a:pt x="3016" y="172"/>
                </a:lnTo>
                <a:lnTo>
                  <a:pt x="3024" y="170"/>
                </a:lnTo>
                <a:lnTo>
                  <a:pt x="3024" y="170"/>
                </a:lnTo>
                <a:lnTo>
                  <a:pt x="3002" y="168"/>
                </a:lnTo>
                <a:lnTo>
                  <a:pt x="3002" y="168"/>
                </a:lnTo>
                <a:lnTo>
                  <a:pt x="3024" y="170"/>
                </a:lnTo>
                <a:lnTo>
                  <a:pt x="3024" y="170"/>
                </a:lnTo>
                <a:close/>
                <a:moveTo>
                  <a:pt x="3042" y="1126"/>
                </a:moveTo>
                <a:lnTo>
                  <a:pt x="3042" y="1126"/>
                </a:lnTo>
                <a:lnTo>
                  <a:pt x="3040" y="1130"/>
                </a:lnTo>
                <a:lnTo>
                  <a:pt x="3040" y="1130"/>
                </a:lnTo>
                <a:lnTo>
                  <a:pt x="3040" y="1130"/>
                </a:lnTo>
                <a:lnTo>
                  <a:pt x="3040" y="1130"/>
                </a:lnTo>
                <a:lnTo>
                  <a:pt x="3042" y="1126"/>
                </a:lnTo>
                <a:lnTo>
                  <a:pt x="3042" y="1126"/>
                </a:lnTo>
                <a:lnTo>
                  <a:pt x="3034" y="1126"/>
                </a:lnTo>
                <a:lnTo>
                  <a:pt x="3034" y="1126"/>
                </a:lnTo>
                <a:lnTo>
                  <a:pt x="3028" y="1128"/>
                </a:lnTo>
                <a:lnTo>
                  <a:pt x="3024" y="1130"/>
                </a:lnTo>
                <a:lnTo>
                  <a:pt x="3018" y="1132"/>
                </a:lnTo>
                <a:lnTo>
                  <a:pt x="3014" y="1132"/>
                </a:lnTo>
                <a:lnTo>
                  <a:pt x="3014" y="1132"/>
                </a:lnTo>
                <a:lnTo>
                  <a:pt x="3014" y="1132"/>
                </a:lnTo>
                <a:lnTo>
                  <a:pt x="3014" y="1132"/>
                </a:lnTo>
                <a:lnTo>
                  <a:pt x="3014" y="1132"/>
                </a:lnTo>
                <a:lnTo>
                  <a:pt x="3014" y="1132"/>
                </a:lnTo>
                <a:lnTo>
                  <a:pt x="3020" y="1132"/>
                </a:lnTo>
                <a:lnTo>
                  <a:pt x="3024" y="1130"/>
                </a:lnTo>
                <a:lnTo>
                  <a:pt x="3028" y="1128"/>
                </a:lnTo>
                <a:lnTo>
                  <a:pt x="3034" y="1126"/>
                </a:lnTo>
                <a:lnTo>
                  <a:pt x="3034" y="1126"/>
                </a:lnTo>
                <a:lnTo>
                  <a:pt x="3042" y="1126"/>
                </a:lnTo>
                <a:lnTo>
                  <a:pt x="3042" y="1126"/>
                </a:lnTo>
                <a:close/>
                <a:moveTo>
                  <a:pt x="3016" y="966"/>
                </a:moveTo>
                <a:lnTo>
                  <a:pt x="3016" y="966"/>
                </a:lnTo>
                <a:lnTo>
                  <a:pt x="3016" y="966"/>
                </a:lnTo>
                <a:lnTo>
                  <a:pt x="3016" y="966"/>
                </a:lnTo>
                <a:lnTo>
                  <a:pt x="3020" y="964"/>
                </a:lnTo>
                <a:lnTo>
                  <a:pt x="3020" y="964"/>
                </a:lnTo>
                <a:lnTo>
                  <a:pt x="3020" y="964"/>
                </a:lnTo>
                <a:lnTo>
                  <a:pt x="3020" y="964"/>
                </a:lnTo>
                <a:lnTo>
                  <a:pt x="3016" y="966"/>
                </a:lnTo>
                <a:lnTo>
                  <a:pt x="3016" y="966"/>
                </a:lnTo>
                <a:lnTo>
                  <a:pt x="3016" y="966"/>
                </a:lnTo>
                <a:lnTo>
                  <a:pt x="3016" y="966"/>
                </a:lnTo>
                <a:close/>
                <a:moveTo>
                  <a:pt x="3036" y="1102"/>
                </a:moveTo>
                <a:lnTo>
                  <a:pt x="3036" y="1102"/>
                </a:lnTo>
                <a:lnTo>
                  <a:pt x="3032" y="1100"/>
                </a:lnTo>
                <a:lnTo>
                  <a:pt x="3032" y="1100"/>
                </a:lnTo>
                <a:lnTo>
                  <a:pt x="3032" y="1100"/>
                </a:lnTo>
                <a:lnTo>
                  <a:pt x="3032" y="1100"/>
                </a:lnTo>
                <a:lnTo>
                  <a:pt x="3036" y="1102"/>
                </a:lnTo>
                <a:lnTo>
                  <a:pt x="3036" y="1102"/>
                </a:lnTo>
                <a:lnTo>
                  <a:pt x="3036" y="1102"/>
                </a:lnTo>
                <a:lnTo>
                  <a:pt x="3032" y="1102"/>
                </a:lnTo>
                <a:lnTo>
                  <a:pt x="3032" y="1102"/>
                </a:lnTo>
                <a:lnTo>
                  <a:pt x="3032" y="1102"/>
                </a:lnTo>
                <a:lnTo>
                  <a:pt x="3032" y="1102"/>
                </a:lnTo>
                <a:lnTo>
                  <a:pt x="3036" y="1102"/>
                </a:lnTo>
                <a:lnTo>
                  <a:pt x="3036" y="1102"/>
                </a:lnTo>
                <a:close/>
                <a:moveTo>
                  <a:pt x="3054" y="202"/>
                </a:moveTo>
                <a:lnTo>
                  <a:pt x="3054" y="202"/>
                </a:lnTo>
                <a:lnTo>
                  <a:pt x="3052" y="204"/>
                </a:lnTo>
                <a:lnTo>
                  <a:pt x="3048" y="206"/>
                </a:lnTo>
                <a:lnTo>
                  <a:pt x="3048" y="206"/>
                </a:lnTo>
                <a:lnTo>
                  <a:pt x="3044" y="206"/>
                </a:lnTo>
                <a:lnTo>
                  <a:pt x="3042" y="204"/>
                </a:lnTo>
                <a:lnTo>
                  <a:pt x="3042" y="204"/>
                </a:lnTo>
                <a:lnTo>
                  <a:pt x="3036" y="200"/>
                </a:lnTo>
                <a:lnTo>
                  <a:pt x="3028" y="196"/>
                </a:lnTo>
                <a:lnTo>
                  <a:pt x="3020" y="194"/>
                </a:lnTo>
                <a:lnTo>
                  <a:pt x="3012" y="194"/>
                </a:lnTo>
                <a:lnTo>
                  <a:pt x="3012" y="194"/>
                </a:lnTo>
                <a:lnTo>
                  <a:pt x="3006" y="194"/>
                </a:lnTo>
                <a:lnTo>
                  <a:pt x="3006" y="194"/>
                </a:lnTo>
                <a:lnTo>
                  <a:pt x="3006" y="190"/>
                </a:lnTo>
                <a:lnTo>
                  <a:pt x="3006" y="190"/>
                </a:lnTo>
                <a:lnTo>
                  <a:pt x="3004" y="190"/>
                </a:lnTo>
                <a:lnTo>
                  <a:pt x="3002" y="188"/>
                </a:lnTo>
                <a:lnTo>
                  <a:pt x="2998" y="180"/>
                </a:lnTo>
                <a:lnTo>
                  <a:pt x="2998" y="180"/>
                </a:lnTo>
                <a:lnTo>
                  <a:pt x="3008" y="180"/>
                </a:lnTo>
                <a:lnTo>
                  <a:pt x="3012" y="180"/>
                </a:lnTo>
                <a:lnTo>
                  <a:pt x="3014" y="184"/>
                </a:lnTo>
                <a:lnTo>
                  <a:pt x="3014" y="184"/>
                </a:lnTo>
                <a:lnTo>
                  <a:pt x="3016" y="186"/>
                </a:lnTo>
                <a:lnTo>
                  <a:pt x="3018" y="188"/>
                </a:lnTo>
                <a:lnTo>
                  <a:pt x="3026" y="188"/>
                </a:lnTo>
                <a:lnTo>
                  <a:pt x="3026" y="188"/>
                </a:lnTo>
                <a:lnTo>
                  <a:pt x="3038" y="188"/>
                </a:lnTo>
                <a:lnTo>
                  <a:pt x="3038" y="188"/>
                </a:lnTo>
                <a:lnTo>
                  <a:pt x="3048" y="188"/>
                </a:lnTo>
                <a:lnTo>
                  <a:pt x="3054" y="192"/>
                </a:lnTo>
                <a:lnTo>
                  <a:pt x="3054" y="192"/>
                </a:lnTo>
                <a:lnTo>
                  <a:pt x="3054" y="202"/>
                </a:lnTo>
                <a:lnTo>
                  <a:pt x="3054" y="202"/>
                </a:lnTo>
                <a:close/>
                <a:moveTo>
                  <a:pt x="3062" y="1106"/>
                </a:moveTo>
                <a:lnTo>
                  <a:pt x="3062" y="1106"/>
                </a:lnTo>
                <a:lnTo>
                  <a:pt x="3062" y="1106"/>
                </a:lnTo>
                <a:lnTo>
                  <a:pt x="3068" y="1108"/>
                </a:lnTo>
                <a:lnTo>
                  <a:pt x="3078" y="1106"/>
                </a:lnTo>
                <a:lnTo>
                  <a:pt x="3080" y="1106"/>
                </a:lnTo>
                <a:lnTo>
                  <a:pt x="3080" y="1106"/>
                </a:lnTo>
                <a:lnTo>
                  <a:pt x="3068" y="1108"/>
                </a:lnTo>
                <a:lnTo>
                  <a:pt x="3062" y="1106"/>
                </a:lnTo>
                <a:lnTo>
                  <a:pt x="3062" y="1106"/>
                </a:lnTo>
                <a:close/>
                <a:moveTo>
                  <a:pt x="3092" y="1034"/>
                </a:moveTo>
                <a:lnTo>
                  <a:pt x="3092" y="1034"/>
                </a:lnTo>
                <a:lnTo>
                  <a:pt x="3092" y="1034"/>
                </a:lnTo>
                <a:lnTo>
                  <a:pt x="3092" y="1034"/>
                </a:lnTo>
                <a:lnTo>
                  <a:pt x="3090" y="1034"/>
                </a:lnTo>
                <a:lnTo>
                  <a:pt x="3090" y="1034"/>
                </a:lnTo>
                <a:lnTo>
                  <a:pt x="3090" y="1034"/>
                </a:lnTo>
                <a:lnTo>
                  <a:pt x="3090" y="1034"/>
                </a:lnTo>
                <a:lnTo>
                  <a:pt x="3092" y="1034"/>
                </a:lnTo>
                <a:lnTo>
                  <a:pt x="3092" y="1034"/>
                </a:lnTo>
                <a:close/>
                <a:moveTo>
                  <a:pt x="3086" y="1060"/>
                </a:moveTo>
                <a:lnTo>
                  <a:pt x="3086" y="1060"/>
                </a:lnTo>
                <a:lnTo>
                  <a:pt x="3086" y="1060"/>
                </a:lnTo>
                <a:lnTo>
                  <a:pt x="3086" y="1060"/>
                </a:lnTo>
                <a:lnTo>
                  <a:pt x="3088" y="1060"/>
                </a:lnTo>
                <a:lnTo>
                  <a:pt x="3088" y="1060"/>
                </a:lnTo>
                <a:lnTo>
                  <a:pt x="3090" y="1060"/>
                </a:lnTo>
                <a:lnTo>
                  <a:pt x="3090" y="1060"/>
                </a:lnTo>
                <a:lnTo>
                  <a:pt x="3086" y="1060"/>
                </a:lnTo>
                <a:lnTo>
                  <a:pt x="3086" y="1060"/>
                </a:lnTo>
                <a:close/>
                <a:moveTo>
                  <a:pt x="3090" y="1060"/>
                </a:moveTo>
                <a:lnTo>
                  <a:pt x="3090" y="1060"/>
                </a:lnTo>
                <a:lnTo>
                  <a:pt x="3090" y="1058"/>
                </a:lnTo>
                <a:lnTo>
                  <a:pt x="3090" y="1058"/>
                </a:lnTo>
                <a:lnTo>
                  <a:pt x="3092" y="1058"/>
                </a:lnTo>
                <a:lnTo>
                  <a:pt x="3092" y="1058"/>
                </a:lnTo>
                <a:lnTo>
                  <a:pt x="3092" y="1058"/>
                </a:lnTo>
                <a:lnTo>
                  <a:pt x="3092" y="1058"/>
                </a:lnTo>
                <a:lnTo>
                  <a:pt x="3092" y="1058"/>
                </a:lnTo>
                <a:lnTo>
                  <a:pt x="3092" y="1058"/>
                </a:lnTo>
                <a:lnTo>
                  <a:pt x="3092" y="1058"/>
                </a:lnTo>
                <a:lnTo>
                  <a:pt x="3092" y="1058"/>
                </a:lnTo>
                <a:lnTo>
                  <a:pt x="3090" y="1060"/>
                </a:lnTo>
                <a:lnTo>
                  <a:pt x="3090" y="1060"/>
                </a:lnTo>
                <a:close/>
                <a:moveTo>
                  <a:pt x="3400" y="1120"/>
                </a:moveTo>
                <a:lnTo>
                  <a:pt x="3400" y="1120"/>
                </a:lnTo>
                <a:lnTo>
                  <a:pt x="3400" y="1120"/>
                </a:lnTo>
                <a:lnTo>
                  <a:pt x="3400" y="1120"/>
                </a:lnTo>
                <a:lnTo>
                  <a:pt x="3400" y="1116"/>
                </a:lnTo>
                <a:lnTo>
                  <a:pt x="3404" y="1116"/>
                </a:lnTo>
                <a:lnTo>
                  <a:pt x="3404" y="1116"/>
                </a:lnTo>
                <a:lnTo>
                  <a:pt x="3404" y="1116"/>
                </a:lnTo>
                <a:lnTo>
                  <a:pt x="3404" y="1116"/>
                </a:lnTo>
                <a:lnTo>
                  <a:pt x="3400" y="1116"/>
                </a:lnTo>
                <a:lnTo>
                  <a:pt x="3400" y="1120"/>
                </a:lnTo>
                <a:lnTo>
                  <a:pt x="3400" y="1120"/>
                </a:lnTo>
                <a:close/>
                <a:moveTo>
                  <a:pt x="3422" y="1124"/>
                </a:moveTo>
                <a:lnTo>
                  <a:pt x="3422" y="1124"/>
                </a:lnTo>
                <a:lnTo>
                  <a:pt x="3424" y="1124"/>
                </a:lnTo>
                <a:lnTo>
                  <a:pt x="3424" y="1124"/>
                </a:lnTo>
                <a:lnTo>
                  <a:pt x="3422" y="1126"/>
                </a:lnTo>
                <a:lnTo>
                  <a:pt x="3422" y="1126"/>
                </a:lnTo>
                <a:lnTo>
                  <a:pt x="3422" y="1124"/>
                </a:lnTo>
                <a:lnTo>
                  <a:pt x="3422" y="1124"/>
                </a:lnTo>
                <a:close/>
                <a:moveTo>
                  <a:pt x="3360" y="1122"/>
                </a:moveTo>
                <a:lnTo>
                  <a:pt x="3360" y="1122"/>
                </a:lnTo>
                <a:lnTo>
                  <a:pt x="3366" y="1122"/>
                </a:lnTo>
                <a:lnTo>
                  <a:pt x="3370" y="1122"/>
                </a:lnTo>
                <a:lnTo>
                  <a:pt x="3372" y="1124"/>
                </a:lnTo>
                <a:lnTo>
                  <a:pt x="3372" y="1124"/>
                </a:lnTo>
                <a:lnTo>
                  <a:pt x="3368" y="1126"/>
                </a:lnTo>
                <a:lnTo>
                  <a:pt x="3368" y="1126"/>
                </a:lnTo>
                <a:lnTo>
                  <a:pt x="3352" y="1128"/>
                </a:lnTo>
                <a:lnTo>
                  <a:pt x="3352" y="1128"/>
                </a:lnTo>
                <a:lnTo>
                  <a:pt x="3350" y="1124"/>
                </a:lnTo>
                <a:lnTo>
                  <a:pt x="3350" y="1124"/>
                </a:lnTo>
                <a:lnTo>
                  <a:pt x="3360" y="1122"/>
                </a:lnTo>
                <a:lnTo>
                  <a:pt x="3360" y="1122"/>
                </a:lnTo>
                <a:close/>
                <a:moveTo>
                  <a:pt x="3280" y="1126"/>
                </a:moveTo>
                <a:lnTo>
                  <a:pt x="3280" y="1126"/>
                </a:lnTo>
                <a:lnTo>
                  <a:pt x="3280" y="1130"/>
                </a:lnTo>
                <a:lnTo>
                  <a:pt x="3280" y="1130"/>
                </a:lnTo>
                <a:lnTo>
                  <a:pt x="3272" y="1132"/>
                </a:lnTo>
                <a:lnTo>
                  <a:pt x="3272" y="1132"/>
                </a:lnTo>
                <a:lnTo>
                  <a:pt x="3272" y="1128"/>
                </a:lnTo>
                <a:lnTo>
                  <a:pt x="3272" y="1128"/>
                </a:lnTo>
                <a:lnTo>
                  <a:pt x="3272" y="1126"/>
                </a:lnTo>
                <a:lnTo>
                  <a:pt x="3272" y="1126"/>
                </a:lnTo>
                <a:lnTo>
                  <a:pt x="3280" y="1126"/>
                </a:lnTo>
                <a:lnTo>
                  <a:pt x="3280" y="1126"/>
                </a:lnTo>
                <a:close/>
                <a:moveTo>
                  <a:pt x="3282" y="970"/>
                </a:moveTo>
                <a:lnTo>
                  <a:pt x="3282" y="970"/>
                </a:lnTo>
                <a:lnTo>
                  <a:pt x="3284" y="970"/>
                </a:lnTo>
                <a:lnTo>
                  <a:pt x="3284" y="970"/>
                </a:lnTo>
                <a:lnTo>
                  <a:pt x="3282" y="970"/>
                </a:lnTo>
                <a:lnTo>
                  <a:pt x="3282" y="970"/>
                </a:lnTo>
                <a:close/>
                <a:moveTo>
                  <a:pt x="3288" y="988"/>
                </a:moveTo>
                <a:lnTo>
                  <a:pt x="3288" y="988"/>
                </a:lnTo>
                <a:lnTo>
                  <a:pt x="3288" y="988"/>
                </a:lnTo>
                <a:lnTo>
                  <a:pt x="3288" y="988"/>
                </a:lnTo>
                <a:lnTo>
                  <a:pt x="3286" y="990"/>
                </a:lnTo>
                <a:lnTo>
                  <a:pt x="3286" y="990"/>
                </a:lnTo>
                <a:lnTo>
                  <a:pt x="3286" y="990"/>
                </a:lnTo>
                <a:lnTo>
                  <a:pt x="3286" y="990"/>
                </a:lnTo>
                <a:lnTo>
                  <a:pt x="3286" y="990"/>
                </a:lnTo>
                <a:lnTo>
                  <a:pt x="3288" y="988"/>
                </a:lnTo>
                <a:lnTo>
                  <a:pt x="3288" y="988"/>
                </a:lnTo>
                <a:close/>
                <a:moveTo>
                  <a:pt x="3282" y="838"/>
                </a:moveTo>
                <a:lnTo>
                  <a:pt x="3282" y="838"/>
                </a:lnTo>
                <a:lnTo>
                  <a:pt x="3282" y="838"/>
                </a:lnTo>
                <a:lnTo>
                  <a:pt x="3282" y="838"/>
                </a:lnTo>
                <a:lnTo>
                  <a:pt x="3278" y="842"/>
                </a:lnTo>
                <a:lnTo>
                  <a:pt x="3274" y="842"/>
                </a:lnTo>
                <a:lnTo>
                  <a:pt x="3270" y="840"/>
                </a:lnTo>
                <a:lnTo>
                  <a:pt x="3266" y="838"/>
                </a:lnTo>
                <a:lnTo>
                  <a:pt x="3266" y="838"/>
                </a:lnTo>
                <a:lnTo>
                  <a:pt x="3270" y="840"/>
                </a:lnTo>
                <a:lnTo>
                  <a:pt x="3274" y="842"/>
                </a:lnTo>
                <a:lnTo>
                  <a:pt x="3278" y="842"/>
                </a:lnTo>
                <a:lnTo>
                  <a:pt x="3282" y="838"/>
                </a:lnTo>
                <a:lnTo>
                  <a:pt x="3282" y="838"/>
                </a:lnTo>
                <a:close/>
                <a:moveTo>
                  <a:pt x="3172" y="1134"/>
                </a:moveTo>
                <a:lnTo>
                  <a:pt x="3172" y="1134"/>
                </a:lnTo>
                <a:lnTo>
                  <a:pt x="3172" y="1134"/>
                </a:lnTo>
                <a:lnTo>
                  <a:pt x="3172" y="1134"/>
                </a:lnTo>
                <a:lnTo>
                  <a:pt x="3174" y="1134"/>
                </a:lnTo>
                <a:lnTo>
                  <a:pt x="3174" y="1134"/>
                </a:lnTo>
                <a:lnTo>
                  <a:pt x="3172" y="1134"/>
                </a:lnTo>
                <a:lnTo>
                  <a:pt x="3172" y="1134"/>
                </a:lnTo>
                <a:close/>
                <a:moveTo>
                  <a:pt x="3128" y="1126"/>
                </a:moveTo>
                <a:lnTo>
                  <a:pt x="3128" y="1126"/>
                </a:lnTo>
                <a:lnTo>
                  <a:pt x="3128" y="1120"/>
                </a:lnTo>
                <a:lnTo>
                  <a:pt x="3128" y="1120"/>
                </a:lnTo>
                <a:lnTo>
                  <a:pt x="3128" y="1126"/>
                </a:lnTo>
                <a:lnTo>
                  <a:pt x="3128" y="1126"/>
                </a:lnTo>
                <a:close/>
                <a:moveTo>
                  <a:pt x="3180" y="1106"/>
                </a:moveTo>
                <a:lnTo>
                  <a:pt x="3180" y="1106"/>
                </a:lnTo>
                <a:lnTo>
                  <a:pt x="3178" y="1106"/>
                </a:lnTo>
                <a:lnTo>
                  <a:pt x="3178" y="1106"/>
                </a:lnTo>
                <a:lnTo>
                  <a:pt x="3180" y="1106"/>
                </a:lnTo>
                <a:lnTo>
                  <a:pt x="3180" y="1106"/>
                </a:lnTo>
                <a:lnTo>
                  <a:pt x="3180" y="1106"/>
                </a:lnTo>
                <a:lnTo>
                  <a:pt x="3180" y="1106"/>
                </a:lnTo>
                <a:close/>
                <a:moveTo>
                  <a:pt x="3180" y="1108"/>
                </a:moveTo>
                <a:lnTo>
                  <a:pt x="3180" y="1108"/>
                </a:lnTo>
                <a:lnTo>
                  <a:pt x="3180" y="1114"/>
                </a:lnTo>
                <a:lnTo>
                  <a:pt x="3180" y="1114"/>
                </a:lnTo>
                <a:lnTo>
                  <a:pt x="3178" y="1114"/>
                </a:lnTo>
                <a:lnTo>
                  <a:pt x="3178" y="1114"/>
                </a:lnTo>
                <a:lnTo>
                  <a:pt x="3180" y="1116"/>
                </a:lnTo>
                <a:lnTo>
                  <a:pt x="3180" y="1116"/>
                </a:lnTo>
                <a:lnTo>
                  <a:pt x="3180" y="1120"/>
                </a:lnTo>
                <a:lnTo>
                  <a:pt x="3180" y="1120"/>
                </a:lnTo>
                <a:lnTo>
                  <a:pt x="3174" y="1124"/>
                </a:lnTo>
                <a:lnTo>
                  <a:pt x="3174" y="1124"/>
                </a:lnTo>
                <a:lnTo>
                  <a:pt x="3172" y="1126"/>
                </a:lnTo>
                <a:lnTo>
                  <a:pt x="3172" y="1126"/>
                </a:lnTo>
                <a:lnTo>
                  <a:pt x="3172" y="1108"/>
                </a:lnTo>
                <a:lnTo>
                  <a:pt x="3172" y="1108"/>
                </a:lnTo>
                <a:lnTo>
                  <a:pt x="3178" y="1106"/>
                </a:lnTo>
                <a:lnTo>
                  <a:pt x="3178" y="1106"/>
                </a:lnTo>
                <a:lnTo>
                  <a:pt x="3178" y="1108"/>
                </a:lnTo>
                <a:lnTo>
                  <a:pt x="3178" y="1108"/>
                </a:lnTo>
                <a:lnTo>
                  <a:pt x="3180" y="1108"/>
                </a:lnTo>
                <a:lnTo>
                  <a:pt x="3180" y="1108"/>
                </a:lnTo>
                <a:close/>
                <a:moveTo>
                  <a:pt x="3146" y="1106"/>
                </a:moveTo>
                <a:lnTo>
                  <a:pt x="3146" y="1106"/>
                </a:lnTo>
                <a:lnTo>
                  <a:pt x="3146" y="1106"/>
                </a:lnTo>
                <a:lnTo>
                  <a:pt x="3146" y="1106"/>
                </a:lnTo>
                <a:lnTo>
                  <a:pt x="3146" y="1124"/>
                </a:lnTo>
                <a:lnTo>
                  <a:pt x="3146" y="1124"/>
                </a:lnTo>
                <a:lnTo>
                  <a:pt x="3142" y="1106"/>
                </a:lnTo>
                <a:lnTo>
                  <a:pt x="3142" y="1106"/>
                </a:lnTo>
                <a:lnTo>
                  <a:pt x="3146" y="1106"/>
                </a:lnTo>
                <a:lnTo>
                  <a:pt x="3146" y="1106"/>
                </a:lnTo>
                <a:close/>
                <a:moveTo>
                  <a:pt x="3142" y="1104"/>
                </a:moveTo>
                <a:lnTo>
                  <a:pt x="3142" y="1104"/>
                </a:lnTo>
                <a:lnTo>
                  <a:pt x="3142" y="1100"/>
                </a:lnTo>
                <a:lnTo>
                  <a:pt x="3142" y="1100"/>
                </a:lnTo>
                <a:lnTo>
                  <a:pt x="3144" y="1100"/>
                </a:lnTo>
                <a:lnTo>
                  <a:pt x="3144" y="1100"/>
                </a:lnTo>
                <a:lnTo>
                  <a:pt x="3142" y="1104"/>
                </a:lnTo>
                <a:lnTo>
                  <a:pt x="3142" y="1104"/>
                </a:lnTo>
                <a:close/>
                <a:moveTo>
                  <a:pt x="3110" y="1040"/>
                </a:moveTo>
                <a:lnTo>
                  <a:pt x="3110" y="1040"/>
                </a:lnTo>
                <a:lnTo>
                  <a:pt x="3110" y="1040"/>
                </a:lnTo>
                <a:lnTo>
                  <a:pt x="3110" y="1040"/>
                </a:lnTo>
                <a:lnTo>
                  <a:pt x="3110" y="1040"/>
                </a:lnTo>
                <a:lnTo>
                  <a:pt x="3110" y="1040"/>
                </a:lnTo>
                <a:lnTo>
                  <a:pt x="3110" y="1040"/>
                </a:lnTo>
                <a:close/>
                <a:moveTo>
                  <a:pt x="3112" y="1038"/>
                </a:moveTo>
                <a:lnTo>
                  <a:pt x="3112" y="1038"/>
                </a:lnTo>
                <a:lnTo>
                  <a:pt x="3110" y="1038"/>
                </a:lnTo>
                <a:lnTo>
                  <a:pt x="3110" y="1038"/>
                </a:lnTo>
                <a:lnTo>
                  <a:pt x="3108" y="1038"/>
                </a:lnTo>
                <a:lnTo>
                  <a:pt x="3108" y="1038"/>
                </a:lnTo>
                <a:lnTo>
                  <a:pt x="3108" y="1038"/>
                </a:lnTo>
                <a:lnTo>
                  <a:pt x="3108" y="1038"/>
                </a:lnTo>
                <a:lnTo>
                  <a:pt x="3110" y="1038"/>
                </a:lnTo>
                <a:lnTo>
                  <a:pt x="3110" y="1038"/>
                </a:lnTo>
                <a:lnTo>
                  <a:pt x="3112" y="1038"/>
                </a:lnTo>
                <a:lnTo>
                  <a:pt x="3112" y="1038"/>
                </a:lnTo>
                <a:lnTo>
                  <a:pt x="3112" y="1038"/>
                </a:lnTo>
                <a:lnTo>
                  <a:pt x="3112" y="1038"/>
                </a:lnTo>
                <a:close/>
                <a:moveTo>
                  <a:pt x="3110" y="936"/>
                </a:moveTo>
                <a:lnTo>
                  <a:pt x="3110" y="936"/>
                </a:lnTo>
                <a:lnTo>
                  <a:pt x="3114" y="934"/>
                </a:lnTo>
                <a:lnTo>
                  <a:pt x="3118" y="936"/>
                </a:lnTo>
                <a:lnTo>
                  <a:pt x="3122" y="938"/>
                </a:lnTo>
                <a:lnTo>
                  <a:pt x="3122" y="938"/>
                </a:lnTo>
                <a:lnTo>
                  <a:pt x="3122" y="932"/>
                </a:lnTo>
                <a:lnTo>
                  <a:pt x="3122" y="932"/>
                </a:lnTo>
                <a:lnTo>
                  <a:pt x="3124" y="946"/>
                </a:lnTo>
                <a:lnTo>
                  <a:pt x="3126" y="980"/>
                </a:lnTo>
                <a:lnTo>
                  <a:pt x="3126" y="980"/>
                </a:lnTo>
                <a:lnTo>
                  <a:pt x="3122" y="958"/>
                </a:lnTo>
                <a:lnTo>
                  <a:pt x="3120" y="952"/>
                </a:lnTo>
                <a:lnTo>
                  <a:pt x="3118" y="950"/>
                </a:lnTo>
                <a:lnTo>
                  <a:pt x="3118" y="950"/>
                </a:lnTo>
                <a:lnTo>
                  <a:pt x="3114" y="950"/>
                </a:lnTo>
                <a:lnTo>
                  <a:pt x="3114" y="950"/>
                </a:lnTo>
                <a:lnTo>
                  <a:pt x="3120" y="942"/>
                </a:lnTo>
                <a:lnTo>
                  <a:pt x="3120" y="942"/>
                </a:lnTo>
                <a:lnTo>
                  <a:pt x="3110" y="936"/>
                </a:lnTo>
                <a:lnTo>
                  <a:pt x="3110" y="936"/>
                </a:lnTo>
                <a:close/>
                <a:moveTo>
                  <a:pt x="3118" y="1030"/>
                </a:moveTo>
                <a:lnTo>
                  <a:pt x="3118" y="1030"/>
                </a:lnTo>
                <a:lnTo>
                  <a:pt x="3118" y="1026"/>
                </a:lnTo>
                <a:lnTo>
                  <a:pt x="3116" y="1020"/>
                </a:lnTo>
                <a:lnTo>
                  <a:pt x="3116" y="1020"/>
                </a:lnTo>
                <a:lnTo>
                  <a:pt x="3118" y="1030"/>
                </a:lnTo>
                <a:lnTo>
                  <a:pt x="3118" y="1030"/>
                </a:lnTo>
                <a:close/>
                <a:moveTo>
                  <a:pt x="3200" y="1150"/>
                </a:moveTo>
                <a:lnTo>
                  <a:pt x="3200" y="1150"/>
                </a:lnTo>
                <a:lnTo>
                  <a:pt x="3200" y="1150"/>
                </a:lnTo>
                <a:lnTo>
                  <a:pt x="3200" y="1150"/>
                </a:lnTo>
                <a:lnTo>
                  <a:pt x="3200" y="1150"/>
                </a:lnTo>
                <a:lnTo>
                  <a:pt x="3200" y="1150"/>
                </a:lnTo>
                <a:close/>
                <a:moveTo>
                  <a:pt x="3236" y="1154"/>
                </a:moveTo>
                <a:lnTo>
                  <a:pt x="3236" y="1154"/>
                </a:lnTo>
                <a:lnTo>
                  <a:pt x="3240" y="1148"/>
                </a:lnTo>
                <a:lnTo>
                  <a:pt x="3240" y="1148"/>
                </a:lnTo>
                <a:lnTo>
                  <a:pt x="3220" y="1154"/>
                </a:lnTo>
                <a:lnTo>
                  <a:pt x="3220" y="1154"/>
                </a:lnTo>
                <a:lnTo>
                  <a:pt x="3220" y="1154"/>
                </a:lnTo>
                <a:lnTo>
                  <a:pt x="3220" y="1154"/>
                </a:lnTo>
                <a:lnTo>
                  <a:pt x="3240" y="1148"/>
                </a:lnTo>
                <a:lnTo>
                  <a:pt x="3240" y="1148"/>
                </a:lnTo>
                <a:lnTo>
                  <a:pt x="3236" y="1154"/>
                </a:lnTo>
                <a:lnTo>
                  <a:pt x="3236" y="1154"/>
                </a:lnTo>
                <a:close/>
                <a:moveTo>
                  <a:pt x="3246" y="1144"/>
                </a:moveTo>
                <a:lnTo>
                  <a:pt x="3246" y="1144"/>
                </a:lnTo>
                <a:lnTo>
                  <a:pt x="3240" y="1142"/>
                </a:lnTo>
                <a:lnTo>
                  <a:pt x="3240" y="1142"/>
                </a:lnTo>
                <a:lnTo>
                  <a:pt x="3240" y="1142"/>
                </a:lnTo>
                <a:lnTo>
                  <a:pt x="3240" y="1142"/>
                </a:lnTo>
                <a:lnTo>
                  <a:pt x="3246" y="1144"/>
                </a:lnTo>
                <a:lnTo>
                  <a:pt x="3246" y="1144"/>
                </a:lnTo>
                <a:lnTo>
                  <a:pt x="3246" y="1144"/>
                </a:lnTo>
                <a:lnTo>
                  <a:pt x="3246" y="1144"/>
                </a:lnTo>
                <a:close/>
                <a:moveTo>
                  <a:pt x="3208" y="1134"/>
                </a:moveTo>
                <a:lnTo>
                  <a:pt x="3208" y="1134"/>
                </a:lnTo>
                <a:lnTo>
                  <a:pt x="3216" y="1134"/>
                </a:lnTo>
                <a:lnTo>
                  <a:pt x="3216" y="1134"/>
                </a:lnTo>
                <a:lnTo>
                  <a:pt x="3226" y="1134"/>
                </a:lnTo>
                <a:lnTo>
                  <a:pt x="3226" y="1134"/>
                </a:lnTo>
                <a:lnTo>
                  <a:pt x="3228" y="1134"/>
                </a:lnTo>
                <a:lnTo>
                  <a:pt x="3228" y="1134"/>
                </a:lnTo>
                <a:lnTo>
                  <a:pt x="3214" y="1136"/>
                </a:lnTo>
                <a:lnTo>
                  <a:pt x="3214" y="1136"/>
                </a:lnTo>
                <a:lnTo>
                  <a:pt x="3208" y="1136"/>
                </a:lnTo>
                <a:lnTo>
                  <a:pt x="3204" y="1138"/>
                </a:lnTo>
                <a:lnTo>
                  <a:pt x="3204" y="1138"/>
                </a:lnTo>
                <a:lnTo>
                  <a:pt x="3198" y="1138"/>
                </a:lnTo>
                <a:lnTo>
                  <a:pt x="3198" y="1138"/>
                </a:lnTo>
                <a:lnTo>
                  <a:pt x="3198" y="1138"/>
                </a:lnTo>
                <a:lnTo>
                  <a:pt x="3198" y="1138"/>
                </a:lnTo>
                <a:lnTo>
                  <a:pt x="3198" y="1138"/>
                </a:lnTo>
                <a:lnTo>
                  <a:pt x="3198" y="1138"/>
                </a:lnTo>
                <a:lnTo>
                  <a:pt x="3208" y="1134"/>
                </a:lnTo>
                <a:lnTo>
                  <a:pt x="3208" y="1134"/>
                </a:lnTo>
                <a:close/>
                <a:moveTo>
                  <a:pt x="3206" y="1060"/>
                </a:moveTo>
                <a:lnTo>
                  <a:pt x="3206" y="1060"/>
                </a:lnTo>
                <a:lnTo>
                  <a:pt x="3202" y="1062"/>
                </a:lnTo>
                <a:lnTo>
                  <a:pt x="3198" y="1062"/>
                </a:lnTo>
                <a:lnTo>
                  <a:pt x="3196" y="1060"/>
                </a:lnTo>
                <a:lnTo>
                  <a:pt x="3196" y="1056"/>
                </a:lnTo>
                <a:lnTo>
                  <a:pt x="3196" y="1056"/>
                </a:lnTo>
                <a:lnTo>
                  <a:pt x="3202" y="1056"/>
                </a:lnTo>
                <a:lnTo>
                  <a:pt x="3206" y="1056"/>
                </a:lnTo>
                <a:lnTo>
                  <a:pt x="3210" y="1054"/>
                </a:lnTo>
                <a:lnTo>
                  <a:pt x="3210" y="1054"/>
                </a:lnTo>
                <a:lnTo>
                  <a:pt x="3216" y="1054"/>
                </a:lnTo>
                <a:lnTo>
                  <a:pt x="3224" y="1054"/>
                </a:lnTo>
                <a:lnTo>
                  <a:pt x="3224" y="1054"/>
                </a:lnTo>
                <a:lnTo>
                  <a:pt x="3216" y="1062"/>
                </a:lnTo>
                <a:lnTo>
                  <a:pt x="3216" y="1062"/>
                </a:lnTo>
                <a:lnTo>
                  <a:pt x="3212" y="1060"/>
                </a:lnTo>
                <a:lnTo>
                  <a:pt x="3206" y="1060"/>
                </a:lnTo>
                <a:lnTo>
                  <a:pt x="3206" y="1060"/>
                </a:lnTo>
                <a:close/>
                <a:moveTo>
                  <a:pt x="3224" y="1070"/>
                </a:moveTo>
                <a:lnTo>
                  <a:pt x="3224" y="1070"/>
                </a:lnTo>
                <a:lnTo>
                  <a:pt x="3224" y="1070"/>
                </a:lnTo>
                <a:lnTo>
                  <a:pt x="3224" y="1070"/>
                </a:lnTo>
                <a:lnTo>
                  <a:pt x="3226" y="1068"/>
                </a:lnTo>
                <a:lnTo>
                  <a:pt x="3226" y="1068"/>
                </a:lnTo>
                <a:lnTo>
                  <a:pt x="3220" y="1066"/>
                </a:lnTo>
                <a:lnTo>
                  <a:pt x="3220" y="1066"/>
                </a:lnTo>
                <a:lnTo>
                  <a:pt x="3220" y="1066"/>
                </a:lnTo>
                <a:lnTo>
                  <a:pt x="3220" y="1066"/>
                </a:lnTo>
                <a:lnTo>
                  <a:pt x="3220" y="1066"/>
                </a:lnTo>
                <a:lnTo>
                  <a:pt x="3226" y="1068"/>
                </a:lnTo>
                <a:lnTo>
                  <a:pt x="3226" y="1068"/>
                </a:lnTo>
                <a:lnTo>
                  <a:pt x="3224" y="1070"/>
                </a:lnTo>
                <a:lnTo>
                  <a:pt x="3224" y="1070"/>
                </a:lnTo>
                <a:close/>
                <a:moveTo>
                  <a:pt x="3240" y="1066"/>
                </a:moveTo>
                <a:lnTo>
                  <a:pt x="3240" y="1066"/>
                </a:lnTo>
                <a:lnTo>
                  <a:pt x="3232" y="1068"/>
                </a:lnTo>
                <a:lnTo>
                  <a:pt x="3232" y="1068"/>
                </a:lnTo>
                <a:lnTo>
                  <a:pt x="3232" y="1068"/>
                </a:lnTo>
                <a:lnTo>
                  <a:pt x="3232" y="1068"/>
                </a:lnTo>
                <a:lnTo>
                  <a:pt x="3238" y="1066"/>
                </a:lnTo>
                <a:lnTo>
                  <a:pt x="3238" y="1066"/>
                </a:lnTo>
                <a:lnTo>
                  <a:pt x="3238" y="1066"/>
                </a:lnTo>
                <a:lnTo>
                  <a:pt x="3238" y="1066"/>
                </a:lnTo>
                <a:lnTo>
                  <a:pt x="3238" y="1066"/>
                </a:lnTo>
                <a:lnTo>
                  <a:pt x="3238" y="1066"/>
                </a:lnTo>
                <a:lnTo>
                  <a:pt x="3240" y="1066"/>
                </a:lnTo>
                <a:lnTo>
                  <a:pt x="3240" y="1066"/>
                </a:lnTo>
                <a:close/>
                <a:moveTo>
                  <a:pt x="3172" y="912"/>
                </a:moveTo>
                <a:lnTo>
                  <a:pt x="3172" y="912"/>
                </a:lnTo>
                <a:lnTo>
                  <a:pt x="3208" y="932"/>
                </a:lnTo>
                <a:lnTo>
                  <a:pt x="3268" y="962"/>
                </a:lnTo>
                <a:lnTo>
                  <a:pt x="3268" y="962"/>
                </a:lnTo>
                <a:lnTo>
                  <a:pt x="3208" y="932"/>
                </a:lnTo>
                <a:lnTo>
                  <a:pt x="3172" y="912"/>
                </a:lnTo>
                <a:lnTo>
                  <a:pt x="3172" y="912"/>
                </a:lnTo>
                <a:close/>
                <a:moveTo>
                  <a:pt x="3322" y="1070"/>
                </a:moveTo>
                <a:lnTo>
                  <a:pt x="3322" y="1070"/>
                </a:lnTo>
                <a:lnTo>
                  <a:pt x="3322" y="1070"/>
                </a:lnTo>
                <a:lnTo>
                  <a:pt x="3322" y="1070"/>
                </a:lnTo>
                <a:lnTo>
                  <a:pt x="3322" y="1070"/>
                </a:lnTo>
                <a:lnTo>
                  <a:pt x="3322" y="1070"/>
                </a:lnTo>
                <a:lnTo>
                  <a:pt x="3322" y="1070"/>
                </a:lnTo>
                <a:lnTo>
                  <a:pt x="3322" y="1070"/>
                </a:lnTo>
                <a:close/>
                <a:moveTo>
                  <a:pt x="3316" y="1068"/>
                </a:moveTo>
                <a:lnTo>
                  <a:pt x="3316" y="1068"/>
                </a:lnTo>
                <a:lnTo>
                  <a:pt x="3318" y="1068"/>
                </a:lnTo>
                <a:lnTo>
                  <a:pt x="3318" y="1068"/>
                </a:lnTo>
                <a:lnTo>
                  <a:pt x="3316" y="1068"/>
                </a:lnTo>
                <a:lnTo>
                  <a:pt x="3316" y="1068"/>
                </a:lnTo>
                <a:lnTo>
                  <a:pt x="3310" y="1070"/>
                </a:lnTo>
                <a:lnTo>
                  <a:pt x="3310" y="1070"/>
                </a:lnTo>
                <a:lnTo>
                  <a:pt x="3310" y="1070"/>
                </a:lnTo>
                <a:lnTo>
                  <a:pt x="3310" y="1070"/>
                </a:lnTo>
                <a:lnTo>
                  <a:pt x="3310" y="1070"/>
                </a:lnTo>
                <a:lnTo>
                  <a:pt x="3310" y="1070"/>
                </a:lnTo>
                <a:lnTo>
                  <a:pt x="3312" y="1070"/>
                </a:lnTo>
                <a:lnTo>
                  <a:pt x="3312" y="1070"/>
                </a:lnTo>
                <a:lnTo>
                  <a:pt x="3312" y="1070"/>
                </a:lnTo>
                <a:lnTo>
                  <a:pt x="3312" y="1070"/>
                </a:lnTo>
                <a:lnTo>
                  <a:pt x="3316" y="1068"/>
                </a:lnTo>
                <a:lnTo>
                  <a:pt x="3316" y="1068"/>
                </a:lnTo>
                <a:close/>
                <a:moveTo>
                  <a:pt x="3268" y="1014"/>
                </a:moveTo>
                <a:lnTo>
                  <a:pt x="3268" y="1014"/>
                </a:lnTo>
                <a:lnTo>
                  <a:pt x="3246" y="1004"/>
                </a:lnTo>
                <a:lnTo>
                  <a:pt x="3246" y="1004"/>
                </a:lnTo>
                <a:lnTo>
                  <a:pt x="3254" y="1006"/>
                </a:lnTo>
                <a:lnTo>
                  <a:pt x="3272" y="1014"/>
                </a:lnTo>
                <a:lnTo>
                  <a:pt x="3272" y="1014"/>
                </a:lnTo>
                <a:lnTo>
                  <a:pt x="3268" y="1014"/>
                </a:lnTo>
                <a:lnTo>
                  <a:pt x="3268" y="1014"/>
                </a:lnTo>
                <a:close/>
                <a:moveTo>
                  <a:pt x="3302" y="960"/>
                </a:moveTo>
                <a:lnTo>
                  <a:pt x="3302" y="960"/>
                </a:lnTo>
                <a:lnTo>
                  <a:pt x="3306" y="962"/>
                </a:lnTo>
                <a:lnTo>
                  <a:pt x="3308" y="966"/>
                </a:lnTo>
                <a:lnTo>
                  <a:pt x="3308" y="966"/>
                </a:lnTo>
                <a:lnTo>
                  <a:pt x="3308" y="966"/>
                </a:lnTo>
                <a:lnTo>
                  <a:pt x="3308" y="966"/>
                </a:lnTo>
                <a:lnTo>
                  <a:pt x="3302" y="960"/>
                </a:lnTo>
                <a:lnTo>
                  <a:pt x="3302" y="960"/>
                </a:lnTo>
                <a:close/>
                <a:moveTo>
                  <a:pt x="3308" y="976"/>
                </a:moveTo>
                <a:lnTo>
                  <a:pt x="3308" y="976"/>
                </a:lnTo>
                <a:lnTo>
                  <a:pt x="3308" y="976"/>
                </a:lnTo>
                <a:lnTo>
                  <a:pt x="3312" y="976"/>
                </a:lnTo>
                <a:lnTo>
                  <a:pt x="3312" y="976"/>
                </a:lnTo>
                <a:lnTo>
                  <a:pt x="3312" y="976"/>
                </a:lnTo>
                <a:lnTo>
                  <a:pt x="3308" y="976"/>
                </a:lnTo>
                <a:close/>
                <a:moveTo>
                  <a:pt x="3422" y="1040"/>
                </a:moveTo>
                <a:lnTo>
                  <a:pt x="3422" y="1040"/>
                </a:lnTo>
                <a:lnTo>
                  <a:pt x="3422" y="1040"/>
                </a:lnTo>
                <a:lnTo>
                  <a:pt x="3422" y="1040"/>
                </a:lnTo>
                <a:lnTo>
                  <a:pt x="3428" y="1040"/>
                </a:lnTo>
                <a:lnTo>
                  <a:pt x="3428" y="1040"/>
                </a:lnTo>
                <a:lnTo>
                  <a:pt x="3428" y="1038"/>
                </a:lnTo>
                <a:lnTo>
                  <a:pt x="3428" y="1038"/>
                </a:lnTo>
                <a:lnTo>
                  <a:pt x="3428" y="1038"/>
                </a:lnTo>
                <a:lnTo>
                  <a:pt x="3428" y="1040"/>
                </a:lnTo>
                <a:lnTo>
                  <a:pt x="3428" y="1040"/>
                </a:lnTo>
                <a:lnTo>
                  <a:pt x="3422" y="1040"/>
                </a:lnTo>
                <a:lnTo>
                  <a:pt x="3422" y="1040"/>
                </a:lnTo>
                <a:close/>
                <a:moveTo>
                  <a:pt x="3724" y="1076"/>
                </a:moveTo>
                <a:lnTo>
                  <a:pt x="3724" y="1076"/>
                </a:lnTo>
                <a:lnTo>
                  <a:pt x="3722" y="1074"/>
                </a:lnTo>
                <a:lnTo>
                  <a:pt x="3722" y="1074"/>
                </a:lnTo>
                <a:lnTo>
                  <a:pt x="3722" y="1074"/>
                </a:lnTo>
                <a:lnTo>
                  <a:pt x="3722" y="1074"/>
                </a:lnTo>
                <a:lnTo>
                  <a:pt x="3724" y="1076"/>
                </a:lnTo>
                <a:lnTo>
                  <a:pt x="3724" y="1076"/>
                </a:lnTo>
                <a:lnTo>
                  <a:pt x="3716" y="1076"/>
                </a:lnTo>
                <a:lnTo>
                  <a:pt x="3716" y="1076"/>
                </a:lnTo>
                <a:lnTo>
                  <a:pt x="3716" y="1076"/>
                </a:lnTo>
                <a:lnTo>
                  <a:pt x="3716" y="1076"/>
                </a:lnTo>
                <a:lnTo>
                  <a:pt x="3724" y="1076"/>
                </a:lnTo>
                <a:lnTo>
                  <a:pt x="3724" y="1076"/>
                </a:lnTo>
                <a:close/>
                <a:moveTo>
                  <a:pt x="3754" y="190"/>
                </a:moveTo>
                <a:lnTo>
                  <a:pt x="3754" y="190"/>
                </a:lnTo>
                <a:lnTo>
                  <a:pt x="3744" y="186"/>
                </a:lnTo>
                <a:lnTo>
                  <a:pt x="3740" y="184"/>
                </a:lnTo>
                <a:lnTo>
                  <a:pt x="3740" y="180"/>
                </a:lnTo>
                <a:lnTo>
                  <a:pt x="3740" y="180"/>
                </a:lnTo>
                <a:lnTo>
                  <a:pt x="3768" y="182"/>
                </a:lnTo>
                <a:lnTo>
                  <a:pt x="3768" y="182"/>
                </a:lnTo>
                <a:lnTo>
                  <a:pt x="3768" y="180"/>
                </a:lnTo>
                <a:lnTo>
                  <a:pt x="3768" y="180"/>
                </a:lnTo>
                <a:lnTo>
                  <a:pt x="3740" y="174"/>
                </a:lnTo>
                <a:lnTo>
                  <a:pt x="3740" y="174"/>
                </a:lnTo>
                <a:lnTo>
                  <a:pt x="3744" y="160"/>
                </a:lnTo>
                <a:lnTo>
                  <a:pt x="3744" y="160"/>
                </a:lnTo>
                <a:lnTo>
                  <a:pt x="3744" y="158"/>
                </a:lnTo>
                <a:lnTo>
                  <a:pt x="3744" y="158"/>
                </a:lnTo>
                <a:lnTo>
                  <a:pt x="3742" y="152"/>
                </a:lnTo>
                <a:lnTo>
                  <a:pt x="3742" y="150"/>
                </a:lnTo>
                <a:lnTo>
                  <a:pt x="3744" y="150"/>
                </a:lnTo>
                <a:lnTo>
                  <a:pt x="3744" y="150"/>
                </a:lnTo>
                <a:lnTo>
                  <a:pt x="3752" y="146"/>
                </a:lnTo>
                <a:lnTo>
                  <a:pt x="3762" y="146"/>
                </a:lnTo>
                <a:lnTo>
                  <a:pt x="3762" y="146"/>
                </a:lnTo>
                <a:lnTo>
                  <a:pt x="3784" y="146"/>
                </a:lnTo>
                <a:lnTo>
                  <a:pt x="3806" y="150"/>
                </a:lnTo>
                <a:lnTo>
                  <a:pt x="3806" y="150"/>
                </a:lnTo>
                <a:lnTo>
                  <a:pt x="3828" y="156"/>
                </a:lnTo>
                <a:lnTo>
                  <a:pt x="3848" y="158"/>
                </a:lnTo>
                <a:lnTo>
                  <a:pt x="3848" y="158"/>
                </a:lnTo>
                <a:lnTo>
                  <a:pt x="3852" y="158"/>
                </a:lnTo>
                <a:lnTo>
                  <a:pt x="3856" y="158"/>
                </a:lnTo>
                <a:lnTo>
                  <a:pt x="3858" y="166"/>
                </a:lnTo>
                <a:lnTo>
                  <a:pt x="3858" y="166"/>
                </a:lnTo>
                <a:lnTo>
                  <a:pt x="3856" y="168"/>
                </a:lnTo>
                <a:lnTo>
                  <a:pt x="3852" y="168"/>
                </a:lnTo>
                <a:lnTo>
                  <a:pt x="3846" y="166"/>
                </a:lnTo>
                <a:lnTo>
                  <a:pt x="3846" y="166"/>
                </a:lnTo>
                <a:lnTo>
                  <a:pt x="3836" y="164"/>
                </a:lnTo>
                <a:lnTo>
                  <a:pt x="3832" y="166"/>
                </a:lnTo>
                <a:lnTo>
                  <a:pt x="3828" y="170"/>
                </a:lnTo>
                <a:lnTo>
                  <a:pt x="3828" y="170"/>
                </a:lnTo>
                <a:lnTo>
                  <a:pt x="3820" y="166"/>
                </a:lnTo>
                <a:lnTo>
                  <a:pt x="3810" y="166"/>
                </a:lnTo>
                <a:lnTo>
                  <a:pt x="3790" y="166"/>
                </a:lnTo>
                <a:lnTo>
                  <a:pt x="3790" y="166"/>
                </a:lnTo>
                <a:lnTo>
                  <a:pt x="3790" y="168"/>
                </a:lnTo>
                <a:lnTo>
                  <a:pt x="3790" y="168"/>
                </a:lnTo>
                <a:lnTo>
                  <a:pt x="3790" y="168"/>
                </a:lnTo>
                <a:lnTo>
                  <a:pt x="3816" y="176"/>
                </a:lnTo>
                <a:lnTo>
                  <a:pt x="3816" y="176"/>
                </a:lnTo>
                <a:lnTo>
                  <a:pt x="3808" y="182"/>
                </a:lnTo>
                <a:lnTo>
                  <a:pt x="3808" y="182"/>
                </a:lnTo>
                <a:lnTo>
                  <a:pt x="3798" y="180"/>
                </a:lnTo>
                <a:lnTo>
                  <a:pt x="3798" y="180"/>
                </a:lnTo>
                <a:lnTo>
                  <a:pt x="3790" y="184"/>
                </a:lnTo>
                <a:lnTo>
                  <a:pt x="3790" y="184"/>
                </a:lnTo>
                <a:lnTo>
                  <a:pt x="3792" y="186"/>
                </a:lnTo>
                <a:lnTo>
                  <a:pt x="3792" y="186"/>
                </a:lnTo>
                <a:lnTo>
                  <a:pt x="3792" y="188"/>
                </a:lnTo>
                <a:lnTo>
                  <a:pt x="3792" y="190"/>
                </a:lnTo>
                <a:lnTo>
                  <a:pt x="3792" y="190"/>
                </a:lnTo>
                <a:lnTo>
                  <a:pt x="3790" y="194"/>
                </a:lnTo>
                <a:lnTo>
                  <a:pt x="3786" y="200"/>
                </a:lnTo>
                <a:lnTo>
                  <a:pt x="3786" y="200"/>
                </a:lnTo>
                <a:lnTo>
                  <a:pt x="3782" y="200"/>
                </a:lnTo>
                <a:lnTo>
                  <a:pt x="3776" y="202"/>
                </a:lnTo>
                <a:lnTo>
                  <a:pt x="3766" y="200"/>
                </a:lnTo>
                <a:lnTo>
                  <a:pt x="3766" y="200"/>
                </a:lnTo>
                <a:lnTo>
                  <a:pt x="3756" y="198"/>
                </a:lnTo>
                <a:lnTo>
                  <a:pt x="3756" y="198"/>
                </a:lnTo>
                <a:lnTo>
                  <a:pt x="3742" y="194"/>
                </a:lnTo>
                <a:lnTo>
                  <a:pt x="3742" y="194"/>
                </a:lnTo>
                <a:lnTo>
                  <a:pt x="3738" y="194"/>
                </a:lnTo>
                <a:lnTo>
                  <a:pt x="3732" y="194"/>
                </a:lnTo>
                <a:lnTo>
                  <a:pt x="3728" y="194"/>
                </a:lnTo>
                <a:lnTo>
                  <a:pt x="3722" y="192"/>
                </a:lnTo>
                <a:lnTo>
                  <a:pt x="3722" y="192"/>
                </a:lnTo>
                <a:lnTo>
                  <a:pt x="3726" y="190"/>
                </a:lnTo>
                <a:lnTo>
                  <a:pt x="3730" y="190"/>
                </a:lnTo>
                <a:lnTo>
                  <a:pt x="3736" y="190"/>
                </a:lnTo>
                <a:lnTo>
                  <a:pt x="3746" y="190"/>
                </a:lnTo>
                <a:lnTo>
                  <a:pt x="3754" y="190"/>
                </a:lnTo>
                <a:lnTo>
                  <a:pt x="3754" y="190"/>
                </a:lnTo>
                <a:close/>
                <a:moveTo>
                  <a:pt x="3814" y="194"/>
                </a:moveTo>
                <a:lnTo>
                  <a:pt x="3814" y="194"/>
                </a:lnTo>
                <a:lnTo>
                  <a:pt x="3810" y="198"/>
                </a:lnTo>
                <a:lnTo>
                  <a:pt x="3808" y="202"/>
                </a:lnTo>
                <a:lnTo>
                  <a:pt x="3804" y="206"/>
                </a:lnTo>
                <a:lnTo>
                  <a:pt x="3798" y="206"/>
                </a:lnTo>
                <a:lnTo>
                  <a:pt x="3798" y="206"/>
                </a:lnTo>
                <a:lnTo>
                  <a:pt x="3798" y="202"/>
                </a:lnTo>
                <a:lnTo>
                  <a:pt x="3802" y="198"/>
                </a:lnTo>
                <a:lnTo>
                  <a:pt x="3806" y="196"/>
                </a:lnTo>
                <a:lnTo>
                  <a:pt x="3814" y="194"/>
                </a:lnTo>
                <a:lnTo>
                  <a:pt x="3814" y="194"/>
                </a:lnTo>
                <a:close/>
                <a:moveTo>
                  <a:pt x="3796" y="294"/>
                </a:moveTo>
                <a:lnTo>
                  <a:pt x="3796" y="294"/>
                </a:lnTo>
                <a:lnTo>
                  <a:pt x="3790" y="294"/>
                </a:lnTo>
                <a:lnTo>
                  <a:pt x="3790" y="294"/>
                </a:lnTo>
                <a:lnTo>
                  <a:pt x="3788" y="292"/>
                </a:lnTo>
                <a:lnTo>
                  <a:pt x="3788" y="292"/>
                </a:lnTo>
                <a:lnTo>
                  <a:pt x="3794" y="292"/>
                </a:lnTo>
                <a:lnTo>
                  <a:pt x="3794" y="292"/>
                </a:lnTo>
                <a:lnTo>
                  <a:pt x="3796" y="294"/>
                </a:lnTo>
                <a:lnTo>
                  <a:pt x="3796" y="294"/>
                </a:lnTo>
                <a:close/>
                <a:moveTo>
                  <a:pt x="3694" y="98"/>
                </a:moveTo>
                <a:lnTo>
                  <a:pt x="3694" y="98"/>
                </a:lnTo>
                <a:lnTo>
                  <a:pt x="3690" y="114"/>
                </a:lnTo>
                <a:lnTo>
                  <a:pt x="3690" y="114"/>
                </a:lnTo>
                <a:lnTo>
                  <a:pt x="3676" y="116"/>
                </a:lnTo>
                <a:lnTo>
                  <a:pt x="3676" y="116"/>
                </a:lnTo>
                <a:lnTo>
                  <a:pt x="3668" y="108"/>
                </a:lnTo>
                <a:lnTo>
                  <a:pt x="3668" y="108"/>
                </a:lnTo>
                <a:lnTo>
                  <a:pt x="3680" y="102"/>
                </a:lnTo>
                <a:lnTo>
                  <a:pt x="3686" y="100"/>
                </a:lnTo>
                <a:lnTo>
                  <a:pt x="3694" y="98"/>
                </a:lnTo>
                <a:lnTo>
                  <a:pt x="3694" y="98"/>
                </a:lnTo>
                <a:close/>
                <a:moveTo>
                  <a:pt x="3654" y="140"/>
                </a:moveTo>
                <a:lnTo>
                  <a:pt x="3654" y="140"/>
                </a:lnTo>
                <a:lnTo>
                  <a:pt x="3658" y="136"/>
                </a:lnTo>
                <a:lnTo>
                  <a:pt x="3662" y="134"/>
                </a:lnTo>
                <a:lnTo>
                  <a:pt x="3666" y="134"/>
                </a:lnTo>
                <a:lnTo>
                  <a:pt x="3670" y="138"/>
                </a:lnTo>
                <a:lnTo>
                  <a:pt x="3670" y="138"/>
                </a:lnTo>
                <a:lnTo>
                  <a:pt x="3666" y="140"/>
                </a:lnTo>
                <a:lnTo>
                  <a:pt x="3664" y="142"/>
                </a:lnTo>
                <a:lnTo>
                  <a:pt x="3658" y="142"/>
                </a:lnTo>
                <a:lnTo>
                  <a:pt x="3654" y="140"/>
                </a:lnTo>
                <a:lnTo>
                  <a:pt x="3654" y="140"/>
                </a:lnTo>
                <a:close/>
                <a:moveTo>
                  <a:pt x="3666" y="154"/>
                </a:moveTo>
                <a:lnTo>
                  <a:pt x="3666" y="154"/>
                </a:lnTo>
                <a:lnTo>
                  <a:pt x="3664" y="152"/>
                </a:lnTo>
                <a:lnTo>
                  <a:pt x="3662" y="150"/>
                </a:lnTo>
                <a:lnTo>
                  <a:pt x="3664" y="144"/>
                </a:lnTo>
                <a:lnTo>
                  <a:pt x="3664" y="144"/>
                </a:lnTo>
                <a:lnTo>
                  <a:pt x="3664" y="144"/>
                </a:lnTo>
                <a:lnTo>
                  <a:pt x="3676" y="148"/>
                </a:lnTo>
                <a:lnTo>
                  <a:pt x="3676" y="148"/>
                </a:lnTo>
                <a:lnTo>
                  <a:pt x="3674" y="152"/>
                </a:lnTo>
                <a:lnTo>
                  <a:pt x="3670" y="154"/>
                </a:lnTo>
                <a:lnTo>
                  <a:pt x="3666" y="154"/>
                </a:lnTo>
                <a:lnTo>
                  <a:pt x="3666" y="154"/>
                </a:lnTo>
                <a:close/>
                <a:moveTo>
                  <a:pt x="3674" y="206"/>
                </a:moveTo>
                <a:lnTo>
                  <a:pt x="3674" y="206"/>
                </a:lnTo>
                <a:lnTo>
                  <a:pt x="3678" y="202"/>
                </a:lnTo>
                <a:lnTo>
                  <a:pt x="3680" y="200"/>
                </a:lnTo>
                <a:lnTo>
                  <a:pt x="3682" y="200"/>
                </a:lnTo>
                <a:lnTo>
                  <a:pt x="3682" y="200"/>
                </a:lnTo>
                <a:lnTo>
                  <a:pt x="3686" y="204"/>
                </a:lnTo>
                <a:lnTo>
                  <a:pt x="3686" y="204"/>
                </a:lnTo>
                <a:lnTo>
                  <a:pt x="3674" y="206"/>
                </a:lnTo>
                <a:lnTo>
                  <a:pt x="3674" y="206"/>
                </a:lnTo>
                <a:close/>
                <a:moveTo>
                  <a:pt x="3684" y="254"/>
                </a:moveTo>
                <a:lnTo>
                  <a:pt x="3684" y="254"/>
                </a:lnTo>
                <a:lnTo>
                  <a:pt x="3690" y="248"/>
                </a:lnTo>
                <a:lnTo>
                  <a:pt x="3690" y="248"/>
                </a:lnTo>
                <a:lnTo>
                  <a:pt x="3698" y="246"/>
                </a:lnTo>
                <a:lnTo>
                  <a:pt x="3700" y="244"/>
                </a:lnTo>
                <a:lnTo>
                  <a:pt x="3702" y="240"/>
                </a:lnTo>
                <a:lnTo>
                  <a:pt x="3702" y="240"/>
                </a:lnTo>
                <a:lnTo>
                  <a:pt x="3696" y="236"/>
                </a:lnTo>
                <a:lnTo>
                  <a:pt x="3696" y="232"/>
                </a:lnTo>
                <a:lnTo>
                  <a:pt x="3698" y="228"/>
                </a:lnTo>
                <a:lnTo>
                  <a:pt x="3698" y="228"/>
                </a:lnTo>
                <a:lnTo>
                  <a:pt x="3706" y="230"/>
                </a:lnTo>
                <a:lnTo>
                  <a:pt x="3706" y="230"/>
                </a:lnTo>
                <a:lnTo>
                  <a:pt x="3710" y="230"/>
                </a:lnTo>
                <a:lnTo>
                  <a:pt x="3716" y="230"/>
                </a:lnTo>
                <a:lnTo>
                  <a:pt x="3724" y="228"/>
                </a:lnTo>
                <a:lnTo>
                  <a:pt x="3724" y="228"/>
                </a:lnTo>
                <a:lnTo>
                  <a:pt x="3730" y="226"/>
                </a:lnTo>
                <a:lnTo>
                  <a:pt x="3736" y="224"/>
                </a:lnTo>
                <a:lnTo>
                  <a:pt x="3736" y="224"/>
                </a:lnTo>
                <a:lnTo>
                  <a:pt x="3750" y="220"/>
                </a:lnTo>
                <a:lnTo>
                  <a:pt x="3750" y="220"/>
                </a:lnTo>
                <a:lnTo>
                  <a:pt x="3750" y="220"/>
                </a:lnTo>
                <a:lnTo>
                  <a:pt x="3740" y="214"/>
                </a:lnTo>
                <a:lnTo>
                  <a:pt x="3740" y="214"/>
                </a:lnTo>
                <a:lnTo>
                  <a:pt x="3744" y="214"/>
                </a:lnTo>
                <a:lnTo>
                  <a:pt x="3748" y="214"/>
                </a:lnTo>
                <a:lnTo>
                  <a:pt x="3752" y="218"/>
                </a:lnTo>
                <a:lnTo>
                  <a:pt x="3752" y="218"/>
                </a:lnTo>
                <a:lnTo>
                  <a:pt x="3752" y="222"/>
                </a:lnTo>
                <a:lnTo>
                  <a:pt x="3750" y="224"/>
                </a:lnTo>
                <a:lnTo>
                  <a:pt x="3748" y="226"/>
                </a:lnTo>
                <a:lnTo>
                  <a:pt x="3748" y="226"/>
                </a:lnTo>
                <a:lnTo>
                  <a:pt x="3744" y="230"/>
                </a:lnTo>
                <a:lnTo>
                  <a:pt x="3738" y="232"/>
                </a:lnTo>
                <a:lnTo>
                  <a:pt x="3738" y="232"/>
                </a:lnTo>
                <a:lnTo>
                  <a:pt x="3744" y="238"/>
                </a:lnTo>
                <a:lnTo>
                  <a:pt x="3744" y="238"/>
                </a:lnTo>
                <a:lnTo>
                  <a:pt x="3732" y="250"/>
                </a:lnTo>
                <a:lnTo>
                  <a:pt x="3732" y="250"/>
                </a:lnTo>
                <a:lnTo>
                  <a:pt x="3736" y="254"/>
                </a:lnTo>
                <a:lnTo>
                  <a:pt x="3738" y="258"/>
                </a:lnTo>
                <a:lnTo>
                  <a:pt x="3736" y="260"/>
                </a:lnTo>
                <a:lnTo>
                  <a:pt x="3736" y="260"/>
                </a:lnTo>
                <a:lnTo>
                  <a:pt x="3738" y="262"/>
                </a:lnTo>
                <a:lnTo>
                  <a:pt x="3742" y="264"/>
                </a:lnTo>
                <a:lnTo>
                  <a:pt x="3742" y="264"/>
                </a:lnTo>
                <a:lnTo>
                  <a:pt x="3756" y="268"/>
                </a:lnTo>
                <a:lnTo>
                  <a:pt x="3764" y="268"/>
                </a:lnTo>
                <a:lnTo>
                  <a:pt x="3772" y="266"/>
                </a:lnTo>
                <a:lnTo>
                  <a:pt x="3772" y="266"/>
                </a:lnTo>
                <a:lnTo>
                  <a:pt x="3774" y="274"/>
                </a:lnTo>
                <a:lnTo>
                  <a:pt x="3774" y="274"/>
                </a:lnTo>
                <a:lnTo>
                  <a:pt x="3766" y="278"/>
                </a:lnTo>
                <a:lnTo>
                  <a:pt x="3758" y="280"/>
                </a:lnTo>
                <a:lnTo>
                  <a:pt x="3740" y="282"/>
                </a:lnTo>
                <a:lnTo>
                  <a:pt x="3740" y="282"/>
                </a:lnTo>
                <a:lnTo>
                  <a:pt x="3738" y="282"/>
                </a:lnTo>
                <a:lnTo>
                  <a:pt x="3738" y="282"/>
                </a:lnTo>
                <a:lnTo>
                  <a:pt x="3710" y="276"/>
                </a:lnTo>
                <a:lnTo>
                  <a:pt x="3710" y="276"/>
                </a:lnTo>
                <a:lnTo>
                  <a:pt x="3710" y="272"/>
                </a:lnTo>
                <a:lnTo>
                  <a:pt x="3714" y="268"/>
                </a:lnTo>
                <a:lnTo>
                  <a:pt x="3718" y="264"/>
                </a:lnTo>
                <a:lnTo>
                  <a:pt x="3722" y="260"/>
                </a:lnTo>
                <a:lnTo>
                  <a:pt x="3722" y="260"/>
                </a:lnTo>
                <a:lnTo>
                  <a:pt x="3718" y="258"/>
                </a:lnTo>
                <a:lnTo>
                  <a:pt x="3714" y="256"/>
                </a:lnTo>
                <a:lnTo>
                  <a:pt x="3710" y="256"/>
                </a:lnTo>
                <a:lnTo>
                  <a:pt x="3704" y="258"/>
                </a:lnTo>
                <a:lnTo>
                  <a:pt x="3704" y="258"/>
                </a:lnTo>
                <a:lnTo>
                  <a:pt x="3690" y="262"/>
                </a:lnTo>
                <a:lnTo>
                  <a:pt x="3690" y="262"/>
                </a:lnTo>
                <a:lnTo>
                  <a:pt x="3686" y="262"/>
                </a:lnTo>
                <a:lnTo>
                  <a:pt x="3682" y="260"/>
                </a:lnTo>
                <a:lnTo>
                  <a:pt x="3682" y="260"/>
                </a:lnTo>
                <a:lnTo>
                  <a:pt x="3680" y="258"/>
                </a:lnTo>
                <a:lnTo>
                  <a:pt x="3680" y="256"/>
                </a:lnTo>
                <a:lnTo>
                  <a:pt x="3684" y="254"/>
                </a:lnTo>
                <a:lnTo>
                  <a:pt x="3684" y="254"/>
                </a:lnTo>
                <a:close/>
                <a:moveTo>
                  <a:pt x="3818" y="856"/>
                </a:moveTo>
                <a:lnTo>
                  <a:pt x="3818" y="856"/>
                </a:lnTo>
                <a:lnTo>
                  <a:pt x="3818" y="856"/>
                </a:lnTo>
                <a:lnTo>
                  <a:pt x="3818" y="856"/>
                </a:lnTo>
                <a:lnTo>
                  <a:pt x="3820" y="856"/>
                </a:lnTo>
                <a:lnTo>
                  <a:pt x="3820" y="856"/>
                </a:lnTo>
                <a:lnTo>
                  <a:pt x="3818" y="858"/>
                </a:lnTo>
                <a:lnTo>
                  <a:pt x="3818" y="858"/>
                </a:lnTo>
                <a:lnTo>
                  <a:pt x="3820" y="856"/>
                </a:lnTo>
                <a:lnTo>
                  <a:pt x="3820" y="856"/>
                </a:lnTo>
                <a:lnTo>
                  <a:pt x="3818" y="856"/>
                </a:lnTo>
                <a:lnTo>
                  <a:pt x="3818" y="856"/>
                </a:lnTo>
                <a:close/>
                <a:moveTo>
                  <a:pt x="3820" y="908"/>
                </a:moveTo>
                <a:lnTo>
                  <a:pt x="3820" y="908"/>
                </a:lnTo>
                <a:lnTo>
                  <a:pt x="3810" y="912"/>
                </a:lnTo>
                <a:lnTo>
                  <a:pt x="3802" y="912"/>
                </a:lnTo>
                <a:lnTo>
                  <a:pt x="3794" y="908"/>
                </a:lnTo>
                <a:lnTo>
                  <a:pt x="3786" y="904"/>
                </a:lnTo>
                <a:lnTo>
                  <a:pt x="3786" y="904"/>
                </a:lnTo>
                <a:lnTo>
                  <a:pt x="3792" y="902"/>
                </a:lnTo>
                <a:lnTo>
                  <a:pt x="3792" y="902"/>
                </a:lnTo>
                <a:lnTo>
                  <a:pt x="3800" y="900"/>
                </a:lnTo>
                <a:lnTo>
                  <a:pt x="3800" y="900"/>
                </a:lnTo>
                <a:lnTo>
                  <a:pt x="3806" y="908"/>
                </a:lnTo>
                <a:lnTo>
                  <a:pt x="3806" y="908"/>
                </a:lnTo>
                <a:lnTo>
                  <a:pt x="3812" y="906"/>
                </a:lnTo>
                <a:lnTo>
                  <a:pt x="3816" y="906"/>
                </a:lnTo>
                <a:lnTo>
                  <a:pt x="3820" y="908"/>
                </a:lnTo>
                <a:lnTo>
                  <a:pt x="3820" y="908"/>
                </a:lnTo>
                <a:close/>
                <a:moveTo>
                  <a:pt x="3786" y="912"/>
                </a:moveTo>
                <a:lnTo>
                  <a:pt x="3786" y="912"/>
                </a:lnTo>
                <a:lnTo>
                  <a:pt x="3786" y="912"/>
                </a:lnTo>
                <a:lnTo>
                  <a:pt x="3786" y="912"/>
                </a:lnTo>
                <a:lnTo>
                  <a:pt x="3780" y="914"/>
                </a:lnTo>
                <a:lnTo>
                  <a:pt x="3776" y="912"/>
                </a:lnTo>
                <a:lnTo>
                  <a:pt x="3776" y="912"/>
                </a:lnTo>
                <a:lnTo>
                  <a:pt x="3780" y="914"/>
                </a:lnTo>
                <a:lnTo>
                  <a:pt x="3786" y="912"/>
                </a:lnTo>
                <a:lnTo>
                  <a:pt x="3786" y="912"/>
                </a:lnTo>
                <a:close/>
                <a:moveTo>
                  <a:pt x="3774" y="904"/>
                </a:moveTo>
                <a:lnTo>
                  <a:pt x="3774" y="904"/>
                </a:lnTo>
                <a:lnTo>
                  <a:pt x="3778" y="904"/>
                </a:lnTo>
                <a:lnTo>
                  <a:pt x="3778" y="904"/>
                </a:lnTo>
                <a:lnTo>
                  <a:pt x="3778" y="904"/>
                </a:lnTo>
                <a:lnTo>
                  <a:pt x="3774" y="906"/>
                </a:lnTo>
                <a:lnTo>
                  <a:pt x="3774" y="906"/>
                </a:lnTo>
                <a:lnTo>
                  <a:pt x="3774" y="906"/>
                </a:lnTo>
                <a:lnTo>
                  <a:pt x="3774" y="906"/>
                </a:lnTo>
                <a:lnTo>
                  <a:pt x="3778" y="904"/>
                </a:lnTo>
                <a:lnTo>
                  <a:pt x="3778" y="904"/>
                </a:lnTo>
                <a:lnTo>
                  <a:pt x="3774" y="904"/>
                </a:lnTo>
                <a:lnTo>
                  <a:pt x="3774" y="904"/>
                </a:lnTo>
                <a:close/>
                <a:moveTo>
                  <a:pt x="3772" y="886"/>
                </a:moveTo>
                <a:lnTo>
                  <a:pt x="3772" y="886"/>
                </a:lnTo>
                <a:lnTo>
                  <a:pt x="3772" y="884"/>
                </a:lnTo>
                <a:lnTo>
                  <a:pt x="3782" y="884"/>
                </a:lnTo>
                <a:lnTo>
                  <a:pt x="3782" y="884"/>
                </a:lnTo>
                <a:lnTo>
                  <a:pt x="3782" y="886"/>
                </a:lnTo>
                <a:lnTo>
                  <a:pt x="3772" y="886"/>
                </a:lnTo>
                <a:close/>
                <a:moveTo>
                  <a:pt x="3726" y="904"/>
                </a:moveTo>
                <a:lnTo>
                  <a:pt x="3726" y="904"/>
                </a:lnTo>
                <a:lnTo>
                  <a:pt x="3720" y="902"/>
                </a:lnTo>
                <a:lnTo>
                  <a:pt x="3714" y="896"/>
                </a:lnTo>
                <a:lnTo>
                  <a:pt x="3714" y="896"/>
                </a:lnTo>
                <a:lnTo>
                  <a:pt x="3728" y="896"/>
                </a:lnTo>
                <a:lnTo>
                  <a:pt x="3728" y="896"/>
                </a:lnTo>
                <a:lnTo>
                  <a:pt x="3734" y="900"/>
                </a:lnTo>
                <a:lnTo>
                  <a:pt x="3734" y="900"/>
                </a:lnTo>
                <a:lnTo>
                  <a:pt x="3734" y="902"/>
                </a:lnTo>
                <a:lnTo>
                  <a:pt x="3734" y="902"/>
                </a:lnTo>
                <a:lnTo>
                  <a:pt x="3726" y="904"/>
                </a:lnTo>
                <a:lnTo>
                  <a:pt x="3726" y="904"/>
                </a:lnTo>
                <a:close/>
                <a:moveTo>
                  <a:pt x="3732" y="946"/>
                </a:moveTo>
                <a:lnTo>
                  <a:pt x="3732" y="946"/>
                </a:lnTo>
                <a:lnTo>
                  <a:pt x="3728" y="948"/>
                </a:lnTo>
                <a:lnTo>
                  <a:pt x="3724" y="948"/>
                </a:lnTo>
                <a:lnTo>
                  <a:pt x="3724" y="948"/>
                </a:lnTo>
                <a:lnTo>
                  <a:pt x="3728" y="948"/>
                </a:lnTo>
                <a:lnTo>
                  <a:pt x="3732" y="946"/>
                </a:lnTo>
                <a:lnTo>
                  <a:pt x="3732" y="946"/>
                </a:lnTo>
                <a:lnTo>
                  <a:pt x="3732" y="946"/>
                </a:lnTo>
                <a:lnTo>
                  <a:pt x="3732" y="946"/>
                </a:lnTo>
                <a:close/>
                <a:moveTo>
                  <a:pt x="3722" y="886"/>
                </a:moveTo>
                <a:lnTo>
                  <a:pt x="3722" y="886"/>
                </a:lnTo>
                <a:lnTo>
                  <a:pt x="3724" y="886"/>
                </a:lnTo>
                <a:lnTo>
                  <a:pt x="3724" y="886"/>
                </a:lnTo>
                <a:lnTo>
                  <a:pt x="3722" y="888"/>
                </a:lnTo>
                <a:lnTo>
                  <a:pt x="3722" y="888"/>
                </a:lnTo>
                <a:lnTo>
                  <a:pt x="3718" y="888"/>
                </a:lnTo>
                <a:lnTo>
                  <a:pt x="3718" y="888"/>
                </a:lnTo>
                <a:lnTo>
                  <a:pt x="3722" y="888"/>
                </a:lnTo>
                <a:lnTo>
                  <a:pt x="3722" y="888"/>
                </a:lnTo>
                <a:lnTo>
                  <a:pt x="3724" y="886"/>
                </a:lnTo>
                <a:lnTo>
                  <a:pt x="3724" y="886"/>
                </a:lnTo>
                <a:lnTo>
                  <a:pt x="3722" y="886"/>
                </a:lnTo>
                <a:lnTo>
                  <a:pt x="3722" y="886"/>
                </a:lnTo>
                <a:close/>
                <a:moveTo>
                  <a:pt x="3730" y="890"/>
                </a:moveTo>
                <a:lnTo>
                  <a:pt x="3730" y="890"/>
                </a:lnTo>
                <a:lnTo>
                  <a:pt x="3732" y="886"/>
                </a:lnTo>
                <a:lnTo>
                  <a:pt x="3736" y="886"/>
                </a:lnTo>
                <a:lnTo>
                  <a:pt x="3756" y="888"/>
                </a:lnTo>
                <a:lnTo>
                  <a:pt x="3756" y="888"/>
                </a:lnTo>
                <a:lnTo>
                  <a:pt x="3748" y="892"/>
                </a:lnTo>
                <a:lnTo>
                  <a:pt x="3748" y="892"/>
                </a:lnTo>
                <a:lnTo>
                  <a:pt x="3742" y="896"/>
                </a:lnTo>
                <a:lnTo>
                  <a:pt x="3742" y="896"/>
                </a:lnTo>
                <a:lnTo>
                  <a:pt x="3730" y="890"/>
                </a:lnTo>
                <a:lnTo>
                  <a:pt x="3730" y="890"/>
                </a:lnTo>
                <a:close/>
                <a:moveTo>
                  <a:pt x="3752" y="302"/>
                </a:moveTo>
                <a:lnTo>
                  <a:pt x="3752" y="302"/>
                </a:lnTo>
                <a:lnTo>
                  <a:pt x="3732" y="306"/>
                </a:lnTo>
                <a:lnTo>
                  <a:pt x="3732" y="306"/>
                </a:lnTo>
                <a:lnTo>
                  <a:pt x="3720" y="288"/>
                </a:lnTo>
                <a:lnTo>
                  <a:pt x="3720" y="288"/>
                </a:lnTo>
                <a:lnTo>
                  <a:pt x="3726" y="286"/>
                </a:lnTo>
                <a:lnTo>
                  <a:pt x="3730" y="288"/>
                </a:lnTo>
                <a:lnTo>
                  <a:pt x="3736" y="290"/>
                </a:lnTo>
                <a:lnTo>
                  <a:pt x="3736" y="290"/>
                </a:lnTo>
                <a:lnTo>
                  <a:pt x="3742" y="294"/>
                </a:lnTo>
                <a:lnTo>
                  <a:pt x="3748" y="294"/>
                </a:lnTo>
                <a:lnTo>
                  <a:pt x="3752" y="294"/>
                </a:lnTo>
                <a:lnTo>
                  <a:pt x="3758" y="292"/>
                </a:lnTo>
                <a:lnTo>
                  <a:pt x="3758" y="292"/>
                </a:lnTo>
                <a:lnTo>
                  <a:pt x="3762" y="292"/>
                </a:lnTo>
                <a:lnTo>
                  <a:pt x="3762" y="292"/>
                </a:lnTo>
                <a:lnTo>
                  <a:pt x="3774" y="300"/>
                </a:lnTo>
                <a:lnTo>
                  <a:pt x="3774" y="300"/>
                </a:lnTo>
                <a:lnTo>
                  <a:pt x="3772" y="302"/>
                </a:lnTo>
                <a:lnTo>
                  <a:pt x="3772" y="302"/>
                </a:lnTo>
                <a:lnTo>
                  <a:pt x="3752" y="302"/>
                </a:lnTo>
                <a:lnTo>
                  <a:pt x="3752" y="302"/>
                </a:lnTo>
                <a:close/>
                <a:moveTo>
                  <a:pt x="3710" y="946"/>
                </a:moveTo>
                <a:lnTo>
                  <a:pt x="3710" y="946"/>
                </a:lnTo>
                <a:lnTo>
                  <a:pt x="3698" y="946"/>
                </a:lnTo>
                <a:lnTo>
                  <a:pt x="3698" y="946"/>
                </a:lnTo>
                <a:lnTo>
                  <a:pt x="3698" y="946"/>
                </a:lnTo>
                <a:lnTo>
                  <a:pt x="3698" y="946"/>
                </a:lnTo>
                <a:lnTo>
                  <a:pt x="3710" y="946"/>
                </a:lnTo>
                <a:lnTo>
                  <a:pt x="3710" y="946"/>
                </a:lnTo>
                <a:lnTo>
                  <a:pt x="3712" y="948"/>
                </a:lnTo>
                <a:lnTo>
                  <a:pt x="3712" y="950"/>
                </a:lnTo>
                <a:lnTo>
                  <a:pt x="3712" y="950"/>
                </a:lnTo>
                <a:lnTo>
                  <a:pt x="3712" y="952"/>
                </a:lnTo>
                <a:lnTo>
                  <a:pt x="3712" y="952"/>
                </a:lnTo>
                <a:lnTo>
                  <a:pt x="3712" y="952"/>
                </a:lnTo>
                <a:lnTo>
                  <a:pt x="3712" y="952"/>
                </a:lnTo>
                <a:lnTo>
                  <a:pt x="3712" y="948"/>
                </a:lnTo>
                <a:lnTo>
                  <a:pt x="3710" y="946"/>
                </a:lnTo>
                <a:lnTo>
                  <a:pt x="3710" y="946"/>
                </a:lnTo>
                <a:close/>
                <a:moveTo>
                  <a:pt x="3690" y="900"/>
                </a:moveTo>
                <a:lnTo>
                  <a:pt x="3690" y="900"/>
                </a:lnTo>
                <a:lnTo>
                  <a:pt x="3692" y="900"/>
                </a:lnTo>
                <a:lnTo>
                  <a:pt x="3694" y="900"/>
                </a:lnTo>
                <a:lnTo>
                  <a:pt x="3694" y="900"/>
                </a:lnTo>
                <a:lnTo>
                  <a:pt x="3694" y="898"/>
                </a:lnTo>
                <a:lnTo>
                  <a:pt x="3694" y="898"/>
                </a:lnTo>
                <a:lnTo>
                  <a:pt x="3694" y="898"/>
                </a:lnTo>
                <a:lnTo>
                  <a:pt x="3694" y="898"/>
                </a:lnTo>
                <a:lnTo>
                  <a:pt x="3696" y="900"/>
                </a:lnTo>
                <a:lnTo>
                  <a:pt x="3696" y="900"/>
                </a:lnTo>
                <a:lnTo>
                  <a:pt x="3692" y="902"/>
                </a:lnTo>
                <a:lnTo>
                  <a:pt x="3690" y="900"/>
                </a:lnTo>
                <a:lnTo>
                  <a:pt x="3690" y="900"/>
                </a:lnTo>
                <a:close/>
                <a:moveTo>
                  <a:pt x="3670" y="266"/>
                </a:moveTo>
                <a:lnTo>
                  <a:pt x="3670" y="266"/>
                </a:lnTo>
                <a:lnTo>
                  <a:pt x="3664" y="268"/>
                </a:lnTo>
                <a:lnTo>
                  <a:pt x="3660" y="264"/>
                </a:lnTo>
                <a:lnTo>
                  <a:pt x="3660" y="264"/>
                </a:lnTo>
                <a:lnTo>
                  <a:pt x="3666" y="264"/>
                </a:lnTo>
                <a:lnTo>
                  <a:pt x="3670" y="266"/>
                </a:lnTo>
                <a:lnTo>
                  <a:pt x="3670" y="266"/>
                </a:lnTo>
                <a:close/>
                <a:moveTo>
                  <a:pt x="3608" y="942"/>
                </a:moveTo>
                <a:lnTo>
                  <a:pt x="3608" y="942"/>
                </a:lnTo>
                <a:lnTo>
                  <a:pt x="3620" y="942"/>
                </a:lnTo>
                <a:lnTo>
                  <a:pt x="3620" y="942"/>
                </a:lnTo>
                <a:lnTo>
                  <a:pt x="3616" y="936"/>
                </a:lnTo>
                <a:lnTo>
                  <a:pt x="3616" y="936"/>
                </a:lnTo>
                <a:lnTo>
                  <a:pt x="3624" y="936"/>
                </a:lnTo>
                <a:lnTo>
                  <a:pt x="3640" y="940"/>
                </a:lnTo>
                <a:lnTo>
                  <a:pt x="3640" y="940"/>
                </a:lnTo>
                <a:lnTo>
                  <a:pt x="3634" y="934"/>
                </a:lnTo>
                <a:lnTo>
                  <a:pt x="3634" y="934"/>
                </a:lnTo>
                <a:lnTo>
                  <a:pt x="3642" y="930"/>
                </a:lnTo>
                <a:lnTo>
                  <a:pt x="3642" y="930"/>
                </a:lnTo>
                <a:lnTo>
                  <a:pt x="3644" y="934"/>
                </a:lnTo>
                <a:lnTo>
                  <a:pt x="3648" y="936"/>
                </a:lnTo>
                <a:lnTo>
                  <a:pt x="3658" y="936"/>
                </a:lnTo>
                <a:lnTo>
                  <a:pt x="3658" y="936"/>
                </a:lnTo>
                <a:lnTo>
                  <a:pt x="3668" y="936"/>
                </a:lnTo>
                <a:lnTo>
                  <a:pt x="3672" y="936"/>
                </a:lnTo>
                <a:lnTo>
                  <a:pt x="3676" y="934"/>
                </a:lnTo>
                <a:lnTo>
                  <a:pt x="3676" y="934"/>
                </a:lnTo>
                <a:lnTo>
                  <a:pt x="3682" y="936"/>
                </a:lnTo>
                <a:lnTo>
                  <a:pt x="3682" y="936"/>
                </a:lnTo>
                <a:lnTo>
                  <a:pt x="3682" y="938"/>
                </a:lnTo>
                <a:lnTo>
                  <a:pt x="3680" y="940"/>
                </a:lnTo>
                <a:lnTo>
                  <a:pt x="3680" y="940"/>
                </a:lnTo>
                <a:lnTo>
                  <a:pt x="3672" y="942"/>
                </a:lnTo>
                <a:lnTo>
                  <a:pt x="3666" y="942"/>
                </a:lnTo>
                <a:lnTo>
                  <a:pt x="3662" y="940"/>
                </a:lnTo>
                <a:lnTo>
                  <a:pt x="3662" y="940"/>
                </a:lnTo>
                <a:lnTo>
                  <a:pt x="3660" y="942"/>
                </a:lnTo>
                <a:lnTo>
                  <a:pt x="3660" y="942"/>
                </a:lnTo>
                <a:lnTo>
                  <a:pt x="3668" y="946"/>
                </a:lnTo>
                <a:lnTo>
                  <a:pt x="3668" y="946"/>
                </a:lnTo>
                <a:lnTo>
                  <a:pt x="3662" y="950"/>
                </a:lnTo>
                <a:lnTo>
                  <a:pt x="3654" y="950"/>
                </a:lnTo>
                <a:lnTo>
                  <a:pt x="3636" y="952"/>
                </a:lnTo>
                <a:lnTo>
                  <a:pt x="3636" y="952"/>
                </a:lnTo>
                <a:lnTo>
                  <a:pt x="3636" y="954"/>
                </a:lnTo>
                <a:lnTo>
                  <a:pt x="3636" y="954"/>
                </a:lnTo>
                <a:lnTo>
                  <a:pt x="3638" y="956"/>
                </a:lnTo>
                <a:lnTo>
                  <a:pt x="3638" y="956"/>
                </a:lnTo>
                <a:lnTo>
                  <a:pt x="3630" y="956"/>
                </a:lnTo>
                <a:lnTo>
                  <a:pt x="3626" y="956"/>
                </a:lnTo>
                <a:lnTo>
                  <a:pt x="3620" y="954"/>
                </a:lnTo>
                <a:lnTo>
                  <a:pt x="3614" y="952"/>
                </a:lnTo>
                <a:lnTo>
                  <a:pt x="3614" y="952"/>
                </a:lnTo>
                <a:lnTo>
                  <a:pt x="3588" y="952"/>
                </a:lnTo>
                <a:lnTo>
                  <a:pt x="3588" y="952"/>
                </a:lnTo>
                <a:lnTo>
                  <a:pt x="3594" y="944"/>
                </a:lnTo>
                <a:lnTo>
                  <a:pt x="3594" y="944"/>
                </a:lnTo>
                <a:lnTo>
                  <a:pt x="3602" y="944"/>
                </a:lnTo>
                <a:lnTo>
                  <a:pt x="3606" y="944"/>
                </a:lnTo>
                <a:lnTo>
                  <a:pt x="3608" y="942"/>
                </a:lnTo>
                <a:lnTo>
                  <a:pt x="3608" y="942"/>
                </a:lnTo>
                <a:close/>
                <a:moveTo>
                  <a:pt x="3598" y="960"/>
                </a:moveTo>
                <a:lnTo>
                  <a:pt x="3598" y="960"/>
                </a:lnTo>
                <a:lnTo>
                  <a:pt x="3598" y="960"/>
                </a:lnTo>
                <a:lnTo>
                  <a:pt x="3598" y="960"/>
                </a:lnTo>
                <a:lnTo>
                  <a:pt x="3598" y="956"/>
                </a:lnTo>
                <a:lnTo>
                  <a:pt x="3594" y="956"/>
                </a:lnTo>
                <a:lnTo>
                  <a:pt x="3594" y="956"/>
                </a:lnTo>
                <a:lnTo>
                  <a:pt x="3598" y="956"/>
                </a:lnTo>
                <a:lnTo>
                  <a:pt x="3598" y="960"/>
                </a:lnTo>
                <a:lnTo>
                  <a:pt x="3598" y="960"/>
                </a:lnTo>
                <a:close/>
                <a:moveTo>
                  <a:pt x="3554" y="890"/>
                </a:moveTo>
                <a:lnTo>
                  <a:pt x="3554" y="890"/>
                </a:lnTo>
                <a:lnTo>
                  <a:pt x="3550" y="886"/>
                </a:lnTo>
                <a:lnTo>
                  <a:pt x="3550" y="886"/>
                </a:lnTo>
                <a:lnTo>
                  <a:pt x="3556" y="882"/>
                </a:lnTo>
                <a:lnTo>
                  <a:pt x="3556" y="882"/>
                </a:lnTo>
                <a:lnTo>
                  <a:pt x="3564" y="880"/>
                </a:lnTo>
                <a:lnTo>
                  <a:pt x="3572" y="884"/>
                </a:lnTo>
                <a:lnTo>
                  <a:pt x="3572" y="884"/>
                </a:lnTo>
                <a:lnTo>
                  <a:pt x="3576" y="886"/>
                </a:lnTo>
                <a:lnTo>
                  <a:pt x="3582" y="886"/>
                </a:lnTo>
                <a:lnTo>
                  <a:pt x="3582" y="886"/>
                </a:lnTo>
                <a:lnTo>
                  <a:pt x="3594" y="886"/>
                </a:lnTo>
                <a:lnTo>
                  <a:pt x="3594" y="886"/>
                </a:lnTo>
                <a:lnTo>
                  <a:pt x="3590" y="892"/>
                </a:lnTo>
                <a:lnTo>
                  <a:pt x="3590" y="896"/>
                </a:lnTo>
                <a:lnTo>
                  <a:pt x="3592" y="898"/>
                </a:lnTo>
                <a:lnTo>
                  <a:pt x="3598" y="902"/>
                </a:lnTo>
                <a:lnTo>
                  <a:pt x="3598" y="902"/>
                </a:lnTo>
                <a:lnTo>
                  <a:pt x="3588" y="906"/>
                </a:lnTo>
                <a:lnTo>
                  <a:pt x="3588" y="906"/>
                </a:lnTo>
                <a:lnTo>
                  <a:pt x="3586" y="902"/>
                </a:lnTo>
                <a:lnTo>
                  <a:pt x="3586" y="902"/>
                </a:lnTo>
                <a:lnTo>
                  <a:pt x="3578" y="904"/>
                </a:lnTo>
                <a:lnTo>
                  <a:pt x="3572" y="904"/>
                </a:lnTo>
                <a:lnTo>
                  <a:pt x="3566" y="902"/>
                </a:lnTo>
                <a:lnTo>
                  <a:pt x="3562" y="898"/>
                </a:lnTo>
                <a:lnTo>
                  <a:pt x="3562" y="898"/>
                </a:lnTo>
                <a:lnTo>
                  <a:pt x="3560" y="896"/>
                </a:lnTo>
                <a:lnTo>
                  <a:pt x="3556" y="896"/>
                </a:lnTo>
                <a:lnTo>
                  <a:pt x="3556" y="896"/>
                </a:lnTo>
                <a:lnTo>
                  <a:pt x="3544" y="896"/>
                </a:lnTo>
                <a:lnTo>
                  <a:pt x="3544" y="896"/>
                </a:lnTo>
                <a:lnTo>
                  <a:pt x="3544" y="894"/>
                </a:lnTo>
                <a:lnTo>
                  <a:pt x="3544" y="894"/>
                </a:lnTo>
                <a:lnTo>
                  <a:pt x="3554" y="890"/>
                </a:lnTo>
                <a:lnTo>
                  <a:pt x="3554" y="890"/>
                </a:lnTo>
                <a:close/>
                <a:moveTo>
                  <a:pt x="3540" y="878"/>
                </a:moveTo>
                <a:lnTo>
                  <a:pt x="3540" y="878"/>
                </a:lnTo>
                <a:lnTo>
                  <a:pt x="3540" y="878"/>
                </a:lnTo>
                <a:lnTo>
                  <a:pt x="3540" y="878"/>
                </a:lnTo>
                <a:lnTo>
                  <a:pt x="3542" y="880"/>
                </a:lnTo>
                <a:lnTo>
                  <a:pt x="3542" y="880"/>
                </a:lnTo>
                <a:lnTo>
                  <a:pt x="3538" y="882"/>
                </a:lnTo>
                <a:lnTo>
                  <a:pt x="3538" y="882"/>
                </a:lnTo>
                <a:lnTo>
                  <a:pt x="3538" y="882"/>
                </a:lnTo>
                <a:lnTo>
                  <a:pt x="3538" y="882"/>
                </a:lnTo>
                <a:lnTo>
                  <a:pt x="3540" y="880"/>
                </a:lnTo>
                <a:lnTo>
                  <a:pt x="3540" y="880"/>
                </a:lnTo>
                <a:lnTo>
                  <a:pt x="3540" y="878"/>
                </a:lnTo>
                <a:lnTo>
                  <a:pt x="3540" y="878"/>
                </a:lnTo>
                <a:close/>
                <a:moveTo>
                  <a:pt x="3564" y="906"/>
                </a:moveTo>
                <a:lnTo>
                  <a:pt x="3564" y="906"/>
                </a:lnTo>
                <a:lnTo>
                  <a:pt x="3564" y="906"/>
                </a:lnTo>
                <a:lnTo>
                  <a:pt x="3564" y="906"/>
                </a:lnTo>
                <a:lnTo>
                  <a:pt x="3552" y="900"/>
                </a:lnTo>
                <a:lnTo>
                  <a:pt x="3546" y="898"/>
                </a:lnTo>
                <a:lnTo>
                  <a:pt x="3538" y="896"/>
                </a:lnTo>
                <a:lnTo>
                  <a:pt x="3538" y="896"/>
                </a:lnTo>
                <a:lnTo>
                  <a:pt x="3538" y="896"/>
                </a:lnTo>
                <a:lnTo>
                  <a:pt x="3538" y="896"/>
                </a:lnTo>
                <a:lnTo>
                  <a:pt x="3546" y="898"/>
                </a:lnTo>
                <a:lnTo>
                  <a:pt x="3552" y="900"/>
                </a:lnTo>
                <a:lnTo>
                  <a:pt x="3564" y="906"/>
                </a:lnTo>
                <a:lnTo>
                  <a:pt x="3564" y="906"/>
                </a:lnTo>
                <a:close/>
                <a:moveTo>
                  <a:pt x="3548" y="916"/>
                </a:moveTo>
                <a:lnTo>
                  <a:pt x="3548" y="916"/>
                </a:lnTo>
                <a:lnTo>
                  <a:pt x="3562" y="920"/>
                </a:lnTo>
                <a:lnTo>
                  <a:pt x="3568" y="922"/>
                </a:lnTo>
                <a:lnTo>
                  <a:pt x="3576" y="922"/>
                </a:lnTo>
                <a:lnTo>
                  <a:pt x="3576" y="922"/>
                </a:lnTo>
                <a:lnTo>
                  <a:pt x="3578" y="922"/>
                </a:lnTo>
                <a:lnTo>
                  <a:pt x="3578" y="922"/>
                </a:lnTo>
                <a:lnTo>
                  <a:pt x="3584" y="926"/>
                </a:lnTo>
                <a:lnTo>
                  <a:pt x="3584" y="926"/>
                </a:lnTo>
                <a:lnTo>
                  <a:pt x="3592" y="928"/>
                </a:lnTo>
                <a:lnTo>
                  <a:pt x="3592" y="928"/>
                </a:lnTo>
                <a:lnTo>
                  <a:pt x="3588" y="932"/>
                </a:lnTo>
                <a:lnTo>
                  <a:pt x="3580" y="934"/>
                </a:lnTo>
                <a:lnTo>
                  <a:pt x="3580" y="934"/>
                </a:lnTo>
                <a:lnTo>
                  <a:pt x="3576" y="932"/>
                </a:lnTo>
                <a:lnTo>
                  <a:pt x="3574" y="932"/>
                </a:lnTo>
                <a:lnTo>
                  <a:pt x="3574" y="932"/>
                </a:lnTo>
                <a:lnTo>
                  <a:pt x="3566" y="932"/>
                </a:lnTo>
                <a:lnTo>
                  <a:pt x="3562" y="932"/>
                </a:lnTo>
                <a:lnTo>
                  <a:pt x="3560" y="928"/>
                </a:lnTo>
                <a:lnTo>
                  <a:pt x="3560" y="928"/>
                </a:lnTo>
                <a:lnTo>
                  <a:pt x="3554" y="928"/>
                </a:lnTo>
                <a:lnTo>
                  <a:pt x="3554" y="928"/>
                </a:lnTo>
                <a:lnTo>
                  <a:pt x="3550" y="928"/>
                </a:lnTo>
                <a:lnTo>
                  <a:pt x="3546" y="928"/>
                </a:lnTo>
                <a:lnTo>
                  <a:pt x="3542" y="922"/>
                </a:lnTo>
                <a:lnTo>
                  <a:pt x="3542" y="922"/>
                </a:lnTo>
                <a:lnTo>
                  <a:pt x="3536" y="916"/>
                </a:lnTo>
                <a:lnTo>
                  <a:pt x="3536" y="916"/>
                </a:lnTo>
                <a:lnTo>
                  <a:pt x="3542" y="914"/>
                </a:lnTo>
                <a:lnTo>
                  <a:pt x="3548" y="916"/>
                </a:lnTo>
                <a:lnTo>
                  <a:pt x="3548" y="916"/>
                </a:lnTo>
                <a:close/>
                <a:moveTo>
                  <a:pt x="3550" y="972"/>
                </a:moveTo>
                <a:lnTo>
                  <a:pt x="3550" y="972"/>
                </a:lnTo>
                <a:lnTo>
                  <a:pt x="3548" y="972"/>
                </a:lnTo>
                <a:lnTo>
                  <a:pt x="3548" y="972"/>
                </a:lnTo>
                <a:lnTo>
                  <a:pt x="3546" y="970"/>
                </a:lnTo>
                <a:lnTo>
                  <a:pt x="3546" y="970"/>
                </a:lnTo>
                <a:lnTo>
                  <a:pt x="3546" y="970"/>
                </a:lnTo>
                <a:lnTo>
                  <a:pt x="3546" y="970"/>
                </a:lnTo>
                <a:lnTo>
                  <a:pt x="3546" y="970"/>
                </a:lnTo>
                <a:lnTo>
                  <a:pt x="3546" y="970"/>
                </a:lnTo>
                <a:lnTo>
                  <a:pt x="3546" y="968"/>
                </a:lnTo>
                <a:lnTo>
                  <a:pt x="3546" y="968"/>
                </a:lnTo>
                <a:lnTo>
                  <a:pt x="3548" y="970"/>
                </a:lnTo>
                <a:lnTo>
                  <a:pt x="3548" y="970"/>
                </a:lnTo>
                <a:lnTo>
                  <a:pt x="3552" y="968"/>
                </a:lnTo>
                <a:lnTo>
                  <a:pt x="3552" y="968"/>
                </a:lnTo>
                <a:lnTo>
                  <a:pt x="3558" y="958"/>
                </a:lnTo>
                <a:lnTo>
                  <a:pt x="3558" y="958"/>
                </a:lnTo>
                <a:lnTo>
                  <a:pt x="3558" y="958"/>
                </a:lnTo>
                <a:lnTo>
                  <a:pt x="3552" y="968"/>
                </a:lnTo>
                <a:lnTo>
                  <a:pt x="3552" y="968"/>
                </a:lnTo>
                <a:lnTo>
                  <a:pt x="3548" y="970"/>
                </a:lnTo>
                <a:lnTo>
                  <a:pt x="3548" y="970"/>
                </a:lnTo>
                <a:lnTo>
                  <a:pt x="3550" y="972"/>
                </a:lnTo>
                <a:lnTo>
                  <a:pt x="3550" y="972"/>
                </a:lnTo>
                <a:close/>
                <a:moveTo>
                  <a:pt x="3454" y="948"/>
                </a:moveTo>
                <a:lnTo>
                  <a:pt x="3454" y="948"/>
                </a:lnTo>
                <a:lnTo>
                  <a:pt x="3454" y="948"/>
                </a:lnTo>
                <a:lnTo>
                  <a:pt x="3454" y="948"/>
                </a:lnTo>
                <a:lnTo>
                  <a:pt x="3456" y="950"/>
                </a:lnTo>
                <a:lnTo>
                  <a:pt x="3456" y="950"/>
                </a:lnTo>
                <a:lnTo>
                  <a:pt x="3454" y="952"/>
                </a:lnTo>
                <a:lnTo>
                  <a:pt x="3454" y="952"/>
                </a:lnTo>
                <a:lnTo>
                  <a:pt x="3454" y="952"/>
                </a:lnTo>
                <a:lnTo>
                  <a:pt x="3454" y="952"/>
                </a:lnTo>
                <a:lnTo>
                  <a:pt x="3456" y="950"/>
                </a:lnTo>
                <a:lnTo>
                  <a:pt x="3456" y="950"/>
                </a:lnTo>
                <a:lnTo>
                  <a:pt x="3454" y="948"/>
                </a:lnTo>
                <a:lnTo>
                  <a:pt x="3454" y="948"/>
                </a:lnTo>
                <a:close/>
                <a:moveTo>
                  <a:pt x="3546" y="948"/>
                </a:moveTo>
                <a:lnTo>
                  <a:pt x="3546" y="948"/>
                </a:lnTo>
                <a:lnTo>
                  <a:pt x="3546" y="948"/>
                </a:lnTo>
                <a:lnTo>
                  <a:pt x="3546" y="948"/>
                </a:lnTo>
                <a:lnTo>
                  <a:pt x="3544" y="950"/>
                </a:lnTo>
                <a:lnTo>
                  <a:pt x="3544" y="950"/>
                </a:lnTo>
                <a:lnTo>
                  <a:pt x="3544" y="950"/>
                </a:lnTo>
                <a:lnTo>
                  <a:pt x="3536" y="948"/>
                </a:lnTo>
                <a:lnTo>
                  <a:pt x="3536" y="948"/>
                </a:lnTo>
                <a:lnTo>
                  <a:pt x="3536" y="948"/>
                </a:lnTo>
                <a:lnTo>
                  <a:pt x="3536" y="948"/>
                </a:lnTo>
                <a:lnTo>
                  <a:pt x="3544" y="950"/>
                </a:lnTo>
                <a:lnTo>
                  <a:pt x="3544" y="950"/>
                </a:lnTo>
                <a:lnTo>
                  <a:pt x="3544" y="950"/>
                </a:lnTo>
                <a:lnTo>
                  <a:pt x="3546" y="948"/>
                </a:lnTo>
                <a:lnTo>
                  <a:pt x="3546" y="948"/>
                </a:lnTo>
                <a:close/>
                <a:moveTo>
                  <a:pt x="3538" y="980"/>
                </a:moveTo>
                <a:lnTo>
                  <a:pt x="3538" y="980"/>
                </a:lnTo>
                <a:lnTo>
                  <a:pt x="3538" y="978"/>
                </a:lnTo>
                <a:lnTo>
                  <a:pt x="3538" y="978"/>
                </a:lnTo>
                <a:lnTo>
                  <a:pt x="3538" y="978"/>
                </a:lnTo>
                <a:lnTo>
                  <a:pt x="3538" y="978"/>
                </a:lnTo>
                <a:lnTo>
                  <a:pt x="3538" y="980"/>
                </a:lnTo>
                <a:lnTo>
                  <a:pt x="3538" y="980"/>
                </a:lnTo>
                <a:lnTo>
                  <a:pt x="3538" y="980"/>
                </a:lnTo>
                <a:lnTo>
                  <a:pt x="3538" y="980"/>
                </a:lnTo>
                <a:close/>
                <a:moveTo>
                  <a:pt x="3532" y="990"/>
                </a:moveTo>
                <a:lnTo>
                  <a:pt x="3532" y="990"/>
                </a:lnTo>
                <a:lnTo>
                  <a:pt x="3532" y="990"/>
                </a:lnTo>
                <a:lnTo>
                  <a:pt x="3532" y="990"/>
                </a:lnTo>
                <a:lnTo>
                  <a:pt x="3534" y="992"/>
                </a:lnTo>
                <a:lnTo>
                  <a:pt x="3534" y="992"/>
                </a:lnTo>
                <a:lnTo>
                  <a:pt x="3534" y="992"/>
                </a:lnTo>
                <a:lnTo>
                  <a:pt x="3534" y="992"/>
                </a:lnTo>
                <a:lnTo>
                  <a:pt x="3532" y="990"/>
                </a:lnTo>
                <a:lnTo>
                  <a:pt x="3532" y="990"/>
                </a:lnTo>
                <a:close/>
                <a:moveTo>
                  <a:pt x="3484" y="1014"/>
                </a:moveTo>
                <a:lnTo>
                  <a:pt x="3484" y="1014"/>
                </a:lnTo>
                <a:lnTo>
                  <a:pt x="3484" y="1010"/>
                </a:lnTo>
                <a:lnTo>
                  <a:pt x="3484" y="1010"/>
                </a:lnTo>
                <a:lnTo>
                  <a:pt x="3486" y="1012"/>
                </a:lnTo>
                <a:lnTo>
                  <a:pt x="3486" y="1014"/>
                </a:lnTo>
                <a:lnTo>
                  <a:pt x="3486" y="1014"/>
                </a:lnTo>
                <a:lnTo>
                  <a:pt x="3486" y="1014"/>
                </a:lnTo>
                <a:lnTo>
                  <a:pt x="3486" y="1014"/>
                </a:lnTo>
                <a:lnTo>
                  <a:pt x="3484" y="1014"/>
                </a:lnTo>
                <a:lnTo>
                  <a:pt x="3484" y="1014"/>
                </a:lnTo>
                <a:close/>
                <a:moveTo>
                  <a:pt x="3468" y="988"/>
                </a:moveTo>
                <a:lnTo>
                  <a:pt x="3468" y="988"/>
                </a:lnTo>
                <a:lnTo>
                  <a:pt x="3470" y="990"/>
                </a:lnTo>
                <a:lnTo>
                  <a:pt x="3470" y="990"/>
                </a:lnTo>
                <a:lnTo>
                  <a:pt x="3468" y="990"/>
                </a:lnTo>
                <a:lnTo>
                  <a:pt x="3468" y="990"/>
                </a:lnTo>
                <a:lnTo>
                  <a:pt x="3468" y="988"/>
                </a:lnTo>
                <a:lnTo>
                  <a:pt x="3468" y="988"/>
                </a:lnTo>
                <a:close/>
                <a:moveTo>
                  <a:pt x="3508" y="1006"/>
                </a:moveTo>
                <a:lnTo>
                  <a:pt x="3508" y="1006"/>
                </a:lnTo>
                <a:lnTo>
                  <a:pt x="3508" y="1006"/>
                </a:lnTo>
                <a:lnTo>
                  <a:pt x="3508" y="1006"/>
                </a:lnTo>
                <a:lnTo>
                  <a:pt x="3508" y="1006"/>
                </a:lnTo>
                <a:lnTo>
                  <a:pt x="3508" y="1006"/>
                </a:lnTo>
                <a:lnTo>
                  <a:pt x="3508" y="1006"/>
                </a:lnTo>
                <a:lnTo>
                  <a:pt x="3508" y="1006"/>
                </a:lnTo>
                <a:close/>
                <a:moveTo>
                  <a:pt x="3516" y="1000"/>
                </a:moveTo>
                <a:lnTo>
                  <a:pt x="3516" y="1000"/>
                </a:lnTo>
                <a:lnTo>
                  <a:pt x="3512" y="1000"/>
                </a:lnTo>
                <a:lnTo>
                  <a:pt x="3510" y="998"/>
                </a:lnTo>
                <a:lnTo>
                  <a:pt x="3512" y="996"/>
                </a:lnTo>
                <a:lnTo>
                  <a:pt x="3512" y="996"/>
                </a:lnTo>
                <a:lnTo>
                  <a:pt x="3520" y="992"/>
                </a:lnTo>
                <a:lnTo>
                  <a:pt x="3520" y="992"/>
                </a:lnTo>
                <a:lnTo>
                  <a:pt x="3528" y="996"/>
                </a:lnTo>
                <a:lnTo>
                  <a:pt x="3528" y="996"/>
                </a:lnTo>
                <a:lnTo>
                  <a:pt x="3520" y="1000"/>
                </a:lnTo>
                <a:lnTo>
                  <a:pt x="3520" y="1000"/>
                </a:lnTo>
                <a:lnTo>
                  <a:pt x="3516" y="1000"/>
                </a:lnTo>
                <a:lnTo>
                  <a:pt x="3516" y="1000"/>
                </a:lnTo>
                <a:close/>
                <a:moveTo>
                  <a:pt x="3534" y="1002"/>
                </a:moveTo>
                <a:lnTo>
                  <a:pt x="3534" y="1002"/>
                </a:lnTo>
                <a:lnTo>
                  <a:pt x="3540" y="1002"/>
                </a:lnTo>
                <a:lnTo>
                  <a:pt x="3544" y="1000"/>
                </a:lnTo>
                <a:lnTo>
                  <a:pt x="3544" y="1000"/>
                </a:lnTo>
                <a:lnTo>
                  <a:pt x="3544" y="1000"/>
                </a:lnTo>
                <a:lnTo>
                  <a:pt x="3544" y="1000"/>
                </a:lnTo>
                <a:lnTo>
                  <a:pt x="3540" y="1002"/>
                </a:lnTo>
                <a:lnTo>
                  <a:pt x="3534" y="1002"/>
                </a:lnTo>
                <a:lnTo>
                  <a:pt x="3534" y="1002"/>
                </a:lnTo>
                <a:lnTo>
                  <a:pt x="3534" y="1002"/>
                </a:lnTo>
                <a:lnTo>
                  <a:pt x="3534" y="1002"/>
                </a:lnTo>
                <a:close/>
                <a:moveTo>
                  <a:pt x="3548" y="978"/>
                </a:moveTo>
                <a:lnTo>
                  <a:pt x="3548" y="978"/>
                </a:lnTo>
                <a:lnTo>
                  <a:pt x="3548" y="976"/>
                </a:lnTo>
                <a:lnTo>
                  <a:pt x="3548" y="976"/>
                </a:lnTo>
                <a:lnTo>
                  <a:pt x="3548" y="976"/>
                </a:lnTo>
                <a:lnTo>
                  <a:pt x="3548" y="976"/>
                </a:lnTo>
                <a:lnTo>
                  <a:pt x="3548" y="978"/>
                </a:lnTo>
                <a:lnTo>
                  <a:pt x="3548" y="978"/>
                </a:lnTo>
                <a:lnTo>
                  <a:pt x="3548" y="978"/>
                </a:lnTo>
                <a:lnTo>
                  <a:pt x="3548" y="978"/>
                </a:lnTo>
                <a:close/>
                <a:moveTo>
                  <a:pt x="3556" y="954"/>
                </a:moveTo>
                <a:lnTo>
                  <a:pt x="3556" y="954"/>
                </a:lnTo>
                <a:lnTo>
                  <a:pt x="3548" y="952"/>
                </a:lnTo>
                <a:lnTo>
                  <a:pt x="3548" y="952"/>
                </a:lnTo>
                <a:lnTo>
                  <a:pt x="3556" y="954"/>
                </a:lnTo>
                <a:lnTo>
                  <a:pt x="3556" y="954"/>
                </a:lnTo>
                <a:lnTo>
                  <a:pt x="3562" y="954"/>
                </a:lnTo>
                <a:lnTo>
                  <a:pt x="3564" y="956"/>
                </a:lnTo>
                <a:lnTo>
                  <a:pt x="3566" y="958"/>
                </a:lnTo>
                <a:lnTo>
                  <a:pt x="3566" y="958"/>
                </a:lnTo>
                <a:lnTo>
                  <a:pt x="3566" y="958"/>
                </a:lnTo>
                <a:lnTo>
                  <a:pt x="3566" y="958"/>
                </a:lnTo>
                <a:lnTo>
                  <a:pt x="3564" y="956"/>
                </a:lnTo>
                <a:lnTo>
                  <a:pt x="3562" y="954"/>
                </a:lnTo>
                <a:lnTo>
                  <a:pt x="3556" y="954"/>
                </a:lnTo>
                <a:lnTo>
                  <a:pt x="3556" y="954"/>
                </a:lnTo>
                <a:close/>
                <a:moveTo>
                  <a:pt x="3566" y="964"/>
                </a:moveTo>
                <a:lnTo>
                  <a:pt x="3566" y="964"/>
                </a:lnTo>
                <a:lnTo>
                  <a:pt x="3572" y="962"/>
                </a:lnTo>
                <a:lnTo>
                  <a:pt x="3576" y="958"/>
                </a:lnTo>
                <a:lnTo>
                  <a:pt x="3576" y="958"/>
                </a:lnTo>
                <a:lnTo>
                  <a:pt x="3572" y="958"/>
                </a:lnTo>
                <a:lnTo>
                  <a:pt x="3572" y="958"/>
                </a:lnTo>
                <a:lnTo>
                  <a:pt x="3576" y="958"/>
                </a:lnTo>
                <a:lnTo>
                  <a:pt x="3576" y="958"/>
                </a:lnTo>
                <a:lnTo>
                  <a:pt x="3572" y="962"/>
                </a:lnTo>
                <a:lnTo>
                  <a:pt x="3566" y="964"/>
                </a:lnTo>
                <a:lnTo>
                  <a:pt x="3566" y="964"/>
                </a:lnTo>
                <a:lnTo>
                  <a:pt x="3566" y="964"/>
                </a:lnTo>
                <a:lnTo>
                  <a:pt x="3566" y="964"/>
                </a:lnTo>
                <a:close/>
                <a:moveTo>
                  <a:pt x="3540" y="962"/>
                </a:moveTo>
                <a:lnTo>
                  <a:pt x="3540" y="962"/>
                </a:lnTo>
                <a:lnTo>
                  <a:pt x="3532" y="960"/>
                </a:lnTo>
                <a:lnTo>
                  <a:pt x="3532" y="960"/>
                </a:lnTo>
                <a:lnTo>
                  <a:pt x="3530" y="960"/>
                </a:lnTo>
                <a:lnTo>
                  <a:pt x="3530" y="960"/>
                </a:lnTo>
                <a:lnTo>
                  <a:pt x="3532" y="960"/>
                </a:lnTo>
                <a:lnTo>
                  <a:pt x="3532" y="960"/>
                </a:lnTo>
                <a:lnTo>
                  <a:pt x="3540" y="962"/>
                </a:lnTo>
                <a:lnTo>
                  <a:pt x="3540" y="962"/>
                </a:lnTo>
                <a:close/>
                <a:moveTo>
                  <a:pt x="3534" y="894"/>
                </a:moveTo>
                <a:lnTo>
                  <a:pt x="3534" y="894"/>
                </a:lnTo>
                <a:lnTo>
                  <a:pt x="3534" y="896"/>
                </a:lnTo>
                <a:lnTo>
                  <a:pt x="3534" y="896"/>
                </a:lnTo>
                <a:lnTo>
                  <a:pt x="3526" y="900"/>
                </a:lnTo>
                <a:lnTo>
                  <a:pt x="3526" y="900"/>
                </a:lnTo>
                <a:lnTo>
                  <a:pt x="3526" y="900"/>
                </a:lnTo>
                <a:lnTo>
                  <a:pt x="3526" y="900"/>
                </a:lnTo>
                <a:lnTo>
                  <a:pt x="3534" y="896"/>
                </a:lnTo>
                <a:lnTo>
                  <a:pt x="3534" y="896"/>
                </a:lnTo>
                <a:lnTo>
                  <a:pt x="3534" y="894"/>
                </a:lnTo>
                <a:lnTo>
                  <a:pt x="3534" y="894"/>
                </a:lnTo>
                <a:lnTo>
                  <a:pt x="3532" y="894"/>
                </a:lnTo>
                <a:lnTo>
                  <a:pt x="3532" y="894"/>
                </a:lnTo>
                <a:lnTo>
                  <a:pt x="3534" y="894"/>
                </a:lnTo>
                <a:lnTo>
                  <a:pt x="3534" y="894"/>
                </a:lnTo>
                <a:close/>
                <a:moveTo>
                  <a:pt x="3514" y="870"/>
                </a:moveTo>
                <a:lnTo>
                  <a:pt x="3514" y="870"/>
                </a:lnTo>
                <a:lnTo>
                  <a:pt x="3520" y="876"/>
                </a:lnTo>
                <a:lnTo>
                  <a:pt x="3520" y="876"/>
                </a:lnTo>
                <a:lnTo>
                  <a:pt x="3530" y="878"/>
                </a:lnTo>
                <a:lnTo>
                  <a:pt x="3530" y="878"/>
                </a:lnTo>
                <a:lnTo>
                  <a:pt x="3530" y="878"/>
                </a:lnTo>
                <a:lnTo>
                  <a:pt x="3530" y="878"/>
                </a:lnTo>
                <a:lnTo>
                  <a:pt x="3520" y="876"/>
                </a:lnTo>
                <a:lnTo>
                  <a:pt x="3520" y="876"/>
                </a:lnTo>
                <a:lnTo>
                  <a:pt x="3514" y="870"/>
                </a:lnTo>
                <a:lnTo>
                  <a:pt x="3514" y="870"/>
                </a:lnTo>
                <a:lnTo>
                  <a:pt x="3514" y="870"/>
                </a:lnTo>
                <a:lnTo>
                  <a:pt x="3514" y="870"/>
                </a:lnTo>
                <a:close/>
                <a:moveTo>
                  <a:pt x="3502" y="966"/>
                </a:moveTo>
                <a:lnTo>
                  <a:pt x="3502" y="966"/>
                </a:lnTo>
                <a:lnTo>
                  <a:pt x="3514" y="968"/>
                </a:lnTo>
                <a:lnTo>
                  <a:pt x="3514" y="968"/>
                </a:lnTo>
                <a:lnTo>
                  <a:pt x="3514" y="968"/>
                </a:lnTo>
                <a:lnTo>
                  <a:pt x="3514" y="968"/>
                </a:lnTo>
                <a:lnTo>
                  <a:pt x="3502" y="966"/>
                </a:lnTo>
                <a:lnTo>
                  <a:pt x="3502" y="966"/>
                </a:lnTo>
                <a:lnTo>
                  <a:pt x="3502" y="966"/>
                </a:lnTo>
                <a:lnTo>
                  <a:pt x="3502" y="966"/>
                </a:lnTo>
                <a:close/>
                <a:moveTo>
                  <a:pt x="3450" y="864"/>
                </a:moveTo>
                <a:lnTo>
                  <a:pt x="3450" y="864"/>
                </a:lnTo>
                <a:lnTo>
                  <a:pt x="3454" y="860"/>
                </a:lnTo>
                <a:lnTo>
                  <a:pt x="3454" y="860"/>
                </a:lnTo>
                <a:lnTo>
                  <a:pt x="3460" y="860"/>
                </a:lnTo>
                <a:lnTo>
                  <a:pt x="3466" y="860"/>
                </a:lnTo>
                <a:lnTo>
                  <a:pt x="3474" y="858"/>
                </a:lnTo>
                <a:lnTo>
                  <a:pt x="3480" y="854"/>
                </a:lnTo>
                <a:lnTo>
                  <a:pt x="3480" y="854"/>
                </a:lnTo>
                <a:lnTo>
                  <a:pt x="3496" y="872"/>
                </a:lnTo>
                <a:lnTo>
                  <a:pt x="3496" y="872"/>
                </a:lnTo>
                <a:lnTo>
                  <a:pt x="3486" y="874"/>
                </a:lnTo>
                <a:lnTo>
                  <a:pt x="3484" y="876"/>
                </a:lnTo>
                <a:lnTo>
                  <a:pt x="3480" y="878"/>
                </a:lnTo>
                <a:lnTo>
                  <a:pt x="3480" y="878"/>
                </a:lnTo>
                <a:lnTo>
                  <a:pt x="3472" y="880"/>
                </a:lnTo>
                <a:lnTo>
                  <a:pt x="3472" y="880"/>
                </a:lnTo>
                <a:lnTo>
                  <a:pt x="3466" y="878"/>
                </a:lnTo>
                <a:lnTo>
                  <a:pt x="3460" y="880"/>
                </a:lnTo>
                <a:lnTo>
                  <a:pt x="3460" y="880"/>
                </a:lnTo>
                <a:lnTo>
                  <a:pt x="3452" y="882"/>
                </a:lnTo>
                <a:lnTo>
                  <a:pt x="3442" y="880"/>
                </a:lnTo>
                <a:lnTo>
                  <a:pt x="3442" y="880"/>
                </a:lnTo>
                <a:lnTo>
                  <a:pt x="3430" y="876"/>
                </a:lnTo>
                <a:lnTo>
                  <a:pt x="3430" y="876"/>
                </a:lnTo>
                <a:lnTo>
                  <a:pt x="3432" y="872"/>
                </a:lnTo>
                <a:lnTo>
                  <a:pt x="3434" y="870"/>
                </a:lnTo>
                <a:lnTo>
                  <a:pt x="3444" y="870"/>
                </a:lnTo>
                <a:lnTo>
                  <a:pt x="3444" y="870"/>
                </a:lnTo>
                <a:lnTo>
                  <a:pt x="3448" y="868"/>
                </a:lnTo>
                <a:lnTo>
                  <a:pt x="3452" y="870"/>
                </a:lnTo>
                <a:lnTo>
                  <a:pt x="3456" y="876"/>
                </a:lnTo>
                <a:lnTo>
                  <a:pt x="3456" y="876"/>
                </a:lnTo>
                <a:lnTo>
                  <a:pt x="3470" y="872"/>
                </a:lnTo>
                <a:lnTo>
                  <a:pt x="3470" y="872"/>
                </a:lnTo>
                <a:lnTo>
                  <a:pt x="3466" y="868"/>
                </a:lnTo>
                <a:lnTo>
                  <a:pt x="3460" y="866"/>
                </a:lnTo>
                <a:lnTo>
                  <a:pt x="3454" y="866"/>
                </a:lnTo>
                <a:lnTo>
                  <a:pt x="3450" y="864"/>
                </a:lnTo>
                <a:lnTo>
                  <a:pt x="3450" y="864"/>
                </a:lnTo>
                <a:close/>
                <a:moveTo>
                  <a:pt x="3446" y="852"/>
                </a:moveTo>
                <a:lnTo>
                  <a:pt x="3446" y="852"/>
                </a:lnTo>
                <a:lnTo>
                  <a:pt x="3442" y="854"/>
                </a:lnTo>
                <a:lnTo>
                  <a:pt x="3436" y="854"/>
                </a:lnTo>
                <a:lnTo>
                  <a:pt x="3436" y="854"/>
                </a:lnTo>
                <a:lnTo>
                  <a:pt x="3442" y="854"/>
                </a:lnTo>
                <a:lnTo>
                  <a:pt x="3446" y="852"/>
                </a:lnTo>
                <a:lnTo>
                  <a:pt x="3446" y="852"/>
                </a:lnTo>
                <a:lnTo>
                  <a:pt x="3446" y="852"/>
                </a:lnTo>
                <a:lnTo>
                  <a:pt x="3446" y="852"/>
                </a:lnTo>
                <a:close/>
                <a:moveTo>
                  <a:pt x="3426" y="842"/>
                </a:moveTo>
                <a:lnTo>
                  <a:pt x="3426" y="842"/>
                </a:lnTo>
                <a:lnTo>
                  <a:pt x="3432" y="844"/>
                </a:lnTo>
                <a:lnTo>
                  <a:pt x="3436" y="842"/>
                </a:lnTo>
                <a:lnTo>
                  <a:pt x="3438" y="842"/>
                </a:lnTo>
                <a:lnTo>
                  <a:pt x="3438" y="838"/>
                </a:lnTo>
                <a:lnTo>
                  <a:pt x="3438" y="838"/>
                </a:lnTo>
                <a:lnTo>
                  <a:pt x="3438" y="838"/>
                </a:lnTo>
                <a:lnTo>
                  <a:pt x="3438" y="838"/>
                </a:lnTo>
                <a:lnTo>
                  <a:pt x="3438" y="842"/>
                </a:lnTo>
                <a:lnTo>
                  <a:pt x="3436" y="844"/>
                </a:lnTo>
                <a:lnTo>
                  <a:pt x="3432" y="844"/>
                </a:lnTo>
                <a:lnTo>
                  <a:pt x="3426" y="842"/>
                </a:lnTo>
                <a:lnTo>
                  <a:pt x="3426" y="842"/>
                </a:lnTo>
                <a:lnTo>
                  <a:pt x="3426" y="842"/>
                </a:lnTo>
                <a:lnTo>
                  <a:pt x="3426" y="842"/>
                </a:lnTo>
                <a:close/>
                <a:moveTo>
                  <a:pt x="3422" y="846"/>
                </a:moveTo>
                <a:lnTo>
                  <a:pt x="3422" y="846"/>
                </a:lnTo>
                <a:lnTo>
                  <a:pt x="3428" y="850"/>
                </a:lnTo>
                <a:lnTo>
                  <a:pt x="3428" y="850"/>
                </a:lnTo>
                <a:lnTo>
                  <a:pt x="3428" y="850"/>
                </a:lnTo>
                <a:lnTo>
                  <a:pt x="3428" y="850"/>
                </a:lnTo>
                <a:lnTo>
                  <a:pt x="3422" y="846"/>
                </a:lnTo>
                <a:lnTo>
                  <a:pt x="3422" y="846"/>
                </a:lnTo>
                <a:lnTo>
                  <a:pt x="3406" y="850"/>
                </a:lnTo>
                <a:lnTo>
                  <a:pt x="3406" y="850"/>
                </a:lnTo>
                <a:lnTo>
                  <a:pt x="3406" y="850"/>
                </a:lnTo>
                <a:lnTo>
                  <a:pt x="3406" y="850"/>
                </a:lnTo>
                <a:lnTo>
                  <a:pt x="3422" y="846"/>
                </a:lnTo>
                <a:lnTo>
                  <a:pt x="3422" y="846"/>
                </a:lnTo>
                <a:close/>
                <a:moveTo>
                  <a:pt x="3422" y="870"/>
                </a:moveTo>
                <a:lnTo>
                  <a:pt x="3422" y="870"/>
                </a:lnTo>
                <a:lnTo>
                  <a:pt x="3424" y="872"/>
                </a:lnTo>
                <a:lnTo>
                  <a:pt x="3424" y="872"/>
                </a:lnTo>
                <a:lnTo>
                  <a:pt x="3422" y="874"/>
                </a:lnTo>
                <a:lnTo>
                  <a:pt x="3422" y="874"/>
                </a:lnTo>
                <a:lnTo>
                  <a:pt x="3422" y="874"/>
                </a:lnTo>
                <a:lnTo>
                  <a:pt x="3422" y="874"/>
                </a:lnTo>
                <a:lnTo>
                  <a:pt x="3424" y="872"/>
                </a:lnTo>
                <a:lnTo>
                  <a:pt x="3424" y="872"/>
                </a:lnTo>
                <a:lnTo>
                  <a:pt x="3422" y="870"/>
                </a:lnTo>
                <a:lnTo>
                  <a:pt x="3422" y="870"/>
                </a:lnTo>
                <a:close/>
                <a:moveTo>
                  <a:pt x="3406" y="938"/>
                </a:moveTo>
                <a:lnTo>
                  <a:pt x="3406" y="938"/>
                </a:lnTo>
                <a:lnTo>
                  <a:pt x="3414" y="938"/>
                </a:lnTo>
                <a:lnTo>
                  <a:pt x="3420" y="940"/>
                </a:lnTo>
                <a:lnTo>
                  <a:pt x="3434" y="944"/>
                </a:lnTo>
                <a:lnTo>
                  <a:pt x="3434" y="944"/>
                </a:lnTo>
                <a:lnTo>
                  <a:pt x="3436" y="946"/>
                </a:lnTo>
                <a:lnTo>
                  <a:pt x="3434" y="948"/>
                </a:lnTo>
                <a:lnTo>
                  <a:pt x="3434" y="948"/>
                </a:lnTo>
                <a:lnTo>
                  <a:pt x="3432" y="950"/>
                </a:lnTo>
                <a:lnTo>
                  <a:pt x="3428" y="950"/>
                </a:lnTo>
                <a:lnTo>
                  <a:pt x="3428" y="950"/>
                </a:lnTo>
                <a:lnTo>
                  <a:pt x="3424" y="948"/>
                </a:lnTo>
                <a:lnTo>
                  <a:pt x="3422" y="944"/>
                </a:lnTo>
                <a:lnTo>
                  <a:pt x="3422" y="944"/>
                </a:lnTo>
                <a:lnTo>
                  <a:pt x="3412" y="948"/>
                </a:lnTo>
                <a:lnTo>
                  <a:pt x="3408" y="950"/>
                </a:lnTo>
                <a:lnTo>
                  <a:pt x="3404" y="948"/>
                </a:lnTo>
                <a:lnTo>
                  <a:pt x="3404" y="948"/>
                </a:lnTo>
                <a:lnTo>
                  <a:pt x="3402" y="946"/>
                </a:lnTo>
                <a:lnTo>
                  <a:pt x="3400" y="942"/>
                </a:lnTo>
                <a:lnTo>
                  <a:pt x="3400" y="942"/>
                </a:lnTo>
                <a:lnTo>
                  <a:pt x="3414" y="944"/>
                </a:lnTo>
                <a:lnTo>
                  <a:pt x="3414" y="944"/>
                </a:lnTo>
                <a:lnTo>
                  <a:pt x="3406" y="938"/>
                </a:lnTo>
                <a:lnTo>
                  <a:pt x="3406" y="938"/>
                </a:lnTo>
                <a:close/>
                <a:moveTo>
                  <a:pt x="3430" y="960"/>
                </a:moveTo>
                <a:lnTo>
                  <a:pt x="3430" y="960"/>
                </a:lnTo>
                <a:lnTo>
                  <a:pt x="3428" y="958"/>
                </a:lnTo>
                <a:lnTo>
                  <a:pt x="3428" y="958"/>
                </a:lnTo>
                <a:lnTo>
                  <a:pt x="3430" y="960"/>
                </a:lnTo>
                <a:lnTo>
                  <a:pt x="3430" y="960"/>
                </a:lnTo>
                <a:lnTo>
                  <a:pt x="3430" y="962"/>
                </a:lnTo>
                <a:lnTo>
                  <a:pt x="3430" y="962"/>
                </a:lnTo>
                <a:lnTo>
                  <a:pt x="3422" y="962"/>
                </a:lnTo>
                <a:lnTo>
                  <a:pt x="3422" y="962"/>
                </a:lnTo>
                <a:lnTo>
                  <a:pt x="3422" y="962"/>
                </a:lnTo>
                <a:lnTo>
                  <a:pt x="3422" y="962"/>
                </a:lnTo>
                <a:lnTo>
                  <a:pt x="3430" y="962"/>
                </a:lnTo>
                <a:lnTo>
                  <a:pt x="3430" y="962"/>
                </a:lnTo>
                <a:lnTo>
                  <a:pt x="3430" y="960"/>
                </a:lnTo>
                <a:lnTo>
                  <a:pt x="3430" y="960"/>
                </a:lnTo>
                <a:close/>
                <a:moveTo>
                  <a:pt x="3356" y="316"/>
                </a:moveTo>
                <a:lnTo>
                  <a:pt x="3356" y="316"/>
                </a:lnTo>
                <a:lnTo>
                  <a:pt x="3362" y="318"/>
                </a:lnTo>
                <a:lnTo>
                  <a:pt x="3362" y="318"/>
                </a:lnTo>
                <a:lnTo>
                  <a:pt x="3360" y="318"/>
                </a:lnTo>
                <a:lnTo>
                  <a:pt x="3360" y="318"/>
                </a:lnTo>
                <a:lnTo>
                  <a:pt x="3360" y="318"/>
                </a:lnTo>
                <a:lnTo>
                  <a:pt x="3360" y="318"/>
                </a:lnTo>
                <a:lnTo>
                  <a:pt x="3362" y="318"/>
                </a:lnTo>
                <a:lnTo>
                  <a:pt x="3362" y="318"/>
                </a:lnTo>
                <a:lnTo>
                  <a:pt x="3356" y="316"/>
                </a:lnTo>
                <a:lnTo>
                  <a:pt x="3356" y="316"/>
                </a:lnTo>
                <a:lnTo>
                  <a:pt x="3356" y="316"/>
                </a:lnTo>
                <a:lnTo>
                  <a:pt x="3356" y="316"/>
                </a:lnTo>
                <a:close/>
                <a:moveTo>
                  <a:pt x="3336" y="974"/>
                </a:moveTo>
                <a:lnTo>
                  <a:pt x="3336" y="974"/>
                </a:lnTo>
                <a:lnTo>
                  <a:pt x="3342" y="968"/>
                </a:lnTo>
                <a:lnTo>
                  <a:pt x="3342" y="968"/>
                </a:lnTo>
                <a:lnTo>
                  <a:pt x="3340" y="974"/>
                </a:lnTo>
                <a:lnTo>
                  <a:pt x="3340" y="974"/>
                </a:lnTo>
                <a:lnTo>
                  <a:pt x="3336" y="974"/>
                </a:lnTo>
                <a:lnTo>
                  <a:pt x="3336" y="974"/>
                </a:lnTo>
                <a:close/>
                <a:moveTo>
                  <a:pt x="3370" y="998"/>
                </a:moveTo>
                <a:lnTo>
                  <a:pt x="3370" y="998"/>
                </a:lnTo>
                <a:lnTo>
                  <a:pt x="3364" y="1000"/>
                </a:lnTo>
                <a:lnTo>
                  <a:pt x="3364" y="1000"/>
                </a:lnTo>
                <a:lnTo>
                  <a:pt x="3364" y="1000"/>
                </a:lnTo>
                <a:lnTo>
                  <a:pt x="3364" y="1000"/>
                </a:lnTo>
                <a:lnTo>
                  <a:pt x="3370" y="998"/>
                </a:lnTo>
                <a:lnTo>
                  <a:pt x="3370" y="998"/>
                </a:lnTo>
                <a:lnTo>
                  <a:pt x="3370" y="998"/>
                </a:lnTo>
                <a:lnTo>
                  <a:pt x="3370" y="998"/>
                </a:lnTo>
                <a:lnTo>
                  <a:pt x="3370" y="998"/>
                </a:lnTo>
                <a:lnTo>
                  <a:pt x="3370" y="998"/>
                </a:lnTo>
                <a:lnTo>
                  <a:pt x="3370" y="998"/>
                </a:lnTo>
                <a:lnTo>
                  <a:pt x="3370" y="998"/>
                </a:lnTo>
                <a:close/>
                <a:moveTo>
                  <a:pt x="3390" y="942"/>
                </a:moveTo>
                <a:lnTo>
                  <a:pt x="3390" y="942"/>
                </a:lnTo>
                <a:lnTo>
                  <a:pt x="3390" y="940"/>
                </a:lnTo>
                <a:lnTo>
                  <a:pt x="3390" y="940"/>
                </a:lnTo>
                <a:lnTo>
                  <a:pt x="3398" y="940"/>
                </a:lnTo>
                <a:lnTo>
                  <a:pt x="3398" y="940"/>
                </a:lnTo>
                <a:lnTo>
                  <a:pt x="3398" y="938"/>
                </a:lnTo>
                <a:lnTo>
                  <a:pt x="3398" y="938"/>
                </a:lnTo>
                <a:lnTo>
                  <a:pt x="3398" y="938"/>
                </a:lnTo>
                <a:lnTo>
                  <a:pt x="3398" y="938"/>
                </a:lnTo>
                <a:lnTo>
                  <a:pt x="3398" y="940"/>
                </a:lnTo>
                <a:lnTo>
                  <a:pt x="3398" y="940"/>
                </a:lnTo>
                <a:lnTo>
                  <a:pt x="3398" y="940"/>
                </a:lnTo>
                <a:lnTo>
                  <a:pt x="3390" y="942"/>
                </a:lnTo>
                <a:lnTo>
                  <a:pt x="3390" y="942"/>
                </a:lnTo>
                <a:close/>
                <a:moveTo>
                  <a:pt x="3406" y="974"/>
                </a:moveTo>
                <a:lnTo>
                  <a:pt x="3406" y="974"/>
                </a:lnTo>
                <a:lnTo>
                  <a:pt x="3414" y="976"/>
                </a:lnTo>
                <a:lnTo>
                  <a:pt x="3414" y="976"/>
                </a:lnTo>
                <a:lnTo>
                  <a:pt x="3422" y="978"/>
                </a:lnTo>
                <a:lnTo>
                  <a:pt x="3432" y="978"/>
                </a:lnTo>
                <a:lnTo>
                  <a:pt x="3432" y="978"/>
                </a:lnTo>
                <a:lnTo>
                  <a:pt x="3442" y="978"/>
                </a:lnTo>
                <a:lnTo>
                  <a:pt x="3442" y="978"/>
                </a:lnTo>
                <a:lnTo>
                  <a:pt x="3442" y="982"/>
                </a:lnTo>
                <a:lnTo>
                  <a:pt x="3442" y="986"/>
                </a:lnTo>
                <a:lnTo>
                  <a:pt x="3446" y="988"/>
                </a:lnTo>
                <a:lnTo>
                  <a:pt x="3452" y="990"/>
                </a:lnTo>
                <a:lnTo>
                  <a:pt x="3452" y="990"/>
                </a:lnTo>
                <a:lnTo>
                  <a:pt x="3450" y="994"/>
                </a:lnTo>
                <a:lnTo>
                  <a:pt x="3450" y="998"/>
                </a:lnTo>
                <a:lnTo>
                  <a:pt x="3450" y="998"/>
                </a:lnTo>
                <a:lnTo>
                  <a:pt x="3406" y="974"/>
                </a:lnTo>
                <a:lnTo>
                  <a:pt x="3406" y="974"/>
                </a:lnTo>
                <a:close/>
                <a:moveTo>
                  <a:pt x="3432" y="996"/>
                </a:moveTo>
                <a:lnTo>
                  <a:pt x="3432" y="996"/>
                </a:lnTo>
                <a:lnTo>
                  <a:pt x="3432" y="996"/>
                </a:lnTo>
                <a:lnTo>
                  <a:pt x="3432" y="996"/>
                </a:lnTo>
                <a:lnTo>
                  <a:pt x="3436" y="1000"/>
                </a:lnTo>
                <a:lnTo>
                  <a:pt x="3436" y="1000"/>
                </a:lnTo>
                <a:lnTo>
                  <a:pt x="3434" y="1002"/>
                </a:lnTo>
                <a:lnTo>
                  <a:pt x="3434" y="1002"/>
                </a:lnTo>
                <a:lnTo>
                  <a:pt x="3434" y="1002"/>
                </a:lnTo>
                <a:lnTo>
                  <a:pt x="3434" y="1002"/>
                </a:lnTo>
                <a:lnTo>
                  <a:pt x="3436" y="1000"/>
                </a:lnTo>
                <a:lnTo>
                  <a:pt x="3436" y="1000"/>
                </a:lnTo>
                <a:lnTo>
                  <a:pt x="3432" y="996"/>
                </a:lnTo>
                <a:lnTo>
                  <a:pt x="3432" y="996"/>
                </a:lnTo>
                <a:close/>
                <a:moveTo>
                  <a:pt x="3442" y="1002"/>
                </a:moveTo>
                <a:lnTo>
                  <a:pt x="3442" y="1002"/>
                </a:lnTo>
                <a:lnTo>
                  <a:pt x="3442" y="1002"/>
                </a:lnTo>
                <a:lnTo>
                  <a:pt x="3442" y="1002"/>
                </a:lnTo>
                <a:lnTo>
                  <a:pt x="3446" y="1004"/>
                </a:lnTo>
                <a:lnTo>
                  <a:pt x="3446" y="1004"/>
                </a:lnTo>
                <a:lnTo>
                  <a:pt x="3444" y="1004"/>
                </a:lnTo>
                <a:lnTo>
                  <a:pt x="3444" y="1004"/>
                </a:lnTo>
                <a:lnTo>
                  <a:pt x="3444" y="1004"/>
                </a:lnTo>
                <a:lnTo>
                  <a:pt x="3444" y="1004"/>
                </a:lnTo>
                <a:lnTo>
                  <a:pt x="3444" y="1004"/>
                </a:lnTo>
                <a:lnTo>
                  <a:pt x="3444" y="1004"/>
                </a:lnTo>
                <a:lnTo>
                  <a:pt x="3442" y="1002"/>
                </a:lnTo>
                <a:lnTo>
                  <a:pt x="3442" y="1002"/>
                </a:lnTo>
                <a:close/>
                <a:moveTo>
                  <a:pt x="3434" y="1018"/>
                </a:moveTo>
                <a:lnTo>
                  <a:pt x="3434" y="1018"/>
                </a:lnTo>
                <a:lnTo>
                  <a:pt x="3450" y="1014"/>
                </a:lnTo>
                <a:lnTo>
                  <a:pt x="3450" y="1014"/>
                </a:lnTo>
                <a:lnTo>
                  <a:pt x="3450" y="1018"/>
                </a:lnTo>
                <a:lnTo>
                  <a:pt x="3450" y="1018"/>
                </a:lnTo>
                <a:lnTo>
                  <a:pt x="3452" y="1026"/>
                </a:lnTo>
                <a:lnTo>
                  <a:pt x="3444" y="1026"/>
                </a:lnTo>
                <a:lnTo>
                  <a:pt x="3444" y="1026"/>
                </a:lnTo>
                <a:lnTo>
                  <a:pt x="3442" y="1030"/>
                </a:lnTo>
                <a:lnTo>
                  <a:pt x="3442" y="1030"/>
                </a:lnTo>
                <a:lnTo>
                  <a:pt x="3440" y="1028"/>
                </a:lnTo>
                <a:lnTo>
                  <a:pt x="3440" y="1028"/>
                </a:lnTo>
                <a:lnTo>
                  <a:pt x="3440" y="1028"/>
                </a:lnTo>
                <a:lnTo>
                  <a:pt x="3440" y="1024"/>
                </a:lnTo>
                <a:lnTo>
                  <a:pt x="3438" y="1022"/>
                </a:lnTo>
                <a:lnTo>
                  <a:pt x="3434" y="1018"/>
                </a:lnTo>
                <a:lnTo>
                  <a:pt x="3434" y="1018"/>
                </a:lnTo>
                <a:close/>
                <a:moveTo>
                  <a:pt x="3486" y="1020"/>
                </a:moveTo>
                <a:lnTo>
                  <a:pt x="3486" y="1020"/>
                </a:lnTo>
                <a:lnTo>
                  <a:pt x="3486" y="1018"/>
                </a:lnTo>
                <a:lnTo>
                  <a:pt x="3486" y="1018"/>
                </a:lnTo>
                <a:lnTo>
                  <a:pt x="3486" y="1020"/>
                </a:lnTo>
                <a:lnTo>
                  <a:pt x="3486" y="1020"/>
                </a:lnTo>
                <a:lnTo>
                  <a:pt x="3486" y="1020"/>
                </a:lnTo>
                <a:lnTo>
                  <a:pt x="3486" y="1020"/>
                </a:lnTo>
                <a:close/>
                <a:moveTo>
                  <a:pt x="3550" y="1038"/>
                </a:moveTo>
                <a:lnTo>
                  <a:pt x="3550" y="1038"/>
                </a:lnTo>
                <a:lnTo>
                  <a:pt x="3554" y="1040"/>
                </a:lnTo>
                <a:lnTo>
                  <a:pt x="3558" y="1040"/>
                </a:lnTo>
                <a:lnTo>
                  <a:pt x="3558" y="1040"/>
                </a:lnTo>
                <a:lnTo>
                  <a:pt x="3558" y="1040"/>
                </a:lnTo>
                <a:lnTo>
                  <a:pt x="3558" y="1040"/>
                </a:lnTo>
                <a:lnTo>
                  <a:pt x="3554" y="1040"/>
                </a:lnTo>
                <a:lnTo>
                  <a:pt x="3550" y="1038"/>
                </a:lnTo>
                <a:lnTo>
                  <a:pt x="3550" y="1038"/>
                </a:lnTo>
                <a:close/>
                <a:moveTo>
                  <a:pt x="3584" y="1032"/>
                </a:moveTo>
                <a:lnTo>
                  <a:pt x="3584" y="1032"/>
                </a:lnTo>
                <a:lnTo>
                  <a:pt x="3576" y="1034"/>
                </a:lnTo>
                <a:lnTo>
                  <a:pt x="3576" y="1034"/>
                </a:lnTo>
                <a:lnTo>
                  <a:pt x="3548" y="1038"/>
                </a:lnTo>
                <a:lnTo>
                  <a:pt x="3548" y="1038"/>
                </a:lnTo>
                <a:lnTo>
                  <a:pt x="3548" y="1010"/>
                </a:lnTo>
                <a:lnTo>
                  <a:pt x="3548" y="1010"/>
                </a:lnTo>
                <a:lnTo>
                  <a:pt x="3530" y="1008"/>
                </a:lnTo>
                <a:lnTo>
                  <a:pt x="3530" y="1008"/>
                </a:lnTo>
                <a:lnTo>
                  <a:pt x="3530" y="1008"/>
                </a:lnTo>
                <a:lnTo>
                  <a:pt x="3530" y="1008"/>
                </a:lnTo>
                <a:lnTo>
                  <a:pt x="3540" y="1008"/>
                </a:lnTo>
                <a:lnTo>
                  <a:pt x="3548" y="1008"/>
                </a:lnTo>
                <a:lnTo>
                  <a:pt x="3548" y="1008"/>
                </a:lnTo>
                <a:lnTo>
                  <a:pt x="3548" y="1000"/>
                </a:lnTo>
                <a:lnTo>
                  <a:pt x="3548" y="1000"/>
                </a:lnTo>
                <a:lnTo>
                  <a:pt x="3554" y="1000"/>
                </a:lnTo>
                <a:lnTo>
                  <a:pt x="3554" y="1000"/>
                </a:lnTo>
                <a:lnTo>
                  <a:pt x="3556" y="1010"/>
                </a:lnTo>
                <a:lnTo>
                  <a:pt x="3556" y="1010"/>
                </a:lnTo>
                <a:lnTo>
                  <a:pt x="3552" y="1010"/>
                </a:lnTo>
                <a:lnTo>
                  <a:pt x="3552" y="1010"/>
                </a:lnTo>
                <a:lnTo>
                  <a:pt x="3558" y="1014"/>
                </a:lnTo>
                <a:lnTo>
                  <a:pt x="3558" y="1014"/>
                </a:lnTo>
                <a:lnTo>
                  <a:pt x="3560" y="1014"/>
                </a:lnTo>
                <a:lnTo>
                  <a:pt x="3560" y="1014"/>
                </a:lnTo>
                <a:lnTo>
                  <a:pt x="3560" y="1016"/>
                </a:lnTo>
                <a:lnTo>
                  <a:pt x="3560" y="1016"/>
                </a:lnTo>
                <a:lnTo>
                  <a:pt x="3552" y="1018"/>
                </a:lnTo>
                <a:lnTo>
                  <a:pt x="3552" y="1018"/>
                </a:lnTo>
                <a:lnTo>
                  <a:pt x="3548" y="1020"/>
                </a:lnTo>
                <a:lnTo>
                  <a:pt x="3548" y="1020"/>
                </a:lnTo>
                <a:lnTo>
                  <a:pt x="3556" y="1022"/>
                </a:lnTo>
                <a:lnTo>
                  <a:pt x="3562" y="1024"/>
                </a:lnTo>
                <a:lnTo>
                  <a:pt x="3562" y="1024"/>
                </a:lnTo>
                <a:lnTo>
                  <a:pt x="3568" y="1026"/>
                </a:lnTo>
                <a:lnTo>
                  <a:pt x="3574" y="1026"/>
                </a:lnTo>
                <a:lnTo>
                  <a:pt x="3574" y="1026"/>
                </a:lnTo>
                <a:lnTo>
                  <a:pt x="3576" y="1022"/>
                </a:lnTo>
                <a:lnTo>
                  <a:pt x="3580" y="1022"/>
                </a:lnTo>
                <a:lnTo>
                  <a:pt x="3580" y="1022"/>
                </a:lnTo>
                <a:lnTo>
                  <a:pt x="3586" y="1024"/>
                </a:lnTo>
                <a:lnTo>
                  <a:pt x="3586" y="1024"/>
                </a:lnTo>
                <a:lnTo>
                  <a:pt x="3588" y="1028"/>
                </a:lnTo>
                <a:lnTo>
                  <a:pt x="3590" y="1030"/>
                </a:lnTo>
                <a:lnTo>
                  <a:pt x="3588" y="1032"/>
                </a:lnTo>
                <a:lnTo>
                  <a:pt x="3584" y="1032"/>
                </a:lnTo>
                <a:lnTo>
                  <a:pt x="3584" y="1032"/>
                </a:lnTo>
                <a:close/>
                <a:moveTo>
                  <a:pt x="3564" y="1002"/>
                </a:moveTo>
                <a:lnTo>
                  <a:pt x="3564" y="1002"/>
                </a:lnTo>
                <a:lnTo>
                  <a:pt x="3564" y="1002"/>
                </a:lnTo>
                <a:lnTo>
                  <a:pt x="3564" y="1002"/>
                </a:lnTo>
                <a:lnTo>
                  <a:pt x="3566" y="1004"/>
                </a:lnTo>
                <a:lnTo>
                  <a:pt x="3566" y="1004"/>
                </a:lnTo>
                <a:lnTo>
                  <a:pt x="3564" y="1006"/>
                </a:lnTo>
                <a:lnTo>
                  <a:pt x="3564" y="1006"/>
                </a:lnTo>
                <a:lnTo>
                  <a:pt x="3564" y="1006"/>
                </a:lnTo>
                <a:lnTo>
                  <a:pt x="3564" y="1006"/>
                </a:lnTo>
                <a:lnTo>
                  <a:pt x="3566" y="1004"/>
                </a:lnTo>
                <a:lnTo>
                  <a:pt x="3566" y="1004"/>
                </a:lnTo>
                <a:lnTo>
                  <a:pt x="3564" y="1002"/>
                </a:lnTo>
                <a:lnTo>
                  <a:pt x="3564" y="1002"/>
                </a:lnTo>
                <a:close/>
                <a:moveTo>
                  <a:pt x="3590" y="1016"/>
                </a:moveTo>
                <a:lnTo>
                  <a:pt x="3590" y="1016"/>
                </a:lnTo>
                <a:lnTo>
                  <a:pt x="3582" y="1018"/>
                </a:lnTo>
                <a:lnTo>
                  <a:pt x="3582" y="1012"/>
                </a:lnTo>
                <a:lnTo>
                  <a:pt x="3582" y="1012"/>
                </a:lnTo>
                <a:lnTo>
                  <a:pt x="3568" y="1010"/>
                </a:lnTo>
                <a:lnTo>
                  <a:pt x="3568" y="1010"/>
                </a:lnTo>
                <a:lnTo>
                  <a:pt x="3568" y="1008"/>
                </a:lnTo>
                <a:lnTo>
                  <a:pt x="3568" y="1008"/>
                </a:lnTo>
                <a:lnTo>
                  <a:pt x="3584" y="1004"/>
                </a:lnTo>
                <a:lnTo>
                  <a:pt x="3584" y="1004"/>
                </a:lnTo>
                <a:lnTo>
                  <a:pt x="3580" y="1000"/>
                </a:lnTo>
                <a:lnTo>
                  <a:pt x="3580" y="1000"/>
                </a:lnTo>
                <a:lnTo>
                  <a:pt x="3590" y="996"/>
                </a:lnTo>
                <a:lnTo>
                  <a:pt x="3590" y="996"/>
                </a:lnTo>
                <a:lnTo>
                  <a:pt x="3598" y="1000"/>
                </a:lnTo>
                <a:lnTo>
                  <a:pt x="3598" y="1000"/>
                </a:lnTo>
                <a:lnTo>
                  <a:pt x="3606" y="1002"/>
                </a:lnTo>
                <a:lnTo>
                  <a:pt x="3606" y="1002"/>
                </a:lnTo>
                <a:lnTo>
                  <a:pt x="3602" y="1006"/>
                </a:lnTo>
                <a:lnTo>
                  <a:pt x="3602" y="1006"/>
                </a:lnTo>
                <a:lnTo>
                  <a:pt x="3602" y="1008"/>
                </a:lnTo>
                <a:lnTo>
                  <a:pt x="3602" y="1008"/>
                </a:lnTo>
                <a:lnTo>
                  <a:pt x="3604" y="1010"/>
                </a:lnTo>
                <a:lnTo>
                  <a:pt x="3604" y="1010"/>
                </a:lnTo>
                <a:lnTo>
                  <a:pt x="3608" y="1010"/>
                </a:lnTo>
                <a:lnTo>
                  <a:pt x="3612" y="1012"/>
                </a:lnTo>
                <a:lnTo>
                  <a:pt x="3612" y="1012"/>
                </a:lnTo>
                <a:lnTo>
                  <a:pt x="3612" y="1012"/>
                </a:lnTo>
                <a:lnTo>
                  <a:pt x="3612" y="1012"/>
                </a:lnTo>
                <a:lnTo>
                  <a:pt x="3608" y="1010"/>
                </a:lnTo>
                <a:lnTo>
                  <a:pt x="3604" y="1010"/>
                </a:lnTo>
                <a:lnTo>
                  <a:pt x="3604" y="1010"/>
                </a:lnTo>
                <a:lnTo>
                  <a:pt x="3608" y="1012"/>
                </a:lnTo>
                <a:lnTo>
                  <a:pt x="3608" y="1012"/>
                </a:lnTo>
                <a:lnTo>
                  <a:pt x="3600" y="1014"/>
                </a:lnTo>
                <a:lnTo>
                  <a:pt x="3600" y="1014"/>
                </a:lnTo>
                <a:lnTo>
                  <a:pt x="3590" y="1016"/>
                </a:lnTo>
                <a:lnTo>
                  <a:pt x="3590" y="1016"/>
                </a:lnTo>
                <a:close/>
                <a:moveTo>
                  <a:pt x="3592" y="990"/>
                </a:moveTo>
                <a:lnTo>
                  <a:pt x="3592" y="990"/>
                </a:lnTo>
                <a:lnTo>
                  <a:pt x="3588" y="990"/>
                </a:lnTo>
                <a:lnTo>
                  <a:pt x="3588" y="990"/>
                </a:lnTo>
                <a:lnTo>
                  <a:pt x="3592" y="990"/>
                </a:lnTo>
                <a:lnTo>
                  <a:pt x="3592" y="990"/>
                </a:lnTo>
                <a:lnTo>
                  <a:pt x="3604" y="990"/>
                </a:lnTo>
                <a:lnTo>
                  <a:pt x="3604" y="990"/>
                </a:lnTo>
                <a:lnTo>
                  <a:pt x="3594" y="996"/>
                </a:lnTo>
                <a:lnTo>
                  <a:pt x="3594" y="996"/>
                </a:lnTo>
                <a:lnTo>
                  <a:pt x="3594" y="996"/>
                </a:lnTo>
                <a:lnTo>
                  <a:pt x="3594" y="996"/>
                </a:lnTo>
                <a:lnTo>
                  <a:pt x="3604" y="990"/>
                </a:lnTo>
                <a:lnTo>
                  <a:pt x="3604" y="990"/>
                </a:lnTo>
                <a:lnTo>
                  <a:pt x="3592" y="990"/>
                </a:lnTo>
                <a:lnTo>
                  <a:pt x="3592" y="990"/>
                </a:lnTo>
                <a:close/>
                <a:moveTo>
                  <a:pt x="3602" y="1034"/>
                </a:moveTo>
                <a:lnTo>
                  <a:pt x="3602" y="1034"/>
                </a:lnTo>
                <a:lnTo>
                  <a:pt x="3602" y="1034"/>
                </a:lnTo>
                <a:lnTo>
                  <a:pt x="3602" y="1034"/>
                </a:lnTo>
                <a:lnTo>
                  <a:pt x="3614" y="1032"/>
                </a:lnTo>
                <a:lnTo>
                  <a:pt x="3616" y="1028"/>
                </a:lnTo>
                <a:lnTo>
                  <a:pt x="3616" y="1024"/>
                </a:lnTo>
                <a:lnTo>
                  <a:pt x="3616" y="1024"/>
                </a:lnTo>
                <a:lnTo>
                  <a:pt x="3616" y="1024"/>
                </a:lnTo>
                <a:lnTo>
                  <a:pt x="3616" y="1024"/>
                </a:lnTo>
                <a:lnTo>
                  <a:pt x="3616" y="1028"/>
                </a:lnTo>
                <a:lnTo>
                  <a:pt x="3614" y="1032"/>
                </a:lnTo>
                <a:lnTo>
                  <a:pt x="3602" y="1034"/>
                </a:lnTo>
                <a:lnTo>
                  <a:pt x="3602" y="1034"/>
                </a:lnTo>
                <a:close/>
                <a:moveTo>
                  <a:pt x="3616" y="1024"/>
                </a:moveTo>
                <a:lnTo>
                  <a:pt x="3616" y="1024"/>
                </a:lnTo>
                <a:lnTo>
                  <a:pt x="3616" y="1024"/>
                </a:lnTo>
                <a:lnTo>
                  <a:pt x="3616" y="1024"/>
                </a:lnTo>
                <a:lnTo>
                  <a:pt x="3618" y="1022"/>
                </a:lnTo>
                <a:lnTo>
                  <a:pt x="3618" y="1022"/>
                </a:lnTo>
                <a:lnTo>
                  <a:pt x="3616" y="1020"/>
                </a:lnTo>
                <a:lnTo>
                  <a:pt x="3616" y="1020"/>
                </a:lnTo>
                <a:lnTo>
                  <a:pt x="3616" y="1020"/>
                </a:lnTo>
                <a:lnTo>
                  <a:pt x="3616" y="1020"/>
                </a:lnTo>
                <a:lnTo>
                  <a:pt x="3618" y="1022"/>
                </a:lnTo>
                <a:lnTo>
                  <a:pt x="3618" y="1022"/>
                </a:lnTo>
                <a:lnTo>
                  <a:pt x="3616" y="1024"/>
                </a:lnTo>
                <a:lnTo>
                  <a:pt x="3616" y="1024"/>
                </a:lnTo>
                <a:close/>
                <a:moveTo>
                  <a:pt x="3636" y="1050"/>
                </a:moveTo>
                <a:lnTo>
                  <a:pt x="3636" y="1050"/>
                </a:lnTo>
                <a:lnTo>
                  <a:pt x="3632" y="1044"/>
                </a:lnTo>
                <a:lnTo>
                  <a:pt x="3632" y="1044"/>
                </a:lnTo>
                <a:lnTo>
                  <a:pt x="3632" y="1044"/>
                </a:lnTo>
                <a:lnTo>
                  <a:pt x="3632" y="1044"/>
                </a:lnTo>
                <a:lnTo>
                  <a:pt x="3636" y="1048"/>
                </a:lnTo>
                <a:lnTo>
                  <a:pt x="3636" y="1048"/>
                </a:lnTo>
                <a:lnTo>
                  <a:pt x="3636" y="1050"/>
                </a:lnTo>
                <a:lnTo>
                  <a:pt x="3636" y="1050"/>
                </a:lnTo>
                <a:close/>
                <a:moveTo>
                  <a:pt x="3640" y="1042"/>
                </a:moveTo>
                <a:lnTo>
                  <a:pt x="3640" y="1042"/>
                </a:lnTo>
                <a:lnTo>
                  <a:pt x="3638" y="1040"/>
                </a:lnTo>
                <a:lnTo>
                  <a:pt x="3634" y="1038"/>
                </a:lnTo>
                <a:lnTo>
                  <a:pt x="3624" y="1038"/>
                </a:lnTo>
                <a:lnTo>
                  <a:pt x="3624" y="1038"/>
                </a:lnTo>
                <a:lnTo>
                  <a:pt x="3622" y="1040"/>
                </a:lnTo>
                <a:lnTo>
                  <a:pt x="3618" y="1042"/>
                </a:lnTo>
                <a:lnTo>
                  <a:pt x="3618" y="1042"/>
                </a:lnTo>
                <a:lnTo>
                  <a:pt x="3618" y="1042"/>
                </a:lnTo>
                <a:lnTo>
                  <a:pt x="3618" y="1042"/>
                </a:lnTo>
                <a:lnTo>
                  <a:pt x="3622" y="1040"/>
                </a:lnTo>
                <a:lnTo>
                  <a:pt x="3624" y="1038"/>
                </a:lnTo>
                <a:lnTo>
                  <a:pt x="3624" y="1038"/>
                </a:lnTo>
                <a:lnTo>
                  <a:pt x="3634" y="1038"/>
                </a:lnTo>
                <a:lnTo>
                  <a:pt x="3638" y="1040"/>
                </a:lnTo>
                <a:lnTo>
                  <a:pt x="3640" y="1042"/>
                </a:lnTo>
                <a:lnTo>
                  <a:pt x="3640" y="1042"/>
                </a:lnTo>
                <a:lnTo>
                  <a:pt x="3640" y="1042"/>
                </a:lnTo>
                <a:lnTo>
                  <a:pt x="3640" y="1042"/>
                </a:lnTo>
                <a:close/>
                <a:moveTo>
                  <a:pt x="3640" y="1000"/>
                </a:moveTo>
                <a:lnTo>
                  <a:pt x="3640" y="1000"/>
                </a:lnTo>
                <a:lnTo>
                  <a:pt x="3636" y="1002"/>
                </a:lnTo>
                <a:lnTo>
                  <a:pt x="3634" y="1002"/>
                </a:lnTo>
                <a:lnTo>
                  <a:pt x="3628" y="1002"/>
                </a:lnTo>
                <a:lnTo>
                  <a:pt x="3628" y="1002"/>
                </a:lnTo>
                <a:lnTo>
                  <a:pt x="3630" y="1000"/>
                </a:lnTo>
                <a:lnTo>
                  <a:pt x="3630" y="1000"/>
                </a:lnTo>
                <a:lnTo>
                  <a:pt x="3628" y="1002"/>
                </a:lnTo>
                <a:lnTo>
                  <a:pt x="3628" y="1002"/>
                </a:lnTo>
                <a:lnTo>
                  <a:pt x="3634" y="1002"/>
                </a:lnTo>
                <a:lnTo>
                  <a:pt x="3636" y="1002"/>
                </a:lnTo>
                <a:lnTo>
                  <a:pt x="3640" y="1000"/>
                </a:lnTo>
                <a:lnTo>
                  <a:pt x="3640" y="1000"/>
                </a:lnTo>
                <a:close/>
                <a:moveTo>
                  <a:pt x="3638" y="998"/>
                </a:moveTo>
                <a:lnTo>
                  <a:pt x="3638" y="998"/>
                </a:lnTo>
                <a:lnTo>
                  <a:pt x="3636" y="1000"/>
                </a:lnTo>
                <a:lnTo>
                  <a:pt x="3636" y="1000"/>
                </a:lnTo>
                <a:lnTo>
                  <a:pt x="3636" y="1000"/>
                </a:lnTo>
                <a:lnTo>
                  <a:pt x="3636" y="1000"/>
                </a:lnTo>
                <a:lnTo>
                  <a:pt x="3636" y="998"/>
                </a:lnTo>
                <a:lnTo>
                  <a:pt x="3636" y="998"/>
                </a:lnTo>
                <a:lnTo>
                  <a:pt x="3632" y="996"/>
                </a:lnTo>
                <a:lnTo>
                  <a:pt x="3632" y="996"/>
                </a:lnTo>
                <a:lnTo>
                  <a:pt x="3632" y="996"/>
                </a:lnTo>
                <a:lnTo>
                  <a:pt x="3632" y="996"/>
                </a:lnTo>
                <a:lnTo>
                  <a:pt x="3632" y="996"/>
                </a:lnTo>
                <a:lnTo>
                  <a:pt x="3638" y="998"/>
                </a:lnTo>
                <a:lnTo>
                  <a:pt x="3638" y="998"/>
                </a:lnTo>
                <a:close/>
                <a:moveTo>
                  <a:pt x="3636" y="994"/>
                </a:moveTo>
                <a:lnTo>
                  <a:pt x="3636" y="994"/>
                </a:lnTo>
                <a:lnTo>
                  <a:pt x="3636" y="994"/>
                </a:lnTo>
                <a:lnTo>
                  <a:pt x="3636" y="994"/>
                </a:lnTo>
                <a:lnTo>
                  <a:pt x="3644" y="990"/>
                </a:lnTo>
                <a:lnTo>
                  <a:pt x="3644" y="990"/>
                </a:lnTo>
                <a:lnTo>
                  <a:pt x="3638" y="986"/>
                </a:lnTo>
                <a:lnTo>
                  <a:pt x="3638" y="986"/>
                </a:lnTo>
                <a:lnTo>
                  <a:pt x="3644" y="990"/>
                </a:lnTo>
                <a:lnTo>
                  <a:pt x="3644" y="990"/>
                </a:lnTo>
                <a:lnTo>
                  <a:pt x="3636" y="994"/>
                </a:lnTo>
                <a:lnTo>
                  <a:pt x="3636" y="994"/>
                </a:lnTo>
                <a:close/>
                <a:moveTo>
                  <a:pt x="3654" y="984"/>
                </a:moveTo>
                <a:lnTo>
                  <a:pt x="3654" y="984"/>
                </a:lnTo>
                <a:lnTo>
                  <a:pt x="3636" y="982"/>
                </a:lnTo>
                <a:lnTo>
                  <a:pt x="3636" y="982"/>
                </a:lnTo>
                <a:lnTo>
                  <a:pt x="3630" y="982"/>
                </a:lnTo>
                <a:lnTo>
                  <a:pt x="3624" y="984"/>
                </a:lnTo>
                <a:lnTo>
                  <a:pt x="3624" y="984"/>
                </a:lnTo>
                <a:lnTo>
                  <a:pt x="3614" y="986"/>
                </a:lnTo>
                <a:lnTo>
                  <a:pt x="3604" y="986"/>
                </a:lnTo>
                <a:lnTo>
                  <a:pt x="3604" y="986"/>
                </a:lnTo>
                <a:lnTo>
                  <a:pt x="3590" y="984"/>
                </a:lnTo>
                <a:lnTo>
                  <a:pt x="3590" y="984"/>
                </a:lnTo>
                <a:lnTo>
                  <a:pt x="3582" y="986"/>
                </a:lnTo>
                <a:lnTo>
                  <a:pt x="3574" y="988"/>
                </a:lnTo>
                <a:lnTo>
                  <a:pt x="3574" y="988"/>
                </a:lnTo>
                <a:lnTo>
                  <a:pt x="3568" y="990"/>
                </a:lnTo>
                <a:lnTo>
                  <a:pt x="3564" y="990"/>
                </a:lnTo>
                <a:lnTo>
                  <a:pt x="3564" y="990"/>
                </a:lnTo>
                <a:lnTo>
                  <a:pt x="3564" y="992"/>
                </a:lnTo>
                <a:lnTo>
                  <a:pt x="3564" y="992"/>
                </a:lnTo>
                <a:lnTo>
                  <a:pt x="3554" y="992"/>
                </a:lnTo>
                <a:lnTo>
                  <a:pt x="3548" y="990"/>
                </a:lnTo>
                <a:lnTo>
                  <a:pt x="3548" y="990"/>
                </a:lnTo>
                <a:lnTo>
                  <a:pt x="3548" y="982"/>
                </a:lnTo>
                <a:lnTo>
                  <a:pt x="3548" y="982"/>
                </a:lnTo>
                <a:lnTo>
                  <a:pt x="3550" y="982"/>
                </a:lnTo>
                <a:lnTo>
                  <a:pt x="3550" y="982"/>
                </a:lnTo>
                <a:lnTo>
                  <a:pt x="3558" y="982"/>
                </a:lnTo>
                <a:lnTo>
                  <a:pt x="3562" y="986"/>
                </a:lnTo>
                <a:lnTo>
                  <a:pt x="3562" y="986"/>
                </a:lnTo>
                <a:lnTo>
                  <a:pt x="3566" y="986"/>
                </a:lnTo>
                <a:lnTo>
                  <a:pt x="3566" y="986"/>
                </a:lnTo>
                <a:lnTo>
                  <a:pt x="3560" y="982"/>
                </a:lnTo>
                <a:lnTo>
                  <a:pt x="3556" y="980"/>
                </a:lnTo>
                <a:lnTo>
                  <a:pt x="3556" y="976"/>
                </a:lnTo>
                <a:lnTo>
                  <a:pt x="3558" y="972"/>
                </a:lnTo>
                <a:lnTo>
                  <a:pt x="3558" y="972"/>
                </a:lnTo>
                <a:lnTo>
                  <a:pt x="3576" y="968"/>
                </a:lnTo>
                <a:lnTo>
                  <a:pt x="3586" y="966"/>
                </a:lnTo>
                <a:lnTo>
                  <a:pt x="3596" y="962"/>
                </a:lnTo>
                <a:lnTo>
                  <a:pt x="3596" y="962"/>
                </a:lnTo>
                <a:lnTo>
                  <a:pt x="3602" y="964"/>
                </a:lnTo>
                <a:lnTo>
                  <a:pt x="3602" y="964"/>
                </a:lnTo>
                <a:lnTo>
                  <a:pt x="3608" y="968"/>
                </a:lnTo>
                <a:lnTo>
                  <a:pt x="3612" y="970"/>
                </a:lnTo>
                <a:lnTo>
                  <a:pt x="3616" y="970"/>
                </a:lnTo>
                <a:lnTo>
                  <a:pt x="3622" y="966"/>
                </a:lnTo>
                <a:lnTo>
                  <a:pt x="3622" y="966"/>
                </a:lnTo>
                <a:lnTo>
                  <a:pt x="3624" y="966"/>
                </a:lnTo>
                <a:lnTo>
                  <a:pt x="3624" y="966"/>
                </a:lnTo>
                <a:lnTo>
                  <a:pt x="3628" y="968"/>
                </a:lnTo>
                <a:lnTo>
                  <a:pt x="3626" y="972"/>
                </a:lnTo>
                <a:lnTo>
                  <a:pt x="3626" y="972"/>
                </a:lnTo>
                <a:lnTo>
                  <a:pt x="3630" y="974"/>
                </a:lnTo>
                <a:lnTo>
                  <a:pt x="3632" y="976"/>
                </a:lnTo>
                <a:lnTo>
                  <a:pt x="3642" y="976"/>
                </a:lnTo>
                <a:lnTo>
                  <a:pt x="3642" y="976"/>
                </a:lnTo>
                <a:lnTo>
                  <a:pt x="3658" y="974"/>
                </a:lnTo>
                <a:lnTo>
                  <a:pt x="3672" y="974"/>
                </a:lnTo>
                <a:lnTo>
                  <a:pt x="3672" y="974"/>
                </a:lnTo>
                <a:lnTo>
                  <a:pt x="3684" y="978"/>
                </a:lnTo>
                <a:lnTo>
                  <a:pt x="3684" y="978"/>
                </a:lnTo>
                <a:lnTo>
                  <a:pt x="3676" y="980"/>
                </a:lnTo>
                <a:lnTo>
                  <a:pt x="3674" y="980"/>
                </a:lnTo>
                <a:lnTo>
                  <a:pt x="3672" y="976"/>
                </a:lnTo>
                <a:lnTo>
                  <a:pt x="3672" y="976"/>
                </a:lnTo>
                <a:lnTo>
                  <a:pt x="3666" y="976"/>
                </a:lnTo>
                <a:lnTo>
                  <a:pt x="3662" y="978"/>
                </a:lnTo>
                <a:lnTo>
                  <a:pt x="3654" y="984"/>
                </a:lnTo>
                <a:lnTo>
                  <a:pt x="3654" y="984"/>
                </a:lnTo>
                <a:close/>
                <a:moveTo>
                  <a:pt x="3682" y="1032"/>
                </a:moveTo>
                <a:lnTo>
                  <a:pt x="3682" y="1032"/>
                </a:lnTo>
                <a:lnTo>
                  <a:pt x="3678" y="1028"/>
                </a:lnTo>
                <a:lnTo>
                  <a:pt x="3678" y="1028"/>
                </a:lnTo>
                <a:lnTo>
                  <a:pt x="3672" y="1026"/>
                </a:lnTo>
                <a:lnTo>
                  <a:pt x="3670" y="1024"/>
                </a:lnTo>
                <a:lnTo>
                  <a:pt x="3668" y="1022"/>
                </a:lnTo>
                <a:lnTo>
                  <a:pt x="3668" y="1022"/>
                </a:lnTo>
                <a:lnTo>
                  <a:pt x="3664" y="1020"/>
                </a:lnTo>
                <a:lnTo>
                  <a:pt x="3660" y="1020"/>
                </a:lnTo>
                <a:lnTo>
                  <a:pt x="3658" y="1018"/>
                </a:lnTo>
                <a:lnTo>
                  <a:pt x="3654" y="1018"/>
                </a:lnTo>
                <a:lnTo>
                  <a:pt x="3654" y="1018"/>
                </a:lnTo>
                <a:lnTo>
                  <a:pt x="3654" y="1014"/>
                </a:lnTo>
                <a:lnTo>
                  <a:pt x="3656" y="1010"/>
                </a:lnTo>
                <a:lnTo>
                  <a:pt x="3658" y="1008"/>
                </a:lnTo>
                <a:lnTo>
                  <a:pt x="3654" y="1004"/>
                </a:lnTo>
                <a:lnTo>
                  <a:pt x="3654" y="1004"/>
                </a:lnTo>
                <a:lnTo>
                  <a:pt x="3668" y="1002"/>
                </a:lnTo>
                <a:lnTo>
                  <a:pt x="3674" y="1000"/>
                </a:lnTo>
                <a:lnTo>
                  <a:pt x="3680" y="996"/>
                </a:lnTo>
                <a:lnTo>
                  <a:pt x="3680" y="996"/>
                </a:lnTo>
                <a:lnTo>
                  <a:pt x="3660" y="994"/>
                </a:lnTo>
                <a:lnTo>
                  <a:pt x="3660" y="994"/>
                </a:lnTo>
                <a:lnTo>
                  <a:pt x="3660" y="992"/>
                </a:lnTo>
                <a:lnTo>
                  <a:pt x="3660" y="990"/>
                </a:lnTo>
                <a:lnTo>
                  <a:pt x="3666" y="990"/>
                </a:lnTo>
                <a:lnTo>
                  <a:pt x="3666" y="990"/>
                </a:lnTo>
                <a:lnTo>
                  <a:pt x="3676" y="990"/>
                </a:lnTo>
                <a:lnTo>
                  <a:pt x="3684" y="990"/>
                </a:lnTo>
                <a:lnTo>
                  <a:pt x="3684" y="990"/>
                </a:lnTo>
                <a:lnTo>
                  <a:pt x="3682" y="1032"/>
                </a:lnTo>
                <a:lnTo>
                  <a:pt x="3682" y="1032"/>
                </a:lnTo>
                <a:close/>
                <a:moveTo>
                  <a:pt x="3696" y="994"/>
                </a:moveTo>
                <a:lnTo>
                  <a:pt x="3696" y="994"/>
                </a:lnTo>
                <a:lnTo>
                  <a:pt x="3696" y="994"/>
                </a:lnTo>
                <a:lnTo>
                  <a:pt x="3696" y="994"/>
                </a:lnTo>
                <a:lnTo>
                  <a:pt x="3696" y="988"/>
                </a:lnTo>
                <a:lnTo>
                  <a:pt x="3696" y="988"/>
                </a:lnTo>
                <a:lnTo>
                  <a:pt x="3696" y="988"/>
                </a:lnTo>
                <a:lnTo>
                  <a:pt x="3696" y="988"/>
                </a:lnTo>
                <a:lnTo>
                  <a:pt x="3698" y="990"/>
                </a:lnTo>
                <a:lnTo>
                  <a:pt x="3698" y="990"/>
                </a:lnTo>
                <a:lnTo>
                  <a:pt x="3696" y="994"/>
                </a:lnTo>
                <a:lnTo>
                  <a:pt x="3696" y="994"/>
                </a:lnTo>
                <a:close/>
                <a:moveTo>
                  <a:pt x="3698" y="976"/>
                </a:moveTo>
                <a:lnTo>
                  <a:pt x="3698" y="976"/>
                </a:lnTo>
                <a:lnTo>
                  <a:pt x="3702" y="972"/>
                </a:lnTo>
                <a:lnTo>
                  <a:pt x="3702" y="972"/>
                </a:lnTo>
                <a:lnTo>
                  <a:pt x="3702" y="976"/>
                </a:lnTo>
                <a:lnTo>
                  <a:pt x="3702" y="976"/>
                </a:lnTo>
                <a:lnTo>
                  <a:pt x="3698" y="976"/>
                </a:lnTo>
                <a:lnTo>
                  <a:pt x="3698" y="976"/>
                </a:lnTo>
                <a:close/>
                <a:moveTo>
                  <a:pt x="3736" y="974"/>
                </a:moveTo>
                <a:lnTo>
                  <a:pt x="3736" y="974"/>
                </a:lnTo>
                <a:lnTo>
                  <a:pt x="3736" y="972"/>
                </a:lnTo>
                <a:lnTo>
                  <a:pt x="3736" y="972"/>
                </a:lnTo>
                <a:lnTo>
                  <a:pt x="3736" y="972"/>
                </a:lnTo>
                <a:lnTo>
                  <a:pt x="3744" y="970"/>
                </a:lnTo>
                <a:lnTo>
                  <a:pt x="3744" y="970"/>
                </a:lnTo>
                <a:lnTo>
                  <a:pt x="3744" y="974"/>
                </a:lnTo>
                <a:lnTo>
                  <a:pt x="3744" y="974"/>
                </a:lnTo>
                <a:lnTo>
                  <a:pt x="3736" y="974"/>
                </a:lnTo>
                <a:lnTo>
                  <a:pt x="3736" y="974"/>
                </a:lnTo>
                <a:close/>
                <a:moveTo>
                  <a:pt x="3766" y="972"/>
                </a:moveTo>
                <a:lnTo>
                  <a:pt x="3766" y="972"/>
                </a:lnTo>
                <a:lnTo>
                  <a:pt x="3766" y="970"/>
                </a:lnTo>
                <a:lnTo>
                  <a:pt x="3766" y="970"/>
                </a:lnTo>
                <a:lnTo>
                  <a:pt x="3766" y="972"/>
                </a:lnTo>
                <a:lnTo>
                  <a:pt x="3766" y="972"/>
                </a:lnTo>
                <a:close/>
                <a:moveTo>
                  <a:pt x="3782" y="974"/>
                </a:moveTo>
                <a:lnTo>
                  <a:pt x="3782" y="974"/>
                </a:lnTo>
                <a:lnTo>
                  <a:pt x="3780" y="972"/>
                </a:lnTo>
                <a:lnTo>
                  <a:pt x="3780" y="972"/>
                </a:lnTo>
                <a:lnTo>
                  <a:pt x="3784" y="970"/>
                </a:lnTo>
                <a:lnTo>
                  <a:pt x="3784" y="970"/>
                </a:lnTo>
                <a:lnTo>
                  <a:pt x="3784" y="970"/>
                </a:lnTo>
                <a:lnTo>
                  <a:pt x="3784" y="970"/>
                </a:lnTo>
                <a:lnTo>
                  <a:pt x="3784" y="974"/>
                </a:lnTo>
                <a:lnTo>
                  <a:pt x="3784" y="974"/>
                </a:lnTo>
                <a:lnTo>
                  <a:pt x="3782" y="974"/>
                </a:lnTo>
                <a:lnTo>
                  <a:pt x="3782" y="974"/>
                </a:lnTo>
                <a:close/>
                <a:moveTo>
                  <a:pt x="3774" y="968"/>
                </a:moveTo>
                <a:lnTo>
                  <a:pt x="3774" y="968"/>
                </a:lnTo>
                <a:lnTo>
                  <a:pt x="3762" y="966"/>
                </a:lnTo>
                <a:lnTo>
                  <a:pt x="3762" y="966"/>
                </a:lnTo>
                <a:lnTo>
                  <a:pt x="3752" y="966"/>
                </a:lnTo>
                <a:lnTo>
                  <a:pt x="3748" y="966"/>
                </a:lnTo>
                <a:lnTo>
                  <a:pt x="3744" y="968"/>
                </a:lnTo>
                <a:lnTo>
                  <a:pt x="3744" y="968"/>
                </a:lnTo>
                <a:lnTo>
                  <a:pt x="3738" y="970"/>
                </a:lnTo>
                <a:lnTo>
                  <a:pt x="3738" y="970"/>
                </a:lnTo>
                <a:lnTo>
                  <a:pt x="3732" y="970"/>
                </a:lnTo>
                <a:lnTo>
                  <a:pt x="3726" y="972"/>
                </a:lnTo>
                <a:lnTo>
                  <a:pt x="3716" y="976"/>
                </a:lnTo>
                <a:lnTo>
                  <a:pt x="3716" y="976"/>
                </a:lnTo>
                <a:lnTo>
                  <a:pt x="3712" y="978"/>
                </a:lnTo>
                <a:lnTo>
                  <a:pt x="3706" y="978"/>
                </a:lnTo>
                <a:lnTo>
                  <a:pt x="3706" y="978"/>
                </a:lnTo>
                <a:lnTo>
                  <a:pt x="3704" y="970"/>
                </a:lnTo>
                <a:lnTo>
                  <a:pt x="3704" y="970"/>
                </a:lnTo>
                <a:lnTo>
                  <a:pt x="3704" y="970"/>
                </a:lnTo>
                <a:lnTo>
                  <a:pt x="3704" y="970"/>
                </a:lnTo>
                <a:lnTo>
                  <a:pt x="3704" y="970"/>
                </a:lnTo>
                <a:lnTo>
                  <a:pt x="3704" y="970"/>
                </a:lnTo>
                <a:lnTo>
                  <a:pt x="3690" y="968"/>
                </a:lnTo>
                <a:lnTo>
                  <a:pt x="3690" y="968"/>
                </a:lnTo>
                <a:lnTo>
                  <a:pt x="3702" y="962"/>
                </a:lnTo>
                <a:lnTo>
                  <a:pt x="3702" y="962"/>
                </a:lnTo>
                <a:lnTo>
                  <a:pt x="3712" y="960"/>
                </a:lnTo>
                <a:lnTo>
                  <a:pt x="3716" y="960"/>
                </a:lnTo>
                <a:lnTo>
                  <a:pt x="3722" y="962"/>
                </a:lnTo>
                <a:lnTo>
                  <a:pt x="3722" y="962"/>
                </a:lnTo>
                <a:lnTo>
                  <a:pt x="3728" y="960"/>
                </a:lnTo>
                <a:lnTo>
                  <a:pt x="3728" y="960"/>
                </a:lnTo>
                <a:lnTo>
                  <a:pt x="3734" y="960"/>
                </a:lnTo>
                <a:lnTo>
                  <a:pt x="3734" y="960"/>
                </a:lnTo>
                <a:lnTo>
                  <a:pt x="3742" y="962"/>
                </a:lnTo>
                <a:lnTo>
                  <a:pt x="3750" y="962"/>
                </a:lnTo>
                <a:lnTo>
                  <a:pt x="3756" y="962"/>
                </a:lnTo>
                <a:lnTo>
                  <a:pt x="3764" y="958"/>
                </a:lnTo>
                <a:lnTo>
                  <a:pt x="3764" y="958"/>
                </a:lnTo>
                <a:lnTo>
                  <a:pt x="3768" y="958"/>
                </a:lnTo>
                <a:lnTo>
                  <a:pt x="3772" y="958"/>
                </a:lnTo>
                <a:lnTo>
                  <a:pt x="3772" y="958"/>
                </a:lnTo>
                <a:lnTo>
                  <a:pt x="3792" y="962"/>
                </a:lnTo>
                <a:lnTo>
                  <a:pt x="3792" y="962"/>
                </a:lnTo>
                <a:lnTo>
                  <a:pt x="3784" y="968"/>
                </a:lnTo>
                <a:lnTo>
                  <a:pt x="3774" y="968"/>
                </a:lnTo>
                <a:lnTo>
                  <a:pt x="3774" y="968"/>
                </a:lnTo>
                <a:close/>
                <a:moveTo>
                  <a:pt x="3770" y="928"/>
                </a:moveTo>
                <a:lnTo>
                  <a:pt x="3770" y="928"/>
                </a:lnTo>
                <a:lnTo>
                  <a:pt x="3772" y="920"/>
                </a:lnTo>
                <a:lnTo>
                  <a:pt x="3772" y="920"/>
                </a:lnTo>
                <a:lnTo>
                  <a:pt x="3790" y="916"/>
                </a:lnTo>
                <a:lnTo>
                  <a:pt x="3790" y="916"/>
                </a:lnTo>
                <a:lnTo>
                  <a:pt x="3792" y="918"/>
                </a:lnTo>
                <a:lnTo>
                  <a:pt x="3792" y="918"/>
                </a:lnTo>
                <a:lnTo>
                  <a:pt x="3790" y="922"/>
                </a:lnTo>
                <a:lnTo>
                  <a:pt x="3790" y="922"/>
                </a:lnTo>
                <a:lnTo>
                  <a:pt x="3800" y="924"/>
                </a:lnTo>
                <a:lnTo>
                  <a:pt x="3800" y="924"/>
                </a:lnTo>
                <a:lnTo>
                  <a:pt x="3796" y="930"/>
                </a:lnTo>
                <a:lnTo>
                  <a:pt x="3792" y="932"/>
                </a:lnTo>
                <a:lnTo>
                  <a:pt x="3782" y="932"/>
                </a:lnTo>
                <a:lnTo>
                  <a:pt x="3770" y="928"/>
                </a:lnTo>
                <a:lnTo>
                  <a:pt x="3770" y="928"/>
                </a:lnTo>
                <a:close/>
                <a:moveTo>
                  <a:pt x="3826" y="944"/>
                </a:moveTo>
                <a:lnTo>
                  <a:pt x="3826" y="944"/>
                </a:lnTo>
                <a:lnTo>
                  <a:pt x="3828" y="940"/>
                </a:lnTo>
                <a:lnTo>
                  <a:pt x="3828" y="940"/>
                </a:lnTo>
                <a:lnTo>
                  <a:pt x="3810" y="936"/>
                </a:lnTo>
                <a:lnTo>
                  <a:pt x="3810" y="936"/>
                </a:lnTo>
                <a:lnTo>
                  <a:pt x="3810" y="934"/>
                </a:lnTo>
                <a:lnTo>
                  <a:pt x="3810" y="934"/>
                </a:lnTo>
                <a:lnTo>
                  <a:pt x="3818" y="930"/>
                </a:lnTo>
                <a:lnTo>
                  <a:pt x="3822" y="930"/>
                </a:lnTo>
                <a:lnTo>
                  <a:pt x="3828" y="930"/>
                </a:lnTo>
                <a:lnTo>
                  <a:pt x="3828" y="930"/>
                </a:lnTo>
                <a:lnTo>
                  <a:pt x="3824" y="936"/>
                </a:lnTo>
                <a:lnTo>
                  <a:pt x="3824" y="936"/>
                </a:lnTo>
                <a:lnTo>
                  <a:pt x="3838" y="936"/>
                </a:lnTo>
                <a:lnTo>
                  <a:pt x="3838" y="936"/>
                </a:lnTo>
                <a:lnTo>
                  <a:pt x="3850" y="940"/>
                </a:lnTo>
                <a:lnTo>
                  <a:pt x="3850" y="940"/>
                </a:lnTo>
                <a:lnTo>
                  <a:pt x="3844" y="944"/>
                </a:lnTo>
                <a:lnTo>
                  <a:pt x="3840" y="946"/>
                </a:lnTo>
                <a:lnTo>
                  <a:pt x="3834" y="946"/>
                </a:lnTo>
                <a:lnTo>
                  <a:pt x="3826" y="944"/>
                </a:lnTo>
                <a:lnTo>
                  <a:pt x="3826" y="944"/>
                </a:lnTo>
                <a:close/>
                <a:moveTo>
                  <a:pt x="3838" y="892"/>
                </a:moveTo>
                <a:lnTo>
                  <a:pt x="3838" y="892"/>
                </a:lnTo>
                <a:lnTo>
                  <a:pt x="3842" y="892"/>
                </a:lnTo>
                <a:lnTo>
                  <a:pt x="3848" y="888"/>
                </a:lnTo>
                <a:lnTo>
                  <a:pt x="3848" y="888"/>
                </a:lnTo>
                <a:lnTo>
                  <a:pt x="3848" y="888"/>
                </a:lnTo>
                <a:lnTo>
                  <a:pt x="3842" y="892"/>
                </a:lnTo>
                <a:lnTo>
                  <a:pt x="3838" y="892"/>
                </a:lnTo>
                <a:lnTo>
                  <a:pt x="3838" y="892"/>
                </a:lnTo>
                <a:close/>
                <a:moveTo>
                  <a:pt x="3862" y="314"/>
                </a:moveTo>
                <a:lnTo>
                  <a:pt x="3862" y="314"/>
                </a:lnTo>
                <a:lnTo>
                  <a:pt x="3852" y="316"/>
                </a:lnTo>
                <a:lnTo>
                  <a:pt x="3846" y="316"/>
                </a:lnTo>
                <a:lnTo>
                  <a:pt x="3842" y="314"/>
                </a:lnTo>
                <a:lnTo>
                  <a:pt x="3842" y="314"/>
                </a:lnTo>
                <a:lnTo>
                  <a:pt x="3832" y="314"/>
                </a:lnTo>
                <a:lnTo>
                  <a:pt x="3822" y="312"/>
                </a:lnTo>
                <a:lnTo>
                  <a:pt x="3812" y="310"/>
                </a:lnTo>
                <a:lnTo>
                  <a:pt x="3804" y="310"/>
                </a:lnTo>
                <a:lnTo>
                  <a:pt x="3804" y="310"/>
                </a:lnTo>
                <a:lnTo>
                  <a:pt x="3798" y="308"/>
                </a:lnTo>
                <a:lnTo>
                  <a:pt x="3794" y="304"/>
                </a:lnTo>
                <a:lnTo>
                  <a:pt x="3794" y="304"/>
                </a:lnTo>
                <a:lnTo>
                  <a:pt x="3782" y="304"/>
                </a:lnTo>
                <a:lnTo>
                  <a:pt x="3780" y="304"/>
                </a:lnTo>
                <a:lnTo>
                  <a:pt x="3778" y="302"/>
                </a:lnTo>
                <a:lnTo>
                  <a:pt x="3778" y="302"/>
                </a:lnTo>
                <a:lnTo>
                  <a:pt x="3796" y="300"/>
                </a:lnTo>
                <a:lnTo>
                  <a:pt x="3806" y="298"/>
                </a:lnTo>
                <a:lnTo>
                  <a:pt x="3816" y="300"/>
                </a:lnTo>
                <a:lnTo>
                  <a:pt x="3816" y="300"/>
                </a:lnTo>
                <a:lnTo>
                  <a:pt x="3818" y="306"/>
                </a:lnTo>
                <a:lnTo>
                  <a:pt x="3818" y="306"/>
                </a:lnTo>
                <a:lnTo>
                  <a:pt x="3828" y="304"/>
                </a:lnTo>
                <a:lnTo>
                  <a:pt x="3828" y="304"/>
                </a:lnTo>
                <a:lnTo>
                  <a:pt x="3846" y="302"/>
                </a:lnTo>
                <a:lnTo>
                  <a:pt x="3854" y="302"/>
                </a:lnTo>
                <a:lnTo>
                  <a:pt x="3862" y="304"/>
                </a:lnTo>
                <a:lnTo>
                  <a:pt x="3862" y="304"/>
                </a:lnTo>
                <a:lnTo>
                  <a:pt x="3866" y="306"/>
                </a:lnTo>
                <a:lnTo>
                  <a:pt x="3868" y="308"/>
                </a:lnTo>
                <a:lnTo>
                  <a:pt x="3868" y="308"/>
                </a:lnTo>
                <a:lnTo>
                  <a:pt x="3866" y="312"/>
                </a:lnTo>
                <a:lnTo>
                  <a:pt x="3862" y="314"/>
                </a:lnTo>
                <a:lnTo>
                  <a:pt x="3862" y="314"/>
                </a:lnTo>
                <a:close/>
                <a:moveTo>
                  <a:pt x="3858" y="194"/>
                </a:moveTo>
                <a:lnTo>
                  <a:pt x="3858" y="194"/>
                </a:lnTo>
                <a:lnTo>
                  <a:pt x="3866" y="188"/>
                </a:lnTo>
                <a:lnTo>
                  <a:pt x="3866" y="188"/>
                </a:lnTo>
                <a:lnTo>
                  <a:pt x="3876" y="198"/>
                </a:lnTo>
                <a:lnTo>
                  <a:pt x="3876" y="198"/>
                </a:lnTo>
                <a:lnTo>
                  <a:pt x="3868" y="196"/>
                </a:lnTo>
                <a:lnTo>
                  <a:pt x="3858" y="194"/>
                </a:lnTo>
                <a:lnTo>
                  <a:pt x="3858" y="194"/>
                </a:lnTo>
                <a:close/>
                <a:moveTo>
                  <a:pt x="3876" y="986"/>
                </a:moveTo>
                <a:lnTo>
                  <a:pt x="3876" y="986"/>
                </a:lnTo>
                <a:lnTo>
                  <a:pt x="3872" y="976"/>
                </a:lnTo>
                <a:lnTo>
                  <a:pt x="3872" y="976"/>
                </a:lnTo>
                <a:lnTo>
                  <a:pt x="3874" y="972"/>
                </a:lnTo>
                <a:lnTo>
                  <a:pt x="3874" y="972"/>
                </a:lnTo>
                <a:lnTo>
                  <a:pt x="3876" y="972"/>
                </a:lnTo>
                <a:lnTo>
                  <a:pt x="3876" y="972"/>
                </a:lnTo>
                <a:lnTo>
                  <a:pt x="3888" y="988"/>
                </a:lnTo>
                <a:lnTo>
                  <a:pt x="3888" y="988"/>
                </a:lnTo>
                <a:lnTo>
                  <a:pt x="3878" y="990"/>
                </a:lnTo>
                <a:lnTo>
                  <a:pt x="3878" y="988"/>
                </a:lnTo>
                <a:lnTo>
                  <a:pt x="3876" y="986"/>
                </a:lnTo>
                <a:lnTo>
                  <a:pt x="3876" y="986"/>
                </a:lnTo>
                <a:close/>
                <a:moveTo>
                  <a:pt x="3884" y="940"/>
                </a:moveTo>
                <a:lnTo>
                  <a:pt x="3884" y="940"/>
                </a:lnTo>
                <a:lnTo>
                  <a:pt x="3884" y="940"/>
                </a:lnTo>
                <a:lnTo>
                  <a:pt x="3884" y="946"/>
                </a:lnTo>
                <a:lnTo>
                  <a:pt x="3884" y="946"/>
                </a:lnTo>
                <a:lnTo>
                  <a:pt x="3884" y="944"/>
                </a:lnTo>
                <a:lnTo>
                  <a:pt x="3884" y="944"/>
                </a:lnTo>
                <a:lnTo>
                  <a:pt x="3884" y="940"/>
                </a:lnTo>
                <a:lnTo>
                  <a:pt x="3884" y="940"/>
                </a:lnTo>
                <a:lnTo>
                  <a:pt x="3884" y="940"/>
                </a:lnTo>
                <a:close/>
                <a:moveTo>
                  <a:pt x="3878" y="162"/>
                </a:moveTo>
                <a:lnTo>
                  <a:pt x="3878" y="162"/>
                </a:lnTo>
                <a:lnTo>
                  <a:pt x="3886" y="158"/>
                </a:lnTo>
                <a:lnTo>
                  <a:pt x="3894" y="158"/>
                </a:lnTo>
                <a:lnTo>
                  <a:pt x="3894" y="158"/>
                </a:lnTo>
                <a:lnTo>
                  <a:pt x="3900" y="160"/>
                </a:lnTo>
                <a:lnTo>
                  <a:pt x="3902" y="162"/>
                </a:lnTo>
                <a:lnTo>
                  <a:pt x="3902" y="164"/>
                </a:lnTo>
                <a:lnTo>
                  <a:pt x="3902" y="164"/>
                </a:lnTo>
                <a:lnTo>
                  <a:pt x="3878" y="162"/>
                </a:lnTo>
                <a:lnTo>
                  <a:pt x="3878" y="162"/>
                </a:lnTo>
                <a:close/>
                <a:moveTo>
                  <a:pt x="3888" y="980"/>
                </a:moveTo>
                <a:lnTo>
                  <a:pt x="3888" y="980"/>
                </a:lnTo>
                <a:lnTo>
                  <a:pt x="3894" y="976"/>
                </a:lnTo>
                <a:lnTo>
                  <a:pt x="3894" y="976"/>
                </a:lnTo>
                <a:lnTo>
                  <a:pt x="3896" y="992"/>
                </a:lnTo>
                <a:lnTo>
                  <a:pt x="3896" y="992"/>
                </a:lnTo>
                <a:lnTo>
                  <a:pt x="3888" y="980"/>
                </a:lnTo>
                <a:lnTo>
                  <a:pt x="3888" y="980"/>
                </a:lnTo>
                <a:close/>
                <a:moveTo>
                  <a:pt x="3894" y="200"/>
                </a:moveTo>
                <a:lnTo>
                  <a:pt x="3894" y="200"/>
                </a:lnTo>
                <a:lnTo>
                  <a:pt x="3896" y="200"/>
                </a:lnTo>
                <a:lnTo>
                  <a:pt x="3896" y="200"/>
                </a:lnTo>
                <a:lnTo>
                  <a:pt x="3910" y="204"/>
                </a:lnTo>
                <a:lnTo>
                  <a:pt x="3910" y="204"/>
                </a:lnTo>
                <a:lnTo>
                  <a:pt x="3906" y="206"/>
                </a:lnTo>
                <a:lnTo>
                  <a:pt x="3904" y="206"/>
                </a:lnTo>
                <a:lnTo>
                  <a:pt x="3894" y="200"/>
                </a:lnTo>
                <a:lnTo>
                  <a:pt x="3894" y="200"/>
                </a:lnTo>
                <a:close/>
                <a:moveTo>
                  <a:pt x="3912" y="972"/>
                </a:moveTo>
                <a:lnTo>
                  <a:pt x="3912" y="972"/>
                </a:lnTo>
                <a:lnTo>
                  <a:pt x="3912" y="972"/>
                </a:lnTo>
                <a:lnTo>
                  <a:pt x="3912" y="972"/>
                </a:lnTo>
                <a:lnTo>
                  <a:pt x="3918" y="972"/>
                </a:lnTo>
                <a:lnTo>
                  <a:pt x="3918" y="972"/>
                </a:lnTo>
                <a:lnTo>
                  <a:pt x="3918" y="970"/>
                </a:lnTo>
                <a:lnTo>
                  <a:pt x="3918" y="970"/>
                </a:lnTo>
                <a:lnTo>
                  <a:pt x="3918" y="970"/>
                </a:lnTo>
                <a:lnTo>
                  <a:pt x="3918" y="970"/>
                </a:lnTo>
                <a:lnTo>
                  <a:pt x="3918" y="972"/>
                </a:lnTo>
                <a:lnTo>
                  <a:pt x="3918" y="972"/>
                </a:lnTo>
                <a:lnTo>
                  <a:pt x="3912" y="972"/>
                </a:lnTo>
                <a:lnTo>
                  <a:pt x="3912" y="972"/>
                </a:lnTo>
                <a:close/>
                <a:moveTo>
                  <a:pt x="4038" y="56"/>
                </a:moveTo>
                <a:lnTo>
                  <a:pt x="4038" y="56"/>
                </a:lnTo>
                <a:lnTo>
                  <a:pt x="4036" y="58"/>
                </a:lnTo>
                <a:lnTo>
                  <a:pt x="4036" y="58"/>
                </a:lnTo>
                <a:lnTo>
                  <a:pt x="4030" y="58"/>
                </a:lnTo>
                <a:lnTo>
                  <a:pt x="4028" y="56"/>
                </a:lnTo>
                <a:lnTo>
                  <a:pt x="4028" y="56"/>
                </a:lnTo>
                <a:lnTo>
                  <a:pt x="4034" y="54"/>
                </a:lnTo>
                <a:lnTo>
                  <a:pt x="4038" y="56"/>
                </a:lnTo>
                <a:lnTo>
                  <a:pt x="4038" y="56"/>
                </a:lnTo>
                <a:close/>
                <a:moveTo>
                  <a:pt x="3976" y="172"/>
                </a:moveTo>
                <a:lnTo>
                  <a:pt x="3976" y="172"/>
                </a:lnTo>
                <a:lnTo>
                  <a:pt x="3976" y="174"/>
                </a:lnTo>
                <a:lnTo>
                  <a:pt x="3974" y="176"/>
                </a:lnTo>
                <a:lnTo>
                  <a:pt x="3968" y="176"/>
                </a:lnTo>
                <a:lnTo>
                  <a:pt x="3968" y="176"/>
                </a:lnTo>
                <a:lnTo>
                  <a:pt x="3968" y="174"/>
                </a:lnTo>
                <a:lnTo>
                  <a:pt x="3968" y="174"/>
                </a:lnTo>
                <a:lnTo>
                  <a:pt x="3976" y="172"/>
                </a:lnTo>
                <a:lnTo>
                  <a:pt x="3976" y="172"/>
                </a:lnTo>
                <a:close/>
                <a:moveTo>
                  <a:pt x="4026" y="134"/>
                </a:moveTo>
                <a:lnTo>
                  <a:pt x="4026" y="134"/>
                </a:lnTo>
                <a:lnTo>
                  <a:pt x="4026" y="134"/>
                </a:lnTo>
                <a:lnTo>
                  <a:pt x="4016" y="140"/>
                </a:lnTo>
                <a:lnTo>
                  <a:pt x="4016" y="140"/>
                </a:lnTo>
                <a:lnTo>
                  <a:pt x="4018" y="146"/>
                </a:lnTo>
                <a:lnTo>
                  <a:pt x="4018" y="146"/>
                </a:lnTo>
                <a:lnTo>
                  <a:pt x="4010" y="146"/>
                </a:lnTo>
                <a:lnTo>
                  <a:pt x="4010" y="146"/>
                </a:lnTo>
                <a:lnTo>
                  <a:pt x="3980" y="138"/>
                </a:lnTo>
                <a:lnTo>
                  <a:pt x="3980" y="138"/>
                </a:lnTo>
                <a:lnTo>
                  <a:pt x="3974" y="134"/>
                </a:lnTo>
                <a:lnTo>
                  <a:pt x="3970" y="130"/>
                </a:lnTo>
                <a:lnTo>
                  <a:pt x="3970" y="130"/>
                </a:lnTo>
                <a:lnTo>
                  <a:pt x="3982" y="128"/>
                </a:lnTo>
                <a:lnTo>
                  <a:pt x="3998" y="130"/>
                </a:lnTo>
                <a:lnTo>
                  <a:pt x="4016" y="132"/>
                </a:lnTo>
                <a:lnTo>
                  <a:pt x="4026" y="134"/>
                </a:lnTo>
                <a:lnTo>
                  <a:pt x="4026" y="134"/>
                </a:lnTo>
                <a:close/>
                <a:moveTo>
                  <a:pt x="3990" y="116"/>
                </a:moveTo>
                <a:lnTo>
                  <a:pt x="3990" y="116"/>
                </a:lnTo>
                <a:lnTo>
                  <a:pt x="3994" y="114"/>
                </a:lnTo>
                <a:lnTo>
                  <a:pt x="3998" y="112"/>
                </a:lnTo>
                <a:lnTo>
                  <a:pt x="4004" y="112"/>
                </a:lnTo>
                <a:lnTo>
                  <a:pt x="4012" y="114"/>
                </a:lnTo>
                <a:lnTo>
                  <a:pt x="4012" y="114"/>
                </a:lnTo>
                <a:lnTo>
                  <a:pt x="4010" y="126"/>
                </a:lnTo>
                <a:lnTo>
                  <a:pt x="4010" y="126"/>
                </a:lnTo>
                <a:lnTo>
                  <a:pt x="4000" y="120"/>
                </a:lnTo>
                <a:lnTo>
                  <a:pt x="4000" y="120"/>
                </a:lnTo>
                <a:lnTo>
                  <a:pt x="3990" y="116"/>
                </a:lnTo>
                <a:lnTo>
                  <a:pt x="3990" y="116"/>
                </a:lnTo>
                <a:close/>
                <a:moveTo>
                  <a:pt x="3992" y="206"/>
                </a:moveTo>
                <a:lnTo>
                  <a:pt x="3992" y="206"/>
                </a:lnTo>
                <a:lnTo>
                  <a:pt x="3992" y="206"/>
                </a:lnTo>
                <a:lnTo>
                  <a:pt x="4000" y="204"/>
                </a:lnTo>
                <a:lnTo>
                  <a:pt x="4002" y="202"/>
                </a:lnTo>
                <a:lnTo>
                  <a:pt x="4002" y="200"/>
                </a:lnTo>
                <a:lnTo>
                  <a:pt x="4002" y="200"/>
                </a:lnTo>
                <a:lnTo>
                  <a:pt x="3998" y="196"/>
                </a:lnTo>
                <a:lnTo>
                  <a:pt x="3990" y="194"/>
                </a:lnTo>
                <a:lnTo>
                  <a:pt x="3990" y="194"/>
                </a:lnTo>
                <a:lnTo>
                  <a:pt x="3984" y="192"/>
                </a:lnTo>
                <a:lnTo>
                  <a:pt x="3980" y="190"/>
                </a:lnTo>
                <a:lnTo>
                  <a:pt x="3980" y="188"/>
                </a:lnTo>
                <a:lnTo>
                  <a:pt x="3982" y="184"/>
                </a:lnTo>
                <a:lnTo>
                  <a:pt x="3982" y="184"/>
                </a:lnTo>
                <a:lnTo>
                  <a:pt x="3988" y="186"/>
                </a:lnTo>
                <a:lnTo>
                  <a:pt x="3988" y="186"/>
                </a:lnTo>
                <a:lnTo>
                  <a:pt x="3992" y="188"/>
                </a:lnTo>
                <a:lnTo>
                  <a:pt x="3996" y="190"/>
                </a:lnTo>
                <a:lnTo>
                  <a:pt x="4006" y="190"/>
                </a:lnTo>
                <a:lnTo>
                  <a:pt x="4006" y="190"/>
                </a:lnTo>
                <a:lnTo>
                  <a:pt x="4016" y="192"/>
                </a:lnTo>
                <a:lnTo>
                  <a:pt x="4020" y="194"/>
                </a:lnTo>
                <a:lnTo>
                  <a:pt x="4022" y="196"/>
                </a:lnTo>
                <a:lnTo>
                  <a:pt x="4022" y="196"/>
                </a:lnTo>
                <a:lnTo>
                  <a:pt x="4026" y="200"/>
                </a:lnTo>
                <a:lnTo>
                  <a:pt x="4032" y="202"/>
                </a:lnTo>
                <a:lnTo>
                  <a:pt x="4032" y="202"/>
                </a:lnTo>
                <a:lnTo>
                  <a:pt x="4022" y="208"/>
                </a:lnTo>
                <a:lnTo>
                  <a:pt x="4022" y="208"/>
                </a:lnTo>
                <a:lnTo>
                  <a:pt x="4012" y="208"/>
                </a:lnTo>
                <a:lnTo>
                  <a:pt x="4006" y="210"/>
                </a:lnTo>
                <a:lnTo>
                  <a:pt x="4002" y="214"/>
                </a:lnTo>
                <a:lnTo>
                  <a:pt x="4002" y="214"/>
                </a:lnTo>
                <a:lnTo>
                  <a:pt x="3992" y="206"/>
                </a:lnTo>
                <a:lnTo>
                  <a:pt x="3992" y="206"/>
                </a:lnTo>
                <a:close/>
                <a:moveTo>
                  <a:pt x="3992" y="214"/>
                </a:moveTo>
                <a:lnTo>
                  <a:pt x="3992" y="214"/>
                </a:lnTo>
                <a:lnTo>
                  <a:pt x="3990" y="216"/>
                </a:lnTo>
                <a:lnTo>
                  <a:pt x="3990" y="216"/>
                </a:lnTo>
                <a:lnTo>
                  <a:pt x="3988" y="214"/>
                </a:lnTo>
                <a:lnTo>
                  <a:pt x="3988" y="214"/>
                </a:lnTo>
                <a:lnTo>
                  <a:pt x="3990" y="212"/>
                </a:lnTo>
                <a:lnTo>
                  <a:pt x="3990" y="212"/>
                </a:lnTo>
                <a:lnTo>
                  <a:pt x="3992" y="214"/>
                </a:lnTo>
                <a:lnTo>
                  <a:pt x="3992" y="214"/>
                </a:lnTo>
                <a:close/>
                <a:moveTo>
                  <a:pt x="3998" y="174"/>
                </a:moveTo>
                <a:lnTo>
                  <a:pt x="3998" y="174"/>
                </a:lnTo>
                <a:lnTo>
                  <a:pt x="4006" y="170"/>
                </a:lnTo>
                <a:lnTo>
                  <a:pt x="4014" y="170"/>
                </a:lnTo>
                <a:lnTo>
                  <a:pt x="4014" y="176"/>
                </a:lnTo>
                <a:lnTo>
                  <a:pt x="4014" y="176"/>
                </a:lnTo>
                <a:lnTo>
                  <a:pt x="4004" y="178"/>
                </a:lnTo>
                <a:lnTo>
                  <a:pt x="4000" y="176"/>
                </a:lnTo>
                <a:lnTo>
                  <a:pt x="3998" y="174"/>
                </a:lnTo>
                <a:lnTo>
                  <a:pt x="3998" y="174"/>
                </a:lnTo>
                <a:close/>
                <a:moveTo>
                  <a:pt x="3976" y="360"/>
                </a:moveTo>
                <a:lnTo>
                  <a:pt x="3976" y="360"/>
                </a:lnTo>
                <a:lnTo>
                  <a:pt x="3972" y="362"/>
                </a:lnTo>
                <a:lnTo>
                  <a:pt x="3972" y="362"/>
                </a:lnTo>
                <a:lnTo>
                  <a:pt x="3970" y="360"/>
                </a:lnTo>
                <a:lnTo>
                  <a:pt x="3970" y="360"/>
                </a:lnTo>
                <a:lnTo>
                  <a:pt x="3976" y="358"/>
                </a:lnTo>
                <a:lnTo>
                  <a:pt x="3976" y="358"/>
                </a:lnTo>
                <a:lnTo>
                  <a:pt x="3976" y="360"/>
                </a:lnTo>
                <a:lnTo>
                  <a:pt x="3976" y="360"/>
                </a:lnTo>
                <a:close/>
                <a:moveTo>
                  <a:pt x="3946" y="356"/>
                </a:moveTo>
                <a:lnTo>
                  <a:pt x="3946" y="356"/>
                </a:lnTo>
                <a:lnTo>
                  <a:pt x="3934" y="340"/>
                </a:lnTo>
                <a:lnTo>
                  <a:pt x="3934" y="340"/>
                </a:lnTo>
                <a:lnTo>
                  <a:pt x="3934" y="338"/>
                </a:lnTo>
                <a:lnTo>
                  <a:pt x="3936" y="336"/>
                </a:lnTo>
                <a:lnTo>
                  <a:pt x="3942" y="334"/>
                </a:lnTo>
                <a:lnTo>
                  <a:pt x="3942" y="334"/>
                </a:lnTo>
                <a:lnTo>
                  <a:pt x="3952" y="334"/>
                </a:lnTo>
                <a:lnTo>
                  <a:pt x="3956" y="332"/>
                </a:lnTo>
                <a:lnTo>
                  <a:pt x="3958" y="328"/>
                </a:lnTo>
                <a:lnTo>
                  <a:pt x="3958" y="328"/>
                </a:lnTo>
                <a:lnTo>
                  <a:pt x="3962" y="328"/>
                </a:lnTo>
                <a:lnTo>
                  <a:pt x="3968" y="330"/>
                </a:lnTo>
                <a:lnTo>
                  <a:pt x="3968" y="330"/>
                </a:lnTo>
                <a:lnTo>
                  <a:pt x="3968" y="330"/>
                </a:lnTo>
                <a:lnTo>
                  <a:pt x="3958" y="336"/>
                </a:lnTo>
                <a:lnTo>
                  <a:pt x="3958" y="336"/>
                </a:lnTo>
                <a:lnTo>
                  <a:pt x="3962" y="340"/>
                </a:lnTo>
                <a:lnTo>
                  <a:pt x="3962" y="340"/>
                </a:lnTo>
                <a:lnTo>
                  <a:pt x="3956" y="342"/>
                </a:lnTo>
                <a:lnTo>
                  <a:pt x="3956" y="342"/>
                </a:lnTo>
                <a:lnTo>
                  <a:pt x="3960" y="346"/>
                </a:lnTo>
                <a:lnTo>
                  <a:pt x="3964" y="348"/>
                </a:lnTo>
                <a:lnTo>
                  <a:pt x="3970" y="350"/>
                </a:lnTo>
                <a:lnTo>
                  <a:pt x="3974" y="352"/>
                </a:lnTo>
                <a:lnTo>
                  <a:pt x="3974" y="352"/>
                </a:lnTo>
                <a:lnTo>
                  <a:pt x="3968" y="356"/>
                </a:lnTo>
                <a:lnTo>
                  <a:pt x="3960" y="356"/>
                </a:lnTo>
                <a:lnTo>
                  <a:pt x="3946" y="356"/>
                </a:lnTo>
                <a:lnTo>
                  <a:pt x="3946" y="356"/>
                </a:lnTo>
                <a:close/>
                <a:moveTo>
                  <a:pt x="4034" y="916"/>
                </a:moveTo>
                <a:lnTo>
                  <a:pt x="4034" y="916"/>
                </a:lnTo>
                <a:lnTo>
                  <a:pt x="4012" y="918"/>
                </a:lnTo>
                <a:lnTo>
                  <a:pt x="4012" y="918"/>
                </a:lnTo>
                <a:lnTo>
                  <a:pt x="4006" y="918"/>
                </a:lnTo>
                <a:lnTo>
                  <a:pt x="4000" y="918"/>
                </a:lnTo>
                <a:lnTo>
                  <a:pt x="4000" y="918"/>
                </a:lnTo>
                <a:lnTo>
                  <a:pt x="3994" y="918"/>
                </a:lnTo>
                <a:lnTo>
                  <a:pt x="3990" y="918"/>
                </a:lnTo>
                <a:lnTo>
                  <a:pt x="3982" y="914"/>
                </a:lnTo>
                <a:lnTo>
                  <a:pt x="3982" y="914"/>
                </a:lnTo>
                <a:lnTo>
                  <a:pt x="3966" y="906"/>
                </a:lnTo>
                <a:lnTo>
                  <a:pt x="3966" y="906"/>
                </a:lnTo>
                <a:lnTo>
                  <a:pt x="3970" y="902"/>
                </a:lnTo>
                <a:lnTo>
                  <a:pt x="3972" y="902"/>
                </a:lnTo>
                <a:lnTo>
                  <a:pt x="3978" y="902"/>
                </a:lnTo>
                <a:lnTo>
                  <a:pt x="3978" y="902"/>
                </a:lnTo>
                <a:lnTo>
                  <a:pt x="4020" y="908"/>
                </a:lnTo>
                <a:lnTo>
                  <a:pt x="4020" y="908"/>
                </a:lnTo>
                <a:lnTo>
                  <a:pt x="4036" y="914"/>
                </a:lnTo>
                <a:lnTo>
                  <a:pt x="4036" y="914"/>
                </a:lnTo>
                <a:lnTo>
                  <a:pt x="4034" y="916"/>
                </a:lnTo>
                <a:lnTo>
                  <a:pt x="4034" y="916"/>
                </a:lnTo>
                <a:close/>
                <a:moveTo>
                  <a:pt x="4028" y="182"/>
                </a:moveTo>
                <a:lnTo>
                  <a:pt x="4028" y="182"/>
                </a:lnTo>
                <a:lnTo>
                  <a:pt x="4032" y="172"/>
                </a:lnTo>
                <a:lnTo>
                  <a:pt x="4032" y="172"/>
                </a:lnTo>
                <a:lnTo>
                  <a:pt x="4042" y="174"/>
                </a:lnTo>
                <a:lnTo>
                  <a:pt x="4048" y="176"/>
                </a:lnTo>
                <a:lnTo>
                  <a:pt x="4050" y="178"/>
                </a:lnTo>
                <a:lnTo>
                  <a:pt x="4050" y="182"/>
                </a:lnTo>
                <a:lnTo>
                  <a:pt x="4050" y="182"/>
                </a:lnTo>
                <a:lnTo>
                  <a:pt x="4028" y="182"/>
                </a:lnTo>
                <a:lnTo>
                  <a:pt x="4028" y="182"/>
                </a:lnTo>
                <a:close/>
                <a:moveTo>
                  <a:pt x="4064" y="88"/>
                </a:moveTo>
                <a:lnTo>
                  <a:pt x="4064" y="88"/>
                </a:lnTo>
                <a:lnTo>
                  <a:pt x="4052" y="86"/>
                </a:lnTo>
                <a:lnTo>
                  <a:pt x="4040" y="82"/>
                </a:lnTo>
                <a:lnTo>
                  <a:pt x="4040" y="82"/>
                </a:lnTo>
                <a:lnTo>
                  <a:pt x="4030" y="82"/>
                </a:lnTo>
                <a:lnTo>
                  <a:pt x="4018" y="82"/>
                </a:lnTo>
                <a:lnTo>
                  <a:pt x="4018" y="82"/>
                </a:lnTo>
                <a:lnTo>
                  <a:pt x="4008" y="84"/>
                </a:lnTo>
                <a:lnTo>
                  <a:pt x="3996" y="86"/>
                </a:lnTo>
                <a:lnTo>
                  <a:pt x="3996" y="86"/>
                </a:lnTo>
                <a:lnTo>
                  <a:pt x="3980" y="84"/>
                </a:lnTo>
                <a:lnTo>
                  <a:pt x="3964" y="80"/>
                </a:lnTo>
                <a:lnTo>
                  <a:pt x="3964" y="80"/>
                </a:lnTo>
                <a:lnTo>
                  <a:pt x="3950" y="76"/>
                </a:lnTo>
                <a:lnTo>
                  <a:pt x="3950" y="76"/>
                </a:lnTo>
                <a:lnTo>
                  <a:pt x="3960" y="74"/>
                </a:lnTo>
                <a:lnTo>
                  <a:pt x="3964" y="72"/>
                </a:lnTo>
                <a:lnTo>
                  <a:pt x="3966" y="70"/>
                </a:lnTo>
                <a:lnTo>
                  <a:pt x="3966" y="70"/>
                </a:lnTo>
                <a:lnTo>
                  <a:pt x="3970" y="68"/>
                </a:lnTo>
                <a:lnTo>
                  <a:pt x="3970" y="68"/>
                </a:lnTo>
                <a:lnTo>
                  <a:pt x="3976" y="66"/>
                </a:lnTo>
                <a:lnTo>
                  <a:pt x="3982" y="66"/>
                </a:lnTo>
                <a:lnTo>
                  <a:pt x="3994" y="68"/>
                </a:lnTo>
                <a:lnTo>
                  <a:pt x="3994" y="68"/>
                </a:lnTo>
                <a:lnTo>
                  <a:pt x="3998" y="70"/>
                </a:lnTo>
                <a:lnTo>
                  <a:pt x="4000" y="72"/>
                </a:lnTo>
                <a:lnTo>
                  <a:pt x="3998" y="76"/>
                </a:lnTo>
                <a:lnTo>
                  <a:pt x="3996" y="80"/>
                </a:lnTo>
                <a:lnTo>
                  <a:pt x="3996" y="80"/>
                </a:lnTo>
                <a:lnTo>
                  <a:pt x="4002" y="80"/>
                </a:lnTo>
                <a:lnTo>
                  <a:pt x="4002" y="80"/>
                </a:lnTo>
                <a:lnTo>
                  <a:pt x="4008" y="76"/>
                </a:lnTo>
                <a:lnTo>
                  <a:pt x="4016" y="76"/>
                </a:lnTo>
                <a:lnTo>
                  <a:pt x="4030" y="74"/>
                </a:lnTo>
                <a:lnTo>
                  <a:pt x="4030" y="74"/>
                </a:lnTo>
                <a:lnTo>
                  <a:pt x="4036" y="74"/>
                </a:lnTo>
                <a:lnTo>
                  <a:pt x="4036" y="74"/>
                </a:lnTo>
                <a:lnTo>
                  <a:pt x="4044" y="76"/>
                </a:lnTo>
                <a:lnTo>
                  <a:pt x="4054" y="78"/>
                </a:lnTo>
                <a:lnTo>
                  <a:pt x="4054" y="78"/>
                </a:lnTo>
                <a:lnTo>
                  <a:pt x="4060" y="78"/>
                </a:lnTo>
                <a:lnTo>
                  <a:pt x="4064" y="80"/>
                </a:lnTo>
                <a:lnTo>
                  <a:pt x="4064" y="84"/>
                </a:lnTo>
                <a:lnTo>
                  <a:pt x="4064" y="88"/>
                </a:lnTo>
                <a:lnTo>
                  <a:pt x="4064" y="88"/>
                </a:lnTo>
                <a:close/>
                <a:moveTo>
                  <a:pt x="4098" y="84"/>
                </a:moveTo>
                <a:lnTo>
                  <a:pt x="4098" y="84"/>
                </a:lnTo>
                <a:lnTo>
                  <a:pt x="4098" y="88"/>
                </a:lnTo>
                <a:lnTo>
                  <a:pt x="4098" y="88"/>
                </a:lnTo>
                <a:lnTo>
                  <a:pt x="4094" y="90"/>
                </a:lnTo>
                <a:lnTo>
                  <a:pt x="4094" y="90"/>
                </a:lnTo>
                <a:lnTo>
                  <a:pt x="4086" y="90"/>
                </a:lnTo>
                <a:lnTo>
                  <a:pt x="4078" y="88"/>
                </a:lnTo>
                <a:lnTo>
                  <a:pt x="4078" y="88"/>
                </a:lnTo>
                <a:lnTo>
                  <a:pt x="4078" y="88"/>
                </a:lnTo>
                <a:lnTo>
                  <a:pt x="4088" y="84"/>
                </a:lnTo>
                <a:lnTo>
                  <a:pt x="4094" y="84"/>
                </a:lnTo>
                <a:lnTo>
                  <a:pt x="4098" y="84"/>
                </a:lnTo>
                <a:lnTo>
                  <a:pt x="4098" y="84"/>
                </a:lnTo>
                <a:close/>
                <a:moveTo>
                  <a:pt x="4078" y="898"/>
                </a:moveTo>
                <a:lnTo>
                  <a:pt x="4078" y="898"/>
                </a:lnTo>
                <a:lnTo>
                  <a:pt x="4070" y="900"/>
                </a:lnTo>
                <a:lnTo>
                  <a:pt x="4070" y="900"/>
                </a:lnTo>
                <a:lnTo>
                  <a:pt x="4070" y="896"/>
                </a:lnTo>
                <a:lnTo>
                  <a:pt x="4072" y="894"/>
                </a:lnTo>
                <a:lnTo>
                  <a:pt x="4078" y="894"/>
                </a:lnTo>
                <a:lnTo>
                  <a:pt x="4088" y="896"/>
                </a:lnTo>
                <a:lnTo>
                  <a:pt x="4088" y="896"/>
                </a:lnTo>
                <a:lnTo>
                  <a:pt x="4088" y="896"/>
                </a:lnTo>
                <a:lnTo>
                  <a:pt x="4078" y="898"/>
                </a:lnTo>
                <a:lnTo>
                  <a:pt x="4078" y="898"/>
                </a:lnTo>
                <a:close/>
                <a:moveTo>
                  <a:pt x="4092" y="176"/>
                </a:moveTo>
                <a:lnTo>
                  <a:pt x="4092" y="176"/>
                </a:lnTo>
                <a:lnTo>
                  <a:pt x="4080" y="176"/>
                </a:lnTo>
                <a:lnTo>
                  <a:pt x="4080" y="176"/>
                </a:lnTo>
                <a:lnTo>
                  <a:pt x="4080" y="174"/>
                </a:lnTo>
                <a:lnTo>
                  <a:pt x="4084" y="172"/>
                </a:lnTo>
                <a:lnTo>
                  <a:pt x="4090" y="170"/>
                </a:lnTo>
                <a:lnTo>
                  <a:pt x="4090" y="170"/>
                </a:lnTo>
                <a:lnTo>
                  <a:pt x="4092" y="172"/>
                </a:lnTo>
                <a:lnTo>
                  <a:pt x="4092" y="172"/>
                </a:lnTo>
                <a:lnTo>
                  <a:pt x="4092" y="176"/>
                </a:lnTo>
                <a:lnTo>
                  <a:pt x="4092" y="176"/>
                </a:lnTo>
                <a:close/>
                <a:moveTo>
                  <a:pt x="4090" y="162"/>
                </a:moveTo>
                <a:lnTo>
                  <a:pt x="4090" y="162"/>
                </a:lnTo>
                <a:lnTo>
                  <a:pt x="4096" y="158"/>
                </a:lnTo>
                <a:lnTo>
                  <a:pt x="4100" y="156"/>
                </a:lnTo>
                <a:lnTo>
                  <a:pt x="4104" y="158"/>
                </a:lnTo>
                <a:lnTo>
                  <a:pt x="4108" y="160"/>
                </a:lnTo>
                <a:lnTo>
                  <a:pt x="4108" y="160"/>
                </a:lnTo>
                <a:lnTo>
                  <a:pt x="4100" y="164"/>
                </a:lnTo>
                <a:lnTo>
                  <a:pt x="4090" y="162"/>
                </a:lnTo>
                <a:lnTo>
                  <a:pt x="4090" y="162"/>
                </a:lnTo>
                <a:close/>
                <a:moveTo>
                  <a:pt x="4116" y="90"/>
                </a:moveTo>
                <a:lnTo>
                  <a:pt x="4116" y="90"/>
                </a:lnTo>
                <a:lnTo>
                  <a:pt x="4124" y="88"/>
                </a:lnTo>
                <a:lnTo>
                  <a:pt x="4130" y="86"/>
                </a:lnTo>
                <a:lnTo>
                  <a:pt x="4132" y="88"/>
                </a:lnTo>
                <a:lnTo>
                  <a:pt x="4136" y="92"/>
                </a:lnTo>
                <a:lnTo>
                  <a:pt x="4136" y="92"/>
                </a:lnTo>
                <a:lnTo>
                  <a:pt x="4130" y="94"/>
                </a:lnTo>
                <a:lnTo>
                  <a:pt x="4126" y="94"/>
                </a:lnTo>
                <a:lnTo>
                  <a:pt x="4122" y="94"/>
                </a:lnTo>
                <a:lnTo>
                  <a:pt x="4116" y="90"/>
                </a:lnTo>
                <a:lnTo>
                  <a:pt x="4116" y="90"/>
                </a:lnTo>
                <a:close/>
                <a:moveTo>
                  <a:pt x="4220" y="192"/>
                </a:moveTo>
                <a:lnTo>
                  <a:pt x="4220" y="192"/>
                </a:lnTo>
                <a:lnTo>
                  <a:pt x="4224" y="194"/>
                </a:lnTo>
                <a:lnTo>
                  <a:pt x="4224" y="194"/>
                </a:lnTo>
                <a:lnTo>
                  <a:pt x="4220" y="194"/>
                </a:lnTo>
                <a:lnTo>
                  <a:pt x="4220" y="194"/>
                </a:lnTo>
                <a:lnTo>
                  <a:pt x="4218" y="194"/>
                </a:lnTo>
                <a:lnTo>
                  <a:pt x="4218" y="194"/>
                </a:lnTo>
                <a:lnTo>
                  <a:pt x="4220" y="192"/>
                </a:lnTo>
                <a:lnTo>
                  <a:pt x="4220" y="192"/>
                </a:lnTo>
                <a:close/>
                <a:moveTo>
                  <a:pt x="4198" y="154"/>
                </a:moveTo>
                <a:lnTo>
                  <a:pt x="4198" y="154"/>
                </a:lnTo>
                <a:lnTo>
                  <a:pt x="4200" y="156"/>
                </a:lnTo>
                <a:lnTo>
                  <a:pt x="4200" y="156"/>
                </a:lnTo>
                <a:lnTo>
                  <a:pt x="4196" y="156"/>
                </a:lnTo>
                <a:lnTo>
                  <a:pt x="4196" y="156"/>
                </a:lnTo>
                <a:lnTo>
                  <a:pt x="4194" y="154"/>
                </a:lnTo>
                <a:lnTo>
                  <a:pt x="4194" y="154"/>
                </a:lnTo>
                <a:lnTo>
                  <a:pt x="4198" y="154"/>
                </a:lnTo>
                <a:lnTo>
                  <a:pt x="4198" y="154"/>
                </a:lnTo>
                <a:close/>
                <a:moveTo>
                  <a:pt x="4190" y="180"/>
                </a:moveTo>
                <a:lnTo>
                  <a:pt x="4190" y="180"/>
                </a:lnTo>
                <a:lnTo>
                  <a:pt x="4194" y="180"/>
                </a:lnTo>
                <a:lnTo>
                  <a:pt x="4202" y="182"/>
                </a:lnTo>
                <a:lnTo>
                  <a:pt x="4202" y="182"/>
                </a:lnTo>
                <a:lnTo>
                  <a:pt x="4196" y="186"/>
                </a:lnTo>
                <a:lnTo>
                  <a:pt x="4190" y="188"/>
                </a:lnTo>
                <a:lnTo>
                  <a:pt x="4174" y="190"/>
                </a:lnTo>
                <a:lnTo>
                  <a:pt x="4174" y="190"/>
                </a:lnTo>
                <a:lnTo>
                  <a:pt x="4170" y="182"/>
                </a:lnTo>
                <a:lnTo>
                  <a:pt x="4170" y="182"/>
                </a:lnTo>
                <a:lnTo>
                  <a:pt x="4180" y="182"/>
                </a:lnTo>
                <a:lnTo>
                  <a:pt x="4190" y="180"/>
                </a:lnTo>
                <a:lnTo>
                  <a:pt x="4190" y="180"/>
                </a:lnTo>
                <a:close/>
                <a:moveTo>
                  <a:pt x="4158" y="186"/>
                </a:moveTo>
                <a:lnTo>
                  <a:pt x="4158" y="186"/>
                </a:lnTo>
                <a:lnTo>
                  <a:pt x="4156" y="180"/>
                </a:lnTo>
                <a:lnTo>
                  <a:pt x="4156" y="178"/>
                </a:lnTo>
                <a:lnTo>
                  <a:pt x="4156" y="176"/>
                </a:lnTo>
                <a:lnTo>
                  <a:pt x="4156" y="176"/>
                </a:lnTo>
                <a:lnTo>
                  <a:pt x="4160" y="174"/>
                </a:lnTo>
                <a:lnTo>
                  <a:pt x="4164" y="174"/>
                </a:lnTo>
                <a:lnTo>
                  <a:pt x="4172" y="176"/>
                </a:lnTo>
                <a:lnTo>
                  <a:pt x="4172" y="176"/>
                </a:lnTo>
                <a:lnTo>
                  <a:pt x="4170" y="182"/>
                </a:lnTo>
                <a:lnTo>
                  <a:pt x="4170" y="182"/>
                </a:lnTo>
                <a:lnTo>
                  <a:pt x="4164" y="184"/>
                </a:lnTo>
                <a:lnTo>
                  <a:pt x="4164" y="184"/>
                </a:lnTo>
                <a:lnTo>
                  <a:pt x="4158" y="186"/>
                </a:lnTo>
                <a:lnTo>
                  <a:pt x="4158" y="186"/>
                </a:lnTo>
                <a:close/>
                <a:moveTo>
                  <a:pt x="4230" y="230"/>
                </a:moveTo>
                <a:lnTo>
                  <a:pt x="4230" y="230"/>
                </a:lnTo>
                <a:lnTo>
                  <a:pt x="4224" y="234"/>
                </a:lnTo>
                <a:lnTo>
                  <a:pt x="4216" y="236"/>
                </a:lnTo>
                <a:lnTo>
                  <a:pt x="4216" y="236"/>
                </a:lnTo>
                <a:lnTo>
                  <a:pt x="4204" y="238"/>
                </a:lnTo>
                <a:lnTo>
                  <a:pt x="4204" y="238"/>
                </a:lnTo>
                <a:lnTo>
                  <a:pt x="4196" y="234"/>
                </a:lnTo>
                <a:lnTo>
                  <a:pt x="4186" y="232"/>
                </a:lnTo>
                <a:lnTo>
                  <a:pt x="4186" y="232"/>
                </a:lnTo>
                <a:lnTo>
                  <a:pt x="4180" y="232"/>
                </a:lnTo>
                <a:lnTo>
                  <a:pt x="4176" y="230"/>
                </a:lnTo>
                <a:lnTo>
                  <a:pt x="4170" y="224"/>
                </a:lnTo>
                <a:lnTo>
                  <a:pt x="4170" y="224"/>
                </a:lnTo>
                <a:lnTo>
                  <a:pt x="4170" y="220"/>
                </a:lnTo>
                <a:lnTo>
                  <a:pt x="4172" y="216"/>
                </a:lnTo>
                <a:lnTo>
                  <a:pt x="4172" y="216"/>
                </a:lnTo>
                <a:lnTo>
                  <a:pt x="4182" y="208"/>
                </a:lnTo>
                <a:lnTo>
                  <a:pt x="4182" y="208"/>
                </a:lnTo>
                <a:lnTo>
                  <a:pt x="4184" y="206"/>
                </a:lnTo>
                <a:lnTo>
                  <a:pt x="4184" y="206"/>
                </a:lnTo>
                <a:lnTo>
                  <a:pt x="4202" y="210"/>
                </a:lnTo>
                <a:lnTo>
                  <a:pt x="4220" y="214"/>
                </a:lnTo>
                <a:lnTo>
                  <a:pt x="4220" y="214"/>
                </a:lnTo>
                <a:lnTo>
                  <a:pt x="4224" y="218"/>
                </a:lnTo>
                <a:lnTo>
                  <a:pt x="4226" y="220"/>
                </a:lnTo>
                <a:lnTo>
                  <a:pt x="4226" y="220"/>
                </a:lnTo>
                <a:lnTo>
                  <a:pt x="4230" y="226"/>
                </a:lnTo>
                <a:lnTo>
                  <a:pt x="4232" y="228"/>
                </a:lnTo>
                <a:lnTo>
                  <a:pt x="4230" y="230"/>
                </a:lnTo>
                <a:lnTo>
                  <a:pt x="4230" y="230"/>
                </a:lnTo>
                <a:close/>
                <a:moveTo>
                  <a:pt x="4246" y="202"/>
                </a:moveTo>
                <a:lnTo>
                  <a:pt x="4246" y="202"/>
                </a:lnTo>
                <a:lnTo>
                  <a:pt x="4236" y="196"/>
                </a:lnTo>
                <a:lnTo>
                  <a:pt x="4236" y="196"/>
                </a:lnTo>
                <a:lnTo>
                  <a:pt x="4242" y="194"/>
                </a:lnTo>
                <a:lnTo>
                  <a:pt x="4244" y="196"/>
                </a:lnTo>
                <a:lnTo>
                  <a:pt x="4250" y="200"/>
                </a:lnTo>
                <a:lnTo>
                  <a:pt x="4250" y="200"/>
                </a:lnTo>
                <a:lnTo>
                  <a:pt x="4246" y="202"/>
                </a:lnTo>
                <a:lnTo>
                  <a:pt x="4246" y="202"/>
                </a:lnTo>
                <a:close/>
                <a:moveTo>
                  <a:pt x="4282" y="188"/>
                </a:moveTo>
                <a:lnTo>
                  <a:pt x="4282" y="188"/>
                </a:lnTo>
                <a:lnTo>
                  <a:pt x="4280" y="188"/>
                </a:lnTo>
                <a:lnTo>
                  <a:pt x="4280" y="188"/>
                </a:lnTo>
                <a:lnTo>
                  <a:pt x="4278" y="188"/>
                </a:lnTo>
                <a:lnTo>
                  <a:pt x="4278" y="188"/>
                </a:lnTo>
                <a:lnTo>
                  <a:pt x="4280" y="186"/>
                </a:lnTo>
                <a:lnTo>
                  <a:pt x="4280" y="186"/>
                </a:lnTo>
                <a:lnTo>
                  <a:pt x="4282" y="188"/>
                </a:lnTo>
                <a:lnTo>
                  <a:pt x="4282" y="188"/>
                </a:lnTo>
                <a:close/>
                <a:moveTo>
                  <a:pt x="4360" y="322"/>
                </a:moveTo>
                <a:lnTo>
                  <a:pt x="4360" y="322"/>
                </a:lnTo>
                <a:lnTo>
                  <a:pt x="4350" y="322"/>
                </a:lnTo>
                <a:lnTo>
                  <a:pt x="4350" y="322"/>
                </a:lnTo>
                <a:lnTo>
                  <a:pt x="4352" y="316"/>
                </a:lnTo>
                <a:lnTo>
                  <a:pt x="4352" y="316"/>
                </a:lnTo>
                <a:lnTo>
                  <a:pt x="4360" y="322"/>
                </a:lnTo>
                <a:lnTo>
                  <a:pt x="4360" y="322"/>
                </a:lnTo>
                <a:close/>
                <a:moveTo>
                  <a:pt x="4426" y="194"/>
                </a:moveTo>
                <a:lnTo>
                  <a:pt x="4426" y="194"/>
                </a:lnTo>
                <a:lnTo>
                  <a:pt x="4414" y="192"/>
                </a:lnTo>
                <a:lnTo>
                  <a:pt x="4414" y="192"/>
                </a:lnTo>
                <a:lnTo>
                  <a:pt x="4420" y="190"/>
                </a:lnTo>
                <a:lnTo>
                  <a:pt x="4426" y="194"/>
                </a:lnTo>
                <a:lnTo>
                  <a:pt x="4426" y="194"/>
                </a:lnTo>
                <a:close/>
                <a:moveTo>
                  <a:pt x="4300" y="194"/>
                </a:moveTo>
                <a:lnTo>
                  <a:pt x="4300" y="194"/>
                </a:lnTo>
                <a:lnTo>
                  <a:pt x="4296" y="192"/>
                </a:lnTo>
                <a:lnTo>
                  <a:pt x="4296" y="192"/>
                </a:lnTo>
                <a:lnTo>
                  <a:pt x="4298" y="190"/>
                </a:lnTo>
                <a:lnTo>
                  <a:pt x="4298" y="190"/>
                </a:lnTo>
                <a:lnTo>
                  <a:pt x="4304" y="192"/>
                </a:lnTo>
                <a:lnTo>
                  <a:pt x="4304" y="192"/>
                </a:lnTo>
                <a:lnTo>
                  <a:pt x="4300" y="194"/>
                </a:lnTo>
                <a:lnTo>
                  <a:pt x="4300" y="194"/>
                </a:lnTo>
                <a:close/>
                <a:moveTo>
                  <a:pt x="4314" y="194"/>
                </a:moveTo>
                <a:lnTo>
                  <a:pt x="4314" y="194"/>
                </a:lnTo>
                <a:lnTo>
                  <a:pt x="4322" y="192"/>
                </a:lnTo>
                <a:lnTo>
                  <a:pt x="4322" y="192"/>
                </a:lnTo>
                <a:lnTo>
                  <a:pt x="4318" y="196"/>
                </a:lnTo>
                <a:lnTo>
                  <a:pt x="4314" y="194"/>
                </a:lnTo>
                <a:lnTo>
                  <a:pt x="4314" y="194"/>
                </a:lnTo>
                <a:close/>
                <a:moveTo>
                  <a:pt x="4336" y="296"/>
                </a:moveTo>
                <a:lnTo>
                  <a:pt x="4336" y="296"/>
                </a:lnTo>
                <a:lnTo>
                  <a:pt x="4334" y="292"/>
                </a:lnTo>
                <a:lnTo>
                  <a:pt x="4332" y="290"/>
                </a:lnTo>
                <a:lnTo>
                  <a:pt x="4324" y="286"/>
                </a:lnTo>
                <a:lnTo>
                  <a:pt x="4324" y="286"/>
                </a:lnTo>
                <a:lnTo>
                  <a:pt x="4318" y="276"/>
                </a:lnTo>
                <a:lnTo>
                  <a:pt x="4318" y="276"/>
                </a:lnTo>
                <a:lnTo>
                  <a:pt x="4326" y="272"/>
                </a:lnTo>
                <a:lnTo>
                  <a:pt x="4332" y="270"/>
                </a:lnTo>
                <a:lnTo>
                  <a:pt x="4336" y="270"/>
                </a:lnTo>
                <a:lnTo>
                  <a:pt x="4336" y="270"/>
                </a:lnTo>
                <a:lnTo>
                  <a:pt x="4342" y="270"/>
                </a:lnTo>
                <a:lnTo>
                  <a:pt x="4348" y="268"/>
                </a:lnTo>
                <a:lnTo>
                  <a:pt x="4348" y="268"/>
                </a:lnTo>
                <a:lnTo>
                  <a:pt x="4354" y="266"/>
                </a:lnTo>
                <a:lnTo>
                  <a:pt x="4362" y="264"/>
                </a:lnTo>
                <a:lnTo>
                  <a:pt x="4370" y="266"/>
                </a:lnTo>
                <a:lnTo>
                  <a:pt x="4376" y="268"/>
                </a:lnTo>
                <a:lnTo>
                  <a:pt x="4376" y="268"/>
                </a:lnTo>
                <a:lnTo>
                  <a:pt x="4382" y="272"/>
                </a:lnTo>
                <a:lnTo>
                  <a:pt x="4382" y="272"/>
                </a:lnTo>
                <a:lnTo>
                  <a:pt x="4394" y="270"/>
                </a:lnTo>
                <a:lnTo>
                  <a:pt x="4402" y="270"/>
                </a:lnTo>
                <a:lnTo>
                  <a:pt x="4406" y="272"/>
                </a:lnTo>
                <a:lnTo>
                  <a:pt x="4406" y="272"/>
                </a:lnTo>
                <a:lnTo>
                  <a:pt x="4420" y="268"/>
                </a:lnTo>
                <a:lnTo>
                  <a:pt x="4420" y="268"/>
                </a:lnTo>
                <a:lnTo>
                  <a:pt x="4426" y="270"/>
                </a:lnTo>
                <a:lnTo>
                  <a:pt x="4426" y="270"/>
                </a:lnTo>
                <a:lnTo>
                  <a:pt x="4448" y="280"/>
                </a:lnTo>
                <a:lnTo>
                  <a:pt x="4448" y="280"/>
                </a:lnTo>
                <a:lnTo>
                  <a:pt x="4446" y="290"/>
                </a:lnTo>
                <a:lnTo>
                  <a:pt x="4442" y="294"/>
                </a:lnTo>
                <a:lnTo>
                  <a:pt x="4436" y="298"/>
                </a:lnTo>
                <a:lnTo>
                  <a:pt x="4436" y="298"/>
                </a:lnTo>
                <a:lnTo>
                  <a:pt x="4420" y="294"/>
                </a:lnTo>
                <a:lnTo>
                  <a:pt x="4414" y="290"/>
                </a:lnTo>
                <a:lnTo>
                  <a:pt x="4414" y="288"/>
                </a:lnTo>
                <a:lnTo>
                  <a:pt x="4414" y="284"/>
                </a:lnTo>
                <a:lnTo>
                  <a:pt x="4414" y="284"/>
                </a:lnTo>
                <a:lnTo>
                  <a:pt x="4406" y="282"/>
                </a:lnTo>
                <a:lnTo>
                  <a:pt x="4406" y="282"/>
                </a:lnTo>
                <a:lnTo>
                  <a:pt x="4400" y="280"/>
                </a:lnTo>
                <a:lnTo>
                  <a:pt x="4396" y="284"/>
                </a:lnTo>
                <a:lnTo>
                  <a:pt x="4396" y="284"/>
                </a:lnTo>
                <a:lnTo>
                  <a:pt x="4390" y="286"/>
                </a:lnTo>
                <a:lnTo>
                  <a:pt x="4382" y="286"/>
                </a:lnTo>
                <a:lnTo>
                  <a:pt x="4382" y="286"/>
                </a:lnTo>
                <a:lnTo>
                  <a:pt x="4378" y="284"/>
                </a:lnTo>
                <a:lnTo>
                  <a:pt x="4376" y="284"/>
                </a:lnTo>
                <a:lnTo>
                  <a:pt x="4378" y="278"/>
                </a:lnTo>
                <a:lnTo>
                  <a:pt x="4378" y="278"/>
                </a:lnTo>
                <a:lnTo>
                  <a:pt x="4378" y="276"/>
                </a:lnTo>
                <a:lnTo>
                  <a:pt x="4378" y="276"/>
                </a:lnTo>
                <a:lnTo>
                  <a:pt x="4368" y="278"/>
                </a:lnTo>
                <a:lnTo>
                  <a:pt x="4366" y="282"/>
                </a:lnTo>
                <a:lnTo>
                  <a:pt x="4364" y="284"/>
                </a:lnTo>
                <a:lnTo>
                  <a:pt x="4364" y="284"/>
                </a:lnTo>
                <a:lnTo>
                  <a:pt x="4360" y="290"/>
                </a:lnTo>
                <a:lnTo>
                  <a:pt x="4354" y="294"/>
                </a:lnTo>
                <a:lnTo>
                  <a:pt x="4346" y="296"/>
                </a:lnTo>
                <a:lnTo>
                  <a:pt x="4336" y="296"/>
                </a:lnTo>
                <a:lnTo>
                  <a:pt x="4336" y="296"/>
                </a:lnTo>
                <a:close/>
                <a:moveTo>
                  <a:pt x="4396" y="854"/>
                </a:moveTo>
                <a:lnTo>
                  <a:pt x="4396" y="854"/>
                </a:lnTo>
                <a:lnTo>
                  <a:pt x="4392" y="854"/>
                </a:lnTo>
                <a:lnTo>
                  <a:pt x="4390" y="854"/>
                </a:lnTo>
                <a:lnTo>
                  <a:pt x="4384" y="846"/>
                </a:lnTo>
                <a:lnTo>
                  <a:pt x="4384" y="846"/>
                </a:lnTo>
                <a:lnTo>
                  <a:pt x="4388" y="844"/>
                </a:lnTo>
                <a:lnTo>
                  <a:pt x="4394" y="844"/>
                </a:lnTo>
                <a:lnTo>
                  <a:pt x="4404" y="846"/>
                </a:lnTo>
                <a:lnTo>
                  <a:pt x="4404" y="846"/>
                </a:lnTo>
                <a:lnTo>
                  <a:pt x="4402" y="852"/>
                </a:lnTo>
                <a:lnTo>
                  <a:pt x="4400" y="854"/>
                </a:lnTo>
                <a:lnTo>
                  <a:pt x="4396" y="854"/>
                </a:lnTo>
                <a:lnTo>
                  <a:pt x="4396" y="854"/>
                </a:lnTo>
                <a:close/>
                <a:moveTo>
                  <a:pt x="4424" y="854"/>
                </a:moveTo>
                <a:lnTo>
                  <a:pt x="4424" y="854"/>
                </a:lnTo>
                <a:lnTo>
                  <a:pt x="4422" y="856"/>
                </a:lnTo>
                <a:lnTo>
                  <a:pt x="4418" y="856"/>
                </a:lnTo>
                <a:lnTo>
                  <a:pt x="4414" y="852"/>
                </a:lnTo>
                <a:lnTo>
                  <a:pt x="4414" y="852"/>
                </a:lnTo>
                <a:lnTo>
                  <a:pt x="4414" y="852"/>
                </a:lnTo>
                <a:lnTo>
                  <a:pt x="4424" y="852"/>
                </a:lnTo>
                <a:lnTo>
                  <a:pt x="4424" y="852"/>
                </a:lnTo>
                <a:lnTo>
                  <a:pt x="4424" y="854"/>
                </a:lnTo>
                <a:lnTo>
                  <a:pt x="4424" y="854"/>
                </a:lnTo>
                <a:close/>
              </a:path>
            </a:pathLst>
          </a:custGeom>
          <a:gradFill flip="none" rotWithShape="1">
            <a:gsLst>
              <a:gs pos="100000">
                <a:schemeClr val="accent1">
                  <a:alpha val="79000"/>
                </a:schemeClr>
              </a:gs>
              <a:gs pos="0">
                <a:schemeClr val="accent2">
                  <a:alpha val="89000"/>
                </a:schemeClr>
              </a:gs>
            </a:gsLst>
            <a:lin ang="8100000" scaled="1"/>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672" name="Freeform 39"/>
          <p:cNvSpPr>
            <a:spLocks noEditPoints="1"/>
          </p:cNvSpPr>
          <p:nvPr/>
        </p:nvSpPr>
        <p:spPr bwMode="auto">
          <a:xfrm>
            <a:off x="7275716" y="2418152"/>
            <a:ext cx="2662137" cy="849190"/>
          </a:xfrm>
          <a:custGeom>
            <a:avLst/>
            <a:gdLst>
              <a:gd name="T0" fmla="*/ 4450 w 4566"/>
              <a:gd name="T1" fmla="*/ 308 h 1298"/>
              <a:gd name="T2" fmla="*/ 4000 w 4566"/>
              <a:gd name="T3" fmla="*/ 56 h 1298"/>
              <a:gd name="T4" fmla="*/ 3598 w 4566"/>
              <a:gd name="T5" fmla="*/ 168 h 1298"/>
              <a:gd name="T6" fmla="*/ 3486 w 4566"/>
              <a:gd name="T7" fmla="*/ 234 h 1298"/>
              <a:gd name="T8" fmla="*/ 2992 w 4566"/>
              <a:gd name="T9" fmla="*/ 160 h 1298"/>
              <a:gd name="T10" fmla="*/ 2670 w 4566"/>
              <a:gd name="T11" fmla="*/ 98 h 1298"/>
              <a:gd name="T12" fmla="*/ 1792 w 4566"/>
              <a:gd name="T13" fmla="*/ 104 h 1298"/>
              <a:gd name="T14" fmla="*/ 876 w 4566"/>
              <a:gd name="T15" fmla="*/ 306 h 1298"/>
              <a:gd name="T16" fmla="*/ 370 w 4566"/>
              <a:gd name="T17" fmla="*/ 256 h 1298"/>
              <a:gd name="T18" fmla="*/ 62 w 4566"/>
              <a:gd name="T19" fmla="*/ 396 h 1298"/>
              <a:gd name="T20" fmla="*/ 336 w 4566"/>
              <a:gd name="T21" fmla="*/ 992 h 1298"/>
              <a:gd name="T22" fmla="*/ 740 w 4566"/>
              <a:gd name="T23" fmla="*/ 1050 h 1298"/>
              <a:gd name="T24" fmla="*/ 730 w 4566"/>
              <a:gd name="T25" fmla="*/ 1102 h 1298"/>
              <a:gd name="T26" fmla="*/ 1024 w 4566"/>
              <a:gd name="T27" fmla="*/ 1144 h 1298"/>
              <a:gd name="T28" fmla="*/ 952 w 4566"/>
              <a:gd name="T29" fmla="*/ 978 h 1298"/>
              <a:gd name="T30" fmla="*/ 1148 w 4566"/>
              <a:gd name="T31" fmla="*/ 1070 h 1298"/>
              <a:gd name="T32" fmla="*/ 1388 w 4566"/>
              <a:gd name="T33" fmla="*/ 1008 h 1298"/>
              <a:gd name="T34" fmla="*/ 1654 w 4566"/>
              <a:gd name="T35" fmla="*/ 1158 h 1298"/>
              <a:gd name="T36" fmla="*/ 1802 w 4566"/>
              <a:gd name="T37" fmla="*/ 1222 h 1298"/>
              <a:gd name="T38" fmla="*/ 2318 w 4566"/>
              <a:gd name="T39" fmla="*/ 1198 h 1298"/>
              <a:gd name="T40" fmla="*/ 2576 w 4566"/>
              <a:gd name="T41" fmla="*/ 1290 h 1298"/>
              <a:gd name="T42" fmla="*/ 3076 w 4566"/>
              <a:gd name="T43" fmla="*/ 1116 h 1298"/>
              <a:gd name="T44" fmla="*/ 3422 w 4566"/>
              <a:gd name="T45" fmla="*/ 1132 h 1298"/>
              <a:gd name="T46" fmla="*/ 3278 w 4566"/>
              <a:gd name="T47" fmla="*/ 1080 h 1298"/>
              <a:gd name="T48" fmla="*/ 3344 w 4566"/>
              <a:gd name="T49" fmla="*/ 1082 h 1298"/>
              <a:gd name="T50" fmla="*/ 3612 w 4566"/>
              <a:gd name="T51" fmla="*/ 1042 h 1298"/>
              <a:gd name="T52" fmla="*/ 3692 w 4566"/>
              <a:gd name="T53" fmla="*/ 1052 h 1298"/>
              <a:gd name="T54" fmla="*/ 3818 w 4566"/>
              <a:gd name="T55" fmla="*/ 1024 h 1298"/>
              <a:gd name="T56" fmla="*/ 4382 w 4566"/>
              <a:gd name="T57" fmla="*/ 966 h 1298"/>
              <a:gd name="T58" fmla="*/ 500 w 4566"/>
              <a:gd name="T59" fmla="*/ 926 h 1298"/>
              <a:gd name="T60" fmla="*/ 396 w 4566"/>
              <a:gd name="T61" fmla="*/ 844 h 1298"/>
              <a:gd name="T62" fmla="*/ 182 w 4566"/>
              <a:gd name="T63" fmla="*/ 876 h 1298"/>
              <a:gd name="T64" fmla="*/ 376 w 4566"/>
              <a:gd name="T65" fmla="*/ 972 h 1298"/>
              <a:gd name="T66" fmla="*/ 486 w 4566"/>
              <a:gd name="T67" fmla="*/ 936 h 1298"/>
              <a:gd name="T68" fmla="*/ 940 w 4566"/>
              <a:gd name="T69" fmla="*/ 1054 h 1298"/>
              <a:gd name="T70" fmla="*/ 858 w 4566"/>
              <a:gd name="T71" fmla="*/ 972 h 1298"/>
              <a:gd name="T72" fmla="*/ 816 w 4566"/>
              <a:gd name="T73" fmla="*/ 1114 h 1298"/>
              <a:gd name="T74" fmla="*/ 990 w 4566"/>
              <a:gd name="T75" fmla="*/ 994 h 1298"/>
              <a:gd name="T76" fmla="*/ 1010 w 4566"/>
              <a:gd name="T77" fmla="*/ 956 h 1298"/>
              <a:gd name="T78" fmla="*/ 1096 w 4566"/>
              <a:gd name="T79" fmla="*/ 946 h 1298"/>
              <a:gd name="T80" fmla="*/ 1356 w 4566"/>
              <a:gd name="T81" fmla="*/ 938 h 1298"/>
              <a:gd name="T82" fmla="*/ 1466 w 4566"/>
              <a:gd name="T83" fmla="*/ 966 h 1298"/>
              <a:gd name="T84" fmla="*/ 1556 w 4566"/>
              <a:gd name="T85" fmla="*/ 1020 h 1298"/>
              <a:gd name="T86" fmla="*/ 1964 w 4566"/>
              <a:gd name="T87" fmla="*/ 1048 h 1298"/>
              <a:gd name="T88" fmla="*/ 1822 w 4566"/>
              <a:gd name="T89" fmla="*/ 1144 h 1298"/>
              <a:gd name="T90" fmla="*/ 1796 w 4566"/>
              <a:gd name="T91" fmla="*/ 1080 h 1298"/>
              <a:gd name="T92" fmla="*/ 1976 w 4566"/>
              <a:gd name="T93" fmla="*/ 1070 h 1298"/>
              <a:gd name="T94" fmla="*/ 2278 w 4566"/>
              <a:gd name="T95" fmla="*/ 1132 h 1298"/>
              <a:gd name="T96" fmla="*/ 2440 w 4566"/>
              <a:gd name="T97" fmla="*/ 1168 h 1298"/>
              <a:gd name="T98" fmla="*/ 2570 w 4566"/>
              <a:gd name="T99" fmla="*/ 1170 h 1298"/>
              <a:gd name="T100" fmla="*/ 2756 w 4566"/>
              <a:gd name="T101" fmla="*/ 1236 h 1298"/>
              <a:gd name="T102" fmla="*/ 3002 w 4566"/>
              <a:gd name="T103" fmla="*/ 168 h 1298"/>
              <a:gd name="T104" fmla="*/ 3128 w 4566"/>
              <a:gd name="T105" fmla="*/ 1126 h 1298"/>
              <a:gd name="T106" fmla="*/ 3312 w 4566"/>
              <a:gd name="T107" fmla="*/ 1070 h 1298"/>
              <a:gd name="T108" fmla="*/ 3736 w 4566"/>
              <a:gd name="T109" fmla="*/ 224 h 1298"/>
              <a:gd name="T110" fmla="*/ 3670 w 4566"/>
              <a:gd name="T111" fmla="*/ 266 h 1298"/>
              <a:gd name="T112" fmla="*/ 3538 w 4566"/>
              <a:gd name="T113" fmla="*/ 980 h 1298"/>
              <a:gd name="T114" fmla="*/ 3426 w 4566"/>
              <a:gd name="T115" fmla="*/ 842 h 1298"/>
              <a:gd name="T116" fmla="*/ 3552 w 4566"/>
              <a:gd name="T117" fmla="*/ 1010 h 1298"/>
              <a:gd name="T118" fmla="*/ 3566 w 4566"/>
              <a:gd name="T119" fmla="*/ 986 h 1298"/>
              <a:gd name="T120" fmla="*/ 3812 w 4566"/>
              <a:gd name="T121" fmla="*/ 310 h 1298"/>
              <a:gd name="T122" fmla="*/ 3934 w 4566"/>
              <a:gd name="T123" fmla="*/ 338 h 1298"/>
              <a:gd name="T124" fmla="*/ 4186 w 4566"/>
              <a:gd name="T125" fmla="*/ 232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66" h="1298">
                <a:moveTo>
                  <a:pt x="4564" y="746"/>
                </a:moveTo>
                <a:lnTo>
                  <a:pt x="4564" y="746"/>
                </a:lnTo>
                <a:lnTo>
                  <a:pt x="4560" y="744"/>
                </a:lnTo>
                <a:lnTo>
                  <a:pt x="4560" y="744"/>
                </a:lnTo>
                <a:lnTo>
                  <a:pt x="4558" y="738"/>
                </a:lnTo>
                <a:lnTo>
                  <a:pt x="4558" y="734"/>
                </a:lnTo>
                <a:lnTo>
                  <a:pt x="4558" y="732"/>
                </a:lnTo>
                <a:lnTo>
                  <a:pt x="4558" y="732"/>
                </a:lnTo>
                <a:lnTo>
                  <a:pt x="4558" y="722"/>
                </a:lnTo>
                <a:lnTo>
                  <a:pt x="4552" y="702"/>
                </a:lnTo>
                <a:lnTo>
                  <a:pt x="4536" y="638"/>
                </a:lnTo>
                <a:lnTo>
                  <a:pt x="4510" y="544"/>
                </a:lnTo>
                <a:lnTo>
                  <a:pt x="4510" y="544"/>
                </a:lnTo>
                <a:lnTo>
                  <a:pt x="4508" y="538"/>
                </a:lnTo>
                <a:lnTo>
                  <a:pt x="4508" y="536"/>
                </a:lnTo>
                <a:lnTo>
                  <a:pt x="4512" y="534"/>
                </a:lnTo>
                <a:lnTo>
                  <a:pt x="4522" y="532"/>
                </a:lnTo>
                <a:lnTo>
                  <a:pt x="4522" y="532"/>
                </a:lnTo>
                <a:lnTo>
                  <a:pt x="4522" y="532"/>
                </a:lnTo>
                <a:lnTo>
                  <a:pt x="4522" y="532"/>
                </a:lnTo>
                <a:lnTo>
                  <a:pt x="4504" y="528"/>
                </a:lnTo>
                <a:lnTo>
                  <a:pt x="4496" y="526"/>
                </a:lnTo>
                <a:lnTo>
                  <a:pt x="4492" y="522"/>
                </a:lnTo>
                <a:lnTo>
                  <a:pt x="4490" y="520"/>
                </a:lnTo>
                <a:lnTo>
                  <a:pt x="4490" y="520"/>
                </a:lnTo>
                <a:lnTo>
                  <a:pt x="4496" y="514"/>
                </a:lnTo>
                <a:lnTo>
                  <a:pt x="4496" y="514"/>
                </a:lnTo>
                <a:lnTo>
                  <a:pt x="4484" y="506"/>
                </a:lnTo>
                <a:lnTo>
                  <a:pt x="4472" y="500"/>
                </a:lnTo>
                <a:lnTo>
                  <a:pt x="4472" y="500"/>
                </a:lnTo>
                <a:lnTo>
                  <a:pt x="4446" y="488"/>
                </a:lnTo>
                <a:lnTo>
                  <a:pt x="4446" y="488"/>
                </a:lnTo>
                <a:lnTo>
                  <a:pt x="4438" y="484"/>
                </a:lnTo>
                <a:lnTo>
                  <a:pt x="4430" y="480"/>
                </a:lnTo>
                <a:lnTo>
                  <a:pt x="4420" y="466"/>
                </a:lnTo>
                <a:lnTo>
                  <a:pt x="4430" y="466"/>
                </a:lnTo>
                <a:lnTo>
                  <a:pt x="4430" y="466"/>
                </a:lnTo>
                <a:lnTo>
                  <a:pt x="4432" y="464"/>
                </a:lnTo>
                <a:lnTo>
                  <a:pt x="4432" y="464"/>
                </a:lnTo>
                <a:lnTo>
                  <a:pt x="4434" y="460"/>
                </a:lnTo>
                <a:lnTo>
                  <a:pt x="4436" y="458"/>
                </a:lnTo>
                <a:lnTo>
                  <a:pt x="4440" y="456"/>
                </a:lnTo>
                <a:lnTo>
                  <a:pt x="4446" y="454"/>
                </a:lnTo>
                <a:lnTo>
                  <a:pt x="4446" y="454"/>
                </a:lnTo>
                <a:lnTo>
                  <a:pt x="4456" y="452"/>
                </a:lnTo>
                <a:lnTo>
                  <a:pt x="4456" y="452"/>
                </a:lnTo>
                <a:lnTo>
                  <a:pt x="4430" y="448"/>
                </a:lnTo>
                <a:lnTo>
                  <a:pt x="4430" y="448"/>
                </a:lnTo>
                <a:lnTo>
                  <a:pt x="4430" y="446"/>
                </a:lnTo>
                <a:lnTo>
                  <a:pt x="4432" y="446"/>
                </a:lnTo>
                <a:lnTo>
                  <a:pt x="4434" y="442"/>
                </a:lnTo>
                <a:lnTo>
                  <a:pt x="4436" y="438"/>
                </a:lnTo>
                <a:lnTo>
                  <a:pt x="4434" y="436"/>
                </a:lnTo>
                <a:lnTo>
                  <a:pt x="4432" y="436"/>
                </a:lnTo>
                <a:lnTo>
                  <a:pt x="4432" y="436"/>
                </a:lnTo>
                <a:lnTo>
                  <a:pt x="4428" y="436"/>
                </a:lnTo>
                <a:lnTo>
                  <a:pt x="4424" y="438"/>
                </a:lnTo>
                <a:lnTo>
                  <a:pt x="4420" y="438"/>
                </a:lnTo>
                <a:lnTo>
                  <a:pt x="4416" y="438"/>
                </a:lnTo>
                <a:lnTo>
                  <a:pt x="4416" y="438"/>
                </a:lnTo>
                <a:lnTo>
                  <a:pt x="4418" y="434"/>
                </a:lnTo>
                <a:lnTo>
                  <a:pt x="4418" y="428"/>
                </a:lnTo>
                <a:lnTo>
                  <a:pt x="4420" y="424"/>
                </a:lnTo>
                <a:lnTo>
                  <a:pt x="4428" y="422"/>
                </a:lnTo>
                <a:lnTo>
                  <a:pt x="4428" y="422"/>
                </a:lnTo>
                <a:lnTo>
                  <a:pt x="4428" y="416"/>
                </a:lnTo>
                <a:lnTo>
                  <a:pt x="4426" y="414"/>
                </a:lnTo>
                <a:lnTo>
                  <a:pt x="4422" y="414"/>
                </a:lnTo>
                <a:lnTo>
                  <a:pt x="4414" y="416"/>
                </a:lnTo>
                <a:lnTo>
                  <a:pt x="4414" y="416"/>
                </a:lnTo>
                <a:lnTo>
                  <a:pt x="4412" y="414"/>
                </a:lnTo>
                <a:lnTo>
                  <a:pt x="4412" y="414"/>
                </a:lnTo>
                <a:lnTo>
                  <a:pt x="4408" y="412"/>
                </a:lnTo>
                <a:lnTo>
                  <a:pt x="4408" y="408"/>
                </a:lnTo>
                <a:lnTo>
                  <a:pt x="4408" y="408"/>
                </a:lnTo>
                <a:lnTo>
                  <a:pt x="4408" y="402"/>
                </a:lnTo>
                <a:lnTo>
                  <a:pt x="4404" y="398"/>
                </a:lnTo>
                <a:lnTo>
                  <a:pt x="4400" y="396"/>
                </a:lnTo>
                <a:lnTo>
                  <a:pt x="4394" y="392"/>
                </a:lnTo>
                <a:lnTo>
                  <a:pt x="4394" y="392"/>
                </a:lnTo>
                <a:lnTo>
                  <a:pt x="4400" y="376"/>
                </a:lnTo>
                <a:lnTo>
                  <a:pt x="4400" y="376"/>
                </a:lnTo>
                <a:lnTo>
                  <a:pt x="4396" y="372"/>
                </a:lnTo>
                <a:lnTo>
                  <a:pt x="4394" y="370"/>
                </a:lnTo>
                <a:lnTo>
                  <a:pt x="4394" y="368"/>
                </a:lnTo>
                <a:lnTo>
                  <a:pt x="4394" y="368"/>
                </a:lnTo>
                <a:lnTo>
                  <a:pt x="4394" y="360"/>
                </a:lnTo>
                <a:lnTo>
                  <a:pt x="4392" y="354"/>
                </a:lnTo>
                <a:lnTo>
                  <a:pt x="4392" y="354"/>
                </a:lnTo>
                <a:lnTo>
                  <a:pt x="4372" y="344"/>
                </a:lnTo>
                <a:lnTo>
                  <a:pt x="4372" y="344"/>
                </a:lnTo>
                <a:lnTo>
                  <a:pt x="4370" y="342"/>
                </a:lnTo>
                <a:lnTo>
                  <a:pt x="4370" y="338"/>
                </a:lnTo>
                <a:lnTo>
                  <a:pt x="4370" y="338"/>
                </a:lnTo>
                <a:lnTo>
                  <a:pt x="4368" y="334"/>
                </a:lnTo>
                <a:lnTo>
                  <a:pt x="4366" y="332"/>
                </a:lnTo>
                <a:lnTo>
                  <a:pt x="4358" y="330"/>
                </a:lnTo>
                <a:lnTo>
                  <a:pt x="4358" y="330"/>
                </a:lnTo>
                <a:lnTo>
                  <a:pt x="4348" y="330"/>
                </a:lnTo>
                <a:lnTo>
                  <a:pt x="4348" y="330"/>
                </a:lnTo>
                <a:lnTo>
                  <a:pt x="4348" y="328"/>
                </a:lnTo>
                <a:lnTo>
                  <a:pt x="4348" y="328"/>
                </a:lnTo>
                <a:lnTo>
                  <a:pt x="4360" y="326"/>
                </a:lnTo>
                <a:lnTo>
                  <a:pt x="4364" y="326"/>
                </a:lnTo>
                <a:lnTo>
                  <a:pt x="4370" y="328"/>
                </a:lnTo>
                <a:lnTo>
                  <a:pt x="4370" y="328"/>
                </a:lnTo>
                <a:lnTo>
                  <a:pt x="4374" y="328"/>
                </a:lnTo>
                <a:lnTo>
                  <a:pt x="4374" y="328"/>
                </a:lnTo>
                <a:lnTo>
                  <a:pt x="4398" y="326"/>
                </a:lnTo>
                <a:lnTo>
                  <a:pt x="4398" y="326"/>
                </a:lnTo>
                <a:lnTo>
                  <a:pt x="4406" y="328"/>
                </a:lnTo>
                <a:lnTo>
                  <a:pt x="4414" y="332"/>
                </a:lnTo>
                <a:lnTo>
                  <a:pt x="4414" y="332"/>
                </a:lnTo>
                <a:lnTo>
                  <a:pt x="4424" y="340"/>
                </a:lnTo>
                <a:lnTo>
                  <a:pt x="4424" y="340"/>
                </a:lnTo>
                <a:lnTo>
                  <a:pt x="4430" y="344"/>
                </a:lnTo>
                <a:lnTo>
                  <a:pt x="4434" y="348"/>
                </a:lnTo>
                <a:lnTo>
                  <a:pt x="4434" y="348"/>
                </a:lnTo>
                <a:lnTo>
                  <a:pt x="4438" y="354"/>
                </a:lnTo>
                <a:lnTo>
                  <a:pt x="4446" y="356"/>
                </a:lnTo>
                <a:lnTo>
                  <a:pt x="4446" y="356"/>
                </a:lnTo>
                <a:lnTo>
                  <a:pt x="4474" y="362"/>
                </a:lnTo>
                <a:lnTo>
                  <a:pt x="4474" y="362"/>
                </a:lnTo>
                <a:lnTo>
                  <a:pt x="4482" y="362"/>
                </a:lnTo>
                <a:lnTo>
                  <a:pt x="4490" y="362"/>
                </a:lnTo>
                <a:lnTo>
                  <a:pt x="4490" y="362"/>
                </a:lnTo>
                <a:lnTo>
                  <a:pt x="4498" y="362"/>
                </a:lnTo>
                <a:lnTo>
                  <a:pt x="4508" y="364"/>
                </a:lnTo>
                <a:lnTo>
                  <a:pt x="4508" y="364"/>
                </a:lnTo>
                <a:lnTo>
                  <a:pt x="4506" y="370"/>
                </a:lnTo>
                <a:lnTo>
                  <a:pt x="4506" y="372"/>
                </a:lnTo>
                <a:lnTo>
                  <a:pt x="4502" y="372"/>
                </a:lnTo>
                <a:lnTo>
                  <a:pt x="4502" y="372"/>
                </a:lnTo>
                <a:lnTo>
                  <a:pt x="4490" y="374"/>
                </a:lnTo>
                <a:lnTo>
                  <a:pt x="4484" y="374"/>
                </a:lnTo>
                <a:lnTo>
                  <a:pt x="4480" y="372"/>
                </a:lnTo>
                <a:lnTo>
                  <a:pt x="4480" y="372"/>
                </a:lnTo>
                <a:lnTo>
                  <a:pt x="4476" y="374"/>
                </a:lnTo>
                <a:lnTo>
                  <a:pt x="4476" y="374"/>
                </a:lnTo>
                <a:lnTo>
                  <a:pt x="4488" y="378"/>
                </a:lnTo>
                <a:lnTo>
                  <a:pt x="4488" y="378"/>
                </a:lnTo>
                <a:lnTo>
                  <a:pt x="4496" y="380"/>
                </a:lnTo>
                <a:lnTo>
                  <a:pt x="4506" y="380"/>
                </a:lnTo>
                <a:lnTo>
                  <a:pt x="4506" y="380"/>
                </a:lnTo>
                <a:lnTo>
                  <a:pt x="4510" y="380"/>
                </a:lnTo>
                <a:lnTo>
                  <a:pt x="4514" y="380"/>
                </a:lnTo>
                <a:lnTo>
                  <a:pt x="4514" y="380"/>
                </a:lnTo>
                <a:lnTo>
                  <a:pt x="4524" y="382"/>
                </a:lnTo>
                <a:lnTo>
                  <a:pt x="4530" y="382"/>
                </a:lnTo>
                <a:lnTo>
                  <a:pt x="4534" y="380"/>
                </a:lnTo>
                <a:lnTo>
                  <a:pt x="4534" y="380"/>
                </a:lnTo>
                <a:lnTo>
                  <a:pt x="4538" y="378"/>
                </a:lnTo>
                <a:lnTo>
                  <a:pt x="4544" y="378"/>
                </a:lnTo>
                <a:lnTo>
                  <a:pt x="4544" y="378"/>
                </a:lnTo>
                <a:lnTo>
                  <a:pt x="4548" y="386"/>
                </a:lnTo>
                <a:lnTo>
                  <a:pt x="4548" y="386"/>
                </a:lnTo>
                <a:lnTo>
                  <a:pt x="4548" y="376"/>
                </a:lnTo>
                <a:lnTo>
                  <a:pt x="4548" y="372"/>
                </a:lnTo>
                <a:lnTo>
                  <a:pt x="4548" y="366"/>
                </a:lnTo>
                <a:lnTo>
                  <a:pt x="4548" y="366"/>
                </a:lnTo>
                <a:lnTo>
                  <a:pt x="4544" y="360"/>
                </a:lnTo>
                <a:lnTo>
                  <a:pt x="4536" y="356"/>
                </a:lnTo>
                <a:lnTo>
                  <a:pt x="4536" y="356"/>
                </a:lnTo>
                <a:lnTo>
                  <a:pt x="4522" y="354"/>
                </a:lnTo>
                <a:lnTo>
                  <a:pt x="4510" y="356"/>
                </a:lnTo>
                <a:lnTo>
                  <a:pt x="4510" y="356"/>
                </a:lnTo>
                <a:lnTo>
                  <a:pt x="4496" y="352"/>
                </a:lnTo>
                <a:lnTo>
                  <a:pt x="4488" y="350"/>
                </a:lnTo>
                <a:lnTo>
                  <a:pt x="4478" y="352"/>
                </a:lnTo>
                <a:lnTo>
                  <a:pt x="4478" y="352"/>
                </a:lnTo>
                <a:lnTo>
                  <a:pt x="4474" y="352"/>
                </a:lnTo>
                <a:lnTo>
                  <a:pt x="4470" y="348"/>
                </a:lnTo>
                <a:lnTo>
                  <a:pt x="4470" y="348"/>
                </a:lnTo>
                <a:lnTo>
                  <a:pt x="4468" y="346"/>
                </a:lnTo>
                <a:lnTo>
                  <a:pt x="4466" y="344"/>
                </a:lnTo>
                <a:lnTo>
                  <a:pt x="4458" y="342"/>
                </a:lnTo>
                <a:lnTo>
                  <a:pt x="4458" y="342"/>
                </a:lnTo>
                <a:lnTo>
                  <a:pt x="4452" y="340"/>
                </a:lnTo>
                <a:lnTo>
                  <a:pt x="4452" y="340"/>
                </a:lnTo>
                <a:lnTo>
                  <a:pt x="4450" y="330"/>
                </a:lnTo>
                <a:lnTo>
                  <a:pt x="4450" y="330"/>
                </a:lnTo>
                <a:lnTo>
                  <a:pt x="4450" y="328"/>
                </a:lnTo>
                <a:lnTo>
                  <a:pt x="4450" y="328"/>
                </a:lnTo>
                <a:lnTo>
                  <a:pt x="4450" y="324"/>
                </a:lnTo>
                <a:lnTo>
                  <a:pt x="4450" y="322"/>
                </a:lnTo>
                <a:lnTo>
                  <a:pt x="4446" y="320"/>
                </a:lnTo>
                <a:lnTo>
                  <a:pt x="4440" y="320"/>
                </a:lnTo>
                <a:lnTo>
                  <a:pt x="4440" y="320"/>
                </a:lnTo>
                <a:lnTo>
                  <a:pt x="4430" y="320"/>
                </a:lnTo>
                <a:lnTo>
                  <a:pt x="4422" y="318"/>
                </a:lnTo>
                <a:lnTo>
                  <a:pt x="4422" y="318"/>
                </a:lnTo>
                <a:lnTo>
                  <a:pt x="4416" y="314"/>
                </a:lnTo>
                <a:lnTo>
                  <a:pt x="4412" y="314"/>
                </a:lnTo>
                <a:lnTo>
                  <a:pt x="4400" y="318"/>
                </a:lnTo>
                <a:lnTo>
                  <a:pt x="4400" y="318"/>
                </a:lnTo>
                <a:lnTo>
                  <a:pt x="4390" y="320"/>
                </a:lnTo>
                <a:lnTo>
                  <a:pt x="4390" y="320"/>
                </a:lnTo>
                <a:lnTo>
                  <a:pt x="4394" y="312"/>
                </a:lnTo>
                <a:lnTo>
                  <a:pt x="4394" y="312"/>
                </a:lnTo>
                <a:lnTo>
                  <a:pt x="4382" y="306"/>
                </a:lnTo>
                <a:lnTo>
                  <a:pt x="4370" y="306"/>
                </a:lnTo>
                <a:lnTo>
                  <a:pt x="4370" y="306"/>
                </a:lnTo>
                <a:lnTo>
                  <a:pt x="4362" y="306"/>
                </a:lnTo>
                <a:lnTo>
                  <a:pt x="4358" y="302"/>
                </a:lnTo>
                <a:lnTo>
                  <a:pt x="4358" y="302"/>
                </a:lnTo>
                <a:lnTo>
                  <a:pt x="4356" y="300"/>
                </a:lnTo>
                <a:lnTo>
                  <a:pt x="4356" y="296"/>
                </a:lnTo>
                <a:lnTo>
                  <a:pt x="4356" y="296"/>
                </a:lnTo>
                <a:lnTo>
                  <a:pt x="4388" y="296"/>
                </a:lnTo>
                <a:lnTo>
                  <a:pt x="4388" y="296"/>
                </a:lnTo>
                <a:lnTo>
                  <a:pt x="4394" y="294"/>
                </a:lnTo>
                <a:lnTo>
                  <a:pt x="4394" y="294"/>
                </a:lnTo>
                <a:lnTo>
                  <a:pt x="4402" y="292"/>
                </a:lnTo>
                <a:lnTo>
                  <a:pt x="4410" y="294"/>
                </a:lnTo>
                <a:lnTo>
                  <a:pt x="4416" y="296"/>
                </a:lnTo>
                <a:lnTo>
                  <a:pt x="4422" y="300"/>
                </a:lnTo>
                <a:lnTo>
                  <a:pt x="4422" y="300"/>
                </a:lnTo>
                <a:lnTo>
                  <a:pt x="4416" y="308"/>
                </a:lnTo>
                <a:lnTo>
                  <a:pt x="4416" y="308"/>
                </a:lnTo>
                <a:lnTo>
                  <a:pt x="4420" y="310"/>
                </a:lnTo>
                <a:lnTo>
                  <a:pt x="4422" y="310"/>
                </a:lnTo>
                <a:lnTo>
                  <a:pt x="4426" y="306"/>
                </a:lnTo>
                <a:lnTo>
                  <a:pt x="4426" y="306"/>
                </a:lnTo>
                <a:lnTo>
                  <a:pt x="4436" y="304"/>
                </a:lnTo>
                <a:lnTo>
                  <a:pt x="4444" y="304"/>
                </a:lnTo>
                <a:lnTo>
                  <a:pt x="4450" y="308"/>
                </a:lnTo>
                <a:lnTo>
                  <a:pt x="4454" y="312"/>
                </a:lnTo>
                <a:lnTo>
                  <a:pt x="4454" y="312"/>
                </a:lnTo>
                <a:lnTo>
                  <a:pt x="4458" y="318"/>
                </a:lnTo>
                <a:lnTo>
                  <a:pt x="4458" y="318"/>
                </a:lnTo>
                <a:lnTo>
                  <a:pt x="4462" y="314"/>
                </a:lnTo>
                <a:lnTo>
                  <a:pt x="4468" y="314"/>
                </a:lnTo>
                <a:lnTo>
                  <a:pt x="4478" y="314"/>
                </a:lnTo>
                <a:lnTo>
                  <a:pt x="4478" y="314"/>
                </a:lnTo>
                <a:lnTo>
                  <a:pt x="4514" y="320"/>
                </a:lnTo>
                <a:lnTo>
                  <a:pt x="4514" y="320"/>
                </a:lnTo>
                <a:lnTo>
                  <a:pt x="4520" y="320"/>
                </a:lnTo>
                <a:lnTo>
                  <a:pt x="4524" y="316"/>
                </a:lnTo>
                <a:lnTo>
                  <a:pt x="4524" y="316"/>
                </a:lnTo>
                <a:lnTo>
                  <a:pt x="4520" y="314"/>
                </a:lnTo>
                <a:lnTo>
                  <a:pt x="4520" y="314"/>
                </a:lnTo>
                <a:lnTo>
                  <a:pt x="4512" y="312"/>
                </a:lnTo>
                <a:lnTo>
                  <a:pt x="4504" y="310"/>
                </a:lnTo>
                <a:lnTo>
                  <a:pt x="4492" y="302"/>
                </a:lnTo>
                <a:lnTo>
                  <a:pt x="4492" y="302"/>
                </a:lnTo>
                <a:lnTo>
                  <a:pt x="4492" y="300"/>
                </a:lnTo>
                <a:lnTo>
                  <a:pt x="4492" y="298"/>
                </a:lnTo>
                <a:lnTo>
                  <a:pt x="4492" y="296"/>
                </a:lnTo>
                <a:lnTo>
                  <a:pt x="4490" y="294"/>
                </a:lnTo>
                <a:lnTo>
                  <a:pt x="4490" y="294"/>
                </a:lnTo>
                <a:lnTo>
                  <a:pt x="4456" y="280"/>
                </a:lnTo>
                <a:lnTo>
                  <a:pt x="4456" y="280"/>
                </a:lnTo>
                <a:lnTo>
                  <a:pt x="4448" y="274"/>
                </a:lnTo>
                <a:lnTo>
                  <a:pt x="4442" y="272"/>
                </a:lnTo>
                <a:lnTo>
                  <a:pt x="4438" y="270"/>
                </a:lnTo>
                <a:lnTo>
                  <a:pt x="4438" y="270"/>
                </a:lnTo>
                <a:lnTo>
                  <a:pt x="4434" y="268"/>
                </a:lnTo>
                <a:lnTo>
                  <a:pt x="4430" y="264"/>
                </a:lnTo>
                <a:lnTo>
                  <a:pt x="4430" y="264"/>
                </a:lnTo>
                <a:lnTo>
                  <a:pt x="4438" y="260"/>
                </a:lnTo>
                <a:lnTo>
                  <a:pt x="4442" y="260"/>
                </a:lnTo>
                <a:lnTo>
                  <a:pt x="4448" y="260"/>
                </a:lnTo>
                <a:lnTo>
                  <a:pt x="4454" y="262"/>
                </a:lnTo>
                <a:lnTo>
                  <a:pt x="4454" y="262"/>
                </a:lnTo>
                <a:lnTo>
                  <a:pt x="4460" y="264"/>
                </a:lnTo>
                <a:lnTo>
                  <a:pt x="4460" y="264"/>
                </a:lnTo>
                <a:lnTo>
                  <a:pt x="4466" y="256"/>
                </a:lnTo>
                <a:lnTo>
                  <a:pt x="4472" y="248"/>
                </a:lnTo>
                <a:lnTo>
                  <a:pt x="4482" y="242"/>
                </a:lnTo>
                <a:lnTo>
                  <a:pt x="4494" y="240"/>
                </a:lnTo>
                <a:lnTo>
                  <a:pt x="4494" y="240"/>
                </a:lnTo>
                <a:lnTo>
                  <a:pt x="4494" y="234"/>
                </a:lnTo>
                <a:lnTo>
                  <a:pt x="4488" y="232"/>
                </a:lnTo>
                <a:lnTo>
                  <a:pt x="4478" y="228"/>
                </a:lnTo>
                <a:lnTo>
                  <a:pt x="4478" y="228"/>
                </a:lnTo>
                <a:lnTo>
                  <a:pt x="4446" y="232"/>
                </a:lnTo>
                <a:lnTo>
                  <a:pt x="4446" y="232"/>
                </a:lnTo>
                <a:lnTo>
                  <a:pt x="4442" y="226"/>
                </a:lnTo>
                <a:lnTo>
                  <a:pt x="4442" y="226"/>
                </a:lnTo>
                <a:lnTo>
                  <a:pt x="4434" y="232"/>
                </a:lnTo>
                <a:lnTo>
                  <a:pt x="4434" y="232"/>
                </a:lnTo>
                <a:lnTo>
                  <a:pt x="4430" y="228"/>
                </a:lnTo>
                <a:lnTo>
                  <a:pt x="4430" y="224"/>
                </a:lnTo>
                <a:lnTo>
                  <a:pt x="4432" y="220"/>
                </a:lnTo>
                <a:lnTo>
                  <a:pt x="4438" y="218"/>
                </a:lnTo>
                <a:lnTo>
                  <a:pt x="4438" y="218"/>
                </a:lnTo>
                <a:lnTo>
                  <a:pt x="4444" y="216"/>
                </a:lnTo>
                <a:lnTo>
                  <a:pt x="4450" y="214"/>
                </a:lnTo>
                <a:lnTo>
                  <a:pt x="4450" y="214"/>
                </a:lnTo>
                <a:lnTo>
                  <a:pt x="4454" y="212"/>
                </a:lnTo>
                <a:lnTo>
                  <a:pt x="4460" y="210"/>
                </a:lnTo>
                <a:lnTo>
                  <a:pt x="4460" y="210"/>
                </a:lnTo>
                <a:lnTo>
                  <a:pt x="4466" y="208"/>
                </a:lnTo>
                <a:lnTo>
                  <a:pt x="4468" y="204"/>
                </a:lnTo>
                <a:lnTo>
                  <a:pt x="4468" y="204"/>
                </a:lnTo>
                <a:lnTo>
                  <a:pt x="4460" y="198"/>
                </a:lnTo>
                <a:lnTo>
                  <a:pt x="4452" y="192"/>
                </a:lnTo>
                <a:lnTo>
                  <a:pt x="4452" y="192"/>
                </a:lnTo>
                <a:lnTo>
                  <a:pt x="4448" y="188"/>
                </a:lnTo>
                <a:lnTo>
                  <a:pt x="4442" y="184"/>
                </a:lnTo>
                <a:lnTo>
                  <a:pt x="4436" y="184"/>
                </a:lnTo>
                <a:lnTo>
                  <a:pt x="4426" y="184"/>
                </a:lnTo>
                <a:lnTo>
                  <a:pt x="4426" y="184"/>
                </a:lnTo>
                <a:lnTo>
                  <a:pt x="4414" y="184"/>
                </a:lnTo>
                <a:lnTo>
                  <a:pt x="4402" y="182"/>
                </a:lnTo>
                <a:lnTo>
                  <a:pt x="4402" y="182"/>
                </a:lnTo>
                <a:lnTo>
                  <a:pt x="4400" y="182"/>
                </a:lnTo>
                <a:lnTo>
                  <a:pt x="4400" y="182"/>
                </a:lnTo>
                <a:lnTo>
                  <a:pt x="4394" y="178"/>
                </a:lnTo>
                <a:lnTo>
                  <a:pt x="4390" y="172"/>
                </a:lnTo>
                <a:lnTo>
                  <a:pt x="4390" y="172"/>
                </a:lnTo>
                <a:lnTo>
                  <a:pt x="4386" y="166"/>
                </a:lnTo>
                <a:lnTo>
                  <a:pt x="4382" y="160"/>
                </a:lnTo>
                <a:lnTo>
                  <a:pt x="4382" y="160"/>
                </a:lnTo>
                <a:lnTo>
                  <a:pt x="4380" y="160"/>
                </a:lnTo>
                <a:lnTo>
                  <a:pt x="4380" y="160"/>
                </a:lnTo>
                <a:lnTo>
                  <a:pt x="4372" y="160"/>
                </a:lnTo>
                <a:lnTo>
                  <a:pt x="4366" y="158"/>
                </a:lnTo>
                <a:lnTo>
                  <a:pt x="4360" y="156"/>
                </a:lnTo>
                <a:lnTo>
                  <a:pt x="4358" y="150"/>
                </a:lnTo>
                <a:lnTo>
                  <a:pt x="4358" y="150"/>
                </a:lnTo>
                <a:lnTo>
                  <a:pt x="4356" y="148"/>
                </a:lnTo>
                <a:lnTo>
                  <a:pt x="4352" y="146"/>
                </a:lnTo>
                <a:lnTo>
                  <a:pt x="4352" y="146"/>
                </a:lnTo>
                <a:lnTo>
                  <a:pt x="4346" y="150"/>
                </a:lnTo>
                <a:lnTo>
                  <a:pt x="4346" y="150"/>
                </a:lnTo>
                <a:lnTo>
                  <a:pt x="4350" y="154"/>
                </a:lnTo>
                <a:lnTo>
                  <a:pt x="4352" y="156"/>
                </a:lnTo>
                <a:lnTo>
                  <a:pt x="4350" y="158"/>
                </a:lnTo>
                <a:lnTo>
                  <a:pt x="4350" y="158"/>
                </a:lnTo>
                <a:lnTo>
                  <a:pt x="4340" y="160"/>
                </a:lnTo>
                <a:lnTo>
                  <a:pt x="4332" y="158"/>
                </a:lnTo>
                <a:lnTo>
                  <a:pt x="4320" y="152"/>
                </a:lnTo>
                <a:lnTo>
                  <a:pt x="4320" y="152"/>
                </a:lnTo>
                <a:lnTo>
                  <a:pt x="4328" y="150"/>
                </a:lnTo>
                <a:lnTo>
                  <a:pt x="4332" y="146"/>
                </a:lnTo>
                <a:lnTo>
                  <a:pt x="4334" y="140"/>
                </a:lnTo>
                <a:lnTo>
                  <a:pt x="4338" y="136"/>
                </a:lnTo>
                <a:lnTo>
                  <a:pt x="4338" y="136"/>
                </a:lnTo>
                <a:lnTo>
                  <a:pt x="4322" y="124"/>
                </a:lnTo>
                <a:lnTo>
                  <a:pt x="4322" y="124"/>
                </a:lnTo>
                <a:lnTo>
                  <a:pt x="4302" y="116"/>
                </a:lnTo>
                <a:lnTo>
                  <a:pt x="4302" y="116"/>
                </a:lnTo>
                <a:lnTo>
                  <a:pt x="4298" y="122"/>
                </a:lnTo>
                <a:lnTo>
                  <a:pt x="4294" y="124"/>
                </a:lnTo>
                <a:lnTo>
                  <a:pt x="4290" y="124"/>
                </a:lnTo>
                <a:lnTo>
                  <a:pt x="4284" y="120"/>
                </a:lnTo>
                <a:lnTo>
                  <a:pt x="4284" y="120"/>
                </a:lnTo>
                <a:lnTo>
                  <a:pt x="4292" y="116"/>
                </a:lnTo>
                <a:lnTo>
                  <a:pt x="4292" y="116"/>
                </a:lnTo>
                <a:lnTo>
                  <a:pt x="4284" y="112"/>
                </a:lnTo>
                <a:lnTo>
                  <a:pt x="4282" y="110"/>
                </a:lnTo>
                <a:lnTo>
                  <a:pt x="4278" y="110"/>
                </a:lnTo>
                <a:lnTo>
                  <a:pt x="4278" y="110"/>
                </a:lnTo>
                <a:lnTo>
                  <a:pt x="4274" y="110"/>
                </a:lnTo>
                <a:lnTo>
                  <a:pt x="4272" y="108"/>
                </a:lnTo>
                <a:lnTo>
                  <a:pt x="4272" y="108"/>
                </a:lnTo>
                <a:lnTo>
                  <a:pt x="4266" y="100"/>
                </a:lnTo>
                <a:lnTo>
                  <a:pt x="4266" y="100"/>
                </a:lnTo>
                <a:lnTo>
                  <a:pt x="4282" y="98"/>
                </a:lnTo>
                <a:lnTo>
                  <a:pt x="4282" y="98"/>
                </a:lnTo>
                <a:lnTo>
                  <a:pt x="4288" y="100"/>
                </a:lnTo>
                <a:lnTo>
                  <a:pt x="4288" y="100"/>
                </a:lnTo>
                <a:lnTo>
                  <a:pt x="4308" y="110"/>
                </a:lnTo>
                <a:lnTo>
                  <a:pt x="4330" y="118"/>
                </a:lnTo>
                <a:lnTo>
                  <a:pt x="4330" y="118"/>
                </a:lnTo>
                <a:lnTo>
                  <a:pt x="4336" y="120"/>
                </a:lnTo>
                <a:lnTo>
                  <a:pt x="4340" y="120"/>
                </a:lnTo>
                <a:lnTo>
                  <a:pt x="4340" y="120"/>
                </a:lnTo>
                <a:lnTo>
                  <a:pt x="4328" y="110"/>
                </a:lnTo>
                <a:lnTo>
                  <a:pt x="4328" y="110"/>
                </a:lnTo>
                <a:lnTo>
                  <a:pt x="4334" y="106"/>
                </a:lnTo>
                <a:lnTo>
                  <a:pt x="4336" y="106"/>
                </a:lnTo>
                <a:lnTo>
                  <a:pt x="4338" y="108"/>
                </a:lnTo>
                <a:lnTo>
                  <a:pt x="4338" y="108"/>
                </a:lnTo>
                <a:lnTo>
                  <a:pt x="4342" y="110"/>
                </a:lnTo>
                <a:lnTo>
                  <a:pt x="4348" y="112"/>
                </a:lnTo>
                <a:lnTo>
                  <a:pt x="4354" y="112"/>
                </a:lnTo>
                <a:lnTo>
                  <a:pt x="4358" y="114"/>
                </a:lnTo>
                <a:lnTo>
                  <a:pt x="4358" y="114"/>
                </a:lnTo>
                <a:lnTo>
                  <a:pt x="4362" y="116"/>
                </a:lnTo>
                <a:lnTo>
                  <a:pt x="4366" y="114"/>
                </a:lnTo>
                <a:lnTo>
                  <a:pt x="4366" y="114"/>
                </a:lnTo>
                <a:lnTo>
                  <a:pt x="4366" y="112"/>
                </a:lnTo>
                <a:lnTo>
                  <a:pt x="4366" y="110"/>
                </a:lnTo>
                <a:lnTo>
                  <a:pt x="4366" y="110"/>
                </a:lnTo>
                <a:lnTo>
                  <a:pt x="4352" y="108"/>
                </a:lnTo>
                <a:lnTo>
                  <a:pt x="4352" y="108"/>
                </a:lnTo>
                <a:lnTo>
                  <a:pt x="4340" y="104"/>
                </a:lnTo>
                <a:lnTo>
                  <a:pt x="4334" y="102"/>
                </a:lnTo>
                <a:lnTo>
                  <a:pt x="4328" y="102"/>
                </a:lnTo>
                <a:lnTo>
                  <a:pt x="4328" y="102"/>
                </a:lnTo>
                <a:lnTo>
                  <a:pt x="4326" y="104"/>
                </a:lnTo>
                <a:lnTo>
                  <a:pt x="4326" y="104"/>
                </a:lnTo>
                <a:lnTo>
                  <a:pt x="4320" y="102"/>
                </a:lnTo>
                <a:lnTo>
                  <a:pt x="4314" y="102"/>
                </a:lnTo>
                <a:lnTo>
                  <a:pt x="4302" y="100"/>
                </a:lnTo>
                <a:lnTo>
                  <a:pt x="4302" y="98"/>
                </a:lnTo>
                <a:lnTo>
                  <a:pt x="4302" y="98"/>
                </a:lnTo>
                <a:lnTo>
                  <a:pt x="4294" y="96"/>
                </a:lnTo>
                <a:lnTo>
                  <a:pt x="4294" y="96"/>
                </a:lnTo>
                <a:lnTo>
                  <a:pt x="4294" y="96"/>
                </a:lnTo>
                <a:lnTo>
                  <a:pt x="4294" y="96"/>
                </a:lnTo>
                <a:lnTo>
                  <a:pt x="4314" y="94"/>
                </a:lnTo>
                <a:lnTo>
                  <a:pt x="4314" y="94"/>
                </a:lnTo>
                <a:lnTo>
                  <a:pt x="4306" y="90"/>
                </a:lnTo>
                <a:lnTo>
                  <a:pt x="4306" y="90"/>
                </a:lnTo>
                <a:lnTo>
                  <a:pt x="4282" y="82"/>
                </a:lnTo>
                <a:lnTo>
                  <a:pt x="4282" y="82"/>
                </a:lnTo>
                <a:lnTo>
                  <a:pt x="4258" y="76"/>
                </a:lnTo>
                <a:lnTo>
                  <a:pt x="4234" y="72"/>
                </a:lnTo>
                <a:lnTo>
                  <a:pt x="4234" y="72"/>
                </a:lnTo>
                <a:lnTo>
                  <a:pt x="4222" y="72"/>
                </a:lnTo>
                <a:lnTo>
                  <a:pt x="4216" y="70"/>
                </a:lnTo>
                <a:lnTo>
                  <a:pt x="4212" y="66"/>
                </a:lnTo>
                <a:lnTo>
                  <a:pt x="4212" y="66"/>
                </a:lnTo>
                <a:lnTo>
                  <a:pt x="4210" y="66"/>
                </a:lnTo>
                <a:lnTo>
                  <a:pt x="4210" y="66"/>
                </a:lnTo>
                <a:lnTo>
                  <a:pt x="4174" y="62"/>
                </a:lnTo>
                <a:lnTo>
                  <a:pt x="4174" y="62"/>
                </a:lnTo>
                <a:lnTo>
                  <a:pt x="4162" y="62"/>
                </a:lnTo>
                <a:lnTo>
                  <a:pt x="4156" y="62"/>
                </a:lnTo>
                <a:lnTo>
                  <a:pt x="4150" y="58"/>
                </a:lnTo>
                <a:lnTo>
                  <a:pt x="4150" y="58"/>
                </a:lnTo>
                <a:lnTo>
                  <a:pt x="4150" y="58"/>
                </a:lnTo>
                <a:lnTo>
                  <a:pt x="4150" y="58"/>
                </a:lnTo>
                <a:lnTo>
                  <a:pt x="4128" y="56"/>
                </a:lnTo>
                <a:lnTo>
                  <a:pt x="4104" y="56"/>
                </a:lnTo>
                <a:lnTo>
                  <a:pt x="4104" y="56"/>
                </a:lnTo>
                <a:lnTo>
                  <a:pt x="4100" y="56"/>
                </a:lnTo>
                <a:lnTo>
                  <a:pt x="4096" y="54"/>
                </a:lnTo>
                <a:lnTo>
                  <a:pt x="4094" y="52"/>
                </a:lnTo>
                <a:lnTo>
                  <a:pt x="4092" y="48"/>
                </a:lnTo>
                <a:lnTo>
                  <a:pt x="4092" y="48"/>
                </a:lnTo>
                <a:lnTo>
                  <a:pt x="4086" y="52"/>
                </a:lnTo>
                <a:lnTo>
                  <a:pt x="4078" y="52"/>
                </a:lnTo>
                <a:lnTo>
                  <a:pt x="4072" y="52"/>
                </a:lnTo>
                <a:lnTo>
                  <a:pt x="4066" y="48"/>
                </a:lnTo>
                <a:lnTo>
                  <a:pt x="4066" y="48"/>
                </a:lnTo>
                <a:lnTo>
                  <a:pt x="4060" y="42"/>
                </a:lnTo>
                <a:lnTo>
                  <a:pt x="4054" y="40"/>
                </a:lnTo>
                <a:lnTo>
                  <a:pt x="4048" y="42"/>
                </a:lnTo>
                <a:lnTo>
                  <a:pt x="4038" y="44"/>
                </a:lnTo>
                <a:lnTo>
                  <a:pt x="4038" y="44"/>
                </a:lnTo>
                <a:lnTo>
                  <a:pt x="4020" y="40"/>
                </a:lnTo>
                <a:lnTo>
                  <a:pt x="4020" y="40"/>
                </a:lnTo>
                <a:lnTo>
                  <a:pt x="4014" y="40"/>
                </a:lnTo>
                <a:lnTo>
                  <a:pt x="4014" y="40"/>
                </a:lnTo>
                <a:lnTo>
                  <a:pt x="3998" y="48"/>
                </a:lnTo>
                <a:lnTo>
                  <a:pt x="3998" y="48"/>
                </a:lnTo>
                <a:lnTo>
                  <a:pt x="4000" y="54"/>
                </a:lnTo>
                <a:lnTo>
                  <a:pt x="4000" y="56"/>
                </a:lnTo>
                <a:lnTo>
                  <a:pt x="3996" y="60"/>
                </a:lnTo>
                <a:lnTo>
                  <a:pt x="3990" y="60"/>
                </a:lnTo>
                <a:lnTo>
                  <a:pt x="3990" y="60"/>
                </a:lnTo>
                <a:lnTo>
                  <a:pt x="3986" y="56"/>
                </a:lnTo>
                <a:lnTo>
                  <a:pt x="3982" y="54"/>
                </a:lnTo>
                <a:lnTo>
                  <a:pt x="3978" y="54"/>
                </a:lnTo>
                <a:lnTo>
                  <a:pt x="3978" y="54"/>
                </a:lnTo>
                <a:lnTo>
                  <a:pt x="3956" y="56"/>
                </a:lnTo>
                <a:lnTo>
                  <a:pt x="3946" y="58"/>
                </a:lnTo>
                <a:lnTo>
                  <a:pt x="3938" y="62"/>
                </a:lnTo>
                <a:lnTo>
                  <a:pt x="3938" y="62"/>
                </a:lnTo>
                <a:lnTo>
                  <a:pt x="3932" y="66"/>
                </a:lnTo>
                <a:lnTo>
                  <a:pt x="3932" y="68"/>
                </a:lnTo>
                <a:lnTo>
                  <a:pt x="3932" y="70"/>
                </a:lnTo>
                <a:lnTo>
                  <a:pt x="3932" y="70"/>
                </a:lnTo>
                <a:lnTo>
                  <a:pt x="3940" y="84"/>
                </a:lnTo>
                <a:lnTo>
                  <a:pt x="3940" y="84"/>
                </a:lnTo>
                <a:lnTo>
                  <a:pt x="3934" y="88"/>
                </a:lnTo>
                <a:lnTo>
                  <a:pt x="3928" y="94"/>
                </a:lnTo>
                <a:lnTo>
                  <a:pt x="3928" y="94"/>
                </a:lnTo>
                <a:lnTo>
                  <a:pt x="3926" y="98"/>
                </a:lnTo>
                <a:lnTo>
                  <a:pt x="3926" y="106"/>
                </a:lnTo>
                <a:lnTo>
                  <a:pt x="3926" y="106"/>
                </a:lnTo>
                <a:lnTo>
                  <a:pt x="3934" y="106"/>
                </a:lnTo>
                <a:lnTo>
                  <a:pt x="3934" y="106"/>
                </a:lnTo>
                <a:lnTo>
                  <a:pt x="3936" y="102"/>
                </a:lnTo>
                <a:lnTo>
                  <a:pt x="3936" y="102"/>
                </a:lnTo>
                <a:lnTo>
                  <a:pt x="3946" y="102"/>
                </a:lnTo>
                <a:lnTo>
                  <a:pt x="3950" y="102"/>
                </a:lnTo>
                <a:lnTo>
                  <a:pt x="3954" y="106"/>
                </a:lnTo>
                <a:lnTo>
                  <a:pt x="3954" y="106"/>
                </a:lnTo>
                <a:lnTo>
                  <a:pt x="3962" y="110"/>
                </a:lnTo>
                <a:lnTo>
                  <a:pt x="3970" y="114"/>
                </a:lnTo>
                <a:lnTo>
                  <a:pt x="3970" y="114"/>
                </a:lnTo>
                <a:lnTo>
                  <a:pt x="3966" y="118"/>
                </a:lnTo>
                <a:lnTo>
                  <a:pt x="3960" y="122"/>
                </a:lnTo>
                <a:lnTo>
                  <a:pt x="3954" y="124"/>
                </a:lnTo>
                <a:lnTo>
                  <a:pt x="3946" y="124"/>
                </a:lnTo>
                <a:lnTo>
                  <a:pt x="3946" y="124"/>
                </a:lnTo>
                <a:lnTo>
                  <a:pt x="3938" y="122"/>
                </a:lnTo>
                <a:lnTo>
                  <a:pt x="3930" y="122"/>
                </a:lnTo>
                <a:lnTo>
                  <a:pt x="3930" y="122"/>
                </a:lnTo>
                <a:lnTo>
                  <a:pt x="3922" y="124"/>
                </a:lnTo>
                <a:lnTo>
                  <a:pt x="3916" y="128"/>
                </a:lnTo>
                <a:lnTo>
                  <a:pt x="3916" y="128"/>
                </a:lnTo>
                <a:lnTo>
                  <a:pt x="3914" y="130"/>
                </a:lnTo>
                <a:lnTo>
                  <a:pt x="3914" y="132"/>
                </a:lnTo>
                <a:lnTo>
                  <a:pt x="3914" y="132"/>
                </a:lnTo>
                <a:lnTo>
                  <a:pt x="3906" y="132"/>
                </a:lnTo>
                <a:lnTo>
                  <a:pt x="3902" y="132"/>
                </a:lnTo>
                <a:lnTo>
                  <a:pt x="3898" y="134"/>
                </a:lnTo>
                <a:lnTo>
                  <a:pt x="3898" y="134"/>
                </a:lnTo>
                <a:lnTo>
                  <a:pt x="3904" y="136"/>
                </a:lnTo>
                <a:lnTo>
                  <a:pt x="3908" y="138"/>
                </a:lnTo>
                <a:lnTo>
                  <a:pt x="3916" y="144"/>
                </a:lnTo>
                <a:lnTo>
                  <a:pt x="3916" y="144"/>
                </a:lnTo>
                <a:lnTo>
                  <a:pt x="3904" y="150"/>
                </a:lnTo>
                <a:lnTo>
                  <a:pt x="3904" y="150"/>
                </a:lnTo>
                <a:lnTo>
                  <a:pt x="3898" y="148"/>
                </a:lnTo>
                <a:lnTo>
                  <a:pt x="3896" y="144"/>
                </a:lnTo>
                <a:lnTo>
                  <a:pt x="3894" y="140"/>
                </a:lnTo>
                <a:lnTo>
                  <a:pt x="3896" y="136"/>
                </a:lnTo>
                <a:lnTo>
                  <a:pt x="3896" y="136"/>
                </a:lnTo>
                <a:lnTo>
                  <a:pt x="3878" y="136"/>
                </a:lnTo>
                <a:lnTo>
                  <a:pt x="3878" y="136"/>
                </a:lnTo>
                <a:lnTo>
                  <a:pt x="3868" y="136"/>
                </a:lnTo>
                <a:lnTo>
                  <a:pt x="3862" y="136"/>
                </a:lnTo>
                <a:lnTo>
                  <a:pt x="3858" y="134"/>
                </a:lnTo>
                <a:lnTo>
                  <a:pt x="3858" y="134"/>
                </a:lnTo>
                <a:lnTo>
                  <a:pt x="3848" y="130"/>
                </a:lnTo>
                <a:lnTo>
                  <a:pt x="3838" y="128"/>
                </a:lnTo>
                <a:lnTo>
                  <a:pt x="3838" y="128"/>
                </a:lnTo>
                <a:lnTo>
                  <a:pt x="3834" y="134"/>
                </a:lnTo>
                <a:lnTo>
                  <a:pt x="3828" y="136"/>
                </a:lnTo>
                <a:lnTo>
                  <a:pt x="3822" y="138"/>
                </a:lnTo>
                <a:lnTo>
                  <a:pt x="3812" y="140"/>
                </a:lnTo>
                <a:lnTo>
                  <a:pt x="3812" y="140"/>
                </a:lnTo>
                <a:lnTo>
                  <a:pt x="3802" y="138"/>
                </a:lnTo>
                <a:lnTo>
                  <a:pt x="3794" y="136"/>
                </a:lnTo>
                <a:lnTo>
                  <a:pt x="3776" y="130"/>
                </a:lnTo>
                <a:lnTo>
                  <a:pt x="3776" y="130"/>
                </a:lnTo>
                <a:lnTo>
                  <a:pt x="3770" y="128"/>
                </a:lnTo>
                <a:lnTo>
                  <a:pt x="3770" y="128"/>
                </a:lnTo>
                <a:lnTo>
                  <a:pt x="3762" y="126"/>
                </a:lnTo>
                <a:lnTo>
                  <a:pt x="3756" y="124"/>
                </a:lnTo>
                <a:lnTo>
                  <a:pt x="3746" y="114"/>
                </a:lnTo>
                <a:lnTo>
                  <a:pt x="3746" y="114"/>
                </a:lnTo>
                <a:lnTo>
                  <a:pt x="3758" y="112"/>
                </a:lnTo>
                <a:lnTo>
                  <a:pt x="3762" y="110"/>
                </a:lnTo>
                <a:lnTo>
                  <a:pt x="3766" y="106"/>
                </a:lnTo>
                <a:lnTo>
                  <a:pt x="3766" y="106"/>
                </a:lnTo>
                <a:lnTo>
                  <a:pt x="3770" y="100"/>
                </a:lnTo>
                <a:lnTo>
                  <a:pt x="3772" y="96"/>
                </a:lnTo>
                <a:lnTo>
                  <a:pt x="3772" y="92"/>
                </a:lnTo>
                <a:lnTo>
                  <a:pt x="3772" y="92"/>
                </a:lnTo>
                <a:lnTo>
                  <a:pt x="3760" y="90"/>
                </a:lnTo>
                <a:lnTo>
                  <a:pt x="3746" y="88"/>
                </a:lnTo>
                <a:lnTo>
                  <a:pt x="3732" y="88"/>
                </a:lnTo>
                <a:lnTo>
                  <a:pt x="3720" y="88"/>
                </a:lnTo>
                <a:lnTo>
                  <a:pt x="3720" y="88"/>
                </a:lnTo>
                <a:lnTo>
                  <a:pt x="3728" y="86"/>
                </a:lnTo>
                <a:lnTo>
                  <a:pt x="3736" y="84"/>
                </a:lnTo>
                <a:lnTo>
                  <a:pt x="3744" y="82"/>
                </a:lnTo>
                <a:lnTo>
                  <a:pt x="3746" y="80"/>
                </a:lnTo>
                <a:lnTo>
                  <a:pt x="3748" y="76"/>
                </a:lnTo>
                <a:lnTo>
                  <a:pt x="3748" y="76"/>
                </a:lnTo>
                <a:lnTo>
                  <a:pt x="3748" y="72"/>
                </a:lnTo>
                <a:lnTo>
                  <a:pt x="3748" y="68"/>
                </a:lnTo>
                <a:lnTo>
                  <a:pt x="3748" y="68"/>
                </a:lnTo>
                <a:lnTo>
                  <a:pt x="3756" y="60"/>
                </a:lnTo>
                <a:lnTo>
                  <a:pt x="3758" y="56"/>
                </a:lnTo>
                <a:lnTo>
                  <a:pt x="3764" y="52"/>
                </a:lnTo>
                <a:lnTo>
                  <a:pt x="3764" y="52"/>
                </a:lnTo>
                <a:lnTo>
                  <a:pt x="3764" y="52"/>
                </a:lnTo>
                <a:lnTo>
                  <a:pt x="3764" y="52"/>
                </a:lnTo>
                <a:lnTo>
                  <a:pt x="3760" y="50"/>
                </a:lnTo>
                <a:lnTo>
                  <a:pt x="3758" y="48"/>
                </a:lnTo>
                <a:lnTo>
                  <a:pt x="3758" y="48"/>
                </a:lnTo>
                <a:lnTo>
                  <a:pt x="3758" y="44"/>
                </a:lnTo>
                <a:lnTo>
                  <a:pt x="3754" y="40"/>
                </a:lnTo>
                <a:lnTo>
                  <a:pt x="3748" y="34"/>
                </a:lnTo>
                <a:lnTo>
                  <a:pt x="3748" y="34"/>
                </a:lnTo>
                <a:lnTo>
                  <a:pt x="3744" y="30"/>
                </a:lnTo>
                <a:lnTo>
                  <a:pt x="3738" y="28"/>
                </a:lnTo>
                <a:lnTo>
                  <a:pt x="3738" y="28"/>
                </a:lnTo>
                <a:lnTo>
                  <a:pt x="3730" y="26"/>
                </a:lnTo>
                <a:lnTo>
                  <a:pt x="3724" y="28"/>
                </a:lnTo>
                <a:lnTo>
                  <a:pt x="3716" y="30"/>
                </a:lnTo>
                <a:lnTo>
                  <a:pt x="3708" y="32"/>
                </a:lnTo>
                <a:lnTo>
                  <a:pt x="3708" y="32"/>
                </a:lnTo>
                <a:lnTo>
                  <a:pt x="3704" y="36"/>
                </a:lnTo>
                <a:lnTo>
                  <a:pt x="3700" y="38"/>
                </a:lnTo>
                <a:lnTo>
                  <a:pt x="3686" y="44"/>
                </a:lnTo>
                <a:lnTo>
                  <a:pt x="3686" y="44"/>
                </a:lnTo>
                <a:lnTo>
                  <a:pt x="3692" y="60"/>
                </a:lnTo>
                <a:lnTo>
                  <a:pt x="3692" y="60"/>
                </a:lnTo>
                <a:lnTo>
                  <a:pt x="3688" y="66"/>
                </a:lnTo>
                <a:lnTo>
                  <a:pt x="3688" y="66"/>
                </a:lnTo>
                <a:lnTo>
                  <a:pt x="3676" y="66"/>
                </a:lnTo>
                <a:lnTo>
                  <a:pt x="3668" y="66"/>
                </a:lnTo>
                <a:lnTo>
                  <a:pt x="3668" y="66"/>
                </a:lnTo>
                <a:lnTo>
                  <a:pt x="3660" y="62"/>
                </a:lnTo>
                <a:lnTo>
                  <a:pt x="3654" y="62"/>
                </a:lnTo>
                <a:lnTo>
                  <a:pt x="3646" y="64"/>
                </a:lnTo>
                <a:lnTo>
                  <a:pt x="3638" y="66"/>
                </a:lnTo>
                <a:lnTo>
                  <a:pt x="3638" y="66"/>
                </a:lnTo>
                <a:lnTo>
                  <a:pt x="3632" y="68"/>
                </a:lnTo>
                <a:lnTo>
                  <a:pt x="3632" y="68"/>
                </a:lnTo>
                <a:lnTo>
                  <a:pt x="3622" y="72"/>
                </a:lnTo>
                <a:lnTo>
                  <a:pt x="3620" y="74"/>
                </a:lnTo>
                <a:lnTo>
                  <a:pt x="3618" y="78"/>
                </a:lnTo>
                <a:lnTo>
                  <a:pt x="3618" y="78"/>
                </a:lnTo>
                <a:lnTo>
                  <a:pt x="3616" y="84"/>
                </a:lnTo>
                <a:lnTo>
                  <a:pt x="3618" y="88"/>
                </a:lnTo>
                <a:lnTo>
                  <a:pt x="3622" y="90"/>
                </a:lnTo>
                <a:lnTo>
                  <a:pt x="3622" y="90"/>
                </a:lnTo>
                <a:lnTo>
                  <a:pt x="3624" y="94"/>
                </a:lnTo>
                <a:lnTo>
                  <a:pt x="3624" y="96"/>
                </a:lnTo>
                <a:lnTo>
                  <a:pt x="3624" y="96"/>
                </a:lnTo>
                <a:lnTo>
                  <a:pt x="3620" y="100"/>
                </a:lnTo>
                <a:lnTo>
                  <a:pt x="3618" y="104"/>
                </a:lnTo>
                <a:lnTo>
                  <a:pt x="3618" y="104"/>
                </a:lnTo>
                <a:lnTo>
                  <a:pt x="3618" y="110"/>
                </a:lnTo>
                <a:lnTo>
                  <a:pt x="3618" y="118"/>
                </a:lnTo>
                <a:lnTo>
                  <a:pt x="3618" y="118"/>
                </a:lnTo>
                <a:lnTo>
                  <a:pt x="3612" y="118"/>
                </a:lnTo>
                <a:lnTo>
                  <a:pt x="3606" y="116"/>
                </a:lnTo>
                <a:lnTo>
                  <a:pt x="3606" y="116"/>
                </a:lnTo>
                <a:lnTo>
                  <a:pt x="3598" y="114"/>
                </a:lnTo>
                <a:lnTo>
                  <a:pt x="3590" y="116"/>
                </a:lnTo>
                <a:lnTo>
                  <a:pt x="3590" y="116"/>
                </a:lnTo>
                <a:lnTo>
                  <a:pt x="3578" y="114"/>
                </a:lnTo>
                <a:lnTo>
                  <a:pt x="3578" y="114"/>
                </a:lnTo>
                <a:lnTo>
                  <a:pt x="3552" y="106"/>
                </a:lnTo>
                <a:lnTo>
                  <a:pt x="3552" y="106"/>
                </a:lnTo>
                <a:lnTo>
                  <a:pt x="3546" y="106"/>
                </a:lnTo>
                <a:lnTo>
                  <a:pt x="3546" y="106"/>
                </a:lnTo>
                <a:lnTo>
                  <a:pt x="3522" y="108"/>
                </a:lnTo>
                <a:lnTo>
                  <a:pt x="3522" y="108"/>
                </a:lnTo>
                <a:lnTo>
                  <a:pt x="3516" y="108"/>
                </a:lnTo>
                <a:lnTo>
                  <a:pt x="3516" y="108"/>
                </a:lnTo>
                <a:lnTo>
                  <a:pt x="3510" y="112"/>
                </a:lnTo>
                <a:lnTo>
                  <a:pt x="3504" y="112"/>
                </a:lnTo>
                <a:lnTo>
                  <a:pt x="3490" y="112"/>
                </a:lnTo>
                <a:lnTo>
                  <a:pt x="3490" y="112"/>
                </a:lnTo>
                <a:lnTo>
                  <a:pt x="3484" y="112"/>
                </a:lnTo>
                <a:lnTo>
                  <a:pt x="3480" y="112"/>
                </a:lnTo>
                <a:lnTo>
                  <a:pt x="3476" y="114"/>
                </a:lnTo>
                <a:lnTo>
                  <a:pt x="3476" y="114"/>
                </a:lnTo>
                <a:lnTo>
                  <a:pt x="3482" y="114"/>
                </a:lnTo>
                <a:lnTo>
                  <a:pt x="3486" y="116"/>
                </a:lnTo>
                <a:lnTo>
                  <a:pt x="3492" y="116"/>
                </a:lnTo>
                <a:lnTo>
                  <a:pt x="3496" y="118"/>
                </a:lnTo>
                <a:lnTo>
                  <a:pt x="3496" y="118"/>
                </a:lnTo>
                <a:lnTo>
                  <a:pt x="3500" y="122"/>
                </a:lnTo>
                <a:lnTo>
                  <a:pt x="3500" y="124"/>
                </a:lnTo>
                <a:lnTo>
                  <a:pt x="3500" y="132"/>
                </a:lnTo>
                <a:lnTo>
                  <a:pt x="3500" y="132"/>
                </a:lnTo>
                <a:lnTo>
                  <a:pt x="3510" y="136"/>
                </a:lnTo>
                <a:lnTo>
                  <a:pt x="3520" y="138"/>
                </a:lnTo>
                <a:lnTo>
                  <a:pt x="3520" y="138"/>
                </a:lnTo>
                <a:lnTo>
                  <a:pt x="3530" y="136"/>
                </a:lnTo>
                <a:lnTo>
                  <a:pt x="3538" y="134"/>
                </a:lnTo>
                <a:lnTo>
                  <a:pt x="3538" y="134"/>
                </a:lnTo>
                <a:lnTo>
                  <a:pt x="3550" y="130"/>
                </a:lnTo>
                <a:lnTo>
                  <a:pt x="3550" y="130"/>
                </a:lnTo>
                <a:lnTo>
                  <a:pt x="3558" y="128"/>
                </a:lnTo>
                <a:lnTo>
                  <a:pt x="3564" y="130"/>
                </a:lnTo>
                <a:lnTo>
                  <a:pt x="3568" y="134"/>
                </a:lnTo>
                <a:lnTo>
                  <a:pt x="3568" y="138"/>
                </a:lnTo>
                <a:lnTo>
                  <a:pt x="3568" y="138"/>
                </a:lnTo>
                <a:lnTo>
                  <a:pt x="3570" y="142"/>
                </a:lnTo>
                <a:lnTo>
                  <a:pt x="3570" y="142"/>
                </a:lnTo>
                <a:lnTo>
                  <a:pt x="3582" y="146"/>
                </a:lnTo>
                <a:lnTo>
                  <a:pt x="3596" y="148"/>
                </a:lnTo>
                <a:lnTo>
                  <a:pt x="3624" y="154"/>
                </a:lnTo>
                <a:lnTo>
                  <a:pt x="3624" y="154"/>
                </a:lnTo>
                <a:lnTo>
                  <a:pt x="3618" y="154"/>
                </a:lnTo>
                <a:lnTo>
                  <a:pt x="3618" y="158"/>
                </a:lnTo>
                <a:lnTo>
                  <a:pt x="3618" y="162"/>
                </a:lnTo>
                <a:lnTo>
                  <a:pt x="3618" y="162"/>
                </a:lnTo>
                <a:lnTo>
                  <a:pt x="3618" y="166"/>
                </a:lnTo>
                <a:lnTo>
                  <a:pt x="3618" y="166"/>
                </a:lnTo>
                <a:lnTo>
                  <a:pt x="3612" y="168"/>
                </a:lnTo>
                <a:lnTo>
                  <a:pt x="3612" y="168"/>
                </a:lnTo>
                <a:lnTo>
                  <a:pt x="3598" y="168"/>
                </a:lnTo>
                <a:lnTo>
                  <a:pt x="3598" y="168"/>
                </a:lnTo>
                <a:lnTo>
                  <a:pt x="3596" y="172"/>
                </a:lnTo>
                <a:lnTo>
                  <a:pt x="3592" y="174"/>
                </a:lnTo>
                <a:lnTo>
                  <a:pt x="3592" y="174"/>
                </a:lnTo>
                <a:lnTo>
                  <a:pt x="3576" y="178"/>
                </a:lnTo>
                <a:lnTo>
                  <a:pt x="3558" y="178"/>
                </a:lnTo>
                <a:lnTo>
                  <a:pt x="3558" y="178"/>
                </a:lnTo>
                <a:lnTo>
                  <a:pt x="3550" y="164"/>
                </a:lnTo>
                <a:lnTo>
                  <a:pt x="3550" y="164"/>
                </a:lnTo>
                <a:lnTo>
                  <a:pt x="3546" y="162"/>
                </a:lnTo>
                <a:lnTo>
                  <a:pt x="3546" y="162"/>
                </a:lnTo>
                <a:lnTo>
                  <a:pt x="3534" y="162"/>
                </a:lnTo>
                <a:lnTo>
                  <a:pt x="3522" y="158"/>
                </a:lnTo>
                <a:lnTo>
                  <a:pt x="3522" y="158"/>
                </a:lnTo>
                <a:lnTo>
                  <a:pt x="3518" y="158"/>
                </a:lnTo>
                <a:lnTo>
                  <a:pt x="3512" y="158"/>
                </a:lnTo>
                <a:lnTo>
                  <a:pt x="3512" y="158"/>
                </a:lnTo>
                <a:lnTo>
                  <a:pt x="3504" y="160"/>
                </a:lnTo>
                <a:lnTo>
                  <a:pt x="3498" y="160"/>
                </a:lnTo>
                <a:lnTo>
                  <a:pt x="3492" y="160"/>
                </a:lnTo>
                <a:lnTo>
                  <a:pt x="3492" y="160"/>
                </a:lnTo>
                <a:lnTo>
                  <a:pt x="3488" y="160"/>
                </a:lnTo>
                <a:lnTo>
                  <a:pt x="3482" y="162"/>
                </a:lnTo>
                <a:lnTo>
                  <a:pt x="3482" y="162"/>
                </a:lnTo>
                <a:lnTo>
                  <a:pt x="3470" y="164"/>
                </a:lnTo>
                <a:lnTo>
                  <a:pt x="3470" y="164"/>
                </a:lnTo>
                <a:lnTo>
                  <a:pt x="3462" y="166"/>
                </a:lnTo>
                <a:lnTo>
                  <a:pt x="3458" y="168"/>
                </a:lnTo>
                <a:lnTo>
                  <a:pt x="3456" y="170"/>
                </a:lnTo>
                <a:lnTo>
                  <a:pt x="3456" y="170"/>
                </a:lnTo>
                <a:lnTo>
                  <a:pt x="3452" y="172"/>
                </a:lnTo>
                <a:lnTo>
                  <a:pt x="3446" y="174"/>
                </a:lnTo>
                <a:lnTo>
                  <a:pt x="3446" y="174"/>
                </a:lnTo>
                <a:lnTo>
                  <a:pt x="3440" y="176"/>
                </a:lnTo>
                <a:lnTo>
                  <a:pt x="3436" y="172"/>
                </a:lnTo>
                <a:lnTo>
                  <a:pt x="3436" y="172"/>
                </a:lnTo>
                <a:lnTo>
                  <a:pt x="3430" y="170"/>
                </a:lnTo>
                <a:lnTo>
                  <a:pt x="3426" y="168"/>
                </a:lnTo>
                <a:lnTo>
                  <a:pt x="3420" y="168"/>
                </a:lnTo>
                <a:lnTo>
                  <a:pt x="3414" y="172"/>
                </a:lnTo>
                <a:lnTo>
                  <a:pt x="3414" y="172"/>
                </a:lnTo>
                <a:lnTo>
                  <a:pt x="3420" y="176"/>
                </a:lnTo>
                <a:lnTo>
                  <a:pt x="3424" y="178"/>
                </a:lnTo>
                <a:lnTo>
                  <a:pt x="3428" y="180"/>
                </a:lnTo>
                <a:lnTo>
                  <a:pt x="3428" y="180"/>
                </a:lnTo>
                <a:lnTo>
                  <a:pt x="3450" y="180"/>
                </a:lnTo>
                <a:lnTo>
                  <a:pt x="3450" y="180"/>
                </a:lnTo>
                <a:lnTo>
                  <a:pt x="3456" y="182"/>
                </a:lnTo>
                <a:lnTo>
                  <a:pt x="3464" y="186"/>
                </a:lnTo>
                <a:lnTo>
                  <a:pt x="3468" y="190"/>
                </a:lnTo>
                <a:lnTo>
                  <a:pt x="3470" y="194"/>
                </a:lnTo>
                <a:lnTo>
                  <a:pt x="3470" y="194"/>
                </a:lnTo>
                <a:lnTo>
                  <a:pt x="3470" y="200"/>
                </a:lnTo>
                <a:lnTo>
                  <a:pt x="3472" y="202"/>
                </a:lnTo>
                <a:lnTo>
                  <a:pt x="3476" y="204"/>
                </a:lnTo>
                <a:lnTo>
                  <a:pt x="3476" y="204"/>
                </a:lnTo>
                <a:lnTo>
                  <a:pt x="3478" y="206"/>
                </a:lnTo>
                <a:lnTo>
                  <a:pt x="3478" y="206"/>
                </a:lnTo>
                <a:lnTo>
                  <a:pt x="3476" y="210"/>
                </a:lnTo>
                <a:lnTo>
                  <a:pt x="3478" y="212"/>
                </a:lnTo>
                <a:lnTo>
                  <a:pt x="3480" y="216"/>
                </a:lnTo>
                <a:lnTo>
                  <a:pt x="3480" y="218"/>
                </a:lnTo>
                <a:lnTo>
                  <a:pt x="3480" y="218"/>
                </a:lnTo>
                <a:lnTo>
                  <a:pt x="3488" y="222"/>
                </a:lnTo>
                <a:lnTo>
                  <a:pt x="3498" y="222"/>
                </a:lnTo>
                <a:lnTo>
                  <a:pt x="3518" y="222"/>
                </a:lnTo>
                <a:lnTo>
                  <a:pt x="3518" y="222"/>
                </a:lnTo>
                <a:lnTo>
                  <a:pt x="3522" y="220"/>
                </a:lnTo>
                <a:lnTo>
                  <a:pt x="3522" y="220"/>
                </a:lnTo>
                <a:lnTo>
                  <a:pt x="3528" y="214"/>
                </a:lnTo>
                <a:lnTo>
                  <a:pt x="3528" y="212"/>
                </a:lnTo>
                <a:lnTo>
                  <a:pt x="3528" y="208"/>
                </a:lnTo>
                <a:lnTo>
                  <a:pt x="3528" y="208"/>
                </a:lnTo>
                <a:lnTo>
                  <a:pt x="3526" y="206"/>
                </a:lnTo>
                <a:lnTo>
                  <a:pt x="3528" y="204"/>
                </a:lnTo>
                <a:lnTo>
                  <a:pt x="3530" y="202"/>
                </a:lnTo>
                <a:lnTo>
                  <a:pt x="3530" y="202"/>
                </a:lnTo>
                <a:lnTo>
                  <a:pt x="3534" y="204"/>
                </a:lnTo>
                <a:lnTo>
                  <a:pt x="3538" y="206"/>
                </a:lnTo>
                <a:lnTo>
                  <a:pt x="3542" y="206"/>
                </a:lnTo>
                <a:lnTo>
                  <a:pt x="3546" y="204"/>
                </a:lnTo>
                <a:lnTo>
                  <a:pt x="3546" y="204"/>
                </a:lnTo>
                <a:lnTo>
                  <a:pt x="3538" y="198"/>
                </a:lnTo>
                <a:lnTo>
                  <a:pt x="3538" y="198"/>
                </a:lnTo>
                <a:lnTo>
                  <a:pt x="3542" y="194"/>
                </a:lnTo>
                <a:lnTo>
                  <a:pt x="3542" y="194"/>
                </a:lnTo>
                <a:lnTo>
                  <a:pt x="3548" y="192"/>
                </a:lnTo>
                <a:lnTo>
                  <a:pt x="3554" y="190"/>
                </a:lnTo>
                <a:lnTo>
                  <a:pt x="3560" y="192"/>
                </a:lnTo>
                <a:lnTo>
                  <a:pt x="3568" y="194"/>
                </a:lnTo>
                <a:lnTo>
                  <a:pt x="3568" y="194"/>
                </a:lnTo>
                <a:lnTo>
                  <a:pt x="3578" y="198"/>
                </a:lnTo>
                <a:lnTo>
                  <a:pt x="3582" y="200"/>
                </a:lnTo>
                <a:lnTo>
                  <a:pt x="3590" y="198"/>
                </a:lnTo>
                <a:lnTo>
                  <a:pt x="3590" y="198"/>
                </a:lnTo>
                <a:lnTo>
                  <a:pt x="3592" y="200"/>
                </a:lnTo>
                <a:lnTo>
                  <a:pt x="3594" y="200"/>
                </a:lnTo>
                <a:lnTo>
                  <a:pt x="3594" y="202"/>
                </a:lnTo>
                <a:lnTo>
                  <a:pt x="3594" y="206"/>
                </a:lnTo>
                <a:lnTo>
                  <a:pt x="3594" y="206"/>
                </a:lnTo>
                <a:lnTo>
                  <a:pt x="3622" y="202"/>
                </a:lnTo>
                <a:lnTo>
                  <a:pt x="3622" y="202"/>
                </a:lnTo>
                <a:lnTo>
                  <a:pt x="3618" y="208"/>
                </a:lnTo>
                <a:lnTo>
                  <a:pt x="3618" y="208"/>
                </a:lnTo>
                <a:lnTo>
                  <a:pt x="3628" y="222"/>
                </a:lnTo>
                <a:lnTo>
                  <a:pt x="3628" y="222"/>
                </a:lnTo>
                <a:lnTo>
                  <a:pt x="3618" y="224"/>
                </a:lnTo>
                <a:lnTo>
                  <a:pt x="3614" y="228"/>
                </a:lnTo>
                <a:lnTo>
                  <a:pt x="3614" y="230"/>
                </a:lnTo>
                <a:lnTo>
                  <a:pt x="3614" y="230"/>
                </a:lnTo>
                <a:lnTo>
                  <a:pt x="3632" y="234"/>
                </a:lnTo>
                <a:lnTo>
                  <a:pt x="3632" y="234"/>
                </a:lnTo>
                <a:lnTo>
                  <a:pt x="3636" y="230"/>
                </a:lnTo>
                <a:lnTo>
                  <a:pt x="3636" y="226"/>
                </a:lnTo>
                <a:lnTo>
                  <a:pt x="3636" y="226"/>
                </a:lnTo>
                <a:lnTo>
                  <a:pt x="3638" y="224"/>
                </a:lnTo>
                <a:lnTo>
                  <a:pt x="3640" y="222"/>
                </a:lnTo>
                <a:lnTo>
                  <a:pt x="3646" y="222"/>
                </a:lnTo>
                <a:lnTo>
                  <a:pt x="3646" y="222"/>
                </a:lnTo>
                <a:lnTo>
                  <a:pt x="3654" y="218"/>
                </a:lnTo>
                <a:lnTo>
                  <a:pt x="3662" y="214"/>
                </a:lnTo>
                <a:lnTo>
                  <a:pt x="3662" y="214"/>
                </a:lnTo>
                <a:lnTo>
                  <a:pt x="3672" y="208"/>
                </a:lnTo>
                <a:lnTo>
                  <a:pt x="3672" y="208"/>
                </a:lnTo>
                <a:lnTo>
                  <a:pt x="3676" y="212"/>
                </a:lnTo>
                <a:lnTo>
                  <a:pt x="3674" y="216"/>
                </a:lnTo>
                <a:lnTo>
                  <a:pt x="3666" y="218"/>
                </a:lnTo>
                <a:lnTo>
                  <a:pt x="3666" y="218"/>
                </a:lnTo>
                <a:lnTo>
                  <a:pt x="3682" y="232"/>
                </a:lnTo>
                <a:lnTo>
                  <a:pt x="3682" y="232"/>
                </a:lnTo>
                <a:lnTo>
                  <a:pt x="3670" y="234"/>
                </a:lnTo>
                <a:lnTo>
                  <a:pt x="3670" y="234"/>
                </a:lnTo>
                <a:lnTo>
                  <a:pt x="3670" y="238"/>
                </a:lnTo>
                <a:lnTo>
                  <a:pt x="3670" y="240"/>
                </a:lnTo>
                <a:lnTo>
                  <a:pt x="3670" y="240"/>
                </a:lnTo>
                <a:lnTo>
                  <a:pt x="3666" y="244"/>
                </a:lnTo>
                <a:lnTo>
                  <a:pt x="3662" y="244"/>
                </a:lnTo>
                <a:lnTo>
                  <a:pt x="3662" y="244"/>
                </a:lnTo>
                <a:lnTo>
                  <a:pt x="3662" y="248"/>
                </a:lnTo>
                <a:lnTo>
                  <a:pt x="3662" y="252"/>
                </a:lnTo>
                <a:lnTo>
                  <a:pt x="3660" y="254"/>
                </a:lnTo>
                <a:lnTo>
                  <a:pt x="3654" y="256"/>
                </a:lnTo>
                <a:lnTo>
                  <a:pt x="3654" y="256"/>
                </a:lnTo>
                <a:lnTo>
                  <a:pt x="3648" y="256"/>
                </a:lnTo>
                <a:lnTo>
                  <a:pt x="3646" y="258"/>
                </a:lnTo>
                <a:lnTo>
                  <a:pt x="3644" y="260"/>
                </a:lnTo>
                <a:lnTo>
                  <a:pt x="3644" y="260"/>
                </a:lnTo>
                <a:lnTo>
                  <a:pt x="3642" y="264"/>
                </a:lnTo>
                <a:lnTo>
                  <a:pt x="3638" y="268"/>
                </a:lnTo>
                <a:lnTo>
                  <a:pt x="3638" y="268"/>
                </a:lnTo>
                <a:lnTo>
                  <a:pt x="3630" y="266"/>
                </a:lnTo>
                <a:lnTo>
                  <a:pt x="3630" y="266"/>
                </a:lnTo>
                <a:lnTo>
                  <a:pt x="3634" y="262"/>
                </a:lnTo>
                <a:lnTo>
                  <a:pt x="3634" y="262"/>
                </a:lnTo>
                <a:lnTo>
                  <a:pt x="3622" y="252"/>
                </a:lnTo>
                <a:lnTo>
                  <a:pt x="3622" y="252"/>
                </a:lnTo>
                <a:lnTo>
                  <a:pt x="3612" y="256"/>
                </a:lnTo>
                <a:lnTo>
                  <a:pt x="3604" y="260"/>
                </a:lnTo>
                <a:lnTo>
                  <a:pt x="3604" y="260"/>
                </a:lnTo>
                <a:lnTo>
                  <a:pt x="3600" y="262"/>
                </a:lnTo>
                <a:lnTo>
                  <a:pt x="3598" y="262"/>
                </a:lnTo>
                <a:lnTo>
                  <a:pt x="3590" y="260"/>
                </a:lnTo>
                <a:lnTo>
                  <a:pt x="3590" y="260"/>
                </a:lnTo>
                <a:lnTo>
                  <a:pt x="3590" y="258"/>
                </a:lnTo>
                <a:lnTo>
                  <a:pt x="3590" y="256"/>
                </a:lnTo>
                <a:lnTo>
                  <a:pt x="3596" y="254"/>
                </a:lnTo>
                <a:lnTo>
                  <a:pt x="3600" y="252"/>
                </a:lnTo>
                <a:lnTo>
                  <a:pt x="3602" y="250"/>
                </a:lnTo>
                <a:lnTo>
                  <a:pt x="3602" y="248"/>
                </a:lnTo>
                <a:lnTo>
                  <a:pt x="3602" y="248"/>
                </a:lnTo>
                <a:lnTo>
                  <a:pt x="3592" y="248"/>
                </a:lnTo>
                <a:lnTo>
                  <a:pt x="3586" y="250"/>
                </a:lnTo>
                <a:lnTo>
                  <a:pt x="3582" y="252"/>
                </a:lnTo>
                <a:lnTo>
                  <a:pt x="3582" y="252"/>
                </a:lnTo>
                <a:lnTo>
                  <a:pt x="3576" y="256"/>
                </a:lnTo>
                <a:lnTo>
                  <a:pt x="3576" y="256"/>
                </a:lnTo>
                <a:lnTo>
                  <a:pt x="3548" y="264"/>
                </a:lnTo>
                <a:lnTo>
                  <a:pt x="3548" y="264"/>
                </a:lnTo>
                <a:lnTo>
                  <a:pt x="3540" y="266"/>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34" y="264"/>
                </a:lnTo>
                <a:lnTo>
                  <a:pt x="3526" y="264"/>
                </a:lnTo>
                <a:lnTo>
                  <a:pt x="3526" y="264"/>
                </a:lnTo>
                <a:lnTo>
                  <a:pt x="3526" y="260"/>
                </a:lnTo>
                <a:lnTo>
                  <a:pt x="3524" y="256"/>
                </a:lnTo>
                <a:lnTo>
                  <a:pt x="3516" y="254"/>
                </a:lnTo>
                <a:lnTo>
                  <a:pt x="3516" y="254"/>
                </a:lnTo>
                <a:lnTo>
                  <a:pt x="3506" y="250"/>
                </a:lnTo>
                <a:lnTo>
                  <a:pt x="3506" y="250"/>
                </a:lnTo>
                <a:lnTo>
                  <a:pt x="3508" y="248"/>
                </a:lnTo>
                <a:lnTo>
                  <a:pt x="3508" y="248"/>
                </a:lnTo>
                <a:lnTo>
                  <a:pt x="3544" y="244"/>
                </a:lnTo>
                <a:lnTo>
                  <a:pt x="3544" y="244"/>
                </a:lnTo>
                <a:lnTo>
                  <a:pt x="3548" y="238"/>
                </a:lnTo>
                <a:lnTo>
                  <a:pt x="3548" y="238"/>
                </a:lnTo>
                <a:lnTo>
                  <a:pt x="3532" y="236"/>
                </a:lnTo>
                <a:lnTo>
                  <a:pt x="3532" y="236"/>
                </a:lnTo>
                <a:lnTo>
                  <a:pt x="3526" y="234"/>
                </a:lnTo>
                <a:lnTo>
                  <a:pt x="3524" y="234"/>
                </a:lnTo>
                <a:lnTo>
                  <a:pt x="3522" y="232"/>
                </a:lnTo>
                <a:lnTo>
                  <a:pt x="3522" y="232"/>
                </a:lnTo>
                <a:lnTo>
                  <a:pt x="3518" y="228"/>
                </a:lnTo>
                <a:lnTo>
                  <a:pt x="3514" y="226"/>
                </a:lnTo>
                <a:lnTo>
                  <a:pt x="3502" y="226"/>
                </a:lnTo>
                <a:lnTo>
                  <a:pt x="3502" y="226"/>
                </a:lnTo>
                <a:lnTo>
                  <a:pt x="3502" y="230"/>
                </a:lnTo>
                <a:lnTo>
                  <a:pt x="3498" y="232"/>
                </a:lnTo>
                <a:lnTo>
                  <a:pt x="3492" y="234"/>
                </a:lnTo>
                <a:lnTo>
                  <a:pt x="3486" y="234"/>
                </a:lnTo>
                <a:lnTo>
                  <a:pt x="3486" y="234"/>
                </a:lnTo>
                <a:lnTo>
                  <a:pt x="3474" y="234"/>
                </a:lnTo>
                <a:lnTo>
                  <a:pt x="3474" y="234"/>
                </a:lnTo>
                <a:lnTo>
                  <a:pt x="3476" y="242"/>
                </a:lnTo>
                <a:lnTo>
                  <a:pt x="3476" y="242"/>
                </a:lnTo>
                <a:lnTo>
                  <a:pt x="3472" y="244"/>
                </a:lnTo>
                <a:lnTo>
                  <a:pt x="3472" y="244"/>
                </a:lnTo>
                <a:lnTo>
                  <a:pt x="3466" y="244"/>
                </a:lnTo>
                <a:lnTo>
                  <a:pt x="3466" y="244"/>
                </a:lnTo>
                <a:lnTo>
                  <a:pt x="3468" y="248"/>
                </a:lnTo>
                <a:lnTo>
                  <a:pt x="3472" y="252"/>
                </a:lnTo>
                <a:lnTo>
                  <a:pt x="3476" y="256"/>
                </a:lnTo>
                <a:lnTo>
                  <a:pt x="3476" y="260"/>
                </a:lnTo>
                <a:lnTo>
                  <a:pt x="3476" y="260"/>
                </a:lnTo>
                <a:lnTo>
                  <a:pt x="3488" y="262"/>
                </a:lnTo>
                <a:lnTo>
                  <a:pt x="3488" y="262"/>
                </a:lnTo>
                <a:lnTo>
                  <a:pt x="3472" y="266"/>
                </a:lnTo>
                <a:lnTo>
                  <a:pt x="3460" y="266"/>
                </a:lnTo>
                <a:lnTo>
                  <a:pt x="3452" y="264"/>
                </a:lnTo>
                <a:lnTo>
                  <a:pt x="3446" y="260"/>
                </a:lnTo>
                <a:lnTo>
                  <a:pt x="3446" y="260"/>
                </a:lnTo>
                <a:lnTo>
                  <a:pt x="3456" y="258"/>
                </a:lnTo>
                <a:lnTo>
                  <a:pt x="3456" y="258"/>
                </a:lnTo>
                <a:lnTo>
                  <a:pt x="3430" y="258"/>
                </a:lnTo>
                <a:lnTo>
                  <a:pt x="3430" y="258"/>
                </a:lnTo>
                <a:lnTo>
                  <a:pt x="3406" y="262"/>
                </a:lnTo>
                <a:lnTo>
                  <a:pt x="3406" y="262"/>
                </a:lnTo>
                <a:lnTo>
                  <a:pt x="3404" y="264"/>
                </a:lnTo>
                <a:lnTo>
                  <a:pt x="3402" y="266"/>
                </a:lnTo>
                <a:lnTo>
                  <a:pt x="3402" y="266"/>
                </a:lnTo>
                <a:lnTo>
                  <a:pt x="3412" y="272"/>
                </a:lnTo>
                <a:lnTo>
                  <a:pt x="3412" y="272"/>
                </a:lnTo>
                <a:lnTo>
                  <a:pt x="3422" y="270"/>
                </a:lnTo>
                <a:lnTo>
                  <a:pt x="3422" y="270"/>
                </a:lnTo>
                <a:lnTo>
                  <a:pt x="3428" y="270"/>
                </a:lnTo>
                <a:lnTo>
                  <a:pt x="3432" y="272"/>
                </a:lnTo>
                <a:lnTo>
                  <a:pt x="3432" y="272"/>
                </a:lnTo>
                <a:lnTo>
                  <a:pt x="3436" y="270"/>
                </a:lnTo>
                <a:lnTo>
                  <a:pt x="3440" y="266"/>
                </a:lnTo>
                <a:lnTo>
                  <a:pt x="3440" y="266"/>
                </a:lnTo>
                <a:lnTo>
                  <a:pt x="3446" y="268"/>
                </a:lnTo>
                <a:lnTo>
                  <a:pt x="3448" y="270"/>
                </a:lnTo>
                <a:lnTo>
                  <a:pt x="3450" y="272"/>
                </a:lnTo>
                <a:lnTo>
                  <a:pt x="3450" y="272"/>
                </a:lnTo>
                <a:lnTo>
                  <a:pt x="3432" y="278"/>
                </a:lnTo>
                <a:lnTo>
                  <a:pt x="3422" y="280"/>
                </a:lnTo>
                <a:lnTo>
                  <a:pt x="3412" y="280"/>
                </a:lnTo>
                <a:lnTo>
                  <a:pt x="3412" y="280"/>
                </a:lnTo>
                <a:lnTo>
                  <a:pt x="3406" y="282"/>
                </a:lnTo>
                <a:lnTo>
                  <a:pt x="3402" y="282"/>
                </a:lnTo>
                <a:lnTo>
                  <a:pt x="3398" y="286"/>
                </a:lnTo>
                <a:lnTo>
                  <a:pt x="3396" y="288"/>
                </a:lnTo>
                <a:lnTo>
                  <a:pt x="3396" y="288"/>
                </a:lnTo>
                <a:lnTo>
                  <a:pt x="3394" y="292"/>
                </a:lnTo>
                <a:lnTo>
                  <a:pt x="3394" y="292"/>
                </a:lnTo>
                <a:lnTo>
                  <a:pt x="3394" y="294"/>
                </a:lnTo>
                <a:lnTo>
                  <a:pt x="3394" y="294"/>
                </a:lnTo>
                <a:lnTo>
                  <a:pt x="3380" y="296"/>
                </a:lnTo>
                <a:lnTo>
                  <a:pt x="3374" y="298"/>
                </a:lnTo>
                <a:lnTo>
                  <a:pt x="3370" y="304"/>
                </a:lnTo>
                <a:lnTo>
                  <a:pt x="3370" y="304"/>
                </a:lnTo>
                <a:lnTo>
                  <a:pt x="3368" y="304"/>
                </a:lnTo>
                <a:lnTo>
                  <a:pt x="3364" y="306"/>
                </a:lnTo>
                <a:lnTo>
                  <a:pt x="3364" y="306"/>
                </a:lnTo>
                <a:lnTo>
                  <a:pt x="3342" y="302"/>
                </a:lnTo>
                <a:lnTo>
                  <a:pt x="3342" y="302"/>
                </a:lnTo>
                <a:lnTo>
                  <a:pt x="3336" y="300"/>
                </a:lnTo>
                <a:lnTo>
                  <a:pt x="3336" y="296"/>
                </a:lnTo>
                <a:lnTo>
                  <a:pt x="3336" y="294"/>
                </a:lnTo>
                <a:lnTo>
                  <a:pt x="3336" y="294"/>
                </a:lnTo>
                <a:lnTo>
                  <a:pt x="3362" y="296"/>
                </a:lnTo>
                <a:lnTo>
                  <a:pt x="3362" y="296"/>
                </a:lnTo>
                <a:lnTo>
                  <a:pt x="3362" y="294"/>
                </a:lnTo>
                <a:lnTo>
                  <a:pt x="3362" y="294"/>
                </a:lnTo>
                <a:lnTo>
                  <a:pt x="3332" y="284"/>
                </a:lnTo>
                <a:lnTo>
                  <a:pt x="3332" y="284"/>
                </a:lnTo>
                <a:lnTo>
                  <a:pt x="3332" y="284"/>
                </a:lnTo>
                <a:lnTo>
                  <a:pt x="3332" y="284"/>
                </a:lnTo>
                <a:lnTo>
                  <a:pt x="3338" y="282"/>
                </a:lnTo>
                <a:lnTo>
                  <a:pt x="3338" y="282"/>
                </a:lnTo>
                <a:lnTo>
                  <a:pt x="3340" y="280"/>
                </a:lnTo>
                <a:lnTo>
                  <a:pt x="3338" y="276"/>
                </a:lnTo>
                <a:lnTo>
                  <a:pt x="3338" y="276"/>
                </a:lnTo>
                <a:lnTo>
                  <a:pt x="3326" y="268"/>
                </a:lnTo>
                <a:lnTo>
                  <a:pt x="3326" y="268"/>
                </a:lnTo>
                <a:lnTo>
                  <a:pt x="3324" y="268"/>
                </a:lnTo>
                <a:lnTo>
                  <a:pt x="3324" y="268"/>
                </a:lnTo>
                <a:lnTo>
                  <a:pt x="3318" y="270"/>
                </a:lnTo>
                <a:lnTo>
                  <a:pt x="3318" y="270"/>
                </a:lnTo>
                <a:lnTo>
                  <a:pt x="3292" y="262"/>
                </a:lnTo>
                <a:lnTo>
                  <a:pt x="3292" y="262"/>
                </a:lnTo>
                <a:lnTo>
                  <a:pt x="3294" y="252"/>
                </a:lnTo>
                <a:lnTo>
                  <a:pt x="3294" y="252"/>
                </a:lnTo>
                <a:lnTo>
                  <a:pt x="3274" y="250"/>
                </a:lnTo>
                <a:lnTo>
                  <a:pt x="3274" y="250"/>
                </a:lnTo>
                <a:lnTo>
                  <a:pt x="3274" y="244"/>
                </a:lnTo>
                <a:lnTo>
                  <a:pt x="3272" y="240"/>
                </a:lnTo>
                <a:lnTo>
                  <a:pt x="3268" y="236"/>
                </a:lnTo>
                <a:lnTo>
                  <a:pt x="3260" y="232"/>
                </a:lnTo>
                <a:lnTo>
                  <a:pt x="3260" y="232"/>
                </a:lnTo>
                <a:lnTo>
                  <a:pt x="3254" y="230"/>
                </a:lnTo>
                <a:lnTo>
                  <a:pt x="3254" y="230"/>
                </a:lnTo>
                <a:lnTo>
                  <a:pt x="3258" y="226"/>
                </a:lnTo>
                <a:lnTo>
                  <a:pt x="3262" y="224"/>
                </a:lnTo>
                <a:lnTo>
                  <a:pt x="3262" y="224"/>
                </a:lnTo>
                <a:lnTo>
                  <a:pt x="3268" y="226"/>
                </a:lnTo>
                <a:lnTo>
                  <a:pt x="3274" y="226"/>
                </a:lnTo>
                <a:lnTo>
                  <a:pt x="3284" y="224"/>
                </a:lnTo>
                <a:lnTo>
                  <a:pt x="3284" y="224"/>
                </a:lnTo>
                <a:lnTo>
                  <a:pt x="3274" y="220"/>
                </a:lnTo>
                <a:lnTo>
                  <a:pt x="3270" y="220"/>
                </a:lnTo>
                <a:lnTo>
                  <a:pt x="3266" y="222"/>
                </a:lnTo>
                <a:lnTo>
                  <a:pt x="3266" y="222"/>
                </a:lnTo>
                <a:lnTo>
                  <a:pt x="3258" y="222"/>
                </a:lnTo>
                <a:lnTo>
                  <a:pt x="3258" y="222"/>
                </a:lnTo>
                <a:lnTo>
                  <a:pt x="3214" y="220"/>
                </a:lnTo>
                <a:lnTo>
                  <a:pt x="3214" y="220"/>
                </a:lnTo>
                <a:lnTo>
                  <a:pt x="3206" y="220"/>
                </a:lnTo>
                <a:lnTo>
                  <a:pt x="3198" y="216"/>
                </a:lnTo>
                <a:lnTo>
                  <a:pt x="3198" y="216"/>
                </a:lnTo>
                <a:lnTo>
                  <a:pt x="3206" y="208"/>
                </a:lnTo>
                <a:lnTo>
                  <a:pt x="3206" y="208"/>
                </a:lnTo>
                <a:lnTo>
                  <a:pt x="3194" y="206"/>
                </a:lnTo>
                <a:lnTo>
                  <a:pt x="3194" y="206"/>
                </a:lnTo>
                <a:lnTo>
                  <a:pt x="3188" y="206"/>
                </a:lnTo>
                <a:lnTo>
                  <a:pt x="3184" y="202"/>
                </a:lnTo>
                <a:lnTo>
                  <a:pt x="3184" y="202"/>
                </a:lnTo>
                <a:lnTo>
                  <a:pt x="3180" y="200"/>
                </a:lnTo>
                <a:lnTo>
                  <a:pt x="3174" y="198"/>
                </a:lnTo>
                <a:lnTo>
                  <a:pt x="3174" y="198"/>
                </a:lnTo>
                <a:lnTo>
                  <a:pt x="3160" y="196"/>
                </a:lnTo>
                <a:lnTo>
                  <a:pt x="3160" y="196"/>
                </a:lnTo>
                <a:lnTo>
                  <a:pt x="3156" y="198"/>
                </a:lnTo>
                <a:lnTo>
                  <a:pt x="3154" y="202"/>
                </a:lnTo>
                <a:lnTo>
                  <a:pt x="3154" y="202"/>
                </a:lnTo>
                <a:lnTo>
                  <a:pt x="3162" y="200"/>
                </a:lnTo>
                <a:lnTo>
                  <a:pt x="3168" y="200"/>
                </a:lnTo>
                <a:lnTo>
                  <a:pt x="3180" y="204"/>
                </a:lnTo>
                <a:lnTo>
                  <a:pt x="3180" y="204"/>
                </a:lnTo>
                <a:lnTo>
                  <a:pt x="3176" y="206"/>
                </a:lnTo>
                <a:lnTo>
                  <a:pt x="3170" y="206"/>
                </a:lnTo>
                <a:lnTo>
                  <a:pt x="3170" y="206"/>
                </a:lnTo>
                <a:lnTo>
                  <a:pt x="3164" y="204"/>
                </a:lnTo>
                <a:lnTo>
                  <a:pt x="3156" y="206"/>
                </a:lnTo>
                <a:lnTo>
                  <a:pt x="3146" y="210"/>
                </a:lnTo>
                <a:lnTo>
                  <a:pt x="3146" y="210"/>
                </a:lnTo>
                <a:lnTo>
                  <a:pt x="3138" y="212"/>
                </a:lnTo>
                <a:lnTo>
                  <a:pt x="3130" y="214"/>
                </a:lnTo>
                <a:lnTo>
                  <a:pt x="3124" y="212"/>
                </a:lnTo>
                <a:lnTo>
                  <a:pt x="3116" y="208"/>
                </a:lnTo>
                <a:lnTo>
                  <a:pt x="3116" y="208"/>
                </a:lnTo>
                <a:lnTo>
                  <a:pt x="3120" y="204"/>
                </a:lnTo>
                <a:lnTo>
                  <a:pt x="3126" y="202"/>
                </a:lnTo>
                <a:lnTo>
                  <a:pt x="3130" y="200"/>
                </a:lnTo>
                <a:lnTo>
                  <a:pt x="3134" y="198"/>
                </a:lnTo>
                <a:lnTo>
                  <a:pt x="3134" y="198"/>
                </a:lnTo>
                <a:lnTo>
                  <a:pt x="3130" y="194"/>
                </a:lnTo>
                <a:lnTo>
                  <a:pt x="3126" y="190"/>
                </a:lnTo>
                <a:lnTo>
                  <a:pt x="3120" y="188"/>
                </a:lnTo>
                <a:lnTo>
                  <a:pt x="3116" y="186"/>
                </a:lnTo>
                <a:lnTo>
                  <a:pt x="3116" y="186"/>
                </a:lnTo>
                <a:lnTo>
                  <a:pt x="3112" y="184"/>
                </a:lnTo>
                <a:lnTo>
                  <a:pt x="3108" y="184"/>
                </a:lnTo>
                <a:lnTo>
                  <a:pt x="3108" y="184"/>
                </a:lnTo>
                <a:lnTo>
                  <a:pt x="3104" y="180"/>
                </a:lnTo>
                <a:lnTo>
                  <a:pt x="3104" y="180"/>
                </a:lnTo>
                <a:lnTo>
                  <a:pt x="3094" y="184"/>
                </a:lnTo>
                <a:lnTo>
                  <a:pt x="3094" y="184"/>
                </a:lnTo>
                <a:lnTo>
                  <a:pt x="3090" y="184"/>
                </a:lnTo>
                <a:lnTo>
                  <a:pt x="3090" y="184"/>
                </a:lnTo>
                <a:lnTo>
                  <a:pt x="3088" y="182"/>
                </a:lnTo>
                <a:lnTo>
                  <a:pt x="3090" y="182"/>
                </a:lnTo>
                <a:lnTo>
                  <a:pt x="3090" y="182"/>
                </a:lnTo>
                <a:lnTo>
                  <a:pt x="3092" y="180"/>
                </a:lnTo>
                <a:lnTo>
                  <a:pt x="3094" y="176"/>
                </a:lnTo>
                <a:lnTo>
                  <a:pt x="3094" y="172"/>
                </a:lnTo>
                <a:lnTo>
                  <a:pt x="3094" y="172"/>
                </a:lnTo>
                <a:lnTo>
                  <a:pt x="3096" y="168"/>
                </a:lnTo>
                <a:lnTo>
                  <a:pt x="3098" y="164"/>
                </a:lnTo>
                <a:lnTo>
                  <a:pt x="3104" y="162"/>
                </a:lnTo>
                <a:lnTo>
                  <a:pt x="3110" y="162"/>
                </a:lnTo>
                <a:lnTo>
                  <a:pt x="3110" y="162"/>
                </a:lnTo>
                <a:lnTo>
                  <a:pt x="3118" y="162"/>
                </a:lnTo>
                <a:lnTo>
                  <a:pt x="3118" y="162"/>
                </a:lnTo>
                <a:lnTo>
                  <a:pt x="3130" y="162"/>
                </a:lnTo>
                <a:lnTo>
                  <a:pt x="3134" y="160"/>
                </a:lnTo>
                <a:lnTo>
                  <a:pt x="3138" y="156"/>
                </a:lnTo>
                <a:lnTo>
                  <a:pt x="3138" y="156"/>
                </a:lnTo>
                <a:lnTo>
                  <a:pt x="3132" y="154"/>
                </a:lnTo>
                <a:lnTo>
                  <a:pt x="3132" y="154"/>
                </a:lnTo>
                <a:lnTo>
                  <a:pt x="3122" y="152"/>
                </a:lnTo>
                <a:lnTo>
                  <a:pt x="3114" y="148"/>
                </a:lnTo>
                <a:lnTo>
                  <a:pt x="3114" y="148"/>
                </a:lnTo>
                <a:lnTo>
                  <a:pt x="3108" y="148"/>
                </a:lnTo>
                <a:lnTo>
                  <a:pt x="3108" y="148"/>
                </a:lnTo>
                <a:lnTo>
                  <a:pt x="3088" y="152"/>
                </a:lnTo>
                <a:lnTo>
                  <a:pt x="3088" y="152"/>
                </a:lnTo>
                <a:lnTo>
                  <a:pt x="3082" y="152"/>
                </a:lnTo>
                <a:lnTo>
                  <a:pt x="3082" y="152"/>
                </a:lnTo>
                <a:lnTo>
                  <a:pt x="3052" y="146"/>
                </a:lnTo>
                <a:lnTo>
                  <a:pt x="3052" y="146"/>
                </a:lnTo>
                <a:lnTo>
                  <a:pt x="3046" y="144"/>
                </a:lnTo>
                <a:lnTo>
                  <a:pt x="3042" y="142"/>
                </a:lnTo>
                <a:lnTo>
                  <a:pt x="3042" y="142"/>
                </a:lnTo>
                <a:lnTo>
                  <a:pt x="3042" y="138"/>
                </a:lnTo>
                <a:lnTo>
                  <a:pt x="3042" y="136"/>
                </a:lnTo>
                <a:lnTo>
                  <a:pt x="3042" y="136"/>
                </a:lnTo>
                <a:lnTo>
                  <a:pt x="3036" y="134"/>
                </a:lnTo>
                <a:lnTo>
                  <a:pt x="3034" y="134"/>
                </a:lnTo>
                <a:lnTo>
                  <a:pt x="3032" y="136"/>
                </a:lnTo>
                <a:lnTo>
                  <a:pt x="3030" y="140"/>
                </a:lnTo>
                <a:lnTo>
                  <a:pt x="3030" y="140"/>
                </a:lnTo>
                <a:lnTo>
                  <a:pt x="3028" y="148"/>
                </a:lnTo>
                <a:lnTo>
                  <a:pt x="3028" y="148"/>
                </a:lnTo>
                <a:lnTo>
                  <a:pt x="3014" y="148"/>
                </a:lnTo>
                <a:lnTo>
                  <a:pt x="3014" y="148"/>
                </a:lnTo>
                <a:lnTo>
                  <a:pt x="2998" y="150"/>
                </a:lnTo>
                <a:lnTo>
                  <a:pt x="2998" y="150"/>
                </a:lnTo>
                <a:lnTo>
                  <a:pt x="2998" y="150"/>
                </a:lnTo>
                <a:lnTo>
                  <a:pt x="2998" y="150"/>
                </a:lnTo>
                <a:lnTo>
                  <a:pt x="2998" y="166"/>
                </a:lnTo>
                <a:lnTo>
                  <a:pt x="2998" y="166"/>
                </a:lnTo>
                <a:lnTo>
                  <a:pt x="2994" y="166"/>
                </a:lnTo>
                <a:lnTo>
                  <a:pt x="2994" y="166"/>
                </a:lnTo>
                <a:lnTo>
                  <a:pt x="2992" y="160"/>
                </a:lnTo>
                <a:lnTo>
                  <a:pt x="2992" y="160"/>
                </a:lnTo>
                <a:lnTo>
                  <a:pt x="2994" y="166"/>
                </a:lnTo>
                <a:lnTo>
                  <a:pt x="2994" y="166"/>
                </a:lnTo>
                <a:lnTo>
                  <a:pt x="2988" y="164"/>
                </a:lnTo>
                <a:lnTo>
                  <a:pt x="2984" y="158"/>
                </a:lnTo>
                <a:lnTo>
                  <a:pt x="2978" y="144"/>
                </a:lnTo>
                <a:lnTo>
                  <a:pt x="2972" y="124"/>
                </a:lnTo>
                <a:lnTo>
                  <a:pt x="2968" y="104"/>
                </a:lnTo>
                <a:lnTo>
                  <a:pt x="2968" y="104"/>
                </a:lnTo>
                <a:lnTo>
                  <a:pt x="2962" y="104"/>
                </a:lnTo>
                <a:lnTo>
                  <a:pt x="2956" y="102"/>
                </a:lnTo>
                <a:lnTo>
                  <a:pt x="2956" y="102"/>
                </a:lnTo>
                <a:lnTo>
                  <a:pt x="2952" y="102"/>
                </a:lnTo>
                <a:lnTo>
                  <a:pt x="2952" y="102"/>
                </a:lnTo>
                <a:lnTo>
                  <a:pt x="2938" y="104"/>
                </a:lnTo>
                <a:lnTo>
                  <a:pt x="2932" y="106"/>
                </a:lnTo>
                <a:lnTo>
                  <a:pt x="2926" y="110"/>
                </a:lnTo>
                <a:lnTo>
                  <a:pt x="2926" y="110"/>
                </a:lnTo>
                <a:lnTo>
                  <a:pt x="2924" y="110"/>
                </a:lnTo>
                <a:lnTo>
                  <a:pt x="2918" y="112"/>
                </a:lnTo>
                <a:lnTo>
                  <a:pt x="2918" y="112"/>
                </a:lnTo>
                <a:lnTo>
                  <a:pt x="2910" y="114"/>
                </a:lnTo>
                <a:lnTo>
                  <a:pt x="2910" y="114"/>
                </a:lnTo>
                <a:lnTo>
                  <a:pt x="2916" y="116"/>
                </a:lnTo>
                <a:lnTo>
                  <a:pt x="2916" y="116"/>
                </a:lnTo>
                <a:lnTo>
                  <a:pt x="2930" y="116"/>
                </a:lnTo>
                <a:lnTo>
                  <a:pt x="2930" y="116"/>
                </a:lnTo>
                <a:lnTo>
                  <a:pt x="2938" y="116"/>
                </a:lnTo>
                <a:lnTo>
                  <a:pt x="2938" y="118"/>
                </a:lnTo>
                <a:lnTo>
                  <a:pt x="2940" y="122"/>
                </a:lnTo>
                <a:lnTo>
                  <a:pt x="2940" y="122"/>
                </a:lnTo>
                <a:lnTo>
                  <a:pt x="2942" y="126"/>
                </a:lnTo>
                <a:lnTo>
                  <a:pt x="2942" y="126"/>
                </a:lnTo>
                <a:lnTo>
                  <a:pt x="2950" y="134"/>
                </a:lnTo>
                <a:lnTo>
                  <a:pt x="2950" y="134"/>
                </a:lnTo>
                <a:lnTo>
                  <a:pt x="2934" y="140"/>
                </a:lnTo>
                <a:lnTo>
                  <a:pt x="2918" y="142"/>
                </a:lnTo>
                <a:lnTo>
                  <a:pt x="2918" y="142"/>
                </a:lnTo>
                <a:lnTo>
                  <a:pt x="2910" y="142"/>
                </a:lnTo>
                <a:lnTo>
                  <a:pt x="2910" y="142"/>
                </a:lnTo>
                <a:lnTo>
                  <a:pt x="2890" y="146"/>
                </a:lnTo>
                <a:lnTo>
                  <a:pt x="2880" y="148"/>
                </a:lnTo>
                <a:lnTo>
                  <a:pt x="2868" y="146"/>
                </a:lnTo>
                <a:lnTo>
                  <a:pt x="2868" y="146"/>
                </a:lnTo>
                <a:lnTo>
                  <a:pt x="2862" y="144"/>
                </a:lnTo>
                <a:lnTo>
                  <a:pt x="2854" y="146"/>
                </a:lnTo>
                <a:lnTo>
                  <a:pt x="2854" y="146"/>
                </a:lnTo>
                <a:lnTo>
                  <a:pt x="2830" y="148"/>
                </a:lnTo>
                <a:lnTo>
                  <a:pt x="2830" y="148"/>
                </a:lnTo>
                <a:lnTo>
                  <a:pt x="2834" y="152"/>
                </a:lnTo>
                <a:lnTo>
                  <a:pt x="2840" y="154"/>
                </a:lnTo>
                <a:lnTo>
                  <a:pt x="2840" y="154"/>
                </a:lnTo>
                <a:lnTo>
                  <a:pt x="2856" y="158"/>
                </a:lnTo>
                <a:lnTo>
                  <a:pt x="2866" y="158"/>
                </a:lnTo>
                <a:lnTo>
                  <a:pt x="2874" y="156"/>
                </a:lnTo>
                <a:lnTo>
                  <a:pt x="2874" y="156"/>
                </a:lnTo>
                <a:lnTo>
                  <a:pt x="2880" y="154"/>
                </a:lnTo>
                <a:lnTo>
                  <a:pt x="2884" y="154"/>
                </a:lnTo>
                <a:lnTo>
                  <a:pt x="2888" y="156"/>
                </a:lnTo>
                <a:lnTo>
                  <a:pt x="2892" y="160"/>
                </a:lnTo>
                <a:lnTo>
                  <a:pt x="2892" y="160"/>
                </a:lnTo>
                <a:lnTo>
                  <a:pt x="2886" y="162"/>
                </a:lnTo>
                <a:lnTo>
                  <a:pt x="2882" y="166"/>
                </a:lnTo>
                <a:lnTo>
                  <a:pt x="2882" y="166"/>
                </a:lnTo>
                <a:lnTo>
                  <a:pt x="2878" y="170"/>
                </a:lnTo>
                <a:lnTo>
                  <a:pt x="2872" y="170"/>
                </a:lnTo>
                <a:lnTo>
                  <a:pt x="2872" y="170"/>
                </a:lnTo>
                <a:lnTo>
                  <a:pt x="2864" y="172"/>
                </a:lnTo>
                <a:lnTo>
                  <a:pt x="2864" y="172"/>
                </a:lnTo>
                <a:lnTo>
                  <a:pt x="2876" y="178"/>
                </a:lnTo>
                <a:lnTo>
                  <a:pt x="2876" y="178"/>
                </a:lnTo>
                <a:lnTo>
                  <a:pt x="2876" y="178"/>
                </a:lnTo>
                <a:lnTo>
                  <a:pt x="2876" y="178"/>
                </a:lnTo>
                <a:lnTo>
                  <a:pt x="2876" y="178"/>
                </a:lnTo>
                <a:lnTo>
                  <a:pt x="2876" y="178"/>
                </a:lnTo>
                <a:lnTo>
                  <a:pt x="2862" y="182"/>
                </a:lnTo>
                <a:lnTo>
                  <a:pt x="2862" y="182"/>
                </a:lnTo>
                <a:lnTo>
                  <a:pt x="2860" y="184"/>
                </a:lnTo>
                <a:lnTo>
                  <a:pt x="2860" y="188"/>
                </a:lnTo>
                <a:lnTo>
                  <a:pt x="2862" y="194"/>
                </a:lnTo>
                <a:lnTo>
                  <a:pt x="2868" y="206"/>
                </a:lnTo>
                <a:lnTo>
                  <a:pt x="2868" y="206"/>
                </a:lnTo>
                <a:lnTo>
                  <a:pt x="2858" y="208"/>
                </a:lnTo>
                <a:lnTo>
                  <a:pt x="2848" y="208"/>
                </a:lnTo>
                <a:lnTo>
                  <a:pt x="2848" y="208"/>
                </a:lnTo>
                <a:lnTo>
                  <a:pt x="2842" y="208"/>
                </a:lnTo>
                <a:lnTo>
                  <a:pt x="2838" y="204"/>
                </a:lnTo>
                <a:lnTo>
                  <a:pt x="2832" y="198"/>
                </a:lnTo>
                <a:lnTo>
                  <a:pt x="2832" y="198"/>
                </a:lnTo>
                <a:lnTo>
                  <a:pt x="2826" y="200"/>
                </a:lnTo>
                <a:lnTo>
                  <a:pt x="2822" y="202"/>
                </a:lnTo>
                <a:lnTo>
                  <a:pt x="2818" y="206"/>
                </a:lnTo>
                <a:lnTo>
                  <a:pt x="2816" y="212"/>
                </a:lnTo>
                <a:lnTo>
                  <a:pt x="2816" y="212"/>
                </a:lnTo>
                <a:lnTo>
                  <a:pt x="2830" y="218"/>
                </a:lnTo>
                <a:lnTo>
                  <a:pt x="2830" y="218"/>
                </a:lnTo>
                <a:lnTo>
                  <a:pt x="2818" y="226"/>
                </a:lnTo>
                <a:lnTo>
                  <a:pt x="2818" y="226"/>
                </a:lnTo>
                <a:lnTo>
                  <a:pt x="2824" y="228"/>
                </a:lnTo>
                <a:lnTo>
                  <a:pt x="2828" y="230"/>
                </a:lnTo>
                <a:lnTo>
                  <a:pt x="2830" y="232"/>
                </a:lnTo>
                <a:lnTo>
                  <a:pt x="2832" y="236"/>
                </a:lnTo>
                <a:lnTo>
                  <a:pt x="2832" y="236"/>
                </a:lnTo>
                <a:lnTo>
                  <a:pt x="2830" y="240"/>
                </a:lnTo>
                <a:lnTo>
                  <a:pt x="2828" y="242"/>
                </a:lnTo>
                <a:lnTo>
                  <a:pt x="2820" y="246"/>
                </a:lnTo>
                <a:lnTo>
                  <a:pt x="2820" y="246"/>
                </a:lnTo>
                <a:lnTo>
                  <a:pt x="2824" y="248"/>
                </a:lnTo>
                <a:lnTo>
                  <a:pt x="2826" y="252"/>
                </a:lnTo>
                <a:lnTo>
                  <a:pt x="2826" y="252"/>
                </a:lnTo>
                <a:lnTo>
                  <a:pt x="2826" y="254"/>
                </a:lnTo>
                <a:lnTo>
                  <a:pt x="2824" y="256"/>
                </a:lnTo>
                <a:lnTo>
                  <a:pt x="2824" y="256"/>
                </a:lnTo>
                <a:lnTo>
                  <a:pt x="2812" y="260"/>
                </a:lnTo>
                <a:lnTo>
                  <a:pt x="2802" y="266"/>
                </a:lnTo>
                <a:lnTo>
                  <a:pt x="2802" y="266"/>
                </a:lnTo>
                <a:lnTo>
                  <a:pt x="2800" y="268"/>
                </a:lnTo>
                <a:lnTo>
                  <a:pt x="2796" y="268"/>
                </a:lnTo>
                <a:lnTo>
                  <a:pt x="2792" y="266"/>
                </a:lnTo>
                <a:lnTo>
                  <a:pt x="2790" y="264"/>
                </a:lnTo>
                <a:lnTo>
                  <a:pt x="2790" y="264"/>
                </a:lnTo>
                <a:lnTo>
                  <a:pt x="2796" y="258"/>
                </a:lnTo>
                <a:lnTo>
                  <a:pt x="2796" y="258"/>
                </a:lnTo>
                <a:lnTo>
                  <a:pt x="2788" y="252"/>
                </a:lnTo>
                <a:lnTo>
                  <a:pt x="2788" y="252"/>
                </a:lnTo>
                <a:lnTo>
                  <a:pt x="2782" y="248"/>
                </a:lnTo>
                <a:lnTo>
                  <a:pt x="2780" y="244"/>
                </a:lnTo>
                <a:lnTo>
                  <a:pt x="2784" y="242"/>
                </a:lnTo>
                <a:lnTo>
                  <a:pt x="2790" y="238"/>
                </a:lnTo>
                <a:lnTo>
                  <a:pt x="2790" y="238"/>
                </a:lnTo>
                <a:lnTo>
                  <a:pt x="2786" y="234"/>
                </a:lnTo>
                <a:lnTo>
                  <a:pt x="2782" y="234"/>
                </a:lnTo>
                <a:lnTo>
                  <a:pt x="2778" y="234"/>
                </a:lnTo>
                <a:lnTo>
                  <a:pt x="2774" y="234"/>
                </a:lnTo>
                <a:lnTo>
                  <a:pt x="2774" y="234"/>
                </a:lnTo>
                <a:lnTo>
                  <a:pt x="2772" y="228"/>
                </a:lnTo>
                <a:lnTo>
                  <a:pt x="2768" y="222"/>
                </a:lnTo>
                <a:lnTo>
                  <a:pt x="2764" y="216"/>
                </a:lnTo>
                <a:lnTo>
                  <a:pt x="2756" y="214"/>
                </a:lnTo>
                <a:lnTo>
                  <a:pt x="2756" y="214"/>
                </a:lnTo>
                <a:lnTo>
                  <a:pt x="2752" y="212"/>
                </a:lnTo>
                <a:lnTo>
                  <a:pt x="2752" y="212"/>
                </a:lnTo>
                <a:lnTo>
                  <a:pt x="2750" y="208"/>
                </a:lnTo>
                <a:lnTo>
                  <a:pt x="2748" y="206"/>
                </a:lnTo>
                <a:lnTo>
                  <a:pt x="2742" y="204"/>
                </a:lnTo>
                <a:lnTo>
                  <a:pt x="2742" y="204"/>
                </a:lnTo>
                <a:lnTo>
                  <a:pt x="2732" y="200"/>
                </a:lnTo>
                <a:lnTo>
                  <a:pt x="2728" y="196"/>
                </a:lnTo>
                <a:lnTo>
                  <a:pt x="2724" y="194"/>
                </a:lnTo>
                <a:lnTo>
                  <a:pt x="2724" y="194"/>
                </a:lnTo>
                <a:lnTo>
                  <a:pt x="2718" y="192"/>
                </a:lnTo>
                <a:lnTo>
                  <a:pt x="2718" y="192"/>
                </a:lnTo>
                <a:lnTo>
                  <a:pt x="2702" y="194"/>
                </a:lnTo>
                <a:lnTo>
                  <a:pt x="2702" y="194"/>
                </a:lnTo>
                <a:lnTo>
                  <a:pt x="2686" y="200"/>
                </a:lnTo>
                <a:lnTo>
                  <a:pt x="2686" y="200"/>
                </a:lnTo>
                <a:lnTo>
                  <a:pt x="2688" y="196"/>
                </a:lnTo>
                <a:lnTo>
                  <a:pt x="2688" y="192"/>
                </a:lnTo>
                <a:lnTo>
                  <a:pt x="2688" y="188"/>
                </a:lnTo>
                <a:lnTo>
                  <a:pt x="2692" y="184"/>
                </a:lnTo>
                <a:lnTo>
                  <a:pt x="2692" y="184"/>
                </a:lnTo>
                <a:lnTo>
                  <a:pt x="2698" y="178"/>
                </a:lnTo>
                <a:lnTo>
                  <a:pt x="2698" y="174"/>
                </a:lnTo>
                <a:lnTo>
                  <a:pt x="2700" y="170"/>
                </a:lnTo>
                <a:lnTo>
                  <a:pt x="2700" y="170"/>
                </a:lnTo>
                <a:lnTo>
                  <a:pt x="2700" y="170"/>
                </a:lnTo>
                <a:lnTo>
                  <a:pt x="2700" y="170"/>
                </a:lnTo>
                <a:lnTo>
                  <a:pt x="2700" y="170"/>
                </a:lnTo>
                <a:lnTo>
                  <a:pt x="2700" y="170"/>
                </a:lnTo>
                <a:lnTo>
                  <a:pt x="2700" y="170"/>
                </a:lnTo>
                <a:lnTo>
                  <a:pt x="2700" y="170"/>
                </a:lnTo>
                <a:lnTo>
                  <a:pt x="2700" y="170"/>
                </a:lnTo>
                <a:lnTo>
                  <a:pt x="2700" y="170"/>
                </a:lnTo>
                <a:lnTo>
                  <a:pt x="2700" y="170"/>
                </a:lnTo>
                <a:lnTo>
                  <a:pt x="2700" y="170"/>
                </a:lnTo>
                <a:lnTo>
                  <a:pt x="2700" y="170"/>
                </a:lnTo>
                <a:lnTo>
                  <a:pt x="2700" y="170"/>
                </a:lnTo>
                <a:lnTo>
                  <a:pt x="2714" y="178"/>
                </a:lnTo>
                <a:lnTo>
                  <a:pt x="2714" y="178"/>
                </a:lnTo>
                <a:lnTo>
                  <a:pt x="2716" y="174"/>
                </a:lnTo>
                <a:lnTo>
                  <a:pt x="2716" y="172"/>
                </a:lnTo>
                <a:lnTo>
                  <a:pt x="2714" y="170"/>
                </a:lnTo>
                <a:lnTo>
                  <a:pt x="2714" y="166"/>
                </a:lnTo>
                <a:lnTo>
                  <a:pt x="2696" y="166"/>
                </a:lnTo>
                <a:lnTo>
                  <a:pt x="2696" y="166"/>
                </a:lnTo>
                <a:lnTo>
                  <a:pt x="2696" y="166"/>
                </a:lnTo>
                <a:lnTo>
                  <a:pt x="2696" y="166"/>
                </a:lnTo>
                <a:lnTo>
                  <a:pt x="2696" y="166"/>
                </a:lnTo>
                <a:lnTo>
                  <a:pt x="2696" y="166"/>
                </a:lnTo>
                <a:lnTo>
                  <a:pt x="2696" y="166"/>
                </a:lnTo>
                <a:lnTo>
                  <a:pt x="2696" y="166"/>
                </a:lnTo>
                <a:lnTo>
                  <a:pt x="2696" y="166"/>
                </a:lnTo>
                <a:lnTo>
                  <a:pt x="2696" y="166"/>
                </a:lnTo>
                <a:lnTo>
                  <a:pt x="2696" y="166"/>
                </a:lnTo>
                <a:lnTo>
                  <a:pt x="2696" y="164"/>
                </a:lnTo>
                <a:lnTo>
                  <a:pt x="2696" y="164"/>
                </a:lnTo>
                <a:lnTo>
                  <a:pt x="2692" y="160"/>
                </a:lnTo>
                <a:lnTo>
                  <a:pt x="2692" y="158"/>
                </a:lnTo>
                <a:lnTo>
                  <a:pt x="2698" y="154"/>
                </a:lnTo>
                <a:lnTo>
                  <a:pt x="2698" y="154"/>
                </a:lnTo>
                <a:lnTo>
                  <a:pt x="2706" y="150"/>
                </a:lnTo>
                <a:lnTo>
                  <a:pt x="2714" y="144"/>
                </a:lnTo>
                <a:lnTo>
                  <a:pt x="2714" y="144"/>
                </a:lnTo>
                <a:lnTo>
                  <a:pt x="2706" y="144"/>
                </a:lnTo>
                <a:lnTo>
                  <a:pt x="2700" y="148"/>
                </a:lnTo>
                <a:lnTo>
                  <a:pt x="2700" y="148"/>
                </a:lnTo>
                <a:lnTo>
                  <a:pt x="2696" y="148"/>
                </a:lnTo>
                <a:lnTo>
                  <a:pt x="2692" y="146"/>
                </a:lnTo>
                <a:lnTo>
                  <a:pt x="2692" y="146"/>
                </a:lnTo>
                <a:lnTo>
                  <a:pt x="2698" y="140"/>
                </a:lnTo>
                <a:lnTo>
                  <a:pt x="2698" y="140"/>
                </a:lnTo>
                <a:lnTo>
                  <a:pt x="2694" y="138"/>
                </a:lnTo>
                <a:lnTo>
                  <a:pt x="2690" y="136"/>
                </a:lnTo>
                <a:lnTo>
                  <a:pt x="2690" y="136"/>
                </a:lnTo>
                <a:lnTo>
                  <a:pt x="2678" y="132"/>
                </a:lnTo>
                <a:lnTo>
                  <a:pt x="2670" y="128"/>
                </a:lnTo>
                <a:lnTo>
                  <a:pt x="2670" y="128"/>
                </a:lnTo>
                <a:lnTo>
                  <a:pt x="2664" y="124"/>
                </a:lnTo>
                <a:lnTo>
                  <a:pt x="2662" y="118"/>
                </a:lnTo>
                <a:lnTo>
                  <a:pt x="2662" y="114"/>
                </a:lnTo>
                <a:lnTo>
                  <a:pt x="2670" y="110"/>
                </a:lnTo>
                <a:lnTo>
                  <a:pt x="2670" y="110"/>
                </a:lnTo>
                <a:lnTo>
                  <a:pt x="2680" y="102"/>
                </a:lnTo>
                <a:lnTo>
                  <a:pt x="2680" y="102"/>
                </a:lnTo>
                <a:lnTo>
                  <a:pt x="2674" y="100"/>
                </a:lnTo>
                <a:lnTo>
                  <a:pt x="2670" y="98"/>
                </a:lnTo>
                <a:lnTo>
                  <a:pt x="2670" y="98"/>
                </a:lnTo>
                <a:lnTo>
                  <a:pt x="2650" y="96"/>
                </a:lnTo>
                <a:lnTo>
                  <a:pt x="2640" y="96"/>
                </a:lnTo>
                <a:lnTo>
                  <a:pt x="2630" y="98"/>
                </a:lnTo>
                <a:lnTo>
                  <a:pt x="2630" y="98"/>
                </a:lnTo>
                <a:lnTo>
                  <a:pt x="2622" y="94"/>
                </a:lnTo>
                <a:lnTo>
                  <a:pt x="2612" y="90"/>
                </a:lnTo>
                <a:lnTo>
                  <a:pt x="2612" y="90"/>
                </a:lnTo>
                <a:lnTo>
                  <a:pt x="2592" y="84"/>
                </a:lnTo>
                <a:lnTo>
                  <a:pt x="2576" y="76"/>
                </a:lnTo>
                <a:lnTo>
                  <a:pt x="2576" y="76"/>
                </a:lnTo>
                <a:lnTo>
                  <a:pt x="2572" y="74"/>
                </a:lnTo>
                <a:lnTo>
                  <a:pt x="2568" y="72"/>
                </a:lnTo>
                <a:lnTo>
                  <a:pt x="2568" y="72"/>
                </a:lnTo>
                <a:lnTo>
                  <a:pt x="2568" y="72"/>
                </a:lnTo>
                <a:lnTo>
                  <a:pt x="2566" y="82"/>
                </a:lnTo>
                <a:lnTo>
                  <a:pt x="2564" y="110"/>
                </a:lnTo>
                <a:lnTo>
                  <a:pt x="2558" y="138"/>
                </a:lnTo>
                <a:lnTo>
                  <a:pt x="2556" y="148"/>
                </a:lnTo>
                <a:lnTo>
                  <a:pt x="2554" y="150"/>
                </a:lnTo>
                <a:lnTo>
                  <a:pt x="2554" y="150"/>
                </a:lnTo>
                <a:lnTo>
                  <a:pt x="2554" y="150"/>
                </a:lnTo>
                <a:lnTo>
                  <a:pt x="2550" y="142"/>
                </a:lnTo>
                <a:lnTo>
                  <a:pt x="2550" y="142"/>
                </a:lnTo>
                <a:lnTo>
                  <a:pt x="2554" y="122"/>
                </a:lnTo>
                <a:lnTo>
                  <a:pt x="2562" y="86"/>
                </a:lnTo>
                <a:lnTo>
                  <a:pt x="2570" y="52"/>
                </a:lnTo>
                <a:lnTo>
                  <a:pt x="2574" y="40"/>
                </a:lnTo>
                <a:lnTo>
                  <a:pt x="2576" y="36"/>
                </a:lnTo>
                <a:lnTo>
                  <a:pt x="2578" y="36"/>
                </a:lnTo>
                <a:lnTo>
                  <a:pt x="2578" y="36"/>
                </a:lnTo>
                <a:lnTo>
                  <a:pt x="2572" y="30"/>
                </a:lnTo>
                <a:lnTo>
                  <a:pt x="2568" y="30"/>
                </a:lnTo>
                <a:lnTo>
                  <a:pt x="2564" y="30"/>
                </a:lnTo>
                <a:lnTo>
                  <a:pt x="2564" y="30"/>
                </a:lnTo>
                <a:lnTo>
                  <a:pt x="2568" y="10"/>
                </a:lnTo>
                <a:lnTo>
                  <a:pt x="2570" y="2"/>
                </a:lnTo>
                <a:lnTo>
                  <a:pt x="2572" y="0"/>
                </a:lnTo>
                <a:lnTo>
                  <a:pt x="2572" y="0"/>
                </a:lnTo>
                <a:lnTo>
                  <a:pt x="2570" y="0"/>
                </a:lnTo>
                <a:lnTo>
                  <a:pt x="2570" y="2"/>
                </a:lnTo>
                <a:lnTo>
                  <a:pt x="2568" y="8"/>
                </a:lnTo>
                <a:lnTo>
                  <a:pt x="2564" y="30"/>
                </a:lnTo>
                <a:lnTo>
                  <a:pt x="2564" y="30"/>
                </a:lnTo>
                <a:lnTo>
                  <a:pt x="2560" y="34"/>
                </a:lnTo>
                <a:lnTo>
                  <a:pt x="2556" y="44"/>
                </a:lnTo>
                <a:lnTo>
                  <a:pt x="2556" y="44"/>
                </a:lnTo>
                <a:lnTo>
                  <a:pt x="2558" y="6"/>
                </a:lnTo>
                <a:lnTo>
                  <a:pt x="2558" y="6"/>
                </a:lnTo>
                <a:lnTo>
                  <a:pt x="2556" y="46"/>
                </a:lnTo>
                <a:lnTo>
                  <a:pt x="2556" y="46"/>
                </a:lnTo>
                <a:lnTo>
                  <a:pt x="2552" y="68"/>
                </a:lnTo>
                <a:lnTo>
                  <a:pt x="2548" y="92"/>
                </a:lnTo>
                <a:lnTo>
                  <a:pt x="2544" y="110"/>
                </a:lnTo>
                <a:lnTo>
                  <a:pt x="2542" y="114"/>
                </a:lnTo>
                <a:lnTo>
                  <a:pt x="2540" y="116"/>
                </a:lnTo>
                <a:lnTo>
                  <a:pt x="2540" y="116"/>
                </a:lnTo>
                <a:lnTo>
                  <a:pt x="2536" y="112"/>
                </a:lnTo>
                <a:lnTo>
                  <a:pt x="2532" y="110"/>
                </a:lnTo>
                <a:lnTo>
                  <a:pt x="2526" y="108"/>
                </a:lnTo>
                <a:lnTo>
                  <a:pt x="2520" y="108"/>
                </a:lnTo>
                <a:lnTo>
                  <a:pt x="2520" y="108"/>
                </a:lnTo>
                <a:lnTo>
                  <a:pt x="2510" y="108"/>
                </a:lnTo>
                <a:lnTo>
                  <a:pt x="2510" y="108"/>
                </a:lnTo>
                <a:lnTo>
                  <a:pt x="2510" y="106"/>
                </a:lnTo>
                <a:lnTo>
                  <a:pt x="2510" y="106"/>
                </a:lnTo>
                <a:lnTo>
                  <a:pt x="2526" y="98"/>
                </a:lnTo>
                <a:lnTo>
                  <a:pt x="2526" y="98"/>
                </a:lnTo>
                <a:lnTo>
                  <a:pt x="2526" y="96"/>
                </a:lnTo>
                <a:lnTo>
                  <a:pt x="2526" y="94"/>
                </a:lnTo>
                <a:lnTo>
                  <a:pt x="2532" y="94"/>
                </a:lnTo>
                <a:lnTo>
                  <a:pt x="2536" y="92"/>
                </a:lnTo>
                <a:lnTo>
                  <a:pt x="2538" y="92"/>
                </a:lnTo>
                <a:lnTo>
                  <a:pt x="2538" y="90"/>
                </a:lnTo>
                <a:lnTo>
                  <a:pt x="2538" y="90"/>
                </a:lnTo>
                <a:lnTo>
                  <a:pt x="2530" y="86"/>
                </a:lnTo>
                <a:lnTo>
                  <a:pt x="2530" y="86"/>
                </a:lnTo>
                <a:lnTo>
                  <a:pt x="2522" y="82"/>
                </a:lnTo>
                <a:lnTo>
                  <a:pt x="2512" y="82"/>
                </a:lnTo>
                <a:lnTo>
                  <a:pt x="2512" y="82"/>
                </a:lnTo>
                <a:lnTo>
                  <a:pt x="2502" y="82"/>
                </a:lnTo>
                <a:lnTo>
                  <a:pt x="2502" y="82"/>
                </a:lnTo>
                <a:lnTo>
                  <a:pt x="2476" y="76"/>
                </a:lnTo>
                <a:lnTo>
                  <a:pt x="2476" y="76"/>
                </a:lnTo>
                <a:lnTo>
                  <a:pt x="2466" y="66"/>
                </a:lnTo>
                <a:lnTo>
                  <a:pt x="2466" y="66"/>
                </a:lnTo>
                <a:lnTo>
                  <a:pt x="2450" y="64"/>
                </a:lnTo>
                <a:lnTo>
                  <a:pt x="2450" y="64"/>
                </a:lnTo>
                <a:lnTo>
                  <a:pt x="2438" y="66"/>
                </a:lnTo>
                <a:lnTo>
                  <a:pt x="2438" y="66"/>
                </a:lnTo>
                <a:lnTo>
                  <a:pt x="2422" y="70"/>
                </a:lnTo>
                <a:lnTo>
                  <a:pt x="2422" y="70"/>
                </a:lnTo>
                <a:lnTo>
                  <a:pt x="2418" y="72"/>
                </a:lnTo>
                <a:lnTo>
                  <a:pt x="2414" y="72"/>
                </a:lnTo>
                <a:lnTo>
                  <a:pt x="2404" y="72"/>
                </a:lnTo>
                <a:lnTo>
                  <a:pt x="2404" y="72"/>
                </a:lnTo>
                <a:lnTo>
                  <a:pt x="2406" y="68"/>
                </a:lnTo>
                <a:lnTo>
                  <a:pt x="2410" y="64"/>
                </a:lnTo>
                <a:lnTo>
                  <a:pt x="2422" y="58"/>
                </a:lnTo>
                <a:lnTo>
                  <a:pt x="2422" y="58"/>
                </a:lnTo>
                <a:lnTo>
                  <a:pt x="2414" y="60"/>
                </a:lnTo>
                <a:lnTo>
                  <a:pt x="2406" y="60"/>
                </a:lnTo>
                <a:lnTo>
                  <a:pt x="2398" y="58"/>
                </a:lnTo>
                <a:lnTo>
                  <a:pt x="2390" y="54"/>
                </a:lnTo>
                <a:lnTo>
                  <a:pt x="2390" y="54"/>
                </a:lnTo>
                <a:lnTo>
                  <a:pt x="2404" y="44"/>
                </a:lnTo>
                <a:lnTo>
                  <a:pt x="2404" y="44"/>
                </a:lnTo>
                <a:lnTo>
                  <a:pt x="2384" y="42"/>
                </a:lnTo>
                <a:lnTo>
                  <a:pt x="2376" y="42"/>
                </a:lnTo>
                <a:lnTo>
                  <a:pt x="2366" y="44"/>
                </a:lnTo>
                <a:lnTo>
                  <a:pt x="2366" y="44"/>
                </a:lnTo>
                <a:lnTo>
                  <a:pt x="2366" y="46"/>
                </a:lnTo>
                <a:lnTo>
                  <a:pt x="2366" y="46"/>
                </a:lnTo>
                <a:lnTo>
                  <a:pt x="2364" y="52"/>
                </a:lnTo>
                <a:lnTo>
                  <a:pt x="2360" y="56"/>
                </a:lnTo>
                <a:lnTo>
                  <a:pt x="2354" y="58"/>
                </a:lnTo>
                <a:lnTo>
                  <a:pt x="2344" y="58"/>
                </a:lnTo>
                <a:lnTo>
                  <a:pt x="2344" y="58"/>
                </a:lnTo>
                <a:lnTo>
                  <a:pt x="2336" y="58"/>
                </a:lnTo>
                <a:lnTo>
                  <a:pt x="2336" y="58"/>
                </a:lnTo>
                <a:lnTo>
                  <a:pt x="2326" y="56"/>
                </a:lnTo>
                <a:lnTo>
                  <a:pt x="2316" y="56"/>
                </a:lnTo>
                <a:lnTo>
                  <a:pt x="2316" y="56"/>
                </a:lnTo>
                <a:lnTo>
                  <a:pt x="2306" y="54"/>
                </a:lnTo>
                <a:lnTo>
                  <a:pt x="2296" y="56"/>
                </a:lnTo>
                <a:lnTo>
                  <a:pt x="2296" y="56"/>
                </a:lnTo>
                <a:lnTo>
                  <a:pt x="2284" y="58"/>
                </a:lnTo>
                <a:lnTo>
                  <a:pt x="2278" y="58"/>
                </a:lnTo>
                <a:lnTo>
                  <a:pt x="2272" y="56"/>
                </a:lnTo>
                <a:lnTo>
                  <a:pt x="2272" y="56"/>
                </a:lnTo>
                <a:lnTo>
                  <a:pt x="2270" y="54"/>
                </a:lnTo>
                <a:lnTo>
                  <a:pt x="2270" y="54"/>
                </a:lnTo>
                <a:lnTo>
                  <a:pt x="2250" y="60"/>
                </a:lnTo>
                <a:lnTo>
                  <a:pt x="2250" y="60"/>
                </a:lnTo>
                <a:lnTo>
                  <a:pt x="2250" y="56"/>
                </a:lnTo>
                <a:lnTo>
                  <a:pt x="2250" y="56"/>
                </a:lnTo>
                <a:lnTo>
                  <a:pt x="2226" y="54"/>
                </a:lnTo>
                <a:lnTo>
                  <a:pt x="2226" y="54"/>
                </a:lnTo>
                <a:lnTo>
                  <a:pt x="2202" y="52"/>
                </a:lnTo>
                <a:lnTo>
                  <a:pt x="2202" y="52"/>
                </a:lnTo>
                <a:lnTo>
                  <a:pt x="2210" y="44"/>
                </a:lnTo>
                <a:lnTo>
                  <a:pt x="2210" y="44"/>
                </a:lnTo>
                <a:lnTo>
                  <a:pt x="2212" y="40"/>
                </a:lnTo>
                <a:lnTo>
                  <a:pt x="2212" y="38"/>
                </a:lnTo>
                <a:lnTo>
                  <a:pt x="2208" y="36"/>
                </a:lnTo>
                <a:lnTo>
                  <a:pt x="2204" y="34"/>
                </a:lnTo>
                <a:lnTo>
                  <a:pt x="2204" y="34"/>
                </a:lnTo>
                <a:lnTo>
                  <a:pt x="2188" y="34"/>
                </a:lnTo>
                <a:lnTo>
                  <a:pt x="2180" y="34"/>
                </a:lnTo>
                <a:lnTo>
                  <a:pt x="2174" y="36"/>
                </a:lnTo>
                <a:lnTo>
                  <a:pt x="2174" y="36"/>
                </a:lnTo>
                <a:lnTo>
                  <a:pt x="2160" y="40"/>
                </a:lnTo>
                <a:lnTo>
                  <a:pt x="2154" y="42"/>
                </a:lnTo>
                <a:lnTo>
                  <a:pt x="2152" y="48"/>
                </a:lnTo>
                <a:lnTo>
                  <a:pt x="2152" y="48"/>
                </a:lnTo>
                <a:lnTo>
                  <a:pt x="2150" y="50"/>
                </a:lnTo>
                <a:lnTo>
                  <a:pt x="2146" y="52"/>
                </a:lnTo>
                <a:lnTo>
                  <a:pt x="2146" y="52"/>
                </a:lnTo>
                <a:lnTo>
                  <a:pt x="2138" y="54"/>
                </a:lnTo>
                <a:lnTo>
                  <a:pt x="2138" y="54"/>
                </a:lnTo>
                <a:lnTo>
                  <a:pt x="2140" y="60"/>
                </a:lnTo>
                <a:lnTo>
                  <a:pt x="2140" y="60"/>
                </a:lnTo>
                <a:lnTo>
                  <a:pt x="2114" y="62"/>
                </a:lnTo>
                <a:lnTo>
                  <a:pt x="2114" y="62"/>
                </a:lnTo>
                <a:lnTo>
                  <a:pt x="2112" y="58"/>
                </a:lnTo>
                <a:lnTo>
                  <a:pt x="2112" y="58"/>
                </a:lnTo>
                <a:lnTo>
                  <a:pt x="2100" y="60"/>
                </a:lnTo>
                <a:lnTo>
                  <a:pt x="2086" y="60"/>
                </a:lnTo>
                <a:lnTo>
                  <a:pt x="2086" y="60"/>
                </a:lnTo>
                <a:lnTo>
                  <a:pt x="2068" y="60"/>
                </a:lnTo>
                <a:lnTo>
                  <a:pt x="2052" y="60"/>
                </a:lnTo>
                <a:lnTo>
                  <a:pt x="2052" y="60"/>
                </a:lnTo>
                <a:lnTo>
                  <a:pt x="2050" y="62"/>
                </a:lnTo>
                <a:lnTo>
                  <a:pt x="2050" y="62"/>
                </a:lnTo>
                <a:lnTo>
                  <a:pt x="2032" y="64"/>
                </a:lnTo>
                <a:lnTo>
                  <a:pt x="2014" y="66"/>
                </a:lnTo>
                <a:lnTo>
                  <a:pt x="2014" y="66"/>
                </a:lnTo>
                <a:lnTo>
                  <a:pt x="2002" y="66"/>
                </a:lnTo>
                <a:lnTo>
                  <a:pt x="2002" y="66"/>
                </a:lnTo>
                <a:lnTo>
                  <a:pt x="1986" y="70"/>
                </a:lnTo>
                <a:lnTo>
                  <a:pt x="1972" y="70"/>
                </a:lnTo>
                <a:lnTo>
                  <a:pt x="1972" y="70"/>
                </a:lnTo>
                <a:lnTo>
                  <a:pt x="1964" y="70"/>
                </a:lnTo>
                <a:lnTo>
                  <a:pt x="1964" y="70"/>
                </a:lnTo>
                <a:lnTo>
                  <a:pt x="1952" y="74"/>
                </a:lnTo>
                <a:lnTo>
                  <a:pt x="1938" y="74"/>
                </a:lnTo>
                <a:lnTo>
                  <a:pt x="1938" y="74"/>
                </a:lnTo>
                <a:lnTo>
                  <a:pt x="1934" y="76"/>
                </a:lnTo>
                <a:lnTo>
                  <a:pt x="1932" y="78"/>
                </a:lnTo>
                <a:lnTo>
                  <a:pt x="1932" y="78"/>
                </a:lnTo>
                <a:lnTo>
                  <a:pt x="1930" y="80"/>
                </a:lnTo>
                <a:lnTo>
                  <a:pt x="1928" y="82"/>
                </a:lnTo>
                <a:lnTo>
                  <a:pt x="1920" y="80"/>
                </a:lnTo>
                <a:lnTo>
                  <a:pt x="1920" y="80"/>
                </a:lnTo>
                <a:lnTo>
                  <a:pt x="1908" y="78"/>
                </a:lnTo>
                <a:lnTo>
                  <a:pt x="1900" y="80"/>
                </a:lnTo>
                <a:lnTo>
                  <a:pt x="1894" y="82"/>
                </a:lnTo>
                <a:lnTo>
                  <a:pt x="1894" y="82"/>
                </a:lnTo>
                <a:lnTo>
                  <a:pt x="1888" y="86"/>
                </a:lnTo>
                <a:lnTo>
                  <a:pt x="1880" y="88"/>
                </a:lnTo>
                <a:lnTo>
                  <a:pt x="1880" y="88"/>
                </a:lnTo>
                <a:lnTo>
                  <a:pt x="1870" y="90"/>
                </a:lnTo>
                <a:lnTo>
                  <a:pt x="1870" y="90"/>
                </a:lnTo>
                <a:lnTo>
                  <a:pt x="1862" y="86"/>
                </a:lnTo>
                <a:lnTo>
                  <a:pt x="1858" y="86"/>
                </a:lnTo>
                <a:lnTo>
                  <a:pt x="1854" y="86"/>
                </a:lnTo>
                <a:lnTo>
                  <a:pt x="1854" y="86"/>
                </a:lnTo>
                <a:lnTo>
                  <a:pt x="1844" y="90"/>
                </a:lnTo>
                <a:lnTo>
                  <a:pt x="1844" y="90"/>
                </a:lnTo>
                <a:lnTo>
                  <a:pt x="1850" y="96"/>
                </a:lnTo>
                <a:lnTo>
                  <a:pt x="1850" y="96"/>
                </a:lnTo>
                <a:lnTo>
                  <a:pt x="1846" y="98"/>
                </a:lnTo>
                <a:lnTo>
                  <a:pt x="1842" y="98"/>
                </a:lnTo>
                <a:lnTo>
                  <a:pt x="1840" y="98"/>
                </a:lnTo>
                <a:lnTo>
                  <a:pt x="1836" y="98"/>
                </a:lnTo>
                <a:lnTo>
                  <a:pt x="1836" y="98"/>
                </a:lnTo>
                <a:lnTo>
                  <a:pt x="1832" y="98"/>
                </a:lnTo>
                <a:lnTo>
                  <a:pt x="1830" y="96"/>
                </a:lnTo>
                <a:lnTo>
                  <a:pt x="1826" y="92"/>
                </a:lnTo>
                <a:lnTo>
                  <a:pt x="1826" y="92"/>
                </a:lnTo>
                <a:lnTo>
                  <a:pt x="1818" y="96"/>
                </a:lnTo>
                <a:lnTo>
                  <a:pt x="1808" y="98"/>
                </a:lnTo>
                <a:lnTo>
                  <a:pt x="1800" y="100"/>
                </a:lnTo>
                <a:lnTo>
                  <a:pt x="1792" y="104"/>
                </a:lnTo>
                <a:lnTo>
                  <a:pt x="1792" y="104"/>
                </a:lnTo>
                <a:lnTo>
                  <a:pt x="1792" y="104"/>
                </a:lnTo>
                <a:lnTo>
                  <a:pt x="1792" y="104"/>
                </a:lnTo>
                <a:lnTo>
                  <a:pt x="1774" y="106"/>
                </a:lnTo>
                <a:lnTo>
                  <a:pt x="1764" y="106"/>
                </a:lnTo>
                <a:lnTo>
                  <a:pt x="1756" y="104"/>
                </a:lnTo>
                <a:lnTo>
                  <a:pt x="1756" y="104"/>
                </a:lnTo>
                <a:lnTo>
                  <a:pt x="1744" y="100"/>
                </a:lnTo>
                <a:lnTo>
                  <a:pt x="1730" y="96"/>
                </a:lnTo>
                <a:lnTo>
                  <a:pt x="1730" y="96"/>
                </a:lnTo>
                <a:lnTo>
                  <a:pt x="1724" y="94"/>
                </a:lnTo>
                <a:lnTo>
                  <a:pt x="1724" y="94"/>
                </a:lnTo>
                <a:lnTo>
                  <a:pt x="1712" y="88"/>
                </a:lnTo>
                <a:lnTo>
                  <a:pt x="1712" y="88"/>
                </a:lnTo>
                <a:lnTo>
                  <a:pt x="1706" y="88"/>
                </a:lnTo>
                <a:lnTo>
                  <a:pt x="1700" y="88"/>
                </a:lnTo>
                <a:lnTo>
                  <a:pt x="1700" y="88"/>
                </a:lnTo>
                <a:lnTo>
                  <a:pt x="1686" y="94"/>
                </a:lnTo>
                <a:lnTo>
                  <a:pt x="1686" y="94"/>
                </a:lnTo>
                <a:lnTo>
                  <a:pt x="1690" y="102"/>
                </a:lnTo>
                <a:lnTo>
                  <a:pt x="1690" y="102"/>
                </a:lnTo>
                <a:lnTo>
                  <a:pt x="1684" y="104"/>
                </a:lnTo>
                <a:lnTo>
                  <a:pt x="1678" y="106"/>
                </a:lnTo>
                <a:lnTo>
                  <a:pt x="1678" y="106"/>
                </a:lnTo>
                <a:lnTo>
                  <a:pt x="1664" y="110"/>
                </a:lnTo>
                <a:lnTo>
                  <a:pt x="1650" y="114"/>
                </a:lnTo>
                <a:lnTo>
                  <a:pt x="1636" y="118"/>
                </a:lnTo>
                <a:lnTo>
                  <a:pt x="1622" y="120"/>
                </a:lnTo>
                <a:lnTo>
                  <a:pt x="1622" y="120"/>
                </a:lnTo>
                <a:lnTo>
                  <a:pt x="1614" y="122"/>
                </a:lnTo>
                <a:lnTo>
                  <a:pt x="1614" y="122"/>
                </a:lnTo>
                <a:lnTo>
                  <a:pt x="1600" y="128"/>
                </a:lnTo>
                <a:lnTo>
                  <a:pt x="1600" y="128"/>
                </a:lnTo>
                <a:lnTo>
                  <a:pt x="1598" y="132"/>
                </a:lnTo>
                <a:lnTo>
                  <a:pt x="1596" y="134"/>
                </a:lnTo>
                <a:lnTo>
                  <a:pt x="1588" y="134"/>
                </a:lnTo>
                <a:lnTo>
                  <a:pt x="1588" y="134"/>
                </a:lnTo>
                <a:lnTo>
                  <a:pt x="1582" y="134"/>
                </a:lnTo>
                <a:lnTo>
                  <a:pt x="1582" y="134"/>
                </a:lnTo>
                <a:lnTo>
                  <a:pt x="1576" y="136"/>
                </a:lnTo>
                <a:lnTo>
                  <a:pt x="1570" y="138"/>
                </a:lnTo>
                <a:lnTo>
                  <a:pt x="1570" y="138"/>
                </a:lnTo>
                <a:lnTo>
                  <a:pt x="1562" y="136"/>
                </a:lnTo>
                <a:lnTo>
                  <a:pt x="1558" y="130"/>
                </a:lnTo>
                <a:lnTo>
                  <a:pt x="1558" y="130"/>
                </a:lnTo>
                <a:lnTo>
                  <a:pt x="1554" y="130"/>
                </a:lnTo>
                <a:lnTo>
                  <a:pt x="1554" y="130"/>
                </a:lnTo>
                <a:lnTo>
                  <a:pt x="1556" y="138"/>
                </a:lnTo>
                <a:lnTo>
                  <a:pt x="1556" y="138"/>
                </a:lnTo>
                <a:lnTo>
                  <a:pt x="1546" y="140"/>
                </a:lnTo>
                <a:lnTo>
                  <a:pt x="1538" y="144"/>
                </a:lnTo>
                <a:lnTo>
                  <a:pt x="1538" y="144"/>
                </a:lnTo>
                <a:lnTo>
                  <a:pt x="1534" y="148"/>
                </a:lnTo>
                <a:lnTo>
                  <a:pt x="1528" y="150"/>
                </a:lnTo>
                <a:lnTo>
                  <a:pt x="1518" y="150"/>
                </a:lnTo>
                <a:lnTo>
                  <a:pt x="1518" y="150"/>
                </a:lnTo>
                <a:lnTo>
                  <a:pt x="1506" y="152"/>
                </a:lnTo>
                <a:lnTo>
                  <a:pt x="1500" y="150"/>
                </a:lnTo>
                <a:lnTo>
                  <a:pt x="1494" y="148"/>
                </a:lnTo>
                <a:lnTo>
                  <a:pt x="1494" y="148"/>
                </a:lnTo>
                <a:lnTo>
                  <a:pt x="1492" y="148"/>
                </a:lnTo>
                <a:lnTo>
                  <a:pt x="1492" y="148"/>
                </a:lnTo>
                <a:lnTo>
                  <a:pt x="1492" y="154"/>
                </a:lnTo>
                <a:lnTo>
                  <a:pt x="1492" y="154"/>
                </a:lnTo>
                <a:lnTo>
                  <a:pt x="1500" y="154"/>
                </a:lnTo>
                <a:lnTo>
                  <a:pt x="1506" y="154"/>
                </a:lnTo>
                <a:lnTo>
                  <a:pt x="1514" y="160"/>
                </a:lnTo>
                <a:lnTo>
                  <a:pt x="1514" y="160"/>
                </a:lnTo>
                <a:lnTo>
                  <a:pt x="1504" y="160"/>
                </a:lnTo>
                <a:lnTo>
                  <a:pt x="1496" y="160"/>
                </a:lnTo>
                <a:lnTo>
                  <a:pt x="1496" y="160"/>
                </a:lnTo>
                <a:lnTo>
                  <a:pt x="1486" y="158"/>
                </a:lnTo>
                <a:lnTo>
                  <a:pt x="1476" y="160"/>
                </a:lnTo>
                <a:lnTo>
                  <a:pt x="1476" y="160"/>
                </a:lnTo>
                <a:lnTo>
                  <a:pt x="1462" y="162"/>
                </a:lnTo>
                <a:lnTo>
                  <a:pt x="1456" y="162"/>
                </a:lnTo>
                <a:lnTo>
                  <a:pt x="1452" y="158"/>
                </a:lnTo>
                <a:lnTo>
                  <a:pt x="1452" y="158"/>
                </a:lnTo>
                <a:lnTo>
                  <a:pt x="1444" y="160"/>
                </a:lnTo>
                <a:lnTo>
                  <a:pt x="1438" y="160"/>
                </a:lnTo>
                <a:lnTo>
                  <a:pt x="1438" y="160"/>
                </a:lnTo>
                <a:lnTo>
                  <a:pt x="1430" y="160"/>
                </a:lnTo>
                <a:lnTo>
                  <a:pt x="1424" y="164"/>
                </a:lnTo>
                <a:lnTo>
                  <a:pt x="1424" y="164"/>
                </a:lnTo>
                <a:lnTo>
                  <a:pt x="1420" y="164"/>
                </a:lnTo>
                <a:lnTo>
                  <a:pt x="1420" y="164"/>
                </a:lnTo>
                <a:lnTo>
                  <a:pt x="1420" y="158"/>
                </a:lnTo>
                <a:lnTo>
                  <a:pt x="1420" y="158"/>
                </a:lnTo>
                <a:lnTo>
                  <a:pt x="1410" y="158"/>
                </a:lnTo>
                <a:lnTo>
                  <a:pt x="1410" y="158"/>
                </a:lnTo>
                <a:lnTo>
                  <a:pt x="1402" y="164"/>
                </a:lnTo>
                <a:lnTo>
                  <a:pt x="1394" y="168"/>
                </a:lnTo>
                <a:lnTo>
                  <a:pt x="1384" y="168"/>
                </a:lnTo>
                <a:lnTo>
                  <a:pt x="1372" y="168"/>
                </a:lnTo>
                <a:lnTo>
                  <a:pt x="1372" y="168"/>
                </a:lnTo>
                <a:lnTo>
                  <a:pt x="1368" y="166"/>
                </a:lnTo>
                <a:lnTo>
                  <a:pt x="1364" y="166"/>
                </a:lnTo>
                <a:lnTo>
                  <a:pt x="1360" y="166"/>
                </a:lnTo>
                <a:lnTo>
                  <a:pt x="1356" y="166"/>
                </a:lnTo>
                <a:lnTo>
                  <a:pt x="1356" y="166"/>
                </a:lnTo>
                <a:lnTo>
                  <a:pt x="1352" y="164"/>
                </a:lnTo>
                <a:lnTo>
                  <a:pt x="1348" y="166"/>
                </a:lnTo>
                <a:lnTo>
                  <a:pt x="1340" y="168"/>
                </a:lnTo>
                <a:lnTo>
                  <a:pt x="1340" y="168"/>
                </a:lnTo>
                <a:lnTo>
                  <a:pt x="1330" y="168"/>
                </a:lnTo>
                <a:lnTo>
                  <a:pt x="1330" y="168"/>
                </a:lnTo>
                <a:lnTo>
                  <a:pt x="1314" y="172"/>
                </a:lnTo>
                <a:lnTo>
                  <a:pt x="1314" y="172"/>
                </a:lnTo>
                <a:lnTo>
                  <a:pt x="1300" y="174"/>
                </a:lnTo>
                <a:lnTo>
                  <a:pt x="1294" y="174"/>
                </a:lnTo>
                <a:lnTo>
                  <a:pt x="1286" y="170"/>
                </a:lnTo>
                <a:lnTo>
                  <a:pt x="1286" y="170"/>
                </a:lnTo>
                <a:lnTo>
                  <a:pt x="1282" y="168"/>
                </a:lnTo>
                <a:lnTo>
                  <a:pt x="1282" y="168"/>
                </a:lnTo>
                <a:lnTo>
                  <a:pt x="1276" y="170"/>
                </a:lnTo>
                <a:lnTo>
                  <a:pt x="1270" y="170"/>
                </a:lnTo>
                <a:lnTo>
                  <a:pt x="1258" y="170"/>
                </a:lnTo>
                <a:lnTo>
                  <a:pt x="1258" y="170"/>
                </a:lnTo>
                <a:lnTo>
                  <a:pt x="1242" y="170"/>
                </a:lnTo>
                <a:lnTo>
                  <a:pt x="1242" y="170"/>
                </a:lnTo>
                <a:lnTo>
                  <a:pt x="1232" y="170"/>
                </a:lnTo>
                <a:lnTo>
                  <a:pt x="1232" y="170"/>
                </a:lnTo>
                <a:lnTo>
                  <a:pt x="1210" y="176"/>
                </a:lnTo>
                <a:lnTo>
                  <a:pt x="1210" y="176"/>
                </a:lnTo>
                <a:lnTo>
                  <a:pt x="1206" y="178"/>
                </a:lnTo>
                <a:lnTo>
                  <a:pt x="1198" y="180"/>
                </a:lnTo>
                <a:lnTo>
                  <a:pt x="1198" y="180"/>
                </a:lnTo>
                <a:lnTo>
                  <a:pt x="1186" y="182"/>
                </a:lnTo>
                <a:lnTo>
                  <a:pt x="1174" y="182"/>
                </a:lnTo>
                <a:lnTo>
                  <a:pt x="1174" y="182"/>
                </a:lnTo>
                <a:lnTo>
                  <a:pt x="1166" y="184"/>
                </a:lnTo>
                <a:lnTo>
                  <a:pt x="1154" y="184"/>
                </a:lnTo>
                <a:lnTo>
                  <a:pt x="1122" y="182"/>
                </a:lnTo>
                <a:lnTo>
                  <a:pt x="1090" y="180"/>
                </a:lnTo>
                <a:lnTo>
                  <a:pt x="1072" y="180"/>
                </a:lnTo>
                <a:lnTo>
                  <a:pt x="1072" y="180"/>
                </a:lnTo>
                <a:lnTo>
                  <a:pt x="1060" y="180"/>
                </a:lnTo>
                <a:lnTo>
                  <a:pt x="1054" y="182"/>
                </a:lnTo>
                <a:lnTo>
                  <a:pt x="1050" y="184"/>
                </a:lnTo>
                <a:lnTo>
                  <a:pt x="1050" y="184"/>
                </a:lnTo>
                <a:lnTo>
                  <a:pt x="1044" y="186"/>
                </a:lnTo>
                <a:lnTo>
                  <a:pt x="1044" y="186"/>
                </a:lnTo>
                <a:lnTo>
                  <a:pt x="1036" y="186"/>
                </a:lnTo>
                <a:lnTo>
                  <a:pt x="1028" y="188"/>
                </a:lnTo>
                <a:lnTo>
                  <a:pt x="1028" y="188"/>
                </a:lnTo>
                <a:lnTo>
                  <a:pt x="1018" y="192"/>
                </a:lnTo>
                <a:lnTo>
                  <a:pt x="1012" y="194"/>
                </a:lnTo>
                <a:lnTo>
                  <a:pt x="1006" y="194"/>
                </a:lnTo>
                <a:lnTo>
                  <a:pt x="1006" y="194"/>
                </a:lnTo>
                <a:lnTo>
                  <a:pt x="998" y="196"/>
                </a:lnTo>
                <a:lnTo>
                  <a:pt x="990" y="198"/>
                </a:lnTo>
                <a:lnTo>
                  <a:pt x="984" y="202"/>
                </a:lnTo>
                <a:lnTo>
                  <a:pt x="980" y="206"/>
                </a:lnTo>
                <a:lnTo>
                  <a:pt x="980" y="206"/>
                </a:lnTo>
                <a:lnTo>
                  <a:pt x="964" y="210"/>
                </a:lnTo>
                <a:lnTo>
                  <a:pt x="964" y="210"/>
                </a:lnTo>
                <a:lnTo>
                  <a:pt x="946" y="216"/>
                </a:lnTo>
                <a:lnTo>
                  <a:pt x="946" y="216"/>
                </a:lnTo>
                <a:lnTo>
                  <a:pt x="946" y="220"/>
                </a:lnTo>
                <a:lnTo>
                  <a:pt x="944" y="222"/>
                </a:lnTo>
                <a:lnTo>
                  <a:pt x="940" y="224"/>
                </a:lnTo>
                <a:lnTo>
                  <a:pt x="926" y="224"/>
                </a:lnTo>
                <a:lnTo>
                  <a:pt x="926" y="224"/>
                </a:lnTo>
                <a:lnTo>
                  <a:pt x="930" y="228"/>
                </a:lnTo>
                <a:lnTo>
                  <a:pt x="930" y="228"/>
                </a:lnTo>
                <a:lnTo>
                  <a:pt x="926" y="240"/>
                </a:lnTo>
                <a:lnTo>
                  <a:pt x="926" y="240"/>
                </a:lnTo>
                <a:lnTo>
                  <a:pt x="916" y="242"/>
                </a:lnTo>
                <a:lnTo>
                  <a:pt x="908" y="248"/>
                </a:lnTo>
                <a:lnTo>
                  <a:pt x="908" y="248"/>
                </a:lnTo>
                <a:lnTo>
                  <a:pt x="912" y="250"/>
                </a:lnTo>
                <a:lnTo>
                  <a:pt x="912" y="250"/>
                </a:lnTo>
                <a:lnTo>
                  <a:pt x="906" y="254"/>
                </a:lnTo>
                <a:lnTo>
                  <a:pt x="906" y="254"/>
                </a:lnTo>
                <a:lnTo>
                  <a:pt x="912" y="264"/>
                </a:lnTo>
                <a:lnTo>
                  <a:pt x="912" y="264"/>
                </a:lnTo>
                <a:lnTo>
                  <a:pt x="914" y="266"/>
                </a:lnTo>
                <a:lnTo>
                  <a:pt x="916" y="270"/>
                </a:lnTo>
                <a:lnTo>
                  <a:pt x="916" y="270"/>
                </a:lnTo>
                <a:lnTo>
                  <a:pt x="914" y="274"/>
                </a:lnTo>
                <a:lnTo>
                  <a:pt x="912" y="276"/>
                </a:lnTo>
                <a:lnTo>
                  <a:pt x="906" y="282"/>
                </a:lnTo>
                <a:lnTo>
                  <a:pt x="906" y="282"/>
                </a:lnTo>
                <a:lnTo>
                  <a:pt x="904" y="284"/>
                </a:lnTo>
                <a:lnTo>
                  <a:pt x="904" y="284"/>
                </a:lnTo>
                <a:lnTo>
                  <a:pt x="906" y="288"/>
                </a:lnTo>
                <a:lnTo>
                  <a:pt x="904" y="290"/>
                </a:lnTo>
                <a:lnTo>
                  <a:pt x="898" y="292"/>
                </a:lnTo>
                <a:lnTo>
                  <a:pt x="898" y="292"/>
                </a:lnTo>
                <a:lnTo>
                  <a:pt x="896" y="290"/>
                </a:lnTo>
                <a:lnTo>
                  <a:pt x="896" y="290"/>
                </a:lnTo>
                <a:lnTo>
                  <a:pt x="896" y="288"/>
                </a:lnTo>
                <a:lnTo>
                  <a:pt x="896" y="288"/>
                </a:lnTo>
                <a:lnTo>
                  <a:pt x="894" y="288"/>
                </a:lnTo>
                <a:lnTo>
                  <a:pt x="894" y="288"/>
                </a:lnTo>
                <a:lnTo>
                  <a:pt x="892" y="288"/>
                </a:lnTo>
                <a:lnTo>
                  <a:pt x="892" y="288"/>
                </a:lnTo>
                <a:lnTo>
                  <a:pt x="888" y="288"/>
                </a:lnTo>
                <a:lnTo>
                  <a:pt x="888" y="288"/>
                </a:lnTo>
                <a:lnTo>
                  <a:pt x="886" y="286"/>
                </a:lnTo>
                <a:lnTo>
                  <a:pt x="886" y="286"/>
                </a:lnTo>
                <a:lnTo>
                  <a:pt x="890" y="278"/>
                </a:lnTo>
                <a:lnTo>
                  <a:pt x="890" y="278"/>
                </a:lnTo>
                <a:lnTo>
                  <a:pt x="884" y="278"/>
                </a:lnTo>
                <a:lnTo>
                  <a:pt x="884" y="278"/>
                </a:lnTo>
                <a:lnTo>
                  <a:pt x="880" y="282"/>
                </a:lnTo>
                <a:lnTo>
                  <a:pt x="876" y="284"/>
                </a:lnTo>
                <a:lnTo>
                  <a:pt x="868" y="282"/>
                </a:lnTo>
                <a:lnTo>
                  <a:pt x="868" y="282"/>
                </a:lnTo>
                <a:lnTo>
                  <a:pt x="860" y="284"/>
                </a:lnTo>
                <a:lnTo>
                  <a:pt x="854" y="286"/>
                </a:lnTo>
                <a:lnTo>
                  <a:pt x="854" y="286"/>
                </a:lnTo>
                <a:lnTo>
                  <a:pt x="878" y="292"/>
                </a:lnTo>
                <a:lnTo>
                  <a:pt x="878" y="292"/>
                </a:lnTo>
                <a:lnTo>
                  <a:pt x="876" y="296"/>
                </a:lnTo>
                <a:lnTo>
                  <a:pt x="876" y="296"/>
                </a:lnTo>
                <a:lnTo>
                  <a:pt x="874" y="298"/>
                </a:lnTo>
                <a:lnTo>
                  <a:pt x="874" y="298"/>
                </a:lnTo>
                <a:lnTo>
                  <a:pt x="884" y="296"/>
                </a:lnTo>
                <a:lnTo>
                  <a:pt x="884" y="296"/>
                </a:lnTo>
                <a:lnTo>
                  <a:pt x="888" y="296"/>
                </a:lnTo>
                <a:lnTo>
                  <a:pt x="888" y="296"/>
                </a:lnTo>
                <a:lnTo>
                  <a:pt x="884" y="300"/>
                </a:lnTo>
                <a:lnTo>
                  <a:pt x="884" y="302"/>
                </a:lnTo>
                <a:lnTo>
                  <a:pt x="884" y="304"/>
                </a:lnTo>
                <a:lnTo>
                  <a:pt x="884" y="304"/>
                </a:lnTo>
                <a:lnTo>
                  <a:pt x="882" y="306"/>
                </a:lnTo>
                <a:lnTo>
                  <a:pt x="882" y="306"/>
                </a:lnTo>
                <a:lnTo>
                  <a:pt x="876" y="306"/>
                </a:lnTo>
                <a:lnTo>
                  <a:pt x="868" y="302"/>
                </a:lnTo>
                <a:lnTo>
                  <a:pt x="868" y="302"/>
                </a:lnTo>
                <a:lnTo>
                  <a:pt x="854" y="294"/>
                </a:lnTo>
                <a:lnTo>
                  <a:pt x="854" y="294"/>
                </a:lnTo>
                <a:lnTo>
                  <a:pt x="848" y="298"/>
                </a:lnTo>
                <a:lnTo>
                  <a:pt x="840" y="300"/>
                </a:lnTo>
                <a:lnTo>
                  <a:pt x="832" y="300"/>
                </a:lnTo>
                <a:lnTo>
                  <a:pt x="828" y="300"/>
                </a:lnTo>
                <a:lnTo>
                  <a:pt x="828" y="292"/>
                </a:lnTo>
                <a:lnTo>
                  <a:pt x="828" y="292"/>
                </a:lnTo>
                <a:lnTo>
                  <a:pt x="816" y="300"/>
                </a:lnTo>
                <a:lnTo>
                  <a:pt x="804" y="304"/>
                </a:lnTo>
                <a:lnTo>
                  <a:pt x="790" y="306"/>
                </a:lnTo>
                <a:lnTo>
                  <a:pt x="774" y="304"/>
                </a:lnTo>
                <a:lnTo>
                  <a:pt x="774" y="304"/>
                </a:lnTo>
                <a:lnTo>
                  <a:pt x="772" y="308"/>
                </a:lnTo>
                <a:lnTo>
                  <a:pt x="770" y="310"/>
                </a:lnTo>
                <a:lnTo>
                  <a:pt x="760" y="310"/>
                </a:lnTo>
                <a:lnTo>
                  <a:pt x="760" y="310"/>
                </a:lnTo>
                <a:lnTo>
                  <a:pt x="754" y="310"/>
                </a:lnTo>
                <a:lnTo>
                  <a:pt x="754" y="310"/>
                </a:lnTo>
                <a:lnTo>
                  <a:pt x="748" y="300"/>
                </a:lnTo>
                <a:lnTo>
                  <a:pt x="748" y="300"/>
                </a:lnTo>
                <a:lnTo>
                  <a:pt x="740" y="306"/>
                </a:lnTo>
                <a:lnTo>
                  <a:pt x="740" y="310"/>
                </a:lnTo>
                <a:lnTo>
                  <a:pt x="740" y="310"/>
                </a:lnTo>
                <a:lnTo>
                  <a:pt x="736" y="310"/>
                </a:lnTo>
                <a:lnTo>
                  <a:pt x="736" y="310"/>
                </a:lnTo>
                <a:lnTo>
                  <a:pt x="734" y="308"/>
                </a:lnTo>
                <a:lnTo>
                  <a:pt x="734" y="308"/>
                </a:lnTo>
                <a:lnTo>
                  <a:pt x="730" y="304"/>
                </a:lnTo>
                <a:lnTo>
                  <a:pt x="722" y="304"/>
                </a:lnTo>
                <a:lnTo>
                  <a:pt x="722" y="304"/>
                </a:lnTo>
                <a:lnTo>
                  <a:pt x="730" y="310"/>
                </a:lnTo>
                <a:lnTo>
                  <a:pt x="730" y="310"/>
                </a:lnTo>
                <a:lnTo>
                  <a:pt x="730" y="310"/>
                </a:lnTo>
                <a:lnTo>
                  <a:pt x="730" y="310"/>
                </a:lnTo>
                <a:lnTo>
                  <a:pt x="724" y="312"/>
                </a:lnTo>
                <a:lnTo>
                  <a:pt x="724" y="312"/>
                </a:lnTo>
                <a:lnTo>
                  <a:pt x="720" y="314"/>
                </a:lnTo>
                <a:lnTo>
                  <a:pt x="714" y="316"/>
                </a:lnTo>
                <a:lnTo>
                  <a:pt x="708" y="316"/>
                </a:lnTo>
                <a:lnTo>
                  <a:pt x="704" y="320"/>
                </a:lnTo>
                <a:lnTo>
                  <a:pt x="704" y="320"/>
                </a:lnTo>
                <a:lnTo>
                  <a:pt x="702" y="320"/>
                </a:lnTo>
                <a:lnTo>
                  <a:pt x="702" y="320"/>
                </a:lnTo>
                <a:lnTo>
                  <a:pt x="700" y="320"/>
                </a:lnTo>
                <a:lnTo>
                  <a:pt x="702" y="320"/>
                </a:lnTo>
                <a:lnTo>
                  <a:pt x="702" y="320"/>
                </a:lnTo>
                <a:lnTo>
                  <a:pt x="696" y="320"/>
                </a:lnTo>
                <a:lnTo>
                  <a:pt x="696" y="320"/>
                </a:lnTo>
                <a:lnTo>
                  <a:pt x="706" y="322"/>
                </a:lnTo>
                <a:lnTo>
                  <a:pt x="716" y="322"/>
                </a:lnTo>
                <a:lnTo>
                  <a:pt x="716" y="322"/>
                </a:lnTo>
                <a:lnTo>
                  <a:pt x="726" y="324"/>
                </a:lnTo>
                <a:lnTo>
                  <a:pt x="726" y="324"/>
                </a:lnTo>
                <a:lnTo>
                  <a:pt x="730" y="324"/>
                </a:lnTo>
                <a:lnTo>
                  <a:pt x="730" y="324"/>
                </a:lnTo>
                <a:lnTo>
                  <a:pt x="740" y="326"/>
                </a:lnTo>
                <a:lnTo>
                  <a:pt x="740" y="326"/>
                </a:lnTo>
                <a:lnTo>
                  <a:pt x="738" y="328"/>
                </a:lnTo>
                <a:lnTo>
                  <a:pt x="734" y="330"/>
                </a:lnTo>
                <a:lnTo>
                  <a:pt x="734" y="330"/>
                </a:lnTo>
                <a:lnTo>
                  <a:pt x="732" y="332"/>
                </a:lnTo>
                <a:lnTo>
                  <a:pt x="732" y="332"/>
                </a:lnTo>
                <a:lnTo>
                  <a:pt x="732" y="332"/>
                </a:lnTo>
                <a:lnTo>
                  <a:pt x="732" y="332"/>
                </a:lnTo>
                <a:lnTo>
                  <a:pt x="734" y="330"/>
                </a:lnTo>
                <a:lnTo>
                  <a:pt x="734" y="330"/>
                </a:lnTo>
                <a:lnTo>
                  <a:pt x="730" y="334"/>
                </a:lnTo>
                <a:lnTo>
                  <a:pt x="730" y="336"/>
                </a:lnTo>
                <a:lnTo>
                  <a:pt x="732" y="338"/>
                </a:lnTo>
                <a:lnTo>
                  <a:pt x="732" y="338"/>
                </a:lnTo>
                <a:lnTo>
                  <a:pt x="738" y="340"/>
                </a:lnTo>
                <a:lnTo>
                  <a:pt x="742" y="344"/>
                </a:lnTo>
                <a:lnTo>
                  <a:pt x="742" y="348"/>
                </a:lnTo>
                <a:lnTo>
                  <a:pt x="744" y="352"/>
                </a:lnTo>
                <a:lnTo>
                  <a:pt x="744" y="352"/>
                </a:lnTo>
                <a:lnTo>
                  <a:pt x="734" y="352"/>
                </a:lnTo>
                <a:lnTo>
                  <a:pt x="726" y="354"/>
                </a:lnTo>
                <a:lnTo>
                  <a:pt x="726" y="354"/>
                </a:lnTo>
                <a:lnTo>
                  <a:pt x="722" y="354"/>
                </a:lnTo>
                <a:lnTo>
                  <a:pt x="716" y="354"/>
                </a:lnTo>
                <a:lnTo>
                  <a:pt x="708" y="350"/>
                </a:lnTo>
                <a:lnTo>
                  <a:pt x="708" y="350"/>
                </a:lnTo>
                <a:lnTo>
                  <a:pt x="706" y="344"/>
                </a:lnTo>
                <a:lnTo>
                  <a:pt x="706" y="344"/>
                </a:lnTo>
                <a:lnTo>
                  <a:pt x="700" y="344"/>
                </a:lnTo>
                <a:lnTo>
                  <a:pt x="700" y="344"/>
                </a:lnTo>
                <a:lnTo>
                  <a:pt x="684" y="346"/>
                </a:lnTo>
                <a:lnTo>
                  <a:pt x="678" y="344"/>
                </a:lnTo>
                <a:lnTo>
                  <a:pt x="670" y="342"/>
                </a:lnTo>
                <a:lnTo>
                  <a:pt x="670" y="342"/>
                </a:lnTo>
                <a:lnTo>
                  <a:pt x="666" y="342"/>
                </a:lnTo>
                <a:lnTo>
                  <a:pt x="662" y="344"/>
                </a:lnTo>
                <a:lnTo>
                  <a:pt x="662" y="344"/>
                </a:lnTo>
                <a:lnTo>
                  <a:pt x="664" y="350"/>
                </a:lnTo>
                <a:lnTo>
                  <a:pt x="664" y="350"/>
                </a:lnTo>
                <a:lnTo>
                  <a:pt x="626" y="360"/>
                </a:lnTo>
                <a:lnTo>
                  <a:pt x="626" y="360"/>
                </a:lnTo>
                <a:lnTo>
                  <a:pt x="616" y="350"/>
                </a:lnTo>
                <a:lnTo>
                  <a:pt x="616" y="350"/>
                </a:lnTo>
                <a:lnTo>
                  <a:pt x="652" y="346"/>
                </a:lnTo>
                <a:lnTo>
                  <a:pt x="652" y="346"/>
                </a:lnTo>
                <a:lnTo>
                  <a:pt x="634" y="336"/>
                </a:lnTo>
                <a:lnTo>
                  <a:pt x="634" y="336"/>
                </a:lnTo>
                <a:lnTo>
                  <a:pt x="640" y="330"/>
                </a:lnTo>
                <a:lnTo>
                  <a:pt x="640" y="330"/>
                </a:lnTo>
                <a:lnTo>
                  <a:pt x="634" y="330"/>
                </a:lnTo>
                <a:lnTo>
                  <a:pt x="630" y="330"/>
                </a:lnTo>
                <a:lnTo>
                  <a:pt x="628" y="332"/>
                </a:lnTo>
                <a:lnTo>
                  <a:pt x="628" y="332"/>
                </a:lnTo>
                <a:lnTo>
                  <a:pt x="624" y="332"/>
                </a:lnTo>
                <a:lnTo>
                  <a:pt x="620" y="332"/>
                </a:lnTo>
                <a:lnTo>
                  <a:pt x="614" y="332"/>
                </a:lnTo>
                <a:lnTo>
                  <a:pt x="610" y="330"/>
                </a:lnTo>
                <a:lnTo>
                  <a:pt x="610" y="330"/>
                </a:lnTo>
                <a:lnTo>
                  <a:pt x="610" y="328"/>
                </a:lnTo>
                <a:lnTo>
                  <a:pt x="610" y="326"/>
                </a:lnTo>
                <a:lnTo>
                  <a:pt x="614" y="324"/>
                </a:lnTo>
                <a:lnTo>
                  <a:pt x="614" y="324"/>
                </a:lnTo>
                <a:lnTo>
                  <a:pt x="626" y="324"/>
                </a:lnTo>
                <a:lnTo>
                  <a:pt x="626" y="324"/>
                </a:lnTo>
                <a:lnTo>
                  <a:pt x="632" y="322"/>
                </a:lnTo>
                <a:lnTo>
                  <a:pt x="636" y="320"/>
                </a:lnTo>
                <a:lnTo>
                  <a:pt x="636" y="320"/>
                </a:lnTo>
                <a:lnTo>
                  <a:pt x="624" y="320"/>
                </a:lnTo>
                <a:lnTo>
                  <a:pt x="616" y="322"/>
                </a:lnTo>
                <a:lnTo>
                  <a:pt x="616" y="322"/>
                </a:lnTo>
                <a:lnTo>
                  <a:pt x="606" y="324"/>
                </a:lnTo>
                <a:lnTo>
                  <a:pt x="600" y="322"/>
                </a:lnTo>
                <a:lnTo>
                  <a:pt x="600" y="322"/>
                </a:lnTo>
                <a:lnTo>
                  <a:pt x="596" y="320"/>
                </a:lnTo>
                <a:lnTo>
                  <a:pt x="592" y="320"/>
                </a:lnTo>
                <a:lnTo>
                  <a:pt x="586" y="320"/>
                </a:lnTo>
                <a:lnTo>
                  <a:pt x="586" y="320"/>
                </a:lnTo>
                <a:lnTo>
                  <a:pt x="564" y="318"/>
                </a:lnTo>
                <a:lnTo>
                  <a:pt x="556" y="316"/>
                </a:lnTo>
                <a:lnTo>
                  <a:pt x="546" y="310"/>
                </a:lnTo>
                <a:lnTo>
                  <a:pt x="546" y="310"/>
                </a:lnTo>
                <a:lnTo>
                  <a:pt x="542" y="308"/>
                </a:lnTo>
                <a:lnTo>
                  <a:pt x="542" y="308"/>
                </a:lnTo>
                <a:lnTo>
                  <a:pt x="526" y="306"/>
                </a:lnTo>
                <a:lnTo>
                  <a:pt x="526" y="306"/>
                </a:lnTo>
                <a:lnTo>
                  <a:pt x="526" y="304"/>
                </a:lnTo>
                <a:lnTo>
                  <a:pt x="524" y="302"/>
                </a:lnTo>
                <a:lnTo>
                  <a:pt x="520" y="302"/>
                </a:lnTo>
                <a:lnTo>
                  <a:pt x="520" y="302"/>
                </a:lnTo>
                <a:lnTo>
                  <a:pt x="494" y="306"/>
                </a:lnTo>
                <a:lnTo>
                  <a:pt x="494" y="306"/>
                </a:lnTo>
                <a:lnTo>
                  <a:pt x="506" y="322"/>
                </a:lnTo>
                <a:lnTo>
                  <a:pt x="506" y="322"/>
                </a:lnTo>
                <a:lnTo>
                  <a:pt x="492" y="322"/>
                </a:lnTo>
                <a:lnTo>
                  <a:pt x="492" y="322"/>
                </a:lnTo>
                <a:lnTo>
                  <a:pt x="478" y="326"/>
                </a:lnTo>
                <a:lnTo>
                  <a:pt x="478" y="326"/>
                </a:lnTo>
                <a:lnTo>
                  <a:pt x="472" y="324"/>
                </a:lnTo>
                <a:lnTo>
                  <a:pt x="472" y="324"/>
                </a:lnTo>
                <a:lnTo>
                  <a:pt x="484" y="316"/>
                </a:lnTo>
                <a:lnTo>
                  <a:pt x="484" y="314"/>
                </a:lnTo>
                <a:lnTo>
                  <a:pt x="484" y="312"/>
                </a:lnTo>
                <a:lnTo>
                  <a:pt x="484" y="312"/>
                </a:lnTo>
                <a:lnTo>
                  <a:pt x="478" y="312"/>
                </a:lnTo>
                <a:lnTo>
                  <a:pt x="474" y="316"/>
                </a:lnTo>
                <a:lnTo>
                  <a:pt x="468" y="322"/>
                </a:lnTo>
                <a:lnTo>
                  <a:pt x="468" y="322"/>
                </a:lnTo>
                <a:lnTo>
                  <a:pt x="466" y="326"/>
                </a:lnTo>
                <a:lnTo>
                  <a:pt x="462" y="328"/>
                </a:lnTo>
                <a:lnTo>
                  <a:pt x="458" y="328"/>
                </a:lnTo>
                <a:lnTo>
                  <a:pt x="450" y="328"/>
                </a:lnTo>
                <a:lnTo>
                  <a:pt x="450" y="328"/>
                </a:lnTo>
                <a:lnTo>
                  <a:pt x="454" y="324"/>
                </a:lnTo>
                <a:lnTo>
                  <a:pt x="454" y="324"/>
                </a:lnTo>
                <a:lnTo>
                  <a:pt x="444" y="320"/>
                </a:lnTo>
                <a:lnTo>
                  <a:pt x="444" y="320"/>
                </a:lnTo>
                <a:lnTo>
                  <a:pt x="448" y="316"/>
                </a:lnTo>
                <a:lnTo>
                  <a:pt x="454" y="314"/>
                </a:lnTo>
                <a:lnTo>
                  <a:pt x="454" y="314"/>
                </a:lnTo>
                <a:lnTo>
                  <a:pt x="458" y="312"/>
                </a:lnTo>
                <a:lnTo>
                  <a:pt x="462" y="310"/>
                </a:lnTo>
                <a:lnTo>
                  <a:pt x="466" y="304"/>
                </a:lnTo>
                <a:lnTo>
                  <a:pt x="466" y="304"/>
                </a:lnTo>
                <a:lnTo>
                  <a:pt x="472" y="298"/>
                </a:lnTo>
                <a:lnTo>
                  <a:pt x="480" y="294"/>
                </a:lnTo>
                <a:lnTo>
                  <a:pt x="480" y="294"/>
                </a:lnTo>
                <a:lnTo>
                  <a:pt x="488" y="298"/>
                </a:lnTo>
                <a:lnTo>
                  <a:pt x="488" y="298"/>
                </a:lnTo>
                <a:lnTo>
                  <a:pt x="500" y="296"/>
                </a:lnTo>
                <a:lnTo>
                  <a:pt x="500" y="296"/>
                </a:lnTo>
                <a:lnTo>
                  <a:pt x="492" y="288"/>
                </a:lnTo>
                <a:lnTo>
                  <a:pt x="492" y="288"/>
                </a:lnTo>
                <a:lnTo>
                  <a:pt x="476" y="292"/>
                </a:lnTo>
                <a:lnTo>
                  <a:pt x="476" y="292"/>
                </a:lnTo>
                <a:lnTo>
                  <a:pt x="484" y="284"/>
                </a:lnTo>
                <a:lnTo>
                  <a:pt x="484" y="284"/>
                </a:lnTo>
                <a:lnTo>
                  <a:pt x="478" y="282"/>
                </a:lnTo>
                <a:lnTo>
                  <a:pt x="476" y="280"/>
                </a:lnTo>
                <a:lnTo>
                  <a:pt x="474" y="278"/>
                </a:lnTo>
                <a:lnTo>
                  <a:pt x="474" y="278"/>
                </a:lnTo>
                <a:lnTo>
                  <a:pt x="472" y="274"/>
                </a:lnTo>
                <a:lnTo>
                  <a:pt x="468" y="272"/>
                </a:lnTo>
                <a:lnTo>
                  <a:pt x="462" y="272"/>
                </a:lnTo>
                <a:lnTo>
                  <a:pt x="454" y="274"/>
                </a:lnTo>
                <a:lnTo>
                  <a:pt x="454" y="274"/>
                </a:lnTo>
                <a:lnTo>
                  <a:pt x="464" y="282"/>
                </a:lnTo>
                <a:lnTo>
                  <a:pt x="464" y="282"/>
                </a:lnTo>
                <a:lnTo>
                  <a:pt x="438" y="284"/>
                </a:lnTo>
                <a:lnTo>
                  <a:pt x="438" y="284"/>
                </a:lnTo>
                <a:lnTo>
                  <a:pt x="430" y="278"/>
                </a:lnTo>
                <a:lnTo>
                  <a:pt x="430" y="278"/>
                </a:lnTo>
                <a:lnTo>
                  <a:pt x="428" y="278"/>
                </a:lnTo>
                <a:lnTo>
                  <a:pt x="428" y="278"/>
                </a:lnTo>
                <a:lnTo>
                  <a:pt x="420" y="280"/>
                </a:lnTo>
                <a:lnTo>
                  <a:pt x="414" y="280"/>
                </a:lnTo>
                <a:lnTo>
                  <a:pt x="412" y="278"/>
                </a:lnTo>
                <a:lnTo>
                  <a:pt x="408" y="272"/>
                </a:lnTo>
                <a:lnTo>
                  <a:pt x="408" y="272"/>
                </a:lnTo>
                <a:lnTo>
                  <a:pt x="406" y="270"/>
                </a:lnTo>
                <a:lnTo>
                  <a:pt x="404" y="268"/>
                </a:lnTo>
                <a:lnTo>
                  <a:pt x="404" y="268"/>
                </a:lnTo>
                <a:lnTo>
                  <a:pt x="398" y="266"/>
                </a:lnTo>
                <a:lnTo>
                  <a:pt x="394" y="264"/>
                </a:lnTo>
                <a:lnTo>
                  <a:pt x="388" y="258"/>
                </a:lnTo>
                <a:lnTo>
                  <a:pt x="388" y="258"/>
                </a:lnTo>
                <a:lnTo>
                  <a:pt x="370" y="256"/>
                </a:lnTo>
                <a:lnTo>
                  <a:pt x="370" y="256"/>
                </a:lnTo>
                <a:lnTo>
                  <a:pt x="368" y="248"/>
                </a:lnTo>
                <a:lnTo>
                  <a:pt x="368" y="248"/>
                </a:lnTo>
                <a:lnTo>
                  <a:pt x="358" y="248"/>
                </a:lnTo>
                <a:lnTo>
                  <a:pt x="358" y="248"/>
                </a:lnTo>
                <a:lnTo>
                  <a:pt x="380" y="268"/>
                </a:lnTo>
                <a:lnTo>
                  <a:pt x="380" y="268"/>
                </a:lnTo>
                <a:lnTo>
                  <a:pt x="382" y="270"/>
                </a:lnTo>
                <a:lnTo>
                  <a:pt x="382" y="270"/>
                </a:lnTo>
                <a:lnTo>
                  <a:pt x="404" y="278"/>
                </a:lnTo>
                <a:lnTo>
                  <a:pt x="404" y="278"/>
                </a:lnTo>
                <a:lnTo>
                  <a:pt x="414" y="284"/>
                </a:lnTo>
                <a:lnTo>
                  <a:pt x="422" y="290"/>
                </a:lnTo>
                <a:lnTo>
                  <a:pt x="422" y="290"/>
                </a:lnTo>
                <a:lnTo>
                  <a:pt x="428" y="294"/>
                </a:lnTo>
                <a:lnTo>
                  <a:pt x="432" y="302"/>
                </a:lnTo>
                <a:lnTo>
                  <a:pt x="432" y="302"/>
                </a:lnTo>
                <a:lnTo>
                  <a:pt x="434" y="302"/>
                </a:lnTo>
                <a:lnTo>
                  <a:pt x="434" y="302"/>
                </a:lnTo>
                <a:lnTo>
                  <a:pt x="442" y="302"/>
                </a:lnTo>
                <a:lnTo>
                  <a:pt x="444" y="304"/>
                </a:lnTo>
                <a:lnTo>
                  <a:pt x="446" y="306"/>
                </a:lnTo>
                <a:lnTo>
                  <a:pt x="446" y="306"/>
                </a:lnTo>
                <a:lnTo>
                  <a:pt x="444" y="308"/>
                </a:lnTo>
                <a:lnTo>
                  <a:pt x="442" y="310"/>
                </a:lnTo>
                <a:lnTo>
                  <a:pt x="436" y="312"/>
                </a:lnTo>
                <a:lnTo>
                  <a:pt x="436" y="312"/>
                </a:lnTo>
                <a:lnTo>
                  <a:pt x="426" y="312"/>
                </a:lnTo>
                <a:lnTo>
                  <a:pt x="416" y="316"/>
                </a:lnTo>
                <a:lnTo>
                  <a:pt x="416" y="316"/>
                </a:lnTo>
                <a:lnTo>
                  <a:pt x="412" y="314"/>
                </a:lnTo>
                <a:lnTo>
                  <a:pt x="408" y="312"/>
                </a:lnTo>
                <a:lnTo>
                  <a:pt x="408" y="312"/>
                </a:lnTo>
                <a:lnTo>
                  <a:pt x="400" y="308"/>
                </a:lnTo>
                <a:lnTo>
                  <a:pt x="390" y="308"/>
                </a:lnTo>
                <a:lnTo>
                  <a:pt x="390" y="308"/>
                </a:lnTo>
                <a:lnTo>
                  <a:pt x="382" y="308"/>
                </a:lnTo>
                <a:lnTo>
                  <a:pt x="376" y="306"/>
                </a:lnTo>
                <a:lnTo>
                  <a:pt x="362" y="302"/>
                </a:lnTo>
                <a:lnTo>
                  <a:pt x="362" y="302"/>
                </a:lnTo>
                <a:lnTo>
                  <a:pt x="354" y="304"/>
                </a:lnTo>
                <a:lnTo>
                  <a:pt x="344" y="302"/>
                </a:lnTo>
                <a:lnTo>
                  <a:pt x="344" y="302"/>
                </a:lnTo>
                <a:lnTo>
                  <a:pt x="338" y="304"/>
                </a:lnTo>
                <a:lnTo>
                  <a:pt x="330" y="306"/>
                </a:lnTo>
                <a:lnTo>
                  <a:pt x="330" y="306"/>
                </a:lnTo>
                <a:lnTo>
                  <a:pt x="322" y="310"/>
                </a:lnTo>
                <a:lnTo>
                  <a:pt x="314" y="312"/>
                </a:lnTo>
                <a:lnTo>
                  <a:pt x="306" y="312"/>
                </a:lnTo>
                <a:lnTo>
                  <a:pt x="296" y="310"/>
                </a:lnTo>
                <a:lnTo>
                  <a:pt x="296" y="310"/>
                </a:lnTo>
                <a:lnTo>
                  <a:pt x="290" y="308"/>
                </a:lnTo>
                <a:lnTo>
                  <a:pt x="290" y="308"/>
                </a:lnTo>
                <a:lnTo>
                  <a:pt x="284" y="306"/>
                </a:lnTo>
                <a:lnTo>
                  <a:pt x="280" y="304"/>
                </a:lnTo>
                <a:lnTo>
                  <a:pt x="280" y="302"/>
                </a:lnTo>
                <a:lnTo>
                  <a:pt x="280" y="298"/>
                </a:lnTo>
                <a:lnTo>
                  <a:pt x="280" y="298"/>
                </a:lnTo>
                <a:lnTo>
                  <a:pt x="278" y="292"/>
                </a:lnTo>
                <a:lnTo>
                  <a:pt x="278" y="292"/>
                </a:lnTo>
                <a:lnTo>
                  <a:pt x="276" y="290"/>
                </a:lnTo>
                <a:lnTo>
                  <a:pt x="274" y="288"/>
                </a:lnTo>
                <a:lnTo>
                  <a:pt x="272" y="284"/>
                </a:lnTo>
                <a:lnTo>
                  <a:pt x="272" y="284"/>
                </a:lnTo>
                <a:lnTo>
                  <a:pt x="264" y="286"/>
                </a:lnTo>
                <a:lnTo>
                  <a:pt x="258" y="288"/>
                </a:lnTo>
                <a:lnTo>
                  <a:pt x="254" y="286"/>
                </a:lnTo>
                <a:lnTo>
                  <a:pt x="248" y="282"/>
                </a:lnTo>
                <a:lnTo>
                  <a:pt x="248" y="282"/>
                </a:lnTo>
                <a:lnTo>
                  <a:pt x="262" y="270"/>
                </a:lnTo>
                <a:lnTo>
                  <a:pt x="262" y="270"/>
                </a:lnTo>
                <a:lnTo>
                  <a:pt x="254" y="268"/>
                </a:lnTo>
                <a:lnTo>
                  <a:pt x="254" y="268"/>
                </a:lnTo>
                <a:lnTo>
                  <a:pt x="248" y="270"/>
                </a:lnTo>
                <a:lnTo>
                  <a:pt x="242" y="270"/>
                </a:lnTo>
                <a:lnTo>
                  <a:pt x="230" y="266"/>
                </a:lnTo>
                <a:lnTo>
                  <a:pt x="230" y="266"/>
                </a:lnTo>
                <a:lnTo>
                  <a:pt x="220" y="266"/>
                </a:lnTo>
                <a:lnTo>
                  <a:pt x="220" y="266"/>
                </a:lnTo>
                <a:lnTo>
                  <a:pt x="212" y="264"/>
                </a:lnTo>
                <a:lnTo>
                  <a:pt x="206" y="260"/>
                </a:lnTo>
                <a:lnTo>
                  <a:pt x="206" y="260"/>
                </a:lnTo>
                <a:lnTo>
                  <a:pt x="202" y="258"/>
                </a:lnTo>
                <a:lnTo>
                  <a:pt x="198" y="256"/>
                </a:lnTo>
                <a:lnTo>
                  <a:pt x="196" y="258"/>
                </a:lnTo>
                <a:lnTo>
                  <a:pt x="192" y="260"/>
                </a:lnTo>
                <a:lnTo>
                  <a:pt x="192" y="260"/>
                </a:lnTo>
                <a:lnTo>
                  <a:pt x="196" y="262"/>
                </a:lnTo>
                <a:lnTo>
                  <a:pt x="200" y="266"/>
                </a:lnTo>
                <a:lnTo>
                  <a:pt x="204" y="268"/>
                </a:lnTo>
                <a:lnTo>
                  <a:pt x="208" y="272"/>
                </a:lnTo>
                <a:lnTo>
                  <a:pt x="208" y="272"/>
                </a:lnTo>
                <a:lnTo>
                  <a:pt x="208" y="274"/>
                </a:lnTo>
                <a:lnTo>
                  <a:pt x="208" y="274"/>
                </a:lnTo>
                <a:lnTo>
                  <a:pt x="214" y="276"/>
                </a:lnTo>
                <a:lnTo>
                  <a:pt x="218" y="280"/>
                </a:lnTo>
                <a:lnTo>
                  <a:pt x="222" y="288"/>
                </a:lnTo>
                <a:lnTo>
                  <a:pt x="222" y="288"/>
                </a:lnTo>
                <a:lnTo>
                  <a:pt x="224" y="290"/>
                </a:lnTo>
                <a:lnTo>
                  <a:pt x="226" y="294"/>
                </a:lnTo>
                <a:lnTo>
                  <a:pt x="232" y="296"/>
                </a:lnTo>
                <a:lnTo>
                  <a:pt x="236" y="296"/>
                </a:lnTo>
                <a:lnTo>
                  <a:pt x="236" y="296"/>
                </a:lnTo>
                <a:lnTo>
                  <a:pt x="242" y="298"/>
                </a:lnTo>
                <a:lnTo>
                  <a:pt x="242" y="298"/>
                </a:lnTo>
                <a:lnTo>
                  <a:pt x="248" y="302"/>
                </a:lnTo>
                <a:lnTo>
                  <a:pt x="256" y="306"/>
                </a:lnTo>
                <a:lnTo>
                  <a:pt x="270" y="312"/>
                </a:lnTo>
                <a:lnTo>
                  <a:pt x="270" y="312"/>
                </a:lnTo>
                <a:lnTo>
                  <a:pt x="276" y="316"/>
                </a:lnTo>
                <a:lnTo>
                  <a:pt x="278" y="318"/>
                </a:lnTo>
                <a:lnTo>
                  <a:pt x="280" y="322"/>
                </a:lnTo>
                <a:lnTo>
                  <a:pt x="280" y="322"/>
                </a:lnTo>
                <a:lnTo>
                  <a:pt x="272" y="322"/>
                </a:lnTo>
                <a:lnTo>
                  <a:pt x="264" y="322"/>
                </a:lnTo>
                <a:lnTo>
                  <a:pt x="248" y="326"/>
                </a:lnTo>
                <a:lnTo>
                  <a:pt x="248" y="326"/>
                </a:lnTo>
                <a:lnTo>
                  <a:pt x="272" y="328"/>
                </a:lnTo>
                <a:lnTo>
                  <a:pt x="272" y="328"/>
                </a:lnTo>
                <a:lnTo>
                  <a:pt x="278" y="330"/>
                </a:lnTo>
                <a:lnTo>
                  <a:pt x="278" y="334"/>
                </a:lnTo>
                <a:lnTo>
                  <a:pt x="278" y="334"/>
                </a:lnTo>
                <a:lnTo>
                  <a:pt x="262" y="334"/>
                </a:lnTo>
                <a:lnTo>
                  <a:pt x="256" y="334"/>
                </a:lnTo>
                <a:lnTo>
                  <a:pt x="252" y="338"/>
                </a:lnTo>
                <a:lnTo>
                  <a:pt x="252" y="338"/>
                </a:lnTo>
                <a:lnTo>
                  <a:pt x="274" y="342"/>
                </a:lnTo>
                <a:lnTo>
                  <a:pt x="274" y="342"/>
                </a:lnTo>
                <a:lnTo>
                  <a:pt x="280" y="342"/>
                </a:lnTo>
                <a:lnTo>
                  <a:pt x="286" y="340"/>
                </a:lnTo>
                <a:lnTo>
                  <a:pt x="286" y="340"/>
                </a:lnTo>
                <a:lnTo>
                  <a:pt x="282" y="334"/>
                </a:lnTo>
                <a:lnTo>
                  <a:pt x="282" y="334"/>
                </a:lnTo>
                <a:lnTo>
                  <a:pt x="288" y="332"/>
                </a:lnTo>
                <a:lnTo>
                  <a:pt x="288" y="332"/>
                </a:lnTo>
                <a:lnTo>
                  <a:pt x="302" y="336"/>
                </a:lnTo>
                <a:lnTo>
                  <a:pt x="302" y="336"/>
                </a:lnTo>
                <a:lnTo>
                  <a:pt x="308" y="338"/>
                </a:lnTo>
                <a:lnTo>
                  <a:pt x="310" y="340"/>
                </a:lnTo>
                <a:lnTo>
                  <a:pt x="310" y="342"/>
                </a:lnTo>
                <a:lnTo>
                  <a:pt x="310" y="342"/>
                </a:lnTo>
                <a:lnTo>
                  <a:pt x="310" y="346"/>
                </a:lnTo>
                <a:lnTo>
                  <a:pt x="310" y="346"/>
                </a:lnTo>
                <a:lnTo>
                  <a:pt x="324" y="348"/>
                </a:lnTo>
                <a:lnTo>
                  <a:pt x="324" y="348"/>
                </a:lnTo>
                <a:lnTo>
                  <a:pt x="322" y="352"/>
                </a:lnTo>
                <a:lnTo>
                  <a:pt x="320" y="356"/>
                </a:lnTo>
                <a:lnTo>
                  <a:pt x="314" y="358"/>
                </a:lnTo>
                <a:lnTo>
                  <a:pt x="308" y="360"/>
                </a:lnTo>
                <a:lnTo>
                  <a:pt x="308" y="360"/>
                </a:lnTo>
                <a:lnTo>
                  <a:pt x="304" y="360"/>
                </a:lnTo>
                <a:lnTo>
                  <a:pt x="302" y="362"/>
                </a:lnTo>
                <a:lnTo>
                  <a:pt x="300" y="366"/>
                </a:lnTo>
                <a:lnTo>
                  <a:pt x="300" y="366"/>
                </a:lnTo>
                <a:lnTo>
                  <a:pt x="288" y="366"/>
                </a:lnTo>
                <a:lnTo>
                  <a:pt x="280" y="366"/>
                </a:lnTo>
                <a:lnTo>
                  <a:pt x="272" y="364"/>
                </a:lnTo>
                <a:lnTo>
                  <a:pt x="262" y="360"/>
                </a:lnTo>
                <a:lnTo>
                  <a:pt x="262" y="360"/>
                </a:lnTo>
                <a:lnTo>
                  <a:pt x="268" y="356"/>
                </a:lnTo>
                <a:lnTo>
                  <a:pt x="268" y="356"/>
                </a:lnTo>
                <a:lnTo>
                  <a:pt x="266" y="354"/>
                </a:lnTo>
                <a:lnTo>
                  <a:pt x="266" y="354"/>
                </a:lnTo>
                <a:lnTo>
                  <a:pt x="260" y="356"/>
                </a:lnTo>
                <a:lnTo>
                  <a:pt x="256" y="358"/>
                </a:lnTo>
                <a:lnTo>
                  <a:pt x="244" y="356"/>
                </a:lnTo>
                <a:lnTo>
                  <a:pt x="244" y="356"/>
                </a:lnTo>
                <a:lnTo>
                  <a:pt x="250" y="352"/>
                </a:lnTo>
                <a:lnTo>
                  <a:pt x="250" y="352"/>
                </a:lnTo>
                <a:lnTo>
                  <a:pt x="242" y="348"/>
                </a:lnTo>
                <a:lnTo>
                  <a:pt x="242" y="348"/>
                </a:lnTo>
                <a:lnTo>
                  <a:pt x="236" y="348"/>
                </a:lnTo>
                <a:lnTo>
                  <a:pt x="236" y="348"/>
                </a:lnTo>
                <a:lnTo>
                  <a:pt x="228" y="348"/>
                </a:lnTo>
                <a:lnTo>
                  <a:pt x="220" y="346"/>
                </a:lnTo>
                <a:lnTo>
                  <a:pt x="220" y="346"/>
                </a:lnTo>
                <a:lnTo>
                  <a:pt x="214" y="346"/>
                </a:lnTo>
                <a:lnTo>
                  <a:pt x="208" y="348"/>
                </a:lnTo>
                <a:lnTo>
                  <a:pt x="208" y="348"/>
                </a:lnTo>
                <a:lnTo>
                  <a:pt x="202" y="348"/>
                </a:lnTo>
                <a:lnTo>
                  <a:pt x="202" y="348"/>
                </a:lnTo>
                <a:lnTo>
                  <a:pt x="194" y="350"/>
                </a:lnTo>
                <a:lnTo>
                  <a:pt x="194" y="350"/>
                </a:lnTo>
                <a:lnTo>
                  <a:pt x="196" y="352"/>
                </a:lnTo>
                <a:lnTo>
                  <a:pt x="200" y="352"/>
                </a:lnTo>
                <a:lnTo>
                  <a:pt x="200" y="354"/>
                </a:lnTo>
                <a:lnTo>
                  <a:pt x="200" y="356"/>
                </a:lnTo>
                <a:lnTo>
                  <a:pt x="200" y="356"/>
                </a:lnTo>
                <a:lnTo>
                  <a:pt x="194" y="358"/>
                </a:lnTo>
                <a:lnTo>
                  <a:pt x="194" y="358"/>
                </a:lnTo>
                <a:lnTo>
                  <a:pt x="184" y="354"/>
                </a:lnTo>
                <a:lnTo>
                  <a:pt x="184" y="354"/>
                </a:lnTo>
                <a:lnTo>
                  <a:pt x="178" y="358"/>
                </a:lnTo>
                <a:lnTo>
                  <a:pt x="172" y="360"/>
                </a:lnTo>
                <a:lnTo>
                  <a:pt x="172" y="360"/>
                </a:lnTo>
                <a:lnTo>
                  <a:pt x="166" y="360"/>
                </a:lnTo>
                <a:lnTo>
                  <a:pt x="160" y="362"/>
                </a:lnTo>
                <a:lnTo>
                  <a:pt x="154" y="364"/>
                </a:lnTo>
                <a:lnTo>
                  <a:pt x="148" y="366"/>
                </a:lnTo>
                <a:lnTo>
                  <a:pt x="148" y="366"/>
                </a:lnTo>
                <a:lnTo>
                  <a:pt x="144" y="370"/>
                </a:lnTo>
                <a:lnTo>
                  <a:pt x="138" y="374"/>
                </a:lnTo>
                <a:lnTo>
                  <a:pt x="132" y="376"/>
                </a:lnTo>
                <a:lnTo>
                  <a:pt x="126" y="380"/>
                </a:lnTo>
                <a:lnTo>
                  <a:pt x="126" y="380"/>
                </a:lnTo>
                <a:lnTo>
                  <a:pt x="122" y="382"/>
                </a:lnTo>
                <a:lnTo>
                  <a:pt x="116" y="382"/>
                </a:lnTo>
                <a:lnTo>
                  <a:pt x="116" y="382"/>
                </a:lnTo>
                <a:lnTo>
                  <a:pt x="114" y="380"/>
                </a:lnTo>
                <a:lnTo>
                  <a:pt x="114" y="378"/>
                </a:lnTo>
                <a:lnTo>
                  <a:pt x="116" y="376"/>
                </a:lnTo>
                <a:lnTo>
                  <a:pt x="116" y="376"/>
                </a:lnTo>
                <a:lnTo>
                  <a:pt x="114" y="374"/>
                </a:lnTo>
                <a:lnTo>
                  <a:pt x="114" y="374"/>
                </a:lnTo>
                <a:lnTo>
                  <a:pt x="110" y="374"/>
                </a:lnTo>
                <a:lnTo>
                  <a:pt x="108" y="376"/>
                </a:lnTo>
                <a:lnTo>
                  <a:pt x="104" y="380"/>
                </a:lnTo>
                <a:lnTo>
                  <a:pt x="104" y="380"/>
                </a:lnTo>
                <a:lnTo>
                  <a:pt x="98" y="384"/>
                </a:lnTo>
                <a:lnTo>
                  <a:pt x="90" y="386"/>
                </a:lnTo>
                <a:lnTo>
                  <a:pt x="90" y="386"/>
                </a:lnTo>
                <a:lnTo>
                  <a:pt x="78" y="388"/>
                </a:lnTo>
                <a:lnTo>
                  <a:pt x="72" y="390"/>
                </a:lnTo>
                <a:lnTo>
                  <a:pt x="66" y="394"/>
                </a:lnTo>
                <a:lnTo>
                  <a:pt x="66" y="394"/>
                </a:lnTo>
                <a:lnTo>
                  <a:pt x="62" y="396"/>
                </a:lnTo>
                <a:lnTo>
                  <a:pt x="62" y="396"/>
                </a:lnTo>
                <a:lnTo>
                  <a:pt x="38" y="410"/>
                </a:lnTo>
                <a:lnTo>
                  <a:pt x="38" y="410"/>
                </a:lnTo>
                <a:lnTo>
                  <a:pt x="32" y="412"/>
                </a:lnTo>
                <a:lnTo>
                  <a:pt x="30" y="414"/>
                </a:lnTo>
                <a:lnTo>
                  <a:pt x="30" y="414"/>
                </a:lnTo>
                <a:lnTo>
                  <a:pt x="28" y="420"/>
                </a:lnTo>
                <a:lnTo>
                  <a:pt x="24" y="422"/>
                </a:lnTo>
                <a:lnTo>
                  <a:pt x="18" y="430"/>
                </a:lnTo>
                <a:lnTo>
                  <a:pt x="18" y="430"/>
                </a:lnTo>
                <a:lnTo>
                  <a:pt x="24" y="432"/>
                </a:lnTo>
                <a:lnTo>
                  <a:pt x="28" y="432"/>
                </a:lnTo>
                <a:lnTo>
                  <a:pt x="28" y="432"/>
                </a:lnTo>
                <a:lnTo>
                  <a:pt x="34" y="436"/>
                </a:lnTo>
                <a:lnTo>
                  <a:pt x="42" y="438"/>
                </a:lnTo>
                <a:lnTo>
                  <a:pt x="42" y="438"/>
                </a:lnTo>
                <a:lnTo>
                  <a:pt x="46" y="438"/>
                </a:lnTo>
                <a:lnTo>
                  <a:pt x="48" y="440"/>
                </a:lnTo>
                <a:lnTo>
                  <a:pt x="48" y="442"/>
                </a:lnTo>
                <a:lnTo>
                  <a:pt x="44" y="446"/>
                </a:lnTo>
                <a:lnTo>
                  <a:pt x="44" y="446"/>
                </a:lnTo>
                <a:lnTo>
                  <a:pt x="42" y="450"/>
                </a:lnTo>
                <a:lnTo>
                  <a:pt x="42" y="450"/>
                </a:lnTo>
                <a:lnTo>
                  <a:pt x="42" y="458"/>
                </a:lnTo>
                <a:lnTo>
                  <a:pt x="42" y="460"/>
                </a:lnTo>
                <a:lnTo>
                  <a:pt x="38" y="464"/>
                </a:lnTo>
                <a:lnTo>
                  <a:pt x="38" y="464"/>
                </a:lnTo>
                <a:lnTo>
                  <a:pt x="38" y="468"/>
                </a:lnTo>
                <a:lnTo>
                  <a:pt x="40" y="472"/>
                </a:lnTo>
                <a:lnTo>
                  <a:pt x="40" y="472"/>
                </a:lnTo>
                <a:lnTo>
                  <a:pt x="40" y="476"/>
                </a:lnTo>
                <a:lnTo>
                  <a:pt x="36" y="488"/>
                </a:lnTo>
                <a:lnTo>
                  <a:pt x="22" y="522"/>
                </a:lnTo>
                <a:lnTo>
                  <a:pt x="0" y="574"/>
                </a:lnTo>
                <a:lnTo>
                  <a:pt x="0" y="574"/>
                </a:lnTo>
                <a:lnTo>
                  <a:pt x="0" y="578"/>
                </a:lnTo>
                <a:lnTo>
                  <a:pt x="0" y="584"/>
                </a:lnTo>
                <a:lnTo>
                  <a:pt x="4" y="594"/>
                </a:lnTo>
                <a:lnTo>
                  <a:pt x="4" y="594"/>
                </a:lnTo>
                <a:lnTo>
                  <a:pt x="6" y="598"/>
                </a:lnTo>
                <a:lnTo>
                  <a:pt x="10" y="602"/>
                </a:lnTo>
                <a:lnTo>
                  <a:pt x="10" y="602"/>
                </a:lnTo>
                <a:lnTo>
                  <a:pt x="16" y="606"/>
                </a:lnTo>
                <a:lnTo>
                  <a:pt x="16" y="610"/>
                </a:lnTo>
                <a:lnTo>
                  <a:pt x="16" y="614"/>
                </a:lnTo>
                <a:lnTo>
                  <a:pt x="16" y="614"/>
                </a:lnTo>
                <a:lnTo>
                  <a:pt x="10" y="618"/>
                </a:lnTo>
                <a:lnTo>
                  <a:pt x="10" y="618"/>
                </a:lnTo>
                <a:lnTo>
                  <a:pt x="6" y="622"/>
                </a:lnTo>
                <a:lnTo>
                  <a:pt x="6" y="624"/>
                </a:lnTo>
                <a:lnTo>
                  <a:pt x="10" y="626"/>
                </a:lnTo>
                <a:lnTo>
                  <a:pt x="10" y="626"/>
                </a:lnTo>
                <a:lnTo>
                  <a:pt x="14" y="628"/>
                </a:lnTo>
                <a:lnTo>
                  <a:pt x="14" y="628"/>
                </a:lnTo>
                <a:lnTo>
                  <a:pt x="12" y="658"/>
                </a:lnTo>
                <a:lnTo>
                  <a:pt x="10" y="718"/>
                </a:lnTo>
                <a:lnTo>
                  <a:pt x="10" y="778"/>
                </a:lnTo>
                <a:lnTo>
                  <a:pt x="8" y="806"/>
                </a:lnTo>
                <a:lnTo>
                  <a:pt x="8" y="806"/>
                </a:lnTo>
                <a:lnTo>
                  <a:pt x="20" y="808"/>
                </a:lnTo>
                <a:lnTo>
                  <a:pt x="28" y="814"/>
                </a:lnTo>
                <a:lnTo>
                  <a:pt x="28" y="814"/>
                </a:lnTo>
                <a:lnTo>
                  <a:pt x="34" y="818"/>
                </a:lnTo>
                <a:lnTo>
                  <a:pt x="42" y="816"/>
                </a:lnTo>
                <a:lnTo>
                  <a:pt x="42" y="816"/>
                </a:lnTo>
                <a:lnTo>
                  <a:pt x="52" y="816"/>
                </a:lnTo>
                <a:lnTo>
                  <a:pt x="52" y="816"/>
                </a:lnTo>
                <a:lnTo>
                  <a:pt x="52" y="818"/>
                </a:lnTo>
                <a:lnTo>
                  <a:pt x="52" y="818"/>
                </a:lnTo>
                <a:lnTo>
                  <a:pt x="40" y="820"/>
                </a:lnTo>
                <a:lnTo>
                  <a:pt x="40" y="820"/>
                </a:lnTo>
                <a:lnTo>
                  <a:pt x="34" y="822"/>
                </a:lnTo>
                <a:lnTo>
                  <a:pt x="32" y="828"/>
                </a:lnTo>
                <a:lnTo>
                  <a:pt x="32" y="828"/>
                </a:lnTo>
                <a:lnTo>
                  <a:pt x="32" y="834"/>
                </a:lnTo>
                <a:lnTo>
                  <a:pt x="32" y="834"/>
                </a:lnTo>
                <a:lnTo>
                  <a:pt x="6" y="838"/>
                </a:lnTo>
                <a:lnTo>
                  <a:pt x="6" y="838"/>
                </a:lnTo>
                <a:lnTo>
                  <a:pt x="20" y="842"/>
                </a:lnTo>
                <a:lnTo>
                  <a:pt x="20" y="842"/>
                </a:lnTo>
                <a:lnTo>
                  <a:pt x="10" y="846"/>
                </a:lnTo>
                <a:lnTo>
                  <a:pt x="10" y="846"/>
                </a:lnTo>
                <a:lnTo>
                  <a:pt x="34" y="856"/>
                </a:lnTo>
                <a:lnTo>
                  <a:pt x="34" y="856"/>
                </a:lnTo>
                <a:lnTo>
                  <a:pt x="20" y="858"/>
                </a:lnTo>
                <a:lnTo>
                  <a:pt x="20" y="858"/>
                </a:lnTo>
                <a:lnTo>
                  <a:pt x="22" y="862"/>
                </a:lnTo>
                <a:lnTo>
                  <a:pt x="26" y="862"/>
                </a:lnTo>
                <a:lnTo>
                  <a:pt x="32" y="862"/>
                </a:lnTo>
                <a:lnTo>
                  <a:pt x="32" y="862"/>
                </a:lnTo>
                <a:lnTo>
                  <a:pt x="48" y="862"/>
                </a:lnTo>
                <a:lnTo>
                  <a:pt x="48" y="862"/>
                </a:lnTo>
                <a:lnTo>
                  <a:pt x="44" y="868"/>
                </a:lnTo>
                <a:lnTo>
                  <a:pt x="44" y="868"/>
                </a:lnTo>
                <a:lnTo>
                  <a:pt x="38" y="868"/>
                </a:lnTo>
                <a:lnTo>
                  <a:pt x="38" y="868"/>
                </a:lnTo>
                <a:lnTo>
                  <a:pt x="32" y="868"/>
                </a:lnTo>
                <a:lnTo>
                  <a:pt x="28" y="870"/>
                </a:lnTo>
                <a:lnTo>
                  <a:pt x="26" y="872"/>
                </a:lnTo>
                <a:lnTo>
                  <a:pt x="26" y="872"/>
                </a:lnTo>
                <a:lnTo>
                  <a:pt x="26" y="874"/>
                </a:lnTo>
                <a:lnTo>
                  <a:pt x="28" y="876"/>
                </a:lnTo>
                <a:lnTo>
                  <a:pt x="34" y="878"/>
                </a:lnTo>
                <a:lnTo>
                  <a:pt x="34" y="878"/>
                </a:lnTo>
                <a:lnTo>
                  <a:pt x="52" y="880"/>
                </a:lnTo>
                <a:lnTo>
                  <a:pt x="52" y="880"/>
                </a:lnTo>
                <a:lnTo>
                  <a:pt x="50" y="882"/>
                </a:lnTo>
                <a:lnTo>
                  <a:pt x="50" y="882"/>
                </a:lnTo>
                <a:lnTo>
                  <a:pt x="46" y="882"/>
                </a:lnTo>
                <a:lnTo>
                  <a:pt x="46" y="882"/>
                </a:lnTo>
                <a:lnTo>
                  <a:pt x="56" y="884"/>
                </a:lnTo>
                <a:lnTo>
                  <a:pt x="60" y="888"/>
                </a:lnTo>
                <a:lnTo>
                  <a:pt x="60" y="888"/>
                </a:lnTo>
                <a:lnTo>
                  <a:pt x="44" y="896"/>
                </a:lnTo>
                <a:lnTo>
                  <a:pt x="44" y="896"/>
                </a:lnTo>
                <a:lnTo>
                  <a:pt x="58" y="894"/>
                </a:lnTo>
                <a:lnTo>
                  <a:pt x="64" y="896"/>
                </a:lnTo>
                <a:lnTo>
                  <a:pt x="70" y="898"/>
                </a:lnTo>
                <a:lnTo>
                  <a:pt x="70" y="898"/>
                </a:lnTo>
                <a:lnTo>
                  <a:pt x="64" y="900"/>
                </a:lnTo>
                <a:lnTo>
                  <a:pt x="64" y="900"/>
                </a:lnTo>
                <a:lnTo>
                  <a:pt x="64" y="904"/>
                </a:lnTo>
                <a:lnTo>
                  <a:pt x="62" y="906"/>
                </a:lnTo>
                <a:lnTo>
                  <a:pt x="58" y="908"/>
                </a:lnTo>
                <a:lnTo>
                  <a:pt x="58" y="908"/>
                </a:lnTo>
                <a:lnTo>
                  <a:pt x="54" y="914"/>
                </a:lnTo>
                <a:lnTo>
                  <a:pt x="52" y="916"/>
                </a:lnTo>
                <a:lnTo>
                  <a:pt x="52" y="918"/>
                </a:lnTo>
                <a:lnTo>
                  <a:pt x="52" y="918"/>
                </a:lnTo>
                <a:lnTo>
                  <a:pt x="76" y="922"/>
                </a:lnTo>
                <a:lnTo>
                  <a:pt x="76" y="922"/>
                </a:lnTo>
                <a:lnTo>
                  <a:pt x="78" y="932"/>
                </a:lnTo>
                <a:lnTo>
                  <a:pt x="78" y="932"/>
                </a:lnTo>
                <a:lnTo>
                  <a:pt x="100" y="936"/>
                </a:lnTo>
                <a:lnTo>
                  <a:pt x="100" y="936"/>
                </a:lnTo>
                <a:lnTo>
                  <a:pt x="92" y="940"/>
                </a:lnTo>
                <a:lnTo>
                  <a:pt x="92" y="940"/>
                </a:lnTo>
                <a:lnTo>
                  <a:pt x="96" y="948"/>
                </a:lnTo>
                <a:lnTo>
                  <a:pt x="96" y="948"/>
                </a:lnTo>
                <a:lnTo>
                  <a:pt x="86" y="946"/>
                </a:lnTo>
                <a:lnTo>
                  <a:pt x="86" y="946"/>
                </a:lnTo>
                <a:lnTo>
                  <a:pt x="84" y="948"/>
                </a:lnTo>
                <a:lnTo>
                  <a:pt x="84" y="948"/>
                </a:lnTo>
                <a:lnTo>
                  <a:pt x="94" y="956"/>
                </a:lnTo>
                <a:lnTo>
                  <a:pt x="100" y="960"/>
                </a:lnTo>
                <a:lnTo>
                  <a:pt x="108" y="962"/>
                </a:lnTo>
                <a:lnTo>
                  <a:pt x="108" y="962"/>
                </a:lnTo>
                <a:lnTo>
                  <a:pt x="112" y="964"/>
                </a:lnTo>
                <a:lnTo>
                  <a:pt x="116" y="968"/>
                </a:lnTo>
                <a:lnTo>
                  <a:pt x="116" y="968"/>
                </a:lnTo>
                <a:lnTo>
                  <a:pt x="120" y="972"/>
                </a:lnTo>
                <a:lnTo>
                  <a:pt x="124" y="974"/>
                </a:lnTo>
                <a:lnTo>
                  <a:pt x="130" y="974"/>
                </a:lnTo>
                <a:lnTo>
                  <a:pt x="130" y="974"/>
                </a:lnTo>
                <a:lnTo>
                  <a:pt x="136" y="976"/>
                </a:lnTo>
                <a:lnTo>
                  <a:pt x="142" y="978"/>
                </a:lnTo>
                <a:lnTo>
                  <a:pt x="142" y="978"/>
                </a:lnTo>
                <a:lnTo>
                  <a:pt x="148" y="980"/>
                </a:lnTo>
                <a:lnTo>
                  <a:pt x="156" y="982"/>
                </a:lnTo>
                <a:lnTo>
                  <a:pt x="170" y="980"/>
                </a:lnTo>
                <a:lnTo>
                  <a:pt x="170" y="980"/>
                </a:lnTo>
                <a:lnTo>
                  <a:pt x="182" y="978"/>
                </a:lnTo>
                <a:lnTo>
                  <a:pt x="188" y="980"/>
                </a:lnTo>
                <a:lnTo>
                  <a:pt x="196" y="982"/>
                </a:lnTo>
                <a:lnTo>
                  <a:pt x="196" y="982"/>
                </a:lnTo>
                <a:lnTo>
                  <a:pt x="192" y="990"/>
                </a:lnTo>
                <a:lnTo>
                  <a:pt x="192" y="990"/>
                </a:lnTo>
                <a:lnTo>
                  <a:pt x="204" y="994"/>
                </a:lnTo>
                <a:lnTo>
                  <a:pt x="204" y="994"/>
                </a:lnTo>
                <a:lnTo>
                  <a:pt x="228" y="986"/>
                </a:lnTo>
                <a:lnTo>
                  <a:pt x="228" y="986"/>
                </a:lnTo>
                <a:lnTo>
                  <a:pt x="222" y="982"/>
                </a:lnTo>
                <a:lnTo>
                  <a:pt x="222" y="982"/>
                </a:lnTo>
                <a:lnTo>
                  <a:pt x="236" y="980"/>
                </a:lnTo>
                <a:lnTo>
                  <a:pt x="236" y="980"/>
                </a:lnTo>
                <a:lnTo>
                  <a:pt x="236" y="978"/>
                </a:lnTo>
                <a:lnTo>
                  <a:pt x="236" y="978"/>
                </a:lnTo>
                <a:lnTo>
                  <a:pt x="222" y="974"/>
                </a:lnTo>
                <a:lnTo>
                  <a:pt x="222" y="974"/>
                </a:lnTo>
                <a:lnTo>
                  <a:pt x="236" y="968"/>
                </a:lnTo>
                <a:lnTo>
                  <a:pt x="236" y="968"/>
                </a:lnTo>
                <a:lnTo>
                  <a:pt x="236" y="964"/>
                </a:lnTo>
                <a:lnTo>
                  <a:pt x="240" y="960"/>
                </a:lnTo>
                <a:lnTo>
                  <a:pt x="240" y="960"/>
                </a:lnTo>
                <a:lnTo>
                  <a:pt x="236" y="956"/>
                </a:lnTo>
                <a:lnTo>
                  <a:pt x="236" y="956"/>
                </a:lnTo>
                <a:lnTo>
                  <a:pt x="256" y="956"/>
                </a:lnTo>
                <a:lnTo>
                  <a:pt x="266" y="956"/>
                </a:lnTo>
                <a:lnTo>
                  <a:pt x="274" y="952"/>
                </a:lnTo>
                <a:lnTo>
                  <a:pt x="274" y="952"/>
                </a:lnTo>
                <a:lnTo>
                  <a:pt x="278" y="952"/>
                </a:lnTo>
                <a:lnTo>
                  <a:pt x="282" y="956"/>
                </a:lnTo>
                <a:lnTo>
                  <a:pt x="282" y="956"/>
                </a:lnTo>
                <a:lnTo>
                  <a:pt x="286" y="956"/>
                </a:lnTo>
                <a:lnTo>
                  <a:pt x="286" y="956"/>
                </a:lnTo>
                <a:lnTo>
                  <a:pt x="288" y="950"/>
                </a:lnTo>
                <a:lnTo>
                  <a:pt x="288" y="950"/>
                </a:lnTo>
                <a:lnTo>
                  <a:pt x="308" y="956"/>
                </a:lnTo>
                <a:lnTo>
                  <a:pt x="308" y="956"/>
                </a:lnTo>
                <a:lnTo>
                  <a:pt x="306" y="958"/>
                </a:lnTo>
                <a:lnTo>
                  <a:pt x="306" y="958"/>
                </a:lnTo>
                <a:lnTo>
                  <a:pt x="302" y="962"/>
                </a:lnTo>
                <a:lnTo>
                  <a:pt x="300" y="966"/>
                </a:lnTo>
                <a:lnTo>
                  <a:pt x="300" y="968"/>
                </a:lnTo>
                <a:lnTo>
                  <a:pt x="300" y="972"/>
                </a:lnTo>
                <a:lnTo>
                  <a:pt x="300" y="972"/>
                </a:lnTo>
                <a:lnTo>
                  <a:pt x="322" y="978"/>
                </a:lnTo>
                <a:lnTo>
                  <a:pt x="322" y="978"/>
                </a:lnTo>
                <a:lnTo>
                  <a:pt x="332" y="978"/>
                </a:lnTo>
                <a:lnTo>
                  <a:pt x="338" y="976"/>
                </a:lnTo>
                <a:lnTo>
                  <a:pt x="342" y="974"/>
                </a:lnTo>
                <a:lnTo>
                  <a:pt x="342" y="974"/>
                </a:lnTo>
                <a:lnTo>
                  <a:pt x="346" y="972"/>
                </a:lnTo>
                <a:lnTo>
                  <a:pt x="350" y="974"/>
                </a:lnTo>
                <a:lnTo>
                  <a:pt x="350" y="974"/>
                </a:lnTo>
                <a:lnTo>
                  <a:pt x="360" y="980"/>
                </a:lnTo>
                <a:lnTo>
                  <a:pt x="360" y="980"/>
                </a:lnTo>
                <a:lnTo>
                  <a:pt x="350" y="984"/>
                </a:lnTo>
                <a:lnTo>
                  <a:pt x="350" y="984"/>
                </a:lnTo>
                <a:lnTo>
                  <a:pt x="346" y="980"/>
                </a:lnTo>
                <a:lnTo>
                  <a:pt x="346" y="980"/>
                </a:lnTo>
                <a:lnTo>
                  <a:pt x="342" y="980"/>
                </a:lnTo>
                <a:lnTo>
                  <a:pt x="340" y="982"/>
                </a:lnTo>
                <a:lnTo>
                  <a:pt x="340" y="982"/>
                </a:lnTo>
                <a:lnTo>
                  <a:pt x="334" y="990"/>
                </a:lnTo>
                <a:lnTo>
                  <a:pt x="334" y="990"/>
                </a:lnTo>
                <a:lnTo>
                  <a:pt x="336" y="992"/>
                </a:lnTo>
                <a:lnTo>
                  <a:pt x="338" y="994"/>
                </a:lnTo>
                <a:lnTo>
                  <a:pt x="338" y="994"/>
                </a:lnTo>
                <a:lnTo>
                  <a:pt x="356" y="1002"/>
                </a:lnTo>
                <a:lnTo>
                  <a:pt x="356" y="1002"/>
                </a:lnTo>
                <a:lnTo>
                  <a:pt x="356" y="1006"/>
                </a:lnTo>
                <a:lnTo>
                  <a:pt x="358" y="1010"/>
                </a:lnTo>
                <a:lnTo>
                  <a:pt x="362" y="1010"/>
                </a:lnTo>
                <a:lnTo>
                  <a:pt x="370" y="1012"/>
                </a:lnTo>
                <a:lnTo>
                  <a:pt x="370" y="1012"/>
                </a:lnTo>
                <a:lnTo>
                  <a:pt x="376" y="1012"/>
                </a:lnTo>
                <a:lnTo>
                  <a:pt x="376" y="1012"/>
                </a:lnTo>
                <a:lnTo>
                  <a:pt x="382" y="1014"/>
                </a:lnTo>
                <a:lnTo>
                  <a:pt x="382" y="1014"/>
                </a:lnTo>
                <a:lnTo>
                  <a:pt x="382" y="1018"/>
                </a:lnTo>
                <a:lnTo>
                  <a:pt x="382" y="1018"/>
                </a:lnTo>
                <a:lnTo>
                  <a:pt x="370" y="1020"/>
                </a:lnTo>
                <a:lnTo>
                  <a:pt x="370" y="1020"/>
                </a:lnTo>
                <a:lnTo>
                  <a:pt x="384" y="1022"/>
                </a:lnTo>
                <a:lnTo>
                  <a:pt x="390" y="1024"/>
                </a:lnTo>
                <a:lnTo>
                  <a:pt x="392" y="1028"/>
                </a:lnTo>
                <a:lnTo>
                  <a:pt x="392" y="1028"/>
                </a:lnTo>
                <a:lnTo>
                  <a:pt x="402" y="1026"/>
                </a:lnTo>
                <a:lnTo>
                  <a:pt x="406" y="1028"/>
                </a:lnTo>
                <a:lnTo>
                  <a:pt x="408" y="1030"/>
                </a:lnTo>
                <a:lnTo>
                  <a:pt x="408" y="1030"/>
                </a:lnTo>
                <a:lnTo>
                  <a:pt x="404" y="1034"/>
                </a:lnTo>
                <a:lnTo>
                  <a:pt x="400" y="1038"/>
                </a:lnTo>
                <a:lnTo>
                  <a:pt x="400" y="1038"/>
                </a:lnTo>
                <a:lnTo>
                  <a:pt x="412" y="1040"/>
                </a:lnTo>
                <a:lnTo>
                  <a:pt x="412" y="1040"/>
                </a:lnTo>
                <a:lnTo>
                  <a:pt x="420" y="1040"/>
                </a:lnTo>
                <a:lnTo>
                  <a:pt x="420" y="1040"/>
                </a:lnTo>
                <a:lnTo>
                  <a:pt x="424" y="1040"/>
                </a:lnTo>
                <a:lnTo>
                  <a:pt x="426" y="1036"/>
                </a:lnTo>
                <a:lnTo>
                  <a:pt x="432" y="1022"/>
                </a:lnTo>
                <a:lnTo>
                  <a:pt x="440" y="984"/>
                </a:lnTo>
                <a:lnTo>
                  <a:pt x="440" y="984"/>
                </a:lnTo>
                <a:lnTo>
                  <a:pt x="448" y="980"/>
                </a:lnTo>
                <a:lnTo>
                  <a:pt x="448" y="980"/>
                </a:lnTo>
                <a:lnTo>
                  <a:pt x="456" y="980"/>
                </a:lnTo>
                <a:lnTo>
                  <a:pt x="462" y="980"/>
                </a:lnTo>
                <a:lnTo>
                  <a:pt x="478" y="982"/>
                </a:lnTo>
                <a:lnTo>
                  <a:pt x="478" y="982"/>
                </a:lnTo>
                <a:lnTo>
                  <a:pt x="480" y="984"/>
                </a:lnTo>
                <a:lnTo>
                  <a:pt x="482" y="986"/>
                </a:lnTo>
                <a:lnTo>
                  <a:pt x="480" y="990"/>
                </a:lnTo>
                <a:lnTo>
                  <a:pt x="480" y="990"/>
                </a:lnTo>
                <a:lnTo>
                  <a:pt x="474" y="992"/>
                </a:lnTo>
                <a:lnTo>
                  <a:pt x="474" y="992"/>
                </a:lnTo>
                <a:lnTo>
                  <a:pt x="482" y="998"/>
                </a:lnTo>
                <a:lnTo>
                  <a:pt x="482" y="998"/>
                </a:lnTo>
                <a:lnTo>
                  <a:pt x="494" y="990"/>
                </a:lnTo>
                <a:lnTo>
                  <a:pt x="502" y="988"/>
                </a:lnTo>
                <a:lnTo>
                  <a:pt x="512" y="986"/>
                </a:lnTo>
                <a:lnTo>
                  <a:pt x="524" y="984"/>
                </a:lnTo>
                <a:lnTo>
                  <a:pt x="524" y="984"/>
                </a:lnTo>
                <a:lnTo>
                  <a:pt x="524" y="990"/>
                </a:lnTo>
                <a:lnTo>
                  <a:pt x="518" y="992"/>
                </a:lnTo>
                <a:lnTo>
                  <a:pt x="518" y="992"/>
                </a:lnTo>
                <a:lnTo>
                  <a:pt x="502" y="994"/>
                </a:lnTo>
                <a:lnTo>
                  <a:pt x="502" y="994"/>
                </a:lnTo>
                <a:lnTo>
                  <a:pt x="514" y="1004"/>
                </a:lnTo>
                <a:lnTo>
                  <a:pt x="514" y="1004"/>
                </a:lnTo>
                <a:lnTo>
                  <a:pt x="506" y="1010"/>
                </a:lnTo>
                <a:lnTo>
                  <a:pt x="506" y="1010"/>
                </a:lnTo>
                <a:lnTo>
                  <a:pt x="516" y="1014"/>
                </a:lnTo>
                <a:lnTo>
                  <a:pt x="516" y="1014"/>
                </a:lnTo>
                <a:lnTo>
                  <a:pt x="522" y="1014"/>
                </a:lnTo>
                <a:lnTo>
                  <a:pt x="526" y="1016"/>
                </a:lnTo>
                <a:lnTo>
                  <a:pt x="528" y="1018"/>
                </a:lnTo>
                <a:lnTo>
                  <a:pt x="528" y="1018"/>
                </a:lnTo>
                <a:lnTo>
                  <a:pt x="518" y="1022"/>
                </a:lnTo>
                <a:lnTo>
                  <a:pt x="518" y="1022"/>
                </a:lnTo>
                <a:lnTo>
                  <a:pt x="512" y="1024"/>
                </a:lnTo>
                <a:lnTo>
                  <a:pt x="508" y="1024"/>
                </a:lnTo>
                <a:lnTo>
                  <a:pt x="504" y="1024"/>
                </a:lnTo>
                <a:lnTo>
                  <a:pt x="496" y="1022"/>
                </a:lnTo>
                <a:lnTo>
                  <a:pt x="496" y="1022"/>
                </a:lnTo>
                <a:lnTo>
                  <a:pt x="484" y="1026"/>
                </a:lnTo>
                <a:lnTo>
                  <a:pt x="484" y="1026"/>
                </a:lnTo>
                <a:lnTo>
                  <a:pt x="480" y="1024"/>
                </a:lnTo>
                <a:lnTo>
                  <a:pt x="476" y="1024"/>
                </a:lnTo>
                <a:lnTo>
                  <a:pt x="470" y="1024"/>
                </a:lnTo>
                <a:lnTo>
                  <a:pt x="466" y="1026"/>
                </a:lnTo>
                <a:lnTo>
                  <a:pt x="466" y="1026"/>
                </a:lnTo>
                <a:lnTo>
                  <a:pt x="456" y="1022"/>
                </a:lnTo>
                <a:lnTo>
                  <a:pt x="452" y="1024"/>
                </a:lnTo>
                <a:lnTo>
                  <a:pt x="450" y="1026"/>
                </a:lnTo>
                <a:lnTo>
                  <a:pt x="450" y="1026"/>
                </a:lnTo>
                <a:lnTo>
                  <a:pt x="454" y="1030"/>
                </a:lnTo>
                <a:lnTo>
                  <a:pt x="454" y="1030"/>
                </a:lnTo>
                <a:lnTo>
                  <a:pt x="452" y="1034"/>
                </a:lnTo>
                <a:lnTo>
                  <a:pt x="452" y="1034"/>
                </a:lnTo>
                <a:lnTo>
                  <a:pt x="464" y="1036"/>
                </a:lnTo>
                <a:lnTo>
                  <a:pt x="470" y="1038"/>
                </a:lnTo>
                <a:lnTo>
                  <a:pt x="470" y="1038"/>
                </a:lnTo>
                <a:lnTo>
                  <a:pt x="466" y="1040"/>
                </a:lnTo>
                <a:lnTo>
                  <a:pt x="460" y="1042"/>
                </a:lnTo>
                <a:lnTo>
                  <a:pt x="454" y="1044"/>
                </a:lnTo>
                <a:lnTo>
                  <a:pt x="450" y="1048"/>
                </a:lnTo>
                <a:lnTo>
                  <a:pt x="450" y="1048"/>
                </a:lnTo>
                <a:lnTo>
                  <a:pt x="458" y="1046"/>
                </a:lnTo>
                <a:lnTo>
                  <a:pt x="464" y="1044"/>
                </a:lnTo>
                <a:lnTo>
                  <a:pt x="464" y="1044"/>
                </a:lnTo>
                <a:lnTo>
                  <a:pt x="472" y="1046"/>
                </a:lnTo>
                <a:lnTo>
                  <a:pt x="480" y="1046"/>
                </a:lnTo>
                <a:lnTo>
                  <a:pt x="492" y="1040"/>
                </a:lnTo>
                <a:lnTo>
                  <a:pt x="492" y="1040"/>
                </a:lnTo>
                <a:lnTo>
                  <a:pt x="490" y="1036"/>
                </a:lnTo>
                <a:lnTo>
                  <a:pt x="492" y="1032"/>
                </a:lnTo>
                <a:lnTo>
                  <a:pt x="492" y="1032"/>
                </a:lnTo>
                <a:lnTo>
                  <a:pt x="496" y="1034"/>
                </a:lnTo>
                <a:lnTo>
                  <a:pt x="498" y="1036"/>
                </a:lnTo>
                <a:lnTo>
                  <a:pt x="498" y="1036"/>
                </a:lnTo>
                <a:lnTo>
                  <a:pt x="504" y="1038"/>
                </a:lnTo>
                <a:lnTo>
                  <a:pt x="510" y="1038"/>
                </a:lnTo>
                <a:lnTo>
                  <a:pt x="510" y="1038"/>
                </a:lnTo>
                <a:lnTo>
                  <a:pt x="510" y="1042"/>
                </a:lnTo>
                <a:lnTo>
                  <a:pt x="510" y="1042"/>
                </a:lnTo>
                <a:lnTo>
                  <a:pt x="516" y="1040"/>
                </a:lnTo>
                <a:lnTo>
                  <a:pt x="520" y="1038"/>
                </a:lnTo>
                <a:lnTo>
                  <a:pt x="520" y="1038"/>
                </a:lnTo>
                <a:lnTo>
                  <a:pt x="522" y="1034"/>
                </a:lnTo>
                <a:lnTo>
                  <a:pt x="526" y="1032"/>
                </a:lnTo>
                <a:lnTo>
                  <a:pt x="534" y="1032"/>
                </a:lnTo>
                <a:lnTo>
                  <a:pt x="534" y="1032"/>
                </a:lnTo>
                <a:lnTo>
                  <a:pt x="544" y="1032"/>
                </a:lnTo>
                <a:lnTo>
                  <a:pt x="544" y="1032"/>
                </a:lnTo>
                <a:lnTo>
                  <a:pt x="542" y="1028"/>
                </a:lnTo>
                <a:lnTo>
                  <a:pt x="540" y="1026"/>
                </a:lnTo>
                <a:lnTo>
                  <a:pt x="530" y="1024"/>
                </a:lnTo>
                <a:lnTo>
                  <a:pt x="530" y="1024"/>
                </a:lnTo>
                <a:lnTo>
                  <a:pt x="542" y="1016"/>
                </a:lnTo>
                <a:lnTo>
                  <a:pt x="542" y="1016"/>
                </a:lnTo>
                <a:lnTo>
                  <a:pt x="554" y="1026"/>
                </a:lnTo>
                <a:lnTo>
                  <a:pt x="554" y="1026"/>
                </a:lnTo>
                <a:lnTo>
                  <a:pt x="558" y="1016"/>
                </a:lnTo>
                <a:lnTo>
                  <a:pt x="558" y="1016"/>
                </a:lnTo>
                <a:lnTo>
                  <a:pt x="568" y="1020"/>
                </a:lnTo>
                <a:lnTo>
                  <a:pt x="568" y="1020"/>
                </a:lnTo>
                <a:lnTo>
                  <a:pt x="574" y="1024"/>
                </a:lnTo>
                <a:lnTo>
                  <a:pt x="580" y="1024"/>
                </a:lnTo>
                <a:lnTo>
                  <a:pt x="586" y="1022"/>
                </a:lnTo>
                <a:lnTo>
                  <a:pt x="594" y="1020"/>
                </a:lnTo>
                <a:lnTo>
                  <a:pt x="594" y="1020"/>
                </a:lnTo>
                <a:lnTo>
                  <a:pt x="592" y="1018"/>
                </a:lnTo>
                <a:lnTo>
                  <a:pt x="592" y="1018"/>
                </a:lnTo>
                <a:lnTo>
                  <a:pt x="588" y="1014"/>
                </a:lnTo>
                <a:lnTo>
                  <a:pt x="588" y="1014"/>
                </a:lnTo>
                <a:lnTo>
                  <a:pt x="600" y="1010"/>
                </a:lnTo>
                <a:lnTo>
                  <a:pt x="612" y="1010"/>
                </a:lnTo>
                <a:lnTo>
                  <a:pt x="624" y="1012"/>
                </a:lnTo>
                <a:lnTo>
                  <a:pt x="636" y="1010"/>
                </a:lnTo>
                <a:lnTo>
                  <a:pt x="636" y="1010"/>
                </a:lnTo>
                <a:lnTo>
                  <a:pt x="638" y="1008"/>
                </a:lnTo>
                <a:lnTo>
                  <a:pt x="644" y="1006"/>
                </a:lnTo>
                <a:lnTo>
                  <a:pt x="656" y="1004"/>
                </a:lnTo>
                <a:lnTo>
                  <a:pt x="656" y="1004"/>
                </a:lnTo>
                <a:lnTo>
                  <a:pt x="682" y="1006"/>
                </a:lnTo>
                <a:lnTo>
                  <a:pt x="682" y="1006"/>
                </a:lnTo>
                <a:lnTo>
                  <a:pt x="682" y="1010"/>
                </a:lnTo>
                <a:lnTo>
                  <a:pt x="684" y="1010"/>
                </a:lnTo>
                <a:lnTo>
                  <a:pt x="686" y="1012"/>
                </a:lnTo>
                <a:lnTo>
                  <a:pt x="690" y="1014"/>
                </a:lnTo>
                <a:lnTo>
                  <a:pt x="690" y="1014"/>
                </a:lnTo>
                <a:lnTo>
                  <a:pt x="682" y="1018"/>
                </a:lnTo>
                <a:lnTo>
                  <a:pt x="682" y="1018"/>
                </a:lnTo>
                <a:lnTo>
                  <a:pt x="676" y="1020"/>
                </a:lnTo>
                <a:lnTo>
                  <a:pt x="670" y="1020"/>
                </a:lnTo>
                <a:lnTo>
                  <a:pt x="670" y="1020"/>
                </a:lnTo>
                <a:lnTo>
                  <a:pt x="666" y="1018"/>
                </a:lnTo>
                <a:lnTo>
                  <a:pt x="660" y="1018"/>
                </a:lnTo>
                <a:lnTo>
                  <a:pt x="650" y="1018"/>
                </a:lnTo>
                <a:lnTo>
                  <a:pt x="650" y="1018"/>
                </a:lnTo>
                <a:lnTo>
                  <a:pt x="636" y="1022"/>
                </a:lnTo>
                <a:lnTo>
                  <a:pt x="636" y="1022"/>
                </a:lnTo>
                <a:lnTo>
                  <a:pt x="644" y="1024"/>
                </a:lnTo>
                <a:lnTo>
                  <a:pt x="650" y="1024"/>
                </a:lnTo>
                <a:lnTo>
                  <a:pt x="662" y="1022"/>
                </a:lnTo>
                <a:lnTo>
                  <a:pt x="662" y="1022"/>
                </a:lnTo>
                <a:lnTo>
                  <a:pt x="674" y="1022"/>
                </a:lnTo>
                <a:lnTo>
                  <a:pt x="674" y="1022"/>
                </a:lnTo>
                <a:lnTo>
                  <a:pt x="682" y="1026"/>
                </a:lnTo>
                <a:lnTo>
                  <a:pt x="690" y="1028"/>
                </a:lnTo>
                <a:lnTo>
                  <a:pt x="690" y="1028"/>
                </a:lnTo>
                <a:lnTo>
                  <a:pt x="696" y="1028"/>
                </a:lnTo>
                <a:lnTo>
                  <a:pt x="698" y="1030"/>
                </a:lnTo>
                <a:lnTo>
                  <a:pt x="704" y="1030"/>
                </a:lnTo>
                <a:lnTo>
                  <a:pt x="708" y="1030"/>
                </a:lnTo>
                <a:lnTo>
                  <a:pt x="708" y="1030"/>
                </a:lnTo>
                <a:lnTo>
                  <a:pt x="700" y="1036"/>
                </a:lnTo>
                <a:lnTo>
                  <a:pt x="690" y="1038"/>
                </a:lnTo>
                <a:lnTo>
                  <a:pt x="690" y="1038"/>
                </a:lnTo>
                <a:lnTo>
                  <a:pt x="686" y="1038"/>
                </a:lnTo>
                <a:lnTo>
                  <a:pt x="682" y="1040"/>
                </a:lnTo>
                <a:lnTo>
                  <a:pt x="680" y="1042"/>
                </a:lnTo>
                <a:lnTo>
                  <a:pt x="680" y="1046"/>
                </a:lnTo>
                <a:lnTo>
                  <a:pt x="680" y="1046"/>
                </a:lnTo>
                <a:lnTo>
                  <a:pt x="694" y="1046"/>
                </a:lnTo>
                <a:lnTo>
                  <a:pt x="694" y="1046"/>
                </a:lnTo>
                <a:lnTo>
                  <a:pt x="652" y="1070"/>
                </a:lnTo>
                <a:lnTo>
                  <a:pt x="652" y="1070"/>
                </a:lnTo>
                <a:lnTo>
                  <a:pt x="658" y="1070"/>
                </a:lnTo>
                <a:lnTo>
                  <a:pt x="668" y="1074"/>
                </a:lnTo>
                <a:lnTo>
                  <a:pt x="668" y="1074"/>
                </a:lnTo>
                <a:lnTo>
                  <a:pt x="712" y="1044"/>
                </a:lnTo>
                <a:lnTo>
                  <a:pt x="712" y="1044"/>
                </a:lnTo>
                <a:lnTo>
                  <a:pt x="708" y="1044"/>
                </a:lnTo>
                <a:lnTo>
                  <a:pt x="704" y="1042"/>
                </a:lnTo>
                <a:lnTo>
                  <a:pt x="704" y="1042"/>
                </a:lnTo>
                <a:lnTo>
                  <a:pt x="702" y="1042"/>
                </a:lnTo>
                <a:lnTo>
                  <a:pt x="702" y="1042"/>
                </a:lnTo>
                <a:lnTo>
                  <a:pt x="704" y="1038"/>
                </a:lnTo>
                <a:lnTo>
                  <a:pt x="708" y="1036"/>
                </a:lnTo>
                <a:lnTo>
                  <a:pt x="708" y="1036"/>
                </a:lnTo>
                <a:lnTo>
                  <a:pt x="714" y="1036"/>
                </a:lnTo>
                <a:lnTo>
                  <a:pt x="718" y="1040"/>
                </a:lnTo>
                <a:lnTo>
                  <a:pt x="718" y="1040"/>
                </a:lnTo>
                <a:lnTo>
                  <a:pt x="722" y="1042"/>
                </a:lnTo>
                <a:lnTo>
                  <a:pt x="726" y="1044"/>
                </a:lnTo>
                <a:lnTo>
                  <a:pt x="732" y="1046"/>
                </a:lnTo>
                <a:lnTo>
                  <a:pt x="738" y="1046"/>
                </a:lnTo>
                <a:lnTo>
                  <a:pt x="738" y="1046"/>
                </a:lnTo>
                <a:lnTo>
                  <a:pt x="740" y="1048"/>
                </a:lnTo>
                <a:lnTo>
                  <a:pt x="740" y="1048"/>
                </a:lnTo>
                <a:lnTo>
                  <a:pt x="740" y="1050"/>
                </a:lnTo>
                <a:lnTo>
                  <a:pt x="740" y="1050"/>
                </a:lnTo>
                <a:lnTo>
                  <a:pt x="750" y="1042"/>
                </a:lnTo>
                <a:lnTo>
                  <a:pt x="754" y="1042"/>
                </a:lnTo>
                <a:lnTo>
                  <a:pt x="756" y="1044"/>
                </a:lnTo>
                <a:lnTo>
                  <a:pt x="756" y="1044"/>
                </a:lnTo>
                <a:lnTo>
                  <a:pt x="768" y="1042"/>
                </a:lnTo>
                <a:lnTo>
                  <a:pt x="768" y="1042"/>
                </a:lnTo>
                <a:lnTo>
                  <a:pt x="766" y="1050"/>
                </a:lnTo>
                <a:lnTo>
                  <a:pt x="766" y="1050"/>
                </a:lnTo>
                <a:lnTo>
                  <a:pt x="780" y="1048"/>
                </a:lnTo>
                <a:lnTo>
                  <a:pt x="784" y="1048"/>
                </a:lnTo>
                <a:lnTo>
                  <a:pt x="786" y="1050"/>
                </a:lnTo>
                <a:lnTo>
                  <a:pt x="786" y="1050"/>
                </a:lnTo>
                <a:lnTo>
                  <a:pt x="782" y="1054"/>
                </a:lnTo>
                <a:lnTo>
                  <a:pt x="782" y="1054"/>
                </a:lnTo>
                <a:lnTo>
                  <a:pt x="782" y="1056"/>
                </a:lnTo>
                <a:lnTo>
                  <a:pt x="782" y="1056"/>
                </a:lnTo>
                <a:lnTo>
                  <a:pt x="778" y="1058"/>
                </a:lnTo>
                <a:lnTo>
                  <a:pt x="778" y="1058"/>
                </a:lnTo>
                <a:lnTo>
                  <a:pt x="786" y="1058"/>
                </a:lnTo>
                <a:lnTo>
                  <a:pt x="786" y="1058"/>
                </a:lnTo>
                <a:lnTo>
                  <a:pt x="790" y="1060"/>
                </a:lnTo>
                <a:lnTo>
                  <a:pt x="796" y="1062"/>
                </a:lnTo>
                <a:lnTo>
                  <a:pt x="796" y="1062"/>
                </a:lnTo>
                <a:lnTo>
                  <a:pt x="810" y="1064"/>
                </a:lnTo>
                <a:lnTo>
                  <a:pt x="810" y="1064"/>
                </a:lnTo>
                <a:lnTo>
                  <a:pt x="808" y="1074"/>
                </a:lnTo>
                <a:lnTo>
                  <a:pt x="808" y="1074"/>
                </a:lnTo>
                <a:lnTo>
                  <a:pt x="814" y="1072"/>
                </a:lnTo>
                <a:lnTo>
                  <a:pt x="814" y="1072"/>
                </a:lnTo>
                <a:lnTo>
                  <a:pt x="812" y="1064"/>
                </a:lnTo>
                <a:lnTo>
                  <a:pt x="812" y="1064"/>
                </a:lnTo>
                <a:lnTo>
                  <a:pt x="816" y="1062"/>
                </a:lnTo>
                <a:lnTo>
                  <a:pt x="820" y="1060"/>
                </a:lnTo>
                <a:lnTo>
                  <a:pt x="820" y="1060"/>
                </a:lnTo>
                <a:lnTo>
                  <a:pt x="822" y="1060"/>
                </a:lnTo>
                <a:lnTo>
                  <a:pt x="822" y="1060"/>
                </a:lnTo>
                <a:lnTo>
                  <a:pt x="814" y="1080"/>
                </a:lnTo>
                <a:lnTo>
                  <a:pt x="814" y="1080"/>
                </a:lnTo>
                <a:lnTo>
                  <a:pt x="814" y="1080"/>
                </a:lnTo>
                <a:lnTo>
                  <a:pt x="814" y="1080"/>
                </a:lnTo>
                <a:lnTo>
                  <a:pt x="814" y="1080"/>
                </a:lnTo>
                <a:lnTo>
                  <a:pt x="814" y="1080"/>
                </a:lnTo>
                <a:lnTo>
                  <a:pt x="812" y="1088"/>
                </a:lnTo>
                <a:lnTo>
                  <a:pt x="812" y="1088"/>
                </a:lnTo>
                <a:lnTo>
                  <a:pt x="808" y="1086"/>
                </a:lnTo>
                <a:lnTo>
                  <a:pt x="806" y="1084"/>
                </a:lnTo>
                <a:lnTo>
                  <a:pt x="802" y="1086"/>
                </a:lnTo>
                <a:lnTo>
                  <a:pt x="802" y="1086"/>
                </a:lnTo>
                <a:lnTo>
                  <a:pt x="796" y="1084"/>
                </a:lnTo>
                <a:lnTo>
                  <a:pt x="796" y="1084"/>
                </a:lnTo>
                <a:lnTo>
                  <a:pt x="788" y="1080"/>
                </a:lnTo>
                <a:lnTo>
                  <a:pt x="786" y="1078"/>
                </a:lnTo>
                <a:lnTo>
                  <a:pt x="784" y="1074"/>
                </a:lnTo>
                <a:lnTo>
                  <a:pt x="784" y="1074"/>
                </a:lnTo>
                <a:lnTo>
                  <a:pt x="802" y="1072"/>
                </a:lnTo>
                <a:lnTo>
                  <a:pt x="802" y="1072"/>
                </a:lnTo>
                <a:lnTo>
                  <a:pt x="800" y="1068"/>
                </a:lnTo>
                <a:lnTo>
                  <a:pt x="798" y="1068"/>
                </a:lnTo>
                <a:lnTo>
                  <a:pt x="794" y="1068"/>
                </a:lnTo>
                <a:lnTo>
                  <a:pt x="794" y="1068"/>
                </a:lnTo>
                <a:lnTo>
                  <a:pt x="784" y="1070"/>
                </a:lnTo>
                <a:lnTo>
                  <a:pt x="776" y="1074"/>
                </a:lnTo>
                <a:lnTo>
                  <a:pt x="776" y="1074"/>
                </a:lnTo>
                <a:lnTo>
                  <a:pt x="770" y="1076"/>
                </a:lnTo>
                <a:lnTo>
                  <a:pt x="766" y="1078"/>
                </a:lnTo>
                <a:lnTo>
                  <a:pt x="764" y="1078"/>
                </a:lnTo>
                <a:lnTo>
                  <a:pt x="758" y="1074"/>
                </a:lnTo>
                <a:lnTo>
                  <a:pt x="758" y="1074"/>
                </a:lnTo>
                <a:lnTo>
                  <a:pt x="750" y="1072"/>
                </a:lnTo>
                <a:lnTo>
                  <a:pt x="750" y="1072"/>
                </a:lnTo>
                <a:lnTo>
                  <a:pt x="746" y="1072"/>
                </a:lnTo>
                <a:lnTo>
                  <a:pt x="746" y="1072"/>
                </a:lnTo>
                <a:lnTo>
                  <a:pt x="746" y="1072"/>
                </a:lnTo>
                <a:lnTo>
                  <a:pt x="746" y="1072"/>
                </a:lnTo>
                <a:lnTo>
                  <a:pt x="742" y="1074"/>
                </a:lnTo>
                <a:lnTo>
                  <a:pt x="740" y="1080"/>
                </a:lnTo>
                <a:lnTo>
                  <a:pt x="740" y="1080"/>
                </a:lnTo>
                <a:lnTo>
                  <a:pt x="734" y="1072"/>
                </a:lnTo>
                <a:lnTo>
                  <a:pt x="734" y="1072"/>
                </a:lnTo>
                <a:lnTo>
                  <a:pt x="728" y="1076"/>
                </a:lnTo>
                <a:lnTo>
                  <a:pt x="728" y="1076"/>
                </a:lnTo>
                <a:lnTo>
                  <a:pt x="732" y="1080"/>
                </a:lnTo>
                <a:lnTo>
                  <a:pt x="732" y="1080"/>
                </a:lnTo>
                <a:lnTo>
                  <a:pt x="712" y="1080"/>
                </a:lnTo>
                <a:lnTo>
                  <a:pt x="712" y="1080"/>
                </a:lnTo>
                <a:lnTo>
                  <a:pt x="718" y="1088"/>
                </a:lnTo>
                <a:lnTo>
                  <a:pt x="718" y="1088"/>
                </a:lnTo>
                <a:lnTo>
                  <a:pt x="708" y="1090"/>
                </a:lnTo>
                <a:lnTo>
                  <a:pt x="708" y="1090"/>
                </a:lnTo>
                <a:lnTo>
                  <a:pt x="706" y="1090"/>
                </a:lnTo>
                <a:lnTo>
                  <a:pt x="706" y="1090"/>
                </a:lnTo>
                <a:lnTo>
                  <a:pt x="708" y="1090"/>
                </a:lnTo>
                <a:lnTo>
                  <a:pt x="708" y="1090"/>
                </a:lnTo>
                <a:lnTo>
                  <a:pt x="700" y="1088"/>
                </a:lnTo>
                <a:lnTo>
                  <a:pt x="700" y="1088"/>
                </a:lnTo>
                <a:lnTo>
                  <a:pt x="702" y="1086"/>
                </a:lnTo>
                <a:lnTo>
                  <a:pt x="704" y="1084"/>
                </a:lnTo>
                <a:lnTo>
                  <a:pt x="702" y="1082"/>
                </a:lnTo>
                <a:lnTo>
                  <a:pt x="700" y="1080"/>
                </a:lnTo>
                <a:lnTo>
                  <a:pt x="700" y="1080"/>
                </a:lnTo>
                <a:lnTo>
                  <a:pt x="684" y="1082"/>
                </a:lnTo>
                <a:lnTo>
                  <a:pt x="684" y="1082"/>
                </a:lnTo>
                <a:lnTo>
                  <a:pt x="678" y="1082"/>
                </a:lnTo>
                <a:lnTo>
                  <a:pt x="672" y="1082"/>
                </a:lnTo>
                <a:lnTo>
                  <a:pt x="672" y="1082"/>
                </a:lnTo>
                <a:lnTo>
                  <a:pt x="662" y="1086"/>
                </a:lnTo>
                <a:lnTo>
                  <a:pt x="654" y="1084"/>
                </a:lnTo>
                <a:lnTo>
                  <a:pt x="654" y="1084"/>
                </a:lnTo>
                <a:lnTo>
                  <a:pt x="648" y="1090"/>
                </a:lnTo>
                <a:lnTo>
                  <a:pt x="648" y="1090"/>
                </a:lnTo>
                <a:lnTo>
                  <a:pt x="656" y="1090"/>
                </a:lnTo>
                <a:lnTo>
                  <a:pt x="662" y="1092"/>
                </a:lnTo>
                <a:lnTo>
                  <a:pt x="662" y="1092"/>
                </a:lnTo>
                <a:lnTo>
                  <a:pt x="664" y="1094"/>
                </a:lnTo>
                <a:lnTo>
                  <a:pt x="668" y="1096"/>
                </a:lnTo>
                <a:lnTo>
                  <a:pt x="676" y="1094"/>
                </a:lnTo>
                <a:lnTo>
                  <a:pt x="676" y="1094"/>
                </a:lnTo>
                <a:lnTo>
                  <a:pt x="670" y="1100"/>
                </a:lnTo>
                <a:lnTo>
                  <a:pt x="670" y="1100"/>
                </a:lnTo>
                <a:lnTo>
                  <a:pt x="666" y="1102"/>
                </a:lnTo>
                <a:lnTo>
                  <a:pt x="662" y="1100"/>
                </a:lnTo>
                <a:lnTo>
                  <a:pt x="662" y="1100"/>
                </a:lnTo>
                <a:lnTo>
                  <a:pt x="654" y="1096"/>
                </a:lnTo>
                <a:lnTo>
                  <a:pt x="648" y="1094"/>
                </a:lnTo>
                <a:lnTo>
                  <a:pt x="648" y="1094"/>
                </a:lnTo>
                <a:lnTo>
                  <a:pt x="644" y="1096"/>
                </a:lnTo>
                <a:lnTo>
                  <a:pt x="640" y="1098"/>
                </a:lnTo>
                <a:lnTo>
                  <a:pt x="640" y="1098"/>
                </a:lnTo>
                <a:lnTo>
                  <a:pt x="634" y="1100"/>
                </a:lnTo>
                <a:lnTo>
                  <a:pt x="634" y="1100"/>
                </a:lnTo>
                <a:lnTo>
                  <a:pt x="630" y="1100"/>
                </a:lnTo>
                <a:lnTo>
                  <a:pt x="626" y="1102"/>
                </a:lnTo>
                <a:lnTo>
                  <a:pt x="626" y="1102"/>
                </a:lnTo>
                <a:lnTo>
                  <a:pt x="622" y="1104"/>
                </a:lnTo>
                <a:lnTo>
                  <a:pt x="618" y="1106"/>
                </a:lnTo>
                <a:lnTo>
                  <a:pt x="608" y="1108"/>
                </a:lnTo>
                <a:lnTo>
                  <a:pt x="608" y="1108"/>
                </a:lnTo>
                <a:lnTo>
                  <a:pt x="602" y="1102"/>
                </a:lnTo>
                <a:lnTo>
                  <a:pt x="602" y="1102"/>
                </a:lnTo>
                <a:lnTo>
                  <a:pt x="598" y="1104"/>
                </a:lnTo>
                <a:lnTo>
                  <a:pt x="598" y="1104"/>
                </a:lnTo>
                <a:lnTo>
                  <a:pt x="600" y="1098"/>
                </a:lnTo>
                <a:lnTo>
                  <a:pt x="600" y="1098"/>
                </a:lnTo>
                <a:lnTo>
                  <a:pt x="590" y="1094"/>
                </a:lnTo>
                <a:lnTo>
                  <a:pt x="590" y="1094"/>
                </a:lnTo>
                <a:lnTo>
                  <a:pt x="582" y="1090"/>
                </a:lnTo>
                <a:lnTo>
                  <a:pt x="572" y="1090"/>
                </a:lnTo>
                <a:lnTo>
                  <a:pt x="572" y="1090"/>
                </a:lnTo>
                <a:lnTo>
                  <a:pt x="558" y="1094"/>
                </a:lnTo>
                <a:lnTo>
                  <a:pt x="558" y="1094"/>
                </a:lnTo>
                <a:lnTo>
                  <a:pt x="562" y="1114"/>
                </a:lnTo>
                <a:lnTo>
                  <a:pt x="568" y="1136"/>
                </a:lnTo>
                <a:lnTo>
                  <a:pt x="568" y="1136"/>
                </a:lnTo>
                <a:lnTo>
                  <a:pt x="584" y="1134"/>
                </a:lnTo>
                <a:lnTo>
                  <a:pt x="584" y="1134"/>
                </a:lnTo>
                <a:lnTo>
                  <a:pt x="588" y="1134"/>
                </a:lnTo>
                <a:lnTo>
                  <a:pt x="588" y="1134"/>
                </a:lnTo>
                <a:lnTo>
                  <a:pt x="596" y="1110"/>
                </a:lnTo>
                <a:lnTo>
                  <a:pt x="596" y="1110"/>
                </a:lnTo>
                <a:lnTo>
                  <a:pt x="598" y="1112"/>
                </a:lnTo>
                <a:lnTo>
                  <a:pt x="598" y="1112"/>
                </a:lnTo>
                <a:lnTo>
                  <a:pt x="604" y="1110"/>
                </a:lnTo>
                <a:lnTo>
                  <a:pt x="604" y="1110"/>
                </a:lnTo>
                <a:lnTo>
                  <a:pt x="622" y="1114"/>
                </a:lnTo>
                <a:lnTo>
                  <a:pt x="622" y="1118"/>
                </a:lnTo>
                <a:lnTo>
                  <a:pt x="622" y="1118"/>
                </a:lnTo>
                <a:lnTo>
                  <a:pt x="628" y="1118"/>
                </a:lnTo>
                <a:lnTo>
                  <a:pt x="628" y="1118"/>
                </a:lnTo>
                <a:lnTo>
                  <a:pt x="628" y="1112"/>
                </a:lnTo>
                <a:lnTo>
                  <a:pt x="628" y="1110"/>
                </a:lnTo>
                <a:lnTo>
                  <a:pt x="628" y="1110"/>
                </a:lnTo>
                <a:lnTo>
                  <a:pt x="632" y="1110"/>
                </a:lnTo>
                <a:lnTo>
                  <a:pt x="636" y="1110"/>
                </a:lnTo>
                <a:lnTo>
                  <a:pt x="640" y="1112"/>
                </a:lnTo>
                <a:lnTo>
                  <a:pt x="640" y="1112"/>
                </a:lnTo>
                <a:lnTo>
                  <a:pt x="638" y="1118"/>
                </a:lnTo>
                <a:lnTo>
                  <a:pt x="636" y="1122"/>
                </a:lnTo>
                <a:lnTo>
                  <a:pt x="636" y="1122"/>
                </a:lnTo>
                <a:lnTo>
                  <a:pt x="640" y="1124"/>
                </a:lnTo>
                <a:lnTo>
                  <a:pt x="644" y="1126"/>
                </a:lnTo>
                <a:lnTo>
                  <a:pt x="652" y="1128"/>
                </a:lnTo>
                <a:lnTo>
                  <a:pt x="656" y="1126"/>
                </a:lnTo>
                <a:lnTo>
                  <a:pt x="656" y="1126"/>
                </a:lnTo>
                <a:lnTo>
                  <a:pt x="664" y="1120"/>
                </a:lnTo>
                <a:lnTo>
                  <a:pt x="664" y="1120"/>
                </a:lnTo>
                <a:lnTo>
                  <a:pt x="672" y="1118"/>
                </a:lnTo>
                <a:lnTo>
                  <a:pt x="672" y="1124"/>
                </a:lnTo>
                <a:lnTo>
                  <a:pt x="672" y="1124"/>
                </a:lnTo>
                <a:lnTo>
                  <a:pt x="680" y="1124"/>
                </a:lnTo>
                <a:lnTo>
                  <a:pt x="680" y="1124"/>
                </a:lnTo>
                <a:lnTo>
                  <a:pt x="684" y="1116"/>
                </a:lnTo>
                <a:lnTo>
                  <a:pt x="684" y="1116"/>
                </a:lnTo>
                <a:lnTo>
                  <a:pt x="684" y="1106"/>
                </a:lnTo>
                <a:lnTo>
                  <a:pt x="684" y="1106"/>
                </a:lnTo>
                <a:lnTo>
                  <a:pt x="682" y="1106"/>
                </a:lnTo>
                <a:lnTo>
                  <a:pt x="682" y="1106"/>
                </a:lnTo>
                <a:lnTo>
                  <a:pt x="678" y="1110"/>
                </a:lnTo>
                <a:lnTo>
                  <a:pt x="678" y="1110"/>
                </a:lnTo>
                <a:lnTo>
                  <a:pt x="678" y="1112"/>
                </a:lnTo>
                <a:lnTo>
                  <a:pt x="678" y="1112"/>
                </a:lnTo>
                <a:lnTo>
                  <a:pt x="678" y="1110"/>
                </a:lnTo>
                <a:lnTo>
                  <a:pt x="678" y="1110"/>
                </a:lnTo>
                <a:lnTo>
                  <a:pt x="682" y="1106"/>
                </a:lnTo>
                <a:lnTo>
                  <a:pt x="682" y="1106"/>
                </a:lnTo>
                <a:lnTo>
                  <a:pt x="684" y="1106"/>
                </a:lnTo>
                <a:lnTo>
                  <a:pt x="684" y="1106"/>
                </a:lnTo>
                <a:lnTo>
                  <a:pt x="684" y="1098"/>
                </a:lnTo>
                <a:lnTo>
                  <a:pt x="684" y="1098"/>
                </a:lnTo>
                <a:lnTo>
                  <a:pt x="702" y="1100"/>
                </a:lnTo>
                <a:lnTo>
                  <a:pt x="702" y="1100"/>
                </a:lnTo>
                <a:lnTo>
                  <a:pt x="704" y="1096"/>
                </a:lnTo>
                <a:lnTo>
                  <a:pt x="708" y="1094"/>
                </a:lnTo>
                <a:lnTo>
                  <a:pt x="708" y="1094"/>
                </a:lnTo>
                <a:lnTo>
                  <a:pt x="710" y="1094"/>
                </a:lnTo>
                <a:lnTo>
                  <a:pt x="710" y="1094"/>
                </a:lnTo>
                <a:lnTo>
                  <a:pt x="712" y="1100"/>
                </a:lnTo>
                <a:lnTo>
                  <a:pt x="712" y="1100"/>
                </a:lnTo>
                <a:lnTo>
                  <a:pt x="710" y="1094"/>
                </a:lnTo>
                <a:lnTo>
                  <a:pt x="710" y="1094"/>
                </a:lnTo>
                <a:lnTo>
                  <a:pt x="726" y="1094"/>
                </a:lnTo>
                <a:lnTo>
                  <a:pt x="726" y="1094"/>
                </a:lnTo>
                <a:lnTo>
                  <a:pt x="730" y="1096"/>
                </a:lnTo>
                <a:lnTo>
                  <a:pt x="730" y="1096"/>
                </a:lnTo>
                <a:lnTo>
                  <a:pt x="730" y="1098"/>
                </a:lnTo>
                <a:lnTo>
                  <a:pt x="730" y="1102"/>
                </a:lnTo>
                <a:lnTo>
                  <a:pt x="730" y="1102"/>
                </a:lnTo>
                <a:lnTo>
                  <a:pt x="722" y="1104"/>
                </a:lnTo>
                <a:lnTo>
                  <a:pt x="722" y="1104"/>
                </a:lnTo>
                <a:lnTo>
                  <a:pt x="732" y="1108"/>
                </a:lnTo>
                <a:lnTo>
                  <a:pt x="732" y="1108"/>
                </a:lnTo>
                <a:lnTo>
                  <a:pt x="722" y="1122"/>
                </a:lnTo>
                <a:lnTo>
                  <a:pt x="722" y="1122"/>
                </a:lnTo>
                <a:lnTo>
                  <a:pt x="724" y="1124"/>
                </a:lnTo>
                <a:lnTo>
                  <a:pt x="726" y="1124"/>
                </a:lnTo>
                <a:lnTo>
                  <a:pt x="730" y="1124"/>
                </a:lnTo>
                <a:lnTo>
                  <a:pt x="736" y="1122"/>
                </a:lnTo>
                <a:lnTo>
                  <a:pt x="738" y="1124"/>
                </a:lnTo>
                <a:lnTo>
                  <a:pt x="740" y="1126"/>
                </a:lnTo>
                <a:lnTo>
                  <a:pt x="740" y="1126"/>
                </a:lnTo>
                <a:lnTo>
                  <a:pt x="734" y="1126"/>
                </a:lnTo>
                <a:lnTo>
                  <a:pt x="734" y="1126"/>
                </a:lnTo>
                <a:lnTo>
                  <a:pt x="726" y="1130"/>
                </a:lnTo>
                <a:lnTo>
                  <a:pt x="726" y="1130"/>
                </a:lnTo>
                <a:lnTo>
                  <a:pt x="718" y="1114"/>
                </a:lnTo>
                <a:lnTo>
                  <a:pt x="718" y="1114"/>
                </a:lnTo>
                <a:lnTo>
                  <a:pt x="716" y="1116"/>
                </a:lnTo>
                <a:lnTo>
                  <a:pt x="716" y="1116"/>
                </a:lnTo>
                <a:lnTo>
                  <a:pt x="702" y="1124"/>
                </a:lnTo>
                <a:lnTo>
                  <a:pt x="702" y="1124"/>
                </a:lnTo>
                <a:lnTo>
                  <a:pt x="684" y="1116"/>
                </a:lnTo>
                <a:lnTo>
                  <a:pt x="684" y="1116"/>
                </a:lnTo>
                <a:lnTo>
                  <a:pt x="684" y="1116"/>
                </a:lnTo>
                <a:lnTo>
                  <a:pt x="684" y="1116"/>
                </a:lnTo>
                <a:lnTo>
                  <a:pt x="684" y="1142"/>
                </a:lnTo>
                <a:lnTo>
                  <a:pt x="684" y="1142"/>
                </a:lnTo>
                <a:lnTo>
                  <a:pt x="692" y="1144"/>
                </a:lnTo>
                <a:lnTo>
                  <a:pt x="692" y="1144"/>
                </a:lnTo>
                <a:lnTo>
                  <a:pt x="714" y="1138"/>
                </a:lnTo>
                <a:lnTo>
                  <a:pt x="714" y="1138"/>
                </a:lnTo>
                <a:lnTo>
                  <a:pt x="720" y="1136"/>
                </a:lnTo>
                <a:lnTo>
                  <a:pt x="724" y="1138"/>
                </a:lnTo>
                <a:lnTo>
                  <a:pt x="724" y="1138"/>
                </a:lnTo>
                <a:lnTo>
                  <a:pt x="724" y="1140"/>
                </a:lnTo>
                <a:lnTo>
                  <a:pt x="728" y="1142"/>
                </a:lnTo>
                <a:lnTo>
                  <a:pt x="734" y="1144"/>
                </a:lnTo>
                <a:lnTo>
                  <a:pt x="734" y="1144"/>
                </a:lnTo>
                <a:lnTo>
                  <a:pt x="734" y="1142"/>
                </a:lnTo>
                <a:lnTo>
                  <a:pt x="734" y="1142"/>
                </a:lnTo>
                <a:lnTo>
                  <a:pt x="744" y="1144"/>
                </a:lnTo>
                <a:lnTo>
                  <a:pt x="744" y="1144"/>
                </a:lnTo>
                <a:lnTo>
                  <a:pt x="762" y="1142"/>
                </a:lnTo>
                <a:lnTo>
                  <a:pt x="772" y="1138"/>
                </a:lnTo>
                <a:lnTo>
                  <a:pt x="772" y="1138"/>
                </a:lnTo>
                <a:lnTo>
                  <a:pt x="772" y="1146"/>
                </a:lnTo>
                <a:lnTo>
                  <a:pt x="772" y="1146"/>
                </a:lnTo>
                <a:lnTo>
                  <a:pt x="766" y="1150"/>
                </a:lnTo>
                <a:lnTo>
                  <a:pt x="766" y="1150"/>
                </a:lnTo>
                <a:lnTo>
                  <a:pt x="770" y="1150"/>
                </a:lnTo>
                <a:lnTo>
                  <a:pt x="770" y="1150"/>
                </a:lnTo>
                <a:lnTo>
                  <a:pt x="768" y="1154"/>
                </a:lnTo>
                <a:lnTo>
                  <a:pt x="768" y="1154"/>
                </a:lnTo>
                <a:lnTo>
                  <a:pt x="772" y="1160"/>
                </a:lnTo>
                <a:lnTo>
                  <a:pt x="772" y="1160"/>
                </a:lnTo>
                <a:lnTo>
                  <a:pt x="776" y="1160"/>
                </a:lnTo>
                <a:lnTo>
                  <a:pt x="776" y="1160"/>
                </a:lnTo>
                <a:lnTo>
                  <a:pt x="782" y="1156"/>
                </a:lnTo>
                <a:lnTo>
                  <a:pt x="782" y="1156"/>
                </a:lnTo>
                <a:lnTo>
                  <a:pt x="792" y="1152"/>
                </a:lnTo>
                <a:lnTo>
                  <a:pt x="792" y="1152"/>
                </a:lnTo>
                <a:lnTo>
                  <a:pt x="778" y="1148"/>
                </a:lnTo>
                <a:lnTo>
                  <a:pt x="778" y="1148"/>
                </a:lnTo>
                <a:lnTo>
                  <a:pt x="776" y="1146"/>
                </a:lnTo>
                <a:lnTo>
                  <a:pt x="776" y="1144"/>
                </a:lnTo>
                <a:lnTo>
                  <a:pt x="776" y="1144"/>
                </a:lnTo>
                <a:lnTo>
                  <a:pt x="782" y="1142"/>
                </a:lnTo>
                <a:lnTo>
                  <a:pt x="782" y="1142"/>
                </a:lnTo>
                <a:lnTo>
                  <a:pt x="784" y="1144"/>
                </a:lnTo>
                <a:lnTo>
                  <a:pt x="784" y="1144"/>
                </a:lnTo>
                <a:lnTo>
                  <a:pt x="786" y="1148"/>
                </a:lnTo>
                <a:lnTo>
                  <a:pt x="786" y="1148"/>
                </a:lnTo>
                <a:lnTo>
                  <a:pt x="794" y="1140"/>
                </a:lnTo>
                <a:lnTo>
                  <a:pt x="794" y="1140"/>
                </a:lnTo>
                <a:lnTo>
                  <a:pt x="802" y="1142"/>
                </a:lnTo>
                <a:lnTo>
                  <a:pt x="802" y="1142"/>
                </a:lnTo>
                <a:lnTo>
                  <a:pt x="804" y="1128"/>
                </a:lnTo>
                <a:lnTo>
                  <a:pt x="804" y="1128"/>
                </a:lnTo>
                <a:lnTo>
                  <a:pt x="804" y="1128"/>
                </a:lnTo>
                <a:lnTo>
                  <a:pt x="804" y="1128"/>
                </a:lnTo>
                <a:lnTo>
                  <a:pt x="804" y="1128"/>
                </a:lnTo>
                <a:lnTo>
                  <a:pt x="804" y="1128"/>
                </a:lnTo>
                <a:lnTo>
                  <a:pt x="804" y="1128"/>
                </a:lnTo>
                <a:lnTo>
                  <a:pt x="804" y="1128"/>
                </a:lnTo>
                <a:lnTo>
                  <a:pt x="804" y="1128"/>
                </a:lnTo>
                <a:lnTo>
                  <a:pt x="804" y="1128"/>
                </a:lnTo>
                <a:lnTo>
                  <a:pt x="808" y="1124"/>
                </a:lnTo>
                <a:lnTo>
                  <a:pt x="808" y="1124"/>
                </a:lnTo>
                <a:lnTo>
                  <a:pt x="814" y="1126"/>
                </a:lnTo>
                <a:lnTo>
                  <a:pt x="820" y="1126"/>
                </a:lnTo>
                <a:lnTo>
                  <a:pt x="820" y="1126"/>
                </a:lnTo>
                <a:lnTo>
                  <a:pt x="820" y="1128"/>
                </a:lnTo>
                <a:lnTo>
                  <a:pt x="820" y="1128"/>
                </a:lnTo>
                <a:lnTo>
                  <a:pt x="820" y="1126"/>
                </a:lnTo>
                <a:lnTo>
                  <a:pt x="820" y="1126"/>
                </a:lnTo>
                <a:lnTo>
                  <a:pt x="820" y="1126"/>
                </a:lnTo>
                <a:lnTo>
                  <a:pt x="820" y="1126"/>
                </a:lnTo>
                <a:lnTo>
                  <a:pt x="822" y="1128"/>
                </a:lnTo>
                <a:lnTo>
                  <a:pt x="822" y="1128"/>
                </a:lnTo>
                <a:lnTo>
                  <a:pt x="818" y="1134"/>
                </a:lnTo>
                <a:lnTo>
                  <a:pt x="818" y="1134"/>
                </a:lnTo>
                <a:lnTo>
                  <a:pt x="816" y="1134"/>
                </a:lnTo>
                <a:lnTo>
                  <a:pt x="816" y="1134"/>
                </a:lnTo>
                <a:lnTo>
                  <a:pt x="814" y="1138"/>
                </a:lnTo>
                <a:lnTo>
                  <a:pt x="814" y="1138"/>
                </a:lnTo>
                <a:lnTo>
                  <a:pt x="816" y="1138"/>
                </a:lnTo>
                <a:lnTo>
                  <a:pt x="816" y="1138"/>
                </a:lnTo>
                <a:lnTo>
                  <a:pt x="816" y="1140"/>
                </a:lnTo>
                <a:lnTo>
                  <a:pt x="816" y="1140"/>
                </a:lnTo>
                <a:lnTo>
                  <a:pt x="816" y="1140"/>
                </a:lnTo>
                <a:lnTo>
                  <a:pt x="816" y="1140"/>
                </a:lnTo>
                <a:lnTo>
                  <a:pt x="818" y="1138"/>
                </a:lnTo>
                <a:lnTo>
                  <a:pt x="818" y="1138"/>
                </a:lnTo>
                <a:lnTo>
                  <a:pt x="818" y="1138"/>
                </a:lnTo>
                <a:lnTo>
                  <a:pt x="818" y="1138"/>
                </a:lnTo>
                <a:lnTo>
                  <a:pt x="818" y="1140"/>
                </a:lnTo>
                <a:lnTo>
                  <a:pt x="818" y="1140"/>
                </a:lnTo>
                <a:lnTo>
                  <a:pt x="818" y="1138"/>
                </a:lnTo>
                <a:lnTo>
                  <a:pt x="818" y="1138"/>
                </a:lnTo>
                <a:lnTo>
                  <a:pt x="818" y="1138"/>
                </a:lnTo>
                <a:lnTo>
                  <a:pt x="818" y="1138"/>
                </a:lnTo>
                <a:lnTo>
                  <a:pt x="816" y="1142"/>
                </a:lnTo>
                <a:lnTo>
                  <a:pt x="816" y="1142"/>
                </a:lnTo>
                <a:lnTo>
                  <a:pt x="816" y="1146"/>
                </a:lnTo>
                <a:lnTo>
                  <a:pt x="816" y="1146"/>
                </a:lnTo>
                <a:lnTo>
                  <a:pt x="822" y="1146"/>
                </a:lnTo>
                <a:lnTo>
                  <a:pt x="826" y="1142"/>
                </a:lnTo>
                <a:lnTo>
                  <a:pt x="836" y="1130"/>
                </a:lnTo>
                <a:lnTo>
                  <a:pt x="846" y="1116"/>
                </a:lnTo>
                <a:lnTo>
                  <a:pt x="850" y="1110"/>
                </a:lnTo>
                <a:lnTo>
                  <a:pt x="854" y="1106"/>
                </a:lnTo>
                <a:lnTo>
                  <a:pt x="854" y="1106"/>
                </a:lnTo>
                <a:lnTo>
                  <a:pt x="844" y="1104"/>
                </a:lnTo>
                <a:lnTo>
                  <a:pt x="844" y="1104"/>
                </a:lnTo>
                <a:lnTo>
                  <a:pt x="846" y="1094"/>
                </a:lnTo>
                <a:lnTo>
                  <a:pt x="846" y="1094"/>
                </a:lnTo>
                <a:lnTo>
                  <a:pt x="852" y="1096"/>
                </a:lnTo>
                <a:lnTo>
                  <a:pt x="852" y="1096"/>
                </a:lnTo>
                <a:lnTo>
                  <a:pt x="852" y="1094"/>
                </a:lnTo>
                <a:lnTo>
                  <a:pt x="852" y="1094"/>
                </a:lnTo>
                <a:lnTo>
                  <a:pt x="864" y="1100"/>
                </a:lnTo>
                <a:lnTo>
                  <a:pt x="864" y="1100"/>
                </a:lnTo>
                <a:lnTo>
                  <a:pt x="864" y="1108"/>
                </a:lnTo>
                <a:lnTo>
                  <a:pt x="864" y="1108"/>
                </a:lnTo>
                <a:lnTo>
                  <a:pt x="860" y="1106"/>
                </a:lnTo>
                <a:lnTo>
                  <a:pt x="860" y="1106"/>
                </a:lnTo>
                <a:lnTo>
                  <a:pt x="864" y="1110"/>
                </a:lnTo>
                <a:lnTo>
                  <a:pt x="864" y="1110"/>
                </a:lnTo>
                <a:lnTo>
                  <a:pt x="872" y="1110"/>
                </a:lnTo>
                <a:lnTo>
                  <a:pt x="882" y="1112"/>
                </a:lnTo>
                <a:lnTo>
                  <a:pt x="890" y="1112"/>
                </a:lnTo>
                <a:lnTo>
                  <a:pt x="900" y="1112"/>
                </a:lnTo>
                <a:lnTo>
                  <a:pt x="900" y="1112"/>
                </a:lnTo>
                <a:lnTo>
                  <a:pt x="896" y="1106"/>
                </a:lnTo>
                <a:lnTo>
                  <a:pt x="896" y="1106"/>
                </a:lnTo>
                <a:lnTo>
                  <a:pt x="890" y="1106"/>
                </a:lnTo>
                <a:lnTo>
                  <a:pt x="886" y="1106"/>
                </a:lnTo>
                <a:lnTo>
                  <a:pt x="886" y="1106"/>
                </a:lnTo>
                <a:lnTo>
                  <a:pt x="898" y="1106"/>
                </a:lnTo>
                <a:lnTo>
                  <a:pt x="898" y="1106"/>
                </a:lnTo>
                <a:lnTo>
                  <a:pt x="912" y="1110"/>
                </a:lnTo>
                <a:lnTo>
                  <a:pt x="912" y="1110"/>
                </a:lnTo>
                <a:lnTo>
                  <a:pt x="912" y="1110"/>
                </a:lnTo>
                <a:lnTo>
                  <a:pt x="912" y="1110"/>
                </a:lnTo>
                <a:lnTo>
                  <a:pt x="912" y="1110"/>
                </a:lnTo>
                <a:lnTo>
                  <a:pt x="912" y="1110"/>
                </a:lnTo>
                <a:lnTo>
                  <a:pt x="912" y="1110"/>
                </a:lnTo>
                <a:lnTo>
                  <a:pt x="920" y="1108"/>
                </a:lnTo>
                <a:lnTo>
                  <a:pt x="920" y="1108"/>
                </a:lnTo>
                <a:lnTo>
                  <a:pt x="922" y="1110"/>
                </a:lnTo>
                <a:lnTo>
                  <a:pt x="924" y="1110"/>
                </a:lnTo>
                <a:lnTo>
                  <a:pt x="924" y="1110"/>
                </a:lnTo>
                <a:lnTo>
                  <a:pt x="932" y="1110"/>
                </a:lnTo>
                <a:lnTo>
                  <a:pt x="934" y="1108"/>
                </a:lnTo>
                <a:lnTo>
                  <a:pt x="936" y="1106"/>
                </a:lnTo>
                <a:lnTo>
                  <a:pt x="936" y="1106"/>
                </a:lnTo>
                <a:lnTo>
                  <a:pt x="938" y="1104"/>
                </a:lnTo>
                <a:lnTo>
                  <a:pt x="940" y="1104"/>
                </a:lnTo>
                <a:lnTo>
                  <a:pt x="940" y="1104"/>
                </a:lnTo>
                <a:lnTo>
                  <a:pt x="948" y="1104"/>
                </a:lnTo>
                <a:lnTo>
                  <a:pt x="956" y="1102"/>
                </a:lnTo>
                <a:lnTo>
                  <a:pt x="964" y="1100"/>
                </a:lnTo>
                <a:lnTo>
                  <a:pt x="974" y="1100"/>
                </a:lnTo>
                <a:lnTo>
                  <a:pt x="974" y="1100"/>
                </a:lnTo>
                <a:lnTo>
                  <a:pt x="980" y="1098"/>
                </a:lnTo>
                <a:lnTo>
                  <a:pt x="990" y="1094"/>
                </a:lnTo>
                <a:lnTo>
                  <a:pt x="990" y="1094"/>
                </a:lnTo>
                <a:lnTo>
                  <a:pt x="990" y="1092"/>
                </a:lnTo>
                <a:lnTo>
                  <a:pt x="990" y="1092"/>
                </a:lnTo>
                <a:lnTo>
                  <a:pt x="986" y="1092"/>
                </a:lnTo>
                <a:lnTo>
                  <a:pt x="984" y="1092"/>
                </a:lnTo>
                <a:lnTo>
                  <a:pt x="978" y="1092"/>
                </a:lnTo>
                <a:lnTo>
                  <a:pt x="978" y="1092"/>
                </a:lnTo>
                <a:lnTo>
                  <a:pt x="972" y="1092"/>
                </a:lnTo>
                <a:lnTo>
                  <a:pt x="970" y="1090"/>
                </a:lnTo>
                <a:lnTo>
                  <a:pt x="970" y="1088"/>
                </a:lnTo>
                <a:lnTo>
                  <a:pt x="970" y="1088"/>
                </a:lnTo>
                <a:lnTo>
                  <a:pt x="970" y="1088"/>
                </a:lnTo>
                <a:lnTo>
                  <a:pt x="972" y="1088"/>
                </a:lnTo>
                <a:lnTo>
                  <a:pt x="972" y="1088"/>
                </a:lnTo>
                <a:lnTo>
                  <a:pt x="976" y="1084"/>
                </a:lnTo>
                <a:lnTo>
                  <a:pt x="982" y="1082"/>
                </a:lnTo>
                <a:lnTo>
                  <a:pt x="994" y="1078"/>
                </a:lnTo>
                <a:lnTo>
                  <a:pt x="994" y="1078"/>
                </a:lnTo>
                <a:lnTo>
                  <a:pt x="988" y="1074"/>
                </a:lnTo>
                <a:lnTo>
                  <a:pt x="988" y="1074"/>
                </a:lnTo>
                <a:lnTo>
                  <a:pt x="992" y="1074"/>
                </a:lnTo>
                <a:lnTo>
                  <a:pt x="992" y="1074"/>
                </a:lnTo>
                <a:lnTo>
                  <a:pt x="1000" y="1076"/>
                </a:lnTo>
                <a:lnTo>
                  <a:pt x="1006" y="1076"/>
                </a:lnTo>
                <a:lnTo>
                  <a:pt x="1012" y="1074"/>
                </a:lnTo>
                <a:lnTo>
                  <a:pt x="1012" y="1074"/>
                </a:lnTo>
                <a:lnTo>
                  <a:pt x="1008" y="1082"/>
                </a:lnTo>
                <a:lnTo>
                  <a:pt x="1008" y="1082"/>
                </a:lnTo>
                <a:lnTo>
                  <a:pt x="1022" y="1082"/>
                </a:lnTo>
                <a:lnTo>
                  <a:pt x="1022" y="1082"/>
                </a:lnTo>
                <a:lnTo>
                  <a:pt x="1020" y="1094"/>
                </a:lnTo>
                <a:lnTo>
                  <a:pt x="1016" y="1114"/>
                </a:lnTo>
                <a:lnTo>
                  <a:pt x="1012" y="1132"/>
                </a:lnTo>
                <a:lnTo>
                  <a:pt x="1010" y="1144"/>
                </a:lnTo>
                <a:lnTo>
                  <a:pt x="1010" y="1144"/>
                </a:lnTo>
                <a:lnTo>
                  <a:pt x="1018" y="1142"/>
                </a:lnTo>
                <a:lnTo>
                  <a:pt x="1024" y="1144"/>
                </a:lnTo>
                <a:lnTo>
                  <a:pt x="1024" y="1144"/>
                </a:lnTo>
                <a:lnTo>
                  <a:pt x="1026" y="1144"/>
                </a:lnTo>
                <a:lnTo>
                  <a:pt x="1026" y="1140"/>
                </a:lnTo>
                <a:lnTo>
                  <a:pt x="1028" y="1126"/>
                </a:lnTo>
                <a:lnTo>
                  <a:pt x="1034" y="1090"/>
                </a:lnTo>
                <a:lnTo>
                  <a:pt x="1034" y="1090"/>
                </a:lnTo>
                <a:lnTo>
                  <a:pt x="1034" y="1092"/>
                </a:lnTo>
                <a:lnTo>
                  <a:pt x="1034" y="1092"/>
                </a:lnTo>
                <a:lnTo>
                  <a:pt x="1034" y="1102"/>
                </a:lnTo>
                <a:lnTo>
                  <a:pt x="1034" y="1102"/>
                </a:lnTo>
                <a:lnTo>
                  <a:pt x="1038" y="1102"/>
                </a:lnTo>
                <a:lnTo>
                  <a:pt x="1038" y="1102"/>
                </a:lnTo>
                <a:lnTo>
                  <a:pt x="1044" y="1116"/>
                </a:lnTo>
                <a:lnTo>
                  <a:pt x="1044" y="1116"/>
                </a:lnTo>
                <a:lnTo>
                  <a:pt x="1040" y="1116"/>
                </a:lnTo>
                <a:lnTo>
                  <a:pt x="1040" y="1116"/>
                </a:lnTo>
                <a:lnTo>
                  <a:pt x="1040" y="1118"/>
                </a:lnTo>
                <a:lnTo>
                  <a:pt x="1040" y="1118"/>
                </a:lnTo>
                <a:lnTo>
                  <a:pt x="1044" y="1118"/>
                </a:lnTo>
                <a:lnTo>
                  <a:pt x="1044" y="1118"/>
                </a:lnTo>
                <a:lnTo>
                  <a:pt x="1046" y="1120"/>
                </a:lnTo>
                <a:lnTo>
                  <a:pt x="1046" y="1120"/>
                </a:lnTo>
                <a:lnTo>
                  <a:pt x="1048" y="1132"/>
                </a:lnTo>
                <a:lnTo>
                  <a:pt x="1050" y="1136"/>
                </a:lnTo>
                <a:lnTo>
                  <a:pt x="1050" y="1136"/>
                </a:lnTo>
                <a:lnTo>
                  <a:pt x="1058" y="1138"/>
                </a:lnTo>
                <a:lnTo>
                  <a:pt x="1062" y="1138"/>
                </a:lnTo>
                <a:lnTo>
                  <a:pt x="1066" y="1136"/>
                </a:lnTo>
                <a:lnTo>
                  <a:pt x="1066" y="1136"/>
                </a:lnTo>
                <a:lnTo>
                  <a:pt x="1060" y="1114"/>
                </a:lnTo>
                <a:lnTo>
                  <a:pt x="1060" y="1114"/>
                </a:lnTo>
                <a:lnTo>
                  <a:pt x="1064" y="1114"/>
                </a:lnTo>
                <a:lnTo>
                  <a:pt x="1068" y="1114"/>
                </a:lnTo>
                <a:lnTo>
                  <a:pt x="1068" y="1114"/>
                </a:lnTo>
                <a:lnTo>
                  <a:pt x="1066" y="1116"/>
                </a:lnTo>
                <a:lnTo>
                  <a:pt x="1064" y="1118"/>
                </a:lnTo>
                <a:lnTo>
                  <a:pt x="1062" y="1118"/>
                </a:lnTo>
                <a:lnTo>
                  <a:pt x="1062" y="1122"/>
                </a:lnTo>
                <a:lnTo>
                  <a:pt x="1062" y="1122"/>
                </a:lnTo>
                <a:lnTo>
                  <a:pt x="1076" y="1120"/>
                </a:lnTo>
                <a:lnTo>
                  <a:pt x="1090" y="1122"/>
                </a:lnTo>
                <a:lnTo>
                  <a:pt x="1090" y="1122"/>
                </a:lnTo>
                <a:lnTo>
                  <a:pt x="1084" y="1126"/>
                </a:lnTo>
                <a:lnTo>
                  <a:pt x="1084" y="1126"/>
                </a:lnTo>
                <a:lnTo>
                  <a:pt x="1100" y="1130"/>
                </a:lnTo>
                <a:lnTo>
                  <a:pt x="1100" y="1130"/>
                </a:lnTo>
                <a:lnTo>
                  <a:pt x="1094" y="1134"/>
                </a:lnTo>
                <a:lnTo>
                  <a:pt x="1094" y="1134"/>
                </a:lnTo>
                <a:lnTo>
                  <a:pt x="1106" y="1138"/>
                </a:lnTo>
                <a:lnTo>
                  <a:pt x="1116" y="1140"/>
                </a:lnTo>
                <a:lnTo>
                  <a:pt x="1116" y="1140"/>
                </a:lnTo>
                <a:lnTo>
                  <a:pt x="1122" y="1138"/>
                </a:lnTo>
                <a:lnTo>
                  <a:pt x="1122" y="1138"/>
                </a:lnTo>
                <a:lnTo>
                  <a:pt x="1120" y="1138"/>
                </a:lnTo>
                <a:lnTo>
                  <a:pt x="1120" y="1138"/>
                </a:lnTo>
                <a:lnTo>
                  <a:pt x="1130" y="1138"/>
                </a:lnTo>
                <a:lnTo>
                  <a:pt x="1130" y="1138"/>
                </a:lnTo>
                <a:lnTo>
                  <a:pt x="1136" y="1140"/>
                </a:lnTo>
                <a:lnTo>
                  <a:pt x="1140" y="1140"/>
                </a:lnTo>
                <a:lnTo>
                  <a:pt x="1144" y="1140"/>
                </a:lnTo>
                <a:lnTo>
                  <a:pt x="1144" y="1140"/>
                </a:lnTo>
                <a:lnTo>
                  <a:pt x="1134" y="1134"/>
                </a:lnTo>
                <a:lnTo>
                  <a:pt x="1134" y="1134"/>
                </a:lnTo>
                <a:lnTo>
                  <a:pt x="1138" y="1130"/>
                </a:lnTo>
                <a:lnTo>
                  <a:pt x="1138" y="1130"/>
                </a:lnTo>
                <a:lnTo>
                  <a:pt x="1138" y="1126"/>
                </a:lnTo>
                <a:lnTo>
                  <a:pt x="1134" y="1122"/>
                </a:lnTo>
                <a:lnTo>
                  <a:pt x="1134" y="1122"/>
                </a:lnTo>
                <a:lnTo>
                  <a:pt x="1134" y="1122"/>
                </a:lnTo>
                <a:lnTo>
                  <a:pt x="1134" y="1122"/>
                </a:lnTo>
                <a:lnTo>
                  <a:pt x="1130" y="1122"/>
                </a:lnTo>
                <a:lnTo>
                  <a:pt x="1130" y="1122"/>
                </a:lnTo>
                <a:lnTo>
                  <a:pt x="1128" y="1122"/>
                </a:lnTo>
                <a:lnTo>
                  <a:pt x="1128" y="1122"/>
                </a:lnTo>
                <a:lnTo>
                  <a:pt x="1122" y="1120"/>
                </a:lnTo>
                <a:lnTo>
                  <a:pt x="1122" y="1120"/>
                </a:lnTo>
                <a:lnTo>
                  <a:pt x="1122" y="1118"/>
                </a:lnTo>
                <a:lnTo>
                  <a:pt x="1122" y="1118"/>
                </a:lnTo>
                <a:lnTo>
                  <a:pt x="1120" y="1116"/>
                </a:lnTo>
                <a:lnTo>
                  <a:pt x="1120" y="1116"/>
                </a:lnTo>
                <a:lnTo>
                  <a:pt x="1118" y="1118"/>
                </a:lnTo>
                <a:lnTo>
                  <a:pt x="1118" y="1118"/>
                </a:lnTo>
                <a:lnTo>
                  <a:pt x="1088" y="1106"/>
                </a:lnTo>
                <a:lnTo>
                  <a:pt x="1088" y="1106"/>
                </a:lnTo>
                <a:lnTo>
                  <a:pt x="1080" y="1104"/>
                </a:lnTo>
                <a:lnTo>
                  <a:pt x="1080" y="1104"/>
                </a:lnTo>
                <a:lnTo>
                  <a:pt x="1064" y="1104"/>
                </a:lnTo>
                <a:lnTo>
                  <a:pt x="1064" y="1104"/>
                </a:lnTo>
                <a:lnTo>
                  <a:pt x="1058" y="1106"/>
                </a:lnTo>
                <a:lnTo>
                  <a:pt x="1058" y="1106"/>
                </a:lnTo>
                <a:lnTo>
                  <a:pt x="1054" y="1094"/>
                </a:lnTo>
                <a:lnTo>
                  <a:pt x="1054" y="1094"/>
                </a:lnTo>
                <a:lnTo>
                  <a:pt x="1058" y="1092"/>
                </a:lnTo>
                <a:lnTo>
                  <a:pt x="1060" y="1090"/>
                </a:lnTo>
                <a:lnTo>
                  <a:pt x="1062" y="1088"/>
                </a:lnTo>
                <a:lnTo>
                  <a:pt x="1062" y="1088"/>
                </a:lnTo>
                <a:lnTo>
                  <a:pt x="1052" y="1088"/>
                </a:lnTo>
                <a:lnTo>
                  <a:pt x="1052" y="1088"/>
                </a:lnTo>
                <a:lnTo>
                  <a:pt x="1050" y="1086"/>
                </a:lnTo>
                <a:lnTo>
                  <a:pt x="1050" y="1086"/>
                </a:lnTo>
                <a:lnTo>
                  <a:pt x="1050" y="1086"/>
                </a:lnTo>
                <a:lnTo>
                  <a:pt x="1050" y="1086"/>
                </a:lnTo>
                <a:lnTo>
                  <a:pt x="1046" y="1082"/>
                </a:lnTo>
                <a:lnTo>
                  <a:pt x="1046" y="1082"/>
                </a:lnTo>
                <a:lnTo>
                  <a:pt x="1046" y="1082"/>
                </a:lnTo>
                <a:lnTo>
                  <a:pt x="1046" y="1082"/>
                </a:lnTo>
                <a:lnTo>
                  <a:pt x="1054" y="1078"/>
                </a:lnTo>
                <a:lnTo>
                  <a:pt x="1054" y="1078"/>
                </a:lnTo>
                <a:lnTo>
                  <a:pt x="1062" y="1080"/>
                </a:lnTo>
                <a:lnTo>
                  <a:pt x="1066" y="1082"/>
                </a:lnTo>
                <a:lnTo>
                  <a:pt x="1066" y="1082"/>
                </a:lnTo>
                <a:lnTo>
                  <a:pt x="1072" y="1088"/>
                </a:lnTo>
                <a:lnTo>
                  <a:pt x="1080" y="1090"/>
                </a:lnTo>
                <a:lnTo>
                  <a:pt x="1080" y="1090"/>
                </a:lnTo>
                <a:lnTo>
                  <a:pt x="1094" y="1092"/>
                </a:lnTo>
                <a:lnTo>
                  <a:pt x="1108" y="1092"/>
                </a:lnTo>
                <a:lnTo>
                  <a:pt x="1108" y="1092"/>
                </a:lnTo>
                <a:lnTo>
                  <a:pt x="1118" y="1090"/>
                </a:lnTo>
                <a:lnTo>
                  <a:pt x="1118" y="1090"/>
                </a:lnTo>
                <a:lnTo>
                  <a:pt x="1108" y="1086"/>
                </a:lnTo>
                <a:lnTo>
                  <a:pt x="1108" y="1086"/>
                </a:lnTo>
                <a:lnTo>
                  <a:pt x="1084" y="1086"/>
                </a:lnTo>
                <a:lnTo>
                  <a:pt x="1084" y="1086"/>
                </a:lnTo>
                <a:lnTo>
                  <a:pt x="1074" y="1086"/>
                </a:lnTo>
                <a:lnTo>
                  <a:pt x="1074" y="1086"/>
                </a:lnTo>
                <a:lnTo>
                  <a:pt x="1082" y="1080"/>
                </a:lnTo>
                <a:lnTo>
                  <a:pt x="1082" y="1080"/>
                </a:lnTo>
                <a:lnTo>
                  <a:pt x="1070" y="1080"/>
                </a:lnTo>
                <a:lnTo>
                  <a:pt x="1070" y="1080"/>
                </a:lnTo>
                <a:lnTo>
                  <a:pt x="1068" y="1080"/>
                </a:lnTo>
                <a:lnTo>
                  <a:pt x="1068" y="1080"/>
                </a:lnTo>
                <a:lnTo>
                  <a:pt x="1062" y="1074"/>
                </a:lnTo>
                <a:lnTo>
                  <a:pt x="1058" y="1072"/>
                </a:lnTo>
                <a:lnTo>
                  <a:pt x="1052" y="1072"/>
                </a:lnTo>
                <a:lnTo>
                  <a:pt x="1046" y="1076"/>
                </a:lnTo>
                <a:lnTo>
                  <a:pt x="1046" y="1076"/>
                </a:lnTo>
                <a:lnTo>
                  <a:pt x="1044" y="1064"/>
                </a:lnTo>
                <a:lnTo>
                  <a:pt x="1044" y="1064"/>
                </a:lnTo>
                <a:lnTo>
                  <a:pt x="1048" y="1064"/>
                </a:lnTo>
                <a:lnTo>
                  <a:pt x="1048" y="1064"/>
                </a:lnTo>
                <a:lnTo>
                  <a:pt x="1058" y="1068"/>
                </a:lnTo>
                <a:lnTo>
                  <a:pt x="1068" y="1068"/>
                </a:lnTo>
                <a:lnTo>
                  <a:pt x="1068" y="1068"/>
                </a:lnTo>
                <a:lnTo>
                  <a:pt x="1072" y="1074"/>
                </a:lnTo>
                <a:lnTo>
                  <a:pt x="1080" y="1076"/>
                </a:lnTo>
                <a:lnTo>
                  <a:pt x="1080" y="1076"/>
                </a:lnTo>
                <a:lnTo>
                  <a:pt x="1076" y="1070"/>
                </a:lnTo>
                <a:lnTo>
                  <a:pt x="1076" y="1070"/>
                </a:lnTo>
                <a:lnTo>
                  <a:pt x="1086" y="1064"/>
                </a:lnTo>
                <a:lnTo>
                  <a:pt x="1088" y="1062"/>
                </a:lnTo>
                <a:lnTo>
                  <a:pt x="1086" y="1056"/>
                </a:lnTo>
                <a:lnTo>
                  <a:pt x="1086" y="1056"/>
                </a:lnTo>
                <a:lnTo>
                  <a:pt x="1080" y="1056"/>
                </a:lnTo>
                <a:lnTo>
                  <a:pt x="1080" y="1056"/>
                </a:lnTo>
                <a:lnTo>
                  <a:pt x="1072" y="1054"/>
                </a:lnTo>
                <a:lnTo>
                  <a:pt x="1064" y="1054"/>
                </a:lnTo>
                <a:lnTo>
                  <a:pt x="1058" y="1056"/>
                </a:lnTo>
                <a:lnTo>
                  <a:pt x="1052" y="1058"/>
                </a:lnTo>
                <a:lnTo>
                  <a:pt x="1052" y="1058"/>
                </a:lnTo>
                <a:lnTo>
                  <a:pt x="1048" y="1060"/>
                </a:lnTo>
                <a:lnTo>
                  <a:pt x="1044" y="1060"/>
                </a:lnTo>
                <a:lnTo>
                  <a:pt x="1044" y="1060"/>
                </a:lnTo>
                <a:lnTo>
                  <a:pt x="1042" y="1056"/>
                </a:lnTo>
                <a:lnTo>
                  <a:pt x="1042" y="1056"/>
                </a:lnTo>
                <a:lnTo>
                  <a:pt x="1044" y="1054"/>
                </a:lnTo>
                <a:lnTo>
                  <a:pt x="1044" y="1054"/>
                </a:lnTo>
                <a:lnTo>
                  <a:pt x="1038" y="1054"/>
                </a:lnTo>
                <a:lnTo>
                  <a:pt x="1038" y="1054"/>
                </a:lnTo>
                <a:lnTo>
                  <a:pt x="1036" y="1052"/>
                </a:lnTo>
                <a:lnTo>
                  <a:pt x="1036" y="1052"/>
                </a:lnTo>
                <a:lnTo>
                  <a:pt x="1036" y="1054"/>
                </a:lnTo>
                <a:lnTo>
                  <a:pt x="1036" y="1054"/>
                </a:lnTo>
                <a:lnTo>
                  <a:pt x="1030" y="1056"/>
                </a:lnTo>
                <a:lnTo>
                  <a:pt x="1030" y="1056"/>
                </a:lnTo>
                <a:lnTo>
                  <a:pt x="1024" y="1056"/>
                </a:lnTo>
                <a:lnTo>
                  <a:pt x="1020" y="1052"/>
                </a:lnTo>
                <a:lnTo>
                  <a:pt x="1020" y="1052"/>
                </a:lnTo>
                <a:lnTo>
                  <a:pt x="1016" y="1048"/>
                </a:lnTo>
                <a:lnTo>
                  <a:pt x="1016" y="1048"/>
                </a:lnTo>
                <a:lnTo>
                  <a:pt x="1012" y="1046"/>
                </a:lnTo>
                <a:lnTo>
                  <a:pt x="1012" y="1046"/>
                </a:lnTo>
                <a:lnTo>
                  <a:pt x="1008" y="1046"/>
                </a:lnTo>
                <a:lnTo>
                  <a:pt x="1004" y="1046"/>
                </a:lnTo>
                <a:lnTo>
                  <a:pt x="1000" y="1042"/>
                </a:lnTo>
                <a:lnTo>
                  <a:pt x="1000" y="1042"/>
                </a:lnTo>
                <a:lnTo>
                  <a:pt x="984" y="1044"/>
                </a:lnTo>
                <a:lnTo>
                  <a:pt x="984" y="1044"/>
                </a:lnTo>
                <a:lnTo>
                  <a:pt x="968" y="1046"/>
                </a:lnTo>
                <a:lnTo>
                  <a:pt x="968" y="1046"/>
                </a:lnTo>
                <a:lnTo>
                  <a:pt x="972" y="1040"/>
                </a:lnTo>
                <a:lnTo>
                  <a:pt x="972" y="1040"/>
                </a:lnTo>
                <a:lnTo>
                  <a:pt x="966" y="1038"/>
                </a:lnTo>
                <a:lnTo>
                  <a:pt x="964" y="1036"/>
                </a:lnTo>
                <a:lnTo>
                  <a:pt x="964" y="1032"/>
                </a:lnTo>
                <a:lnTo>
                  <a:pt x="964" y="1030"/>
                </a:lnTo>
                <a:lnTo>
                  <a:pt x="964" y="1030"/>
                </a:lnTo>
                <a:lnTo>
                  <a:pt x="960" y="1026"/>
                </a:lnTo>
                <a:lnTo>
                  <a:pt x="956" y="1026"/>
                </a:lnTo>
                <a:lnTo>
                  <a:pt x="952" y="1024"/>
                </a:lnTo>
                <a:lnTo>
                  <a:pt x="950" y="1022"/>
                </a:lnTo>
                <a:lnTo>
                  <a:pt x="950" y="1022"/>
                </a:lnTo>
                <a:lnTo>
                  <a:pt x="990" y="1020"/>
                </a:lnTo>
                <a:lnTo>
                  <a:pt x="990" y="1020"/>
                </a:lnTo>
                <a:lnTo>
                  <a:pt x="988" y="1012"/>
                </a:lnTo>
                <a:lnTo>
                  <a:pt x="988" y="1012"/>
                </a:lnTo>
                <a:lnTo>
                  <a:pt x="1002" y="1016"/>
                </a:lnTo>
                <a:lnTo>
                  <a:pt x="1002" y="1016"/>
                </a:lnTo>
                <a:lnTo>
                  <a:pt x="1018" y="1008"/>
                </a:lnTo>
                <a:lnTo>
                  <a:pt x="1018" y="1008"/>
                </a:lnTo>
                <a:lnTo>
                  <a:pt x="1014" y="1002"/>
                </a:lnTo>
                <a:lnTo>
                  <a:pt x="1008" y="1000"/>
                </a:lnTo>
                <a:lnTo>
                  <a:pt x="1000" y="996"/>
                </a:lnTo>
                <a:lnTo>
                  <a:pt x="990" y="994"/>
                </a:lnTo>
                <a:lnTo>
                  <a:pt x="990" y="994"/>
                </a:lnTo>
                <a:lnTo>
                  <a:pt x="990" y="994"/>
                </a:lnTo>
                <a:lnTo>
                  <a:pt x="990" y="994"/>
                </a:lnTo>
                <a:lnTo>
                  <a:pt x="990" y="994"/>
                </a:lnTo>
                <a:lnTo>
                  <a:pt x="990" y="994"/>
                </a:lnTo>
                <a:lnTo>
                  <a:pt x="990" y="994"/>
                </a:lnTo>
                <a:lnTo>
                  <a:pt x="962" y="984"/>
                </a:lnTo>
                <a:lnTo>
                  <a:pt x="962" y="984"/>
                </a:lnTo>
                <a:lnTo>
                  <a:pt x="964" y="990"/>
                </a:lnTo>
                <a:lnTo>
                  <a:pt x="936" y="990"/>
                </a:lnTo>
                <a:lnTo>
                  <a:pt x="936" y="990"/>
                </a:lnTo>
                <a:lnTo>
                  <a:pt x="952" y="978"/>
                </a:lnTo>
                <a:lnTo>
                  <a:pt x="952" y="978"/>
                </a:lnTo>
                <a:lnTo>
                  <a:pt x="970" y="976"/>
                </a:lnTo>
                <a:lnTo>
                  <a:pt x="970" y="976"/>
                </a:lnTo>
                <a:lnTo>
                  <a:pt x="982" y="976"/>
                </a:lnTo>
                <a:lnTo>
                  <a:pt x="982" y="976"/>
                </a:lnTo>
                <a:lnTo>
                  <a:pt x="980" y="972"/>
                </a:lnTo>
                <a:lnTo>
                  <a:pt x="980" y="968"/>
                </a:lnTo>
                <a:lnTo>
                  <a:pt x="978" y="966"/>
                </a:lnTo>
                <a:lnTo>
                  <a:pt x="972" y="964"/>
                </a:lnTo>
                <a:lnTo>
                  <a:pt x="972" y="964"/>
                </a:lnTo>
                <a:lnTo>
                  <a:pt x="988" y="960"/>
                </a:lnTo>
                <a:lnTo>
                  <a:pt x="988" y="960"/>
                </a:lnTo>
                <a:lnTo>
                  <a:pt x="992" y="964"/>
                </a:lnTo>
                <a:lnTo>
                  <a:pt x="992" y="968"/>
                </a:lnTo>
                <a:lnTo>
                  <a:pt x="990" y="970"/>
                </a:lnTo>
                <a:lnTo>
                  <a:pt x="990" y="974"/>
                </a:lnTo>
                <a:lnTo>
                  <a:pt x="990" y="974"/>
                </a:lnTo>
                <a:lnTo>
                  <a:pt x="1006" y="980"/>
                </a:lnTo>
                <a:lnTo>
                  <a:pt x="1006" y="980"/>
                </a:lnTo>
                <a:lnTo>
                  <a:pt x="1002" y="968"/>
                </a:lnTo>
                <a:lnTo>
                  <a:pt x="1002" y="968"/>
                </a:lnTo>
                <a:lnTo>
                  <a:pt x="1018" y="964"/>
                </a:lnTo>
                <a:lnTo>
                  <a:pt x="1018" y="964"/>
                </a:lnTo>
                <a:lnTo>
                  <a:pt x="1024" y="970"/>
                </a:lnTo>
                <a:lnTo>
                  <a:pt x="1024" y="970"/>
                </a:lnTo>
                <a:lnTo>
                  <a:pt x="1026" y="964"/>
                </a:lnTo>
                <a:lnTo>
                  <a:pt x="1026" y="964"/>
                </a:lnTo>
                <a:lnTo>
                  <a:pt x="1032" y="962"/>
                </a:lnTo>
                <a:lnTo>
                  <a:pt x="1040" y="962"/>
                </a:lnTo>
                <a:lnTo>
                  <a:pt x="1046" y="964"/>
                </a:lnTo>
                <a:lnTo>
                  <a:pt x="1054" y="964"/>
                </a:lnTo>
                <a:lnTo>
                  <a:pt x="1054" y="964"/>
                </a:lnTo>
                <a:lnTo>
                  <a:pt x="1042" y="954"/>
                </a:lnTo>
                <a:lnTo>
                  <a:pt x="1042" y="954"/>
                </a:lnTo>
                <a:lnTo>
                  <a:pt x="1054" y="954"/>
                </a:lnTo>
                <a:lnTo>
                  <a:pt x="1056" y="956"/>
                </a:lnTo>
                <a:lnTo>
                  <a:pt x="1058" y="958"/>
                </a:lnTo>
                <a:lnTo>
                  <a:pt x="1058" y="958"/>
                </a:lnTo>
                <a:lnTo>
                  <a:pt x="1076" y="958"/>
                </a:lnTo>
                <a:lnTo>
                  <a:pt x="1084" y="954"/>
                </a:lnTo>
                <a:lnTo>
                  <a:pt x="1088" y="950"/>
                </a:lnTo>
                <a:lnTo>
                  <a:pt x="1088" y="950"/>
                </a:lnTo>
                <a:lnTo>
                  <a:pt x="1106" y="954"/>
                </a:lnTo>
                <a:lnTo>
                  <a:pt x="1106" y="954"/>
                </a:lnTo>
                <a:lnTo>
                  <a:pt x="1106" y="956"/>
                </a:lnTo>
                <a:lnTo>
                  <a:pt x="1106" y="956"/>
                </a:lnTo>
                <a:lnTo>
                  <a:pt x="1100" y="956"/>
                </a:lnTo>
                <a:lnTo>
                  <a:pt x="1100" y="956"/>
                </a:lnTo>
                <a:lnTo>
                  <a:pt x="1090" y="958"/>
                </a:lnTo>
                <a:lnTo>
                  <a:pt x="1090" y="958"/>
                </a:lnTo>
                <a:lnTo>
                  <a:pt x="1096" y="962"/>
                </a:lnTo>
                <a:lnTo>
                  <a:pt x="1096" y="962"/>
                </a:lnTo>
                <a:lnTo>
                  <a:pt x="1098" y="964"/>
                </a:lnTo>
                <a:lnTo>
                  <a:pt x="1098" y="968"/>
                </a:lnTo>
                <a:lnTo>
                  <a:pt x="1098" y="968"/>
                </a:lnTo>
                <a:lnTo>
                  <a:pt x="1106" y="964"/>
                </a:lnTo>
                <a:lnTo>
                  <a:pt x="1106" y="964"/>
                </a:lnTo>
                <a:lnTo>
                  <a:pt x="1108" y="964"/>
                </a:lnTo>
                <a:lnTo>
                  <a:pt x="1108" y="964"/>
                </a:lnTo>
                <a:lnTo>
                  <a:pt x="1116" y="966"/>
                </a:lnTo>
                <a:lnTo>
                  <a:pt x="1124" y="966"/>
                </a:lnTo>
                <a:lnTo>
                  <a:pt x="1124" y="966"/>
                </a:lnTo>
                <a:lnTo>
                  <a:pt x="1130" y="966"/>
                </a:lnTo>
                <a:lnTo>
                  <a:pt x="1136" y="966"/>
                </a:lnTo>
                <a:lnTo>
                  <a:pt x="1136" y="966"/>
                </a:lnTo>
                <a:lnTo>
                  <a:pt x="1138" y="976"/>
                </a:lnTo>
                <a:lnTo>
                  <a:pt x="1138" y="976"/>
                </a:lnTo>
                <a:lnTo>
                  <a:pt x="1150" y="978"/>
                </a:lnTo>
                <a:lnTo>
                  <a:pt x="1150" y="978"/>
                </a:lnTo>
                <a:lnTo>
                  <a:pt x="1140" y="980"/>
                </a:lnTo>
                <a:lnTo>
                  <a:pt x="1134" y="980"/>
                </a:lnTo>
                <a:lnTo>
                  <a:pt x="1130" y="978"/>
                </a:lnTo>
                <a:lnTo>
                  <a:pt x="1130" y="978"/>
                </a:lnTo>
                <a:lnTo>
                  <a:pt x="1130" y="984"/>
                </a:lnTo>
                <a:lnTo>
                  <a:pt x="1130" y="984"/>
                </a:lnTo>
                <a:lnTo>
                  <a:pt x="1126" y="990"/>
                </a:lnTo>
                <a:lnTo>
                  <a:pt x="1126" y="990"/>
                </a:lnTo>
                <a:lnTo>
                  <a:pt x="1136" y="988"/>
                </a:lnTo>
                <a:lnTo>
                  <a:pt x="1146" y="986"/>
                </a:lnTo>
                <a:lnTo>
                  <a:pt x="1154" y="986"/>
                </a:lnTo>
                <a:lnTo>
                  <a:pt x="1162" y="990"/>
                </a:lnTo>
                <a:lnTo>
                  <a:pt x="1162" y="990"/>
                </a:lnTo>
                <a:lnTo>
                  <a:pt x="1168" y="984"/>
                </a:lnTo>
                <a:lnTo>
                  <a:pt x="1168" y="984"/>
                </a:lnTo>
                <a:lnTo>
                  <a:pt x="1172" y="984"/>
                </a:lnTo>
                <a:lnTo>
                  <a:pt x="1176" y="984"/>
                </a:lnTo>
                <a:lnTo>
                  <a:pt x="1186" y="984"/>
                </a:lnTo>
                <a:lnTo>
                  <a:pt x="1186" y="984"/>
                </a:lnTo>
                <a:lnTo>
                  <a:pt x="1206" y="986"/>
                </a:lnTo>
                <a:lnTo>
                  <a:pt x="1206" y="986"/>
                </a:lnTo>
                <a:lnTo>
                  <a:pt x="1188" y="1000"/>
                </a:lnTo>
                <a:lnTo>
                  <a:pt x="1188" y="1000"/>
                </a:lnTo>
                <a:lnTo>
                  <a:pt x="1184" y="1002"/>
                </a:lnTo>
                <a:lnTo>
                  <a:pt x="1178" y="1002"/>
                </a:lnTo>
                <a:lnTo>
                  <a:pt x="1178" y="1002"/>
                </a:lnTo>
                <a:lnTo>
                  <a:pt x="1172" y="1000"/>
                </a:lnTo>
                <a:lnTo>
                  <a:pt x="1164" y="1002"/>
                </a:lnTo>
                <a:lnTo>
                  <a:pt x="1164" y="1002"/>
                </a:lnTo>
                <a:lnTo>
                  <a:pt x="1166" y="1008"/>
                </a:lnTo>
                <a:lnTo>
                  <a:pt x="1166" y="1008"/>
                </a:lnTo>
                <a:lnTo>
                  <a:pt x="1148" y="1012"/>
                </a:lnTo>
                <a:lnTo>
                  <a:pt x="1140" y="1014"/>
                </a:lnTo>
                <a:lnTo>
                  <a:pt x="1130" y="1014"/>
                </a:lnTo>
                <a:lnTo>
                  <a:pt x="1130" y="1014"/>
                </a:lnTo>
                <a:lnTo>
                  <a:pt x="1130" y="1012"/>
                </a:lnTo>
                <a:lnTo>
                  <a:pt x="1130" y="1012"/>
                </a:lnTo>
                <a:lnTo>
                  <a:pt x="1138" y="1010"/>
                </a:lnTo>
                <a:lnTo>
                  <a:pt x="1138" y="1010"/>
                </a:lnTo>
                <a:lnTo>
                  <a:pt x="1126" y="1004"/>
                </a:lnTo>
                <a:lnTo>
                  <a:pt x="1126" y="1004"/>
                </a:lnTo>
                <a:lnTo>
                  <a:pt x="1114" y="1004"/>
                </a:lnTo>
                <a:lnTo>
                  <a:pt x="1114" y="1004"/>
                </a:lnTo>
                <a:lnTo>
                  <a:pt x="1114" y="1008"/>
                </a:lnTo>
                <a:lnTo>
                  <a:pt x="1112" y="1010"/>
                </a:lnTo>
                <a:lnTo>
                  <a:pt x="1112" y="1010"/>
                </a:lnTo>
                <a:lnTo>
                  <a:pt x="1108" y="1012"/>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104" y="1014"/>
                </a:lnTo>
                <a:lnTo>
                  <a:pt x="1096" y="1020"/>
                </a:lnTo>
                <a:lnTo>
                  <a:pt x="1096" y="1020"/>
                </a:lnTo>
                <a:lnTo>
                  <a:pt x="1088" y="1018"/>
                </a:lnTo>
                <a:lnTo>
                  <a:pt x="1080" y="1016"/>
                </a:lnTo>
                <a:lnTo>
                  <a:pt x="1072" y="1014"/>
                </a:lnTo>
                <a:lnTo>
                  <a:pt x="1064" y="1010"/>
                </a:lnTo>
                <a:lnTo>
                  <a:pt x="1064" y="1010"/>
                </a:lnTo>
                <a:lnTo>
                  <a:pt x="1056" y="1004"/>
                </a:lnTo>
                <a:lnTo>
                  <a:pt x="1056" y="1004"/>
                </a:lnTo>
                <a:lnTo>
                  <a:pt x="1050" y="1008"/>
                </a:lnTo>
                <a:lnTo>
                  <a:pt x="1050" y="1008"/>
                </a:lnTo>
                <a:lnTo>
                  <a:pt x="1032" y="1008"/>
                </a:lnTo>
                <a:lnTo>
                  <a:pt x="1032" y="1008"/>
                </a:lnTo>
                <a:lnTo>
                  <a:pt x="1028" y="1012"/>
                </a:lnTo>
                <a:lnTo>
                  <a:pt x="1026" y="1014"/>
                </a:lnTo>
                <a:lnTo>
                  <a:pt x="1026" y="1014"/>
                </a:lnTo>
                <a:lnTo>
                  <a:pt x="1056" y="1014"/>
                </a:lnTo>
                <a:lnTo>
                  <a:pt x="1056" y="1014"/>
                </a:lnTo>
                <a:lnTo>
                  <a:pt x="1064" y="1016"/>
                </a:lnTo>
                <a:lnTo>
                  <a:pt x="1064" y="1016"/>
                </a:lnTo>
                <a:lnTo>
                  <a:pt x="1086" y="1024"/>
                </a:lnTo>
                <a:lnTo>
                  <a:pt x="1086" y="1024"/>
                </a:lnTo>
                <a:lnTo>
                  <a:pt x="1080" y="1028"/>
                </a:lnTo>
                <a:lnTo>
                  <a:pt x="1080" y="1028"/>
                </a:lnTo>
                <a:lnTo>
                  <a:pt x="1072" y="1030"/>
                </a:lnTo>
                <a:lnTo>
                  <a:pt x="1072" y="1030"/>
                </a:lnTo>
                <a:lnTo>
                  <a:pt x="1064" y="1032"/>
                </a:lnTo>
                <a:lnTo>
                  <a:pt x="1062" y="1030"/>
                </a:lnTo>
                <a:lnTo>
                  <a:pt x="1058" y="1026"/>
                </a:lnTo>
                <a:lnTo>
                  <a:pt x="1058" y="1026"/>
                </a:lnTo>
                <a:lnTo>
                  <a:pt x="1050" y="1026"/>
                </a:lnTo>
                <a:lnTo>
                  <a:pt x="1050" y="1026"/>
                </a:lnTo>
                <a:lnTo>
                  <a:pt x="1052" y="1032"/>
                </a:lnTo>
                <a:lnTo>
                  <a:pt x="1052" y="1032"/>
                </a:lnTo>
                <a:lnTo>
                  <a:pt x="1046" y="1038"/>
                </a:lnTo>
                <a:lnTo>
                  <a:pt x="1046" y="1038"/>
                </a:lnTo>
                <a:lnTo>
                  <a:pt x="1050" y="1038"/>
                </a:lnTo>
                <a:lnTo>
                  <a:pt x="1054" y="1036"/>
                </a:lnTo>
                <a:lnTo>
                  <a:pt x="1054" y="1036"/>
                </a:lnTo>
                <a:lnTo>
                  <a:pt x="1060" y="1034"/>
                </a:lnTo>
                <a:lnTo>
                  <a:pt x="1066" y="1034"/>
                </a:lnTo>
                <a:lnTo>
                  <a:pt x="1076" y="1034"/>
                </a:lnTo>
                <a:lnTo>
                  <a:pt x="1076" y="1034"/>
                </a:lnTo>
                <a:lnTo>
                  <a:pt x="1082" y="1034"/>
                </a:lnTo>
                <a:lnTo>
                  <a:pt x="1088" y="1032"/>
                </a:lnTo>
                <a:lnTo>
                  <a:pt x="1088" y="1032"/>
                </a:lnTo>
                <a:lnTo>
                  <a:pt x="1100" y="1024"/>
                </a:lnTo>
                <a:lnTo>
                  <a:pt x="1100" y="1024"/>
                </a:lnTo>
                <a:lnTo>
                  <a:pt x="1114" y="1026"/>
                </a:lnTo>
                <a:lnTo>
                  <a:pt x="1120" y="1024"/>
                </a:lnTo>
                <a:lnTo>
                  <a:pt x="1126" y="1020"/>
                </a:lnTo>
                <a:lnTo>
                  <a:pt x="1126" y="1020"/>
                </a:lnTo>
                <a:lnTo>
                  <a:pt x="1144" y="1030"/>
                </a:lnTo>
                <a:lnTo>
                  <a:pt x="1144" y="1030"/>
                </a:lnTo>
                <a:lnTo>
                  <a:pt x="1150" y="1024"/>
                </a:lnTo>
                <a:lnTo>
                  <a:pt x="1150" y="1024"/>
                </a:lnTo>
                <a:lnTo>
                  <a:pt x="1158" y="1022"/>
                </a:lnTo>
                <a:lnTo>
                  <a:pt x="1158" y="1022"/>
                </a:lnTo>
                <a:lnTo>
                  <a:pt x="1162" y="1024"/>
                </a:lnTo>
                <a:lnTo>
                  <a:pt x="1162" y="1024"/>
                </a:lnTo>
                <a:lnTo>
                  <a:pt x="1156" y="1028"/>
                </a:lnTo>
                <a:lnTo>
                  <a:pt x="1156" y="1028"/>
                </a:lnTo>
                <a:lnTo>
                  <a:pt x="1154" y="1030"/>
                </a:lnTo>
                <a:lnTo>
                  <a:pt x="1154" y="1030"/>
                </a:lnTo>
                <a:lnTo>
                  <a:pt x="1156" y="1036"/>
                </a:lnTo>
                <a:lnTo>
                  <a:pt x="1156" y="1036"/>
                </a:lnTo>
                <a:lnTo>
                  <a:pt x="1132" y="1042"/>
                </a:lnTo>
                <a:lnTo>
                  <a:pt x="1132" y="1042"/>
                </a:lnTo>
                <a:lnTo>
                  <a:pt x="1118" y="1038"/>
                </a:lnTo>
                <a:lnTo>
                  <a:pt x="1104" y="1040"/>
                </a:lnTo>
                <a:lnTo>
                  <a:pt x="1104" y="1040"/>
                </a:lnTo>
                <a:lnTo>
                  <a:pt x="1112" y="1046"/>
                </a:lnTo>
                <a:lnTo>
                  <a:pt x="1112" y="1046"/>
                </a:lnTo>
                <a:lnTo>
                  <a:pt x="1118" y="1042"/>
                </a:lnTo>
                <a:lnTo>
                  <a:pt x="1122" y="1040"/>
                </a:lnTo>
                <a:lnTo>
                  <a:pt x="1126" y="1042"/>
                </a:lnTo>
                <a:lnTo>
                  <a:pt x="1126" y="1042"/>
                </a:lnTo>
                <a:lnTo>
                  <a:pt x="1134" y="1046"/>
                </a:lnTo>
                <a:lnTo>
                  <a:pt x="1142" y="1048"/>
                </a:lnTo>
                <a:lnTo>
                  <a:pt x="1142" y="1048"/>
                </a:lnTo>
                <a:lnTo>
                  <a:pt x="1146" y="1052"/>
                </a:lnTo>
                <a:lnTo>
                  <a:pt x="1146" y="1052"/>
                </a:lnTo>
                <a:lnTo>
                  <a:pt x="1140" y="1054"/>
                </a:lnTo>
                <a:lnTo>
                  <a:pt x="1136" y="1058"/>
                </a:lnTo>
                <a:lnTo>
                  <a:pt x="1136" y="1058"/>
                </a:lnTo>
                <a:lnTo>
                  <a:pt x="1132" y="1064"/>
                </a:lnTo>
                <a:lnTo>
                  <a:pt x="1124" y="1068"/>
                </a:lnTo>
                <a:lnTo>
                  <a:pt x="1124" y="1068"/>
                </a:lnTo>
                <a:lnTo>
                  <a:pt x="1122" y="1070"/>
                </a:lnTo>
                <a:lnTo>
                  <a:pt x="1124" y="1072"/>
                </a:lnTo>
                <a:lnTo>
                  <a:pt x="1124" y="1072"/>
                </a:lnTo>
                <a:lnTo>
                  <a:pt x="1148" y="1070"/>
                </a:lnTo>
                <a:lnTo>
                  <a:pt x="1148" y="1070"/>
                </a:lnTo>
                <a:lnTo>
                  <a:pt x="1166" y="1066"/>
                </a:lnTo>
                <a:lnTo>
                  <a:pt x="1184" y="1064"/>
                </a:lnTo>
                <a:lnTo>
                  <a:pt x="1184" y="1064"/>
                </a:lnTo>
                <a:lnTo>
                  <a:pt x="1194" y="1062"/>
                </a:lnTo>
                <a:lnTo>
                  <a:pt x="1204" y="1064"/>
                </a:lnTo>
                <a:lnTo>
                  <a:pt x="1204" y="1064"/>
                </a:lnTo>
                <a:lnTo>
                  <a:pt x="1204" y="1062"/>
                </a:lnTo>
                <a:lnTo>
                  <a:pt x="1206" y="1060"/>
                </a:lnTo>
                <a:lnTo>
                  <a:pt x="1210" y="1058"/>
                </a:lnTo>
                <a:lnTo>
                  <a:pt x="1216" y="1058"/>
                </a:lnTo>
                <a:lnTo>
                  <a:pt x="1220" y="1056"/>
                </a:lnTo>
                <a:lnTo>
                  <a:pt x="1220" y="1056"/>
                </a:lnTo>
                <a:lnTo>
                  <a:pt x="1214" y="1050"/>
                </a:lnTo>
                <a:lnTo>
                  <a:pt x="1202" y="1050"/>
                </a:lnTo>
                <a:lnTo>
                  <a:pt x="1202" y="1050"/>
                </a:lnTo>
                <a:lnTo>
                  <a:pt x="1210" y="1044"/>
                </a:lnTo>
                <a:lnTo>
                  <a:pt x="1210" y="1044"/>
                </a:lnTo>
                <a:lnTo>
                  <a:pt x="1196" y="1040"/>
                </a:lnTo>
                <a:lnTo>
                  <a:pt x="1196" y="1040"/>
                </a:lnTo>
                <a:lnTo>
                  <a:pt x="1192" y="1044"/>
                </a:lnTo>
                <a:lnTo>
                  <a:pt x="1190" y="1046"/>
                </a:lnTo>
                <a:lnTo>
                  <a:pt x="1186" y="1050"/>
                </a:lnTo>
                <a:lnTo>
                  <a:pt x="1180" y="1050"/>
                </a:lnTo>
                <a:lnTo>
                  <a:pt x="1180" y="1050"/>
                </a:lnTo>
                <a:lnTo>
                  <a:pt x="1176" y="1046"/>
                </a:lnTo>
                <a:lnTo>
                  <a:pt x="1170" y="1044"/>
                </a:lnTo>
                <a:lnTo>
                  <a:pt x="1170" y="1044"/>
                </a:lnTo>
                <a:lnTo>
                  <a:pt x="1156" y="1040"/>
                </a:lnTo>
                <a:lnTo>
                  <a:pt x="1156" y="1040"/>
                </a:lnTo>
                <a:lnTo>
                  <a:pt x="1162" y="1034"/>
                </a:lnTo>
                <a:lnTo>
                  <a:pt x="1168" y="1030"/>
                </a:lnTo>
                <a:lnTo>
                  <a:pt x="1178" y="1018"/>
                </a:lnTo>
                <a:lnTo>
                  <a:pt x="1178" y="1018"/>
                </a:lnTo>
                <a:lnTo>
                  <a:pt x="1186" y="1014"/>
                </a:lnTo>
                <a:lnTo>
                  <a:pt x="1196" y="1012"/>
                </a:lnTo>
                <a:lnTo>
                  <a:pt x="1196" y="1012"/>
                </a:lnTo>
                <a:lnTo>
                  <a:pt x="1204" y="1012"/>
                </a:lnTo>
                <a:lnTo>
                  <a:pt x="1204" y="1012"/>
                </a:lnTo>
                <a:lnTo>
                  <a:pt x="1204" y="1012"/>
                </a:lnTo>
                <a:lnTo>
                  <a:pt x="1204" y="1012"/>
                </a:lnTo>
                <a:lnTo>
                  <a:pt x="1192" y="1004"/>
                </a:lnTo>
                <a:lnTo>
                  <a:pt x="1192" y="1004"/>
                </a:lnTo>
                <a:lnTo>
                  <a:pt x="1198" y="1002"/>
                </a:lnTo>
                <a:lnTo>
                  <a:pt x="1198" y="1002"/>
                </a:lnTo>
                <a:lnTo>
                  <a:pt x="1214" y="998"/>
                </a:lnTo>
                <a:lnTo>
                  <a:pt x="1214" y="998"/>
                </a:lnTo>
                <a:lnTo>
                  <a:pt x="1214" y="994"/>
                </a:lnTo>
                <a:lnTo>
                  <a:pt x="1214" y="990"/>
                </a:lnTo>
                <a:lnTo>
                  <a:pt x="1214" y="990"/>
                </a:lnTo>
                <a:lnTo>
                  <a:pt x="1220" y="988"/>
                </a:lnTo>
                <a:lnTo>
                  <a:pt x="1226" y="986"/>
                </a:lnTo>
                <a:lnTo>
                  <a:pt x="1226" y="986"/>
                </a:lnTo>
                <a:lnTo>
                  <a:pt x="1226" y="978"/>
                </a:lnTo>
                <a:lnTo>
                  <a:pt x="1226" y="974"/>
                </a:lnTo>
                <a:lnTo>
                  <a:pt x="1220" y="970"/>
                </a:lnTo>
                <a:lnTo>
                  <a:pt x="1214" y="968"/>
                </a:lnTo>
                <a:lnTo>
                  <a:pt x="1214" y="968"/>
                </a:lnTo>
                <a:lnTo>
                  <a:pt x="1214" y="966"/>
                </a:lnTo>
                <a:lnTo>
                  <a:pt x="1218" y="966"/>
                </a:lnTo>
                <a:lnTo>
                  <a:pt x="1224" y="966"/>
                </a:lnTo>
                <a:lnTo>
                  <a:pt x="1224" y="966"/>
                </a:lnTo>
                <a:lnTo>
                  <a:pt x="1230" y="970"/>
                </a:lnTo>
                <a:lnTo>
                  <a:pt x="1230" y="970"/>
                </a:lnTo>
                <a:lnTo>
                  <a:pt x="1238" y="972"/>
                </a:lnTo>
                <a:lnTo>
                  <a:pt x="1244" y="970"/>
                </a:lnTo>
                <a:lnTo>
                  <a:pt x="1244" y="970"/>
                </a:lnTo>
                <a:lnTo>
                  <a:pt x="1258" y="968"/>
                </a:lnTo>
                <a:lnTo>
                  <a:pt x="1270" y="970"/>
                </a:lnTo>
                <a:lnTo>
                  <a:pt x="1270" y="970"/>
                </a:lnTo>
                <a:lnTo>
                  <a:pt x="1278" y="970"/>
                </a:lnTo>
                <a:lnTo>
                  <a:pt x="1278" y="970"/>
                </a:lnTo>
                <a:lnTo>
                  <a:pt x="1268" y="964"/>
                </a:lnTo>
                <a:lnTo>
                  <a:pt x="1264" y="962"/>
                </a:lnTo>
                <a:lnTo>
                  <a:pt x="1256" y="962"/>
                </a:lnTo>
                <a:lnTo>
                  <a:pt x="1256" y="962"/>
                </a:lnTo>
                <a:lnTo>
                  <a:pt x="1250" y="960"/>
                </a:lnTo>
                <a:lnTo>
                  <a:pt x="1250" y="960"/>
                </a:lnTo>
                <a:lnTo>
                  <a:pt x="1256" y="954"/>
                </a:lnTo>
                <a:lnTo>
                  <a:pt x="1256" y="954"/>
                </a:lnTo>
                <a:lnTo>
                  <a:pt x="1260" y="948"/>
                </a:lnTo>
                <a:lnTo>
                  <a:pt x="1260" y="948"/>
                </a:lnTo>
                <a:lnTo>
                  <a:pt x="1256" y="938"/>
                </a:lnTo>
                <a:lnTo>
                  <a:pt x="1256" y="938"/>
                </a:lnTo>
                <a:lnTo>
                  <a:pt x="1252" y="942"/>
                </a:lnTo>
                <a:lnTo>
                  <a:pt x="1248" y="944"/>
                </a:lnTo>
                <a:lnTo>
                  <a:pt x="1244" y="944"/>
                </a:lnTo>
                <a:lnTo>
                  <a:pt x="1238" y="944"/>
                </a:lnTo>
                <a:lnTo>
                  <a:pt x="1238" y="944"/>
                </a:lnTo>
                <a:lnTo>
                  <a:pt x="1234" y="942"/>
                </a:lnTo>
                <a:lnTo>
                  <a:pt x="1228" y="944"/>
                </a:lnTo>
                <a:lnTo>
                  <a:pt x="1222" y="942"/>
                </a:lnTo>
                <a:lnTo>
                  <a:pt x="1218" y="940"/>
                </a:lnTo>
                <a:lnTo>
                  <a:pt x="1218" y="940"/>
                </a:lnTo>
                <a:lnTo>
                  <a:pt x="1224" y="940"/>
                </a:lnTo>
                <a:lnTo>
                  <a:pt x="1224" y="940"/>
                </a:lnTo>
                <a:lnTo>
                  <a:pt x="1232" y="938"/>
                </a:lnTo>
                <a:lnTo>
                  <a:pt x="1236" y="936"/>
                </a:lnTo>
                <a:lnTo>
                  <a:pt x="1238" y="932"/>
                </a:lnTo>
                <a:lnTo>
                  <a:pt x="1238" y="932"/>
                </a:lnTo>
                <a:lnTo>
                  <a:pt x="1240" y="930"/>
                </a:lnTo>
                <a:lnTo>
                  <a:pt x="1242" y="928"/>
                </a:lnTo>
                <a:lnTo>
                  <a:pt x="1250" y="928"/>
                </a:lnTo>
                <a:lnTo>
                  <a:pt x="1250" y="928"/>
                </a:lnTo>
                <a:lnTo>
                  <a:pt x="1274" y="934"/>
                </a:lnTo>
                <a:lnTo>
                  <a:pt x="1274" y="934"/>
                </a:lnTo>
                <a:lnTo>
                  <a:pt x="1270" y="930"/>
                </a:lnTo>
                <a:lnTo>
                  <a:pt x="1270" y="930"/>
                </a:lnTo>
                <a:lnTo>
                  <a:pt x="1270" y="928"/>
                </a:lnTo>
                <a:lnTo>
                  <a:pt x="1270" y="928"/>
                </a:lnTo>
                <a:lnTo>
                  <a:pt x="1274" y="926"/>
                </a:lnTo>
                <a:lnTo>
                  <a:pt x="1274" y="926"/>
                </a:lnTo>
                <a:lnTo>
                  <a:pt x="1292" y="932"/>
                </a:lnTo>
                <a:lnTo>
                  <a:pt x="1292" y="932"/>
                </a:lnTo>
                <a:lnTo>
                  <a:pt x="1282" y="938"/>
                </a:lnTo>
                <a:lnTo>
                  <a:pt x="1282" y="938"/>
                </a:lnTo>
                <a:lnTo>
                  <a:pt x="1284" y="940"/>
                </a:lnTo>
                <a:lnTo>
                  <a:pt x="1284" y="942"/>
                </a:lnTo>
                <a:lnTo>
                  <a:pt x="1282" y="946"/>
                </a:lnTo>
                <a:lnTo>
                  <a:pt x="1276" y="950"/>
                </a:lnTo>
                <a:lnTo>
                  <a:pt x="1272" y="952"/>
                </a:lnTo>
                <a:lnTo>
                  <a:pt x="1272" y="952"/>
                </a:lnTo>
                <a:lnTo>
                  <a:pt x="1280" y="952"/>
                </a:lnTo>
                <a:lnTo>
                  <a:pt x="1280" y="952"/>
                </a:lnTo>
                <a:lnTo>
                  <a:pt x="1286" y="950"/>
                </a:lnTo>
                <a:lnTo>
                  <a:pt x="1290" y="950"/>
                </a:lnTo>
                <a:lnTo>
                  <a:pt x="1292" y="952"/>
                </a:lnTo>
                <a:lnTo>
                  <a:pt x="1294" y="954"/>
                </a:lnTo>
                <a:lnTo>
                  <a:pt x="1294" y="954"/>
                </a:lnTo>
                <a:lnTo>
                  <a:pt x="1292" y="960"/>
                </a:lnTo>
                <a:lnTo>
                  <a:pt x="1290" y="964"/>
                </a:lnTo>
                <a:lnTo>
                  <a:pt x="1290" y="964"/>
                </a:lnTo>
                <a:lnTo>
                  <a:pt x="1286" y="966"/>
                </a:lnTo>
                <a:lnTo>
                  <a:pt x="1286" y="968"/>
                </a:lnTo>
                <a:lnTo>
                  <a:pt x="1286" y="972"/>
                </a:lnTo>
                <a:lnTo>
                  <a:pt x="1286" y="972"/>
                </a:lnTo>
                <a:lnTo>
                  <a:pt x="1298" y="974"/>
                </a:lnTo>
                <a:lnTo>
                  <a:pt x="1298" y="974"/>
                </a:lnTo>
                <a:lnTo>
                  <a:pt x="1298" y="972"/>
                </a:lnTo>
                <a:lnTo>
                  <a:pt x="1300" y="968"/>
                </a:lnTo>
                <a:lnTo>
                  <a:pt x="1310" y="966"/>
                </a:lnTo>
                <a:lnTo>
                  <a:pt x="1310" y="966"/>
                </a:lnTo>
                <a:lnTo>
                  <a:pt x="1318" y="964"/>
                </a:lnTo>
                <a:lnTo>
                  <a:pt x="1324" y="964"/>
                </a:lnTo>
                <a:lnTo>
                  <a:pt x="1324" y="964"/>
                </a:lnTo>
                <a:lnTo>
                  <a:pt x="1328" y="962"/>
                </a:lnTo>
                <a:lnTo>
                  <a:pt x="1332" y="962"/>
                </a:lnTo>
                <a:lnTo>
                  <a:pt x="1342" y="962"/>
                </a:lnTo>
                <a:lnTo>
                  <a:pt x="1342" y="962"/>
                </a:lnTo>
                <a:lnTo>
                  <a:pt x="1364" y="952"/>
                </a:lnTo>
                <a:lnTo>
                  <a:pt x="1364" y="952"/>
                </a:lnTo>
                <a:lnTo>
                  <a:pt x="1350" y="946"/>
                </a:lnTo>
                <a:lnTo>
                  <a:pt x="1350" y="946"/>
                </a:lnTo>
                <a:lnTo>
                  <a:pt x="1356" y="944"/>
                </a:lnTo>
                <a:lnTo>
                  <a:pt x="1362" y="942"/>
                </a:lnTo>
                <a:lnTo>
                  <a:pt x="1362" y="942"/>
                </a:lnTo>
                <a:lnTo>
                  <a:pt x="1364" y="938"/>
                </a:lnTo>
                <a:lnTo>
                  <a:pt x="1368" y="938"/>
                </a:lnTo>
                <a:lnTo>
                  <a:pt x="1378" y="936"/>
                </a:lnTo>
                <a:lnTo>
                  <a:pt x="1378" y="936"/>
                </a:lnTo>
                <a:lnTo>
                  <a:pt x="1384" y="938"/>
                </a:lnTo>
                <a:lnTo>
                  <a:pt x="1386" y="942"/>
                </a:lnTo>
                <a:lnTo>
                  <a:pt x="1386" y="942"/>
                </a:lnTo>
                <a:lnTo>
                  <a:pt x="1384" y="950"/>
                </a:lnTo>
                <a:lnTo>
                  <a:pt x="1384" y="950"/>
                </a:lnTo>
                <a:lnTo>
                  <a:pt x="1394" y="948"/>
                </a:lnTo>
                <a:lnTo>
                  <a:pt x="1394" y="948"/>
                </a:lnTo>
                <a:lnTo>
                  <a:pt x="1388" y="944"/>
                </a:lnTo>
                <a:lnTo>
                  <a:pt x="1388" y="944"/>
                </a:lnTo>
                <a:lnTo>
                  <a:pt x="1392" y="942"/>
                </a:lnTo>
                <a:lnTo>
                  <a:pt x="1396" y="940"/>
                </a:lnTo>
                <a:lnTo>
                  <a:pt x="1406" y="940"/>
                </a:lnTo>
                <a:lnTo>
                  <a:pt x="1406" y="940"/>
                </a:lnTo>
                <a:lnTo>
                  <a:pt x="1406" y="946"/>
                </a:lnTo>
                <a:lnTo>
                  <a:pt x="1408" y="954"/>
                </a:lnTo>
                <a:lnTo>
                  <a:pt x="1414" y="960"/>
                </a:lnTo>
                <a:lnTo>
                  <a:pt x="1420" y="966"/>
                </a:lnTo>
                <a:lnTo>
                  <a:pt x="1420" y="966"/>
                </a:lnTo>
                <a:lnTo>
                  <a:pt x="1412" y="966"/>
                </a:lnTo>
                <a:lnTo>
                  <a:pt x="1412" y="966"/>
                </a:lnTo>
                <a:lnTo>
                  <a:pt x="1402" y="964"/>
                </a:lnTo>
                <a:lnTo>
                  <a:pt x="1396" y="960"/>
                </a:lnTo>
                <a:lnTo>
                  <a:pt x="1396" y="960"/>
                </a:lnTo>
                <a:lnTo>
                  <a:pt x="1392" y="956"/>
                </a:lnTo>
                <a:lnTo>
                  <a:pt x="1388" y="956"/>
                </a:lnTo>
                <a:lnTo>
                  <a:pt x="1384" y="956"/>
                </a:lnTo>
                <a:lnTo>
                  <a:pt x="1380" y="960"/>
                </a:lnTo>
                <a:lnTo>
                  <a:pt x="1380" y="960"/>
                </a:lnTo>
                <a:lnTo>
                  <a:pt x="1376" y="964"/>
                </a:lnTo>
                <a:lnTo>
                  <a:pt x="1376" y="964"/>
                </a:lnTo>
                <a:lnTo>
                  <a:pt x="1352" y="970"/>
                </a:lnTo>
                <a:lnTo>
                  <a:pt x="1352" y="970"/>
                </a:lnTo>
                <a:lnTo>
                  <a:pt x="1354" y="972"/>
                </a:lnTo>
                <a:lnTo>
                  <a:pt x="1352" y="974"/>
                </a:lnTo>
                <a:lnTo>
                  <a:pt x="1342" y="976"/>
                </a:lnTo>
                <a:lnTo>
                  <a:pt x="1342" y="976"/>
                </a:lnTo>
                <a:lnTo>
                  <a:pt x="1348" y="978"/>
                </a:lnTo>
                <a:lnTo>
                  <a:pt x="1352" y="978"/>
                </a:lnTo>
                <a:lnTo>
                  <a:pt x="1358" y="976"/>
                </a:lnTo>
                <a:lnTo>
                  <a:pt x="1358" y="976"/>
                </a:lnTo>
                <a:lnTo>
                  <a:pt x="1364" y="976"/>
                </a:lnTo>
                <a:lnTo>
                  <a:pt x="1366" y="978"/>
                </a:lnTo>
                <a:lnTo>
                  <a:pt x="1366" y="980"/>
                </a:lnTo>
                <a:lnTo>
                  <a:pt x="1366" y="980"/>
                </a:lnTo>
                <a:lnTo>
                  <a:pt x="1386" y="982"/>
                </a:lnTo>
                <a:lnTo>
                  <a:pt x="1386" y="982"/>
                </a:lnTo>
                <a:lnTo>
                  <a:pt x="1380" y="984"/>
                </a:lnTo>
                <a:lnTo>
                  <a:pt x="1380" y="984"/>
                </a:lnTo>
                <a:lnTo>
                  <a:pt x="1394" y="996"/>
                </a:lnTo>
                <a:lnTo>
                  <a:pt x="1394" y="996"/>
                </a:lnTo>
                <a:lnTo>
                  <a:pt x="1398" y="998"/>
                </a:lnTo>
                <a:lnTo>
                  <a:pt x="1402" y="998"/>
                </a:lnTo>
                <a:lnTo>
                  <a:pt x="1408" y="1000"/>
                </a:lnTo>
                <a:lnTo>
                  <a:pt x="1412" y="1004"/>
                </a:lnTo>
                <a:lnTo>
                  <a:pt x="1412" y="1004"/>
                </a:lnTo>
                <a:lnTo>
                  <a:pt x="1400" y="1004"/>
                </a:lnTo>
                <a:lnTo>
                  <a:pt x="1394" y="1004"/>
                </a:lnTo>
                <a:lnTo>
                  <a:pt x="1388" y="1002"/>
                </a:lnTo>
                <a:lnTo>
                  <a:pt x="1388" y="1002"/>
                </a:lnTo>
                <a:lnTo>
                  <a:pt x="1380" y="1002"/>
                </a:lnTo>
                <a:lnTo>
                  <a:pt x="1380" y="1002"/>
                </a:lnTo>
                <a:lnTo>
                  <a:pt x="1378" y="1004"/>
                </a:lnTo>
                <a:lnTo>
                  <a:pt x="1376" y="1006"/>
                </a:lnTo>
                <a:lnTo>
                  <a:pt x="1376" y="1006"/>
                </a:lnTo>
                <a:lnTo>
                  <a:pt x="1380" y="1006"/>
                </a:lnTo>
                <a:lnTo>
                  <a:pt x="1380" y="1006"/>
                </a:lnTo>
                <a:lnTo>
                  <a:pt x="1388" y="1008"/>
                </a:lnTo>
                <a:lnTo>
                  <a:pt x="1388" y="1008"/>
                </a:lnTo>
                <a:lnTo>
                  <a:pt x="1388" y="1010"/>
                </a:lnTo>
                <a:lnTo>
                  <a:pt x="1388" y="1010"/>
                </a:lnTo>
                <a:lnTo>
                  <a:pt x="1376" y="1010"/>
                </a:lnTo>
                <a:lnTo>
                  <a:pt x="1376" y="1010"/>
                </a:lnTo>
                <a:lnTo>
                  <a:pt x="1364" y="1016"/>
                </a:lnTo>
                <a:lnTo>
                  <a:pt x="1364" y="1016"/>
                </a:lnTo>
                <a:lnTo>
                  <a:pt x="1380" y="1022"/>
                </a:lnTo>
                <a:lnTo>
                  <a:pt x="1380" y="1022"/>
                </a:lnTo>
                <a:lnTo>
                  <a:pt x="1390" y="1020"/>
                </a:lnTo>
                <a:lnTo>
                  <a:pt x="1390" y="1020"/>
                </a:lnTo>
                <a:lnTo>
                  <a:pt x="1398" y="1020"/>
                </a:lnTo>
                <a:lnTo>
                  <a:pt x="1400" y="1020"/>
                </a:lnTo>
                <a:lnTo>
                  <a:pt x="1402" y="1024"/>
                </a:lnTo>
                <a:lnTo>
                  <a:pt x="1402" y="1024"/>
                </a:lnTo>
                <a:lnTo>
                  <a:pt x="1406" y="1026"/>
                </a:lnTo>
                <a:lnTo>
                  <a:pt x="1410" y="1026"/>
                </a:lnTo>
                <a:lnTo>
                  <a:pt x="1410" y="1026"/>
                </a:lnTo>
                <a:lnTo>
                  <a:pt x="1410" y="1028"/>
                </a:lnTo>
                <a:lnTo>
                  <a:pt x="1406" y="1030"/>
                </a:lnTo>
                <a:lnTo>
                  <a:pt x="1400" y="1032"/>
                </a:lnTo>
                <a:lnTo>
                  <a:pt x="1400" y="1032"/>
                </a:lnTo>
                <a:lnTo>
                  <a:pt x="1384" y="1036"/>
                </a:lnTo>
                <a:lnTo>
                  <a:pt x="1384" y="1036"/>
                </a:lnTo>
                <a:lnTo>
                  <a:pt x="1386" y="1038"/>
                </a:lnTo>
                <a:lnTo>
                  <a:pt x="1386" y="1040"/>
                </a:lnTo>
                <a:lnTo>
                  <a:pt x="1380" y="1044"/>
                </a:lnTo>
                <a:lnTo>
                  <a:pt x="1380" y="1044"/>
                </a:lnTo>
                <a:lnTo>
                  <a:pt x="1380" y="1044"/>
                </a:lnTo>
                <a:lnTo>
                  <a:pt x="1380" y="1044"/>
                </a:lnTo>
                <a:lnTo>
                  <a:pt x="1380" y="1044"/>
                </a:lnTo>
                <a:lnTo>
                  <a:pt x="1380" y="1044"/>
                </a:lnTo>
                <a:lnTo>
                  <a:pt x="1380" y="1044"/>
                </a:lnTo>
                <a:lnTo>
                  <a:pt x="1380" y="1044"/>
                </a:lnTo>
                <a:lnTo>
                  <a:pt x="1380" y="1044"/>
                </a:lnTo>
                <a:lnTo>
                  <a:pt x="1368" y="1048"/>
                </a:lnTo>
                <a:lnTo>
                  <a:pt x="1368" y="1048"/>
                </a:lnTo>
                <a:lnTo>
                  <a:pt x="1374" y="1054"/>
                </a:lnTo>
                <a:lnTo>
                  <a:pt x="1374" y="1054"/>
                </a:lnTo>
                <a:lnTo>
                  <a:pt x="1364" y="1062"/>
                </a:lnTo>
                <a:lnTo>
                  <a:pt x="1364" y="1062"/>
                </a:lnTo>
                <a:lnTo>
                  <a:pt x="1366" y="1070"/>
                </a:lnTo>
                <a:lnTo>
                  <a:pt x="1366" y="1074"/>
                </a:lnTo>
                <a:lnTo>
                  <a:pt x="1364" y="1080"/>
                </a:lnTo>
                <a:lnTo>
                  <a:pt x="1358" y="1086"/>
                </a:lnTo>
                <a:lnTo>
                  <a:pt x="1358" y="1086"/>
                </a:lnTo>
                <a:lnTo>
                  <a:pt x="1350" y="1092"/>
                </a:lnTo>
                <a:lnTo>
                  <a:pt x="1350" y="1092"/>
                </a:lnTo>
                <a:lnTo>
                  <a:pt x="1350" y="1094"/>
                </a:lnTo>
                <a:lnTo>
                  <a:pt x="1350" y="1098"/>
                </a:lnTo>
                <a:lnTo>
                  <a:pt x="1350" y="1098"/>
                </a:lnTo>
                <a:lnTo>
                  <a:pt x="1354" y="1094"/>
                </a:lnTo>
                <a:lnTo>
                  <a:pt x="1354" y="1094"/>
                </a:lnTo>
                <a:lnTo>
                  <a:pt x="1360" y="1090"/>
                </a:lnTo>
                <a:lnTo>
                  <a:pt x="1366" y="1088"/>
                </a:lnTo>
                <a:lnTo>
                  <a:pt x="1374" y="1088"/>
                </a:lnTo>
                <a:lnTo>
                  <a:pt x="1382" y="1090"/>
                </a:lnTo>
                <a:lnTo>
                  <a:pt x="1382" y="1090"/>
                </a:lnTo>
                <a:lnTo>
                  <a:pt x="1392" y="1092"/>
                </a:lnTo>
                <a:lnTo>
                  <a:pt x="1400" y="1088"/>
                </a:lnTo>
                <a:lnTo>
                  <a:pt x="1400" y="1088"/>
                </a:lnTo>
                <a:lnTo>
                  <a:pt x="1408" y="1084"/>
                </a:lnTo>
                <a:lnTo>
                  <a:pt x="1408" y="1084"/>
                </a:lnTo>
                <a:lnTo>
                  <a:pt x="1408" y="1076"/>
                </a:lnTo>
                <a:lnTo>
                  <a:pt x="1408" y="1076"/>
                </a:lnTo>
                <a:lnTo>
                  <a:pt x="1394" y="1074"/>
                </a:lnTo>
                <a:lnTo>
                  <a:pt x="1394" y="1074"/>
                </a:lnTo>
                <a:lnTo>
                  <a:pt x="1402" y="1070"/>
                </a:lnTo>
                <a:lnTo>
                  <a:pt x="1402" y="1070"/>
                </a:lnTo>
                <a:lnTo>
                  <a:pt x="1394" y="1070"/>
                </a:lnTo>
                <a:lnTo>
                  <a:pt x="1386" y="1070"/>
                </a:lnTo>
                <a:lnTo>
                  <a:pt x="1380" y="1072"/>
                </a:lnTo>
                <a:lnTo>
                  <a:pt x="1372" y="1070"/>
                </a:lnTo>
                <a:lnTo>
                  <a:pt x="1372" y="1070"/>
                </a:lnTo>
                <a:lnTo>
                  <a:pt x="1374" y="1066"/>
                </a:lnTo>
                <a:lnTo>
                  <a:pt x="1374" y="1066"/>
                </a:lnTo>
                <a:lnTo>
                  <a:pt x="1374" y="1062"/>
                </a:lnTo>
                <a:lnTo>
                  <a:pt x="1376" y="1058"/>
                </a:lnTo>
                <a:lnTo>
                  <a:pt x="1382" y="1056"/>
                </a:lnTo>
                <a:lnTo>
                  <a:pt x="1388" y="1056"/>
                </a:lnTo>
                <a:lnTo>
                  <a:pt x="1388" y="1056"/>
                </a:lnTo>
                <a:lnTo>
                  <a:pt x="1394" y="1054"/>
                </a:lnTo>
                <a:lnTo>
                  <a:pt x="1400" y="1052"/>
                </a:lnTo>
                <a:lnTo>
                  <a:pt x="1400" y="1052"/>
                </a:lnTo>
                <a:lnTo>
                  <a:pt x="1404" y="1048"/>
                </a:lnTo>
                <a:lnTo>
                  <a:pt x="1410" y="1046"/>
                </a:lnTo>
                <a:lnTo>
                  <a:pt x="1422" y="1046"/>
                </a:lnTo>
                <a:lnTo>
                  <a:pt x="1422" y="1046"/>
                </a:lnTo>
                <a:lnTo>
                  <a:pt x="1432" y="1046"/>
                </a:lnTo>
                <a:lnTo>
                  <a:pt x="1440" y="1044"/>
                </a:lnTo>
                <a:lnTo>
                  <a:pt x="1440" y="1044"/>
                </a:lnTo>
                <a:lnTo>
                  <a:pt x="1446" y="1046"/>
                </a:lnTo>
                <a:lnTo>
                  <a:pt x="1446" y="1046"/>
                </a:lnTo>
                <a:lnTo>
                  <a:pt x="1448" y="1046"/>
                </a:lnTo>
                <a:lnTo>
                  <a:pt x="1448" y="1046"/>
                </a:lnTo>
                <a:lnTo>
                  <a:pt x="1442" y="1038"/>
                </a:lnTo>
                <a:lnTo>
                  <a:pt x="1442" y="1038"/>
                </a:lnTo>
                <a:lnTo>
                  <a:pt x="1450" y="1032"/>
                </a:lnTo>
                <a:lnTo>
                  <a:pt x="1450" y="1032"/>
                </a:lnTo>
                <a:lnTo>
                  <a:pt x="1454" y="1034"/>
                </a:lnTo>
                <a:lnTo>
                  <a:pt x="1454" y="1034"/>
                </a:lnTo>
                <a:lnTo>
                  <a:pt x="1464" y="1030"/>
                </a:lnTo>
                <a:lnTo>
                  <a:pt x="1464" y="1030"/>
                </a:lnTo>
                <a:lnTo>
                  <a:pt x="1468" y="1034"/>
                </a:lnTo>
                <a:lnTo>
                  <a:pt x="1472" y="1036"/>
                </a:lnTo>
                <a:lnTo>
                  <a:pt x="1480" y="1036"/>
                </a:lnTo>
                <a:lnTo>
                  <a:pt x="1488" y="1034"/>
                </a:lnTo>
                <a:lnTo>
                  <a:pt x="1496" y="1032"/>
                </a:lnTo>
                <a:lnTo>
                  <a:pt x="1496" y="1032"/>
                </a:lnTo>
                <a:lnTo>
                  <a:pt x="1496" y="1030"/>
                </a:lnTo>
                <a:lnTo>
                  <a:pt x="1496" y="1028"/>
                </a:lnTo>
                <a:lnTo>
                  <a:pt x="1502" y="1026"/>
                </a:lnTo>
                <a:lnTo>
                  <a:pt x="1502" y="1026"/>
                </a:lnTo>
                <a:lnTo>
                  <a:pt x="1506" y="1026"/>
                </a:lnTo>
                <a:lnTo>
                  <a:pt x="1510" y="1028"/>
                </a:lnTo>
                <a:lnTo>
                  <a:pt x="1510" y="1028"/>
                </a:lnTo>
                <a:lnTo>
                  <a:pt x="1512" y="1030"/>
                </a:lnTo>
                <a:lnTo>
                  <a:pt x="1512" y="1034"/>
                </a:lnTo>
                <a:lnTo>
                  <a:pt x="1506" y="1040"/>
                </a:lnTo>
                <a:lnTo>
                  <a:pt x="1506" y="1040"/>
                </a:lnTo>
                <a:lnTo>
                  <a:pt x="1512" y="1044"/>
                </a:lnTo>
                <a:lnTo>
                  <a:pt x="1518" y="1048"/>
                </a:lnTo>
                <a:lnTo>
                  <a:pt x="1518" y="1048"/>
                </a:lnTo>
                <a:lnTo>
                  <a:pt x="1528" y="1048"/>
                </a:lnTo>
                <a:lnTo>
                  <a:pt x="1538" y="1048"/>
                </a:lnTo>
                <a:lnTo>
                  <a:pt x="1546" y="1046"/>
                </a:lnTo>
                <a:lnTo>
                  <a:pt x="1554" y="1040"/>
                </a:lnTo>
                <a:lnTo>
                  <a:pt x="1554" y="1040"/>
                </a:lnTo>
                <a:lnTo>
                  <a:pt x="1560" y="1040"/>
                </a:lnTo>
                <a:lnTo>
                  <a:pt x="1560" y="1040"/>
                </a:lnTo>
                <a:lnTo>
                  <a:pt x="1570" y="1038"/>
                </a:lnTo>
                <a:lnTo>
                  <a:pt x="1578" y="1038"/>
                </a:lnTo>
                <a:lnTo>
                  <a:pt x="1578" y="1038"/>
                </a:lnTo>
                <a:lnTo>
                  <a:pt x="1592" y="1040"/>
                </a:lnTo>
                <a:lnTo>
                  <a:pt x="1600" y="1038"/>
                </a:lnTo>
                <a:lnTo>
                  <a:pt x="1606" y="1036"/>
                </a:lnTo>
                <a:lnTo>
                  <a:pt x="1606" y="1036"/>
                </a:lnTo>
                <a:lnTo>
                  <a:pt x="1614" y="1042"/>
                </a:lnTo>
                <a:lnTo>
                  <a:pt x="1614" y="1042"/>
                </a:lnTo>
                <a:lnTo>
                  <a:pt x="1620" y="1042"/>
                </a:lnTo>
                <a:lnTo>
                  <a:pt x="1626" y="1044"/>
                </a:lnTo>
                <a:lnTo>
                  <a:pt x="1638" y="1050"/>
                </a:lnTo>
                <a:lnTo>
                  <a:pt x="1628" y="1050"/>
                </a:lnTo>
                <a:lnTo>
                  <a:pt x="1628" y="1050"/>
                </a:lnTo>
                <a:lnTo>
                  <a:pt x="1632" y="1054"/>
                </a:lnTo>
                <a:lnTo>
                  <a:pt x="1636" y="1054"/>
                </a:lnTo>
                <a:lnTo>
                  <a:pt x="1642" y="1054"/>
                </a:lnTo>
                <a:lnTo>
                  <a:pt x="1646" y="1056"/>
                </a:lnTo>
                <a:lnTo>
                  <a:pt x="1646" y="1056"/>
                </a:lnTo>
                <a:lnTo>
                  <a:pt x="1632" y="1062"/>
                </a:lnTo>
                <a:lnTo>
                  <a:pt x="1632" y="1062"/>
                </a:lnTo>
                <a:lnTo>
                  <a:pt x="1646" y="1068"/>
                </a:lnTo>
                <a:lnTo>
                  <a:pt x="1646" y="1068"/>
                </a:lnTo>
                <a:lnTo>
                  <a:pt x="1648" y="1078"/>
                </a:lnTo>
                <a:lnTo>
                  <a:pt x="1648" y="1078"/>
                </a:lnTo>
                <a:lnTo>
                  <a:pt x="1656" y="1074"/>
                </a:lnTo>
                <a:lnTo>
                  <a:pt x="1656" y="1074"/>
                </a:lnTo>
                <a:lnTo>
                  <a:pt x="1662" y="1070"/>
                </a:lnTo>
                <a:lnTo>
                  <a:pt x="1662" y="1070"/>
                </a:lnTo>
                <a:lnTo>
                  <a:pt x="1666" y="1068"/>
                </a:lnTo>
                <a:lnTo>
                  <a:pt x="1672" y="1068"/>
                </a:lnTo>
                <a:lnTo>
                  <a:pt x="1682" y="1068"/>
                </a:lnTo>
                <a:lnTo>
                  <a:pt x="1682" y="1068"/>
                </a:lnTo>
                <a:lnTo>
                  <a:pt x="1696" y="1072"/>
                </a:lnTo>
                <a:lnTo>
                  <a:pt x="1700" y="1074"/>
                </a:lnTo>
                <a:lnTo>
                  <a:pt x="1704" y="1078"/>
                </a:lnTo>
                <a:lnTo>
                  <a:pt x="1704" y="1078"/>
                </a:lnTo>
                <a:lnTo>
                  <a:pt x="1710" y="1074"/>
                </a:lnTo>
                <a:lnTo>
                  <a:pt x="1716" y="1074"/>
                </a:lnTo>
                <a:lnTo>
                  <a:pt x="1728" y="1074"/>
                </a:lnTo>
                <a:lnTo>
                  <a:pt x="1728" y="1074"/>
                </a:lnTo>
                <a:lnTo>
                  <a:pt x="1724" y="1080"/>
                </a:lnTo>
                <a:lnTo>
                  <a:pt x="1724" y="1080"/>
                </a:lnTo>
                <a:lnTo>
                  <a:pt x="1758" y="1084"/>
                </a:lnTo>
                <a:lnTo>
                  <a:pt x="1758" y="1084"/>
                </a:lnTo>
                <a:lnTo>
                  <a:pt x="1742" y="1090"/>
                </a:lnTo>
                <a:lnTo>
                  <a:pt x="1742" y="1090"/>
                </a:lnTo>
                <a:lnTo>
                  <a:pt x="1746" y="1102"/>
                </a:lnTo>
                <a:lnTo>
                  <a:pt x="1746" y="1102"/>
                </a:lnTo>
                <a:lnTo>
                  <a:pt x="1758" y="1114"/>
                </a:lnTo>
                <a:lnTo>
                  <a:pt x="1758" y="1114"/>
                </a:lnTo>
                <a:lnTo>
                  <a:pt x="1748" y="1116"/>
                </a:lnTo>
                <a:lnTo>
                  <a:pt x="1748" y="1116"/>
                </a:lnTo>
                <a:lnTo>
                  <a:pt x="1752" y="1120"/>
                </a:lnTo>
                <a:lnTo>
                  <a:pt x="1752" y="1120"/>
                </a:lnTo>
                <a:lnTo>
                  <a:pt x="1738" y="1120"/>
                </a:lnTo>
                <a:lnTo>
                  <a:pt x="1726" y="1124"/>
                </a:lnTo>
                <a:lnTo>
                  <a:pt x="1726" y="1124"/>
                </a:lnTo>
                <a:lnTo>
                  <a:pt x="1726" y="1124"/>
                </a:lnTo>
                <a:lnTo>
                  <a:pt x="1726" y="1124"/>
                </a:lnTo>
                <a:lnTo>
                  <a:pt x="1720" y="1124"/>
                </a:lnTo>
                <a:lnTo>
                  <a:pt x="1716" y="1124"/>
                </a:lnTo>
                <a:lnTo>
                  <a:pt x="1708" y="1128"/>
                </a:lnTo>
                <a:lnTo>
                  <a:pt x="1708" y="1128"/>
                </a:lnTo>
                <a:lnTo>
                  <a:pt x="1706" y="1126"/>
                </a:lnTo>
                <a:lnTo>
                  <a:pt x="1704" y="1124"/>
                </a:lnTo>
                <a:lnTo>
                  <a:pt x="1700" y="1124"/>
                </a:lnTo>
                <a:lnTo>
                  <a:pt x="1694" y="1124"/>
                </a:lnTo>
                <a:lnTo>
                  <a:pt x="1688" y="1124"/>
                </a:lnTo>
                <a:lnTo>
                  <a:pt x="1688" y="1124"/>
                </a:lnTo>
                <a:lnTo>
                  <a:pt x="1692" y="1126"/>
                </a:lnTo>
                <a:lnTo>
                  <a:pt x="1694" y="1130"/>
                </a:lnTo>
                <a:lnTo>
                  <a:pt x="1692" y="1132"/>
                </a:lnTo>
                <a:lnTo>
                  <a:pt x="1688" y="1134"/>
                </a:lnTo>
                <a:lnTo>
                  <a:pt x="1688" y="1134"/>
                </a:lnTo>
                <a:lnTo>
                  <a:pt x="1686" y="1138"/>
                </a:lnTo>
                <a:lnTo>
                  <a:pt x="1684" y="1140"/>
                </a:lnTo>
                <a:lnTo>
                  <a:pt x="1684" y="1140"/>
                </a:lnTo>
                <a:lnTo>
                  <a:pt x="1684" y="1144"/>
                </a:lnTo>
                <a:lnTo>
                  <a:pt x="1686" y="1148"/>
                </a:lnTo>
                <a:lnTo>
                  <a:pt x="1686" y="1148"/>
                </a:lnTo>
                <a:lnTo>
                  <a:pt x="1678" y="1150"/>
                </a:lnTo>
                <a:lnTo>
                  <a:pt x="1670" y="1152"/>
                </a:lnTo>
                <a:lnTo>
                  <a:pt x="1670" y="1152"/>
                </a:lnTo>
                <a:lnTo>
                  <a:pt x="1662" y="1152"/>
                </a:lnTo>
                <a:lnTo>
                  <a:pt x="1656" y="1152"/>
                </a:lnTo>
                <a:lnTo>
                  <a:pt x="1656" y="1152"/>
                </a:lnTo>
                <a:lnTo>
                  <a:pt x="1648" y="1150"/>
                </a:lnTo>
                <a:lnTo>
                  <a:pt x="1642" y="1154"/>
                </a:lnTo>
                <a:lnTo>
                  <a:pt x="1642" y="1154"/>
                </a:lnTo>
                <a:lnTo>
                  <a:pt x="1636" y="1156"/>
                </a:lnTo>
                <a:lnTo>
                  <a:pt x="1636" y="1156"/>
                </a:lnTo>
                <a:lnTo>
                  <a:pt x="1640" y="1160"/>
                </a:lnTo>
                <a:lnTo>
                  <a:pt x="1644" y="1160"/>
                </a:lnTo>
                <a:lnTo>
                  <a:pt x="1654" y="1158"/>
                </a:lnTo>
                <a:lnTo>
                  <a:pt x="1654" y="1158"/>
                </a:lnTo>
                <a:lnTo>
                  <a:pt x="1664" y="1158"/>
                </a:lnTo>
                <a:lnTo>
                  <a:pt x="1664" y="1158"/>
                </a:lnTo>
                <a:lnTo>
                  <a:pt x="1666" y="1160"/>
                </a:lnTo>
                <a:lnTo>
                  <a:pt x="1666" y="1160"/>
                </a:lnTo>
                <a:lnTo>
                  <a:pt x="1660" y="1162"/>
                </a:lnTo>
                <a:lnTo>
                  <a:pt x="1660" y="1162"/>
                </a:lnTo>
                <a:lnTo>
                  <a:pt x="1662" y="1164"/>
                </a:lnTo>
                <a:lnTo>
                  <a:pt x="1684" y="1164"/>
                </a:lnTo>
                <a:lnTo>
                  <a:pt x="1684" y="1164"/>
                </a:lnTo>
                <a:lnTo>
                  <a:pt x="1684" y="1168"/>
                </a:lnTo>
                <a:lnTo>
                  <a:pt x="1686" y="1170"/>
                </a:lnTo>
                <a:lnTo>
                  <a:pt x="1694" y="1172"/>
                </a:lnTo>
                <a:lnTo>
                  <a:pt x="1694" y="1172"/>
                </a:lnTo>
                <a:lnTo>
                  <a:pt x="1700" y="1174"/>
                </a:lnTo>
                <a:lnTo>
                  <a:pt x="1704" y="1176"/>
                </a:lnTo>
                <a:lnTo>
                  <a:pt x="1706" y="1178"/>
                </a:lnTo>
                <a:lnTo>
                  <a:pt x="1706" y="1178"/>
                </a:lnTo>
                <a:lnTo>
                  <a:pt x="1696" y="1182"/>
                </a:lnTo>
                <a:lnTo>
                  <a:pt x="1696" y="1182"/>
                </a:lnTo>
                <a:lnTo>
                  <a:pt x="1696" y="1184"/>
                </a:lnTo>
                <a:lnTo>
                  <a:pt x="1696" y="1186"/>
                </a:lnTo>
                <a:lnTo>
                  <a:pt x="1696" y="1186"/>
                </a:lnTo>
                <a:lnTo>
                  <a:pt x="1694" y="1188"/>
                </a:lnTo>
                <a:lnTo>
                  <a:pt x="1688" y="1190"/>
                </a:lnTo>
                <a:lnTo>
                  <a:pt x="1678" y="1190"/>
                </a:lnTo>
                <a:lnTo>
                  <a:pt x="1678" y="1190"/>
                </a:lnTo>
                <a:lnTo>
                  <a:pt x="1686" y="1194"/>
                </a:lnTo>
                <a:lnTo>
                  <a:pt x="1686" y="1194"/>
                </a:lnTo>
                <a:lnTo>
                  <a:pt x="1690" y="1198"/>
                </a:lnTo>
                <a:lnTo>
                  <a:pt x="1690" y="1198"/>
                </a:lnTo>
                <a:lnTo>
                  <a:pt x="1708" y="1202"/>
                </a:lnTo>
                <a:lnTo>
                  <a:pt x="1708" y="1202"/>
                </a:lnTo>
                <a:lnTo>
                  <a:pt x="1714" y="1196"/>
                </a:lnTo>
                <a:lnTo>
                  <a:pt x="1714" y="1196"/>
                </a:lnTo>
                <a:lnTo>
                  <a:pt x="1718" y="1196"/>
                </a:lnTo>
                <a:lnTo>
                  <a:pt x="1718" y="1196"/>
                </a:lnTo>
                <a:lnTo>
                  <a:pt x="1720" y="1196"/>
                </a:lnTo>
                <a:lnTo>
                  <a:pt x="1720" y="1196"/>
                </a:lnTo>
                <a:lnTo>
                  <a:pt x="1724" y="1196"/>
                </a:lnTo>
                <a:lnTo>
                  <a:pt x="1728" y="1200"/>
                </a:lnTo>
                <a:lnTo>
                  <a:pt x="1728" y="1200"/>
                </a:lnTo>
                <a:lnTo>
                  <a:pt x="1732" y="1202"/>
                </a:lnTo>
                <a:lnTo>
                  <a:pt x="1736" y="1204"/>
                </a:lnTo>
                <a:lnTo>
                  <a:pt x="1736" y="1204"/>
                </a:lnTo>
                <a:lnTo>
                  <a:pt x="1748" y="1206"/>
                </a:lnTo>
                <a:lnTo>
                  <a:pt x="1748" y="1206"/>
                </a:lnTo>
                <a:lnTo>
                  <a:pt x="1754" y="1206"/>
                </a:lnTo>
                <a:lnTo>
                  <a:pt x="1754" y="1206"/>
                </a:lnTo>
                <a:lnTo>
                  <a:pt x="1758" y="1202"/>
                </a:lnTo>
                <a:lnTo>
                  <a:pt x="1758" y="1202"/>
                </a:lnTo>
                <a:lnTo>
                  <a:pt x="1764" y="1204"/>
                </a:lnTo>
                <a:lnTo>
                  <a:pt x="1764" y="1204"/>
                </a:lnTo>
                <a:lnTo>
                  <a:pt x="1766" y="1204"/>
                </a:lnTo>
                <a:lnTo>
                  <a:pt x="1766" y="1204"/>
                </a:lnTo>
                <a:lnTo>
                  <a:pt x="1764" y="1206"/>
                </a:lnTo>
                <a:lnTo>
                  <a:pt x="1764" y="1206"/>
                </a:lnTo>
                <a:lnTo>
                  <a:pt x="1766" y="1208"/>
                </a:lnTo>
                <a:lnTo>
                  <a:pt x="1766" y="1208"/>
                </a:lnTo>
                <a:lnTo>
                  <a:pt x="1736" y="1206"/>
                </a:lnTo>
                <a:lnTo>
                  <a:pt x="1736" y="1206"/>
                </a:lnTo>
                <a:lnTo>
                  <a:pt x="1744" y="1210"/>
                </a:lnTo>
                <a:lnTo>
                  <a:pt x="1744" y="1210"/>
                </a:lnTo>
                <a:lnTo>
                  <a:pt x="1732" y="1216"/>
                </a:lnTo>
                <a:lnTo>
                  <a:pt x="1732" y="1216"/>
                </a:lnTo>
                <a:lnTo>
                  <a:pt x="1736" y="1218"/>
                </a:lnTo>
                <a:lnTo>
                  <a:pt x="1738" y="1220"/>
                </a:lnTo>
                <a:lnTo>
                  <a:pt x="1738" y="1220"/>
                </a:lnTo>
                <a:lnTo>
                  <a:pt x="1738" y="1224"/>
                </a:lnTo>
                <a:lnTo>
                  <a:pt x="1740" y="1226"/>
                </a:lnTo>
                <a:lnTo>
                  <a:pt x="1746" y="1226"/>
                </a:lnTo>
                <a:lnTo>
                  <a:pt x="1746" y="1226"/>
                </a:lnTo>
                <a:lnTo>
                  <a:pt x="1746" y="1232"/>
                </a:lnTo>
                <a:lnTo>
                  <a:pt x="1752" y="1232"/>
                </a:lnTo>
                <a:lnTo>
                  <a:pt x="1752" y="1232"/>
                </a:lnTo>
                <a:lnTo>
                  <a:pt x="1750" y="1230"/>
                </a:lnTo>
                <a:lnTo>
                  <a:pt x="1748" y="1228"/>
                </a:lnTo>
                <a:lnTo>
                  <a:pt x="1750" y="1226"/>
                </a:lnTo>
                <a:lnTo>
                  <a:pt x="1752" y="1224"/>
                </a:lnTo>
                <a:lnTo>
                  <a:pt x="1752" y="1224"/>
                </a:lnTo>
                <a:lnTo>
                  <a:pt x="1750" y="1222"/>
                </a:lnTo>
                <a:lnTo>
                  <a:pt x="1748" y="1220"/>
                </a:lnTo>
                <a:lnTo>
                  <a:pt x="1748" y="1220"/>
                </a:lnTo>
                <a:lnTo>
                  <a:pt x="1750" y="1218"/>
                </a:lnTo>
                <a:lnTo>
                  <a:pt x="1754" y="1216"/>
                </a:lnTo>
                <a:lnTo>
                  <a:pt x="1754" y="1216"/>
                </a:lnTo>
                <a:lnTo>
                  <a:pt x="1766" y="1216"/>
                </a:lnTo>
                <a:lnTo>
                  <a:pt x="1780" y="1218"/>
                </a:lnTo>
                <a:lnTo>
                  <a:pt x="1780" y="1218"/>
                </a:lnTo>
                <a:lnTo>
                  <a:pt x="1780" y="1210"/>
                </a:lnTo>
                <a:lnTo>
                  <a:pt x="1780" y="1210"/>
                </a:lnTo>
                <a:lnTo>
                  <a:pt x="1780" y="1210"/>
                </a:lnTo>
                <a:lnTo>
                  <a:pt x="1780" y="1210"/>
                </a:lnTo>
                <a:lnTo>
                  <a:pt x="1772" y="1210"/>
                </a:lnTo>
                <a:lnTo>
                  <a:pt x="1768" y="1208"/>
                </a:lnTo>
                <a:lnTo>
                  <a:pt x="1768" y="1208"/>
                </a:lnTo>
                <a:lnTo>
                  <a:pt x="1766" y="1208"/>
                </a:lnTo>
                <a:lnTo>
                  <a:pt x="1766" y="1208"/>
                </a:lnTo>
                <a:lnTo>
                  <a:pt x="1770" y="1206"/>
                </a:lnTo>
                <a:lnTo>
                  <a:pt x="1770" y="1206"/>
                </a:lnTo>
                <a:lnTo>
                  <a:pt x="1780" y="1206"/>
                </a:lnTo>
                <a:lnTo>
                  <a:pt x="1780" y="1206"/>
                </a:lnTo>
                <a:lnTo>
                  <a:pt x="1782" y="1204"/>
                </a:lnTo>
                <a:lnTo>
                  <a:pt x="1782" y="1204"/>
                </a:lnTo>
                <a:lnTo>
                  <a:pt x="1778" y="1206"/>
                </a:lnTo>
                <a:lnTo>
                  <a:pt x="1778" y="1200"/>
                </a:lnTo>
                <a:lnTo>
                  <a:pt x="1778" y="1200"/>
                </a:lnTo>
                <a:lnTo>
                  <a:pt x="1782" y="1200"/>
                </a:lnTo>
                <a:lnTo>
                  <a:pt x="1782" y="1200"/>
                </a:lnTo>
                <a:lnTo>
                  <a:pt x="1784" y="1174"/>
                </a:lnTo>
                <a:lnTo>
                  <a:pt x="1784" y="1174"/>
                </a:lnTo>
                <a:lnTo>
                  <a:pt x="1788" y="1176"/>
                </a:lnTo>
                <a:lnTo>
                  <a:pt x="1792" y="1178"/>
                </a:lnTo>
                <a:lnTo>
                  <a:pt x="1792" y="1178"/>
                </a:lnTo>
                <a:lnTo>
                  <a:pt x="1792" y="1184"/>
                </a:lnTo>
                <a:lnTo>
                  <a:pt x="1792" y="1190"/>
                </a:lnTo>
                <a:lnTo>
                  <a:pt x="1792" y="1190"/>
                </a:lnTo>
                <a:lnTo>
                  <a:pt x="1790" y="1190"/>
                </a:lnTo>
                <a:lnTo>
                  <a:pt x="1786" y="1192"/>
                </a:lnTo>
                <a:lnTo>
                  <a:pt x="1786" y="1192"/>
                </a:lnTo>
                <a:lnTo>
                  <a:pt x="1796" y="1194"/>
                </a:lnTo>
                <a:lnTo>
                  <a:pt x="1796" y="1194"/>
                </a:lnTo>
                <a:lnTo>
                  <a:pt x="1802" y="1200"/>
                </a:lnTo>
                <a:lnTo>
                  <a:pt x="1802" y="1200"/>
                </a:lnTo>
                <a:lnTo>
                  <a:pt x="1794" y="1200"/>
                </a:lnTo>
                <a:lnTo>
                  <a:pt x="1794" y="1200"/>
                </a:lnTo>
                <a:lnTo>
                  <a:pt x="1782" y="1204"/>
                </a:lnTo>
                <a:lnTo>
                  <a:pt x="1782" y="1204"/>
                </a:lnTo>
                <a:lnTo>
                  <a:pt x="1782" y="1206"/>
                </a:lnTo>
                <a:lnTo>
                  <a:pt x="1782" y="1206"/>
                </a:lnTo>
                <a:lnTo>
                  <a:pt x="1786" y="1208"/>
                </a:lnTo>
                <a:lnTo>
                  <a:pt x="1786" y="1208"/>
                </a:lnTo>
                <a:lnTo>
                  <a:pt x="1786" y="1208"/>
                </a:lnTo>
                <a:lnTo>
                  <a:pt x="1786" y="1208"/>
                </a:lnTo>
                <a:lnTo>
                  <a:pt x="1802" y="1212"/>
                </a:lnTo>
                <a:lnTo>
                  <a:pt x="1802" y="1212"/>
                </a:lnTo>
                <a:lnTo>
                  <a:pt x="1798" y="1214"/>
                </a:lnTo>
                <a:lnTo>
                  <a:pt x="1794" y="1214"/>
                </a:lnTo>
                <a:lnTo>
                  <a:pt x="1794" y="1214"/>
                </a:lnTo>
                <a:lnTo>
                  <a:pt x="1790" y="1212"/>
                </a:lnTo>
                <a:lnTo>
                  <a:pt x="1784" y="1210"/>
                </a:lnTo>
                <a:lnTo>
                  <a:pt x="1784" y="1210"/>
                </a:lnTo>
                <a:lnTo>
                  <a:pt x="1780" y="1218"/>
                </a:lnTo>
                <a:lnTo>
                  <a:pt x="1780" y="1218"/>
                </a:lnTo>
                <a:lnTo>
                  <a:pt x="1782" y="1218"/>
                </a:lnTo>
                <a:lnTo>
                  <a:pt x="1782" y="1218"/>
                </a:lnTo>
                <a:lnTo>
                  <a:pt x="1778" y="1224"/>
                </a:lnTo>
                <a:lnTo>
                  <a:pt x="1778" y="1224"/>
                </a:lnTo>
                <a:lnTo>
                  <a:pt x="1786" y="1230"/>
                </a:lnTo>
                <a:lnTo>
                  <a:pt x="1786" y="1230"/>
                </a:lnTo>
                <a:lnTo>
                  <a:pt x="1776" y="1234"/>
                </a:lnTo>
                <a:lnTo>
                  <a:pt x="1776" y="1234"/>
                </a:lnTo>
                <a:lnTo>
                  <a:pt x="1788" y="1240"/>
                </a:lnTo>
                <a:lnTo>
                  <a:pt x="1788" y="1240"/>
                </a:lnTo>
                <a:lnTo>
                  <a:pt x="1782" y="1246"/>
                </a:lnTo>
                <a:lnTo>
                  <a:pt x="1782" y="1246"/>
                </a:lnTo>
                <a:lnTo>
                  <a:pt x="1774" y="1246"/>
                </a:lnTo>
                <a:lnTo>
                  <a:pt x="1770" y="1248"/>
                </a:lnTo>
                <a:lnTo>
                  <a:pt x="1768" y="1250"/>
                </a:lnTo>
                <a:lnTo>
                  <a:pt x="1766" y="1254"/>
                </a:lnTo>
                <a:lnTo>
                  <a:pt x="1748" y="1254"/>
                </a:lnTo>
                <a:lnTo>
                  <a:pt x="1748" y="1254"/>
                </a:lnTo>
                <a:lnTo>
                  <a:pt x="1760" y="1258"/>
                </a:lnTo>
                <a:lnTo>
                  <a:pt x="1764" y="1262"/>
                </a:lnTo>
                <a:lnTo>
                  <a:pt x="1766" y="1264"/>
                </a:lnTo>
                <a:lnTo>
                  <a:pt x="1764" y="1268"/>
                </a:lnTo>
                <a:lnTo>
                  <a:pt x="1764" y="1268"/>
                </a:lnTo>
                <a:lnTo>
                  <a:pt x="1756" y="1262"/>
                </a:lnTo>
                <a:lnTo>
                  <a:pt x="1756" y="1262"/>
                </a:lnTo>
                <a:lnTo>
                  <a:pt x="1754" y="1266"/>
                </a:lnTo>
                <a:lnTo>
                  <a:pt x="1752" y="1268"/>
                </a:lnTo>
                <a:lnTo>
                  <a:pt x="1746" y="1268"/>
                </a:lnTo>
                <a:lnTo>
                  <a:pt x="1738" y="1270"/>
                </a:lnTo>
                <a:lnTo>
                  <a:pt x="1732" y="1270"/>
                </a:lnTo>
                <a:lnTo>
                  <a:pt x="1732" y="1270"/>
                </a:lnTo>
                <a:lnTo>
                  <a:pt x="1734" y="1274"/>
                </a:lnTo>
                <a:lnTo>
                  <a:pt x="1732" y="1276"/>
                </a:lnTo>
                <a:lnTo>
                  <a:pt x="1732" y="1276"/>
                </a:lnTo>
                <a:lnTo>
                  <a:pt x="1728" y="1280"/>
                </a:lnTo>
                <a:lnTo>
                  <a:pt x="1726" y="1282"/>
                </a:lnTo>
                <a:lnTo>
                  <a:pt x="1726" y="1288"/>
                </a:lnTo>
                <a:lnTo>
                  <a:pt x="1726" y="1288"/>
                </a:lnTo>
                <a:lnTo>
                  <a:pt x="1722" y="1292"/>
                </a:lnTo>
                <a:lnTo>
                  <a:pt x="1722" y="1292"/>
                </a:lnTo>
                <a:lnTo>
                  <a:pt x="1720" y="1296"/>
                </a:lnTo>
                <a:lnTo>
                  <a:pt x="1720" y="1296"/>
                </a:lnTo>
                <a:lnTo>
                  <a:pt x="1728" y="1298"/>
                </a:lnTo>
                <a:lnTo>
                  <a:pt x="1728" y="1298"/>
                </a:lnTo>
                <a:lnTo>
                  <a:pt x="1734" y="1296"/>
                </a:lnTo>
                <a:lnTo>
                  <a:pt x="1734" y="1296"/>
                </a:lnTo>
                <a:lnTo>
                  <a:pt x="1734" y="1294"/>
                </a:lnTo>
                <a:lnTo>
                  <a:pt x="1734" y="1292"/>
                </a:lnTo>
                <a:lnTo>
                  <a:pt x="1738" y="1286"/>
                </a:lnTo>
                <a:lnTo>
                  <a:pt x="1744" y="1284"/>
                </a:lnTo>
                <a:lnTo>
                  <a:pt x="1748" y="1280"/>
                </a:lnTo>
                <a:lnTo>
                  <a:pt x="1748" y="1280"/>
                </a:lnTo>
                <a:lnTo>
                  <a:pt x="1758" y="1278"/>
                </a:lnTo>
                <a:lnTo>
                  <a:pt x="1768" y="1280"/>
                </a:lnTo>
                <a:lnTo>
                  <a:pt x="1788" y="1286"/>
                </a:lnTo>
                <a:lnTo>
                  <a:pt x="1788" y="1286"/>
                </a:lnTo>
                <a:lnTo>
                  <a:pt x="1788" y="1278"/>
                </a:lnTo>
                <a:lnTo>
                  <a:pt x="1792" y="1276"/>
                </a:lnTo>
                <a:lnTo>
                  <a:pt x="1796" y="1274"/>
                </a:lnTo>
                <a:lnTo>
                  <a:pt x="1796" y="1274"/>
                </a:lnTo>
                <a:lnTo>
                  <a:pt x="1798" y="1272"/>
                </a:lnTo>
                <a:lnTo>
                  <a:pt x="1798" y="1272"/>
                </a:lnTo>
                <a:lnTo>
                  <a:pt x="1798" y="1268"/>
                </a:lnTo>
                <a:lnTo>
                  <a:pt x="1800" y="1266"/>
                </a:lnTo>
                <a:lnTo>
                  <a:pt x="1808" y="1262"/>
                </a:lnTo>
                <a:lnTo>
                  <a:pt x="1808" y="1262"/>
                </a:lnTo>
                <a:lnTo>
                  <a:pt x="1818" y="1266"/>
                </a:lnTo>
                <a:lnTo>
                  <a:pt x="1820" y="1266"/>
                </a:lnTo>
                <a:lnTo>
                  <a:pt x="1824" y="1264"/>
                </a:lnTo>
                <a:lnTo>
                  <a:pt x="1824" y="1264"/>
                </a:lnTo>
                <a:lnTo>
                  <a:pt x="1790" y="1248"/>
                </a:lnTo>
                <a:lnTo>
                  <a:pt x="1790" y="1248"/>
                </a:lnTo>
                <a:lnTo>
                  <a:pt x="1796" y="1242"/>
                </a:lnTo>
                <a:lnTo>
                  <a:pt x="1796" y="1242"/>
                </a:lnTo>
                <a:lnTo>
                  <a:pt x="1796" y="1240"/>
                </a:lnTo>
                <a:lnTo>
                  <a:pt x="1796" y="1240"/>
                </a:lnTo>
                <a:lnTo>
                  <a:pt x="1796" y="1240"/>
                </a:lnTo>
                <a:lnTo>
                  <a:pt x="1794" y="1236"/>
                </a:lnTo>
                <a:lnTo>
                  <a:pt x="1794" y="1232"/>
                </a:lnTo>
                <a:lnTo>
                  <a:pt x="1796" y="1224"/>
                </a:lnTo>
                <a:lnTo>
                  <a:pt x="1796" y="1224"/>
                </a:lnTo>
                <a:lnTo>
                  <a:pt x="1802" y="1222"/>
                </a:lnTo>
                <a:lnTo>
                  <a:pt x="1802" y="1222"/>
                </a:lnTo>
                <a:lnTo>
                  <a:pt x="1808" y="1218"/>
                </a:lnTo>
                <a:lnTo>
                  <a:pt x="1816" y="1220"/>
                </a:lnTo>
                <a:lnTo>
                  <a:pt x="1816" y="1220"/>
                </a:lnTo>
                <a:lnTo>
                  <a:pt x="1816" y="1222"/>
                </a:lnTo>
                <a:lnTo>
                  <a:pt x="1816" y="1222"/>
                </a:lnTo>
                <a:lnTo>
                  <a:pt x="1816" y="1224"/>
                </a:lnTo>
                <a:lnTo>
                  <a:pt x="1818" y="1226"/>
                </a:lnTo>
                <a:lnTo>
                  <a:pt x="1822" y="1230"/>
                </a:lnTo>
                <a:lnTo>
                  <a:pt x="1822" y="1230"/>
                </a:lnTo>
                <a:lnTo>
                  <a:pt x="1830" y="1228"/>
                </a:lnTo>
                <a:lnTo>
                  <a:pt x="1834" y="1226"/>
                </a:lnTo>
                <a:lnTo>
                  <a:pt x="1834" y="1226"/>
                </a:lnTo>
                <a:lnTo>
                  <a:pt x="1840" y="1220"/>
                </a:lnTo>
                <a:lnTo>
                  <a:pt x="1846" y="1218"/>
                </a:lnTo>
                <a:lnTo>
                  <a:pt x="1846" y="1218"/>
                </a:lnTo>
                <a:lnTo>
                  <a:pt x="1850" y="1220"/>
                </a:lnTo>
                <a:lnTo>
                  <a:pt x="1850" y="1220"/>
                </a:lnTo>
                <a:lnTo>
                  <a:pt x="1854" y="1216"/>
                </a:lnTo>
                <a:lnTo>
                  <a:pt x="1854" y="1216"/>
                </a:lnTo>
                <a:lnTo>
                  <a:pt x="1862" y="1218"/>
                </a:lnTo>
                <a:lnTo>
                  <a:pt x="1862" y="1218"/>
                </a:lnTo>
                <a:lnTo>
                  <a:pt x="1860" y="1216"/>
                </a:lnTo>
                <a:lnTo>
                  <a:pt x="1860" y="1216"/>
                </a:lnTo>
                <a:lnTo>
                  <a:pt x="1860" y="1216"/>
                </a:lnTo>
                <a:lnTo>
                  <a:pt x="1860" y="1216"/>
                </a:lnTo>
                <a:lnTo>
                  <a:pt x="1860" y="1214"/>
                </a:lnTo>
                <a:lnTo>
                  <a:pt x="1860" y="1214"/>
                </a:lnTo>
                <a:lnTo>
                  <a:pt x="1858" y="1214"/>
                </a:lnTo>
                <a:lnTo>
                  <a:pt x="1858" y="1214"/>
                </a:lnTo>
                <a:lnTo>
                  <a:pt x="1868" y="1210"/>
                </a:lnTo>
                <a:lnTo>
                  <a:pt x="1880" y="1210"/>
                </a:lnTo>
                <a:lnTo>
                  <a:pt x="1880" y="1210"/>
                </a:lnTo>
                <a:lnTo>
                  <a:pt x="1884" y="1208"/>
                </a:lnTo>
                <a:lnTo>
                  <a:pt x="1884" y="1208"/>
                </a:lnTo>
                <a:lnTo>
                  <a:pt x="1884" y="1216"/>
                </a:lnTo>
                <a:lnTo>
                  <a:pt x="1884" y="1216"/>
                </a:lnTo>
                <a:lnTo>
                  <a:pt x="1886" y="1214"/>
                </a:lnTo>
                <a:lnTo>
                  <a:pt x="1886" y="1206"/>
                </a:lnTo>
                <a:lnTo>
                  <a:pt x="1886" y="1206"/>
                </a:lnTo>
                <a:lnTo>
                  <a:pt x="1910" y="1192"/>
                </a:lnTo>
                <a:lnTo>
                  <a:pt x="1928" y="1178"/>
                </a:lnTo>
                <a:lnTo>
                  <a:pt x="1928" y="1178"/>
                </a:lnTo>
                <a:lnTo>
                  <a:pt x="1938" y="1180"/>
                </a:lnTo>
                <a:lnTo>
                  <a:pt x="1938" y="1180"/>
                </a:lnTo>
                <a:lnTo>
                  <a:pt x="1938" y="1178"/>
                </a:lnTo>
                <a:lnTo>
                  <a:pt x="1940" y="1176"/>
                </a:lnTo>
                <a:lnTo>
                  <a:pt x="1946" y="1174"/>
                </a:lnTo>
                <a:lnTo>
                  <a:pt x="1952" y="1174"/>
                </a:lnTo>
                <a:lnTo>
                  <a:pt x="1958" y="1172"/>
                </a:lnTo>
                <a:lnTo>
                  <a:pt x="1958" y="1172"/>
                </a:lnTo>
                <a:lnTo>
                  <a:pt x="1940" y="1166"/>
                </a:lnTo>
                <a:lnTo>
                  <a:pt x="1940" y="1166"/>
                </a:lnTo>
                <a:lnTo>
                  <a:pt x="1950" y="1156"/>
                </a:lnTo>
                <a:lnTo>
                  <a:pt x="1952" y="1148"/>
                </a:lnTo>
                <a:lnTo>
                  <a:pt x="1952" y="1142"/>
                </a:lnTo>
                <a:lnTo>
                  <a:pt x="1948" y="1136"/>
                </a:lnTo>
                <a:lnTo>
                  <a:pt x="1948" y="1136"/>
                </a:lnTo>
                <a:lnTo>
                  <a:pt x="1952" y="1138"/>
                </a:lnTo>
                <a:lnTo>
                  <a:pt x="1956" y="1140"/>
                </a:lnTo>
                <a:lnTo>
                  <a:pt x="1956" y="1140"/>
                </a:lnTo>
                <a:lnTo>
                  <a:pt x="1958" y="1142"/>
                </a:lnTo>
                <a:lnTo>
                  <a:pt x="1962" y="1140"/>
                </a:lnTo>
                <a:lnTo>
                  <a:pt x="1962" y="1140"/>
                </a:lnTo>
                <a:lnTo>
                  <a:pt x="1956" y="1132"/>
                </a:lnTo>
                <a:lnTo>
                  <a:pt x="1956" y="1132"/>
                </a:lnTo>
                <a:lnTo>
                  <a:pt x="1980" y="1132"/>
                </a:lnTo>
                <a:lnTo>
                  <a:pt x="1992" y="1134"/>
                </a:lnTo>
                <a:lnTo>
                  <a:pt x="2002" y="1138"/>
                </a:lnTo>
                <a:lnTo>
                  <a:pt x="2002" y="1138"/>
                </a:lnTo>
                <a:lnTo>
                  <a:pt x="2004" y="1138"/>
                </a:lnTo>
                <a:lnTo>
                  <a:pt x="2008" y="1140"/>
                </a:lnTo>
                <a:lnTo>
                  <a:pt x="2008" y="1140"/>
                </a:lnTo>
                <a:lnTo>
                  <a:pt x="2012" y="1140"/>
                </a:lnTo>
                <a:lnTo>
                  <a:pt x="2016" y="1140"/>
                </a:lnTo>
                <a:lnTo>
                  <a:pt x="2018" y="1144"/>
                </a:lnTo>
                <a:lnTo>
                  <a:pt x="2018" y="1144"/>
                </a:lnTo>
                <a:lnTo>
                  <a:pt x="2020" y="1148"/>
                </a:lnTo>
                <a:lnTo>
                  <a:pt x="2024" y="1152"/>
                </a:lnTo>
                <a:lnTo>
                  <a:pt x="2024" y="1152"/>
                </a:lnTo>
                <a:lnTo>
                  <a:pt x="2028" y="1152"/>
                </a:lnTo>
                <a:lnTo>
                  <a:pt x="2032" y="1156"/>
                </a:lnTo>
                <a:lnTo>
                  <a:pt x="2034" y="1160"/>
                </a:lnTo>
                <a:lnTo>
                  <a:pt x="2034" y="1160"/>
                </a:lnTo>
                <a:lnTo>
                  <a:pt x="2046" y="1162"/>
                </a:lnTo>
                <a:lnTo>
                  <a:pt x="2056" y="1162"/>
                </a:lnTo>
                <a:lnTo>
                  <a:pt x="2076" y="1156"/>
                </a:lnTo>
                <a:lnTo>
                  <a:pt x="2076" y="1156"/>
                </a:lnTo>
                <a:lnTo>
                  <a:pt x="2080" y="1150"/>
                </a:lnTo>
                <a:lnTo>
                  <a:pt x="2080" y="1150"/>
                </a:lnTo>
                <a:lnTo>
                  <a:pt x="2084" y="1150"/>
                </a:lnTo>
                <a:lnTo>
                  <a:pt x="2086" y="1150"/>
                </a:lnTo>
                <a:lnTo>
                  <a:pt x="2094" y="1148"/>
                </a:lnTo>
                <a:lnTo>
                  <a:pt x="2094" y="1148"/>
                </a:lnTo>
                <a:lnTo>
                  <a:pt x="2096" y="1140"/>
                </a:lnTo>
                <a:lnTo>
                  <a:pt x="2096" y="1140"/>
                </a:lnTo>
                <a:lnTo>
                  <a:pt x="2092" y="1136"/>
                </a:lnTo>
                <a:lnTo>
                  <a:pt x="2092" y="1136"/>
                </a:lnTo>
                <a:lnTo>
                  <a:pt x="2084" y="1138"/>
                </a:lnTo>
                <a:lnTo>
                  <a:pt x="2084" y="1138"/>
                </a:lnTo>
                <a:lnTo>
                  <a:pt x="2092" y="1136"/>
                </a:lnTo>
                <a:lnTo>
                  <a:pt x="2092" y="1136"/>
                </a:lnTo>
                <a:lnTo>
                  <a:pt x="2092" y="1136"/>
                </a:lnTo>
                <a:lnTo>
                  <a:pt x="2092" y="1136"/>
                </a:lnTo>
                <a:lnTo>
                  <a:pt x="2092" y="1136"/>
                </a:lnTo>
                <a:lnTo>
                  <a:pt x="2092" y="1136"/>
                </a:lnTo>
                <a:lnTo>
                  <a:pt x="2092" y="1136"/>
                </a:lnTo>
                <a:lnTo>
                  <a:pt x="2092" y="1136"/>
                </a:lnTo>
                <a:lnTo>
                  <a:pt x="2092" y="1136"/>
                </a:lnTo>
                <a:lnTo>
                  <a:pt x="2092" y="1136"/>
                </a:lnTo>
                <a:lnTo>
                  <a:pt x="2096" y="1140"/>
                </a:lnTo>
                <a:lnTo>
                  <a:pt x="2096" y="1140"/>
                </a:lnTo>
                <a:lnTo>
                  <a:pt x="2104" y="1118"/>
                </a:lnTo>
                <a:lnTo>
                  <a:pt x="2108" y="1108"/>
                </a:lnTo>
                <a:lnTo>
                  <a:pt x="2110" y="1102"/>
                </a:lnTo>
                <a:lnTo>
                  <a:pt x="2110" y="1102"/>
                </a:lnTo>
                <a:lnTo>
                  <a:pt x="2106" y="1120"/>
                </a:lnTo>
                <a:lnTo>
                  <a:pt x="2100" y="1142"/>
                </a:lnTo>
                <a:lnTo>
                  <a:pt x="2100" y="1142"/>
                </a:lnTo>
                <a:lnTo>
                  <a:pt x="2100" y="1142"/>
                </a:lnTo>
                <a:lnTo>
                  <a:pt x="2100" y="1142"/>
                </a:lnTo>
                <a:lnTo>
                  <a:pt x="2106" y="1122"/>
                </a:lnTo>
                <a:lnTo>
                  <a:pt x="2112" y="1102"/>
                </a:lnTo>
                <a:lnTo>
                  <a:pt x="2112" y="1102"/>
                </a:lnTo>
                <a:lnTo>
                  <a:pt x="2112" y="1102"/>
                </a:lnTo>
                <a:lnTo>
                  <a:pt x="2112" y="1102"/>
                </a:lnTo>
                <a:lnTo>
                  <a:pt x="2116" y="1104"/>
                </a:lnTo>
                <a:lnTo>
                  <a:pt x="2118" y="1106"/>
                </a:lnTo>
                <a:lnTo>
                  <a:pt x="2122" y="1106"/>
                </a:lnTo>
                <a:lnTo>
                  <a:pt x="2128" y="1104"/>
                </a:lnTo>
                <a:lnTo>
                  <a:pt x="2128" y="1104"/>
                </a:lnTo>
                <a:lnTo>
                  <a:pt x="2136" y="1100"/>
                </a:lnTo>
                <a:lnTo>
                  <a:pt x="2142" y="1100"/>
                </a:lnTo>
                <a:lnTo>
                  <a:pt x="2150" y="1100"/>
                </a:lnTo>
                <a:lnTo>
                  <a:pt x="2158" y="1102"/>
                </a:lnTo>
                <a:lnTo>
                  <a:pt x="2158" y="1102"/>
                </a:lnTo>
                <a:lnTo>
                  <a:pt x="2164" y="1104"/>
                </a:lnTo>
                <a:lnTo>
                  <a:pt x="2170" y="1102"/>
                </a:lnTo>
                <a:lnTo>
                  <a:pt x="2170" y="1102"/>
                </a:lnTo>
                <a:lnTo>
                  <a:pt x="2180" y="1098"/>
                </a:lnTo>
                <a:lnTo>
                  <a:pt x="2180" y="1098"/>
                </a:lnTo>
                <a:lnTo>
                  <a:pt x="2186" y="1102"/>
                </a:lnTo>
                <a:lnTo>
                  <a:pt x="2196" y="1104"/>
                </a:lnTo>
                <a:lnTo>
                  <a:pt x="2204" y="1104"/>
                </a:lnTo>
                <a:lnTo>
                  <a:pt x="2212" y="1108"/>
                </a:lnTo>
                <a:lnTo>
                  <a:pt x="2212" y="1108"/>
                </a:lnTo>
                <a:lnTo>
                  <a:pt x="2212" y="1112"/>
                </a:lnTo>
                <a:lnTo>
                  <a:pt x="2214" y="1114"/>
                </a:lnTo>
                <a:lnTo>
                  <a:pt x="2222" y="1118"/>
                </a:lnTo>
                <a:lnTo>
                  <a:pt x="2222" y="1118"/>
                </a:lnTo>
                <a:lnTo>
                  <a:pt x="2206" y="1130"/>
                </a:lnTo>
                <a:lnTo>
                  <a:pt x="2206" y="1130"/>
                </a:lnTo>
                <a:lnTo>
                  <a:pt x="2198" y="1122"/>
                </a:lnTo>
                <a:lnTo>
                  <a:pt x="2198" y="1122"/>
                </a:lnTo>
                <a:lnTo>
                  <a:pt x="2190" y="1126"/>
                </a:lnTo>
                <a:lnTo>
                  <a:pt x="2190" y="1126"/>
                </a:lnTo>
                <a:lnTo>
                  <a:pt x="2186" y="1124"/>
                </a:lnTo>
                <a:lnTo>
                  <a:pt x="2186" y="1124"/>
                </a:lnTo>
                <a:lnTo>
                  <a:pt x="2188" y="1120"/>
                </a:lnTo>
                <a:lnTo>
                  <a:pt x="2188" y="1120"/>
                </a:lnTo>
                <a:lnTo>
                  <a:pt x="2182" y="1118"/>
                </a:lnTo>
                <a:lnTo>
                  <a:pt x="2176" y="1116"/>
                </a:lnTo>
                <a:lnTo>
                  <a:pt x="2162" y="1118"/>
                </a:lnTo>
                <a:lnTo>
                  <a:pt x="2162" y="1118"/>
                </a:lnTo>
                <a:lnTo>
                  <a:pt x="2172" y="1122"/>
                </a:lnTo>
                <a:lnTo>
                  <a:pt x="2172" y="1122"/>
                </a:lnTo>
                <a:lnTo>
                  <a:pt x="2184" y="1132"/>
                </a:lnTo>
                <a:lnTo>
                  <a:pt x="2192" y="1134"/>
                </a:lnTo>
                <a:lnTo>
                  <a:pt x="2202" y="1134"/>
                </a:lnTo>
                <a:lnTo>
                  <a:pt x="2202" y="1134"/>
                </a:lnTo>
                <a:lnTo>
                  <a:pt x="2202" y="1134"/>
                </a:lnTo>
                <a:lnTo>
                  <a:pt x="2202" y="1134"/>
                </a:lnTo>
                <a:lnTo>
                  <a:pt x="2216" y="1136"/>
                </a:lnTo>
                <a:lnTo>
                  <a:pt x="2226" y="1134"/>
                </a:lnTo>
                <a:lnTo>
                  <a:pt x="2226" y="1134"/>
                </a:lnTo>
                <a:lnTo>
                  <a:pt x="2244" y="1144"/>
                </a:lnTo>
                <a:lnTo>
                  <a:pt x="2244" y="1144"/>
                </a:lnTo>
                <a:lnTo>
                  <a:pt x="2228" y="1148"/>
                </a:lnTo>
                <a:lnTo>
                  <a:pt x="2228" y="1148"/>
                </a:lnTo>
                <a:lnTo>
                  <a:pt x="2228" y="1150"/>
                </a:lnTo>
                <a:lnTo>
                  <a:pt x="2228" y="1150"/>
                </a:lnTo>
                <a:lnTo>
                  <a:pt x="2240" y="1150"/>
                </a:lnTo>
                <a:lnTo>
                  <a:pt x="2240" y="1150"/>
                </a:lnTo>
                <a:lnTo>
                  <a:pt x="2240" y="1152"/>
                </a:lnTo>
                <a:lnTo>
                  <a:pt x="2240" y="1152"/>
                </a:lnTo>
                <a:lnTo>
                  <a:pt x="2230" y="1156"/>
                </a:lnTo>
                <a:lnTo>
                  <a:pt x="2230" y="1156"/>
                </a:lnTo>
                <a:lnTo>
                  <a:pt x="2240" y="1160"/>
                </a:lnTo>
                <a:lnTo>
                  <a:pt x="2240" y="1160"/>
                </a:lnTo>
                <a:lnTo>
                  <a:pt x="2250" y="1156"/>
                </a:lnTo>
                <a:lnTo>
                  <a:pt x="2250" y="1156"/>
                </a:lnTo>
                <a:lnTo>
                  <a:pt x="2256" y="1168"/>
                </a:lnTo>
                <a:lnTo>
                  <a:pt x="2256" y="1168"/>
                </a:lnTo>
                <a:lnTo>
                  <a:pt x="2258" y="1168"/>
                </a:lnTo>
                <a:lnTo>
                  <a:pt x="2258" y="1168"/>
                </a:lnTo>
                <a:lnTo>
                  <a:pt x="2262" y="1164"/>
                </a:lnTo>
                <a:lnTo>
                  <a:pt x="2262" y="1164"/>
                </a:lnTo>
                <a:lnTo>
                  <a:pt x="2270" y="1168"/>
                </a:lnTo>
                <a:lnTo>
                  <a:pt x="2270" y="1168"/>
                </a:lnTo>
                <a:lnTo>
                  <a:pt x="2252" y="1176"/>
                </a:lnTo>
                <a:lnTo>
                  <a:pt x="2252" y="1176"/>
                </a:lnTo>
                <a:lnTo>
                  <a:pt x="2258" y="1184"/>
                </a:lnTo>
                <a:lnTo>
                  <a:pt x="2258" y="1184"/>
                </a:lnTo>
                <a:lnTo>
                  <a:pt x="2268" y="1180"/>
                </a:lnTo>
                <a:lnTo>
                  <a:pt x="2268" y="1180"/>
                </a:lnTo>
                <a:lnTo>
                  <a:pt x="2276" y="1178"/>
                </a:lnTo>
                <a:lnTo>
                  <a:pt x="2286" y="1180"/>
                </a:lnTo>
                <a:lnTo>
                  <a:pt x="2286" y="1180"/>
                </a:lnTo>
                <a:lnTo>
                  <a:pt x="2278" y="1180"/>
                </a:lnTo>
                <a:lnTo>
                  <a:pt x="2274" y="1182"/>
                </a:lnTo>
                <a:lnTo>
                  <a:pt x="2272" y="1184"/>
                </a:lnTo>
                <a:lnTo>
                  <a:pt x="2272" y="1184"/>
                </a:lnTo>
                <a:lnTo>
                  <a:pt x="2276" y="1186"/>
                </a:lnTo>
                <a:lnTo>
                  <a:pt x="2278" y="1186"/>
                </a:lnTo>
                <a:lnTo>
                  <a:pt x="2286" y="1184"/>
                </a:lnTo>
                <a:lnTo>
                  <a:pt x="2286" y="1184"/>
                </a:lnTo>
                <a:lnTo>
                  <a:pt x="2292" y="1182"/>
                </a:lnTo>
                <a:lnTo>
                  <a:pt x="2298" y="1184"/>
                </a:lnTo>
                <a:lnTo>
                  <a:pt x="2298" y="1184"/>
                </a:lnTo>
                <a:lnTo>
                  <a:pt x="2302" y="1190"/>
                </a:lnTo>
                <a:lnTo>
                  <a:pt x="2302" y="1190"/>
                </a:lnTo>
                <a:lnTo>
                  <a:pt x="2306" y="1196"/>
                </a:lnTo>
                <a:lnTo>
                  <a:pt x="2306" y="1196"/>
                </a:lnTo>
                <a:lnTo>
                  <a:pt x="2308" y="1198"/>
                </a:lnTo>
                <a:lnTo>
                  <a:pt x="2310" y="1200"/>
                </a:lnTo>
                <a:lnTo>
                  <a:pt x="2318" y="1198"/>
                </a:lnTo>
                <a:lnTo>
                  <a:pt x="2318" y="1198"/>
                </a:lnTo>
                <a:lnTo>
                  <a:pt x="2306" y="1188"/>
                </a:lnTo>
                <a:lnTo>
                  <a:pt x="2306" y="1188"/>
                </a:lnTo>
                <a:lnTo>
                  <a:pt x="2322" y="1186"/>
                </a:lnTo>
                <a:lnTo>
                  <a:pt x="2322" y="1186"/>
                </a:lnTo>
                <a:lnTo>
                  <a:pt x="2340" y="1182"/>
                </a:lnTo>
                <a:lnTo>
                  <a:pt x="2340" y="1182"/>
                </a:lnTo>
                <a:lnTo>
                  <a:pt x="2344" y="1178"/>
                </a:lnTo>
                <a:lnTo>
                  <a:pt x="2348" y="1176"/>
                </a:lnTo>
                <a:lnTo>
                  <a:pt x="2348" y="1176"/>
                </a:lnTo>
                <a:lnTo>
                  <a:pt x="2358" y="1174"/>
                </a:lnTo>
                <a:lnTo>
                  <a:pt x="2364" y="1174"/>
                </a:lnTo>
                <a:lnTo>
                  <a:pt x="2370" y="1174"/>
                </a:lnTo>
                <a:lnTo>
                  <a:pt x="2370" y="1174"/>
                </a:lnTo>
                <a:lnTo>
                  <a:pt x="2374" y="1180"/>
                </a:lnTo>
                <a:lnTo>
                  <a:pt x="2382" y="1180"/>
                </a:lnTo>
                <a:lnTo>
                  <a:pt x="2382" y="1180"/>
                </a:lnTo>
                <a:lnTo>
                  <a:pt x="2384" y="1178"/>
                </a:lnTo>
                <a:lnTo>
                  <a:pt x="2386" y="1176"/>
                </a:lnTo>
                <a:lnTo>
                  <a:pt x="2386" y="1176"/>
                </a:lnTo>
                <a:lnTo>
                  <a:pt x="2374" y="1172"/>
                </a:lnTo>
                <a:lnTo>
                  <a:pt x="2374" y="1172"/>
                </a:lnTo>
                <a:lnTo>
                  <a:pt x="2374" y="1170"/>
                </a:lnTo>
                <a:lnTo>
                  <a:pt x="2374" y="1170"/>
                </a:lnTo>
                <a:lnTo>
                  <a:pt x="2394" y="1170"/>
                </a:lnTo>
                <a:lnTo>
                  <a:pt x="2394" y="1170"/>
                </a:lnTo>
                <a:lnTo>
                  <a:pt x="2396" y="1162"/>
                </a:lnTo>
                <a:lnTo>
                  <a:pt x="2396" y="1162"/>
                </a:lnTo>
                <a:lnTo>
                  <a:pt x="2402" y="1170"/>
                </a:lnTo>
                <a:lnTo>
                  <a:pt x="2402" y="1170"/>
                </a:lnTo>
                <a:lnTo>
                  <a:pt x="2404" y="1172"/>
                </a:lnTo>
                <a:lnTo>
                  <a:pt x="2402" y="1176"/>
                </a:lnTo>
                <a:lnTo>
                  <a:pt x="2402" y="1176"/>
                </a:lnTo>
                <a:lnTo>
                  <a:pt x="2400" y="1180"/>
                </a:lnTo>
                <a:lnTo>
                  <a:pt x="2398" y="1182"/>
                </a:lnTo>
                <a:lnTo>
                  <a:pt x="2402" y="1184"/>
                </a:lnTo>
                <a:lnTo>
                  <a:pt x="2406" y="1186"/>
                </a:lnTo>
                <a:lnTo>
                  <a:pt x="2406" y="1186"/>
                </a:lnTo>
                <a:lnTo>
                  <a:pt x="2426" y="1186"/>
                </a:lnTo>
                <a:lnTo>
                  <a:pt x="2426" y="1186"/>
                </a:lnTo>
                <a:lnTo>
                  <a:pt x="2444" y="1184"/>
                </a:lnTo>
                <a:lnTo>
                  <a:pt x="2444" y="1184"/>
                </a:lnTo>
                <a:lnTo>
                  <a:pt x="2446" y="1184"/>
                </a:lnTo>
                <a:lnTo>
                  <a:pt x="2446" y="1184"/>
                </a:lnTo>
                <a:lnTo>
                  <a:pt x="2440" y="1190"/>
                </a:lnTo>
                <a:lnTo>
                  <a:pt x="2440" y="1190"/>
                </a:lnTo>
                <a:lnTo>
                  <a:pt x="2454" y="1190"/>
                </a:lnTo>
                <a:lnTo>
                  <a:pt x="2454" y="1190"/>
                </a:lnTo>
                <a:lnTo>
                  <a:pt x="2472" y="1188"/>
                </a:lnTo>
                <a:lnTo>
                  <a:pt x="2472" y="1188"/>
                </a:lnTo>
                <a:lnTo>
                  <a:pt x="2476" y="1188"/>
                </a:lnTo>
                <a:lnTo>
                  <a:pt x="2478" y="1190"/>
                </a:lnTo>
                <a:lnTo>
                  <a:pt x="2476" y="1196"/>
                </a:lnTo>
                <a:lnTo>
                  <a:pt x="2476" y="1196"/>
                </a:lnTo>
                <a:lnTo>
                  <a:pt x="2470" y="1192"/>
                </a:lnTo>
                <a:lnTo>
                  <a:pt x="2470" y="1192"/>
                </a:lnTo>
                <a:lnTo>
                  <a:pt x="2458" y="1196"/>
                </a:lnTo>
                <a:lnTo>
                  <a:pt x="2458" y="1196"/>
                </a:lnTo>
                <a:lnTo>
                  <a:pt x="2462" y="1198"/>
                </a:lnTo>
                <a:lnTo>
                  <a:pt x="2464" y="1200"/>
                </a:lnTo>
                <a:lnTo>
                  <a:pt x="2468" y="1200"/>
                </a:lnTo>
                <a:lnTo>
                  <a:pt x="2472" y="1198"/>
                </a:lnTo>
                <a:lnTo>
                  <a:pt x="2472" y="1198"/>
                </a:lnTo>
                <a:lnTo>
                  <a:pt x="2478" y="1198"/>
                </a:lnTo>
                <a:lnTo>
                  <a:pt x="2484" y="1198"/>
                </a:lnTo>
                <a:lnTo>
                  <a:pt x="2484" y="1198"/>
                </a:lnTo>
                <a:lnTo>
                  <a:pt x="2480" y="1202"/>
                </a:lnTo>
                <a:lnTo>
                  <a:pt x="2474" y="1204"/>
                </a:lnTo>
                <a:lnTo>
                  <a:pt x="2468" y="1206"/>
                </a:lnTo>
                <a:lnTo>
                  <a:pt x="2462" y="1210"/>
                </a:lnTo>
                <a:lnTo>
                  <a:pt x="2462" y="1210"/>
                </a:lnTo>
                <a:lnTo>
                  <a:pt x="2474" y="1208"/>
                </a:lnTo>
                <a:lnTo>
                  <a:pt x="2484" y="1208"/>
                </a:lnTo>
                <a:lnTo>
                  <a:pt x="2502" y="1214"/>
                </a:lnTo>
                <a:lnTo>
                  <a:pt x="2502" y="1214"/>
                </a:lnTo>
                <a:lnTo>
                  <a:pt x="2494" y="1220"/>
                </a:lnTo>
                <a:lnTo>
                  <a:pt x="2494" y="1220"/>
                </a:lnTo>
                <a:lnTo>
                  <a:pt x="2496" y="1222"/>
                </a:lnTo>
                <a:lnTo>
                  <a:pt x="2500" y="1220"/>
                </a:lnTo>
                <a:lnTo>
                  <a:pt x="2504" y="1218"/>
                </a:lnTo>
                <a:lnTo>
                  <a:pt x="2504" y="1218"/>
                </a:lnTo>
                <a:lnTo>
                  <a:pt x="2516" y="1218"/>
                </a:lnTo>
                <a:lnTo>
                  <a:pt x="2516" y="1218"/>
                </a:lnTo>
                <a:lnTo>
                  <a:pt x="2510" y="1230"/>
                </a:lnTo>
                <a:lnTo>
                  <a:pt x="2510" y="1230"/>
                </a:lnTo>
                <a:lnTo>
                  <a:pt x="2524" y="1224"/>
                </a:lnTo>
                <a:lnTo>
                  <a:pt x="2524" y="1224"/>
                </a:lnTo>
                <a:lnTo>
                  <a:pt x="2520" y="1214"/>
                </a:lnTo>
                <a:lnTo>
                  <a:pt x="2520" y="1214"/>
                </a:lnTo>
                <a:lnTo>
                  <a:pt x="2506" y="1216"/>
                </a:lnTo>
                <a:lnTo>
                  <a:pt x="2506" y="1216"/>
                </a:lnTo>
                <a:lnTo>
                  <a:pt x="2506" y="1214"/>
                </a:lnTo>
                <a:lnTo>
                  <a:pt x="2506" y="1212"/>
                </a:lnTo>
                <a:lnTo>
                  <a:pt x="2512" y="1210"/>
                </a:lnTo>
                <a:lnTo>
                  <a:pt x="2512" y="1210"/>
                </a:lnTo>
                <a:lnTo>
                  <a:pt x="2524" y="1212"/>
                </a:lnTo>
                <a:lnTo>
                  <a:pt x="2534" y="1214"/>
                </a:lnTo>
                <a:lnTo>
                  <a:pt x="2534" y="1214"/>
                </a:lnTo>
                <a:lnTo>
                  <a:pt x="2536" y="1218"/>
                </a:lnTo>
                <a:lnTo>
                  <a:pt x="2538" y="1220"/>
                </a:lnTo>
                <a:lnTo>
                  <a:pt x="2538" y="1224"/>
                </a:lnTo>
                <a:lnTo>
                  <a:pt x="2542" y="1226"/>
                </a:lnTo>
                <a:lnTo>
                  <a:pt x="2528" y="1226"/>
                </a:lnTo>
                <a:lnTo>
                  <a:pt x="2528" y="1226"/>
                </a:lnTo>
                <a:lnTo>
                  <a:pt x="2532" y="1228"/>
                </a:lnTo>
                <a:lnTo>
                  <a:pt x="2538" y="1230"/>
                </a:lnTo>
                <a:lnTo>
                  <a:pt x="2548" y="1228"/>
                </a:lnTo>
                <a:lnTo>
                  <a:pt x="2548" y="1228"/>
                </a:lnTo>
                <a:lnTo>
                  <a:pt x="2554" y="1226"/>
                </a:lnTo>
                <a:lnTo>
                  <a:pt x="2560" y="1228"/>
                </a:lnTo>
                <a:lnTo>
                  <a:pt x="2566" y="1228"/>
                </a:lnTo>
                <a:lnTo>
                  <a:pt x="2570" y="1230"/>
                </a:lnTo>
                <a:lnTo>
                  <a:pt x="2570" y="1230"/>
                </a:lnTo>
                <a:lnTo>
                  <a:pt x="2578" y="1234"/>
                </a:lnTo>
                <a:lnTo>
                  <a:pt x="2584" y="1232"/>
                </a:lnTo>
                <a:lnTo>
                  <a:pt x="2590" y="1230"/>
                </a:lnTo>
                <a:lnTo>
                  <a:pt x="2596" y="1230"/>
                </a:lnTo>
                <a:lnTo>
                  <a:pt x="2596" y="1230"/>
                </a:lnTo>
                <a:lnTo>
                  <a:pt x="2596" y="1234"/>
                </a:lnTo>
                <a:lnTo>
                  <a:pt x="2596" y="1236"/>
                </a:lnTo>
                <a:lnTo>
                  <a:pt x="2604" y="1238"/>
                </a:lnTo>
                <a:lnTo>
                  <a:pt x="2604" y="1238"/>
                </a:lnTo>
                <a:lnTo>
                  <a:pt x="2610" y="1240"/>
                </a:lnTo>
                <a:lnTo>
                  <a:pt x="2612" y="1244"/>
                </a:lnTo>
                <a:lnTo>
                  <a:pt x="2612" y="1244"/>
                </a:lnTo>
                <a:lnTo>
                  <a:pt x="2600" y="1244"/>
                </a:lnTo>
                <a:lnTo>
                  <a:pt x="2594" y="1244"/>
                </a:lnTo>
                <a:lnTo>
                  <a:pt x="2590" y="1242"/>
                </a:lnTo>
                <a:lnTo>
                  <a:pt x="2590" y="1242"/>
                </a:lnTo>
                <a:lnTo>
                  <a:pt x="2586" y="1240"/>
                </a:lnTo>
                <a:lnTo>
                  <a:pt x="2586" y="1240"/>
                </a:lnTo>
                <a:lnTo>
                  <a:pt x="2578" y="1242"/>
                </a:lnTo>
                <a:lnTo>
                  <a:pt x="2570" y="1240"/>
                </a:lnTo>
                <a:lnTo>
                  <a:pt x="2556" y="1234"/>
                </a:lnTo>
                <a:lnTo>
                  <a:pt x="2556" y="1234"/>
                </a:lnTo>
                <a:lnTo>
                  <a:pt x="2552" y="1234"/>
                </a:lnTo>
                <a:lnTo>
                  <a:pt x="2548" y="1232"/>
                </a:lnTo>
                <a:lnTo>
                  <a:pt x="2540" y="1234"/>
                </a:lnTo>
                <a:lnTo>
                  <a:pt x="2540" y="1234"/>
                </a:lnTo>
                <a:lnTo>
                  <a:pt x="2538" y="1236"/>
                </a:lnTo>
                <a:lnTo>
                  <a:pt x="2538" y="1236"/>
                </a:lnTo>
                <a:lnTo>
                  <a:pt x="2534" y="1238"/>
                </a:lnTo>
                <a:lnTo>
                  <a:pt x="2534" y="1238"/>
                </a:lnTo>
                <a:lnTo>
                  <a:pt x="2548" y="1240"/>
                </a:lnTo>
                <a:lnTo>
                  <a:pt x="2548" y="1240"/>
                </a:lnTo>
                <a:lnTo>
                  <a:pt x="2534" y="1244"/>
                </a:lnTo>
                <a:lnTo>
                  <a:pt x="2534" y="1244"/>
                </a:lnTo>
                <a:lnTo>
                  <a:pt x="2538" y="1246"/>
                </a:lnTo>
                <a:lnTo>
                  <a:pt x="2540" y="1246"/>
                </a:lnTo>
                <a:lnTo>
                  <a:pt x="2546" y="1246"/>
                </a:lnTo>
                <a:lnTo>
                  <a:pt x="2546" y="1246"/>
                </a:lnTo>
                <a:lnTo>
                  <a:pt x="2554" y="1246"/>
                </a:lnTo>
                <a:lnTo>
                  <a:pt x="2556" y="1248"/>
                </a:lnTo>
                <a:lnTo>
                  <a:pt x="2558" y="1250"/>
                </a:lnTo>
                <a:lnTo>
                  <a:pt x="2558" y="1250"/>
                </a:lnTo>
                <a:lnTo>
                  <a:pt x="2560" y="1252"/>
                </a:lnTo>
                <a:lnTo>
                  <a:pt x="2560" y="1252"/>
                </a:lnTo>
                <a:lnTo>
                  <a:pt x="2576" y="1252"/>
                </a:lnTo>
                <a:lnTo>
                  <a:pt x="2576" y="1252"/>
                </a:lnTo>
                <a:lnTo>
                  <a:pt x="2572" y="1260"/>
                </a:lnTo>
                <a:lnTo>
                  <a:pt x="2572" y="1260"/>
                </a:lnTo>
                <a:lnTo>
                  <a:pt x="2562" y="1260"/>
                </a:lnTo>
                <a:lnTo>
                  <a:pt x="2552" y="1266"/>
                </a:lnTo>
                <a:lnTo>
                  <a:pt x="2552" y="1266"/>
                </a:lnTo>
                <a:lnTo>
                  <a:pt x="2544" y="1268"/>
                </a:lnTo>
                <a:lnTo>
                  <a:pt x="2536" y="1268"/>
                </a:lnTo>
                <a:lnTo>
                  <a:pt x="2536" y="1268"/>
                </a:lnTo>
                <a:lnTo>
                  <a:pt x="2538" y="1260"/>
                </a:lnTo>
                <a:lnTo>
                  <a:pt x="2514" y="1260"/>
                </a:lnTo>
                <a:lnTo>
                  <a:pt x="2514" y="1260"/>
                </a:lnTo>
                <a:lnTo>
                  <a:pt x="2516" y="1256"/>
                </a:lnTo>
                <a:lnTo>
                  <a:pt x="2514" y="1252"/>
                </a:lnTo>
                <a:lnTo>
                  <a:pt x="2512" y="1248"/>
                </a:lnTo>
                <a:lnTo>
                  <a:pt x="2508" y="1246"/>
                </a:lnTo>
                <a:lnTo>
                  <a:pt x="2508" y="1246"/>
                </a:lnTo>
                <a:lnTo>
                  <a:pt x="2490" y="1246"/>
                </a:lnTo>
                <a:lnTo>
                  <a:pt x="2490" y="1246"/>
                </a:lnTo>
                <a:lnTo>
                  <a:pt x="2492" y="1252"/>
                </a:lnTo>
                <a:lnTo>
                  <a:pt x="2496" y="1258"/>
                </a:lnTo>
                <a:lnTo>
                  <a:pt x="2502" y="1260"/>
                </a:lnTo>
                <a:lnTo>
                  <a:pt x="2514" y="1260"/>
                </a:lnTo>
                <a:lnTo>
                  <a:pt x="2514" y="1260"/>
                </a:lnTo>
                <a:lnTo>
                  <a:pt x="2502" y="1264"/>
                </a:lnTo>
                <a:lnTo>
                  <a:pt x="2502" y="1264"/>
                </a:lnTo>
                <a:lnTo>
                  <a:pt x="2512" y="1272"/>
                </a:lnTo>
                <a:lnTo>
                  <a:pt x="2512" y="1272"/>
                </a:lnTo>
                <a:lnTo>
                  <a:pt x="2506" y="1276"/>
                </a:lnTo>
                <a:lnTo>
                  <a:pt x="2502" y="1278"/>
                </a:lnTo>
                <a:lnTo>
                  <a:pt x="2502" y="1282"/>
                </a:lnTo>
                <a:lnTo>
                  <a:pt x="2502" y="1282"/>
                </a:lnTo>
                <a:lnTo>
                  <a:pt x="2496" y="1284"/>
                </a:lnTo>
                <a:lnTo>
                  <a:pt x="2496" y="1284"/>
                </a:lnTo>
                <a:lnTo>
                  <a:pt x="2488" y="1284"/>
                </a:lnTo>
                <a:lnTo>
                  <a:pt x="2488" y="1284"/>
                </a:lnTo>
                <a:lnTo>
                  <a:pt x="2486" y="1286"/>
                </a:lnTo>
                <a:lnTo>
                  <a:pt x="2486" y="1288"/>
                </a:lnTo>
                <a:lnTo>
                  <a:pt x="2486" y="1288"/>
                </a:lnTo>
                <a:lnTo>
                  <a:pt x="2488" y="1290"/>
                </a:lnTo>
                <a:lnTo>
                  <a:pt x="2490" y="1290"/>
                </a:lnTo>
                <a:lnTo>
                  <a:pt x="2490" y="1290"/>
                </a:lnTo>
                <a:lnTo>
                  <a:pt x="2498" y="1288"/>
                </a:lnTo>
                <a:lnTo>
                  <a:pt x="2498" y="1288"/>
                </a:lnTo>
                <a:lnTo>
                  <a:pt x="2508" y="1282"/>
                </a:lnTo>
                <a:lnTo>
                  <a:pt x="2508" y="1282"/>
                </a:lnTo>
                <a:lnTo>
                  <a:pt x="2510" y="1280"/>
                </a:lnTo>
                <a:lnTo>
                  <a:pt x="2514" y="1280"/>
                </a:lnTo>
                <a:lnTo>
                  <a:pt x="2516" y="1280"/>
                </a:lnTo>
                <a:lnTo>
                  <a:pt x="2516" y="1284"/>
                </a:lnTo>
                <a:lnTo>
                  <a:pt x="2516" y="1284"/>
                </a:lnTo>
                <a:lnTo>
                  <a:pt x="2528" y="1282"/>
                </a:lnTo>
                <a:lnTo>
                  <a:pt x="2528" y="1282"/>
                </a:lnTo>
                <a:lnTo>
                  <a:pt x="2536" y="1280"/>
                </a:lnTo>
                <a:lnTo>
                  <a:pt x="2544" y="1282"/>
                </a:lnTo>
                <a:lnTo>
                  <a:pt x="2556" y="1286"/>
                </a:lnTo>
                <a:lnTo>
                  <a:pt x="2556" y="1286"/>
                </a:lnTo>
                <a:lnTo>
                  <a:pt x="2560" y="1288"/>
                </a:lnTo>
                <a:lnTo>
                  <a:pt x="2562" y="1290"/>
                </a:lnTo>
                <a:lnTo>
                  <a:pt x="2562" y="1292"/>
                </a:lnTo>
                <a:lnTo>
                  <a:pt x="2560" y="1296"/>
                </a:lnTo>
                <a:lnTo>
                  <a:pt x="2560" y="1296"/>
                </a:lnTo>
                <a:lnTo>
                  <a:pt x="2568" y="1298"/>
                </a:lnTo>
                <a:lnTo>
                  <a:pt x="2568" y="1298"/>
                </a:lnTo>
                <a:lnTo>
                  <a:pt x="2572" y="1298"/>
                </a:lnTo>
                <a:lnTo>
                  <a:pt x="2576" y="1296"/>
                </a:lnTo>
                <a:lnTo>
                  <a:pt x="2576" y="1296"/>
                </a:lnTo>
                <a:lnTo>
                  <a:pt x="2578" y="1294"/>
                </a:lnTo>
                <a:lnTo>
                  <a:pt x="2576" y="1290"/>
                </a:lnTo>
                <a:lnTo>
                  <a:pt x="2576" y="1290"/>
                </a:lnTo>
                <a:lnTo>
                  <a:pt x="2570" y="1284"/>
                </a:lnTo>
                <a:lnTo>
                  <a:pt x="2564" y="1280"/>
                </a:lnTo>
                <a:lnTo>
                  <a:pt x="2564" y="1280"/>
                </a:lnTo>
                <a:lnTo>
                  <a:pt x="2560" y="1276"/>
                </a:lnTo>
                <a:lnTo>
                  <a:pt x="2558" y="1276"/>
                </a:lnTo>
                <a:lnTo>
                  <a:pt x="2550" y="1278"/>
                </a:lnTo>
                <a:lnTo>
                  <a:pt x="2550" y="1278"/>
                </a:lnTo>
                <a:lnTo>
                  <a:pt x="2550" y="1278"/>
                </a:lnTo>
                <a:lnTo>
                  <a:pt x="2550" y="1278"/>
                </a:lnTo>
                <a:lnTo>
                  <a:pt x="2546" y="1274"/>
                </a:lnTo>
                <a:lnTo>
                  <a:pt x="2546" y="1272"/>
                </a:lnTo>
                <a:lnTo>
                  <a:pt x="2552" y="1270"/>
                </a:lnTo>
                <a:lnTo>
                  <a:pt x="2562" y="1270"/>
                </a:lnTo>
                <a:lnTo>
                  <a:pt x="2562" y="1270"/>
                </a:lnTo>
                <a:lnTo>
                  <a:pt x="2562" y="1264"/>
                </a:lnTo>
                <a:lnTo>
                  <a:pt x="2562" y="1264"/>
                </a:lnTo>
                <a:lnTo>
                  <a:pt x="2578" y="1262"/>
                </a:lnTo>
                <a:lnTo>
                  <a:pt x="2586" y="1262"/>
                </a:lnTo>
                <a:lnTo>
                  <a:pt x="2594" y="1264"/>
                </a:lnTo>
                <a:lnTo>
                  <a:pt x="2594" y="1264"/>
                </a:lnTo>
                <a:lnTo>
                  <a:pt x="2602" y="1262"/>
                </a:lnTo>
                <a:lnTo>
                  <a:pt x="2602" y="1262"/>
                </a:lnTo>
                <a:lnTo>
                  <a:pt x="2594" y="1258"/>
                </a:lnTo>
                <a:lnTo>
                  <a:pt x="2594" y="1258"/>
                </a:lnTo>
                <a:lnTo>
                  <a:pt x="2588" y="1256"/>
                </a:lnTo>
                <a:lnTo>
                  <a:pt x="2588" y="1256"/>
                </a:lnTo>
                <a:lnTo>
                  <a:pt x="2588" y="1254"/>
                </a:lnTo>
                <a:lnTo>
                  <a:pt x="2588" y="1254"/>
                </a:lnTo>
                <a:lnTo>
                  <a:pt x="2606" y="1256"/>
                </a:lnTo>
                <a:lnTo>
                  <a:pt x="2606" y="1256"/>
                </a:lnTo>
                <a:lnTo>
                  <a:pt x="2604" y="1262"/>
                </a:lnTo>
                <a:lnTo>
                  <a:pt x="2604" y="1262"/>
                </a:lnTo>
                <a:lnTo>
                  <a:pt x="2620" y="1264"/>
                </a:lnTo>
                <a:lnTo>
                  <a:pt x="2628" y="1266"/>
                </a:lnTo>
                <a:lnTo>
                  <a:pt x="2636" y="1264"/>
                </a:lnTo>
                <a:lnTo>
                  <a:pt x="2636" y="1264"/>
                </a:lnTo>
                <a:lnTo>
                  <a:pt x="2640" y="1264"/>
                </a:lnTo>
                <a:lnTo>
                  <a:pt x="2640" y="1264"/>
                </a:lnTo>
                <a:lnTo>
                  <a:pt x="2644" y="1266"/>
                </a:lnTo>
                <a:lnTo>
                  <a:pt x="2648" y="1264"/>
                </a:lnTo>
                <a:lnTo>
                  <a:pt x="2648" y="1264"/>
                </a:lnTo>
                <a:lnTo>
                  <a:pt x="2654" y="1262"/>
                </a:lnTo>
                <a:lnTo>
                  <a:pt x="2654" y="1262"/>
                </a:lnTo>
                <a:lnTo>
                  <a:pt x="2678" y="1262"/>
                </a:lnTo>
                <a:lnTo>
                  <a:pt x="2678" y="1262"/>
                </a:lnTo>
                <a:lnTo>
                  <a:pt x="2690" y="1262"/>
                </a:lnTo>
                <a:lnTo>
                  <a:pt x="2694" y="1262"/>
                </a:lnTo>
                <a:lnTo>
                  <a:pt x="2700" y="1264"/>
                </a:lnTo>
                <a:lnTo>
                  <a:pt x="2700" y="1264"/>
                </a:lnTo>
                <a:lnTo>
                  <a:pt x="2686" y="1274"/>
                </a:lnTo>
                <a:lnTo>
                  <a:pt x="2686" y="1274"/>
                </a:lnTo>
                <a:lnTo>
                  <a:pt x="2682" y="1270"/>
                </a:lnTo>
                <a:lnTo>
                  <a:pt x="2676" y="1270"/>
                </a:lnTo>
                <a:lnTo>
                  <a:pt x="2670" y="1268"/>
                </a:lnTo>
                <a:lnTo>
                  <a:pt x="2666" y="1266"/>
                </a:lnTo>
                <a:lnTo>
                  <a:pt x="2666" y="1266"/>
                </a:lnTo>
                <a:lnTo>
                  <a:pt x="2660" y="1266"/>
                </a:lnTo>
                <a:lnTo>
                  <a:pt x="2658" y="1268"/>
                </a:lnTo>
                <a:lnTo>
                  <a:pt x="2656" y="1270"/>
                </a:lnTo>
                <a:lnTo>
                  <a:pt x="2656" y="1270"/>
                </a:lnTo>
                <a:lnTo>
                  <a:pt x="2664" y="1272"/>
                </a:lnTo>
                <a:lnTo>
                  <a:pt x="2670" y="1274"/>
                </a:lnTo>
                <a:lnTo>
                  <a:pt x="2670" y="1274"/>
                </a:lnTo>
                <a:lnTo>
                  <a:pt x="2674" y="1280"/>
                </a:lnTo>
                <a:lnTo>
                  <a:pt x="2678" y="1282"/>
                </a:lnTo>
                <a:lnTo>
                  <a:pt x="2686" y="1282"/>
                </a:lnTo>
                <a:lnTo>
                  <a:pt x="2692" y="1282"/>
                </a:lnTo>
                <a:lnTo>
                  <a:pt x="2692" y="1282"/>
                </a:lnTo>
                <a:lnTo>
                  <a:pt x="2712" y="1280"/>
                </a:lnTo>
                <a:lnTo>
                  <a:pt x="2732" y="1280"/>
                </a:lnTo>
                <a:lnTo>
                  <a:pt x="2732" y="1280"/>
                </a:lnTo>
                <a:lnTo>
                  <a:pt x="2740" y="1280"/>
                </a:lnTo>
                <a:lnTo>
                  <a:pt x="2744" y="1278"/>
                </a:lnTo>
                <a:lnTo>
                  <a:pt x="2744" y="1278"/>
                </a:lnTo>
                <a:lnTo>
                  <a:pt x="2746" y="1274"/>
                </a:lnTo>
                <a:lnTo>
                  <a:pt x="2748" y="1272"/>
                </a:lnTo>
                <a:lnTo>
                  <a:pt x="2758" y="1272"/>
                </a:lnTo>
                <a:lnTo>
                  <a:pt x="2758" y="1272"/>
                </a:lnTo>
                <a:lnTo>
                  <a:pt x="2778" y="1272"/>
                </a:lnTo>
                <a:lnTo>
                  <a:pt x="2778" y="1272"/>
                </a:lnTo>
                <a:lnTo>
                  <a:pt x="2780" y="1272"/>
                </a:lnTo>
                <a:lnTo>
                  <a:pt x="2780" y="1272"/>
                </a:lnTo>
                <a:lnTo>
                  <a:pt x="2788" y="1274"/>
                </a:lnTo>
                <a:lnTo>
                  <a:pt x="2794" y="1274"/>
                </a:lnTo>
                <a:lnTo>
                  <a:pt x="2800" y="1272"/>
                </a:lnTo>
                <a:lnTo>
                  <a:pt x="2806" y="1272"/>
                </a:lnTo>
                <a:lnTo>
                  <a:pt x="2806" y="1272"/>
                </a:lnTo>
                <a:lnTo>
                  <a:pt x="2804" y="1268"/>
                </a:lnTo>
                <a:lnTo>
                  <a:pt x="2804" y="1268"/>
                </a:lnTo>
                <a:lnTo>
                  <a:pt x="2812" y="1266"/>
                </a:lnTo>
                <a:lnTo>
                  <a:pt x="2818" y="1264"/>
                </a:lnTo>
                <a:lnTo>
                  <a:pt x="2822" y="1260"/>
                </a:lnTo>
                <a:lnTo>
                  <a:pt x="2824" y="1256"/>
                </a:lnTo>
                <a:lnTo>
                  <a:pt x="2824" y="1256"/>
                </a:lnTo>
                <a:lnTo>
                  <a:pt x="2812" y="1252"/>
                </a:lnTo>
                <a:lnTo>
                  <a:pt x="2812" y="1252"/>
                </a:lnTo>
                <a:lnTo>
                  <a:pt x="2814" y="1242"/>
                </a:lnTo>
                <a:lnTo>
                  <a:pt x="2814" y="1242"/>
                </a:lnTo>
                <a:lnTo>
                  <a:pt x="2844" y="1232"/>
                </a:lnTo>
                <a:lnTo>
                  <a:pt x="2844" y="1232"/>
                </a:lnTo>
                <a:lnTo>
                  <a:pt x="2858" y="1230"/>
                </a:lnTo>
                <a:lnTo>
                  <a:pt x="2858" y="1230"/>
                </a:lnTo>
                <a:lnTo>
                  <a:pt x="2874" y="1230"/>
                </a:lnTo>
                <a:lnTo>
                  <a:pt x="2874" y="1230"/>
                </a:lnTo>
                <a:lnTo>
                  <a:pt x="2868" y="1218"/>
                </a:lnTo>
                <a:lnTo>
                  <a:pt x="2868" y="1218"/>
                </a:lnTo>
                <a:lnTo>
                  <a:pt x="2894" y="1216"/>
                </a:lnTo>
                <a:lnTo>
                  <a:pt x="2894" y="1216"/>
                </a:lnTo>
                <a:lnTo>
                  <a:pt x="2898" y="1210"/>
                </a:lnTo>
                <a:lnTo>
                  <a:pt x="2898" y="1210"/>
                </a:lnTo>
                <a:lnTo>
                  <a:pt x="2892" y="1208"/>
                </a:lnTo>
                <a:lnTo>
                  <a:pt x="2892" y="1208"/>
                </a:lnTo>
                <a:lnTo>
                  <a:pt x="2904" y="1208"/>
                </a:lnTo>
                <a:lnTo>
                  <a:pt x="2908" y="1210"/>
                </a:lnTo>
                <a:lnTo>
                  <a:pt x="2912" y="1212"/>
                </a:lnTo>
                <a:lnTo>
                  <a:pt x="2912" y="1212"/>
                </a:lnTo>
                <a:lnTo>
                  <a:pt x="2914" y="1214"/>
                </a:lnTo>
                <a:lnTo>
                  <a:pt x="2920" y="1216"/>
                </a:lnTo>
                <a:lnTo>
                  <a:pt x="2920" y="1216"/>
                </a:lnTo>
                <a:lnTo>
                  <a:pt x="2928" y="1216"/>
                </a:lnTo>
                <a:lnTo>
                  <a:pt x="2936" y="1216"/>
                </a:lnTo>
                <a:lnTo>
                  <a:pt x="2944" y="1216"/>
                </a:lnTo>
                <a:lnTo>
                  <a:pt x="2952" y="1216"/>
                </a:lnTo>
                <a:lnTo>
                  <a:pt x="2952" y="1216"/>
                </a:lnTo>
                <a:lnTo>
                  <a:pt x="2952" y="1210"/>
                </a:lnTo>
                <a:lnTo>
                  <a:pt x="2952" y="1206"/>
                </a:lnTo>
                <a:lnTo>
                  <a:pt x="2956" y="1204"/>
                </a:lnTo>
                <a:lnTo>
                  <a:pt x="2964" y="1202"/>
                </a:lnTo>
                <a:lnTo>
                  <a:pt x="2964" y="1202"/>
                </a:lnTo>
                <a:lnTo>
                  <a:pt x="2964" y="1196"/>
                </a:lnTo>
                <a:lnTo>
                  <a:pt x="2992" y="1196"/>
                </a:lnTo>
                <a:lnTo>
                  <a:pt x="2992" y="1196"/>
                </a:lnTo>
                <a:lnTo>
                  <a:pt x="2990" y="1192"/>
                </a:lnTo>
                <a:lnTo>
                  <a:pt x="2990" y="1192"/>
                </a:lnTo>
                <a:lnTo>
                  <a:pt x="2986" y="1188"/>
                </a:lnTo>
                <a:lnTo>
                  <a:pt x="2986" y="1188"/>
                </a:lnTo>
                <a:lnTo>
                  <a:pt x="2980" y="1188"/>
                </a:lnTo>
                <a:lnTo>
                  <a:pt x="2972" y="1188"/>
                </a:lnTo>
                <a:lnTo>
                  <a:pt x="2966" y="1188"/>
                </a:lnTo>
                <a:lnTo>
                  <a:pt x="2962" y="1190"/>
                </a:lnTo>
                <a:lnTo>
                  <a:pt x="2962" y="1190"/>
                </a:lnTo>
                <a:lnTo>
                  <a:pt x="2958" y="1194"/>
                </a:lnTo>
                <a:lnTo>
                  <a:pt x="2952" y="1196"/>
                </a:lnTo>
                <a:lnTo>
                  <a:pt x="2942" y="1198"/>
                </a:lnTo>
                <a:lnTo>
                  <a:pt x="2942" y="1198"/>
                </a:lnTo>
                <a:lnTo>
                  <a:pt x="2922" y="1200"/>
                </a:lnTo>
                <a:lnTo>
                  <a:pt x="2922" y="1200"/>
                </a:lnTo>
                <a:lnTo>
                  <a:pt x="2920" y="1198"/>
                </a:lnTo>
                <a:lnTo>
                  <a:pt x="2918" y="1196"/>
                </a:lnTo>
                <a:lnTo>
                  <a:pt x="2910" y="1194"/>
                </a:lnTo>
                <a:lnTo>
                  <a:pt x="2910" y="1194"/>
                </a:lnTo>
                <a:lnTo>
                  <a:pt x="2912" y="1190"/>
                </a:lnTo>
                <a:lnTo>
                  <a:pt x="2916" y="1188"/>
                </a:lnTo>
                <a:lnTo>
                  <a:pt x="2926" y="1182"/>
                </a:lnTo>
                <a:lnTo>
                  <a:pt x="2926" y="1182"/>
                </a:lnTo>
                <a:lnTo>
                  <a:pt x="2922" y="1178"/>
                </a:lnTo>
                <a:lnTo>
                  <a:pt x="2922" y="1178"/>
                </a:lnTo>
                <a:lnTo>
                  <a:pt x="2936" y="1174"/>
                </a:lnTo>
                <a:lnTo>
                  <a:pt x="2936" y="1174"/>
                </a:lnTo>
                <a:lnTo>
                  <a:pt x="2934" y="1172"/>
                </a:lnTo>
                <a:lnTo>
                  <a:pt x="2934" y="1172"/>
                </a:lnTo>
                <a:lnTo>
                  <a:pt x="2934" y="1168"/>
                </a:lnTo>
                <a:lnTo>
                  <a:pt x="2934" y="1166"/>
                </a:lnTo>
                <a:lnTo>
                  <a:pt x="2942" y="1166"/>
                </a:lnTo>
                <a:lnTo>
                  <a:pt x="2942" y="1166"/>
                </a:lnTo>
                <a:lnTo>
                  <a:pt x="2950" y="1166"/>
                </a:lnTo>
                <a:lnTo>
                  <a:pt x="2950" y="1166"/>
                </a:lnTo>
                <a:lnTo>
                  <a:pt x="2954" y="1162"/>
                </a:lnTo>
                <a:lnTo>
                  <a:pt x="2954" y="1162"/>
                </a:lnTo>
                <a:lnTo>
                  <a:pt x="2962" y="1164"/>
                </a:lnTo>
                <a:lnTo>
                  <a:pt x="2964" y="1166"/>
                </a:lnTo>
                <a:lnTo>
                  <a:pt x="2968" y="1164"/>
                </a:lnTo>
                <a:lnTo>
                  <a:pt x="2968" y="1164"/>
                </a:lnTo>
                <a:lnTo>
                  <a:pt x="2972" y="1164"/>
                </a:lnTo>
                <a:lnTo>
                  <a:pt x="2976" y="1164"/>
                </a:lnTo>
                <a:lnTo>
                  <a:pt x="2982" y="1168"/>
                </a:lnTo>
                <a:lnTo>
                  <a:pt x="2982" y="1168"/>
                </a:lnTo>
                <a:lnTo>
                  <a:pt x="2990" y="1158"/>
                </a:lnTo>
                <a:lnTo>
                  <a:pt x="2990" y="1158"/>
                </a:lnTo>
                <a:lnTo>
                  <a:pt x="2998" y="1158"/>
                </a:lnTo>
                <a:lnTo>
                  <a:pt x="3006" y="1158"/>
                </a:lnTo>
                <a:lnTo>
                  <a:pt x="3014" y="1160"/>
                </a:lnTo>
                <a:lnTo>
                  <a:pt x="3020" y="1164"/>
                </a:lnTo>
                <a:lnTo>
                  <a:pt x="3020" y="1164"/>
                </a:lnTo>
                <a:lnTo>
                  <a:pt x="3026" y="1166"/>
                </a:lnTo>
                <a:lnTo>
                  <a:pt x="3032" y="1166"/>
                </a:lnTo>
                <a:lnTo>
                  <a:pt x="3032" y="1166"/>
                </a:lnTo>
                <a:lnTo>
                  <a:pt x="3038" y="1166"/>
                </a:lnTo>
                <a:lnTo>
                  <a:pt x="3042" y="1166"/>
                </a:lnTo>
                <a:lnTo>
                  <a:pt x="3042" y="1166"/>
                </a:lnTo>
                <a:lnTo>
                  <a:pt x="3048" y="1168"/>
                </a:lnTo>
                <a:lnTo>
                  <a:pt x="3056" y="1170"/>
                </a:lnTo>
                <a:lnTo>
                  <a:pt x="3068" y="1166"/>
                </a:lnTo>
                <a:lnTo>
                  <a:pt x="3068" y="1166"/>
                </a:lnTo>
                <a:lnTo>
                  <a:pt x="3072" y="1164"/>
                </a:lnTo>
                <a:lnTo>
                  <a:pt x="3074" y="1158"/>
                </a:lnTo>
                <a:lnTo>
                  <a:pt x="3080" y="1140"/>
                </a:lnTo>
                <a:lnTo>
                  <a:pt x="3080" y="1140"/>
                </a:lnTo>
                <a:lnTo>
                  <a:pt x="3070" y="1142"/>
                </a:lnTo>
                <a:lnTo>
                  <a:pt x="3070" y="1142"/>
                </a:lnTo>
                <a:lnTo>
                  <a:pt x="3070" y="1140"/>
                </a:lnTo>
                <a:lnTo>
                  <a:pt x="3068" y="1138"/>
                </a:lnTo>
                <a:lnTo>
                  <a:pt x="3064" y="1138"/>
                </a:lnTo>
                <a:lnTo>
                  <a:pt x="3058" y="1136"/>
                </a:lnTo>
                <a:lnTo>
                  <a:pt x="3054" y="1134"/>
                </a:lnTo>
                <a:lnTo>
                  <a:pt x="3054" y="1134"/>
                </a:lnTo>
                <a:lnTo>
                  <a:pt x="3048" y="1126"/>
                </a:lnTo>
                <a:lnTo>
                  <a:pt x="3040" y="1120"/>
                </a:lnTo>
                <a:lnTo>
                  <a:pt x="3040" y="1120"/>
                </a:lnTo>
                <a:lnTo>
                  <a:pt x="3044" y="1118"/>
                </a:lnTo>
                <a:lnTo>
                  <a:pt x="3044" y="1114"/>
                </a:lnTo>
                <a:lnTo>
                  <a:pt x="3046" y="1110"/>
                </a:lnTo>
                <a:lnTo>
                  <a:pt x="3054" y="1108"/>
                </a:lnTo>
                <a:lnTo>
                  <a:pt x="3054" y="1108"/>
                </a:lnTo>
                <a:lnTo>
                  <a:pt x="3052" y="1122"/>
                </a:lnTo>
                <a:lnTo>
                  <a:pt x="3052" y="1122"/>
                </a:lnTo>
                <a:lnTo>
                  <a:pt x="3060" y="1122"/>
                </a:lnTo>
                <a:lnTo>
                  <a:pt x="3066" y="1120"/>
                </a:lnTo>
                <a:lnTo>
                  <a:pt x="3066" y="1120"/>
                </a:lnTo>
                <a:lnTo>
                  <a:pt x="3076" y="1116"/>
                </a:lnTo>
                <a:lnTo>
                  <a:pt x="3076" y="1116"/>
                </a:lnTo>
                <a:lnTo>
                  <a:pt x="3076" y="1116"/>
                </a:lnTo>
                <a:lnTo>
                  <a:pt x="3076" y="1116"/>
                </a:lnTo>
                <a:lnTo>
                  <a:pt x="3076" y="1116"/>
                </a:lnTo>
                <a:lnTo>
                  <a:pt x="3076" y="1116"/>
                </a:lnTo>
                <a:lnTo>
                  <a:pt x="3076" y="1116"/>
                </a:lnTo>
                <a:lnTo>
                  <a:pt x="3076" y="1116"/>
                </a:lnTo>
                <a:lnTo>
                  <a:pt x="3076" y="1116"/>
                </a:lnTo>
                <a:lnTo>
                  <a:pt x="3078" y="1116"/>
                </a:lnTo>
                <a:lnTo>
                  <a:pt x="3078" y="1116"/>
                </a:lnTo>
                <a:lnTo>
                  <a:pt x="3078" y="1120"/>
                </a:lnTo>
                <a:lnTo>
                  <a:pt x="3078" y="1122"/>
                </a:lnTo>
                <a:lnTo>
                  <a:pt x="3084" y="1124"/>
                </a:lnTo>
                <a:lnTo>
                  <a:pt x="3084" y="1124"/>
                </a:lnTo>
                <a:lnTo>
                  <a:pt x="3086" y="1124"/>
                </a:lnTo>
                <a:lnTo>
                  <a:pt x="3086" y="1124"/>
                </a:lnTo>
                <a:lnTo>
                  <a:pt x="3088" y="1116"/>
                </a:lnTo>
                <a:lnTo>
                  <a:pt x="3088" y="1116"/>
                </a:lnTo>
                <a:lnTo>
                  <a:pt x="3084" y="1116"/>
                </a:lnTo>
                <a:lnTo>
                  <a:pt x="3084" y="1116"/>
                </a:lnTo>
                <a:lnTo>
                  <a:pt x="3084" y="1116"/>
                </a:lnTo>
                <a:lnTo>
                  <a:pt x="3084" y="1116"/>
                </a:lnTo>
                <a:lnTo>
                  <a:pt x="3084" y="1116"/>
                </a:lnTo>
                <a:lnTo>
                  <a:pt x="3084" y="1116"/>
                </a:lnTo>
                <a:lnTo>
                  <a:pt x="3088" y="1116"/>
                </a:lnTo>
                <a:lnTo>
                  <a:pt x="3088" y="1116"/>
                </a:lnTo>
                <a:lnTo>
                  <a:pt x="3088" y="1114"/>
                </a:lnTo>
                <a:lnTo>
                  <a:pt x="3074" y="1114"/>
                </a:lnTo>
                <a:lnTo>
                  <a:pt x="3074" y="1114"/>
                </a:lnTo>
                <a:lnTo>
                  <a:pt x="3074" y="1114"/>
                </a:lnTo>
                <a:lnTo>
                  <a:pt x="3088" y="1114"/>
                </a:lnTo>
                <a:lnTo>
                  <a:pt x="3088" y="1114"/>
                </a:lnTo>
                <a:lnTo>
                  <a:pt x="3090" y="1102"/>
                </a:lnTo>
                <a:lnTo>
                  <a:pt x="3090" y="1102"/>
                </a:lnTo>
                <a:lnTo>
                  <a:pt x="3088" y="1100"/>
                </a:lnTo>
                <a:lnTo>
                  <a:pt x="3088" y="1100"/>
                </a:lnTo>
                <a:lnTo>
                  <a:pt x="3092" y="1100"/>
                </a:lnTo>
                <a:lnTo>
                  <a:pt x="3092" y="1100"/>
                </a:lnTo>
                <a:lnTo>
                  <a:pt x="3094" y="1088"/>
                </a:lnTo>
                <a:lnTo>
                  <a:pt x="3094" y="1088"/>
                </a:lnTo>
                <a:lnTo>
                  <a:pt x="3084" y="1090"/>
                </a:lnTo>
                <a:lnTo>
                  <a:pt x="3084" y="1090"/>
                </a:lnTo>
                <a:lnTo>
                  <a:pt x="3084" y="1090"/>
                </a:lnTo>
                <a:lnTo>
                  <a:pt x="3084" y="1090"/>
                </a:lnTo>
                <a:lnTo>
                  <a:pt x="3094" y="1088"/>
                </a:lnTo>
                <a:lnTo>
                  <a:pt x="3094" y="1088"/>
                </a:lnTo>
                <a:lnTo>
                  <a:pt x="3102" y="1066"/>
                </a:lnTo>
                <a:lnTo>
                  <a:pt x="3106" y="1060"/>
                </a:lnTo>
                <a:lnTo>
                  <a:pt x="3108" y="1058"/>
                </a:lnTo>
                <a:lnTo>
                  <a:pt x="3108" y="1058"/>
                </a:lnTo>
                <a:lnTo>
                  <a:pt x="3108" y="1058"/>
                </a:lnTo>
                <a:lnTo>
                  <a:pt x="3110" y="1056"/>
                </a:lnTo>
                <a:lnTo>
                  <a:pt x="3110" y="1056"/>
                </a:lnTo>
                <a:lnTo>
                  <a:pt x="3106" y="1058"/>
                </a:lnTo>
                <a:lnTo>
                  <a:pt x="3106" y="1058"/>
                </a:lnTo>
                <a:lnTo>
                  <a:pt x="3102" y="1058"/>
                </a:lnTo>
                <a:lnTo>
                  <a:pt x="3102" y="1058"/>
                </a:lnTo>
                <a:lnTo>
                  <a:pt x="3106" y="1054"/>
                </a:lnTo>
                <a:lnTo>
                  <a:pt x="3110" y="1052"/>
                </a:lnTo>
                <a:lnTo>
                  <a:pt x="3110" y="1052"/>
                </a:lnTo>
                <a:lnTo>
                  <a:pt x="3112" y="1054"/>
                </a:lnTo>
                <a:lnTo>
                  <a:pt x="3112" y="1054"/>
                </a:lnTo>
                <a:lnTo>
                  <a:pt x="3114" y="1052"/>
                </a:lnTo>
                <a:lnTo>
                  <a:pt x="3114" y="1052"/>
                </a:lnTo>
                <a:lnTo>
                  <a:pt x="3114" y="1056"/>
                </a:lnTo>
                <a:lnTo>
                  <a:pt x="3114" y="1056"/>
                </a:lnTo>
                <a:lnTo>
                  <a:pt x="3114" y="1056"/>
                </a:lnTo>
                <a:lnTo>
                  <a:pt x="3114" y="1056"/>
                </a:lnTo>
                <a:lnTo>
                  <a:pt x="3114" y="1056"/>
                </a:lnTo>
                <a:lnTo>
                  <a:pt x="3114" y="1056"/>
                </a:lnTo>
                <a:lnTo>
                  <a:pt x="3108" y="1090"/>
                </a:lnTo>
                <a:lnTo>
                  <a:pt x="3108" y="1090"/>
                </a:lnTo>
                <a:lnTo>
                  <a:pt x="3108" y="1090"/>
                </a:lnTo>
                <a:lnTo>
                  <a:pt x="3108" y="1090"/>
                </a:lnTo>
                <a:lnTo>
                  <a:pt x="3108" y="1090"/>
                </a:lnTo>
                <a:lnTo>
                  <a:pt x="3108" y="1090"/>
                </a:lnTo>
                <a:lnTo>
                  <a:pt x="3108" y="1090"/>
                </a:lnTo>
                <a:lnTo>
                  <a:pt x="3108" y="1090"/>
                </a:lnTo>
                <a:lnTo>
                  <a:pt x="3106" y="1104"/>
                </a:lnTo>
                <a:lnTo>
                  <a:pt x="3106" y="1104"/>
                </a:lnTo>
                <a:lnTo>
                  <a:pt x="3108" y="1104"/>
                </a:lnTo>
                <a:lnTo>
                  <a:pt x="3108" y="1104"/>
                </a:lnTo>
                <a:lnTo>
                  <a:pt x="3118" y="1104"/>
                </a:lnTo>
                <a:lnTo>
                  <a:pt x="3118" y="1104"/>
                </a:lnTo>
                <a:lnTo>
                  <a:pt x="3122" y="1142"/>
                </a:lnTo>
                <a:lnTo>
                  <a:pt x="3122" y="1142"/>
                </a:lnTo>
                <a:lnTo>
                  <a:pt x="3120" y="1142"/>
                </a:lnTo>
                <a:lnTo>
                  <a:pt x="3120" y="1142"/>
                </a:lnTo>
                <a:lnTo>
                  <a:pt x="3112" y="1142"/>
                </a:lnTo>
                <a:lnTo>
                  <a:pt x="3104" y="1140"/>
                </a:lnTo>
                <a:lnTo>
                  <a:pt x="3104" y="1140"/>
                </a:lnTo>
                <a:lnTo>
                  <a:pt x="3100" y="1138"/>
                </a:lnTo>
                <a:lnTo>
                  <a:pt x="3100" y="1138"/>
                </a:lnTo>
                <a:lnTo>
                  <a:pt x="3096" y="1148"/>
                </a:lnTo>
                <a:lnTo>
                  <a:pt x="3094" y="1152"/>
                </a:lnTo>
                <a:lnTo>
                  <a:pt x="3094" y="1152"/>
                </a:lnTo>
                <a:lnTo>
                  <a:pt x="3102" y="1150"/>
                </a:lnTo>
                <a:lnTo>
                  <a:pt x="3102" y="1150"/>
                </a:lnTo>
                <a:lnTo>
                  <a:pt x="3102" y="1150"/>
                </a:lnTo>
                <a:lnTo>
                  <a:pt x="3102" y="1150"/>
                </a:lnTo>
                <a:lnTo>
                  <a:pt x="3106" y="1146"/>
                </a:lnTo>
                <a:lnTo>
                  <a:pt x="3106" y="1146"/>
                </a:lnTo>
                <a:lnTo>
                  <a:pt x="3102" y="1144"/>
                </a:lnTo>
                <a:lnTo>
                  <a:pt x="3102" y="1144"/>
                </a:lnTo>
                <a:lnTo>
                  <a:pt x="3102" y="1144"/>
                </a:lnTo>
                <a:lnTo>
                  <a:pt x="3102" y="1144"/>
                </a:lnTo>
                <a:lnTo>
                  <a:pt x="3106" y="1146"/>
                </a:lnTo>
                <a:lnTo>
                  <a:pt x="3106" y="1146"/>
                </a:lnTo>
                <a:lnTo>
                  <a:pt x="3102" y="1150"/>
                </a:lnTo>
                <a:lnTo>
                  <a:pt x="3102" y="1150"/>
                </a:lnTo>
                <a:lnTo>
                  <a:pt x="3118" y="1146"/>
                </a:lnTo>
                <a:lnTo>
                  <a:pt x="3118" y="1146"/>
                </a:lnTo>
                <a:lnTo>
                  <a:pt x="3122" y="1146"/>
                </a:lnTo>
                <a:lnTo>
                  <a:pt x="3122" y="1146"/>
                </a:lnTo>
                <a:lnTo>
                  <a:pt x="3124" y="1166"/>
                </a:lnTo>
                <a:lnTo>
                  <a:pt x="3126" y="1172"/>
                </a:lnTo>
                <a:lnTo>
                  <a:pt x="3128" y="1174"/>
                </a:lnTo>
                <a:lnTo>
                  <a:pt x="3128" y="1174"/>
                </a:lnTo>
                <a:lnTo>
                  <a:pt x="3136" y="1172"/>
                </a:lnTo>
                <a:lnTo>
                  <a:pt x="3146" y="1172"/>
                </a:lnTo>
                <a:lnTo>
                  <a:pt x="3146" y="1172"/>
                </a:lnTo>
                <a:lnTo>
                  <a:pt x="3164" y="1172"/>
                </a:lnTo>
                <a:lnTo>
                  <a:pt x="3180" y="1168"/>
                </a:lnTo>
                <a:lnTo>
                  <a:pt x="3180" y="1168"/>
                </a:lnTo>
                <a:lnTo>
                  <a:pt x="3196" y="1166"/>
                </a:lnTo>
                <a:lnTo>
                  <a:pt x="3212" y="1170"/>
                </a:lnTo>
                <a:lnTo>
                  <a:pt x="3212" y="1170"/>
                </a:lnTo>
                <a:lnTo>
                  <a:pt x="3222" y="1174"/>
                </a:lnTo>
                <a:lnTo>
                  <a:pt x="3232" y="1178"/>
                </a:lnTo>
                <a:lnTo>
                  <a:pt x="3232" y="1178"/>
                </a:lnTo>
                <a:lnTo>
                  <a:pt x="3236" y="1180"/>
                </a:lnTo>
                <a:lnTo>
                  <a:pt x="3242" y="1180"/>
                </a:lnTo>
                <a:lnTo>
                  <a:pt x="3246" y="1182"/>
                </a:lnTo>
                <a:lnTo>
                  <a:pt x="3250" y="1184"/>
                </a:lnTo>
                <a:lnTo>
                  <a:pt x="3250" y="1184"/>
                </a:lnTo>
                <a:lnTo>
                  <a:pt x="3268" y="1176"/>
                </a:lnTo>
                <a:lnTo>
                  <a:pt x="3268" y="1176"/>
                </a:lnTo>
                <a:lnTo>
                  <a:pt x="3254" y="1170"/>
                </a:lnTo>
                <a:lnTo>
                  <a:pt x="3240" y="1168"/>
                </a:lnTo>
                <a:lnTo>
                  <a:pt x="3240" y="1168"/>
                </a:lnTo>
                <a:lnTo>
                  <a:pt x="3232" y="1170"/>
                </a:lnTo>
                <a:lnTo>
                  <a:pt x="3230" y="1168"/>
                </a:lnTo>
                <a:lnTo>
                  <a:pt x="3226" y="1166"/>
                </a:lnTo>
                <a:lnTo>
                  <a:pt x="3226" y="1166"/>
                </a:lnTo>
                <a:lnTo>
                  <a:pt x="3250" y="1160"/>
                </a:lnTo>
                <a:lnTo>
                  <a:pt x="3250" y="1160"/>
                </a:lnTo>
                <a:lnTo>
                  <a:pt x="3258" y="1156"/>
                </a:lnTo>
                <a:lnTo>
                  <a:pt x="3250" y="1156"/>
                </a:lnTo>
                <a:lnTo>
                  <a:pt x="3250" y="1156"/>
                </a:lnTo>
                <a:lnTo>
                  <a:pt x="3250" y="1152"/>
                </a:lnTo>
                <a:lnTo>
                  <a:pt x="3250" y="1150"/>
                </a:lnTo>
                <a:lnTo>
                  <a:pt x="3254" y="1148"/>
                </a:lnTo>
                <a:lnTo>
                  <a:pt x="3260" y="1146"/>
                </a:lnTo>
                <a:lnTo>
                  <a:pt x="3262" y="1144"/>
                </a:lnTo>
                <a:lnTo>
                  <a:pt x="3262" y="1144"/>
                </a:lnTo>
                <a:lnTo>
                  <a:pt x="3252" y="1136"/>
                </a:lnTo>
                <a:lnTo>
                  <a:pt x="3252" y="1136"/>
                </a:lnTo>
                <a:lnTo>
                  <a:pt x="3258" y="1136"/>
                </a:lnTo>
                <a:lnTo>
                  <a:pt x="3264" y="1130"/>
                </a:lnTo>
                <a:lnTo>
                  <a:pt x="3264" y="1130"/>
                </a:lnTo>
                <a:lnTo>
                  <a:pt x="3248" y="1130"/>
                </a:lnTo>
                <a:lnTo>
                  <a:pt x="3248" y="1130"/>
                </a:lnTo>
                <a:lnTo>
                  <a:pt x="3270" y="1128"/>
                </a:lnTo>
                <a:lnTo>
                  <a:pt x="3270" y="1128"/>
                </a:lnTo>
                <a:lnTo>
                  <a:pt x="3270" y="1134"/>
                </a:lnTo>
                <a:lnTo>
                  <a:pt x="3270" y="1134"/>
                </a:lnTo>
                <a:lnTo>
                  <a:pt x="3268" y="1134"/>
                </a:lnTo>
                <a:lnTo>
                  <a:pt x="3268" y="1134"/>
                </a:lnTo>
                <a:lnTo>
                  <a:pt x="3270" y="1136"/>
                </a:lnTo>
                <a:lnTo>
                  <a:pt x="3270" y="1136"/>
                </a:lnTo>
                <a:lnTo>
                  <a:pt x="3266" y="1138"/>
                </a:lnTo>
                <a:lnTo>
                  <a:pt x="3266" y="1138"/>
                </a:lnTo>
                <a:lnTo>
                  <a:pt x="3266" y="1140"/>
                </a:lnTo>
                <a:lnTo>
                  <a:pt x="3266" y="1142"/>
                </a:lnTo>
                <a:lnTo>
                  <a:pt x="3266" y="1142"/>
                </a:lnTo>
                <a:lnTo>
                  <a:pt x="3264" y="1150"/>
                </a:lnTo>
                <a:lnTo>
                  <a:pt x="3258" y="1156"/>
                </a:lnTo>
                <a:lnTo>
                  <a:pt x="3272" y="1156"/>
                </a:lnTo>
                <a:lnTo>
                  <a:pt x="3272" y="1156"/>
                </a:lnTo>
                <a:lnTo>
                  <a:pt x="3270" y="1136"/>
                </a:lnTo>
                <a:lnTo>
                  <a:pt x="3270" y="1136"/>
                </a:lnTo>
                <a:lnTo>
                  <a:pt x="3280" y="1138"/>
                </a:lnTo>
                <a:lnTo>
                  <a:pt x="3284" y="1138"/>
                </a:lnTo>
                <a:lnTo>
                  <a:pt x="3286" y="1136"/>
                </a:lnTo>
                <a:lnTo>
                  <a:pt x="3286" y="1136"/>
                </a:lnTo>
                <a:lnTo>
                  <a:pt x="3290" y="1134"/>
                </a:lnTo>
                <a:lnTo>
                  <a:pt x="3294" y="1134"/>
                </a:lnTo>
                <a:lnTo>
                  <a:pt x="3304" y="1136"/>
                </a:lnTo>
                <a:lnTo>
                  <a:pt x="3304" y="1136"/>
                </a:lnTo>
                <a:lnTo>
                  <a:pt x="3302" y="1132"/>
                </a:lnTo>
                <a:lnTo>
                  <a:pt x="3302" y="1132"/>
                </a:lnTo>
                <a:lnTo>
                  <a:pt x="3314" y="1134"/>
                </a:lnTo>
                <a:lnTo>
                  <a:pt x="3314" y="1134"/>
                </a:lnTo>
                <a:lnTo>
                  <a:pt x="3310" y="1126"/>
                </a:lnTo>
                <a:lnTo>
                  <a:pt x="3310" y="1126"/>
                </a:lnTo>
                <a:lnTo>
                  <a:pt x="3310" y="1126"/>
                </a:lnTo>
                <a:lnTo>
                  <a:pt x="3310" y="1126"/>
                </a:lnTo>
                <a:lnTo>
                  <a:pt x="3322" y="1126"/>
                </a:lnTo>
                <a:lnTo>
                  <a:pt x="3322" y="1126"/>
                </a:lnTo>
                <a:lnTo>
                  <a:pt x="3332" y="1126"/>
                </a:lnTo>
                <a:lnTo>
                  <a:pt x="3338" y="1130"/>
                </a:lnTo>
                <a:lnTo>
                  <a:pt x="3338" y="1130"/>
                </a:lnTo>
                <a:lnTo>
                  <a:pt x="3338" y="1130"/>
                </a:lnTo>
                <a:lnTo>
                  <a:pt x="3338" y="1130"/>
                </a:lnTo>
                <a:lnTo>
                  <a:pt x="3336" y="1132"/>
                </a:lnTo>
                <a:lnTo>
                  <a:pt x="3336" y="1132"/>
                </a:lnTo>
                <a:lnTo>
                  <a:pt x="3334" y="1136"/>
                </a:lnTo>
                <a:lnTo>
                  <a:pt x="3336" y="1140"/>
                </a:lnTo>
                <a:lnTo>
                  <a:pt x="3342" y="1142"/>
                </a:lnTo>
                <a:lnTo>
                  <a:pt x="3348" y="1144"/>
                </a:lnTo>
                <a:lnTo>
                  <a:pt x="3348" y="1144"/>
                </a:lnTo>
                <a:lnTo>
                  <a:pt x="3368" y="1148"/>
                </a:lnTo>
                <a:lnTo>
                  <a:pt x="3378" y="1148"/>
                </a:lnTo>
                <a:lnTo>
                  <a:pt x="3388" y="1148"/>
                </a:lnTo>
                <a:lnTo>
                  <a:pt x="3388" y="1148"/>
                </a:lnTo>
                <a:lnTo>
                  <a:pt x="3400" y="1144"/>
                </a:lnTo>
                <a:lnTo>
                  <a:pt x="3404" y="1140"/>
                </a:lnTo>
                <a:lnTo>
                  <a:pt x="3406" y="1136"/>
                </a:lnTo>
                <a:lnTo>
                  <a:pt x="3406" y="1136"/>
                </a:lnTo>
                <a:lnTo>
                  <a:pt x="3396" y="1132"/>
                </a:lnTo>
                <a:lnTo>
                  <a:pt x="3396" y="1132"/>
                </a:lnTo>
                <a:lnTo>
                  <a:pt x="3408" y="1126"/>
                </a:lnTo>
                <a:lnTo>
                  <a:pt x="3408" y="1126"/>
                </a:lnTo>
                <a:lnTo>
                  <a:pt x="3412" y="1130"/>
                </a:lnTo>
                <a:lnTo>
                  <a:pt x="3412" y="1130"/>
                </a:lnTo>
                <a:lnTo>
                  <a:pt x="3420" y="1130"/>
                </a:lnTo>
                <a:lnTo>
                  <a:pt x="3420" y="1130"/>
                </a:lnTo>
                <a:lnTo>
                  <a:pt x="3422" y="1130"/>
                </a:lnTo>
                <a:lnTo>
                  <a:pt x="3422" y="1130"/>
                </a:lnTo>
                <a:lnTo>
                  <a:pt x="3422" y="1132"/>
                </a:lnTo>
                <a:lnTo>
                  <a:pt x="3422" y="1132"/>
                </a:lnTo>
                <a:lnTo>
                  <a:pt x="3420" y="1136"/>
                </a:lnTo>
                <a:lnTo>
                  <a:pt x="3420" y="1136"/>
                </a:lnTo>
                <a:lnTo>
                  <a:pt x="3422" y="1136"/>
                </a:lnTo>
                <a:lnTo>
                  <a:pt x="3422" y="1136"/>
                </a:lnTo>
                <a:lnTo>
                  <a:pt x="3422" y="1156"/>
                </a:lnTo>
                <a:lnTo>
                  <a:pt x="3422" y="1156"/>
                </a:lnTo>
                <a:lnTo>
                  <a:pt x="3414" y="1158"/>
                </a:lnTo>
                <a:lnTo>
                  <a:pt x="3414" y="1158"/>
                </a:lnTo>
                <a:lnTo>
                  <a:pt x="3408" y="1160"/>
                </a:lnTo>
                <a:lnTo>
                  <a:pt x="3406" y="1164"/>
                </a:lnTo>
                <a:lnTo>
                  <a:pt x="3406" y="1164"/>
                </a:lnTo>
                <a:lnTo>
                  <a:pt x="3422" y="1168"/>
                </a:lnTo>
                <a:lnTo>
                  <a:pt x="3422" y="1168"/>
                </a:lnTo>
                <a:lnTo>
                  <a:pt x="3422" y="1168"/>
                </a:lnTo>
                <a:lnTo>
                  <a:pt x="3424" y="1166"/>
                </a:lnTo>
                <a:lnTo>
                  <a:pt x="3424" y="1166"/>
                </a:lnTo>
                <a:lnTo>
                  <a:pt x="3424" y="1178"/>
                </a:lnTo>
                <a:lnTo>
                  <a:pt x="3426" y="1184"/>
                </a:lnTo>
                <a:lnTo>
                  <a:pt x="3426" y="1184"/>
                </a:lnTo>
                <a:lnTo>
                  <a:pt x="3434" y="1178"/>
                </a:lnTo>
                <a:lnTo>
                  <a:pt x="3436" y="1176"/>
                </a:lnTo>
                <a:lnTo>
                  <a:pt x="3436" y="1172"/>
                </a:lnTo>
                <a:lnTo>
                  <a:pt x="3446" y="1172"/>
                </a:lnTo>
                <a:lnTo>
                  <a:pt x="3446" y="1172"/>
                </a:lnTo>
                <a:lnTo>
                  <a:pt x="3450" y="1176"/>
                </a:lnTo>
                <a:lnTo>
                  <a:pt x="3450" y="1176"/>
                </a:lnTo>
                <a:lnTo>
                  <a:pt x="3452" y="1132"/>
                </a:lnTo>
                <a:lnTo>
                  <a:pt x="3452" y="1132"/>
                </a:lnTo>
                <a:lnTo>
                  <a:pt x="3454" y="1130"/>
                </a:lnTo>
                <a:lnTo>
                  <a:pt x="3454" y="1130"/>
                </a:lnTo>
                <a:lnTo>
                  <a:pt x="3452" y="1130"/>
                </a:lnTo>
                <a:lnTo>
                  <a:pt x="3452" y="1130"/>
                </a:lnTo>
                <a:lnTo>
                  <a:pt x="3452" y="1120"/>
                </a:lnTo>
                <a:lnTo>
                  <a:pt x="3452" y="1120"/>
                </a:lnTo>
                <a:lnTo>
                  <a:pt x="3444" y="1124"/>
                </a:lnTo>
                <a:lnTo>
                  <a:pt x="3444" y="1124"/>
                </a:lnTo>
                <a:lnTo>
                  <a:pt x="3442" y="1124"/>
                </a:lnTo>
                <a:lnTo>
                  <a:pt x="3442" y="1124"/>
                </a:lnTo>
                <a:lnTo>
                  <a:pt x="3428" y="1118"/>
                </a:lnTo>
                <a:lnTo>
                  <a:pt x="3428" y="1118"/>
                </a:lnTo>
                <a:lnTo>
                  <a:pt x="3446" y="1114"/>
                </a:lnTo>
                <a:lnTo>
                  <a:pt x="3446" y="1114"/>
                </a:lnTo>
                <a:lnTo>
                  <a:pt x="3446" y="1114"/>
                </a:lnTo>
                <a:lnTo>
                  <a:pt x="3440" y="1110"/>
                </a:lnTo>
                <a:lnTo>
                  <a:pt x="3438" y="1108"/>
                </a:lnTo>
                <a:lnTo>
                  <a:pt x="3434" y="1108"/>
                </a:lnTo>
                <a:lnTo>
                  <a:pt x="3428" y="1112"/>
                </a:lnTo>
                <a:lnTo>
                  <a:pt x="3428" y="1112"/>
                </a:lnTo>
                <a:lnTo>
                  <a:pt x="3422" y="1116"/>
                </a:lnTo>
                <a:lnTo>
                  <a:pt x="3422" y="1116"/>
                </a:lnTo>
                <a:lnTo>
                  <a:pt x="3422" y="1116"/>
                </a:lnTo>
                <a:lnTo>
                  <a:pt x="3422" y="1116"/>
                </a:lnTo>
                <a:lnTo>
                  <a:pt x="3422" y="1100"/>
                </a:lnTo>
                <a:lnTo>
                  <a:pt x="3422" y="1100"/>
                </a:lnTo>
                <a:lnTo>
                  <a:pt x="3408" y="1102"/>
                </a:lnTo>
                <a:lnTo>
                  <a:pt x="3396" y="1102"/>
                </a:lnTo>
                <a:lnTo>
                  <a:pt x="3396" y="1102"/>
                </a:lnTo>
                <a:lnTo>
                  <a:pt x="3390" y="1102"/>
                </a:lnTo>
                <a:lnTo>
                  <a:pt x="3384" y="1102"/>
                </a:lnTo>
                <a:lnTo>
                  <a:pt x="3384" y="1102"/>
                </a:lnTo>
                <a:lnTo>
                  <a:pt x="3380" y="1102"/>
                </a:lnTo>
                <a:lnTo>
                  <a:pt x="3380" y="1102"/>
                </a:lnTo>
                <a:lnTo>
                  <a:pt x="3346" y="1104"/>
                </a:lnTo>
                <a:lnTo>
                  <a:pt x="3346" y="1104"/>
                </a:lnTo>
                <a:lnTo>
                  <a:pt x="3346" y="1102"/>
                </a:lnTo>
                <a:lnTo>
                  <a:pt x="3346" y="1102"/>
                </a:lnTo>
                <a:lnTo>
                  <a:pt x="3340" y="1102"/>
                </a:lnTo>
                <a:lnTo>
                  <a:pt x="3336" y="1104"/>
                </a:lnTo>
                <a:lnTo>
                  <a:pt x="3336" y="1104"/>
                </a:lnTo>
                <a:lnTo>
                  <a:pt x="3336" y="1104"/>
                </a:lnTo>
                <a:lnTo>
                  <a:pt x="3336" y="1104"/>
                </a:lnTo>
                <a:lnTo>
                  <a:pt x="3336" y="1104"/>
                </a:lnTo>
                <a:lnTo>
                  <a:pt x="3336" y="1104"/>
                </a:lnTo>
                <a:lnTo>
                  <a:pt x="3334" y="1106"/>
                </a:lnTo>
                <a:lnTo>
                  <a:pt x="3334" y="1106"/>
                </a:lnTo>
                <a:lnTo>
                  <a:pt x="3338" y="1106"/>
                </a:lnTo>
                <a:lnTo>
                  <a:pt x="3338" y="1106"/>
                </a:lnTo>
                <a:lnTo>
                  <a:pt x="3336" y="1108"/>
                </a:lnTo>
                <a:lnTo>
                  <a:pt x="3334" y="1110"/>
                </a:lnTo>
                <a:lnTo>
                  <a:pt x="3328" y="1114"/>
                </a:lnTo>
                <a:lnTo>
                  <a:pt x="3340" y="1114"/>
                </a:lnTo>
                <a:lnTo>
                  <a:pt x="3340" y="1114"/>
                </a:lnTo>
                <a:lnTo>
                  <a:pt x="3344" y="1120"/>
                </a:lnTo>
                <a:lnTo>
                  <a:pt x="3346" y="1124"/>
                </a:lnTo>
                <a:lnTo>
                  <a:pt x="3344" y="1128"/>
                </a:lnTo>
                <a:lnTo>
                  <a:pt x="3344" y="1128"/>
                </a:lnTo>
                <a:lnTo>
                  <a:pt x="3336" y="1124"/>
                </a:lnTo>
                <a:lnTo>
                  <a:pt x="3330" y="1122"/>
                </a:lnTo>
                <a:lnTo>
                  <a:pt x="3330" y="1122"/>
                </a:lnTo>
                <a:lnTo>
                  <a:pt x="3320" y="1120"/>
                </a:lnTo>
                <a:lnTo>
                  <a:pt x="3320" y="1120"/>
                </a:lnTo>
                <a:lnTo>
                  <a:pt x="3312" y="1116"/>
                </a:lnTo>
                <a:lnTo>
                  <a:pt x="3312" y="1116"/>
                </a:lnTo>
                <a:lnTo>
                  <a:pt x="3302" y="1122"/>
                </a:lnTo>
                <a:lnTo>
                  <a:pt x="3302" y="1122"/>
                </a:lnTo>
                <a:lnTo>
                  <a:pt x="3306" y="1124"/>
                </a:lnTo>
                <a:lnTo>
                  <a:pt x="3306" y="1124"/>
                </a:lnTo>
                <a:lnTo>
                  <a:pt x="3306" y="1124"/>
                </a:lnTo>
                <a:lnTo>
                  <a:pt x="3306" y="1124"/>
                </a:lnTo>
                <a:lnTo>
                  <a:pt x="3300" y="1124"/>
                </a:lnTo>
                <a:lnTo>
                  <a:pt x="3292" y="1124"/>
                </a:lnTo>
                <a:lnTo>
                  <a:pt x="3292" y="1124"/>
                </a:lnTo>
                <a:lnTo>
                  <a:pt x="3288" y="1124"/>
                </a:lnTo>
                <a:lnTo>
                  <a:pt x="3288" y="1124"/>
                </a:lnTo>
                <a:lnTo>
                  <a:pt x="3282" y="1120"/>
                </a:lnTo>
                <a:lnTo>
                  <a:pt x="3282" y="1120"/>
                </a:lnTo>
                <a:lnTo>
                  <a:pt x="3286" y="1120"/>
                </a:lnTo>
                <a:lnTo>
                  <a:pt x="3286" y="1120"/>
                </a:lnTo>
                <a:lnTo>
                  <a:pt x="3290" y="1118"/>
                </a:lnTo>
                <a:lnTo>
                  <a:pt x="3294" y="1114"/>
                </a:lnTo>
                <a:lnTo>
                  <a:pt x="3294" y="1114"/>
                </a:lnTo>
                <a:lnTo>
                  <a:pt x="3282" y="1114"/>
                </a:lnTo>
                <a:lnTo>
                  <a:pt x="3282" y="1114"/>
                </a:lnTo>
                <a:lnTo>
                  <a:pt x="3278" y="1116"/>
                </a:lnTo>
                <a:lnTo>
                  <a:pt x="3278" y="1118"/>
                </a:lnTo>
                <a:lnTo>
                  <a:pt x="3278" y="1120"/>
                </a:lnTo>
                <a:lnTo>
                  <a:pt x="3270" y="1120"/>
                </a:lnTo>
                <a:lnTo>
                  <a:pt x="3270" y="1120"/>
                </a:lnTo>
                <a:lnTo>
                  <a:pt x="3270" y="1126"/>
                </a:lnTo>
                <a:lnTo>
                  <a:pt x="3270" y="1126"/>
                </a:lnTo>
                <a:lnTo>
                  <a:pt x="3250" y="1124"/>
                </a:lnTo>
                <a:lnTo>
                  <a:pt x="3250" y="1124"/>
                </a:lnTo>
                <a:lnTo>
                  <a:pt x="3246" y="1122"/>
                </a:lnTo>
                <a:lnTo>
                  <a:pt x="3246" y="1122"/>
                </a:lnTo>
                <a:lnTo>
                  <a:pt x="3242" y="1128"/>
                </a:lnTo>
                <a:lnTo>
                  <a:pt x="3242" y="1128"/>
                </a:lnTo>
                <a:lnTo>
                  <a:pt x="3242" y="1128"/>
                </a:lnTo>
                <a:lnTo>
                  <a:pt x="3242" y="1128"/>
                </a:lnTo>
                <a:lnTo>
                  <a:pt x="3246" y="1122"/>
                </a:lnTo>
                <a:lnTo>
                  <a:pt x="3246" y="1122"/>
                </a:lnTo>
                <a:lnTo>
                  <a:pt x="3242" y="1122"/>
                </a:lnTo>
                <a:lnTo>
                  <a:pt x="3242" y="1122"/>
                </a:lnTo>
                <a:lnTo>
                  <a:pt x="3244" y="1122"/>
                </a:lnTo>
                <a:lnTo>
                  <a:pt x="3244" y="1122"/>
                </a:lnTo>
                <a:lnTo>
                  <a:pt x="3246" y="1122"/>
                </a:lnTo>
                <a:lnTo>
                  <a:pt x="3246" y="1122"/>
                </a:lnTo>
                <a:lnTo>
                  <a:pt x="3246" y="1122"/>
                </a:lnTo>
                <a:lnTo>
                  <a:pt x="3246" y="1122"/>
                </a:lnTo>
                <a:lnTo>
                  <a:pt x="3246" y="1122"/>
                </a:lnTo>
                <a:lnTo>
                  <a:pt x="3246" y="1122"/>
                </a:lnTo>
                <a:lnTo>
                  <a:pt x="3246" y="1122"/>
                </a:lnTo>
                <a:lnTo>
                  <a:pt x="3246" y="1122"/>
                </a:lnTo>
                <a:lnTo>
                  <a:pt x="3244" y="1122"/>
                </a:lnTo>
                <a:lnTo>
                  <a:pt x="3244" y="1122"/>
                </a:lnTo>
                <a:lnTo>
                  <a:pt x="3244" y="1122"/>
                </a:lnTo>
                <a:lnTo>
                  <a:pt x="3244" y="1122"/>
                </a:lnTo>
                <a:lnTo>
                  <a:pt x="3242" y="1120"/>
                </a:lnTo>
                <a:lnTo>
                  <a:pt x="3242" y="1120"/>
                </a:lnTo>
                <a:lnTo>
                  <a:pt x="3238" y="1122"/>
                </a:lnTo>
                <a:lnTo>
                  <a:pt x="3238" y="1122"/>
                </a:lnTo>
                <a:lnTo>
                  <a:pt x="3238" y="1122"/>
                </a:lnTo>
                <a:lnTo>
                  <a:pt x="3238" y="1122"/>
                </a:lnTo>
                <a:lnTo>
                  <a:pt x="3232" y="1122"/>
                </a:lnTo>
                <a:lnTo>
                  <a:pt x="3232" y="1122"/>
                </a:lnTo>
                <a:lnTo>
                  <a:pt x="3232" y="1122"/>
                </a:lnTo>
                <a:lnTo>
                  <a:pt x="3232" y="1122"/>
                </a:lnTo>
                <a:lnTo>
                  <a:pt x="3238" y="1122"/>
                </a:lnTo>
                <a:lnTo>
                  <a:pt x="3238" y="1122"/>
                </a:lnTo>
                <a:lnTo>
                  <a:pt x="3238" y="1122"/>
                </a:lnTo>
                <a:lnTo>
                  <a:pt x="3238" y="1122"/>
                </a:lnTo>
                <a:lnTo>
                  <a:pt x="3224" y="1122"/>
                </a:lnTo>
                <a:lnTo>
                  <a:pt x="3208" y="1124"/>
                </a:lnTo>
                <a:lnTo>
                  <a:pt x="3208" y="1124"/>
                </a:lnTo>
                <a:lnTo>
                  <a:pt x="3218" y="1128"/>
                </a:lnTo>
                <a:lnTo>
                  <a:pt x="3218" y="1128"/>
                </a:lnTo>
                <a:lnTo>
                  <a:pt x="3208" y="1128"/>
                </a:lnTo>
                <a:lnTo>
                  <a:pt x="3202" y="1130"/>
                </a:lnTo>
                <a:lnTo>
                  <a:pt x="3198" y="1132"/>
                </a:lnTo>
                <a:lnTo>
                  <a:pt x="3198" y="1132"/>
                </a:lnTo>
                <a:lnTo>
                  <a:pt x="3198" y="1132"/>
                </a:lnTo>
                <a:lnTo>
                  <a:pt x="3198" y="1132"/>
                </a:lnTo>
                <a:lnTo>
                  <a:pt x="3198" y="1130"/>
                </a:lnTo>
                <a:lnTo>
                  <a:pt x="3198" y="1130"/>
                </a:lnTo>
                <a:lnTo>
                  <a:pt x="3202" y="1126"/>
                </a:lnTo>
                <a:lnTo>
                  <a:pt x="3204" y="1124"/>
                </a:lnTo>
                <a:lnTo>
                  <a:pt x="3204" y="1124"/>
                </a:lnTo>
                <a:lnTo>
                  <a:pt x="3196" y="1122"/>
                </a:lnTo>
                <a:lnTo>
                  <a:pt x="3196" y="1122"/>
                </a:lnTo>
                <a:lnTo>
                  <a:pt x="3196" y="1116"/>
                </a:lnTo>
                <a:lnTo>
                  <a:pt x="3196" y="1116"/>
                </a:lnTo>
                <a:lnTo>
                  <a:pt x="3202" y="1116"/>
                </a:lnTo>
                <a:lnTo>
                  <a:pt x="3202" y="1116"/>
                </a:lnTo>
                <a:lnTo>
                  <a:pt x="3210" y="1116"/>
                </a:lnTo>
                <a:lnTo>
                  <a:pt x="3218" y="1118"/>
                </a:lnTo>
                <a:lnTo>
                  <a:pt x="3218" y="1118"/>
                </a:lnTo>
                <a:lnTo>
                  <a:pt x="3214" y="1116"/>
                </a:lnTo>
                <a:lnTo>
                  <a:pt x="3210" y="1114"/>
                </a:lnTo>
                <a:lnTo>
                  <a:pt x="3202" y="1112"/>
                </a:lnTo>
                <a:lnTo>
                  <a:pt x="3202" y="1112"/>
                </a:lnTo>
                <a:lnTo>
                  <a:pt x="3196" y="1112"/>
                </a:lnTo>
                <a:lnTo>
                  <a:pt x="3196" y="1112"/>
                </a:lnTo>
                <a:lnTo>
                  <a:pt x="3196" y="1104"/>
                </a:lnTo>
                <a:lnTo>
                  <a:pt x="3196" y="1104"/>
                </a:lnTo>
                <a:lnTo>
                  <a:pt x="3202" y="1104"/>
                </a:lnTo>
                <a:lnTo>
                  <a:pt x="3202" y="1104"/>
                </a:lnTo>
                <a:lnTo>
                  <a:pt x="3200" y="1104"/>
                </a:lnTo>
                <a:lnTo>
                  <a:pt x="3196" y="1102"/>
                </a:lnTo>
                <a:lnTo>
                  <a:pt x="3196" y="1102"/>
                </a:lnTo>
                <a:lnTo>
                  <a:pt x="3196" y="1096"/>
                </a:lnTo>
                <a:lnTo>
                  <a:pt x="3196" y="1096"/>
                </a:lnTo>
                <a:lnTo>
                  <a:pt x="3204" y="1096"/>
                </a:lnTo>
                <a:lnTo>
                  <a:pt x="3204" y="1096"/>
                </a:lnTo>
                <a:lnTo>
                  <a:pt x="3208" y="1096"/>
                </a:lnTo>
                <a:lnTo>
                  <a:pt x="3212" y="1092"/>
                </a:lnTo>
                <a:lnTo>
                  <a:pt x="3214" y="1090"/>
                </a:lnTo>
                <a:lnTo>
                  <a:pt x="3214" y="1086"/>
                </a:lnTo>
                <a:lnTo>
                  <a:pt x="3214" y="1086"/>
                </a:lnTo>
                <a:lnTo>
                  <a:pt x="3210" y="1080"/>
                </a:lnTo>
                <a:lnTo>
                  <a:pt x="3210" y="1080"/>
                </a:lnTo>
                <a:lnTo>
                  <a:pt x="3222" y="1080"/>
                </a:lnTo>
                <a:lnTo>
                  <a:pt x="3222" y="1080"/>
                </a:lnTo>
                <a:lnTo>
                  <a:pt x="3224" y="1076"/>
                </a:lnTo>
                <a:lnTo>
                  <a:pt x="3228" y="1074"/>
                </a:lnTo>
                <a:lnTo>
                  <a:pt x="3228" y="1074"/>
                </a:lnTo>
                <a:lnTo>
                  <a:pt x="3230" y="1074"/>
                </a:lnTo>
                <a:lnTo>
                  <a:pt x="3230" y="1074"/>
                </a:lnTo>
                <a:lnTo>
                  <a:pt x="3240" y="1072"/>
                </a:lnTo>
                <a:lnTo>
                  <a:pt x="3252" y="1074"/>
                </a:lnTo>
                <a:lnTo>
                  <a:pt x="3252" y="1074"/>
                </a:lnTo>
                <a:lnTo>
                  <a:pt x="3268" y="1072"/>
                </a:lnTo>
                <a:lnTo>
                  <a:pt x="3268" y="1072"/>
                </a:lnTo>
                <a:lnTo>
                  <a:pt x="3268" y="1072"/>
                </a:lnTo>
                <a:lnTo>
                  <a:pt x="3268" y="1072"/>
                </a:lnTo>
                <a:lnTo>
                  <a:pt x="3270" y="1078"/>
                </a:lnTo>
                <a:lnTo>
                  <a:pt x="3270" y="1078"/>
                </a:lnTo>
                <a:lnTo>
                  <a:pt x="3278" y="1080"/>
                </a:lnTo>
                <a:lnTo>
                  <a:pt x="3278" y="1080"/>
                </a:lnTo>
                <a:lnTo>
                  <a:pt x="3288" y="1080"/>
                </a:lnTo>
                <a:lnTo>
                  <a:pt x="3290" y="1080"/>
                </a:lnTo>
                <a:lnTo>
                  <a:pt x="3292" y="1076"/>
                </a:lnTo>
                <a:lnTo>
                  <a:pt x="3292" y="1076"/>
                </a:lnTo>
                <a:lnTo>
                  <a:pt x="3294" y="1072"/>
                </a:lnTo>
                <a:lnTo>
                  <a:pt x="3294" y="1072"/>
                </a:lnTo>
                <a:lnTo>
                  <a:pt x="3298" y="1072"/>
                </a:lnTo>
                <a:lnTo>
                  <a:pt x="3298" y="1072"/>
                </a:lnTo>
                <a:lnTo>
                  <a:pt x="3302" y="1072"/>
                </a:lnTo>
                <a:lnTo>
                  <a:pt x="3304" y="1076"/>
                </a:lnTo>
                <a:lnTo>
                  <a:pt x="3304" y="1076"/>
                </a:lnTo>
                <a:lnTo>
                  <a:pt x="3306" y="1078"/>
                </a:lnTo>
                <a:lnTo>
                  <a:pt x="3306" y="1078"/>
                </a:lnTo>
                <a:lnTo>
                  <a:pt x="3312" y="1076"/>
                </a:lnTo>
                <a:lnTo>
                  <a:pt x="3318" y="1074"/>
                </a:lnTo>
                <a:lnTo>
                  <a:pt x="3318" y="1074"/>
                </a:lnTo>
                <a:lnTo>
                  <a:pt x="3326" y="1072"/>
                </a:lnTo>
                <a:lnTo>
                  <a:pt x="3330" y="1068"/>
                </a:lnTo>
                <a:lnTo>
                  <a:pt x="3330" y="1068"/>
                </a:lnTo>
                <a:lnTo>
                  <a:pt x="3334" y="1068"/>
                </a:lnTo>
                <a:lnTo>
                  <a:pt x="3334" y="1066"/>
                </a:lnTo>
                <a:lnTo>
                  <a:pt x="3336" y="1062"/>
                </a:lnTo>
                <a:lnTo>
                  <a:pt x="3336" y="1062"/>
                </a:lnTo>
                <a:lnTo>
                  <a:pt x="3326" y="1066"/>
                </a:lnTo>
                <a:lnTo>
                  <a:pt x="3326" y="1066"/>
                </a:lnTo>
                <a:lnTo>
                  <a:pt x="3324" y="1066"/>
                </a:lnTo>
                <a:lnTo>
                  <a:pt x="3324" y="1064"/>
                </a:lnTo>
                <a:lnTo>
                  <a:pt x="3326" y="1062"/>
                </a:lnTo>
                <a:lnTo>
                  <a:pt x="3326" y="1062"/>
                </a:lnTo>
                <a:lnTo>
                  <a:pt x="3342" y="1062"/>
                </a:lnTo>
                <a:lnTo>
                  <a:pt x="3342" y="1062"/>
                </a:lnTo>
                <a:lnTo>
                  <a:pt x="3354" y="1064"/>
                </a:lnTo>
                <a:lnTo>
                  <a:pt x="3354" y="1064"/>
                </a:lnTo>
                <a:lnTo>
                  <a:pt x="3354" y="1064"/>
                </a:lnTo>
                <a:lnTo>
                  <a:pt x="3354" y="1064"/>
                </a:lnTo>
                <a:lnTo>
                  <a:pt x="3342" y="1056"/>
                </a:lnTo>
                <a:lnTo>
                  <a:pt x="3330" y="1046"/>
                </a:lnTo>
                <a:lnTo>
                  <a:pt x="3330" y="1046"/>
                </a:lnTo>
                <a:lnTo>
                  <a:pt x="3324" y="1042"/>
                </a:lnTo>
                <a:lnTo>
                  <a:pt x="3316" y="1040"/>
                </a:lnTo>
                <a:lnTo>
                  <a:pt x="3316" y="1040"/>
                </a:lnTo>
                <a:lnTo>
                  <a:pt x="3314" y="1036"/>
                </a:lnTo>
                <a:lnTo>
                  <a:pt x="3310" y="1036"/>
                </a:lnTo>
                <a:lnTo>
                  <a:pt x="3302" y="1036"/>
                </a:lnTo>
                <a:lnTo>
                  <a:pt x="3302" y="1036"/>
                </a:lnTo>
                <a:lnTo>
                  <a:pt x="3276" y="1030"/>
                </a:lnTo>
                <a:lnTo>
                  <a:pt x="3276" y="1030"/>
                </a:lnTo>
                <a:lnTo>
                  <a:pt x="3274" y="1028"/>
                </a:lnTo>
                <a:lnTo>
                  <a:pt x="3270" y="1026"/>
                </a:lnTo>
                <a:lnTo>
                  <a:pt x="3270" y="1026"/>
                </a:lnTo>
                <a:lnTo>
                  <a:pt x="3284" y="1024"/>
                </a:lnTo>
                <a:lnTo>
                  <a:pt x="3284" y="1024"/>
                </a:lnTo>
                <a:lnTo>
                  <a:pt x="3288" y="1024"/>
                </a:lnTo>
                <a:lnTo>
                  <a:pt x="3290" y="1022"/>
                </a:lnTo>
                <a:lnTo>
                  <a:pt x="3290" y="1022"/>
                </a:lnTo>
                <a:lnTo>
                  <a:pt x="3342" y="1046"/>
                </a:lnTo>
                <a:lnTo>
                  <a:pt x="3360" y="1054"/>
                </a:lnTo>
                <a:lnTo>
                  <a:pt x="3370" y="1056"/>
                </a:lnTo>
                <a:lnTo>
                  <a:pt x="3370" y="1056"/>
                </a:lnTo>
                <a:lnTo>
                  <a:pt x="3370" y="1054"/>
                </a:lnTo>
                <a:lnTo>
                  <a:pt x="3372" y="1052"/>
                </a:lnTo>
                <a:lnTo>
                  <a:pt x="3380" y="1052"/>
                </a:lnTo>
                <a:lnTo>
                  <a:pt x="3380" y="1052"/>
                </a:lnTo>
                <a:lnTo>
                  <a:pt x="3376" y="1050"/>
                </a:lnTo>
                <a:lnTo>
                  <a:pt x="3374" y="1048"/>
                </a:lnTo>
                <a:lnTo>
                  <a:pt x="3374" y="1048"/>
                </a:lnTo>
                <a:lnTo>
                  <a:pt x="3378" y="1044"/>
                </a:lnTo>
                <a:lnTo>
                  <a:pt x="3378" y="1044"/>
                </a:lnTo>
                <a:lnTo>
                  <a:pt x="3364" y="1042"/>
                </a:lnTo>
                <a:lnTo>
                  <a:pt x="3364" y="1042"/>
                </a:lnTo>
                <a:lnTo>
                  <a:pt x="3364" y="1036"/>
                </a:lnTo>
                <a:lnTo>
                  <a:pt x="3364" y="1036"/>
                </a:lnTo>
                <a:lnTo>
                  <a:pt x="3332" y="1028"/>
                </a:lnTo>
                <a:lnTo>
                  <a:pt x="3332" y="1028"/>
                </a:lnTo>
                <a:lnTo>
                  <a:pt x="3330" y="1034"/>
                </a:lnTo>
                <a:lnTo>
                  <a:pt x="3328" y="1036"/>
                </a:lnTo>
                <a:lnTo>
                  <a:pt x="3328" y="1036"/>
                </a:lnTo>
                <a:lnTo>
                  <a:pt x="3326" y="1028"/>
                </a:lnTo>
                <a:lnTo>
                  <a:pt x="3326" y="1028"/>
                </a:lnTo>
                <a:lnTo>
                  <a:pt x="3314" y="1022"/>
                </a:lnTo>
                <a:lnTo>
                  <a:pt x="3314" y="1022"/>
                </a:lnTo>
                <a:lnTo>
                  <a:pt x="3324" y="1020"/>
                </a:lnTo>
                <a:lnTo>
                  <a:pt x="3324" y="1020"/>
                </a:lnTo>
                <a:lnTo>
                  <a:pt x="3326" y="1026"/>
                </a:lnTo>
                <a:lnTo>
                  <a:pt x="3326" y="1026"/>
                </a:lnTo>
                <a:lnTo>
                  <a:pt x="3326" y="1020"/>
                </a:lnTo>
                <a:lnTo>
                  <a:pt x="3326" y="1020"/>
                </a:lnTo>
                <a:lnTo>
                  <a:pt x="3334" y="1018"/>
                </a:lnTo>
                <a:lnTo>
                  <a:pt x="3334" y="1018"/>
                </a:lnTo>
                <a:lnTo>
                  <a:pt x="3332" y="1028"/>
                </a:lnTo>
                <a:lnTo>
                  <a:pt x="3332" y="1028"/>
                </a:lnTo>
                <a:lnTo>
                  <a:pt x="3356" y="1024"/>
                </a:lnTo>
                <a:lnTo>
                  <a:pt x="3356" y="1024"/>
                </a:lnTo>
                <a:lnTo>
                  <a:pt x="3356" y="1024"/>
                </a:lnTo>
                <a:lnTo>
                  <a:pt x="3356" y="1024"/>
                </a:lnTo>
                <a:lnTo>
                  <a:pt x="3356" y="1024"/>
                </a:lnTo>
                <a:lnTo>
                  <a:pt x="3356" y="1024"/>
                </a:lnTo>
                <a:lnTo>
                  <a:pt x="3358" y="1022"/>
                </a:lnTo>
                <a:lnTo>
                  <a:pt x="3358" y="1022"/>
                </a:lnTo>
                <a:lnTo>
                  <a:pt x="3366" y="1018"/>
                </a:lnTo>
                <a:lnTo>
                  <a:pt x="3366" y="1018"/>
                </a:lnTo>
                <a:lnTo>
                  <a:pt x="3382" y="1016"/>
                </a:lnTo>
                <a:lnTo>
                  <a:pt x="3398" y="1016"/>
                </a:lnTo>
                <a:lnTo>
                  <a:pt x="3398" y="1016"/>
                </a:lnTo>
                <a:lnTo>
                  <a:pt x="3404" y="1014"/>
                </a:lnTo>
                <a:lnTo>
                  <a:pt x="3404" y="1014"/>
                </a:lnTo>
                <a:lnTo>
                  <a:pt x="3394" y="1012"/>
                </a:lnTo>
                <a:lnTo>
                  <a:pt x="3386" y="1010"/>
                </a:lnTo>
                <a:lnTo>
                  <a:pt x="3386" y="1010"/>
                </a:lnTo>
                <a:lnTo>
                  <a:pt x="3380" y="1006"/>
                </a:lnTo>
                <a:lnTo>
                  <a:pt x="3374" y="1000"/>
                </a:lnTo>
                <a:lnTo>
                  <a:pt x="3374" y="1000"/>
                </a:lnTo>
                <a:lnTo>
                  <a:pt x="3378" y="998"/>
                </a:lnTo>
                <a:lnTo>
                  <a:pt x="3378" y="998"/>
                </a:lnTo>
                <a:lnTo>
                  <a:pt x="3378" y="998"/>
                </a:lnTo>
                <a:lnTo>
                  <a:pt x="3378" y="998"/>
                </a:lnTo>
                <a:lnTo>
                  <a:pt x="3378" y="998"/>
                </a:lnTo>
                <a:lnTo>
                  <a:pt x="3378" y="998"/>
                </a:lnTo>
                <a:lnTo>
                  <a:pt x="3386" y="996"/>
                </a:lnTo>
                <a:lnTo>
                  <a:pt x="3398" y="996"/>
                </a:lnTo>
                <a:lnTo>
                  <a:pt x="3398" y="996"/>
                </a:lnTo>
                <a:lnTo>
                  <a:pt x="3402" y="998"/>
                </a:lnTo>
                <a:lnTo>
                  <a:pt x="3402" y="998"/>
                </a:lnTo>
                <a:lnTo>
                  <a:pt x="3410" y="998"/>
                </a:lnTo>
                <a:lnTo>
                  <a:pt x="3412" y="1004"/>
                </a:lnTo>
                <a:lnTo>
                  <a:pt x="3412" y="1004"/>
                </a:lnTo>
                <a:lnTo>
                  <a:pt x="3422" y="1004"/>
                </a:lnTo>
                <a:lnTo>
                  <a:pt x="3422" y="1004"/>
                </a:lnTo>
                <a:lnTo>
                  <a:pt x="3424" y="1006"/>
                </a:lnTo>
                <a:lnTo>
                  <a:pt x="3424" y="1006"/>
                </a:lnTo>
                <a:lnTo>
                  <a:pt x="3406" y="1006"/>
                </a:lnTo>
                <a:lnTo>
                  <a:pt x="3406" y="1006"/>
                </a:lnTo>
                <a:lnTo>
                  <a:pt x="3420" y="1010"/>
                </a:lnTo>
                <a:lnTo>
                  <a:pt x="3420" y="1010"/>
                </a:lnTo>
                <a:lnTo>
                  <a:pt x="3416" y="1016"/>
                </a:lnTo>
                <a:lnTo>
                  <a:pt x="3416" y="1016"/>
                </a:lnTo>
                <a:lnTo>
                  <a:pt x="3422" y="1016"/>
                </a:lnTo>
                <a:lnTo>
                  <a:pt x="3422" y="1016"/>
                </a:lnTo>
                <a:lnTo>
                  <a:pt x="3420" y="1020"/>
                </a:lnTo>
                <a:lnTo>
                  <a:pt x="3420" y="1020"/>
                </a:lnTo>
                <a:lnTo>
                  <a:pt x="3400" y="1026"/>
                </a:lnTo>
                <a:lnTo>
                  <a:pt x="3396" y="1028"/>
                </a:lnTo>
                <a:lnTo>
                  <a:pt x="3394" y="1028"/>
                </a:lnTo>
                <a:lnTo>
                  <a:pt x="3394" y="1028"/>
                </a:lnTo>
                <a:lnTo>
                  <a:pt x="3404" y="1030"/>
                </a:lnTo>
                <a:lnTo>
                  <a:pt x="3408" y="1028"/>
                </a:lnTo>
                <a:lnTo>
                  <a:pt x="3412" y="1028"/>
                </a:lnTo>
                <a:lnTo>
                  <a:pt x="3412" y="1028"/>
                </a:lnTo>
                <a:lnTo>
                  <a:pt x="3418" y="1024"/>
                </a:lnTo>
                <a:lnTo>
                  <a:pt x="3418" y="1024"/>
                </a:lnTo>
                <a:lnTo>
                  <a:pt x="3416" y="1032"/>
                </a:lnTo>
                <a:lnTo>
                  <a:pt x="3416" y="1032"/>
                </a:lnTo>
                <a:lnTo>
                  <a:pt x="3424" y="1032"/>
                </a:lnTo>
                <a:lnTo>
                  <a:pt x="3426" y="1032"/>
                </a:lnTo>
                <a:lnTo>
                  <a:pt x="3428" y="1036"/>
                </a:lnTo>
                <a:lnTo>
                  <a:pt x="3428" y="1036"/>
                </a:lnTo>
                <a:lnTo>
                  <a:pt x="3410" y="1036"/>
                </a:lnTo>
                <a:lnTo>
                  <a:pt x="3410" y="1036"/>
                </a:lnTo>
                <a:lnTo>
                  <a:pt x="3412" y="1040"/>
                </a:lnTo>
                <a:lnTo>
                  <a:pt x="3416" y="1042"/>
                </a:lnTo>
                <a:lnTo>
                  <a:pt x="3424" y="1046"/>
                </a:lnTo>
                <a:lnTo>
                  <a:pt x="3424" y="1046"/>
                </a:lnTo>
                <a:lnTo>
                  <a:pt x="3442" y="1040"/>
                </a:lnTo>
                <a:lnTo>
                  <a:pt x="3442" y="1040"/>
                </a:lnTo>
                <a:lnTo>
                  <a:pt x="3440" y="1044"/>
                </a:lnTo>
                <a:lnTo>
                  <a:pt x="3440" y="1048"/>
                </a:lnTo>
                <a:lnTo>
                  <a:pt x="3440" y="1048"/>
                </a:lnTo>
                <a:lnTo>
                  <a:pt x="3436" y="1050"/>
                </a:lnTo>
                <a:lnTo>
                  <a:pt x="3436" y="1050"/>
                </a:lnTo>
                <a:lnTo>
                  <a:pt x="3434" y="1048"/>
                </a:lnTo>
                <a:lnTo>
                  <a:pt x="3434" y="1048"/>
                </a:lnTo>
                <a:lnTo>
                  <a:pt x="3430" y="1050"/>
                </a:lnTo>
                <a:lnTo>
                  <a:pt x="3430" y="1050"/>
                </a:lnTo>
                <a:lnTo>
                  <a:pt x="3426" y="1050"/>
                </a:lnTo>
                <a:lnTo>
                  <a:pt x="3426" y="1050"/>
                </a:lnTo>
                <a:lnTo>
                  <a:pt x="3424" y="1050"/>
                </a:lnTo>
                <a:lnTo>
                  <a:pt x="3424" y="1050"/>
                </a:lnTo>
                <a:lnTo>
                  <a:pt x="3418" y="1050"/>
                </a:lnTo>
                <a:lnTo>
                  <a:pt x="3418" y="1050"/>
                </a:lnTo>
                <a:lnTo>
                  <a:pt x="3410" y="1052"/>
                </a:lnTo>
                <a:lnTo>
                  <a:pt x="3410" y="1052"/>
                </a:lnTo>
                <a:lnTo>
                  <a:pt x="3386" y="1052"/>
                </a:lnTo>
                <a:lnTo>
                  <a:pt x="3386" y="1052"/>
                </a:lnTo>
                <a:lnTo>
                  <a:pt x="3386" y="1054"/>
                </a:lnTo>
                <a:lnTo>
                  <a:pt x="3386" y="1054"/>
                </a:lnTo>
                <a:lnTo>
                  <a:pt x="3408" y="1052"/>
                </a:lnTo>
                <a:lnTo>
                  <a:pt x="3408" y="1052"/>
                </a:lnTo>
                <a:lnTo>
                  <a:pt x="3404" y="1054"/>
                </a:lnTo>
                <a:lnTo>
                  <a:pt x="3404" y="1054"/>
                </a:lnTo>
                <a:lnTo>
                  <a:pt x="3404" y="1056"/>
                </a:lnTo>
                <a:lnTo>
                  <a:pt x="3406" y="1058"/>
                </a:lnTo>
                <a:lnTo>
                  <a:pt x="3408" y="1062"/>
                </a:lnTo>
                <a:lnTo>
                  <a:pt x="3408" y="1062"/>
                </a:lnTo>
                <a:lnTo>
                  <a:pt x="3414" y="1068"/>
                </a:lnTo>
                <a:lnTo>
                  <a:pt x="3424" y="1072"/>
                </a:lnTo>
                <a:lnTo>
                  <a:pt x="3424" y="1072"/>
                </a:lnTo>
                <a:lnTo>
                  <a:pt x="3420" y="1076"/>
                </a:lnTo>
                <a:lnTo>
                  <a:pt x="3414" y="1080"/>
                </a:lnTo>
                <a:lnTo>
                  <a:pt x="3408" y="1082"/>
                </a:lnTo>
                <a:lnTo>
                  <a:pt x="3402" y="1082"/>
                </a:lnTo>
                <a:lnTo>
                  <a:pt x="3402" y="1082"/>
                </a:lnTo>
                <a:lnTo>
                  <a:pt x="3390" y="1082"/>
                </a:lnTo>
                <a:lnTo>
                  <a:pt x="3378" y="1086"/>
                </a:lnTo>
                <a:lnTo>
                  <a:pt x="3378" y="1086"/>
                </a:lnTo>
                <a:lnTo>
                  <a:pt x="3370" y="1080"/>
                </a:lnTo>
                <a:lnTo>
                  <a:pt x="3370" y="1080"/>
                </a:lnTo>
                <a:lnTo>
                  <a:pt x="3374" y="1076"/>
                </a:lnTo>
                <a:lnTo>
                  <a:pt x="3376" y="1076"/>
                </a:lnTo>
                <a:lnTo>
                  <a:pt x="3384" y="1074"/>
                </a:lnTo>
                <a:lnTo>
                  <a:pt x="3392" y="1074"/>
                </a:lnTo>
                <a:lnTo>
                  <a:pt x="3398" y="1074"/>
                </a:lnTo>
                <a:lnTo>
                  <a:pt x="3398" y="1074"/>
                </a:lnTo>
                <a:lnTo>
                  <a:pt x="3394" y="1070"/>
                </a:lnTo>
                <a:lnTo>
                  <a:pt x="3388" y="1068"/>
                </a:lnTo>
                <a:lnTo>
                  <a:pt x="3376" y="1066"/>
                </a:lnTo>
                <a:lnTo>
                  <a:pt x="3376" y="1066"/>
                </a:lnTo>
                <a:lnTo>
                  <a:pt x="3372" y="1066"/>
                </a:lnTo>
                <a:lnTo>
                  <a:pt x="3368" y="1068"/>
                </a:lnTo>
                <a:lnTo>
                  <a:pt x="3368" y="1068"/>
                </a:lnTo>
                <a:lnTo>
                  <a:pt x="3372" y="1068"/>
                </a:lnTo>
                <a:lnTo>
                  <a:pt x="3372" y="1070"/>
                </a:lnTo>
                <a:lnTo>
                  <a:pt x="3372" y="1070"/>
                </a:lnTo>
                <a:lnTo>
                  <a:pt x="3364" y="1076"/>
                </a:lnTo>
                <a:lnTo>
                  <a:pt x="3354" y="1078"/>
                </a:lnTo>
                <a:lnTo>
                  <a:pt x="3344" y="1082"/>
                </a:lnTo>
                <a:lnTo>
                  <a:pt x="3336" y="1086"/>
                </a:lnTo>
                <a:lnTo>
                  <a:pt x="3336" y="1086"/>
                </a:lnTo>
                <a:lnTo>
                  <a:pt x="3334" y="1086"/>
                </a:lnTo>
                <a:lnTo>
                  <a:pt x="3334" y="1086"/>
                </a:lnTo>
                <a:lnTo>
                  <a:pt x="3326" y="1086"/>
                </a:lnTo>
                <a:lnTo>
                  <a:pt x="3320" y="1088"/>
                </a:lnTo>
                <a:lnTo>
                  <a:pt x="3320" y="1088"/>
                </a:lnTo>
                <a:lnTo>
                  <a:pt x="3306" y="1086"/>
                </a:lnTo>
                <a:lnTo>
                  <a:pt x="3292" y="1084"/>
                </a:lnTo>
                <a:lnTo>
                  <a:pt x="3292" y="1084"/>
                </a:lnTo>
                <a:lnTo>
                  <a:pt x="3280" y="1086"/>
                </a:lnTo>
                <a:lnTo>
                  <a:pt x="3270" y="1088"/>
                </a:lnTo>
                <a:lnTo>
                  <a:pt x="3270" y="1088"/>
                </a:lnTo>
                <a:lnTo>
                  <a:pt x="3270" y="1090"/>
                </a:lnTo>
                <a:lnTo>
                  <a:pt x="3270" y="1090"/>
                </a:lnTo>
                <a:lnTo>
                  <a:pt x="3264" y="1088"/>
                </a:lnTo>
                <a:lnTo>
                  <a:pt x="3264" y="1088"/>
                </a:lnTo>
                <a:lnTo>
                  <a:pt x="3270" y="1088"/>
                </a:lnTo>
                <a:lnTo>
                  <a:pt x="3270" y="1088"/>
                </a:lnTo>
                <a:lnTo>
                  <a:pt x="3270" y="1078"/>
                </a:lnTo>
                <a:lnTo>
                  <a:pt x="3270" y="1078"/>
                </a:lnTo>
                <a:lnTo>
                  <a:pt x="3264" y="1078"/>
                </a:lnTo>
                <a:lnTo>
                  <a:pt x="3264" y="1078"/>
                </a:lnTo>
                <a:lnTo>
                  <a:pt x="3260" y="1076"/>
                </a:lnTo>
                <a:lnTo>
                  <a:pt x="3252" y="1074"/>
                </a:lnTo>
                <a:lnTo>
                  <a:pt x="3252" y="1074"/>
                </a:lnTo>
                <a:lnTo>
                  <a:pt x="3236" y="1076"/>
                </a:lnTo>
                <a:lnTo>
                  <a:pt x="3236" y="1076"/>
                </a:lnTo>
                <a:lnTo>
                  <a:pt x="3230" y="1076"/>
                </a:lnTo>
                <a:lnTo>
                  <a:pt x="3226" y="1078"/>
                </a:lnTo>
                <a:lnTo>
                  <a:pt x="3222" y="1082"/>
                </a:lnTo>
                <a:lnTo>
                  <a:pt x="3222" y="1086"/>
                </a:lnTo>
                <a:lnTo>
                  <a:pt x="3222" y="1086"/>
                </a:lnTo>
                <a:lnTo>
                  <a:pt x="3236" y="1086"/>
                </a:lnTo>
                <a:lnTo>
                  <a:pt x="3236" y="1086"/>
                </a:lnTo>
                <a:lnTo>
                  <a:pt x="3238" y="1086"/>
                </a:lnTo>
                <a:lnTo>
                  <a:pt x="3238" y="1086"/>
                </a:lnTo>
                <a:lnTo>
                  <a:pt x="3226" y="1090"/>
                </a:lnTo>
                <a:lnTo>
                  <a:pt x="3226" y="1090"/>
                </a:lnTo>
                <a:lnTo>
                  <a:pt x="3222" y="1092"/>
                </a:lnTo>
                <a:lnTo>
                  <a:pt x="3222" y="1094"/>
                </a:lnTo>
                <a:lnTo>
                  <a:pt x="3222" y="1098"/>
                </a:lnTo>
                <a:lnTo>
                  <a:pt x="3224" y="1100"/>
                </a:lnTo>
                <a:lnTo>
                  <a:pt x="3224" y="1100"/>
                </a:lnTo>
                <a:lnTo>
                  <a:pt x="3228" y="1096"/>
                </a:lnTo>
                <a:lnTo>
                  <a:pt x="3232" y="1094"/>
                </a:lnTo>
                <a:lnTo>
                  <a:pt x="3232" y="1094"/>
                </a:lnTo>
                <a:lnTo>
                  <a:pt x="3236" y="1094"/>
                </a:lnTo>
                <a:lnTo>
                  <a:pt x="3240" y="1092"/>
                </a:lnTo>
                <a:lnTo>
                  <a:pt x="3242" y="1086"/>
                </a:lnTo>
                <a:lnTo>
                  <a:pt x="3242" y="1086"/>
                </a:lnTo>
                <a:lnTo>
                  <a:pt x="3244" y="1086"/>
                </a:lnTo>
                <a:lnTo>
                  <a:pt x="3244" y="1086"/>
                </a:lnTo>
                <a:lnTo>
                  <a:pt x="3254" y="1086"/>
                </a:lnTo>
                <a:lnTo>
                  <a:pt x="3262" y="1088"/>
                </a:lnTo>
                <a:lnTo>
                  <a:pt x="3262" y="1088"/>
                </a:lnTo>
                <a:lnTo>
                  <a:pt x="3258" y="1088"/>
                </a:lnTo>
                <a:lnTo>
                  <a:pt x="3258" y="1088"/>
                </a:lnTo>
                <a:lnTo>
                  <a:pt x="3264" y="1096"/>
                </a:lnTo>
                <a:lnTo>
                  <a:pt x="3264" y="1096"/>
                </a:lnTo>
                <a:lnTo>
                  <a:pt x="3270" y="1096"/>
                </a:lnTo>
                <a:lnTo>
                  <a:pt x="3270" y="1096"/>
                </a:lnTo>
                <a:lnTo>
                  <a:pt x="3270" y="1118"/>
                </a:lnTo>
                <a:lnTo>
                  <a:pt x="3270" y="1118"/>
                </a:lnTo>
                <a:lnTo>
                  <a:pt x="3276" y="1110"/>
                </a:lnTo>
                <a:lnTo>
                  <a:pt x="3276" y="1110"/>
                </a:lnTo>
                <a:lnTo>
                  <a:pt x="3278" y="1108"/>
                </a:lnTo>
                <a:lnTo>
                  <a:pt x="3282" y="1106"/>
                </a:lnTo>
                <a:lnTo>
                  <a:pt x="3282" y="1106"/>
                </a:lnTo>
                <a:lnTo>
                  <a:pt x="3298" y="1102"/>
                </a:lnTo>
                <a:lnTo>
                  <a:pt x="3314" y="1102"/>
                </a:lnTo>
                <a:lnTo>
                  <a:pt x="3314" y="1102"/>
                </a:lnTo>
                <a:lnTo>
                  <a:pt x="3320" y="1100"/>
                </a:lnTo>
                <a:lnTo>
                  <a:pt x="3324" y="1098"/>
                </a:lnTo>
                <a:lnTo>
                  <a:pt x="3324" y="1098"/>
                </a:lnTo>
                <a:lnTo>
                  <a:pt x="3332" y="1094"/>
                </a:lnTo>
                <a:lnTo>
                  <a:pt x="3340" y="1094"/>
                </a:lnTo>
                <a:lnTo>
                  <a:pt x="3348" y="1094"/>
                </a:lnTo>
                <a:lnTo>
                  <a:pt x="3356" y="1094"/>
                </a:lnTo>
                <a:lnTo>
                  <a:pt x="3356" y="1094"/>
                </a:lnTo>
                <a:lnTo>
                  <a:pt x="3368" y="1098"/>
                </a:lnTo>
                <a:lnTo>
                  <a:pt x="3368" y="1098"/>
                </a:lnTo>
                <a:lnTo>
                  <a:pt x="3374" y="1102"/>
                </a:lnTo>
                <a:lnTo>
                  <a:pt x="3378" y="1102"/>
                </a:lnTo>
                <a:lnTo>
                  <a:pt x="3382" y="1100"/>
                </a:lnTo>
                <a:lnTo>
                  <a:pt x="3388" y="1096"/>
                </a:lnTo>
                <a:lnTo>
                  <a:pt x="3388" y="1096"/>
                </a:lnTo>
                <a:lnTo>
                  <a:pt x="3390" y="1094"/>
                </a:lnTo>
                <a:lnTo>
                  <a:pt x="3390" y="1094"/>
                </a:lnTo>
                <a:lnTo>
                  <a:pt x="3378" y="1090"/>
                </a:lnTo>
                <a:lnTo>
                  <a:pt x="3378" y="1090"/>
                </a:lnTo>
                <a:lnTo>
                  <a:pt x="3390" y="1086"/>
                </a:lnTo>
                <a:lnTo>
                  <a:pt x="3390" y="1086"/>
                </a:lnTo>
                <a:lnTo>
                  <a:pt x="3398" y="1088"/>
                </a:lnTo>
                <a:lnTo>
                  <a:pt x="3398" y="1088"/>
                </a:lnTo>
                <a:lnTo>
                  <a:pt x="3404" y="1086"/>
                </a:lnTo>
                <a:lnTo>
                  <a:pt x="3406" y="1086"/>
                </a:lnTo>
                <a:lnTo>
                  <a:pt x="3408" y="1088"/>
                </a:lnTo>
                <a:lnTo>
                  <a:pt x="3408" y="1088"/>
                </a:lnTo>
                <a:lnTo>
                  <a:pt x="3408" y="1090"/>
                </a:lnTo>
                <a:lnTo>
                  <a:pt x="3408" y="1092"/>
                </a:lnTo>
                <a:lnTo>
                  <a:pt x="3404" y="1096"/>
                </a:lnTo>
                <a:lnTo>
                  <a:pt x="3404" y="1096"/>
                </a:lnTo>
                <a:lnTo>
                  <a:pt x="3404" y="1096"/>
                </a:lnTo>
                <a:lnTo>
                  <a:pt x="3404" y="1096"/>
                </a:lnTo>
                <a:lnTo>
                  <a:pt x="3424" y="1096"/>
                </a:lnTo>
                <a:lnTo>
                  <a:pt x="3424" y="1096"/>
                </a:lnTo>
                <a:lnTo>
                  <a:pt x="3434" y="1098"/>
                </a:lnTo>
                <a:lnTo>
                  <a:pt x="3446" y="1096"/>
                </a:lnTo>
                <a:lnTo>
                  <a:pt x="3446" y="1096"/>
                </a:lnTo>
                <a:lnTo>
                  <a:pt x="3424" y="1090"/>
                </a:lnTo>
                <a:lnTo>
                  <a:pt x="3424" y="1090"/>
                </a:lnTo>
                <a:lnTo>
                  <a:pt x="3434" y="1086"/>
                </a:lnTo>
                <a:lnTo>
                  <a:pt x="3434" y="1086"/>
                </a:lnTo>
                <a:lnTo>
                  <a:pt x="3426" y="1080"/>
                </a:lnTo>
                <a:lnTo>
                  <a:pt x="3426" y="1080"/>
                </a:lnTo>
                <a:lnTo>
                  <a:pt x="3430" y="1074"/>
                </a:lnTo>
                <a:lnTo>
                  <a:pt x="3432" y="1070"/>
                </a:lnTo>
                <a:lnTo>
                  <a:pt x="3432" y="1070"/>
                </a:lnTo>
                <a:lnTo>
                  <a:pt x="3434" y="1068"/>
                </a:lnTo>
                <a:lnTo>
                  <a:pt x="3436" y="1066"/>
                </a:lnTo>
                <a:lnTo>
                  <a:pt x="3440" y="1066"/>
                </a:lnTo>
                <a:lnTo>
                  <a:pt x="3440" y="1064"/>
                </a:lnTo>
                <a:lnTo>
                  <a:pt x="3440" y="1064"/>
                </a:lnTo>
                <a:lnTo>
                  <a:pt x="3438" y="1062"/>
                </a:lnTo>
                <a:lnTo>
                  <a:pt x="3434" y="1060"/>
                </a:lnTo>
                <a:lnTo>
                  <a:pt x="3426" y="1060"/>
                </a:lnTo>
                <a:lnTo>
                  <a:pt x="3426" y="1060"/>
                </a:lnTo>
                <a:lnTo>
                  <a:pt x="3436" y="1054"/>
                </a:lnTo>
                <a:lnTo>
                  <a:pt x="3436" y="1054"/>
                </a:lnTo>
                <a:lnTo>
                  <a:pt x="3438" y="1052"/>
                </a:lnTo>
                <a:lnTo>
                  <a:pt x="3438" y="1052"/>
                </a:lnTo>
                <a:lnTo>
                  <a:pt x="3454" y="1050"/>
                </a:lnTo>
                <a:lnTo>
                  <a:pt x="3454" y="1050"/>
                </a:lnTo>
                <a:lnTo>
                  <a:pt x="3454" y="1048"/>
                </a:lnTo>
                <a:lnTo>
                  <a:pt x="3450" y="1044"/>
                </a:lnTo>
                <a:lnTo>
                  <a:pt x="3450" y="1044"/>
                </a:lnTo>
                <a:lnTo>
                  <a:pt x="3444" y="1040"/>
                </a:lnTo>
                <a:lnTo>
                  <a:pt x="3444" y="1040"/>
                </a:lnTo>
                <a:lnTo>
                  <a:pt x="3452" y="1038"/>
                </a:lnTo>
                <a:lnTo>
                  <a:pt x="3456" y="1038"/>
                </a:lnTo>
                <a:lnTo>
                  <a:pt x="3456" y="1038"/>
                </a:lnTo>
                <a:lnTo>
                  <a:pt x="3458" y="1034"/>
                </a:lnTo>
                <a:lnTo>
                  <a:pt x="3460" y="1030"/>
                </a:lnTo>
                <a:lnTo>
                  <a:pt x="3462" y="1026"/>
                </a:lnTo>
                <a:lnTo>
                  <a:pt x="3472" y="1026"/>
                </a:lnTo>
                <a:lnTo>
                  <a:pt x="3472" y="1026"/>
                </a:lnTo>
                <a:lnTo>
                  <a:pt x="3464" y="1022"/>
                </a:lnTo>
                <a:lnTo>
                  <a:pt x="3464" y="1022"/>
                </a:lnTo>
                <a:lnTo>
                  <a:pt x="3464" y="1020"/>
                </a:lnTo>
                <a:lnTo>
                  <a:pt x="3464" y="1018"/>
                </a:lnTo>
                <a:lnTo>
                  <a:pt x="3464" y="1018"/>
                </a:lnTo>
                <a:lnTo>
                  <a:pt x="3470" y="1016"/>
                </a:lnTo>
                <a:lnTo>
                  <a:pt x="3470" y="1016"/>
                </a:lnTo>
                <a:lnTo>
                  <a:pt x="3472" y="1016"/>
                </a:lnTo>
                <a:lnTo>
                  <a:pt x="3472" y="1016"/>
                </a:lnTo>
                <a:lnTo>
                  <a:pt x="3474" y="1018"/>
                </a:lnTo>
                <a:lnTo>
                  <a:pt x="3474" y="1018"/>
                </a:lnTo>
                <a:lnTo>
                  <a:pt x="3478" y="1018"/>
                </a:lnTo>
                <a:lnTo>
                  <a:pt x="3478" y="1018"/>
                </a:lnTo>
                <a:lnTo>
                  <a:pt x="3480" y="1018"/>
                </a:lnTo>
                <a:lnTo>
                  <a:pt x="3480" y="1018"/>
                </a:lnTo>
                <a:lnTo>
                  <a:pt x="3482" y="1022"/>
                </a:lnTo>
                <a:lnTo>
                  <a:pt x="3482" y="1022"/>
                </a:lnTo>
                <a:lnTo>
                  <a:pt x="3476" y="1024"/>
                </a:lnTo>
                <a:lnTo>
                  <a:pt x="3476" y="1024"/>
                </a:lnTo>
                <a:lnTo>
                  <a:pt x="3482" y="1024"/>
                </a:lnTo>
                <a:lnTo>
                  <a:pt x="3482" y="1024"/>
                </a:lnTo>
                <a:lnTo>
                  <a:pt x="3484" y="1022"/>
                </a:lnTo>
                <a:lnTo>
                  <a:pt x="3484" y="1020"/>
                </a:lnTo>
                <a:lnTo>
                  <a:pt x="3484" y="1020"/>
                </a:lnTo>
                <a:lnTo>
                  <a:pt x="3486" y="1022"/>
                </a:lnTo>
                <a:lnTo>
                  <a:pt x="3486" y="1022"/>
                </a:lnTo>
                <a:lnTo>
                  <a:pt x="3488" y="1034"/>
                </a:lnTo>
                <a:lnTo>
                  <a:pt x="3490" y="1038"/>
                </a:lnTo>
                <a:lnTo>
                  <a:pt x="3490" y="1038"/>
                </a:lnTo>
                <a:lnTo>
                  <a:pt x="3488" y="1032"/>
                </a:lnTo>
                <a:lnTo>
                  <a:pt x="3488" y="1032"/>
                </a:lnTo>
                <a:lnTo>
                  <a:pt x="3506" y="1032"/>
                </a:lnTo>
                <a:lnTo>
                  <a:pt x="3506" y="1032"/>
                </a:lnTo>
                <a:lnTo>
                  <a:pt x="3506" y="1012"/>
                </a:lnTo>
                <a:lnTo>
                  <a:pt x="3506" y="1012"/>
                </a:lnTo>
                <a:lnTo>
                  <a:pt x="3510" y="1014"/>
                </a:lnTo>
                <a:lnTo>
                  <a:pt x="3510" y="1014"/>
                </a:lnTo>
                <a:lnTo>
                  <a:pt x="3512" y="1018"/>
                </a:lnTo>
                <a:lnTo>
                  <a:pt x="3510" y="1022"/>
                </a:lnTo>
                <a:lnTo>
                  <a:pt x="3510" y="1022"/>
                </a:lnTo>
                <a:lnTo>
                  <a:pt x="3508" y="1024"/>
                </a:lnTo>
                <a:lnTo>
                  <a:pt x="3508" y="1026"/>
                </a:lnTo>
                <a:lnTo>
                  <a:pt x="3512" y="1030"/>
                </a:lnTo>
                <a:lnTo>
                  <a:pt x="3512" y="1030"/>
                </a:lnTo>
                <a:lnTo>
                  <a:pt x="3526" y="1038"/>
                </a:lnTo>
                <a:lnTo>
                  <a:pt x="3526" y="1038"/>
                </a:lnTo>
                <a:lnTo>
                  <a:pt x="3520" y="1040"/>
                </a:lnTo>
                <a:lnTo>
                  <a:pt x="3516" y="1044"/>
                </a:lnTo>
                <a:lnTo>
                  <a:pt x="3514" y="1048"/>
                </a:lnTo>
                <a:lnTo>
                  <a:pt x="3512" y="1052"/>
                </a:lnTo>
                <a:lnTo>
                  <a:pt x="3512" y="1052"/>
                </a:lnTo>
                <a:lnTo>
                  <a:pt x="3520" y="1054"/>
                </a:lnTo>
                <a:lnTo>
                  <a:pt x="3524" y="1054"/>
                </a:lnTo>
                <a:lnTo>
                  <a:pt x="3526" y="1058"/>
                </a:lnTo>
                <a:lnTo>
                  <a:pt x="3526" y="1058"/>
                </a:lnTo>
                <a:lnTo>
                  <a:pt x="3514" y="1062"/>
                </a:lnTo>
                <a:lnTo>
                  <a:pt x="3514" y="1062"/>
                </a:lnTo>
                <a:lnTo>
                  <a:pt x="3520" y="1064"/>
                </a:lnTo>
                <a:lnTo>
                  <a:pt x="3526" y="1064"/>
                </a:lnTo>
                <a:lnTo>
                  <a:pt x="3526" y="1064"/>
                </a:lnTo>
                <a:lnTo>
                  <a:pt x="3540" y="1056"/>
                </a:lnTo>
                <a:lnTo>
                  <a:pt x="3552" y="1050"/>
                </a:lnTo>
                <a:lnTo>
                  <a:pt x="3552" y="1050"/>
                </a:lnTo>
                <a:lnTo>
                  <a:pt x="3556" y="1046"/>
                </a:lnTo>
                <a:lnTo>
                  <a:pt x="3560" y="1044"/>
                </a:lnTo>
                <a:lnTo>
                  <a:pt x="3566" y="1044"/>
                </a:lnTo>
                <a:lnTo>
                  <a:pt x="3572" y="1044"/>
                </a:lnTo>
                <a:lnTo>
                  <a:pt x="3572" y="1044"/>
                </a:lnTo>
                <a:lnTo>
                  <a:pt x="3582" y="1046"/>
                </a:lnTo>
                <a:lnTo>
                  <a:pt x="3592" y="1044"/>
                </a:lnTo>
                <a:lnTo>
                  <a:pt x="3592" y="1044"/>
                </a:lnTo>
                <a:lnTo>
                  <a:pt x="3602" y="1038"/>
                </a:lnTo>
                <a:lnTo>
                  <a:pt x="3602" y="1038"/>
                </a:lnTo>
                <a:lnTo>
                  <a:pt x="3608" y="1036"/>
                </a:lnTo>
                <a:lnTo>
                  <a:pt x="3614" y="1038"/>
                </a:lnTo>
                <a:lnTo>
                  <a:pt x="3614" y="1038"/>
                </a:lnTo>
                <a:lnTo>
                  <a:pt x="3614" y="1040"/>
                </a:lnTo>
                <a:lnTo>
                  <a:pt x="3612" y="1042"/>
                </a:lnTo>
                <a:lnTo>
                  <a:pt x="3612" y="1042"/>
                </a:lnTo>
                <a:lnTo>
                  <a:pt x="3616" y="1044"/>
                </a:lnTo>
                <a:lnTo>
                  <a:pt x="3616" y="1044"/>
                </a:lnTo>
                <a:lnTo>
                  <a:pt x="3618" y="1046"/>
                </a:lnTo>
                <a:lnTo>
                  <a:pt x="3618" y="1048"/>
                </a:lnTo>
                <a:lnTo>
                  <a:pt x="3614" y="1052"/>
                </a:lnTo>
                <a:lnTo>
                  <a:pt x="3614" y="1052"/>
                </a:lnTo>
                <a:lnTo>
                  <a:pt x="3608" y="1054"/>
                </a:lnTo>
                <a:lnTo>
                  <a:pt x="3608" y="1054"/>
                </a:lnTo>
                <a:lnTo>
                  <a:pt x="3602" y="1068"/>
                </a:lnTo>
                <a:lnTo>
                  <a:pt x="3602" y="1068"/>
                </a:lnTo>
                <a:lnTo>
                  <a:pt x="3590" y="1074"/>
                </a:lnTo>
                <a:lnTo>
                  <a:pt x="3590" y="1074"/>
                </a:lnTo>
                <a:lnTo>
                  <a:pt x="3584" y="1076"/>
                </a:lnTo>
                <a:lnTo>
                  <a:pt x="3582" y="1074"/>
                </a:lnTo>
                <a:lnTo>
                  <a:pt x="3582" y="1074"/>
                </a:lnTo>
                <a:lnTo>
                  <a:pt x="3578" y="1070"/>
                </a:lnTo>
                <a:lnTo>
                  <a:pt x="3576" y="1068"/>
                </a:lnTo>
                <a:lnTo>
                  <a:pt x="3572" y="1068"/>
                </a:lnTo>
                <a:lnTo>
                  <a:pt x="3566" y="1068"/>
                </a:lnTo>
                <a:lnTo>
                  <a:pt x="3566" y="1068"/>
                </a:lnTo>
                <a:lnTo>
                  <a:pt x="3554" y="1072"/>
                </a:lnTo>
                <a:lnTo>
                  <a:pt x="3554" y="1072"/>
                </a:lnTo>
                <a:lnTo>
                  <a:pt x="3574" y="1082"/>
                </a:lnTo>
                <a:lnTo>
                  <a:pt x="3574" y="1082"/>
                </a:lnTo>
                <a:lnTo>
                  <a:pt x="3572" y="1086"/>
                </a:lnTo>
                <a:lnTo>
                  <a:pt x="3572" y="1088"/>
                </a:lnTo>
                <a:lnTo>
                  <a:pt x="3576" y="1092"/>
                </a:lnTo>
                <a:lnTo>
                  <a:pt x="3576" y="1092"/>
                </a:lnTo>
                <a:lnTo>
                  <a:pt x="3576" y="1096"/>
                </a:lnTo>
                <a:lnTo>
                  <a:pt x="3576" y="1096"/>
                </a:lnTo>
                <a:lnTo>
                  <a:pt x="3566" y="1092"/>
                </a:lnTo>
                <a:lnTo>
                  <a:pt x="3566" y="1092"/>
                </a:lnTo>
                <a:lnTo>
                  <a:pt x="3560" y="1098"/>
                </a:lnTo>
                <a:lnTo>
                  <a:pt x="3560" y="1098"/>
                </a:lnTo>
                <a:lnTo>
                  <a:pt x="3566" y="1100"/>
                </a:lnTo>
                <a:lnTo>
                  <a:pt x="3566" y="1104"/>
                </a:lnTo>
                <a:lnTo>
                  <a:pt x="3568" y="1110"/>
                </a:lnTo>
                <a:lnTo>
                  <a:pt x="3570" y="1114"/>
                </a:lnTo>
                <a:lnTo>
                  <a:pt x="3570" y="1114"/>
                </a:lnTo>
                <a:lnTo>
                  <a:pt x="3556" y="1114"/>
                </a:lnTo>
                <a:lnTo>
                  <a:pt x="3556" y="1114"/>
                </a:lnTo>
                <a:lnTo>
                  <a:pt x="3548" y="1114"/>
                </a:lnTo>
                <a:lnTo>
                  <a:pt x="3538" y="1114"/>
                </a:lnTo>
                <a:lnTo>
                  <a:pt x="3530" y="1116"/>
                </a:lnTo>
                <a:lnTo>
                  <a:pt x="3524" y="1122"/>
                </a:lnTo>
                <a:lnTo>
                  <a:pt x="3524" y="1122"/>
                </a:lnTo>
                <a:lnTo>
                  <a:pt x="3518" y="1124"/>
                </a:lnTo>
                <a:lnTo>
                  <a:pt x="3518" y="1124"/>
                </a:lnTo>
                <a:lnTo>
                  <a:pt x="3522" y="1124"/>
                </a:lnTo>
                <a:lnTo>
                  <a:pt x="3526" y="1124"/>
                </a:lnTo>
                <a:lnTo>
                  <a:pt x="3532" y="1122"/>
                </a:lnTo>
                <a:lnTo>
                  <a:pt x="3532" y="1122"/>
                </a:lnTo>
                <a:lnTo>
                  <a:pt x="3536" y="1120"/>
                </a:lnTo>
                <a:lnTo>
                  <a:pt x="3544" y="1118"/>
                </a:lnTo>
                <a:lnTo>
                  <a:pt x="3550" y="1118"/>
                </a:lnTo>
                <a:lnTo>
                  <a:pt x="3556" y="1120"/>
                </a:lnTo>
                <a:lnTo>
                  <a:pt x="3556" y="1120"/>
                </a:lnTo>
                <a:lnTo>
                  <a:pt x="3560" y="1122"/>
                </a:lnTo>
                <a:lnTo>
                  <a:pt x="3564" y="1124"/>
                </a:lnTo>
                <a:lnTo>
                  <a:pt x="3576" y="1124"/>
                </a:lnTo>
                <a:lnTo>
                  <a:pt x="3576" y="1124"/>
                </a:lnTo>
                <a:lnTo>
                  <a:pt x="3580" y="1126"/>
                </a:lnTo>
                <a:lnTo>
                  <a:pt x="3580" y="1126"/>
                </a:lnTo>
                <a:lnTo>
                  <a:pt x="3586" y="1124"/>
                </a:lnTo>
                <a:lnTo>
                  <a:pt x="3590" y="1122"/>
                </a:lnTo>
                <a:lnTo>
                  <a:pt x="3592" y="1120"/>
                </a:lnTo>
                <a:lnTo>
                  <a:pt x="3592" y="1114"/>
                </a:lnTo>
                <a:lnTo>
                  <a:pt x="3592" y="1114"/>
                </a:lnTo>
                <a:lnTo>
                  <a:pt x="3578" y="1118"/>
                </a:lnTo>
                <a:lnTo>
                  <a:pt x="3578" y="1108"/>
                </a:lnTo>
                <a:lnTo>
                  <a:pt x="3578" y="1108"/>
                </a:lnTo>
                <a:lnTo>
                  <a:pt x="3586" y="1108"/>
                </a:lnTo>
                <a:lnTo>
                  <a:pt x="3586" y="1108"/>
                </a:lnTo>
                <a:lnTo>
                  <a:pt x="3582" y="1102"/>
                </a:lnTo>
                <a:lnTo>
                  <a:pt x="3582" y="1100"/>
                </a:lnTo>
                <a:lnTo>
                  <a:pt x="3584" y="1098"/>
                </a:lnTo>
                <a:lnTo>
                  <a:pt x="3584" y="1098"/>
                </a:lnTo>
                <a:lnTo>
                  <a:pt x="3596" y="1098"/>
                </a:lnTo>
                <a:lnTo>
                  <a:pt x="3596" y="1098"/>
                </a:lnTo>
                <a:lnTo>
                  <a:pt x="3604" y="1100"/>
                </a:lnTo>
                <a:lnTo>
                  <a:pt x="3608" y="1100"/>
                </a:lnTo>
                <a:lnTo>
                  <a:pt x="3612" y="1096"/>
                </a:lnTo>
                <a:lnTo>
                  <a:pt x="3612" y="1096"/>
                </a:lnTo>
                <a:lnTo>
                  <a:pt x="3616" y="1096"/>
                </a:lnTo>
                <a:lnTo>
                  <a:pt x="3620" y="1094"/>
                </a:lnTo>
                <a:lnTo>
                  <a:pt x="3620" y="1094"/>
                </a:lnTo>
                <a:lnTo>
                  <a:pt x="3624" y="1094"/>
                </a:lnTo>
                <a:lnTo>
                  <a:pt x="3628" y="1092"/>
                </a:lnTo>
                <a:lnTo>
                  <a:pt x="3628" y="1092"/>
                </a:lnTo>
                <a:lnTo>
                  <a:pt x="3632" y="1090"/>
                </a:lnTo>
                <a:lnTo>
                  <a:pt x="3634" y="1090"/>
                </a:lnTo>
                <a:lnTo>
                  <a:pt x="3642" y="1090"/>
                </a:lnTo>
                <a:lnTo>
                  <a:pt x="3642" y="1090"/>
                </a:lnTo>
                <a:lnTo>
                  <a:pt x="3648" y="1092"/>
                </a:lnTo>
                <a:lnTo>
                  <a:pt x="3656" y="1092"/>
                </a:lnTo>
                <a:lnTo>
                  <a:pt x="3656" y="1092"/>
                </a:lnTo>
                <a:lnTo>
                  <a:pt x="3662" y="1092"/>
                </a:lnTo>
                <a:lnTo>
                  <a:pt x="3662" y="1092"/>
                </a:lnTo>
                <a:lnTo>
                  <a:pt x="3666" y="1098"/>
                </a:lnTo>
                <a:lnTo>
                  <a:pt x="3666" y="1098"/>
                </a:lnTo>
                <a:lnTo>
                  <a:pt x="3670" y="1102"/>
                </a:lnTo>
                <a:lnTo>
                  <a:pt x="3670" y="1102"/>
                </a:lnTo>
                <a:lnTo>
                  <a:pt x="3668" y="1104"/>
                </a:lnTo>
                <a:lnTo>
                  <a:pt x="3668" y="1104"/>
                </a:lnTo>
                <a:lnTo>
                  <a:pt x="3664" y="1110"/>
                </a:lnTo>
                <a:lnTo>
                  <a:pt x="3662" y="1114"/>
                </a:lnTo>
                <a:lnTo>
                  <a:pt x="3664" y="1118"/>
                </a:lnTo>
                <a:lnTo>
                  <a:pt x="3670" y="1124"/>
                </a:lnTo>
                <a:lnTo>
                  <a:pt x="3670" y="1124"/>
                </a:lnTo>
                <a:lnTo>
                  <a:pt x="3672" y="1128"/>
                </a:lnTo>
                <a:lnTo>
                  <a:pt x="3674" y="1132"/>
                </a:lnTo>
                <a:lnTo>
                  <a:pt x="3674" y="1132"/>
                </a:lnTo>
                <a:lnTo>
                  <a:pt x="3684" y="1132"/>
                </a:lnTo>
                <a:lnTo>
                  <a:pt x="3694" y="1132"/>
                </a:lnTo>
                <a:lnTo>
                  <a:pt x="3704" y="1130"/>
                </a:lnTo>
                <a:lnTo>
                  <a:pt x="3714" y="1128"/>
                </a:lnTo>
                <a:lnTo>
                  <a:pt x="3714" y="1128"/>
                </a:lnTo>
                <a:lnTo>
                  <a:pt x="3706" y="1122"/>
                </a:lnTo>
                <a:lnTo>
                  <a:pt x="3706" y="1122"/>
                </a:lnTo>
                <a:lnTo>
                  <a:pt x="3716" y="1118"/>
                </a:lnTo>
                <a:lnTo>
                  <a:pt x="3716" y="1118"/>
                </a:lnTo>
                <a:lnTo>
                  <a:pt x="3724" y="1122"/>
                </a:lnTo>
                <a:lnTo>
                  <a:pt x="3730" y="1122"/>
                </a:lnTo>
                <a:lnTo>
                  <a:pt x="3734" y="1122"/>
                </a:lnTo>
                <a:lnTo>
                  <a:pt x="3734" y="1122"/>
                </a:lnTo>
                <a:lnTo>
                  <a:pt x="3726" y="1116"/>
                </a:lnTo>
                <a:lnTo>
                  <a:pt x="3716" y="1114"/>
                </a:lnTo>
                <a:lnTo>
                  <a:pt x="3716" y="1114"/>
                </a:lnTo>
                <a:lnTo>
                  <a:pt x="3706" y="1112"/>
                </a:lnTo>
                <a:lnTo>
                  <a:pt x="3706" y="1112"/>
                </a:lnTo>
                <a:lnTo>
                  <a:pt x="3706" y="1108"/>
                </a:lnTo>
                <a:lnTo>
                  <a:pt x="3708" y="1104"/>
                </a:lnTo>
                <a:lnTo>
                  <a:pt x="3716" y="1096"/>
                </a:lnTo>
                <a:lnTo>
                  <a:pt x="3716" y="1096"/>
                </a:lnTo>
                <a:lnTo>
                  <a:pt x="3718" y="1100"/>
                </a:lnTo>
                <a:lnTo>
                  <a:pt x="3718" y="1100"/>
                </a:lnTo>
                <a:lnTo>
                  <a:pt x="3720" y="1100"/>
                </a:lnTo>
                <a:lnTo>
                  <a:pt x="3720" y="1100"/>
                </a:lnTo>
                <a:lnTo>
                  <a:pt x="3720" y="1094"/>
                </a:lnTo>
                <a:lnTo>
                  <a:pt x="3720" y="1094"/>
                </a:lnTo>
                <a:lnTo>
                  <a:pt x="3726" y="1094"/>
                </a:lnTo>
                <a:lnTo>
                  <a:pt x="3730" y="1094"/>
                </a:lnTo>
                <a:lnTo>
                  <a:pt x="3732" y="1090"/>
                </a:lnTo>
                <a:lnTo>
                  <a:pt x="3732" y="1090"/>
                </a:lnTo>
                <a:lnTo>
                  <a:pt x="3720" y="1086"/>
                </a:lnTo>
                <a:lnTo>
                  <a:pt x="3720" y="1086"/>
                </a:lnTo>
                <a:lnTo>
                  <a:pt x="3718" y="1084"/>
                </a:lnTo>
                <a:lnTo>
                  <a:pt x="3716" y="1082"/>
                </a:lnTo>
                <a:lnTo>
                  <a:pt x="3716" y="1082"/>
                </a:lnTo>
                <a:lnTo>
                  <a:pt x="3718" y="1080"/>
                </a:lnTo>
                <a:lnTo>
                  <a:pt x="3720" y="1080"/>
                </a:lnTo>
                <a:lnTo>
                  <a:pt x="3724" y="1080"/>
                </a:lnTo>
                <a:lnTo>
                  <a:pt x="3724" y="1080"/>
                </a:lnTo>
                <a:lnTo>
                  <a:pt x="3736" y="1082"/>
                </a:lnTo>
                <a:lnTo>
                  <a:pt x="3748" y="1082"/>
                </a:lnTo>
                <a:lnTo>
                  <a:pt x="3748" y="1082"/>
                </a:lnTo>
                <a:lnTo>
                  <a:pt x="3756" y="1082"/>
                </a:lnTo>
                <a:lnTo>
                  <a:pt x="3764" y="1086"/>
                </a:lnTo>
                <a:lnTo>
                  <a:pt x="3764" y="1086"/>
                </a:lnTo>
                <a:lnTo>
                  <a:pt x="3762" y="1092"/>
                </a:lnTo>
                <a:lnTo>
                  <a:pt x="3762" y="1092"/>
                </a:lnTo>
                <a:lnTo>
                  <a:pt x="3772" y="1092"/>
                </a:lnTo>
                <a:lnTo>
                  <a:pt x="3772" y="1092"/>
                </a:lnTo>
                <a:lnTo>
                  <a:pt x="3770" y="1086"/>
                </a:lnTo>
                <a:lnTo>
                  <a:pt x="3770" y="1086"/>
                </a:lnTo>
                <a:lnTo>
                  <a:pt x="3784" y="1090"/>
                </a:lnTo>
                <a:lnTo>
                  <a:pt x="3784" y="1090"/>
                </a:lnTo>
                <a:lnTo>
                  <a:pt x="3804" y="1078"/>
                </a:lnTo>
                <a:lnTo>
                  <a:pt x="3804" y="1078"/>
                </a:lnTo>
                <a:lnTo>
                  <a:pt x="3788" y="1080"/>
                </a:lnTo>
                <a:lnTo>
                  <a:pt x="3780" y="1078"/>
                </a:lnTo>
                <a:lnTo>
                  <a:pt x="3772" y="1078"/>
                </a:lnTo>
                <a:lnTo>
                  <a:pt x="3772" y="1078"/>
                </a:lnTo>
                <a:lnTo>
                  <a:pt x="3752" y="1074"/>
                </a:lnTo>
                <a:lnTo>
                  <a:pt x="3732" y="1070"/>
                </a:lnTo>
                <a:lnTo>
                  <a:pt x="3732" y="1070"/>
                </a:lnTo>
                <a:lnTo>
                  <a:pt x="3722" y="1070"/>
                </a:lnTo>
                <a:lnTo>
                  <a:pt x="3716" y="1070"/>
                </a:lnTo>
                <a:lnTo>
                  <a:pt x="3712" y="1072"/>
                </a:lnTo>
                <a:lnTo>
                  <a:pt x="3712" y="1072"/>
                </a:lnTo>
                <a:lnTo>
                  <a:pt x="3706" y="1074"/>
                </a:lnTo>
                <a:lnTo>
                  <a:pt x="3702" y="1072"/>
                </a:lnTo>
                <a:lnTo>
                  <a:pt x="3700" y="1070"/>
                </a:lnTo>
                <a:lnTo>
                  <a:pt x="3700" y="1070"/>
                </a:lnTo>
                <a:lnTo>
                  <a:pt x="3706" y="1068"/>
                </a:lnTo>
                <a:lnTo>
                  <a:pt x="3706" y="1068"/>
                </a:lnTo>
                <a:lnTo>
                  <a:pt x="3710" y="1066"/>
                </a:lnTo>
                <a:lnTo>
                  <a:pt x="3712" y="1066"/>
                </a:lnTo>
                <a:lnTo>
                  <a:pt x="3710" y="1064"/>
                </a:lnTo>
                <a:lnTo>
                  <a:pt x="3708" y="1062"/>
                </a:lnTo>
                <a:lnTo>
                  <a:pt x="3708" y="1062"/>
                </a:lnTo>
                <a:lnTo>
                  <a:pt x="3704" y="1060"/>
                </a:lnTo>
                <a:lnTo>
                  <a:pt x="3698" y="1060"/>
                </a:lnTo>
                <a:lnTo>
                  <a:pt x="3698" y="1060"/>
                </a:lnTo>
                <a:lnTo>
                  <a:pt x="3694" y="1060"/>
                </a:lnTo>
                <a:lnTo>
                  <a:pt x="3690" y="1060"/>
                </a:lnTo>
                <a:lnTo>
                  <a:pt x="3690" y="1060"/>
                </a:lnTo>
                <a:lnTo>
                  <a:pt x="3690" y="1058"/>
                </a:lnTo>
                <a:lnTo>
                  <a:pt x="3690" y="1058"/>
                </a:lnTo>
                <a:lnTo>
                  <a:pt x="3696" y="1056"/>
                </a:lnTo>
                <a:lnTo>
                  <a:pt x="3702" y="1056"/>
                </a:lnTo>
                <a:lnTo>
                  <a:pt x="3702" y="1056"/>
                </a:lnTo>
                <a:lnTo>
                  <a:pt x="3708" y="1056"/>
                </a:lnTo>
                <a:lnTo>
                  <a:pt x="3712" y="1054"/>
                </a:lnTo>
                <a:lnTo>
                  <a:pt x="3720" y="1048"/>
                </a:lnTo>
                <a:lnTo>
                  <a:pt x="3720" y="1048"/>
                </a:lnTo>
                <a:lnTo>
                  <a:pt x="3724" y="1042"/>
                </a:lnTo>
                <a:lnTo>
                  <a:pt x="3732" y="1038"/>
                </a:lnTo>
                <a:lnTo>
                  <a:pt x="3732" y="1038"/>
                </a:lnTo>
                <a:lnTo>
                  <a:pt x="3714" y="1034"/>
                </a:lnTo>
                <a:lnTo>
                  <a:pt x="3714" y="1034"/>
                </a:lnTo>
                <a:lnTo>
                  <a:pt x="3714" y="1034"/>
                </a:lnTo>
                <a:lnTo>
                  <a:pt x="3712" y="1030"/>
                </a:lnTo>
                <a:lnTo>
                  <a:pt x="3712" y="1030"/>
                </a:lnTo>
                <a:lnTo>
                  <a:pt x="3712" y="1030"/>
                </a:lnTo>
                <a:lnTo>
                  <a:pt x="3712" y="1030"/>
                </a:lnTo>
                <a:lnTo>
                  <a:pt x="3706" y="1034"/>
                </a:lnTo>
                <a:lnTo>
                  <a:pt x="3704" y="1036"/>
                </a:lnTo>
                <a:lnTo>
                  <a:pt x="3704" y="1040"/>
                </a:lnTo>
                <a:lnTo>
                  <a:pt x="3704" y="1040"/>
                </a:lnTo>
                <a:lnTo>
                  <a:pt x="3702" y="1042"/>
                </a:lnTo>
                <a:lnTo>
                  <a:pt x="3698" y="1042"/>
                </a:lnTo>
                <a:lnTo>
                  <a:pt x="3698" y="1042"/>
                </a:lnTo>
                <a:lnTo>
                  <a:pt x="3690" y="1046"/>
                </a:lnTo>
                <a:lnTo>
                  <a:pt x="3690" y="1048"/>
                </a:lnTo>
                <a:lnTo>
                  <a:pt x="3692" y="1052"/>
                </a:lnTo>
                <a:lnTo>
                  <a:pt x="3692" y="1052"/>
                </a:lnTo>
                <a:lnTo>
                  <a:pt x="3674" y="1056"/>
                </a:lnTo>
                <a:lnTo>
                  <a:pt x="3674" y="1056"/>
                </a:lnTo>
                <a:lnTo>
                  <a:pt x="3656" y="1066"/>
                </a:lnTo>
                <a:lnTo>
                  <a:pt x="3656" y="1066"/>
                </a:lnTo>
                <a:lnTo>
                  <a:pt x="3652" y="1068"/>
                </a:lnTo>
                <a:lnTo>
                  <a:pt x="3652" y="1068"/>
                </a:lnTo>
                <a:lnTo>
                  <a:pt x="3646" y="1070"/>
                </a:lnTo>
                <a:lnTo>
                  <a:pt x="3644" y="1074"/>
                </a:lnTo>
                <a:lnTo>
                  <a:pt x="3642" y="1078"/>
                </a:lnTo>
                <a:lnTo>
                  <a:pt x="3644" y="1082"/>
                </a:lnTo>
                <a:lnTo>
                  <a:pt x="3644" y="1082"/>
                </a:lnTo>
                <a:lnTo>
                  <a:pt x="3640" y="1082"/>
                </a:lnTo>
                <a:lnTo>
                  <a:pt x="3636" y="1082"/>
                </a:lnTo>
                <a:lnTo>
                  <a:pt x="3634" y="1078"/>
                </a:lnTo>
                <a:lnTo>
                  <a:pt x="3632" y="1072"/>
                </a:lnTo>
                <a:lnTo>
                  <a:pt x="3632" y="1072"/>
                </a:lnTo>
                <a:lnTo>
                  <a:pt x="3646" y="1064"/>
                </a:lnTo>
                <a:lnTo>
                  <a:pt x="3646" y="1064"/>
                </a:lnTo>
                <a:lnTo>
                  <a:pt x="3634" y="1062"/>
                </a:lnTo>
                <a:lnTo>
                  <a:pt x="3634" y="1062"/>
                </a:lnTo>
                <a:lnTo>
                  <a:pt x="3634" y="1058"/>
                </a:lnTo>
                <a:lnTo>
                  <a:pt x="3638" y="1056"/>
                </a:lnTo>
                <a:lnTo>
                  <a:pt x="3646" y="1054"/>
                </a:lnTo>
                <a:lnTo>
                  <a:pt x="3646" y="1054"/>
                </a:lnTo>
                <a:lnTo>
                  <a:pt x="3642" y="1048"/>
                </a:lnTo>
                <a:lnTo>
                  <a:pt x="3640" y="1046"/>
                </a:lnTo>
                <a:lnTo>
                  <a:pt x="3640" y="1042"/>
                </a:lnTo>
                <a:lnTo>
                  <a:pt x="3640" y="1042"/>
                </a:lnTo>
                <a:lnTo>
                  <a:pt x="3646" y="1040"/>
                </a:lnTo>
                <a:lnTo>
                  <a:pt x="3652" y="1038"/>
                </a:lnTo>
                <a:lnTo>
                  <a:pt x="3666" y="1034"/>
                </a:lnTo>
                <a:lnTo>
                  <a:pt x="3666" y="1034"/>
                </a:lnTo>
                <a:lnTo>
                  <a:pt x="3678" y="1034"/>
                </a:lnTo>
                <a:lnTo>
                  <a:pt x="3684" y="1034"/>
                </a:lnTo>
                <a:lnTo>
                  <a:pt x="3688" y="1036"/>
                </a:lnTo>
                <a:lnTo>
                  <a:pt x="3688" y="1036"/>
                </a:lnTo>
                <a:lnTo>
                  <a:pt x="3696" y="1036"/>
                </a:lnTo>
                <a:lnTo>
                  <a:pt x="3696" y="1036"/>
                </a:lnTo>
                <a:lnTo>
                  <a:pt x="3684" y="1026"/>
                </a:lnTo>
                <a:lnTo>
                  <a:pt x="3684" y="1026"/>
                </a:lnTo>
                <a:lnTo>
                  <a:pt x="3696" y="1018"/>
                </a:lnTo>
                <a:lnTo>
                  <a:pt x="3696" y="1018"/>
                </a:lnTo>
                <a:lnTo>
                  <a:pt x="3690" y="1014"/>
                </a:lnTo>
                <a:lnTo>
                  <a:pt x="3690" y="1014"/>
                </a:lnTo>
                <a:lnTo>
                  <a:pt x="3692" y="1008"/>
                </a:lnTo>
                <a:lnTo>
                  <a:pt x="3694" y="1004"/>
                </a:lnTo>
                <a:lnTo>
                  <a:pt x="3698" y="1002"/>
                </a:lnTo>
                <a:lnTo>
                  <a:pt x="3698" y="1002"/>
                </a:lnTo>
                <a:lnTo>
                  <a:pt x="3696" y="998"/>
                </a:lnTo>
                <a:lnTo>
                  <a:pt x="3696" y="998"/>
                </a:lnTo>
                <a:lnTo>
                  <a:pt x="3700" y="1000"/>
                </a:lnTo>
                <a:lnTo>
                  <a:pt x="3700" y="1000"/>
                </a:lnTo>
                <a:lnTo>
                  <a:pt x="3702" y="994"/>
                </a:lnTo>
                <a:lnTo>
                  <a:pt x="3702" y="994"/>
                </a:lnTo>
                <a:lnTo>
                  <a:pt x="3704" y="994"/>
                </a:lnTo>
                <a:lnTo>
                  <a:pt x="3704" y="994"/>
                </a:lnTo>
                <a:lnTo>
                  <a:pt x="3704" y="1002"/>
                </a:lnTo>
                <a:lnTo>
                  <a:pt x="3704" y="1002"/>
                </a:lnTo>
                <a:lnTo>
                  <a:pt x="3706" y="1006"/>
                </a:lnTo>
                <a:lnTo>
                  <a:pt x="3710" y="1008"/>
                </a:lnTo>
                <a:lnTo>
                  <a:pt x="3710" y="1008"/>
                </a:lnTo>
                <a:lnTo>
                  <a:pt x="3708" y="994"/>
                </a:lnTo>
                <a:lnTo>
                  <a:pt x="3708" y="994"/>
                </a:lnTo>
                <a:lnTo>
                  <a:pt x="3718" y="994"/>
                </a:lnTo>
                <a:lnTo>
                  <a:pt x="3722" y="996"/>
                </a:lnTo>
                <a:lnTo>
                  <a:pt x="3724" y="998"/>
                </a:lnTo>
                <a:lnTo>
                  <a:pt x="3724" y="998"/>
                </a:lnTo>
                <a:lnTo>
                  <a:pt x="3724" y="1000"/>
                </a:lnTo>
                <a:lnTo>
                  <a:pt x="3722" y="1002"/>
                </a:lnTo>
                <a:lnTo>
                  <a:pt x="3716" y="1004"/>
                </a:lnTo>
                <a:lnTo>
                  <a:pt x="3716" y="1004"/>
                </a:lnTo>
                <a:lnTo>
                  <a:pt x="3718" y="1008"/>
                </a:lnTo>
                <a:lnTo>
                  <a:pt x="3718" y="1008"/>
                </a:lnTo>
                <a:lnTo>
                  <a:pt x="3722" y="1006"/>
                </a:lnTo>
                <a:lnTo>
                  <a:pt x="3722" y="1006"/>
                </a:lnTo>
                <a:lnTo>
                  <a:pt x="3738" y="1004"/>
                </a:lnTo>
                <a:lnTo>
                  <a:pt x="3738" y="1004"/>
                </a:lnTo>
                <a:lnTo>
                  <a:pt x="3732" y="1000"/>
                </a:lnTo>
                <a:lnTo>
                  <a:pt x="3732" y="1000"/>
                </a:lnTo>
                <a:lnTo>
                  <a:pt x="3730" y="1000"/>
                </a:lnTo>
                <a:lnTo>
                  <a:pt x="3730" y="1000"/>
                </a:lnTo>
                <a:lnTo>
                  <a:pt x="3732" y="1000"/>
                </a:lnTo>
                <a:lnTo>
                  <a:pt x="3732" y="1000"/>
                </a:lnTo>
                <a:lnTo>
                  <a:pt x="3724" y="998"/>
                </a:lnTo>
                <a:lnTo>
                  <a:pt x="3724" y="998"/>
                </a:lnTo>
                <a:lnTo>
                  <a:pt x="3724" y="994"/>
                </a:lnTo>
                <a:lnTo>
                  <a:pt x="3720" y="992"/>
                </a:lnTo>
                <a:lnTo>
                  <a:pt x="3720" y="992"/>
                </a:lnTo>
                <a:lnTo>
                  <a:pt x="3716" y="990"/>
                </a:lnTo>
                <a:lnTo>
                  <a:pt x="3714" y="988"/>
                </a:lnTo>
                <a:lnTo>
                  <a:pt x="3714" y="982"/>
                </a:lnTo>
                <a:lnTo>
                  <a:pt x="3714" y="982"/>
                </a:lnTo>
                <a:lnTo>
                  <a:pt x="3716" y="980"/>
                </a:lnTo>
                <a:lnTo>
                  <a:pt x="3718" y="978"/>
                </a:lnTo>
                <a:lnTo>
                  <a:pt x="3726" y="978"/>
                </a:lnTo>
                <a:lnTo>
                  <a:pt x="3726" y="978"/>
                </a:lnTo>
                <a:lnTo>
                  <a:pt x="3734" y="980"/>
                </a:lnTo>
                <a:lnTo>
                  <a:pt x="3734" y="980"/>
                </a:lnTo>
                <a:lnTo>
                  <a:pt x="3738" y="980"/>
                </a:lnTo>
                <a:lnTo>
                  <a:pt x="3738" y="980"/>
                </a:lnTo>
                <a:lnTo>
                  <a:pt x="3744" y="982"/>
                </a:lnTo>
                <a:lnTo>
                  <a:pt x="3744" y="982"/>
                </a:lnTo>
                <a:lnTo>
                  <a:pt x="3744" y="988"/>
                </a:lnTo>
                <a:lnTo>
                  <a:pt x="3744" y="988"/>
                </a:lnTo>
                <a:lnTo>
                  <a:pt x="3748" y="992"/>
                </a:lnTo>
                <a:lnTo>
                  <a:pt x="3748" y="992"/>
                </a:lnTo>
                <a:lnTo>
                  <a:pt x="3744" y="988"/>
                </a:lnTo>
                <a:lnTo>
                  <a:pt x="3744" y="988"/>
                </a:lnTo>
                <a:lnTo>
                  <a:pt x="3746" y="1004"/>
                </a:lnTo>
                <a:lnTo>
                  <a:pt x="3746" y="1004"/>
                </a:lnTo>
                <a:lnTo>
                  <a:pt x="3756" y="1004"/>
                </a:lnTo>
                <a:lnTo>
                  <a:pt x="3756" y="1004"/>
                </a:lnTo>
                <a:lnTo>
                  <a:pt x="3758" y="994"/>
                </a:lnTo>
                <a:lnTo>
                  <a:pt x="3758" y="994"/>
                </a:lnTo>
                <a:lnTo>
                  <a:pt x="3756" y="994"/>
                </a:lnTo>
                <a:lnTo>
                  <a:pt x="3756" y="994"/>
                </a:lnTo>
                <a:lnTo>
                  <a:pt x="3758" y="994"/>
                </a:lnTo>
                <a:lnTo>
                  <a:pt x="3758" y="994"/>
                </a:lnTo>
                <a:lnTo>
                  <a:pt x="3762" y="982"/>
                </a:lnTo>
                <a:lnTo>
                  <a:pt x="3762" y="982"/>
                </a:lnTo>
                <a:lnTo>
                  <a:pt x="3764" y="980"/>
                </a:lnTo>
                <a:lnTo>
                  <a:pt x="3764" y="980"/>
                </a:lnTo>
                <a:lnTo>
                  <a:pt x="3768" y="980"/>
                </a:lnTo>
                <a:lnTo>
                  <a:pt x="3770" y="982"/>
                </a:lnTo>
                <a:lnTo>
                  <a:pt x="3772" y="986"/>
                </a:lnTo>
                <a:lnTo>
                  <a:pt x="3772" y="986"/>
                </a:lnTo>
                <a:lnTo>
                  <a:pt x="3780" y="990"/>
                </a:lnTo>
                <a:lnTo>
                  <a:pt x="3780" y="990"/>
                </a:lnTo>
                <a:lnTo>
                  <a:pt x="3780" y="988"/>
                </a:lnTo>
                <a:lnTo>
                  <a:pt x="3780" y="988"/>
                </a:lnTo>
                <a:lnTo>
                  <a:pt x="3780" y="990"/>
                </a:lnTo>
                <a:lnTo>
                  <a:pt x="3780" y="990"/>
                </a:lnTo>
                <a:lnTo>
                  <a:pt x="3784" y="990"/>
                </a:lnTo>
                <a:lnTo>
                  <a:pt x="3784" y="990"/>
                </a:lnTo>
                <a:lnTo>
                  <a:pt x="3790" y="992"/>
                </a:lnTo>
                <a:lnTo>
                  <a:pt x="3790" y="992"/>
                </a:lnTo>
                <a:lnTo>
                  <a:pt x="3792" y="982"/>
                </a:lnTo>
                <a:lnTo>
                  <a:pt x="3792" y="982"/>
                </a:lnTo>
                <a:lnTo>
                  <a:pt x="3796" y="978"/>
                </a:lnTo>
                <a:lnTo>
                  <a:pt x="3796" y="978"/>
                </a:lnTo>
                <a:lnTo>
                  <a:pt x="3792" y="974"/>
                </a:lnTo>
                <a:lnTo>
                  <a:pt x="3792" y="974"/>
                </a:lnTo>
                <a:lnTo>
                  <a:pt x="3794" y="968"/>
                </a:lnTo>
                <a:lnTo>
                  <a:pt x="3796" y="968"/>
                </a:lnTo>
                <a:lnTo>
                  <a:pt x="3796" y="968"/>
                </a:lnTo>
                <a:lnTo>
                  <a:pt x="3800" y="972"/>
                </a:lnTo>
                <a:lnTo>
                  <a:pt x="3800" y="972"/>
                </a:lnTo>
                <a:lnTo>
                  <a:pt x="3802" y="986"/>
                </a:lnTo>
                <a:lnTo>
                  <a:pt x="3802" y="986"/>
                </a:lnTo>
                <a:lnTo>
                  <a:pt x="3806" y="986"/>
                </a:lnTo>
                <a:lnTo>
                  <a:pt x="3808" y="986"/>
                </a:lnTo>
                <a:lnTo>
                  <a:pt x="3808" y="986"/>
                </a:lnTo>
                <a:lnTo>
                  <a:pt x="3814" y="986"/>
                </a:lnTo>
                <a:lnTo>
                  <a:pt x="3814" y="986"/>
                </a:lnTo>
                <a:lnTo>
                  <a:pt x="3812" y="982"/>
                </a:lnTo>
                <a:lnTo>
                  <a:pt x="3812" y="982"/>
                </a:lnTo>
                <a:lnTo>
                  <a:pt x="3810" y="982"/>
                </a:lnTo>
                <a:lnTo>
                  <a:pt x="3810" y="982"/>
                </a:lnTo>
                <a:lnTo>
                  <a:pt x="3812" y="982"/>
                </a:lnTo>
                <a:lnTo>
                  <a:pt x="3812" y="982"/>
                </a:lnTo>
                <a:lnTo>
                  <a:pt x="3812" y="980"/>
                </a:lnTo>
                <a:lnTo>
                  <a:pt x="3812" y="980"/>
                </a:lnTo>
                <a:lnTo>
                  <a:pt x="3816" y="978"/>
                </a:lnTo>
                <a:lnTo>
                  <a:pt x="3816" y="978"/>
                </a:lnTo>
                <a:lnTo>
                  <a:pt x="3822" y="978"/>
                </a:lnTo>
                <a:lnTo>
                  <a:pt x="3826" y="978"/>
                </a:lnTo>
                <a:lnTo>
                  <a:pt x="3828" y="980"/>
                </a:lnTo>
                <a:lnTo>
                  <a:pt x="3828" y="980"/>
                </a:lnTo>
                <a:lnTo>
                  <a:pt x="3822" y="982"/>
                </a:lnTo>
                <a:lnTo>
                  <a:pt x="3822" y="982"/>
                </a:lnTo>
                <a:lnTo>
                  <a:pt x="3820" y="982"/>
                </a:lnTo>
                <a:lnTo>
                  <a:pt x="3818" y="982"/>
                </a:lnTo>
                <a:lnTo>
                  <a:pt x="3818" y="982"/>
                </a:lnTo>
                <a:lnTo>
                  <a:pt x="3820" y="986"/>
                </a:lnTo>
                <a:lnTo>
                  <a:pt x="3820" y="986"/>
                </a:lnTo>
                <a:lnTo>
                  <a:pt x="3824" y="984"/>
                </a:lnTo>
                <a:lnTo>
                  <a:pt x="3828" y="980"/>
                </a:lnTo>
                <a:lnTo>
                  <a:pt x="3828" y="980"/>
                </a:lnTo>
                <a:lnTo>
                  <a:pt x="3832" y="980"/>
                </a:lnTo>
                <a:lnTo>
                  <a:pt x="3832" y="980"/>
                </a:lnTo>
                <a:lnTo>
                  <a:pt x="3836" y="980"/>
                </a:lnTo>
                <a:lnTo>
                  <a:pt x="3836" y="980"/>
                </a:lnTo>
                <a:lnTo>
                  <a:pt x="3840" y="978"/>
                </a:lnTo>
                <a:lnTo>
                  <a:pt x="3840" y="978"/>
                </a:lnTo>
                <a:lnTo>
                  <a:pt x="3842" y="976"/>
                </a:lnTo>
                <a:lnTo>
                  <a:pt x="3840" y="972"/>
                </a:lnTo>
                <a:lnTo>
                  <a:pt x="3838" y="970"/>
                </a:lnTo>
                <a:lnTo>
                  <a:pt x="3836" y="968"/>
                </a:lnTo>
                <a:lnTo>
                  <a:pt x="3836" y="968"/>
                </a:lnTo>
                <a:lnTo>
                  <a:pt x="3854" y="968"/>
                </a:lnTo>
                <a:lnTo>
                  <a:pt x="3854" y="968"/>
                </a:lnTo>
                <a:lnTo>
                  <a:pt x="3862" y="968"/>
                </a:lnTo>
                <a:lnTo>
                  <a:pt x="3864" y="970"/>
                </a:lnTo>
                <a:lnTo>
                  <a:pt x="3868" y="974"/>
                </a:lnTo>
                <a:lnTo>
                  <a:pt x="3868" y="974"/>
                </a:lnTo>
                <a:lnTo>
                  <a:pt x="3860" y="980"/>
                </a:lnTo>
                <a:lnTo>
                  <a:pt x="3860" y="980"/>
                </a:lnTo>
                <a:lnTo>
                  <a:pt x="3872" y="986"/>
                </a:lnTo>
                <a:lnTo>
                  <a:pt x="3880" y="994"/>
                </a:lnTo>
                <a:lnTo>
                  <a:pt x="3880" y="994"/>
                </a:lnTo>
                <a:lnTo>
                  <a:pt x="3884" y="994"/>
                </a:lnTo>
                <a:lnTo>
                  <a:pt x="3884" y="994"/>
                </a:lnTo>
                <a:lnTo>
                  <a:pt x="3884" y="996"/>
                </a:lnTo>
                <a:lnTo>
                  <a:pt x="3884" y="996"/>
                </a:lnTo>
                <a:lnTo>
                  <a:pt x="3884" y="996"/>
                </a:lnTo>
                <a:lnTo>
                  <a:pt x="3882" y="996"/>
                </a:lnTo>
                <a:lnTo>
                  <a:pt x="3882" y="996"/>
                </a:lnTo>
                <a:lnTo>
                  <a:pt x="3884" y="1004"/>
                </a:lnTo>
                <a:lnTo>
                  <a:pt x="3884" y="1004"/>
                </a:lnTo>
                <a:lnTo>
                  <a:pt x="3890" y="1004"/>
                </a:lnTo>
                <a:lnTo>
                  <a:pt x="3892" y="1002"/>
                </a:lnTo>
                <a:lnTo>
                  <a:pt x="3896" y="998"/>
                </a:lnTo>
                <a:lnTo>
                  <a:pt x="3896" y="998"/>
                </a:lnTo>
                <a:lnTo>
                  <a:pt x="3896" y="1024"/>
                </a:lnTo>
                <a:lnTo>
                  <a:pt x="3896" y="1024"/>
                </a:lnTo>
                <a:lnTo>
                  <a:pt x="3888" y="1022"/>
                </a:lnTo>
                <a:lnTo>
                  <a:pt x="3878" y="1022"/>
                </a:lnTo>
                <a:lnTo>
                  <a:pt x="3878" y="1022"/>
                </a:lnTo>
                <a:lnTo>
                  <a:pt x="3862" y="1024"/>
                </a:lnTo>
                <a:lnTo>
                  <a:pt x="3856" y="1024"/>
                </a:lnTo>
                <a:lnTo>
                  <a:pt x="3848" y="1022"/>
                </a:lnTo>
                <a:lnTo>
                  <a:pt x="3848" y="1022"/>
                </a:lnTo>
                <a:lnTo>
                  <a:pt x="3840" y="1020"/>
                </a:lnTo>
                <a:lnTo>
                  <a:pt x="3832" y="1020"/>
                </a:lnTo>
                <a:lnTo>
                  <a:pt x="3818" y="1024"/>
                </a:lnTo>
                <a:lnTo>
                  <a:pt x="3818" y="1024"/>
                </a:lnTo>
                <a:lnTo>
                  <a:pt x="3816" y="1024"/>
                </a:lnTo>
                <a:lnTo>
                  <a:pt x="3816" y="1024"/>
                </a:lnTo>
                <a:lnTo>
                  <a:pt x="3816" y="1016"/>
                </a:lnTo>
                <a:lnTo>
                  <a:pt x="3816" y="1016"/>
                </a:lnTo>
                <a:lnTo>
                  <a:pt x="3810" y="1018"/>
                </a:lnTo>
                <a:lnTo>
                  <a:pt x="3810" y="1018"/>
                </a:lnTo>
                <a:lnTo>
                  <a:pt x="3814" y="1012"/>
                </a:lnTo>
                <a:lnTo>
                  <a:pt x="3814" y="1012"/>
                </a:lnTo>
                <a:lnTo>
                  <a:pt x="3814" y="1012"/>
                </a:lnTo>
                <a:lnTo>
                  <a:pt x="3814" y="1012"/>
                </a:lnTo>
                <a:lnTo>
                  <a:pt x="3816" y="1010"/>
                </a:lnTo>
                <a:lnTo>
                  <a:pt x="3816" y="1010"/>
                </a:lnTo>
                <a:lnTo>
                  <a:pt x="3814" y="990"/>
                </a:lnTo>
                <a:lnTo>
                  <a:pt x="3814" y="990"/>
                </a:lnTo>
                <a:lnTo>
                  <a:pt x="3810" y="992"/>
                </a:lnTo>
                <a:lnTo>
                  <a:pt x="3804" y="994"/>
                </a:lnTo>
                <a:lnTo>
                  <a:pt x="3804" y="994"/>
                </a:lnTo>
                <a:lnTo>
                  <a:pt x="3802" y="994"/>
                </a:lnTo>
                <a:lnTo>
                  <a:pt x="3802" y="994"/>
                </a:lnTo>
                <a:lnTo>
                  <a:pt x="3804" y="1004"/>
                </a:lnTo>
                <a:lnTo>
                  <a:pt x="3804" y="1004"/>
                </a:lnTo>
                <a:lnTo>
                  <a:pt x="3814" y="1012"/>
                </a:lnTo>
                <a:lnTo>
                  <a:pt x="3814" y="1012"/>
                </a:lnTo>
                <a:lnTo>
                  <a:pt x="3804" y="1012"/>
                </a:lnTo>
                <a:lnTo>
                  <a:pt x="3804" y="1012"/>
                </a:lnTo>
                <a:lnTo>
                  <a:pt x="3808" y="1030"/>
                </a:lnTo>
                <a:lnTo>
                  <a:pt x="3812" y="1034"/>
                </a:lnTo>
                <a:lnTo>
                  <a:pt x="3814" y="1038"/>
                </a:lnTo>
                <a:lnTo>
                  <a:pt x="3814" y="1038"/>
                </a:lnTo>
                <a:lnTo>
                  <a:pt x="3816" y="1030"/>
                </a:lnTo>
                <a:lnTo>
                  <a:pt x="3816" y="1030"/>
                </a:lnTo>
                <a:lnTo>
                  <a:pt x="3822" y="1030"/>
                </a:lnTo>
                <a:lnTo>
                  <a:pt x="3822" y="1030"/>
                </a:lnTo>
                <a:lnTo>
                  <a:pt x="3828" y="1030"/>
                </a:lnTo>
                <a:lnTo>
                  <a:pt x="3832" y="1030"/>
                </a:lnTo>
                <a:lnTo>
                  <a:pt x="3832" y="1030"/>
                </a:lnTo>
                <a:lnTo>
                  <a:pt x="3838" y="1036"/>
                </a:lnTo>
                <a:lnTo>
                  <a:pt x="3848" y="1038"/>
                </a:lnTo>
                <a:lnTo>
                  <a:pt x="3864" y="1036"/>
                </a:lnTo>
                <a:lnTo>
                  <a:pt x="3864" y="1036"/>
                </a:lnTo>
                <a:lnTo>
                  <a:pt x="3874" y="1036"/>
                </a:lnTo>
                <a:lnTo>
                  <a:pt x="3884" y="1038"/>
                </a:lnTo>
                <a:lnTo>
                  <a:pt x="3884" y="1038"/>
                </a:lnTo>
                <a:lnTo>
                  <a:pt x="3886" y="1044"/>
                </a:lnTo>
                <a:lnTo>
                  <a:pt x="3888" y="1048"/>
                </a:lnTo>
                <a:lnTo>
                  <a:pt x="3894" y="1052"/>
                </a:lnTo>
                <a:lnTo>
                  <a:pt x="3902" y="1054"/>
                </a:lnTo>
                <a:lnTo>
                  <a:pt x="3902" y="1054"/>
                </a:lnTo>
                <a:lnTo>
                  <a:pt x="3896" y="1042"/>
                </a:lnTo>
                <a:lnTo>
                  <a:pt x="3896" y="1042"/>
                </a:lnTo>
                <a:lnTo>
                  <a:pt x="3932" y="1040"/>
                </a:lnTo>
                <a:lnTo>
                  <a:pt x="3932" y="1040"/>
                </a:lnTo>
                <a:lnTo>
                  <a:pt x="3940" y="1040"/>
                </a:lnTo>
                <a:lnTo>
                  <a:pt x="3948" y="1034"/>
                </a:lnTo>
                <a:lnTo>
                  <a:pt x="3948" y="1034"/>
                </a:lnTo>
                <a:lnTo>
                  <a:pt x="3948" y="1034"/>
                </a:lnTo>
                <a:lnTo>
                  <a:pt x="3936" y="1028"/>
                </a:lnTo>
                <a:lnTo>
                  <a:pt x="3928" y="1028"/>
                </a:lnTo>
                <a:lnTo>
                  <a:pt x="3920" y="1028"/>
                </a:lnTo>
                <a:lnTo>
                  <a:pt x="3920" y="1028"/>
                </a:lnTo>
                <a:lnTo>
                  <a:pt x="3912" y="1028"/>
                </a:lnTo>
                <a:lnTo>
                  <a:pt x="3904" y="1026"/>
                </a:lnTo>
                <a:lnTo>
                  <a:pt x="3904" y="1026"/>
                </a:lnTo>
                <a:lnTo>
                  <a:pt x="3898" y="1024"/>
                </a:lnTo>
                <a:lnTo>
                  <a:pt x="3898" y="1024"/>
                </a:lnTo>
                <a:lnTo>
                  <a:pt x="3902" y="1020"/>
                </a:lnTo>
                <a:lnTo>
                  <a:pt x="3902" y="1020"/>
                </a:lnTo>
                <a:lnTo>
                  <a:pt x="3914" y="1018"/>
                </a:lnTo>
                <a:lnTo>
                  <a:pt x="3914" y="1018"/>
                </a:lnTo>
                <a:lnTo>
                  <a:pt x="3926" y="1012"/>
                </a:lnTo>
                <a:lnTo>
                  <a:pt x="3926" y="1012"/>
                </a:lnTo>
                <a:lnTo>
                  <a:pt x="3924" y="1002"/>
                </a:lnTo>
                <a:lnTo>
                  <a:pt x="3924" y="1002"/>
                </a:lnTo>
                <a:lnTo>
                  <a:pt x="3922" y="1002"/>
                </a:lnTo>
                <a:lnTo>
                  <a:pt x="3916" y="1000"/>
                </a:lnTo>
                <a:lnTo>
                  <a:pt x="3914" y="998"/>
                </a:lnTo>
                <a:lnTo>
                  <a:pt x="3914" y="994"/>
                </a:lnTo>
                <a:lnTo>
                  <a:pt x="3914" y="994"/>
                </a:lnTo>
                <a:lnTo>
                  <a:pt x="3922" y="992"/>
                </a:lnTo>
                <a:lnTo>
                  <a:pt x="3924" y="990"/>
                </a:lnTo>
                <a:lnTo>
                  <a:pt x="3924" y="986"/>
                </a:lnTo>
                <a:lnTo>
                  <a:pt x="3924" y="986"/>
                </a:lnTo>
                <a:lnTo>
                  <a:pt x="3914" y="982"/>
                </a:lnTo>
                <a:lnTo>
                  <a:pt x="3914" y="982"/>
                </a:lnTo>
                <a:lnTo>
                  <a:pt x="3924" y="976"/>
                </a:lnTo>
                <a:lnTo>
                  <a:pt x="3934" y="976"/>
                </a:lnTo>
                <a:lnTo>
                  <a:pt x="3934" y="976"/>
                </a:lnTo>
                <a:lnTo>
                  <a:pt x="3942" y="964"/>
                </a:lnTo>
                <a:lnTo>
                  <a:pt x="3942" y="964"/>
                </a:lnTo>
                <a:lnTo>
                  <a:pt x="3926" y="958"/>
                </a:lnTo>
                <a:lnTo>
                  <a:pt x="3926" y="958"/>
                </a:lnTo>
                <a:lnTo>
                  <a:pt x="3924" y="956"/>
                </a:lnTo>
                <a:lnTo>
                  <a:pt x="3924" y="954"/>
                </a:lnTo>
                <a:lnTo>
                  <a:pt x="3924" y="954"/>
                </a:lnTo>
                <a:lnTo>
                  <a:pt x="3930" y="952"/>
                </a:lnTo>
                <a:lnTo>
                  <a:pt x="3930" y="952"/>
                </a:lnTo>
                <a:lnTo>
                  <a:pt x="3970" y="950"/>
                </a:lnTo>
                <a:lnTo>
                  <a:pt x="3970" y="950"/>
                </a:lnTo>
                <a:lnTo>
                  <a:pt x="3966" y="946"/>
                </a:lnTo>
                <a:lnTo>
                  <a:pt x="3966" y="942"/>
                </a:lnTo>
                <a:lnTo>
                  <a:pt x="3966" y="936"/>
                </a:lnTo>
                <a:lnTo>
                  <a:pt x="3964" y="932"/>
                </a:lnTo>
                <a:lnTo>
                  <a:pt x="3964" y="932"/>
                </a:lnTo>
                <a:lnTo>
                  <a:pt x="3970" y="930"/>
                </a:lnTo>
                <a:lnTo>
                  <a:pt x="3976" y="928"/>
                </a:lnTo>
                <a:lnTo>
                  <a:pt x="3988" y="930"/>
                </a:lnTo>
                <a:lnTo>
                  <a:pt x="3988" y="930"/>
                </a:lnTo>
                <a:lnTo>
                  <a:pt x="4006" y="934"/>
                </a:lnTo>
                <a:lnTo>
                  <a:pt x="4006" y="934"/>
                </a:lnTo>
                <a:lnTo>
                  <a:pt x="4014" y="936"/>
                </a:lnTo>
                <a:lnTo>
                  <a:pt x="4024" y="934"/>
                </a:lnTo>
                <a:lnTo>
                  <a:pt x="4024" y="934"/>
                </a:lnTo>
                <a:lnTo>
                  <a:pt x="4018" y="922"/>
                </a:lnTo>
                <a:lnTo>
                  <a:pt x="4018" y="922"/>
                </a:lnTo>
                <a:lnTo>
                  <a:pt x="4022" y="922"/>
                </a:lnTo>
                <a:lnTo>
                  <a:pt x="4022" y="922"/>
                </a:lnTo>
                <a:lnTo>
                  <a:pt x="4034" y="920"/>
                </a:lnTo>
                <a:lnTo>
                  <a:pt x="4044" y="918"/>
                </a:lnTo>
                <a:lnTo>
                  <a:pt x="4044" y="918"/>
                </a:lnTo>
                <a:lnTo>
                  <a:pt x="4056" y="914"/>
                </a:lnTo>
                <a:lnTo>
                  <a:pt x="4066" y="914"/>
                </a:lnTo>
                <a:lnTo>
                  <a:pt x="4066" y="914"/>
                </a:lnTo>
                <a:lnTo>
                  <a:pt x="4076" y="914"/>
                </a:lnTo>
                <a:lnTo>
                  <a:pt x="4084" y="914"/>
                </a:lnTo>
                <a:lnTo>
                  <a:pt x="4094" y="914"/>
                </a:lnTo>
                <a:lnTo>
                  <a:pt x="4102" y="918"/>
                </a:lnTo>
                <a:lnTo>
                  <a:pt x="4102" y="918"/>
                </a:lnTo>
                <a:lnTo>
                  <a:pt x="4106" y="918"/>
                </a:lnTo>
                <a:lnTo>
                  <a:pt x="4106" y="918"/>
                </a:lnTo>
                <a:lnTo>
                  <a:pt x="4112" y="916"/>
                </a:lnTo>
                <a:lnTo>
                  <a:pt x="4118" y="918"/>
                </a:lnTo>
                <a:lnTo>
                  <a:pt x="4126" y="922"/>
                </a:lnTo>
                <a:lnTo>
                  <a:pt x="4126" y="922"/>
                </a:lnTo>
                <a:lnTo>
                  <a:pt x="4126" y="924"/>
                </a:lnTo>
                <a:lnTo>
                  <a:pt x="4126" y="924"/>
                </a:lnTo>
                <a:lnTo>
                  <a:pt x="4126" y="928"/>
                </a:lnTo>
                <a:lnTo>
                  <a:pt x="4126" y="928"/>
                </a:lnTo>
                <a:lnTo>
                  <a:pt x="4134" y="930"/>
                </a:lnTo>
                <a:lnTo>
                  <a:pt x="4134" y="930"/>
                </a:lnTo>
                <a:lnTo>
                  <a:pt x="4146" y="926"/>
                </a:lnTo>
                <a:lnTo>
                  <a:pt x="4146" y="926"/>
                </a:lnTo>
                <a:lnTo>
                  <a:pt x="4158" y="926"/>
                </a:lnTo>
                <a:lnTo>
                  <a:pt x="4164" y="926"/>
                </a:lnTo>
                <a:lnTo>
                  <a:pt x="4170" y="928"/>
                </a:lnTo>
                <a:lnTo>
                  <a:pt x="4170" y="928"/>
                </a:lnTo>
                <a:lnTo>
                  <a:pt x="4180" y="932"/>
                </a:lnTo>
                <a:lnTo>
                  <a:pt x="4190" y="934"/>
                </a:lnTo>
                <a:lnTo>
                  <a:pt x="4190" y="934"/>
                </a:lnTo>
                <a:lnTo>
                  <a:pt x="4214" y="934"/>
                </a:lnTo>
                <a:lnTo>
                  <a:pt x="4214" y="934"/>
                </a:lnTo>
                <a:lnTo>
                  <a:pt x="4226" y="936"/>
                </a:lnTo>
                <a:lnTo>
                  <a:pt x="4230" y="938"/>
                </a:lnTo>
                <a:lnTo>
                  <a:pt x="4234" y="942"/>
                </a:lnTo>
                <a:lnTo>
                  <a:pt x="4234" y="942"/>
                </a:lnTo>
                <a:lnTo>
                  <a:pt x="4242" y="950"/>
                </a:lnTo>
                <a:lnTo>
                  <a:pt x="4242" y="950"/>
                </a:lnTo>
                <a:lnTo>
                  <a:pt x="4258" y="942"/>
                </a:lnTo>
                <a:lnTo>
                  <a:pt x="4258" y="942"/>
                </a:lnTo>
                <a:lnTo>
                  <a:pt x="4258" y="946"/>
                </a:lnTo>
                <a:lnTo>
                  <a:pt x="4258" y="946"/>
                </a:lnTo>
                <a:lnTo>
                  <a:pt x="4262" y="948"/>
                </a:lnTo>
                <a:lnTo>
                  <a:pt x="4266" y="950"/>
                </a:lnTo>
                <a:lnTo>
                  <a:pt x="4270" y="956"/>
                </a:lnTo>
                <a:lnTo>
                  <a:pt x="4270" y="956"/>
                </a:lnTo>
                <a:lnTo>
                  <a:pt x="4278" y="956"/>
                </a:lnTo>
                <a:lnTo>
                  <a:pt x="4282" y="954"/>
                </a:lnTo>
                <a:lnTo>
                  <a:pt x="4286" y="952"/>
                </a:lnTo>
                <a:lnTo>
                  <a:pt x="4286" y="952"/>
                </a:lnTo>
                <a:lnTo>
                  <a:pt x="4292" y="950"/>
                </a:lnTo>
                <a:lnTo>
                  <a:pt x="4292" y="950"/>
                </a:lnTo>
                <a:lnTo>
                  <a:pt x="4296" y="956"/>
                </a:lnTo>
                <a:lnTo>
                  <a:pt x="4300" y="960"/>
                </a:lnTo>
                <a:lnTo>
                  <a:pt x="4306" y="966"/>
                </a:lnTo>
                <a:lnTo>
                  <a:pt x="4314" y="968"/>
                </a:lnTo>
                <a:lnTo>
                  <a:pt x="4314" y="968"/>
                </a:lnTo>
                <a:lnTo>
                  <a:pt x="4306" y="978"/>
                </a:lnTo>
                <a:lnTo>
                  <a:pt x="4306" y="978"/>
                </a:lnTo>
                <a:lnTo>
                  <a:pt x="4320" y="980"/>
                </a:lnTo>
                <a:lnTo>
                  <a:pt x="4320" y="980"/>
                </a:lnTo>
                <a:lnTo>
                  <a:pt x="4328" y="982"/>
                </a:lnTo>
                <a:lnTo>
                  <a:pt x="4330" y="984"/>
                </a:lnTo>
                <a:lnTo>
                  <a:pt x="4332" y="986"/>
                </a:lnTo>
                <a:lnTo>
                  <a:pt x="4332" y="986"/>
                </a:lnTo>
                <a:lnTo>
                  <a:pt x="4336" y="998"/>
                </a:lnTo>
                <a:lnTo>
                  <a:pt x="4336" y="998"/>
                </a:lnTo>
                <a:lnTo>
                  <a:pt x="4328" y="1004"/>
                </a:lnTo>
                <a:lnTo>
                  <a:pt x="4328" y="1004"/>
                </a:lnTo>
                <a:lnTo>
                  <a:pt x="4334" y="1006"/>
                </a:lnTo>
                <a:lnTo>
                  <a:pt x="4334" y="1006"/>
                </a:lnTo>
                <a:lnTo>
                  <a:pt x="4334" y="1012"/>
                </a:lnTo>
                <a:lnTo>
                  <a:pt x="4338" y="1014"/>
                </a:lnTo>
                <a:lnTo>
                  <a:pt x="4348" y="1018"/>
                </a:lnTo>
                <a:lnTo>
                  <a:pt x="4348" y="1018"/>
                </a:lnTo>
                <a:lnTo>
                  <a:pt x="4354" y="1020"/>
                </a:lnTo>
                <a:lnTo>
                  <a:pt x="4356" y="1024"/>
                </a:lnTo>
                <a:lnTo>
                  <a:pt x="4358" y="1028"/>
                </a:lnTo>
                <a:lnTo>
                  <a:pt x="4358" y="1032"/>
                </a:lnTo>
                <a:lnTo>
                  <a:pt x="4358" y="1032"/>
                </a:lnTo>
                <a:lnTo>
                  <a:pt x="4360" y="1034"/>
                </a:lnTo>
                <a:lnTo>
                  <a:pt x="4362" y="1036"/>
                </a:lnTo>
                <a:lnTo>
                  <a:pt x="4362" y="1036"/>
                </a:lnTo>
                <a:lnTo>
                  <a:pt x="4364" y="1028"/>
                </a:lnTo>
                <a:lnTo>
                  <a:pt x="4368" y="1022"/>
                </a:lnTo>
                <a:lnTo>
                  <a:pt x="4368" y="1022"/>
                </a:lnTo>
                <a:lnTo>
                  <a:pt x="4374" y="1016"/>
                </a:lnTo>
                <a:lnTo>
                  <a:pt x="4382" y="1010"/>
                </a:lnTo>
                <a:lnTo>
                  <a:pt x="4382" y="1010"/>
                </a:lnTo>
                <a:lnTo>
                  <a:pt x="4374" y="1004"/>
                </a:lnTo>
                <a:lnTo>
                  <a:pt x="4372" y="1000"/>
                </a:lnTo>
                <a:lnTo>
                  <a:pt x="4372" y="996"/>
                </a:lnTo>
                <a:lnTo>
                  <a:pt x="4372" y="996"/>
                </a:lnTo>
                <a:lnTo>
                  <a:pt x="4370" y="994"/>
                </a:lnTo>
                <a:lnTo>
                  <a:pt x="4368" y="992"/>
                </a:lnTo>
                <a:lnTo>
                  <a:pt x="4372" y="988"/>
                </a:lnTo>
                <a:lnTo>
                  <a:pt x="4372" y="988"/>
                </a:lnTo>
                <a:lnTo>
                  <a:pt x="4370" y="986"/>
                </a:lnTo>
                <a:lnTo>
                  <a:pt x="4370" y="982"/>
                </a:lnTo>
                <a:lnTo>
                  <a:pt x="4370" y="978"/>
                </a:lnTo>
                <a:lnTo>
                  <a:pt x="4368" y="976"/>
                </a:lnTo>
                <a:lnTo>
                  <a:pt x="4368" y="976"/>
                </a:lnTo>
                <a:lnTo>
                  <a:pt x="4382" y="974"/>
                </a:lnTo>
                <a:lnTo>
                  <a:pt x="4382" y="974"/>
                </a:lnTo>
                <a:lnTo>
                  <a:pt x="4380" y="970"/>
                </a:lnTo>
                <a:lnTo>
                  <a:pt x="4380" y="968"/>
                </a:lnTo>
                <a:lnTo>
                  <a:pt x="4382" y="966"/>
                </a:lnTo>
                <a:lnTo>
                  <a:pt x="4386" y="964"/>
                </a:lnTo>
                <a:lnTo>
                  <a:pt x="4386" y="964"/>
                </a:lnTo>
                <a:lnTo>
                  <a:pt x="4388" y="962"/>
                </a:lnTo>
                <a:lnTo>
                  <a:pt x="4386" y="960"/>
                </a:lnTo>
                <a:lnTo>
                  <a:pt x="4382" y="958"/>
                </a:lnTo>
                <a:lnTo>
                  <a:pt x="4382" y="958"/>
                </a:lnTo>
                <a:lnTo>
                  <a:pt x="4378" y="956"/>
                </a:lnTo>
                <a:lnTo>
                  <a:pt x="4376" y="952"/>
                </a:lnTo>
                <a:lnTo>
                  <a:pt x="4378" y="950"/>
                </a:lnTo>
                <a:lnTo>
                  <a:pt x="4382" y="946"/>
                </a:lnTo>
                <a:lnTo>
                  <a:pt x="4382" y="946"/>
                </a:lnTo>
                <a:lnTo>
                  <a:pt x="4384" y="942"/>
                </a:lnTo>
                <a:lnTo>
                  <a:pt x="4384" y="942"/>
                </a:lnTo>
                <a:lnTo>
                  <a:pt x="4372" y="940"/>
                </a:lnTo>
                <a:lnTo>
                  <a:pt x="4372" y="940"/>
                </a:lnTo>
                <a:lnTo>
                  <a:pt x="4366" y="940"/>
                </a:lnTo>
                <a:lnTo>
                  <a:pt x="4364" y="938"/>
                </a:lnTo>
                <a:lnTo>
                  <a:pt x="4364" y="938"/>
                </a:lnTo>
                <a:lnTo>
                  <a:pt x="4362" y="934"/>
                </a:lnTo>
                <a:lnTo>
                  <a:pt x="4360" y="932"/>
                </a:lnTo>
                <a:lnTo>
                  <a:pt x="4352" y="926"/>
                </a:lnTo>
                <a:lnTo>
                  <a:pt x="4352" y="926"/>
                </a:lnTo>
                <a:lnTo>
                  <a:pt x="4348" y="920"/>
                </a:lnTo>
                <a:lnTo>
                  <a:pt x="4348" y="920"/>
                </a:lnTo>
                <a:lnTo>
                  <a:pt x="4354" y="922"/>
                </a:lnTo>
                <a:lnTo>
                  <a:pt x="4354" y="922"/>
                </a:lnTo>
                <a:lnTo>
                  <a:pt x="4360" y="924"/>
                </a:lnTo>
                <a:lnTo>
                  <a:pt x="4364" y="924"/>
                </a:lnTo>
                <a:lnTo>
                  <a:pt x="4374" y="922"/>
                </a:lnTo>
                <a:lnTo>
                  <a:pt x="4374" y="922"/>
                </a:lnTo>
                <a:lnTo>
                  <a:pt x="4380" y="916"/>
                </a:lnTo>
                <a:lnTo>
                  <a:pt x="4380" y="916"/>
                </a:lnTo>
                <a:lnTo>
                  <a:pt x="4386" y="914"/>
                </a:lnTo>
                <a:lnTo>
                  <a:pt x="4388" y="910"/>
                </a:lnTo>
                <a:lnTo>
                  <a:pt x="4388" y="908"/>
                </a:lnTo>
                <a:lnTo>
                  <a:pt x="4386" y="904"/>
                </a:lnTo>
                <a:lnTo>
                  <a:pt x="4386" y="904"/>
                </a:lnTo>
                <a:lnTo>
                  <a:pt x="4388" y="900"/>
                </a:lnTo>
                <a:lnTo>
                  <a:pt x="4388" y="896"/>
                </a:lnTo>
                <a:lnTo>
                  <a:pt x="4386" y="894"/>
                </a:lnTo>
                <a:lnTo>
                  <a:pt x="4380" y="892"/>
                </a:lnTo>
                <a:lnTo>
                  <a:pt x="4380" y="892"/>
                </a:lnTo>
                <a:lnTo>
                  <a:pt x="4368" y="888"/>
                </a:lnTo>
                <a:lnTo>
                  <a:pt x="4368" y="888"/>
                </a:lnTo>
                <a:lnTo>
                  <a:pt x="4362" y="886"/>
                </a:lnTo>
                <a:lnTo>
                  <a:pt x="4364" y="884"/>
                </a:lnTo>
                <a:lnTo>
                  <a:pt x="4366" y="880"/>
                </a:lnTo>
                <a:lnTo>
                  <a:pt x="4366" y="880"/>
                </a:lnTo>
                <a:lnTo>
                  <a:pt x="4370" y="876"/>
                </a:lnTo>
                <a:lnTo>
                  <a:pt x="4378" y="872"/>
                </a:lnTo>
                <a:lnTo>
                  <a:pt x="4378" y="872"/>
                </a:lnTo>
                <a:lnTo>
                  <a:pt x="4382" y="870"/>
                </a:lnTo>
                <a:lnTo>
                  <a:pt x="4386" y="868"/>
                </a:lnTo>
                <a:lnTo>
                  <a:pt x="4386" y="868"/>
                </a:lnTo>
                <a:lnTo>
                  <a:pt x="4380" y="862"/>
                </a:lnTo>
                <a:lnTo>
                  <a:pt x="4380" y="862"/>
                </a:lnTo>
                <a:lnTo>
                  <a:pt x="4386" y="862"/>
                </a:lnTo>
                <a:lnTo>
                  <a:pt x="4392" y="864"/>
                </a:lnTo>
                <a:lnTo>
                  <a:pt x="4396" y="868"/>
                </a:lnTo>
                <a:lnTo>
                  <a:pt x="4402" y="870"/>
                </a:lnTo>
                <a:lnTo>
                  <a:pt x="4402" y="870"/>
                </a:lnTo>
                <a:lnTo>
                  <a:pt x="4418" y="882"/>
                </a:lnTo>
                <a:lnTo>
                  <a:pt x="4418" y="882"/>
                </a:lnTo>
                <a:lnTo>
                  <a:pt x="4444" y="880"/>
                </a:lnTo>
                <a:lnTo>
                  <a:pt x="4444" y="880"/>
                </a:lnTo>
                <a:lnTo>
                  <a:pt x="4450" y="884"/>
                </a:lnTo>
                <a:lnTo>
                  <a:pt x="4456" y="884"/>
                </a:lnTo>
                <a:lnTo>
                  <a:pt x="4458" y="884"/>
                </a:lnTo>
                <a:lnTo>
                  <a:pt x="4460" y="880"/>
                </a:lnTo>
                <a:lnTo>
                  <a:pt x="4460" y="880"/>
                </a:lnTo>
                <a:lnTo>
                  <a:pt x="4436" y="872"/>
                </a:lnTo>
                <a:lnTo>
                  <a:pt x="4436" y="872"/>
                </a:lnTo>
                <a:lnTo>
                  <a:pt x="4434" y="870"/>
                </a:lnTo>
                <a:lnTo>
                  <a:pt x="4436" y="868"/>
                </a:lnTo>
                <a:lnTo>
                  <a:pt x="4438" y="864"/>
                </a:lnTo>
                <a:lnTo>
                  <a:pt x="4444" y="862"/>
                </a:lnTo>
                <a:lnTo>
                  <a:pt x="4446" y="860"/>
                </a:lnTo>
                <a:lnTo>
                  <a:pt x="4446" y="860"/>
                </a:lnTo>
                <a:lnTo>
                  <a:pt x="4452" y="862"/>
                </a:lnTo>
                <a:lnTo>
                  <a:pt x="4452" y="862"/>
                </a:lnTo>
                <a:lnTo>
                  <a:pt x="4452" y="864"/>
                </a:lnTo>
                <a:lnTo>
                  <a:pt x="4450" y="868"/>
                </a:lnTo>
                <a:lnTo>
                  <a:pt x="4450" y="868"/>
                </a:lnTo>
                <a:lnTo>
                  <a:pt x="4464" y="870"/>
                </a:lnTo>
                <a:lnTo>
                  <a:pt x="4464" y="870"/>
                </a:lnTo>
                <a:lnTo>
                  <a:pt x="4464" y="872"/>
                </a:lnTo>
                <a:lnTo>
                  <a:pt x="4466" y="874"/>
                </a:lnTo>
                <a:lnTo>
                  <a:pt x="4466" y="874"/>
                </a:lnTo>
                <a:lnTo>
                  <a:pt x="4472" y="870"/>
                </a:lnTo>
                <a:lnTo>
                  <a:pt x="4486" y="860"/>
                </a:lnTo>
                <a:lnTo>
                  <a:pt x="4508" y="844"/>
                </a:lnTo>
                <a:lnTo>
                  <a:pt x="4508" y="844"/>
                </a:lnTo>
                <a:lnTo>
                  <a:pt x="4524" y="838"/>
                </a:lnTo>
                <a:lnTo>
                  <a:pt x="4524" y="838"/>
                </a:lnTo>
                <a:lnTo>
                  <a:pt x="4554" y="828"/>
                </a:lnTo>
                <a:lnTo>
                  <a:pt x="4554" y="828"/>
                </a:lnTo>
                <a:lnTo>
                  <a:pt x="4550" y="822"/>
                </a:lnTo>
                <a:lnTo>
                  <a:pt x="4550" y="822"/>
                </a:lnTo>
                <a:lnTo>
                  <a:pt x="4554" y="808"/>
                </a:lnTo>
                <a:lnTo>
                  <a:pt x="4562" y="784"/>
                </a:lnTo>
                <a:lnTo>
                  <a:pt x="4566" y="760"/>
                </a:lnTo>
                <a:lnTo>
                  <a:pt x="4566" y="752"/>
                </a:lnTo>
                <a:lnTo>
                  <a:pt x="4564" y="746"/>
                </a:lnTo>
                <a:lnTo>
                  <a:pt x="4564" y="746"/>
                </a:lnTo>
                <a:close/>
                <a:moveTo>
                  <a:pt x="3632" y="204"/>
                </a:moveTo>
                <a:lnTo>
                  <a:pt x="3632" y="204"/>
                </a:lnTo>
                <a:lnTo>
                  <a:pt x="3624" y="202"/>
                </a:lnTo>
                <a:lnTo>
                  <a:pt x="3624" y="202"/>
                </a:lnTo>
                <a:lnTo>
                  <a:pt x="3626" y="200"/>
                </a:lnTo>
                <a:lnTo>
                  <a:pt x="3632" y="198"/>
                </a:lnTo>
                <a:lnTo>
                  <a:pt x="3642" y="198"/>
                </a:lnTo>
                <a:lnTo>
                  <a:pt x="3642" y="198"/>
                </a:lnTo>
                <a:lnTo>
                  <a:pt x="3638" y="202"/>
                </a:lnTo>
                <a:lnTo>
                  <a:pt x="3632" y="204"/>
                </a:lnTo>
                <a:lnTo>
                  <a:pt x="3632" y="204"/>
                </a:lnTo>
                <a:close/>
                <a:moveTo>
                  <a:pt x="2520" y="96"/>
                </a:moveTo>
                <a:lnTo>
                  <a:pt x="2520" y="96"/>
                </a:lnTo>
                <a:lnTo>
                  <a:pt x="2524" y="88"/>
                </a:lnTo>
                <a:lnTo>
                  <a:pt x="2524" y="88"/>
                </a:lnTo>
                <a:lnTo>
                  <a:pt x="2524" y="88"/>
                </a:lnTo>
                <a:lnTo>
                  <a:pt x="2524" y="88"/>
                </a:lnTo>
                <a:lnTo>
                  <a:pt x="2522" y="96"/>
                </a:lnTo>
                <a:lnTo>
                  <a:pt x="2522" y="96"/>
                </a:lnTo>
                <a:lnTo>
                  <a:pt x="2518" y="96"/>
                </a:lnTo>
                <a:lnTo>
                  <a:pt x="2518" y="96"/>
                </a:lnTo>
                <a:lnTo>
                  <a:pt x="2520" y="96"/>
                </a:lnTo>
                <a:lnTo>
                  <a:pt x="2520" y="96"/>
                </a:lnTo>
                <a:close/>
                <a:moveTo>
                  <a:pt x="318" y="324"/>
                </a:moveTo>
                <a:lnTo>
                  <a:pt x="318" y="324"/>
                </a:lnTo>
                <a:lnTo>
                  <a:pt x="316" y="324"/>
                </a:lnTo>
                <a:lnTo>
                  <a:pt x="312" y="324"/>
                </a:lnTo>
                <a:lnTo>
                  <a:pt x="312" y="324"/>
                </a:lnTo>
                <a:lnTo>
                  <a:pt x="316" y="324"/>
                </a:lnTo>
                <a:lnTo>
                  <a:pt x="318" y="324"/>
                </a:lnTo>
                <a:lnTo>
                  <a:pt x="318" y="324"/>
                </a:lnTo>
                <a:lnTo>
                  <a:pt x="318" y="322"/>
                </a:lnTo>
                <a:lnTo>
                  <a:pt x="318" y="322"/>
                </a:lnTo>
                <a:lnTo>
                  <a:pt x="318" y="322"/>
                </a:lnTo>
                <a:lnTo>
                  <a:pt x="318" y="322"/>
                </a:lnTo>
                <a:lnTo>
                  <a:pt x="318" y="324"/>
                </a:lnTo>
                <a:lnTo>
                  <a:pt x="318" y="324"/>
                </a:lnTo>
                <a:close/>
                <a:moveTo>
                  <a:pt x="104" y="888"/>
                </a:moveTo>
                <a:lnTo>
                  <a:pt x="104" y="888"/>
                </a:lnTo>
                <a:lnTo>
                  <a:pt x="108" y="888"/>
                </a:lnTo>
                <a:lnTo>
                  <a:pt x="110" y="886"/>
                </a:lnTo>
                <a:lnTo>
                  <a:pt x="110" y="886"/>
                </a:lnTo>
                <a:lnTo>
                  <a:pt x="106" y="884"/>
                </a:lnTo>
                <a:lnTo>
                  <a:pt x="106" y="884"/>
                </a:lnTo>
                <a:lnTo>
                  <a:pt x="110" y="886"/>
                </a:lnTo>
                <a:lnTo>
                  <a:pt x="110" y="886"/>
                </a:lnTo>
                <a:lnTo>
                  <a:pt x="108" y="888"/>
                </a:lnTo>
                <a:lnTo>
                  <a:pt x="104" y="888"/>
                </a:lnTo>
                <a:lnTo>
                  <a:pt x="104" y="888"/>
                </a:lnTo>
                <a:close/>
                <a:moveTo>
                  <a:pt x="124" y="884"/>
                </a:moveTo>
                <a:lnTo>
                  <a:pt x="124" y="884"/>
                </a:lnTo>
                <a:lnTo>
                  <a:pt x="124" y="884"/>
                </a:lnTo>
                <a:lnTo>
                  <a:pt x="124" y="884"/>
                </a:lnTo>
                <a:lnTo>
                  <a:pt x="130" y="882"/>
                </a:lnTo>
                <a:lnTo>
                  <a:pt x="130" y="882"/>
                </a:lnTo>
                <a:lnTo>
                  <a:pt x="130" y="880"/>
                </a:lnTo>
                <a:lnTo>
                  <a:pt x="130" y="880"/>
                </a:lnTo>
                <a:lnTo>
                  <a:pt x="130" y="880"/>
                </a:lnTo>
                <a:lnTo>
                  <a:pt x="130" y="880"/>
                </a:lnTo>
                <a:lnTo>
                  <a:pt x="130" y="882"/>
                </a:lnTo>
                <a:lnTo>
                  <a:pt x="130" y="882"/>
                </a:lnTo>
                <a:lnTo>
                  <a:pt x="124" y="884"/>
                </a:lnTo>
                <a:lnTo>
                  <a:pt x="124" y="884"/>
                </a:lnTo>
                <a:close/>
                <a:moveTo>
                  <a:pt x="562" y="334"/>
                </a:moveTo>
                <a:lnTo>
                  <a:pt x="562" y="334"/>
                </a:lnTo>
                <a:lnTo>
                  <a:pt x="562" y="334"/>
                </a:lnTo>
                <a:lnTo>
                  <a:pt x="562" y="334"/>
                </a:lnTo>
                <a:lnTo>
                  <a:pt x="566" y="336"/>
                </a:lnTo>
                <a:lnTo>
                  <a:pt x="566" y="336"/>
                </a:lnTo>
                <a:lnTo>
                  <a:pt x="562" y="338"/>
                </a:lnTo>
                <a:lnTo>
                  <a:pt x="562" y="338"/>
                </a:lnTo>
                <a:lnTo>
                  <a:pt x="562" y="338"/>
                </a:lnTo>
                <a:lnTo>
                  <a:pt x="562" y="338"/>
                </a:lnTo>
                <a:lnTo>
                  <a:pt x="566" y="336"/>
                </a:lnTo>
                <a:lnTo>
                  <a:pt x="566" y="336"/>
                </a:lnTo>
                <a:lnTo>
                  <a:pt x="562" y="334"/>
                </a:lnTo>
                <a:lnTo>
                  <a:pt x="562" y="334"/>
                </a:lnTo>
                <a:close/>
                <a:moveTo>
                  <a:pt x="560" y="948"/>
                </a:moveTo>
                <a:lnTo>
                  <a:pt x="560" y="948"/>
                </a:lnTo>
                <a:lnTo>
                  <a:pt x="562" y="948"/>
                </a:lnTo>
                <a:lnTo>
                  <a:pt x="562" y="948"/>
                </a:lnTo>
                <a:lnTo>
                  <a:pt x="562" y="948"/>
                </a:lnTo>
                <a:lnTo>
                  <a:pt x="562" y="948"/>
                </a:lnTo>
                <a:lnTo>
                  <a:pt x="556" y="950"/>
                </a:lnTo>
                <a:lnTo>
                  <a:pt x="556" y="950"/>
                </a:lnTo>
                <a:lnTo>
                  <a:pt x="556" y="950"/>
                </a:lnTo>
                <a:lnTo>
                  <a:pt x="556" y="950"/>
                </a:lnTo>
                <a:lnTo>
                  <a:pt x="562" y="948"/>
                </a:lnTo>
                <a:lnTo>
                  <a:pt x="562" y="948"/>
                </a:lnTo>
                <a:lnTo>
                  <a:pt x="560" y="948"/>
                </a:lnTo>
                <a:lnTo>
                  <a:pt x="560" y="948"/>
                </a:lnTo>
                <a:close/>
                <a:moveTo>
                  <a:pt x="554" y="932"/>
                </a:moveTo>
                <a:lnTo>
                  <a:pt x="554" y="932"/>
                </a:lnTo>
                <a:lnTo>
                  <a:pt x="554" y="932"/>
                </a:lnTo>
                <a:lnTo>
                  <a:pt x="554" y="932"/>
                </a:lnTo>
                <a:lnTo>
                  <a:pt x="556" y="936"/>
                </a:lnTo>
                <a:lnTo>
                  <a:pt x="556" y="936"/>
                </a:lnTo>
                <a:lnTo>
                  <a:pt x="550" y="936"/>
                </a:lnTo>
                <a:lnTo>
                  <a:pt x="550" y="936"/>
                </a:lnTo>
                <a:lnTo>
                  <a:pt x="550" y="936"/>
                </a:lnTo>
                <a:lnTo>
                  <a:pt x="550" y="936"/>
                </a:lnTo>
                <a:lnTo>
                  <a:pt x="554" y="936"/>
                </a:lnTo>
                <a:lnTo>
                  <a:pt x="554" y="936"/>
                </a:lnTo>
                <a:lnTo>
                  <a:pt x="554" y="932"/>
                </a:lnTo>
                <a:lnTo>
                  <a:pt x="554" y="932"/>
                </a:lnTo>
                <a:close/>
                <a:moveTo>
                  <a:pt x="492" y="912"/>
                </a:moveTo>
                <a:lnTo>
                  <a:pt x="492" y="912"/>
                </a:lnTo>
                <a:lnTo>
                  <a:pt x="492" y="910"/>
                </a:lnTo>
                <a:lnTo>
                  <a:pt x="492" y="910"/>
                </a:lnTo>
                <a:lnTo>
                  <a:pt x="492" y="910"/>
                </a:lnTo>
                <a:lnTo>
                  <a:pt x="492" y="910"/>
                </a:lnTo>
                <a:lnTo>
                  <a:pt x="492" y="912"/>
                </a:lnTo>
                <a:lnTo>
                  <a:pt x="492" y="912"/>
                </a:lnTo>
                <a:lnTo>
                  <a:pt x="490" y="912"/>
                </a:lnTo>
                <a:lnTo>
                  <a:pt x="490" y="912"/>
                </a:lnTo>
                <a:lnTo>
                  <a:pt x="490" y="912"/>
                </a:lnTo>
                <a:lnTo>
                  <a:pt x="490" y="912"/>
                </a:lnTo>
                <a:lnTo>
                  <a:pt x="492" y="912"/>
                </a:lnTo>
                <a:lnTo>
                  <a:pt x="492" y="912"/>
                </a:lnTo>
                <a:close/>
                <a:moveTo>
                  <a:pt x="484" y="920"/>
                </a:moveTo>
                <a:lnTo>
                  <a:pt x="484" y="920"/>
                </a:lnTo>
                <a:lnTo>
                  <a:pt x="500" y="926"/>
                </a:lnTo>
                <a:lnTo>
                  <a:pt x="500" y="926"/>
                </a:lnTo>
                <a:lnTo>
                  <a:pt x="500" y="926"/>
                </a:lnTo>
                <a:lnTo>
                  <a:pt x="500" y="926"/>
                </a:lnTo>
                <a:lnTo>
                  <a:pt x="484" y="920"/>
                </a:lnTo>
                <a:lnTo>
                  <a:pt x="484" y="920"/>
                </a:lnTo>
                <a:lnTo>
                  <a:pt x="476" y="922"/>
                </a:lnTo>
                <a:lnTo>
                  <a:pt x="472" y="924"/>
                </a:lnTo>
                <a:lnTo>
                  <a:pt x="468" y="928"/>
                </a:lnTo>
                <a:lnTo>
                  <a:pt x="468" y="928"/>
                </a:lnTo>
                <a:lnTo>
                  <a:pt x="468" y="928"/>
                </a:lnTo>
                <a:lnTo>
                  <a:pt x="472" y="924"/>
                </a:lnTo>
                <a:lnTo>
                  <a:pt x="476" y="922"/>
                </a:lnTo>
                <a:lnTo>
                  <a:pt x="484" y="920"/>
                </a:lnTo>
                <a:lnTo>
                  <a:pt x="484" y="920"/>
                </a:lnTo>
                <a:close/>
                <a:moveTo>
                  <a:pt x="466" y="814"/>
                </a:moveTo>
                <a:lnTo>
                  <a:pt x="466" y="814"/>
                </a:lnTo>
                <a:lnTo>
                  <a:pt x="466" y="814"/>
                </a:lnTo>
                <a:lnTo>
                  <a:pt x="466" y="814"/>
                </a:lnTo>
                <a:lnTo>
                  <a:pt x="466" y="814"/>
                </a:lnTo>
                <a:lnTo>
                  <a:pt x="466" y="814"/>
                </a:lnTo>
                <a:lnTo>
                  <a:pt x="466" y="814"/>
                </a:lnTo>
                <a:lnTo>
                  <a:pt x="466" y="814"/>
                </a:lnTo>
                <a:lnTo>
                  <a:pt x="460" y="814"/>
                </a:lnTo>
                <a:lnTo>
                  <a:pt x="460" y="814"/>
                </a:lnTo>
                <a:lnTo>
                  <a:pt x="460" y="814"/>
                </a:lnTo>
                <a:lnTo>
                  <a:pt x="460" y="814"/>
                </a:lnTo>
                <a:lnTo>
                  <a:pt x="466" y="814"/>
                </a:lnTo>
                <a:lnTo>
                  <a:pt x="466" y="814"/>
                </a:lnTo>
                <a:close/>
                <a:moveTo>
                  <a:pt x="454" y="864"/>
                </a:moveTo>
                <a:lnTo>
                  <a:pt x="454" y="864"/>
                </a:lnTo>
                <a:lnTo>
                  <a:pt x="466" y="858"/>
                </a:lnTo>
                <a:lnTo>
                  <a:pt x="466" y="858"/>
                </a:lnTo>
                <a:lnTo>
                  <a:pt x="466" y="858"/>
                </a:lnTo>
                <a:lnTo>
                  <a:pt x="466" y="858"/>
                </a:lnTo>
                <a:lnTo>
                  <a:pt x="454" y="864"/>
                </a:lnTo>
                <a:lnTo>
                  <a:pt x="454" y="864"/>
                </a:lnTo>
                <a:lnTo>
                  <a:pt x="454" y="864"/>
                </a:lnTo>
                <a:lnTo>
                  <a:pt x="454" y="864"/>
                </a:lnTo>
                <a:close/>
                <a:moveTo>
                  <a:pt x="464" y="922"/>
                </a:moveTo>
                <a:lnTo>
                  <a:pt x="464" y="922"/>
                </a:lnTo>
                <a:lnTo>
                  <a:pt x="458" y="924"/>
                </a:lnTo>
                <a:lnTo>
                  <a:pt x="456" y="924"/>
                </a:lnTo>
                <a:lnTo>
                  <a:pt x="456" y="924"/>
                </a:lnTo>
                <a:lnTo>
                  <a:pt x="458" y="924"/>
                </a:lnTo>
                <a:lnTo>
                  <a:pt x="464" y="922"/>
                </a:lnTo>
                <a:lnTo>
                  <a:pt x="464" y="922"/>
                </a:lnTo>
                <a:lnTo>
                  <a:pt x="464" y="922"/>
                </a:lnTo>
                <a:lnTo>
                  <a:pt x="464" y="922"/>
                </a:lnTo>
                <a:close/>
                <a:moveTo>
                  <a:pt x="448" y="912"/>
                </a:moveTo>
                <a:lnTo>
                  <a:pt x="448" y="912"/>
                </a:lnTo>
                <a:lnTo>
                  <a:pt x="450" y="912"/>
                </a:lnTo>
                <a:lnTo>
                  <a:pt x="450" y="912"/>
                </a:lnTo>
                <a:lnTo>
                  <a:pt x="454" y="910"/>
                </a:lnTo>
                <a:lnTo>
                  <a:pt x="454" y="910"/>
                </a:lnTo>
                <a:lnTo>
                  <a:pt x="454" y="906"/>
                </a:lnTo>
                <a:lnTo>
                  <a:pt x="454" y="906"/>
                </a:lnTo>
                <a:lnTo>
                  <a:pt x="454" y="906"/>
                </a:lnTo>
                <a:lnTo>
                  <a:pt x="454" y="906"/>
                </a:lnTo>
                <a:lnTo>
                  <a:pt x="454" y="910"/>
                </a:lnTo>
                <a:lnTo>
                  <a:pt x="454" y="912"/>
                </a:lnTo>
                <a:lnTo>
                  <a:pt x="450" y="912"/>
                </a:lnTo>
                <a:lnTo>
                  <a:pt x="450" y="912"/>
                </a:lnTo>
                <a:lnTo>
                  <a:pt x="448" y="912"/>
                </a:lnTo>
                <a:lnTo>
                  <a:pt x="448" y="912"/>
                </a:lnTo>
                <a:lnTo>
                  <a:pt x="448" y="912"/>
                </a:lnTo>
                <a:lnTo>
                  <a:pt x="448" y="912"/>
                </a:lnTo>
                <a:close/>
                <a:moveTo>
                  <a:pt x="440" y="870"/>
                </a:moveTo>
                <a:lnTo>
                  <a:pt x="440" y="870"/>
                </a:lnTo>
                <a:lnTo>
                  <a:pt x="442" y="870"/>
                </a:lnTo>
                <a:lnTo>
                  <a:pt x="442" y="870"/>
                </a:lnTo>
                <a:lnTo>
                  <a:pt x="446" y="874"/>
                </a:lnTo>
                <a:lnTo>
                  <a:pt x="446" y="874"/>
                </a:lnTo>
                <a:lnTo>
                  <a:pt x="446" y="874"/>
                </a:lnTo>
                <a:lnTo>
                  <a:pt x="446" y="874"/>
                </a:lnTo>
                <a:lnTo>
                  <a:pt x="442" y="870"/>
                </a:lnTo>
                <a:lnTo>
                  <a:pt x="442" y="870"/>
                </a:lnTo>
                <a:lnTo>
                  <a:pt x="440" y="870"/>
                </a:lnTo>
                <a:lnTo>
                  <a:pt x="440" y="870"/>
                </a:lnTo>
                <a:lnTo>
                  <a:pt x="440" y="870"/>
                </a:lnTo>
                <a:lnTo>
                  <a:pt x="440" y="870"/>
                </a:lnTo>
                <a:close/>
                <a:moveTo>
                  <a:pt x="438" y="928"/>
                </a:moveTo>
                <a:lnTo>
                  <a:pt x="438" y="928"/>
                </a:lnTo>
                <a:lnTo>
                  <a:pt x="438" y="928"/>
                </a:lnTo>
                <a:lnTo>
                  <a:pt x="438" y="928"/>
                </a:lnTo>
                <a:lnTo>
                  <a:pt x="438" y="930"/>
                </a:lnTo>
                <a:lnTo>
                  <a:pt x="438" y="930"/>
                </a:lnTo>
                <a:lnTo>
                  <a:pt x="438" y="930"/>
                </a:lnTo>
                <a:lnTo>
                  <a:pt x="438" y="930"/>
                </a:lnTo>
                <a:lnTo>
                  <a:pt x="438" y="928"/>
                </a:lnTo>
                <a:lnTo>
                  <a:pt x="438" y="928"/>
                </a:lnTo>
                <a:close/>
                <a:moveTo>
                  <a:pt x="438" y="884"/>
                </a:moveTo>
                <a:lnTo>
                  <a:pt x="438" y="884"/>
                </a:lnTo>
                <a:lnTo>
                  <a:pt x="438" y="882"/>
                </a:lnTo>
                <a:lnTo>
                  <a:pt x="438" y="882"/>
                </a:lnTo>
                <a:lnTo>
                  <a:pt x="438" y="884"/>
                </a:lnTo>
                <a:lnTo>
                  <a:pt x="438" y="884"/>
                </a:lnTo>
                <a:close/>
                <a:moveTo>
                  <a:pt x="442" y="914"/>
                </a:moveTo>
                <a:lnTo>
                  <a:pt x="442" y="914"/>
                </a:lnTo>
                <a:lnTo>
                  <a:pt x="444" y="916"/>
                </a:lnTo>
                <a:lnTo>
                  <a:pt x="444" y="916"/>
                </a:lnTo>
                <a:lnTo>
                  <a:pt x="440" y="918"/>
                </a:lnTo>
                <a:lnTo>
                  <a:pt x="440" y="918"/>
                </a:lnTo>
                <a:lnTo>
                  <a:pt x="440" y="918"/>
                </a:lnTo>
                <a:lnTo>
                  <a:pt x="440" y="918"/>
                </a:lnTo>
                <a:lnTo>
                  <a:pt x="444" y="916"/>
                </a:lnTo>
                <a:lnTo>
                  <a:pt x="444" y="916"/>
                </a:lnTo>
                <a:lnTo>
                  <a:pt x="442" y="914"/>
                </a:lnTo>
                <a:lnTo>
                  <a:pt x="442" y="914"/>
                </a:lnTo>
                <a:close/>
                <a:moveTo>
                  <a:pt x="440" y="880"/>
                </a:moveTo>
                <a:lnTo>
                  <a:pt x="440" y="880"/>
                </a:lnTo>
                <a:lnTo>
                  <a:pt x="442" y="878"/>
                </a:lnTo>
                <a:lnTo>
                  <a:pt x="442" y="878"/>
                </a:lnTo>
                <a:lnTo>
                  <a:pt x="440" y="880"/>
                </a:lnTo>
                <a:lnTo>
                  <a:pt x="440" y="880"/>
                </a:lnTo>
                <a:close/>
                <a:moveTo>
                  <a:pt x="442" y="878"/>
                </a:moveTo>
                <a:lnTo>
                  <a:pt x="442" y="878"/>
                </a:lnTo>
                <a:lnTo>
                  <a:pt x="444" y="878"/>
                </a:lnTo>
                <a:lnTo>
                  <a:pt x="444" y="878"/>
                </a:lnTo>
                <a:lnTo>
                  <a:pt x="444" y="878"/>
                </a:lnTo>
                <a:lnTo>
                  <a:pt x="444" y="878"/>
                </a:lnTo>
                <a:lnTo>
                  <a:pt x="442" y="878"/>
                </a:lnTo>
                <a:lnTo>
                  <a:pt x="442" y="878"/>
                </a:lnTo>
                <a:close/>
                <a:moveTo>
                  <a:pt x="438" y="858"/>
                </a:moveTo>
                <a:lnTo>
                  <a:pt x="438" y="858"/>
                </a:lnTo>
                <a:lnTo>
                  <a:pt x="438" y="858"/>
                </a:lnTo>
                <a:lnTo>
                  <a:pt x="438" y="858"/>
                </a:lnTo>
                <a:lnTo>
                  <a:pt x="438" y="854"/>
                </a:lnTo>
                <a:lnTo>
                  <a:pt x="436" y="854"/>
                </a:lnTo>
                <a:lnTo>
                  <a:pt x="436" y="854"/>
                </a:lnTo>
                <a:lnTo>
                  <a:pt x="438" y="854"/>
                </a:lnTo>
                <a:lnTo>
                  <a:pt x="438" y="858"/>
                </a:lnTo>
                <a:lnTo>
                  <a:pt x="438" y="858"/>
                </a:lnTo>
                <a:close/>
                <a:moveTo>
                  <a:pt x="422" y="940"/>
                </a:moveTo>
                <a:lnTo>
                  <a:pt x="422" y="940"/>
                </a:lnTo>
                <a:lnTo>
                  <a:pt x="424" y="940"/>
                </a:lnTo>
                <a:lnTo>
                  <a:pt x="424" y="940"/>
                </a:lnTo>
                <a:lnTo>
                  <a:pt x="430" y="910"/>
                </a:lnTo>
                <a:lnTo>
                  <a:pt x="438" y="884"/>
                </a:lnTo>
                <a:lnTo>
                  <a:pt x="438" y="884"/>
                </a:lnTo>
                <a:lnTo>
                  <a:pt x="430" y="910"/>
                </a:lnTo>
                <a:lnTo>
                  <a:pt x="424" y="940"/>
                </a:lnTo>
                <a:lnTo>
                  <a:pt x="424" y="940"/>
                </a:lnTo>
                <a:lnTo>
                  <a:pt x="426" y="940"/>
                </a:lnTo>
                <a:lnTo>
                  <a:pt x="426" y="940"/>
                </a:lnTo>
                <a:lnTo>
                  <a:pt x="428" y="944"/>
                </a:lnTo>
                <a:lnTo>
                  <a:pt x="428" y="944"/>
                </a:lnTo>
                <a:lnTo>
                  <a:pt x="426" y="944"/>
                </a:lnTo>
                <a:lnTo>
                  <a:pt x="426" y="944"/>
                </a:lnTo>
                <a:lnTo>
                  <a:pt x="426" y="940"/>
                </a:lnTo>
                <a:lnTo>
                  <a:pt x="426" y="940"/>
                </a:lnTo>
                <a:lnTo>
                  <a:pt x="424" y="940"/>
                </a:lnTo>
                <a:lnTo>
                  <a:pt x="424" y="940"/>
                </a:lnTo>
                <a:lnTo>
                  <a:pt x="420" y="950"/>
                </a:lnTo>
                <a:lnTo>
                  <a:pt x="418" y="954"/>
                </a:lnTo>
                <a:lnTo>
                  <a:pt x="418" y="954"/>
                </a:lnTo>
                <a:lnTo>
                  <a:pt x="418" y="954"/>
                </a:lnTo>
                <a:lnTo>
                  <a:pt x="418" y="954"/>
                </a:lnTo>
                <a:lnTo>
                  <a:pt x="420" y="950"/>
                </a:lnTo>
                <a:lnTo>
                  <a:pt x="424" y="940"/>
                </a:lnTo>
                <a:lnTo>
                  <a:pt x="424" y="940"/>
                </a:lnTo>
                <a:lnTo>
                  <a:pt x="422" y="940"/>
                </a:lnTo>
                <a:lnTo>
                  <a:pt x="422" y="940"/>
                </a:lnTo>
                <a:lnTo>
                  <a:pt x="422" y="940"/>
                </a:lnTo>
                <a:lnTo>
                  <a:pt x="422" y="940"/>
                </a:lnTo>
                <a:close/>
                <a:moveTo>
                  <a:pt x="420" y="918"/>
                </a:moveTo>
                <a:lnTo>
                  <a:pt x="420" y="918"/>
                </a:lnTo>
                <a:lnTo>
                  <a:pt x="418" y="916"/>
                </a:lnTo>
                <a:lnTo>
                  <a:pt x="418" y="916"/>
                </a:lnTo>
                <a:lnTo>
                  <a:pt x="418" y="916"/>
                </a:lnTo>
                <a:lnTo>
                  <a:pt x="418" y="916"/>
                </a:lnTo>
                <a:lnTo>
                  <a:pt x="420" y="918"/>
                </a:lnTo>
                <a:lnTo>
                  <a:pt x="420" y="918"/>
                </a:lnTo>
                <a:lnTo>
                  <a:pt x="414" y="918"/>
                </a:lnTo>
                <a:lnTo>
                  <a:pt x="414" y="918"/>
                </a:lnTo>
                <a:lnTo>
                  <a:pt x="414" y="918"/>
                </a:lnTo>
                <a:lnTo>
                  <a:pt x="414" y="918"/>
                </a:lnTo>
                <a:lnTo>
                  <a:pt x="420" y="918"/>
                </a:lnTo>
                <a:lnTo>
                  <a:pt x="420" y="918"/>
                </a:lnTo>
                <a:close/>
                <a:moveTo>
                  <a:pt x="414" y="984"/>
                </a:moveTo>
                <a:lnTo>
                  <a:pt x="414" y="984"/>
                </a:lnTo>
                <a:lnTo>
                  <a:pt x="418" y="986"/>
                </a:lnTo>
                <a:lnTo>
                  <a:pt x="420" y="992"/>
                </a:lnTo>
                <a:lnTo>
                  <a:pt x="420" y="992"/>
                </a:lnTo>
                <a:lnTo>
                  <a:pt x="420" y="992"/>
                </a:lnTo>
                <a:lnTo>
                  <a:pt x="420" y="992"/>
                </a:lnTo>
                <a:lnTo>
                  <a:pt x="418" y="986"/>
                </a:lnTo>
                <a:lnTo>
                  <a:pt x="414" y="984"/>
                </a:lnTo>
                <a:lnTo>
                  <a:pt x="414" y="984"/>
                </a:lnTo>
                <a:lnTo>
                  <a:pt x="404" y="982"/>
                </a:lnTo>
                <a:lnTo>
                  <a:pt x="398" y="978"/>
                </a:lnTo>
                <a:lnTo>
                  <a:pt x="398" y="978"/>
                </a:lnTo>
                <a:lnTo>
                  <a:pt x="398" y="978"/>
                </a:lnTo>
                <a:lnTo>
                  <a:pt x="398" y="978"/>
                </a:lnTo>
                <a:lnTo>
                  <a:pt x="404" y="982"/>
                </a:lnTo>
                <a:lnTo>
                  <a:pt x="414" y="984"/>
                </a:lnTo>
                <a:lnTo>
                  <a:pt x="414" y="984"/>
                </a:lnTo>
                <a:close/>
                <a:moveTo>
                  <a:pt x="406" y="992"/>
                </a:moveTo>
                <a:lnTo>
                  <a:pt x="406" y="992"/>
                </a:lnTo>
                <a:lnTo>
                  <a:pt x="402" y="992"/>
                </a:lnTo>
                <a:lnTo>
                  <a:pt x="402" y="992"/>
                </a:lnTo>
                <a:lnTo>
                  <a:pt x="402" y="992"/>
                </a:lnTo>
                <a:lnTo>
                  <a:pt x="402" y="992"/>
                </a:lnTo>
                <a:lnTo>
                  <a:pt x="406" y="992"/>
                </a:lnTo>
                <a:lnTo>
                  <a:pt x="406" y="992"/>
                </a:lnTo>
                <a:close/>
                <a:moveTo>
                  <a:pt x="404" y="918"/>
                </a:moveTo>
                <a:lnTo>
                  <a:pt x="404" y="918"/>
                </a:lnTo>
                <a:lnTo>
                  <a:pt x="400" y="914"/>
                </a:lnTo>
                <a:lnTo>
                  <a:pt x="400" y="914"/>
                </a:lnTo>
                <a:lnTo>
                  <a:pt x="404" y="918"/>
                </a:lnTo>
                <a:lnTo>
                  <a:pt x="404" y="918"/>
                </a:lnTo>
                <a:lnTo>
                  <a:pt x="398" y="918"/>
                </a:lnTo>
                <a:lnTo>
                  <a:pt x="398" y="918"/>
                </a:lnTo>
                <a:lnTo>
                  <a:pt x="398" y="918"/>
                </a:lnTo>
                <a:lnTo>
                  <a:pt x="398" y="918"/>
                </a:lnTo>
                <a:lnTo>
                  <a:pt x="404" y="918"/>
                </a:lnTo>
                <a:lnTo>
                  <a:pt x="404" y="918"/>
                </a:lnTo>
                <a:close/>
                <a:moveTo>
                  <a:pt x="386" y="844"/>
                </a:moveTo>
                <a:lnTo>
                  <a:pt x="386" y="844"/>
                </a:lnTo>
                <a:lnTo>
                  <a:pt x="396" y="846"/>
                </a:lnTo>
                <a:lnTo>
                  <a:pt x="396" y="846"/>
                </a:lnTo>
                <a:lnTo>
                  <a:pt x="396" y="844"/>
                </a:lnTo>
                <a:lnTo>
                  <a:pt x="396" y="844"/>
                </a:lnTo>
                <a:lnTo>
                  <a:pt x="394" y="842"/>
                </a:lnTo>
                <a:lnTo>
                  <a:pt x="394" y="842"/>
                </a:lnTo>
                <a:lnTo>
                  <a:pt x="396" y="844"/>
                </a:lnTo>
                <a:lnTo>
                  <a:pt x="396" y="844"/>
                </a:lnTo>
                <a:lnTo>
                  <a:pt x="396" y="846"/>
                </a:lnTo>
                <a:lnTo>
                  <a:pt x="396" y="846"/>
                </a:lnTo>
                <a:lnTo>
                  <a:pt x="386" y="844"/>
                </a:lnTo>
                <a:lnTo>
                  <a:pt x="386" y="844"/>
                </a:lnTo>
                <a:lnTo>
                  <a:pt x="386" y="844"/>
                </a:lnTo>
                <a:lnTo>
                  <a:pt x="386" y="844"/>
                </a:lnTo>
                <a:close/>
                <a:moveTo>
                  <a:pt x="390" y="918"/>
                </a:moveTo>
                <a:lnTo>
                  <a:pt x="390" y="918"/>
                </a:lnTo>
                <a:lnTo>
                  <a:pt x="390" y="918"/>
                </a:lnTo>
                <a:lnTo>
                  <a:pt x="390" y="918"/>
                </a:lnTo>
                <a:lnTo>
                  <a:pt x="372" y="920"/>
                </a:lnTo>
                <a:lnTo>
                  <a:pt x="372" y="920"/>
                </a:lnTo>
                <a:lnTo>
                  <a:pt x="372" y="920"/>
                </a:lnTo>
                <a:lnTo>
                  <a:pt x="372" y="920"/>
                </a:lnTo>
                <a:lnTo>
                  <a:pt x="390" y="918"/>
                </a:lnTo>
                <a:lnTo>
                  <a:pt x="390" y="918"/>
                </a:lnTo>
                <a:close/>
                <a:moveTo>
                  <a:pt x="376" y="842"/>
                </a:moveTo>
                <a:lnTo>
                  <a:pt x="376" y="842"/>
                </a:lnTo>
                <a:lnTo>
                  <a:pt x="376" y="842"/>
                </a:lnTo>
                <a:lnTo>
                  <a:pt x="376" y="842"/>
                </a:lnTo>
                <a:lnTo>
                  <a:pt x="376" y="842"/>
                </a:lnTo>
                <a:lnTo>
                  <a:pt x="376" y="842"/>
                </a:lnTo>
                <a:lnTo>
                  <a:pt x="380" y="840"/>
                </a:lnTo>
                <a:lnTo>
                  <a:pt x="380" y="840"/>
                </a:lnTo>
                <a:lnTo>
                  <a:pt x="376" y="840"/>
                </a:lnTo>
                <a:lnTo>
                  <a:pt x="376" y="840"/>
                </a:lnTo>
                <a:lnTo>
                  <a:pt x="376" y="840"/>
                </a:lnTo>
                <a:lnTo>
                  <a:pt x="376" y="840"/>
                </a:lnTo>
                <a:lnTo>
                  <a:pt x="380" y="840"/>
                </a:lnTo>
                <a:lnTo>
                  <a:pt x="380" y="840"/>
                </a:lnTo>
                <a:lnTo>
                  <a:pt x="376" y="842"/>
                </a:lnTo>
                <a:lnTo>
                  <a:pt x="376" y="842"/>
                </a:lnTo>
                <a:close/>
                <a:moveTo>
                  <a:pt x="362" y="310"/>
                </a:moveTo>
                <a:lnTo>
                  <a:pt x="362" y="310"/>
                </a:lnTo>
                <a:lnTo>
                  <a:pt x="374" y="312"/>
                </a:lnTo>
                <a:lnTo>
                  <a:pt x="374" y="312"/>
                </a:lnTo>
                <a:lnTo>
                  <a:pt x="378" y="316"/>
                </a:lnTo>
                <a:lnTo>
                  <a:pt x="376" y="318"/>
                </a:lnTo>
                <a:lnTo>
                  <a:pt x="376" y="318"/>
                </a:lnTo>
                <a:lnTo>
                  <a:pt x="376" y="318"/>
                </a:lnTo>
                <a:lnTo>
                  <a:pt x="376" y="318"/>
                </a:lnTo>
                <a:lnTo>
                  <a:pt x="378" y="316"/>
                </a:lnTo>
                <a:lnTo>
                  <a:pt x="374" y="312"/>
                </a:lnTo>
                <a:lnTo>
                  <a:pt x="374" y="312"/>
                </a:lnTo>
                <a:lnTo>
                  <a:pt x="362" y="310"/>
                </a:lnTo>
                <a:lnTo>
                  <a:pt x="362" y="310"/>
                </a:lnTo>
                <a:lnTo>
                  <a:pt x="362" y="310"/>
                </a:lnTo>
                <a:lnTo>
                  <a:pt x="362" y="310"/>
                </a:lnTo>
                <a:close/>
                <a:moveTo>
                  <a:pt x="364" y="840"/>
                </a:moveTo>
                <a:lnTo>
                  <a:pt x="364" y="840"/>
                </a:lnTo>
                <a:lnTo>
                  <a:pt x="362" y="840"/>
                </a:lnTo>
                <a:lnTo>
                  <a:pt x="362" y="840"/>
                </a:lnTo>
                <a:lnTo>
                  <a:pt x="364" y="840"/>
                </a:lnTo>
                <a:lnTo>
                  <a:pt x="364" y="840"/>
                </a:lnTo>
                <a:lnTo>
                  <a:pt x="366" y="842"/>
                </a:lnTo>
                <a:lnTo>
                  <a:pt x="366" y="844"/>
                </a:lnTo>
                <a:lnTo>
                  <a:pt x="366" y="844"/>
                </a:lnTo>
                <a:lnTo>
                  <a:pt x="362" y="844"/>
                </a:lnTo>
                <a:lnTo>
                  <a:pt x="360" y="846"/>
                </a:lnTo>
                <a:lnTo>
                  <a:pt x="360" y="846"/>
                </a:lnTo>
                <a:lnTo>
                  <a:pt x="364" y="844"/>
                </a:lnTo>
                <a:lnTo>
                  <a:pt x="364" y="844"/>
                </a:lnTo>
                <a:lnTo>
                  <a:pt x="366" y="842"/>
                </a:lnTo>
                <a:lnTo>
                  <a:pt x="364" y="840"/>
                </a:lnTo>
                <a:lnTo>
                  <a:pt x="364" y="840"/>
                </a:lnTo>
                <a:close/>
                <a:moveTo>
                  <a:pt x="358" y="864"/>
                </a:moveTo>
                <a:lnTo>
                  <a:pt x="358" y="864"/>
                </a:lnTo>
                <a:lnTo>
                  <a:pt x="358" y="864"/>
                </a:lnTo>
                <a:lnTo>
                  <a:pt x="354" y="866"/>
                </a:lnTo>
                <a:lnTo>
                  <a:pt x="350" y="868"/>
                </a:lnTo>
                <a:lnTo>
                  <a:pt x="342" y="864"/>
                </a:lnTo>
                <a:lnTo>
                  <a:pt x="342" y="864"/>
                </a:lnTo>
                <a:lnTo>
                  <a:pt x="342" y="864"/>
                </a:lnTo>
                <a:lnTo>
                  <a:pt x="350" y="868"/>
                </a:lnTo>
                <a:lnTo>
                  <a:pt x="354" y="866"/>
                </a:lnTo>
                <a:lnTo>
                  <a:pt x="358" y="864"/>
                </a:lnTo>
                <a:lnTo>
                  <a:pt x="358" y="864"/>
                </a:lnTo>
                <a:close/>
                <a:moveTo>
                  <a:pt x="338" y="850"/>
                </a:moveTo>
                <a:lnTo>
                  <a:pt x="338" y="850"/>
                </a:lnTo>
                <a:lnTo>
                  <a:pt x="344" y="850"/>
                </a:lnTo>
                <a:lnTo>
                  <a:pt x="346" y="848"/>
                </a:lnTo>
                <a:lnTo>
                  <a:pt x="346" y="848"/>
                </a:lnTo>
                <a:lnTo>
                  <a:pt x="346" y="846"/>
                </a:lnTo>
                <a:lnTo>
                  <a:pt x="346" y="846"/>
                </a:lnTo>
                <a:lnTo>
                  <a:pt x="346" y="846"/>
                </a:lnTo>
                <a:lnTo>
                  <a:pt x="346" y="846"/>
                </a:lnTo>
                <a:lnTo>
                  <a:pt x="346" y="848"/>
                </a:lnTo>
                <a:lnTo>
                  <a:pt x="346" y="848"/>
                </a:lnTo>
                <a:lnTo>
                  <a:pt x="344" y="850"/>
                </a:lnTo>
                <a:lnTo>
                  <a:pt x="338" y="850"/>
                </a:lnTo>
                <a:lnTo>
                  <a:pt x="338" y="850"/>
                </a:lnTo>
                <a:lnTo>
                  <a:pt x="338" y="850"/>
                </a:lnTo>
                <a:lnTo>
                  <a:pt x="338" y="850"/>
                </a:lnTo>
                <a:lnTo>
                  <a:pt x="338" y="850"/>
                </a:lnTo>
                <a:lnTo>
                  <a:pt x="338" y="850"/>
                </a:lnTo>
                <a:close/>
                <a:moveTo>
                  <a:pt x="336" y="864"/>
                </a:moveTo>
                <a:lnTo>
                  <a:pt x="336" y="864"/>
                </a:lnTo>
                <a:lnTo>
                  <a:pt x="336" y="862"/>
                </a:lnTo>
                <a:lnTo>
                  <a:pt x="336" y="862"/>
                </a:lnTo>
                <a:lnTo>
                  <a:pt x="336" y="862"/>
                </a:lnTo>
                <a:lnTo>
                  <a:pt x="336" y="862"/>
                </a:lnTo>
                <a:lnTo>
                  <a:pt x="336" y="864"/>
                </a:lnTo>
                <a:lnTo>
                  <a:pt x="336" y="864"/>
                </a:lnTo>
                <a:lnTo>
                  <a:pt x="330" y="868"/>
                </a:lnTo>
                <a:lnTo>
                  <a:pt x="330" y="868"/>
                </a:lnTo>
                <a:lnTo>
                  <a:pt x="322" y="866"/>
                </a:lnTo>
                <a:lnTo>
                  <a:pt x="322" y="866"/>
                </a:lnTo>
                <a:lnTo>
                  <a:pt x="322" y="866"/>
                </a:lnTo>
                <a:lnTo>
                  <a:pt x="322" y="866"/>
                </a:lnTo>
                <a:lnTo>
                  <a:pt x="330" y="868"/>
                </a:lnTo>
                <a:lnTo>
                  <a:pt x="330" y="868"/>
                </a:lnTo>
                <a:lnTo>
                  <a:pt x="336" y="864"/>
                </a:lnTo>
                <a:lnTo>
                  <a:pt x="336" y="864"/>
                </a:lnTo>
                <a:close/>
                <a:moveTo>
                  <a:pt x="302" y="846"/>
                </a:moveTo>
                <a:lnTo>
                  <a:pt x="302" y="846"/>
                </a:lnTo>
                <a:lnTo>
                  <a:pt x="316" y="844"/>
                </a:lnTo>
                <a:lnTo>
                  <a:pt x="316" y="844"/>
                </a:lnTo>
                <a:lnTo>
                  <a:pt x="320" y="846"/>
                </a:lnTo>
                <a:lnTo>
                  <a:pt x="324" y="848"/>
                </a:lnTo>
                <a:lnTo>
                  <a:pt x="324" y="848"/>
                </a:lnTo>
                <a:lnTo>
                  <a:pt x="316" y="850"/>
                </a:lnTo>
                <a:lnTo>
                  <a:pt x="308" y="850"/>
                </a:lnTo>
                <a:lnTo>
                  <a:pt x="292" y="850"/>
                </a:lnTo>
                <a:lnTo>
                  <a:pt x="292" y="850"/>
                </a:lnTo>
                <a:lnTo>
                  <a:pt x="290" y="848"/>
                </a:lnTo>
                <a:lnTo>
                  <a:pt x="288" y="846"/>
                </a:lnTo>
                <a:lnTo>
                  <a:pt x="288" y="846"/>
                </a:lnTo>
                <a:lnTo>
                  <a:pt x="302" y="846"/>
                </a:lnTo>
                <a:lnTo>
                  <a:pt x="302" y="846"/>
                </a:lnTo>
                <a:close/>
                <a:moveTo>
                  <a:pt x="320" y="860"/>
                </a:moveTo>
                <a:lnTo>
                  <a:pt x="320" y="860"/>
                </a:lnTo>
                <a:lnTo>
                  <a:pt x="320" y="860"/>
                </a:lnTo>
                <a:lnTo>
                  <a:pt x="320" y="860"/>
                </a:lnTo>
                <a:lnTo>
                  <a:pt x="320" y="864"/>
                </a:lnTo>
                <a:lnTo>
                  <a:pt x="318" y="864"/>
                </a:lnTo>
                <a:lnTo>
                  <a:pt x="316" y="866"/>
                </a:lnTo>
                <a:lnTo>
                  <a:pt x="316" y="866"/>
                </a:lnTo>
                <a:lnTo>
                  <a:pt x="314" y="864"/>
                </a:lnTo>
                <a:lnTo>
                  <a:pt x="314" y="864"/>
                </a:lnTo>
                <a:lnTo>
                  <a:pt x="316" y="866"/>
                </a:lnTo>
                <a:lnTo>
                  <a:pt x="316" y="866"/>
                </a:lnTo>
                <a:lnTo>
                  <a:pt x="318" y="864"/>
                </a:lnTo>
                <a:lnTo>
                  <a:pt x="320" y="864"/>
                </a:lnTo>
                <a:lnTo>
                  <a:pt x="320" y="860"/>
                </a:lnTo>
                <a:lnTo>
                  <a:pt x="320" y="860"/>
                </a:lnTo>
                <a:close/>
                <a:moveTo>
                  <a:pt x="280" y="624"/>
                </a:moveTo>
                <a:lnTo>
                  <a:pt x="280" y="624"/>
                </a:lnTo>
                <a:lnTo>
                  <a:pt x="290" y="626"/>
                </a:lnTo>
                <a:lnTo>
                  <a:pt x="290" y="626"/>
                </a:lnTo>
                <a:lnTo>
                  <a:pt x="284" y="628"/>
                </a:lnTo>
                <a:lnTo>
                  <a:pt x="280" y="628"/>
                </a:lnTo>
                <a:lnTo>
                  <a:pt x="280" y="628"/>
                </a:lnTo>
                <a:lnTo>
                  <a:pt x="290" y="626"/>
                </a:lnTo>
                <a:lnTo>
                  <a:pt x="290" y="626"/>
                </a:lnTo>
                <a:lnTo>
                  <a:pt x="280" y="624"/>
                </a:lnTo>
                <a:lnTo>
                  <a:pt x="280" y="624"/>
                </a:lnTo>
                <a:close/>
                <a:moveTo>
                  <a:pt x="268" y="630"/>
                </a:moveTo>
                <a:lnTo>
                  <a:pt x="268" y="630"/>
                </a:lnTo>
                <a:lnTo>
                  <a:pt x="268" y="802"/>
                </a:lnTo>
                <a:lnTo>
                  <a:pt x="268" y="802"/>
                </a:lnTo>
                <a:lnTo>
                  <a:pt x="268" y="802"/>
                </a:lnTo>
                <a:lnTo>
                  <a:pt x="268" y="802"/>
                </a:lnTo>
                <a:lnTo>
                  <a:pt x="268" y="630"/>
                </a:lnTo>
                <a:lnTo>
                  <a:pt x="268" y="630"/>
                </a:lnTo>
                <a:close/>
                <a:moveTo>
                  <a:pt x="262" y="630"/>
                </a:moveTo>
                <a:lnTo>
                  <a:pt x="262" y="630"/>
                </a:lnTo>
                <a:lnTo>
                  <a:pt x="262" y="636"/>
                </a:lnTo>
                <a:lnTo>
                  <a:pt x="262" y="636"/>
                </a:lnTo>
                <a:lnTo>
                  <a:pt x="262" y="630"/>
                </a:lnTo>
                <a:lnTo>
                  <a:pt x="262" y="630"/>
                </a:lnTo>
                <a:close/>
                <a:moveTo>
                  <a:pt x="244" y="804"/>
                </a:moveTo>
                <a:lnTo>
                  <a:pt x="244" y="804"/>
                </a:lnTo>
                <a:lnTo>
                  <a:pt x="254" y="806"/>
                </a:lnTo>
                <a:lnTo>
                  <a:pt x="254" y="806"/>
                </a:lnTo>
                <a:lnTo>
                  <a:pt x="248" y="808"/>
                </a:lnTo>
                <a:lnTo>
                  <a:pt x="242" y="808"/>
                </a:lnTo>
                <a:lnTo>
                  <a:pt x="242" y="808"/>
                </a:lnTo>
                <a:lnTo>
                  <a:pt x="248" y="808"/>
                </a:lnTo>
                <a:lnTo>
                  <a:pt x="254" y="806"/>
                </a:lnTo>
                <a:lnTo>
                  <a:pt x="254" y="806"/>
                </a:lnTo>
                <a:lnTo>
                  <a:pt x="244" y="804"/>
                </a:lnTo>
                <a:lnTo>
                  <a:pt x="244" y="804"/>
                </a:lnTo>
                <a:close/>
                <a:moveTo>
                  <a:pt x="244" y="816"/>
                </a:moveTo>
                <a:lnTo>
                  <a:pt x="244" y="816"/>
                </a:lnTo>
                <a:lnTo>
                  <a:pt x="244" y="816"/>
                </a:lnTo>
                <a:lnTo>
                  <a:pt x="244" y="816"/>
                </a:lnTo>
                <a:lnTo>
                  <a:pt x="248" y="822"/>
                </a:lnTo>
                <a:lnTo>
                  <a:pt x="248" y="822"/>
                </a:lnTo>
                <a:lnTo>
                  <a:pt x="244" y="824"/>
                </a:lnTo>
                <a:lnTo>
                  <a:pt x="244" y="824"/>
                </a:lnTo>
                <a:lnTo>
                  <a:pt x="242" y="822"/>
                </a:lnTo>
                <a:lnTo>
                  <a:pt x="242" y="822"/>
                </a:lnTo>
                <a:lnTo>
                  <a:pt x="244" y="824"/>
                </a:lnTo>
                <a:lnTo>
                  <a:pt x="244" y="824"/>
                </a:lnTo>
                <a:lnTo>
                  <a:pt x="248" y="822"/>
                </a:lnTo>
                <a:lnTo>
                  <a:pt x="248" y="822"/>
                </a:lnTo>
                <a:lnTo>
                  <a:pt x="244" y="816"/>
                </a:lnTo>
                <a:lnTo>
                  <a:pt x="244" y="816"/>
                </a:lnTo>
                <a:close/>
                <a:moveTo>
                  <a:pt x="244" y="880"/>
                </a:moveTo>
                <a:lnTo>
                  <a:pt x="244" y="880"/>
                </a:lnTo>
                <a:lnTo>
                  <a:pt x="250" y="882"/>
                </a:lnTo>
                <a:lnTo>
                  <a:pt x="250" y="882"/>
                </a:lnTo>
                <a:lnTo>
                  <a:pt x="250" y="880"/>
                </a:lnTo>
                <a:lnTo>
                  <a:pt x="250" y="880"/>
                </a:lnTo>
                <a:lnTo>
                  <a:pt x="250" y="880"/>
                </a:lnTo>
                <a:lnTo>
                  <a:pt x="250" y="882"/>
                </a:lnTo>
                <a:lnTo>
                  <a:pt x="250" y="882"/>
                </a:lnTo>
                <a:lnTo>
                  <a:pt x="244" y="880"/>
                </a:lnTo>
                <a:lnTo>
                  <a:pt x="244" y="880"/>
                </a:lnTo>
                <a:lnTo>
                  <a:pt x="244" y="880"/>
                </a:lnTo>
                <a:lnTo>
                  <a:pt x="244" y="880"/>
                </a:lnTo>
                <a:close/>
                <a:moveTo>
                  <a:pt x="190" y="918"/>
                </a:moveTo>
                <a:lnTo>
                  <a:pt x="190" y="918"/>
                </a:lnTo>
                <a:lnTo>
                  <a:pt x="190" y="916"/>
                </a:lnTo>
                <a:lnTo>
                  <a:pt x="190" y="916"/>
                </a:lnTo>
                <a:lnTo>
                  <a:pt x="190" y="916"/>
                </a:lnTo>
                <a:lnTo>
                  <a:pt x="190" y="916"/>
                </a:lnTo>
                <a:lnTo>
                  <a:pt x="190" y="918"/>
                </a:lnTo>
                <a:lnTo>
                  <a:pt x="190" y="918"/>
                </a:lnTo>
                <a:lnTo>
                  <a:pt x="186" y="920"/>
                </a:lnTo>
                <a:lnTo>
                  <a:pt x="184" y="918"/>
                </a:lnTo>
                <a:lnTo>
                  <a:pt x="184" y="918"/>
                </a:lnTo>
                <a:lnTo>
                  <a:pt x="190" y="918"/>
                </a:lnTo>
                <a:lnTo>
                  <a:pt x="190" y="918"/>
                </a:lnTo>
                <a:close/>
                <a:moveTo>
                  <a:pt x="182" y="876"/>
                </a:moveTo>
                <a:lnTo>
                  <a:pt x="182" y="876"/>
                </a:lnTo>
                <a:lnTo>
                  <a:pt x="182" y="876"/>
                </a:lnTo>
                <a:lnTo>
                  <a:pt x="182" y="876"/>
                </a:lnTo>
                <a:lnTo>
                  <a:pt x="182" y="876"/>
                </a:lnTo>
                <a:lnTo>
                  <a:pt x="182" y="876"/>
                </a:lnTo>
                <a:lnTo>
                  <a:pt x="182" y="876"/>
                </a:lnTo>
                <a:lnTo>
                  <a:pt x="182" y="876"/>
                </a:lnTo>
                <a:lnTo>
                  <a:pt x="172" y="876"/>
                </a:lnTo>
                <a:lnTo>
                  <a:pt x="172" y="876"/>
                </a:lnTo>
                <a:lnTo>
                  <a:pt x="172" y="876"/>
                </a:lnTo>
                <a:lnTo>
                  <a:pt x="182" y="876"/>
                </a:lnTo>
                <a:close/>
                <a:moveTo>
                  <a:pt x="168" y="860"/>
                </a:moveTo>
                <a:lnTo>
                  <a:pt x="168" y="860"/>
                </a:lnTo>
                <a:lnTo>
                  <a:pt x="172" y="858"/>
                </a:lnTo>
                <a:lnTo>
                  <a:pt x="172" y="856"/>
                </a:lnTo>
                <a:lnTo>
                  <a:pt x="170" y="852"/>
                </a:lnTo>
                <a:lnTo>
                  <a:pt x="170" y="852"/>
                </a:lnTo>
                <a:lnTo>
                  <a:pt x="170" y="852"/>
                </a:lnTo>
                <a:lnTo>
                  <a:pt x="170" y="852"/>
                </a:lnTo>
                <a:lnTo>
                  <a:pt x="172" y="856"/>
                </a:lnTo>
                <a:lnTo>
                  <a:pt x="172" y="858"/>
                </a:lnTo>
                <a:lnTo>
                  <a:pt x="168" y="860"/>
                </a:lnTo>
                <a:lnTo>
                  <a:pt x="168" y="860"/>
                </a:lnTo>
                <a:lnTo>
                  <a:pt x="166" y="860"/>
                </a:lnTo>
                <a:lnTo>
                  <a:pt x="166" y="860"/>
                </a:lnTo>
                <a:lnTo>
                  <a:pt x="168" y="860"/>
                </a:lnTo>
                <a:lnTo>
                  <a:pt x="168" y="860"/>
                </a:lnTo>
                <a:close/>
                <a:moveTo>
                  <a:pt x="154" y="882"/>
                </a:moveTo>
                <a:lnTo>
                  <a:pt x="154" y="882"/>
                </a:lnTo>
                <a:lnTo>
                  <a:pt x="162" y="876"/>
                </a:lnTo>
                <a:lnTo>
                  <a:pt x="162" y="876"/>
                </a:lnTo>
                <a:lnTo>
                  <a:pt x="184" y="884"/>
                </a:lnTo>
                <a:lnTo>
                  <a:pt x="184" y="884"/>
                </a:lnTo>
                <a:lnTo>
                  <a:pt x="180" y="884"/>
                </a:lnTo>
                <a:lnTo>
                  <a:pt x="176" y="884"/>
                </a:lnTo>
                <a:lnTo>
                  <a:pt x="168" y="884"/>
                </a:lnTo>
                <a:lnTo>
                  <a:pt x="168" y="884"/>
                </a:lnTo>
                <a:lnTo>
                  <a:pt x="162" y="884"/>
                </a:lnTo>
                <a:lnTo>
                  <a:pt x="158" y="884"/>
                </a:lnTo>
                <a:lnTo>
                  <a:pt x="154" y="882"/>
                </a:lnTo>
                <a:lnTo>
                  <a:pt x="154" y="882"/>
                </a:lnTo>
                <a:close/>
                <a:moveTo>
                  <a:pt x="164" y="966"/>
                </a:moveTo>
                <a:lnTo>
                  <a:pt x="164" y="966"/>
                </a:lnTo>
                <a:lnTo>
                  <a:pt x="174" y="966"/>
                </a:lnTo>
                <a:lnTo>
                  <a:pt x="174" y="966"/>
                </a:lnTo>
                <a:lnTo>
                  <a:pt x="174" y="966"/>
                </a:lnTo>
                <a:lnTo>
                  <a:pt x="174" y="966"/>
                </a:lnTo>
                <a:lnTo>
                  <a:pt x="164" y="966"/>
                </a:lnTo>
                <a:lnTo>
                  <a:pt x="164" y="966"/>
                </a:lnTo>
                <a:close/>
                <a:moveTo>
                  <a:pt x="176" y="930"/>
                </a:moveTo>
                <a:lnTo>
                  <a:pt x="176" y="930"/>
                </a:lnTo>
                <a:lnTo>
                  <a:pt x="178" y="928"/>
                </a:lnTo>
                <a:lnTo>
                  <a:pt x="178" y="928"/>
                </a:lnTo>
                <a:lnTo>
                  <a:pt x="176" y="928"/>
                </a:lnTo>
                <a:lnTo>
                  <a:pt x="176" y="928"/>
                </a:lnTo>
                <a:lnTo>
                  <a:pt x="176" y="928"/>
                </a:lnTo>
                <a:lnTo>
                  <a:pt x="176" y="928"/>
                </a:lnTo>
                <a:lnTo>
                  <a:pt x="178" y="928"/>
                </a:lnTo>
                <a:lnTo>
                  <a:pt x="178" y="928"/>
                </a:lnTo>
                <a:lnTo>
                  <a:pt x="176" y="930"/>
                </a:lnTo>
                <a:lnTo>
                  <a:pt x="176" y="930"/>
                </a:lnTo>
                <a:lnTo>
                  <a:pt x="176" y="930"/>
                </a:lnTo>
                <a:lnTo>
                  <a:pt x="176" y="930"/>
                </a:lnTo>
                <a:close/>
                <a:moveTo>
                  <a:pt x="182" y="954"/>
                </a:moveTo>
                <a:lnTo>
                  <a:pt x="182" y="954"/>
                </a:lnTo>
                <a:lnTo>
                  <a:pt x="190" y="952"/>
                </a:lnTo>
                <a:lnTo>
                  <a:pt x="190" y="952"/>
                </a:lnTo>
                <a:lnTo>
                  <a:pt x="178" y="950"/>
                </a:lnTo>
                <a:lnTo>
                  <a:pt x="178" y="950"/>
                </a:lnTo>
                <a:lnTo>
                  <a:pt x="190" y="952"/>
                </a:lnTo>
                <a:lnTo>
                  <a:pt x="190" y="952"/>
                </a:lnTo>
                <a:lnTo>
                  <a:pt x="182" y="954"/>
                </a:lnTo>
                <a:lnTo>
                  <a:pt x="182" y="954"/>
                </a:lnTo>
                <a:close/>
                <a:moveTo>
                  <a:pt x="192" y="872"/>
                </a:moveTo>
                <a:lnTo>
                  <a:pt x="192" y="872"/>
                </a:lnTo>
                <a:lnTo>
                  <a:pt x="200" y="872"/>
                </a:lnTo>
                <a:lnTo>
                  <a:pt x="200" y="872"/>
                </a:lnTo>
                <a:lnTo>
                  <a:pt x="200" y="870"/>
                </a:lnTo>
                <a:lnTo>
                  <a:pt x="200" y="870"/>
                </a:lnTo>
                <a:lnTo>
                  <a:pt x="200" y="870"/>
                </a:lnTo>
                <a:lnTo>
                  <a:pt x="200" y="872"/>
                </a:lnTo>
                <a:lnTo>
                  <a:pt x="200" y="872"/>
                </a:lnTo>
                <a:lnTo>
                  <a:pt x="192" y="872"/>
                </a:lnTo>
                <a:lnTo>
                  <a:pt x="192" y="872"/>
                </a:lnTo>
                <a:lnTo>
                  <a:pt x="192" y="872"/>
                </a:lnTo>
                <a:lnTo>
                  <a:pt x="192" y="872"/>
                </a:lnTo>
                <a:close/>
                <a:moveTo>
                  <a:pt x="194" y="958"/>
                </a:moveTo>
                <a:lnTo>
                  <a:pt x="194" y="958"/>
                </a:lnTo>
                <a:lnTo>
                  <a:pt x="198" y="958"/>
                </a:lnTo>
                <a:lnTo>
                  <a:pt x="202" y="954"/>
                </a:lnTo>
                <a:lnTo>
                  <a:pt x="202" y="954"/>
                </a:lnTo>
                <a:lnTo>
                  <a:pt x="202" y="954"/>
                </a:lnTo>
                <a:lnTo>
                  <a:pt x="202" y="954"/>
                </a:lnTo>
                <a:lnTo>
                  <a:pt x="198" y="958"/>
                </a:lnTo>
                <a:lnTo>
                  <a:pt x="194" y="958"/>
                </a:lnTo>
                <a:lnTo>
                  <a:pt x="194" y="958"/>
                </a:lnTo>
                <a:close/>
                <a:moveTo>
                  <a:pt x="202" y="908"/>
                </a:moveTo>
                <a:lnTo>
                  <a:pt x="202" y="908"/>
                </a:lnTo>
                <a:lnTo>
                  <a:pt x="210" y="908"/>
                </a:lnTo>
                <a:lnTo>
                  <a:pt x="210" y="908"/>
                </a:lnTo>
                <a:lnTo>
                  <a:pt x="210" y="908"/>
                </a:lnTo>
                <a:lnTo>
                  <a:pt x="210" y="908"/>
                </a:lnTo>
                <a:lnTo>
                  <a:pt x="202" y="908"/>
                </a:lnTo>
                <a:lnTo>
                  <a:pt x="202" y="908"/>
                </a:lnTo>
                <a:close/>
                <a:moveTo>
                  <a:pt x="208" y="892"/>
                </a:moveTo>
                <a:lnTo>
                  <a:pt x="208" y="892"/>
                </a:lnTo>
                <a:lnTo>
                  <a:pt x="208" y="892"/>
                </a:lnTo>
                <a:lnTo>
                  <a:pt x="208" y="892"/>
                </a:lnTo>
                <a:lnTo>
                  <a:pt x="214" y="890"/>
                </a:lnTo>
                <a:lnTo>
                  <a:pt x="214" y="890"/>
                </a:lnTo>
                <a:lnTo>
                  <a:pt x="214" y="888"/>
                </a:lnTo>
                <a:lnTo>
                  <a:pt x="214" y="888"/>
                </a:lnTo>
                <a:lnTo>
                  <a:pt x="212" y="888"/>
                </a:lnTo>
                <a:lnTo>
                  <a:pt x="212" y="888"/>
                </a:lnTo>
                <a:lnTo>
                  <a:pt x="214" y="888"/>
                </a:lnTo>
                <a:lnTo>
                  <a:pt x="214" y="888"/>
                </a:lnTo>
                <a:lnTo>
                  <a:pt x="214" y="890"/>
                </a:lnTo>
                <a:lnTo>
                  <a:pt x="214" y="890"/>
                </a:lnTo>
                <a:lnTo>
                  <a:pt x="208" y="892"/>
                </a:lnTo>
                <a:lnTo>
                  <a:pt x="208" y="892"/>
                </a:lnTo>
                <a:close/>
                <a:moveTo>
                  <a:pt x="220" y="888"/>
                </a:moveTo>
                <a:lnTo>
                  <a:pt x="220" y="888"/>
                </a:lnTo>
                <a:lnTo>
                  <a:pt x="220" y="882"/>
                </a:lnTo>
                <a:lnTo>
                  <a:pt x="220" y="882"/>
                </a:lnTo>
                <a:lnTo>
                  <a:pt x="232" y="880"/>
                </a:lnTo>
                <a:lnTo>
                  <a:pt x="238" y="882"/>
                </a:lnTo>
                <a:lnTo>
                  <a:pt x="244" y="886"/>
                </a:lnTo>
                <a:lnTo>
                  <a:pt x="244" y="886"/>
                </a:lnTo>
                <a:lnTo>
                  <a:pt x="230" y="892"/>
                </a:lnTo>
                <a:lnTo>
                  <a:pt x="230" y="892"/>
                </a:lnTo>
                <a:lnTo>
                  <a:pt x="224" y="892"/>
                </a:lnTo>
                <a:lnTo>
                  <a:pt x="220" y="888"/>
                </a:lnTo>
                <a:lnTo>
                  <a:pt x="220" y="888"/>
                </a:lnTo>
                <a:close/>
                <a:moveTo>
                  <a:pt x="226" y="908"/>
                </a:moveTo>
                <a:lnTo>
                  <a:pt x="226" y="908"/>
                </a:lnTo>
                <a:lnTo>
                  <a:pt x="232" y="908"/>
                </a:lnTo>
                <a:lnTo>
                  <a:pt x="232" y="908"/>
                </a:lnTo>
                <a:lnTo>
                  <a:pt x="230" y="910"/>
                </a:lnTo>
                <a:lnTo>
                  <a:pt x="230" y="910"/>
                </a:lnTo>
                <a:lnTo>
                  <a:pt x="230" y="910"/>
                </a:lnTo>
                <a:lnTo>
                  <a:pt x="230" y="910"/>
                </a:lnTo>
                <a:lnTo>
                  <a:pt x="232" y="908"/>
                </a:lnTo>
                <a:lnTo>
                  <a:pt x="232" y="908"/>
                </a:lnTo>
                <a:lnTo>
                  <a:pt x="226" y="908"/>
                </a:lnTo>
                <a:lnTo>
                  <a:pt x="226" y="908"/>
                </a:lnTo>
                <a:lnTo>
                  <a:pt x="226" y="908"/>
                </a:lnTo>
                <a:lnTo>
                  <a:pt x="226" y="908"/>
                </a:lnTo>
                <a:close/>
                <a:moveTo>
                  <a:pt x="240" y="942"/>
                </a:moveTo>
                <a:lnTo>
                  <a:pt x="240" y="942"/>
                </a:lnTo>
                <a:lnTo>
                  <a:pt x="248" y="940"/>
                </a:lnTo>
                <a:lnTo>
                  <a:pt x="248" y="940"/>
                </a:lnTo>
                <a:lnTo>
                  <a:pt x="242" y="936"/>
                </a:lnTo>
                <a:lnTo>
                  <a:pt x="242" y="936"/>
                </a:lnTo>
                <a:lnTo>
                  <a:pt x="248" y="940"/>
                </a:lnTo>
                <a:lnTo>
                  <a:pt x="248" y="940"/>
                </a:lnTo>
                <a:lnTo>
                  <a:pt x="244" y="942"/>
                </a:lnTo>
                <a:lnTo>
                  <a:pt x="240" y="942"/>
                </a:lnTo>
                <a:lnTo>
                  <a:pt x="240" y="942"/>
                </a:lnTo>
                <a:close/>
                <a:moveTo>
                  <a:pt x="248" y="936"/>
                </a:moveTo>
                <a:lnTo>
                  <a:pt x="248" y="936"/>
                </a:lnTo>
                <a:lnTo>
                  <a:pt x="238" y="930"/>
                </a:lnTo>
                <a:lnTo>
                  <a:pt x="238" y="930"/>
                </a:lnTo>
                <a:lnTo>
                  <a:pt x="230" y="926"/>
                </a:lnTo>
                <a:lnTo>
                  <a:pt x="230" y="926"/>
                </a:lnTo>
                <a:lnTo>
                  <a:pt x="234" y="922"/>
                </a:lnTo>
                <a:lnTo>
                  <a:pt x="240" y="920"/>
                </a:lnTo>
                <a:lnTo>
                  <a:pt x="252" y="922"/>
                </a:lnTo>
                <a:lnTo>
                  <a:pt x="252" y="922"/>
                </a:lnTo>
                <a:lnTo>
                  <a:pt x="256" y="916"/>
                </a:lnTo>
                <a:lnTo>
                  <a:pt x="256" y="916"/>
                </a:lnTo>
                <a:lnTo>
                  <a:pt x="264" y="916"/>
                </a:lnTo>
                <a:lnTo>
                  <a:pt x="264" y="916"/>
                </a:lnTo>
                <a:lnTo>
                  <a:pt x="274" y="916"/>
                </a:lnTo>
                <a:lnTo>
                  <a:pt x="274" y="916"/>
                </a:lnTo>
                <a:lnTo>
                  <a:pt x="248" y="936"/>
                </a:lnTo>
                <a:lnTo>
                  <a:pt x="248" y="936"/>
                </a:lnTo>
                <a:close/>
                <a:moveTo>
                  <a:pt x="268" y="940"/>
                </a:moveTo>
                <a:lnTo>
                  <a:pt x="268" y="940"/>
                </a:lnTo>
                <a:lnTo>
                  <a:pt x="268" y="940"/>
                </a:lnTo>
                <a:lnTo>
                  <a:pt x="268" y="940"/>
                </a:lnTo>
                <a:lnTo>
                  <a:pt x="278" y="940"/>
                </a:lnTo>
                <a:lnTo>
                  <a:pt x="286" y="936"/>
                </a:lnTo>
                <a:lnTo>
                  <a:pt x="286" y="936"/>
                </a:lnTo>
                <a:lnTo>
                  <a:pt x="278" y="934"/>
                </a:lnTo>
                <a:lnTo>
                  <a:pt x="278" y="934"/>
                </a:lnTo>
                <a:lnTo>
                  <a:pt x="286" y="936"/>
                </a:lnTo>
                <a:lnTo>
                  <a:pt x="286" y="936"/>
                </a:lnTo>
                <a:lnTo>
                  <a:pt x="278" y="940"/>
                </a:lnTo>
                <a:lnTo>
                  <a:pt x="268" y="940"/>
                </a:lnTo>
                <a:lnTo>
                  <a:pt x="268" y="940"/>
                </a:lnTo>
                <a:close/>
                <a:moveTo>
                  <a:pt x="278" y="900"/>
                </a:moveTo>
                <a:lnTo>
                  <a:pt x="278" y="900"/>
                </a:lnTo>
                <a:lnTo>
                  <a:pt x="274" y="904"/>
                </a:lnTo>
                <a:lnTo>
                  <a:pt x="268" y="902"/>
                </a:lnTo>
                <a:lnTo>
                  <a:pt x="262" y="902"/>
                </a:lnTo>
                <a:lnTo>
                  <a:pt x="256" y="902"/>
                </a:lnTo>
                <a:lnTo>
                  <a:pt x="256" y="902"/>
                </a:lnTo>
                <a:lnTo>
                  <a:pt x="260" y="898"/>
                </a:lnTo>
                <a:lnTo>
                  <a:pt x="264" y="896"/>
                </a:lnTo>
                <a:lnTo>
                  <a:pt x="268" y="894"/>
                </a:lnTo>
                <a:lnTo>
                  <a:pt x="274" y="894"/>
                </a:lnTo>
                <a:lnTo>
                  <a:pt x="274" y="894"/>
                </a:lnTo>
                <a:lnTo>
                  <a:pt x="286" y="894"/>
                </a:lnTo>
                <a:lnTo>
                  <a:pt x="292" y="896"/>
                </a:lnTo>
                <a:lnTo>
                  <a:pt x="296" y="900"/>
                </a:lnTo>
                <a:lnTo>
                  <a:pt x="296" y="900"/>
                </a:lnTo>
                <a:lnTo>
                  <a:pt x="292" y="904"/>
                </a:lnTo>
                <a:lnTo>
                  <a:pt x="288" y="904"/>
                </a:lnTo>
                <a:lnTo>
                  <a:pt x="284" y="904"/>
                </a:lnTo>
                <a:lnTo>
                  <a:pt x="278" y="900"/>
                </a:lnTo>
                <a:lnTo>
                  <a:pt x="278" y="900"/>
                </a:lnTo>
                <a:close/>
                <a:moveTo>
                  <a:pt x="338" y="970"/>
                </a:moveTo>
                <a:lnTo>
                  <a:pt x="338" y="970"/>
                </a:lnTo>
                <a:lnTo>
                  <a:pt x="338" y="970"/>
                </a:lnTo>
                <a:lnTo>
                  <a:pt x="338" y="970"/>
                </a:lnTo>
                <a:lnTo>
                  <a:pt x="340" y="968"/>
                </a:lnTo>
                <a:lnTo>
                  <a:pt x="340" y="968"/>
                </a:lnTo>
                <a:lnTo>
                  <a:pt x="338" y="966"/>
                </a:lnTo>
                <a:lnTo>
                  <a:pt x="338" y="966"/>
                </a:lnTo>
                <a:lnTo>
                  <a:pt x="338" y="966"/>
                </a:lnTo>
                <a:lnTo>
                  <a:pt x="338" y="966"/>
                </a:lnTo>
                <a:lnTo>
                  <a:pt x="340" y="968"/>
                </a:lnTo>
                <a:lnTo>
                  <a:pt x="340" y="968"/>
                </a:lnTo>
                <a:lnTo>
                  <a:pt x="338" y="970"/>
                </a:lnTo>
                <a:lnTo>
                  <a:pt x="338" y="970"/>
                </a:lnTo>
                <a:close/>
                <a:moveTo>
                  <a:pt x="376" y="972"/>
                </a:moveTo>
                <a:lnTo>
                  <a:pt x="376" y="972"/>
                </a:lnTo>
                <a:lnTo>
                  <a:pt x="360" y="954"/>
                </a:lnTo>
                <a:lnTo>
                  <a:pt x="360" y="954"/>
                </a:lnTo>
                <a:lnTo>
                  <a:pt x="368" y="956"/>
                </a:lnTo>
                <a:lnTo>
                  <a:pt x="372" y="956"/>
                </a:lnTo>
                <a:lnTo>
                  <a:pt x="376" y="954"/>
                </a:lnTo>
                <a:lnTo>
                  <a:pt x="376" y="954"/>
                </a:lnTo>
                <a:lnTo>
                  <a:pt x="372" y="952"/>
                </a:lnTo>
                <a:lnTo>
                  <a:pt x="368" y="952"/>
                </a:lnTo>
                <a:lnTo>
                  <a:pt x="360" y="952"/>
                </a:lnTo>
                <a:lnTo>
                  <a:pt x="360" y="952"/>
                </a:lnTo>
                <a:lnTo>
                  <a:pt x="358" y="954"/>
                </a:lnTo>
                <a:lnTo>
                  <a:pt x="356" y="958"/>
                </a:lnTo>
                <a:lnTo>
                  <a:pt x="356" y="958"/>
                </a:lnTo>
                <a:lnTo>
                  <a:pt x="354" y="960"/>
                </a:lnTo>
                <a:lnTo>
                  <a:pt x="352" y="962"/>
                </a:lnTo>
                <a:lnTo>
                  <a:pt x="352" y="962"/>
                </a:lnTo>
                <a:lnTo>
                  <a:pt x="346" y="962"/>
                </a:lnTo>
                <a:lnTo>
                  <a:pt x="342" y="960"/>
                </a:lnTo>
                <a:lnTo>
                  <a:pt x="342" y="960"/>
                </a:lnTo>
                <a:lnTo>
                  <a:pt x="338" y="958"/>
                </a:lnTo>
                <a:lnTo>
                  <a:pt x="334" y="956"/>
                </a:lnTo>
                <a:lnTo>
                  <a:pt x="326" y="952"/>
                </a:lnTo>
                <a:lnTo>
                  <a:pt x="326" y="952"/>
                </a:lnTo>
                <a:lnTo>
                  <a:pt x="322" y="956"/>
                </a:lnTo>
                <a:lnTo>
                  <a:pt x="320" y="960"/>
                </a:lnTo>
                <a:lnTo>
                  <a:pt x="316" y="962"/>
                </a:lnTo>
                <a:lnTo>
                  <a:pt x="310" y="964"/>
                </a:lnTo>
                <a:lnTo>
                  <a:pt x="310" y="964"/>
                </a:lnTo>
                <a:lnTo>
                  <a:pt x="308" y="956"/>
                </a:lnTo>
                <a:lnTo>
                  <a:pt x="308" y="956"/>
                </a:lnTo>
                <a:lnTo>
                  <a:pt x="308" y="956"/>
                </a:lnTo>
                <a:lnTo>
                  <a:pt x="308" y="956"/>
                </a:lnTo>
                <a:lnTo>
                  <a:pt x="302" y="950"/>
                </a:lnTo>
                <a:lnTo>
                  <a:pt x="302" y="950"/>
                </a:lnTo>
                <a:lnTo>
                  <a:pt x="312" y="942"/>
                </a:lnTo>
                <a:lnTo>
                  <a:pt x="312" y="942"/>
                </a:lnTo>
                <a:lnTo>
                  <a:pt x="304" y="938"/>
                </a:lnTo>
                <a:lnTo>
                  <a:pt x="304" y="938"/>
                </a:lnTo>
                <a:lnTo>
                  <a:pt x="316" y="936"/>
                </a:lnTo>
                <a:lnTo>
                  <a:pt x="316" y="936"/>
                </a:lnTo>
                <a:lnTo>
                  <a:pt x="324" y="930"/>
                </a:lnTo>
                <a:lnTo>
                  <a:pt x="330" y="926"/>
                </a:lnTo>
                <a:lnTo>
                  <a:pt x="336" y="924"/>
                </a:lnTo>
                <a:lnTo>
                  <a:pt x="336" y="924"/>
                </a:lnTo>
                <a:lnTo>
                  <a:pt x="334" y="916"/>
                </a:lnTo>
                <a:lnTo>
                  <a:pt x="334" y="916"/>
                </a:lnTo>
                <a:lnTo>
                  <a:pt x="318" y="914"/>
                </a:lnTo>
                <a:lnTo>
                  <a:pt x="318" y="914"/>
                </a:lnTo>
                <a:lnTo>
                  <a:pt x="328" y="908"/>
                </a:lnTo>
                <a:lnTo>
                  <a:pt x="328" y="908"/>
                </a:lnTo>
                <a:lnTo>
                  <a:pt x="332" y="910"/>
                </a:lnTo>
                <a:lnTo>
                  <a:pt x="334" y="912"/>
                </a:lnTo>
                <a:lnTo>
                  <a:pt x="334" y="912"/>
                </a:lnTo>
                <a:lnTo>
                  <a:pt x="344" y="910"/>
                </a:lnTo>
                <a:lnTo>
                  <a:pt x="344" y="910"/>
                </a:lnTo>
                <a:lnTo>
                  <a:pt x="346" y="910"/>
                </a:lnTo>
                <a:lnTo>
                  <a:pt x="346" y="910"/>
                </a:lnTo>
                <a:lnTo>
                  <a:pt x="358" y="908"/>
                </a:lnTo>
                <a:lnTo>
                  <a:pt x="362" y="910"/>
                </a:lnTo>
                <a:lnTo>
                  <a:pt x="366" y="910"/>
                </a:lnTo>
                <a:lnTo>
                  <a:pt x="366" y="910"/>
                </a:lnTo>
                <a:lnTo>
                  <a:pt x="368" y="914"/>
                </a:lnTo>
                <a:lnTo>
                  <a:pt x="368" y="916"/>
                </a:lnTo>
                <a:lnTo>
                  <a:pt x="366" y="920"/>
                </a:lnTo>
                <a:lnTo>
                  <a:pt x="362" y="924"/>
                </a:lnTo>
                <a:lnTo>
                  <a:pt x="362" y="924"/>
                </a:lnTo>
                <a:lnTo>
                  <a:pt x="358" y="922"/>
                </a:lnTo>
                <a:lnTo>
                  <a:pt x="354" y="920"/>
                </a:lnTo>
                <a:lnTo>
                  <a:pt x="350" y="920"/>
                </a:lnTo>
                <a:lnTo>
                  <a:pt x="344" y="922"/>
                </a:lnTo>
                <a:lnTo>
                  <a:pt x="344" y="922"/>
                </a:lnTo>
                <a:lnTo>
                  <a:pt x="358" y="924"/>
                </a:lnTo>
                <a:lnTo>
                  <a:pt x="358" y="924"/>
                </a:lnTo>
                <a:lnTo>
                  <a:pt x="374" y="930"/>
                </a:lnTo>
                <a:lnTo>
                  <a:pt x="374" y="930"/>
                </a:lnTo>
                <a:lnTo>
                  <a:pt x="362" y="936"/>
                </a:lnTo>
                <a:lnTo>
                  <a:pt x="356" y="938"/>
                </a:lnTo>
                <a:lnTo>
                  <a:pt x="348" y="938"/>
                </a:lnTo>
                <a:lnTo>
                  <a:pt x="348" y="938"/>
                </a:lnTo>
                <a:lnTo>
                  <a:pt x="354" y="942"/>
                </a:lnTo>
                <a:lnTo>
                  <a:pt x="354" y="942"/>
                </a:lnTo>
                <a:lnTo>
                  <a:pt x="356" y="944"/>
                </a:lnTo>
                <a:lnTo>
                  <a:pt x="356" y="948"/>
                </a:lnTo>
                <a:lnTo>
                  <a:pt x="356" y="948"/>
                </a:lnTo>
                <a:lnTo>
                  <a:pt x="364" y="944"/>
                </a:lnTo>
                <a:lnTo>
                  <a:pt x="364" y="944"/>
                </a:lnTo>
                <a:lnTo>
                  <a:pt x="376" y="942"/>
                </a:lnTo>
                <a:lnTo>
                  <a:pt x="376" y="942"/>
                </a:lnTo>
                <a:lnTo>
                  <a:pt x="372" y="938"/>
                </a:lnTo>
                <a:lnTo>
                  <a:pt x="372" y="938"/>
                </a:lnTo>
                <a:lnTo>
                  <a:pt x="378" y="936"/>
                </a:lnTo>
                <a:lnTo>
                  <a:pt x="378" y="936"/>
                </a:lnTo>
                <a:lnTo>
                  <a:pt x="380" y="946"/>
                </a:lnTo>
                <a:lnTo>
                  <a:pt x="380" y="946"/>
                </a:lnTo>
                <a:lnTo>
                  <a:pt x="388" y="950"/>
                </a:lnTo>
                <a:lnTo>
                  <a:pt x="388" y="950"/>
                </a:lnTo>
                <a:lnTo>
                  <a:pt x="384" y="954"/>
                </a:lnTo>
                <a:lnTo>
                  <a:pt x="384" y="954"/>
                </a:lnTo>
                <a:lnTo>
                  <a:pt x="384" y="956"/>
                </a:lnTo>
                <a:lnTo>
                  <a:pt x="386" y="958"/>
                </a:lnTo>
                <a:lnTo>
                  <a:pt x="392" y="960"/>
                </a:lnTo>
                <a:lnTo>
                  <a:pt x="398" y="962"/>
                </a:lnTo>
                <a:lnTo>
                  <a:pt x="400" y="964"/>
                </a:lnTo>
                <a:lnTo>
                  <a:pt x="400" y="968"/>
                </a:lnTo>
                <a:lnTo>
                  <a:pt x="400" y="968"/>
                </a:lnTo>
                <a:lnTo>
                  <a:pt x="394" y="970"/>
                </a:lnTo>
                <a:lnTo>
                  <a:pt x="388" y="970"/>
                </a:lnTo>
                <a:lnTo>
                  <a:pt x="380" y="970"/>
                </a:lnTo>
                <a:lnTo>
                  <a:pt x="376" y="972"/>
                </a:lnTo>
                <a:lnTo>
                  <a:pt x="376" y="972"/>
                </a:lnTo>
                <a:close/>
                <a:moveTo>
                  <a:pt x="412" y="1018"/>
                </a:moveTo>
                <a:lnTo>
                  <a:pt x="412" y="1018"/>
                </a:lnTo>
                <a:lnTo>
                  <a:pt x="406" y="1016"/>
                </a:lnTo>
                <a:lnTo>
                  <a:pt x="402" y="1014"/>
                </a:lnTo>
                <a:lnTo>
                  <a:pt x="400" y="1010"/>
                </a:lnTo>
                <a:lnTo>
                  <a:pt x="400" y="1006"/>
                </a:lnTo>
                <a:lnTo>
                  <a:pt x="400" y="1006"/>
                </a:lnTo>
                <a:lnTo>
                  <a:pt x="394" y="1006"/>
                </a:lnTo>
                <a:lnTo>
                  <a:pt x="392" y="1006"/>
                </a:lnTo>
                <a:lnTo>
                  <a:pt x="392" y="1006"/>
                </a:lnTo>
                <a:lnTo>
                  <a:pt x="394" y="1006"/>
                </a:lnTo>
                <a:lnTo>
                  <a:pt x="400" y="1006"/>
                </a:lnTo>
                <a:lnTo>
                  <a:pt x="400" y="1006"/>
                </a:lnTo>
                <a:lnTo>
                  <a:pt x="400" y="1010"/>
                </a:lnTo>
                <a:lnTo>
                  <a:pt x="402" y="1014"/>
                </a:lnTo>
                <a:lnTo>
                  <a:pt x="406" y="1016"/>
                </a:lnTo>
                <a:lnTo>
                  <a:pt x="412" y="1018"/>
                </a:lnTo>
                <a:lnTo>
                  <a:pt x="412" y="1018"/>
                </a:lnTo>
                <a:lnTo>
                  <a:pt x="412" y="1018"/>
                </a:lnTo>
                <a:lnTo>
                  <a:pt x="412" y="1018"/>
                </a:lnTo>
                <a:close/>
                <a:moveTo>
                  <a:pt x="568" y="964"/>
                </a:moveTo>
                <a:lnTo>
                  <a:pt x="568" y="964"/>
                </a:lnTo>
                <a:lnTo>
                  <a:pt x="558" y="968"/>
                </a:lnTo>
                <a:lnTo>
                  <a:pt x="546" y="968"/>
                </a:lnTo>
                <a:lnTo>
                  <a:pt x="546" y="968"/>
                </a:lnTo>
                <a:lnTo>
                  <a:pt x="540" y="968"/>
                </a:lnTo>
                <a:lnTo>
                  <a:pt x="536" y="970"/>
                </a:lnTo>
                <a:lnTo>
                  <a:pt x="532" y="972"/>
                </a:lnTo>
                <a:lnTo>
                  <a:pt x="528" y="974"/>
                </a:lnTo>
                <a:lnTo>
                  <a:pt x="528" y="974"/>
                </a:lnTo>
                <a:lnTo>
                  <a:pt x="524" y="976"/>
                </a:lnTo>
                <a:lnTo>
                  <a:pt x="524" y="976"/>
                </a:lnTo>
                <a:lnTo>
                  <a:pt x="508" y="974"/>
                </a:lnTo>
                <a:lnTo>
                  <a:pt x="508" y="974"/>
                </a:lnTo>
                <a:lnTo>
                  <a:pt x="508" y="972"/>
                </a:lnTo>
                <a:lnTo>
                  <a:pt x="508" y="972"/>
                </a:lnTo>
                <a:lnTo>
                  <a:pt x="524" y="968"/>
                </a:lnTo>
                <a:lnTo>
                  <a:pt x="524" y="968"/>
                </a:lnTo>
                <a:lnTo>
                  <a:pt x="490" y="970"/>
                </a:lnTo>
                <a:lnTo>
                  <a:pt x="474" y="972"/>
                </a:lnTo>
                <a:lnTo>
                  <a:pt x="460" y="976"/>
                </a:lnTo>
                <a:lnTo>
                  <a:pt x="460" y="976"/>
                </a:lnTo>
                <a:lnTo>
                  <a:pt x="452" y="970"/>
                </a:lnTo>
                <a:lnTo>
                  <a:pt x="448" y="970"/>
                </a:lnTo>
                <a:lnTo>
                  <a:pt x="444" y="972"/>
                </a:lnTo>
                <a:lnTo>
                  <a:pt x="444" y="972"/>
                </a:lnTo>
                <a:lnTo>
                  <a:pt x="444" y="968"/>
                </a:lnTo>
                <a:lnTo>
                  <a:pt x="444" y="968"/>
                </a:lnTo>
                <a:lnTo>
                  <a:pt x="442" y="972"/>
                </a:lnTo>
                <a:lnTo>
                  <a:pt x="442" y="972"/>
                </a:lnTo>
                <a:lnTo>
                  <a:pt x="438" y="974"/>
                </a:lnTo>
                <a:lnTo>
                  <a:pt x="438" y="974"/>
                </a:lnTo>
                <a:lnTo>
                  <a:pt x="436" y="976"/>
                </a:lnTo>
                <a:lnTo>
                  <a:pt x="434" y="978"/>
                </a:lnTo>
                <a:lnTo>
                  <a:pt x="436" y="980"/>
                </a:lnTo>
                <a:lnTo>
                  <a:pt x="438" y="984"/>
                </a:lnTo>
                <a:lnTo>
                  <a:pt x="438" y="984"/>
                </a:lnTo>
                <a:lnTo>
                  <a:pt x="428" y="1004"/>
                </a:lnTo>
                <a:lnTo>
                  <a:pt x="422" y="1012"/>
                </a:lnTo>
                <a:lnTo>
                  <a:pt x="420" y="1012"/>
                </a:lnTo>
                <a:lnTo>
                  <a:pt x="416" y="1012"/>
                </a:lnTo>
                <a:lnTo>
                  <a:pt x="416" y="1012"/>
                </a:lnTo>
                <a:lnTo>
                  <a:pt x="420" y="1008"/>
                </a:lnTo>
                <a:lnTo>
                  <a:pt x="422" y="1000"/>
                </a:lnTo>
                <a:lnTo>
                  <a:pt x="422" y="1000"/>
                </a:lnTo>
                <a:lnTo>
                  <a:pt x="418" y="998"/>
                </a:lnTo>
                <a:lnTo>
                  <a:pt x="414" y="996"/>
                </a:lnTo>
                <a:lnTo>
                  <a:pt x="414" y="996"/>
                </a:lnTo>
                <a:lnTo>
                  <a:pt x="410" y="994"/>
                </a:lnTo>
                <a:lnTo>
                  <a:pt x="408" y="992"/>
                </a:lnTo>
                <a:lnTo>
                  <a:pt x="400" y="992"/>
                </a:lnTo>
                <a:lnTo>
                  <a:pt x="400" y="992"/>
                </a:lnTo>
                <a:lnTo>
                  <a:pt x="400" y="992"/>
                </a:lnTo>
                <a:lnTo>
                  <a:pt x="400" y="992"/>
                </a:lnTo>
                <a:lnTo>
                  <a:pt x="408" y="992"/>
                </a:lnTo>
                <a:lnTo>
                  <a:pt x="410" y="994"/>
                </a:lnTo>
                <a:lnTo>
                  <a:pt x="414" y="996"/>
                </a:lnTo>
                <a:lnTo>
                  <a:pt x="414" y="996"/>
                </a:lnTo>
                <a:lnTo>
                  <a:pt x="418" y="998"/>
                </a:lnTo>
                <a:lnTo>
                  <a:pt x="422" y="1000"/>
                </a:lnTo>
                <a:lnTo>
                  <a:pt x="422" y="1000"/>
                </a:lnTo>
                <a:lnTo>
                  <a:pt x="430" y="968"/>
                </a:lnTo>
                <a:lnTo>
                  <a:pt x="432" y="952"/>
                </a:lnTo>
                <a:lnTo>
                  <a:pt x="436" y="942"/>
                </a:lnTo>
                <a:lnTo>
                  <a:pt x="436" y="942"/>
                </a:lnTo>
                <a:lnTo>
                  <a:pt x="438" y="930"/>
                </a:lnTo>
                <a:lnTo>
                  <a:pt x="438" y="930"/>
                </a:lnTo>
                <a:lnTo>
                  <a:pt x="438" y="930"/>
                </a:lnTo>
                <a:lnTo>
                  <a:pt x="438" y="930"/>
                </a:lnTo>
                <a:lnTo>
                  <a:pt x="436" y="942"/>
                </a:lnTo>
                <a:lnTo>
                  <a:pt x="436" y="942"/>
                </a:lnTo>
                <a:lnTo>
                  <a:pt x="436" y="940"/>
                </a:lnTo>
                <a:lnTo>
                  <a:pt x="436" y="940"/>
                </a:lnTo>
                <a:lnTo>
                  <a:pt x="434" y="976"/>
                </a:lnTo>
                <a:lnTo>
                  <a:pt x="432" y="990"/>
                </a:lnTo>
                <a:lnTo>
                  <a:pt x="430" y="998"/>
                </a:lnTo>
                <a:lnTo>
                  <a:pt x="430" y="998"/>
                </a:lnTo>
                <a:lnTo>
                  <a:pt x="432" y="990"/>
                </a:lnTo>
                <a:lnTo>
                  <a:pt x="434" y="976"/>
                </a:lnTo>
                <a:lnTo>
                  <a:pt x="438" y="940"/>
                </a:lnTo>
                <a:lnTo>
                  <a:pt x="438" y="940"/>
                </a:lnTo>
                <a:lnTo>
                  <a:pt x="438" y="940"/>
                </a:lnTo>
                <a:lnTo>
                  <a:pt x="438" y="940"/>
                </a:lnTo>
                <a:lnTo>
                  <a:pt x="444" y="940"/>
                </a:lnTo>
                <a:lnTo>
                  <a:pt x="444" y="940"/>
                </a:lnTo>
                <a:lnTo>
                  <a:pt x="458" y="936"/>
                </a:lnTo>
                <a:lnTo>
                  <a:pt x="458" y="936"/>
                </a:lnTo>
                <a:lnTo>
                  <a:pt x="452" y="930"/>
                </a:lnTo>
                <a:lnTo>
                  <a:pt x="452" y="930"/>
                </a:lnTo>
                <a:lnTo>
                  <a:pt x="480" y="932"/>
                </a:lnTo>
                <a:lnTo>
                  <a:pt x="480" y="932"/>
                </a:lnTo>
                <a:lnTo>
                  <a:pt x="480" y="934"/>
                </a:lnTo>
                <a:lnTo>
                  <a:pt x="480" y="934"/>
                </a:lnTo>
                <a:lnTo>
                  <a:pt x="482" y="936"/>
                </a:lnTo>
                <a:lnTo>
                  <a:pt x="482" y="936"/>
                </a:lnTo>
                <a:lnTo>
                  <a:pt x="486" y="936"/>
                </a:lnTo>
                <a:lnTo>
                  <a:pt x="486" y="938"/>
                </a:lnTo>
                <a:lnTo>
                  <a:pt x="486" y="938"/>
                </a:lnTo>
                <a:lnTo>
                  <a:pt x="488" y="944"/>
                </a:lnTo>
                <a:lnTo>
                  <a:pt x="490" y="946"/>
                </a:lnTo>
                <a:lnTo>
                  <a:pt x="500" y="952"/>
                </a:lnTo>
                <a:lnTo>
                  <a:pt x="500" y="952"/>
                </a:lnTo>
                <a:lnTo>
                  <a:pt x="498" y="954"/>
                </a:lnTo>
                <a:lnTo>
                  <a:pt x="494" y="954"/>
                </a:lnTo>
                <a:lnTo>
                  <a:pt x="490" y="954"/>
                </a:lnTo>
                <a:lnTo>
                  <a:pt x="486" y="954"/>
                </a:lnTo>
                <a:lnTo>
                  <a:pt x="486" y="954"/>
                </a:lnTo>
                <a:lnTo>
                  <a:pt x="494" y="958"/>
                </a:lnTo>
                <a:lnTo>
                  <a:pt x="498" y="960"/>
                </a:lnTo>
                <a:lnTo>
                  <a:pt x="502" y="958"/>
                </a:lnTo>
                <a:lnTo>
                  <a:pt x="502" y="958"/>
                </a:lnTo>
                <a:lnTo>
                  <a:pt x="506" y="958"/>
                </a:lnTo>
                <a:lnTo>
                  <a:pt x="506" y="958"/>
                </a:lnTo>
                <a:lnTo>
                  <a:pt x="512" y="960"/>
                </a:lnTo>
                <a:lnTo>
                  <a:pt x="518" y="960"/>
                </a:lnTo>
                <a:lnTo>
                  <a:pt x="530" y="956"/>
                </a:lnTo>
                <a:lnTo>
                  <a:pt x="530" y="956"/>
                </a:lnTo>
                <a:lnTo>
                  <a:pt x="540" y="954"/>
                </a:lnTo>
                <a:lnTo>
                  <a:pt x="540" y="954"/>
                </a:lnTo>
                <a:lnTo>
                  <a:pt x="552" y="954"/>
                </a:lnTo>
                <a:lnTo>
                  <a:pt x="558" y="958"/>
                </a:lnTo>
                <a:lnTo>
                  <a:pt x="564" y="960"/>
                </a:lnTo>
                <a:lnTo>
                  <a:pt x="564" y="960"/>
                </a:lnTo>
                <a:lnTo>
                  <a:pt x="564" y="956"/>
                </a:lnTo>
                <a:lnTo>
                  <a:pt x="566" y="954"/>
                </a:lnTo>
                <a:lnTo>
                  <a:pt x="570" y="954"/>
                </a:lnTo>
                <a:lnTo>
                  <a:pt x="570" y="954"/>
                </a:lnTo>
                <a:lnTo>
                  <a:pt x="570" y="960"/>
                </a:lnTo>
                <a:lnTo>
                  <a:pt x="570" y="962"/>
                </a:lnTo>
                <a:lnTo>
                  <a:pt x="568" y="964"/>
                </a:lnTo>
                <a:lnTo>
                  <a:pt x="568" y="964"/>
                </a:lnTo>
                <a:close/>
                <a:moveTo>
                  <a:pt x="700" y="978"/>
                </a:moveTo>
                <a:lnTo>
                  <a:pt x="700" y="978"/>
                </a:lnTo>
                <a:lnTo>
                  <a:pt x="704" y="978"/>
                </a:lnTo>
                <a:lnTo>
                  <a:pt x="704" y="978"/>
                </a:lnTo>
                <a:lnTo>
                  <a:pt x="704" y="976"/>
                </a:lnTo>
                <a:lnTo>
                  <a:pt x="704" y="976"/>
                </a:lnTo>
                <a:lnTo>
                  <a:pt x="704" y="976"/>
                </a:lnTo>
                <a:lnTo>
                  <a:pt x="706" y="978"/>
                </a:lnTo>
                <a:lnTo>
                  <a:pt x="706" y="978"/>
                </a:lnTo>
                <a:lnTo>
                  <a:pt x="700" y="978"/>
                </a:lnTo>
                <a:lnTo>
                  <a:pt x="700" y="978"/>
                </a:lnTo>
                <a:lnTo>
                  <a:pt x="700" y="978"/>
                </a:lnTo>
                <a:lnTo>
                  <a:pt x="700" y="978"/>
                </a:lnTo>
                <a:close/>
                <a:moveTo>
                  <a:pt x="704" y="1006"/>
                </a:moveTo>
                <a:lnTo>
                  <a:pt x="704" y="1006"/>
                </a:lnTo>
                <a:lnTo>
                  <a:pt x="704" y="1006"/>
                </a:lnTo>
                <a:lnTo>
                  <a:pt x="704" y="1006"/>
                </a:lnTo>
                <a:lnTo>
                  <a:pt x="706" y="1004"/>
                </a:lnTo>
                <a:lnTo>
                  <a:pt x="706" y="1004"/>
                </a:lnTo>
                <a:lnTo>
                  <a:pt x="704" y="1004"/>
                </a:lnTo>
                <a:lnTo>
                  <a:pt x="704" y="1004"/>
                </a:lnTo>
                <a:lnTo>
                  <a:pt x="704" y="1004"/>
                </a:lnTo>
                <a:lnTo>
                  <a:pt x="704" y="1004"/>
                </a:lnTo>
                <a:lnTo>
                  <a:pt x="706" y="1004"/>
                </a:lnTo>
                <a:lnTo>
                  <a:pt x="706" y="1004"/>
                </a:lnTo>
                <a:lnTo>
                  <a:pt x="704" y="1006"/>
                </a:lnTo>
                <a:lnTo>
                  <a:pt x="704" y="1006"/>
                </a:lnTo>
                <a:close/>
                <a:moveTo>
                  <a:pt x="648" y="1110"/>
                </a:moveTo>
                <a:lnTo>
                  <a:pt x="648" y="1110"/>
                </a:lnTo>
                <a:lnTo>
                  <a:pt x="658" y="1112"/>
                </a:lnTo>
                <a:lnTo>
                  <a:pt x="658" y="1112"/>
                </a:lnTo>
                <a:lnTo>
                  <a:pt x="658" y="1114"/>
                </a:lnTo>
                <a:lnTo>
                  <a:pt x="658" y="1114"/>
                </a:lnTo>
                <a:lnTo>
                  <a:pt x="658" y="1114"/>
                </a:lnTo>
                <a:lnTo>
                  <a:pt x="658" y="1114"/>
                </a:lnTo>
                <a:lnTo>
                  <a:pt x="658" y="1112"/>
                </a:lnTo>
                <a:lnTo>
                  <a:pt x="656" y="1112"/>
                </a:lnTo>
                <a:lnTo>
                  <a:pt x="648" y="1110"/>
                </a:lnTo>
                <a:lnTo>
                  <a:pt x="648" y="1110"/>
                </a:lnTo>
                <a:lnTo>
                  <a:pt x="648" y="1110"/>
                </a:lnTo>
                <a:lnTo>
                  <a:pt x="648" y="1110"/>
                </a:lnTo>
                <a:close/>
                <a:moveTo>
                  <a:pt x="658" y="1116"/>
                </a:moveTo>
                <a:lnTo>
                  <a:pt x="658" y="1116"/>
                </a:lnTo>
                <a:lnTo>
                  <a:pt x="658" y="1116"/>
                </a:lnTo>
                <a:lnTo>
                  <a:pt x="658" y="1116"/>
                </a:lnTo>
                <a:lnTo>
                  <a:pt x="658" y="1116"/>
                </a:lnTo>
                <a:lnTo>
                  <a:pt x="658" y="1116"/>
                </a:lnTo>
                <a:lnTo>
                  <a:pt x="658" y="1116"/>
                </a:lnTo>
                <a:lnTo>
                  <a:pt x="658" y="1116"/>
                </a:lnTo>
                <a:lnTo>
                  <a:pt x="658" y="1116"/>
                </a:lnTo>
                <a:close/>
                <a:moveTo>
                  <a:pt x="756" y="1122"/>
                </a:moveTo>
                <a:lnTo>
                  <a:pt x="756" y="1122"/>
                </a:lnTo>
                <a:lnTo>
                  <a:pt x="756" y="1122"/>
                </a:lnTo>
                <a:lnTo>
                  <a:pt x="756" y="1122"/>
                </a:lnTo>
                <a:lnTo>
                  <a:pt x="756" y="1122"/>
                </a:lnTo>
                <a:lnTo>
                  <a:pt x="756" y="1122"/>
                </a:lnTo>
                <a:lnTo>
                  <a:pt x="756" y="1122"/>
                </a:lnTo>
                <a:lnTo>
                  <a:pt x="756" y="1122"/>
                </a:lnTo>
                <a:lnTo>
                  <a:pt x="756" y="1122"/>
                </a:lnTo>
                <a:lnTo>
                  <a:pt x="756" y="1122"/>
                </a:lnTo>
                <a:close/>
                <a:moveTo>
                  <a:pt x="784" y="1108"/>
                </a:moveTo>
                <a:lnTo>
                  <a:pt x="784" y="1108"/>
                </a:lnTo>
                <a:lnTo>
                  <a:pt x="784" y="1108"/>
                </a:lnTo>
                <a:lnTo>
                  <a:pt x="784" y="1108"/>
                </a:lnTo>
                <a:lnTo>
                  <a:pt x="782" y="1106"/>
                </a:lnTo>
                <a:lnTo>
                  <a:pt x="782" y="1106"/>
                </a:lnTo>
                <a:lnTo>
                  <a:pt x="784" y="1108"/>
                </a:lnTo>
                <a:lnTo>
                  <a:pt x="784" y="1108"/>
                </a:lnTo>
                <a:close/>
                <a:moveTo>
                  <a:pt x="784" y="1124"/>
                </a:moveTo>
                <a:lnTo>
                  <a:pt x="784" y="1124"/>
                </a:lnTo>
                <a:lnTo>
                  <a:pt x="784" y="1124"/>
                </a:lnTo>
                <a:lnTo>
                  <a:pt x="784" y="1124"/>
                </a:lnTo>
                <a:lnTo>
                  <a:pt x="782" y="1124"/>
                </a:lnTo>
                <a:lnTo>
                  <a:pt x="782" y="1124"/>
                </a:lnTo>
                <a:lnTo>
                  <a:pt x="782" y="1124"/>
                </a:lnTo>
                <a:lnTo>
                  <a:pt x="782" y="1124"/>
                </a:lnTo>
                <a:lnTo>
                  <a:pt x="784" y="1124"/>
                </a:lnTo>
                <a:lnTo>
                  <a:pt x="784" y="1124"/>
                </a:lnTo>
                <a:close/>
                <a:moveTo>
                  <a:pt x="1110" y="1130"/>
                </a:moveTo>
                <a:lnTo>
                  <a:pt x="1110" y="1130"/>
                </a:lnTo>
                <a:lnTo>
                  <a:pt x="1118" y="1130"/>
                </a:lnTo>
                <a:lnTo>
                  <a:pt x="1124" y="1134"/>
                </a:lnTo>
                <a:lnTo>
                  <a:pt x="1124" y="1134"/>
                </a:lnTo>
                <a:lnTo>
                  <a:pt x="1126" y="1136"/>
                </a:lnTo>
                <a:lnTo>
                  <a:pt x="1126" y="1136"/>
                </a:lnTo>
                <a:lnTo>
                  <a:pt x="1120" y="1138"/>
                </a:lnTo>
                <a:lnTo>
                  <a:pt x="1120" y="1138"/>
                </a:lnTo>
                <a:lnTo>
                  <a:pt x="1112" y="1136"/>
                </a:lnTo>
                <a:lnTo>
                  <a:pt x="1110" y="1134"/>
                </a:lnTo>
                <a:lnTo>
                  <a:pt x="1110" y="1130"/>
                </a:lnTo>
                <a:lnTo>
                  <a:pt x="1110" y="1130"/>
                </a:lnTo>
                <a:close/>
                <a:moveTo>
                  <a:pt x="1072" y="1058"/>
                </a:moveTo>
                <a:lnTo>
                  <a:pt x="1072" y="1058"/>
                </a:lnTo>
                <a:lnTo>
                  <a:pt x="1082" y="1062"/>
                </a:lnTo>
                <a:lnTo>
                  <a:pt x="1082" y="1062"/>
                </a:lnTo>
                <a:lnTo>
                  <a:pt x="1074" y="1068"/>
                </a:lnTo>
                <a:lnTo>
                  <a:pt x="1074" y="1068"/>
                </a:lnTo>
                <a:lnTo>
                  <a:pt x="1074" y="1068"/>
                </a:lnTo>
                <a:lnTo>
                  <a:pt x="1074" y="1068"/>
                </a:lnTo>
                <a:lnTo>
                  <a:pt x="1082" y="1062"/>
                </a:lnTo>
                <a:lnTo>
                  <a:pt x="1082" y="1062"/>
                </a:lnTo>
                <a:lnTo>
                  <a:pt x="1072" y="1058"/>
                </a:lnTo>
                <a:lnTo>
                  <a:pt x="1072" y="1058"/>
                </a:lnTo>
                <a:lnTo>
                  <a:pt x="1072" y="1058"/>
                </a:lnTo>
                <a:lnTo>
                  <a:pt x="1072" y="1058"/>
                </a:lnTo>
                <a:close/>
                <a:moveTo>
                  <a:pt x="992" y="934"/>
                </a:moveTo>
                <a:lnTo>
                  <a:pt x="992" y="934"/>
                </a:lnTo>
                <a:lnTo>
                  <a:pt x="1000" y="934"/>
                </a:lnTo>
                <a:lnTo>
                  <a:pt x="1002" y="934"/>
                </a:lnTo>
                <a:lnTo>
                  <a:pt x="1004" y="932"/>
                </a:lnTo>
                <a:lnTo>
                  <a:pt x="1004" y="932"/>
                </a:lnTo>
                <a:lnTo>
                  <a:pt x="1004" y="932"/>
                </a:lnTo>
                <a:lnTo>
                  <a:pt x="1004" y="932"/>
                </a:lnTo>
                <a:lnTo>
                  <a:pt x="1002" y="934"/>
                </a:lnTo>
                <a:lnTo>
                  <a:pt x="1000" y="934"/>
                </a:lnTo>
                <a:lnTo>
                  <a:pt x="992" y="934"/>
                </a:lnTo>
                <a:lnTo>
                  <a:pt x="992" y="934"/>
                </a:lnTo>
                <a:lnTo>
                  <a:pt x="992" y="934"/>
                </a:lnTo>
                <a:lnTo>
                  <a:pt x="992" y="934"/>
                </a:lnTo>
                <a:close/>
                <a:moveTo>
                  <a:pt x="980" y="912"/>
                </a:moveTo>
                <a:lnTo>
                  <a:pt x="980" y="912"/>
                </a:lnTo>
                <a:lnTo>
                  <a:pt x="980" y="912"/>
                </a:lnTo>
                <a:lnTo>
                  <a:pt x="952" y="912"/>
                </a:lnTo>
                <a:lnTo>
                  <a:pt x="952" y="912"/>
                </a:lnTo>
                <a:lnTo>
                  <a:pt x="952" y="912"/>
                </a:lnTo>
                <a:lnTo>
                  <a:pt x="980" y="912"/>
                </a:lnTo>
                <a:close/>
                <a:moveTo>
                  <a:pt x="924" y="978"/>
                </a:moveTo>
                <a:lnTo>
                  <a:pt x="924" y="978"/>
                </a:lnTo>
                <a:lnTo>
                  <a:pt x="920" y="982"/>
                </a:lnTo>
                <a:lnTo>
                  <a:pt x="914" y="982"/>
                </a:lnTo>
                <a:lnTo>
                  <a:pt x="906" y="984"/>
                </a:lnTo>
                <a:lnTo>
                  <a:pt x="906" y="984"/>
                </a:lnTo>
                <a:lnTo>
                  <a:pt x="888" y="990"/>
                </a:lnTo>
                <a:lnTo>
                  <a:pt x="888" y="990"/>
                </a:lnTo>
                <a:lnTo>
                  <a:pt x="892" y="982"/>
                </a:lnTo>
                <a:lnTo>
                  <a:pt x="892" y="982"/>
                </a:lnTo>
                <a:lnTo>
                  <a:pt x="886" y="978"/>
                </a:lnTo>
                <a:lnTo>
                  <a:pt x="886" y="978"/>
                </a:lnTo>
                <a:lnTo>
                  <a:pt x="896" y="976"/>
                </a:lnTo>
                <a:lnTo>
                  <a:pt x="906" y="976"/>
                </a:lnTo>
                <a:lnTo>
                  <a:pt x="924" y="978"/>
                </a:lnTo>
                <a:lnTo>
                  <a:pt x="924" y="978"/>
                </a:lnTo>
                <a:close/>
                <a:moveTo>
                  <a:pt x="904" y="994"/>
                </a:moveTo>
                <a:lnTo>
                  <a:pt x="904" y="994"/>
                </a:lnTo>
                <a:lnTo>
                  <a:pt x="904" y="994"/>
                </a:lnTo>
                <a:lnTo>
                  <a:pt x="904" y="994"/>
                </a:lnTo>
                <a:lnTo>
                  <a:pt x="920" y="998"/>
                </a:lnTo>
                <a:lnTo>
                  <a:pt x="920" y="1000"/>
                </a:lnTo>
                <a:lnTo>
                  <a:pt x="920" y="1000"/>
                </a:lnTo>
                <a:lnTo>
                  <a:pt x="920" y="1000"/>
                </a:lnTo>
                <a:lnTo>
                  <a:pt x="920" y="1000"/>
                </a:lnTo>
                <a:lnTo>
                  <a:pt x="920" y="998"/>
                </a:lnTo>
                <a:lnTo>
                  <a:pt x="920" y="998"/>
                </a:lnTo>
                <a:lnTo>
                  <a:pt x="904" y="994"/>
                </a:lnTo>
                <a:lnTo>
                  <a:pt x="904" y="994"/>
                </a:lnTo>
                <a:close/>
                <a:moveTo>
                  <a:pt x="938" y="1038"/>
                </a:moveTo>
                <a:lnTo>
                  <a:pt x="938" y="1038"/>
                </a:lnTo>
                <a:lnTo>
                  <a:pt x="942" y="1042"/>
                </a:lnTo>
                <a:lnTo>
                  <a:pt x="942" y="1042"/>
                </a:lnTo>
                <a:lnTo>
                  <a:pt x="936" y="1042"/>
                </a:lnTo>
                <a:lnTo>
                  <a:pt x="936" y="1042"/>
                </a:lnTo>
                <a:lnTo>
                  <a:pt x="940" y="1042"/>
                </a:lnTo>
                <a:lnTo>
                  <a:pt x="940" y="1042"/>
                </a:lnTo>
                <a:lnTo>
                  <a:pt x="938" y="1038"/>
                </a:lnTo>
                <a:lnTo>
                  <a:pt x="938" y="1038"/>
                </a:lnTo>
                <a:close/>
                <a:moveTo>
                  <a:pt x="940" y="1046"/>
                </a:moveTo>
                <a:lnTo>
                  <a:pt x="940" y="1046"/>
                </a:lnTo>
                <a:lnTo>
                  <a:pt x="940" y="1046"/>
                </a:lnTo>
                <a:lnTo>
                  <a:pt x="940" y="1046"/>
                </a:lnTo>
                <a:lnTo>
                  <a:pt x="946" y="1048"/>
                </a:lnTo>
                <a:lnTo>
                  <a:pt x="946" y="1048"/>
                </a:lnTo>
                <a:lnTo>
                  <a:pt x="944" y="1048"/>
                </a:lnTo>
                <a:lnTo>
                  <a:pt x="944" y="1048"/>
                </a:lnTo>
                <a:lnTo>
                  <a:pt x="944" y="1048"/>
                </a:lnTo>
                <a:lnTo>
                  <a:pt x="944" y="1048"/>
                </a:lnTo>
                <a:lnTo>
                  <a:pt x="946" y="1048"/>
                </a:lnTo>
                <a:lnTo>
                  <a:pt x="946" y="1048"/>
                </a:lnTo>
                <a:lnTo>
                  <a:pt x="940" y="1046"/>
                </a:lnTo>
                <a:lnTo>
                  <a:pt x="940" y="1046"/>
                </a:lnTo>
                <a:close/>
                <a:moveTo>
                  <a:pt x="936" y="1052"/>
                </a:moveTo>
                <a:lnTo>
                  <a:pt x="936" y="1052"/>
                </a:lnTo>
                <a:lnTo>
                  <a:pt x="936" y="1052"/>
                </a:lnTo>
                <a:lnTo>
                  <a:pt x="936" y="1052"/>
                </a:lnTo>
                <a:lnTo>
                  <a:pt x="940" y="1054"/>
                </a:lnTo>
                <a:lnTo>
                  <a:pt x="940" y="1054"/>
                </a:lnTo>
                <a:lnTo>
                  <a:pt x="936" y="1056"/>
                </a:lnTo>
                <a:lnTo>
                  <a:pt x="936" y="1056"/>
                </a:lnTo>
                <a:lnTo>
                  <a:pt x="936" y="1056"/>
                </a:lnTo>
                <a:lnTo>
                  <a:pt x="936" y="1056"/>
                </a:lnTo>
                <a:lnTo>
                  <a:pt x="940" y="1054"/>
                </a:lnTo>
                <a:lnTo>
                  <a:pt x="940" y="1054"/>
                </a:lnTo>
                <a:lnTo>
                  <a:pt x="936" y="1052"/>
                </a:lnTo>
                <a:lnTo>
                  <a:pt x="936" y="1052"/>
                </a:lnTo>
                <a:close/>
                <a:moveTo>
                  <a:pt x="848" y="1038"/>
                </a:moveTo>
                <a:lnTo>
                  <a:pt x="848" y="1038"/>
                </a:lnTo>
                <a:lnTo>
                  <a:pt x="848" y="1038"/>
                </a:lnTo>
                <a:lnTo>
                  <a:pt x="848" y="1038"/>
                </a:lnTo>
                <a:lnTo>
                  <a:pt x="848" y="1040"/>
                </a:lnTo>
                <a:lnTo>
                  <a:pt x="848" y="1040"/>
                </a:lnTo>
                <a:lnTo>
                  <a:pt x="850" y="1038"/>
                </a:lnTo>
                <a:lnTo>
                  <a:pt x="850" y="1038"/>
                </a:lnTo>
                <a:lnTo>
                  <a:pt x="848" y="1040"/>
                </a:lnTo>
                <a:lnTo>
                  <a:pt x="848" y="1040"/>
                </a:lnTo>
                <a:lnTo>
                  <a:pt x="856" y="1048"/>
                </a:lnTo>
                <a:lnTo>
                  <a:pt x="856" y="1048"/>
                </a:lnTo>
                <a:lnTo>
                  <a:pt x="850" y="1050"/>
                </a:lnTo>
                <a:lnTo>
                  <a:pt x="850" y="1050"/>
                </a:lnTo>
                <a:lnTo>
                  <a:pt x="856" y="1048"/>
                </a:lnTo>
                <a:lnTo>
                  <a:pt x="856" y="1048"/>
                </a:lnTo>
                <a:lnTo>
                  <a:pt x="848" y="1040"/>
                </a:lnTo>
                <a:lnTo>
                  <a:pt x="848" y="1040"/>
                </a:lnTo>
                <a:lnTo>
                  <a:pt x="842" y="1052"/>
                </a:lnTo>
                <a:lnTo>
                  <a:pt x="842" y="1052"/>
                </a:lnTo>
                <a:lnTo>
                  <a:pt x="840" y="1052"/>
                </a:lnTo>
                <a:lnTo>
                  <a:pt x="840" y="1052"/>
                </a:lnTo>
                <a:lnTo>
                  <a:pt x="838" y="1050"/>
                </a:lnTo>
                <a:lnTo>
                  <a:pt x="838" y="1050"/>
                </a:lnTo>
                <a:lnTo>
                  <a:pt x="848" y="1040"/>
                </a:lnTo>
                <a:lnTo>
                  <a:pt x="848" y="1040"/>
                </a:lnTo>
                <a:lnTo>
                  <a:pt x="848" y="1038"/>
                </a:lnTo>
                <a:lnTo>
                  <a:pt x="848" y="1038"/>
                </a:lnTo>
                <a:close/>
                <a:moveTo>
                  <a:pt x="856" y="1052"/>
                </a:moveTo>
                <a:lnTo>
                  <a:pt x="856" y="1052"/>
                </a:lnTo>
                <a:lnTo>
                  <a:pt x="856" y="1050"/>
                </a:lnTo>
                <a:lnTo>
                  <a:pt x="856" y="1050"/>
                </a:lnTo>
                <a:lnTo>
                  <a:pt x="858" y="1050"/>
                </a:lnTo>
                <a:lnTo>
                  <a:pt x="858" y="1050"/>
                </a:lnTo>
                <a:lnTo>
                  <a:pt x="856" y="1052"/>
                </a:lnTo>
                <a:lnTo>
                  <a:pt x="856" y="1052"/>
                </a:lnTo>
                <a:close/>
                <a:moveTo>
                  <a:pt x="834" y="1056"/>
                </a:moveTo>
                <a:lnTo>
                  <a:pt x="834" y="1056"/>
                </a:lnTo>
                <a:lnTo>
                  <a:pt x="832" y="1056"/>
                </a:lnTo>
                <a:lnTo>
                  <a:pt x="832" y="1056"/>
                </a:lnTo>
                <a:lnTo>
                  <a:pt x="834" y="1054"/>
                </a:lnTo>
                <a:lnTo>
                  <a:pt x="834" y="1054"/>
                </a:lnTo>
                <a:lnTo>
                  <a:pt x="834" y="1056"/>
                </a:lnTo>
                <a:lnTo>
                  <a:pt x="834" y="1056"/>
                </a:lnTo>
                <a:close/>
                <a:moveTo>
                  <a:pt x="826" y="1072"/>
                </a:moveTo>
                <a:lnTo>
                  <a:pt x="826" y="1072"/>
                </a:lnTo>
                <a:lnTo>
                  <a:pt x="826" y="1076"/>
                </a:lnTo>
                <a:lnTo>
                  <a:pt x="826" y="1076"/>
                </a:lnTo>
                <a:lnTo>
                  <a:pt x="826" y="1072"/>
                </a:lnTo>
                <a:lnTo>
                  <a:pt x="826" y="1072"/>
                </a:lnTo>
                <a:lnTo>
                  <a:pt x="826" y="1072"/>
                </a:lnTo>
                <a:lnTo>
                  <a:pt x="826" y="1072"/>
                </a:lnTo>
                <a:close/>
                <a:moveTo>
                  <a:pt x="928" y="1050"/>
                </a:moveTo>
                <a:lnTo>
                  <a:pt x="928" y="1050"/>
                </a:lnTo>
                <a:lnTo>
                  <a:pt x="928" y="1050"/>
                </a:lnTo>
                <a:lnTo>
                  <a:pt x="928" y="1050"/>
                </a:lnTo>
                <a:lnTo>
                  <a:pt x="930" y="1048"/>
                </a:lnTo>
                <a:lnTo>
                  <a:pt x="930" y="1044"/>
                </a:lnTo>
                <a:lnTo>
                  <a:pt x="930" y="1044"/>
                </a:lnTo>
                <a:lnTo>
                  <a:pt x="914" y="1042"/>
                </a:lnTo>
                <a:lnTo>
                  <a:pt x="914" y="1042"/>
                </a:lnTo>
                <a:lnTo>
                  <a:pt x="914" y="1042"/>
                </a:lnTo>
                <a:lnTo>
                  <a:pt x="914" y="1042"/>
                </a:lnTo>
                <a:lnTo>
                  <a:pt x="930" y="1044"/>
                </a:lnTo>
                <a:lnTo>
                  <a:pt x="930" y="1044"/>
                </a:lnTo>
                <a:lnTo>
                  <a:pt x="930" y="1048"/>
                </a:lnTo>
                <a:lnTo>
                  <a:pt x="928" y="1050"/>
                </a:lnTo>
                <a:lnTo>
                  <a:pt x="928" y="1050"/>
                </a:lnTo>
                <a:close/>
                <a:moveTo>
                  <a:pt x="916" y="1050"/>
                </a:moveTo>
                <a:lnTo>
                  <a:pt x="916" y="1050"/>
                </a:lnTo>
                <a:lnTo>
                  <a:pt x="916" y="1050"/>
                </a:lnTo>
                <a:lnTo>
                  <a:pt x="916" y="1050"/>
                </a:lnTo>
                <a:lnTo>
                  <a:pt x="916" y="1054"/>
                </a:lnTo>
                <a:lnTo>
                  <a:pt x="916" y="1054"/>
                </a:lnTo>
                <a:lnTo>
                  <a:pt x="916" y="1054"/>
                </a:lnTo>
                <a:lnTo>
                  <a:pt x="916" y="1054"/>
                </a:lnTo>
                <a:lnTo>
                  <a:pt x="916" y="1050"/>
                </a:lnTo>
                <a:lnTo>
                  <a:pt x="916" y="1050"/>
                </a:lnTo>
                <a:close/>
                <a:moveTo>
                  <a:pt x="866" y="994"/>
                </a:moveTo>
                <a:lnTo>
                  <a:pt x="866" y="994"/>
                </a:lnTo>
                <a:lnTo>
                  <a:pt x="866" y="994"/>
                </a:lnTo>
                <a:lnTo>
                  <a:pt x="866" y="994"/>
                </a:lnTo>
                <a:lnTo>
                  <a:pt x="874" y="990"/>
                </a:lnTo>
                <a:lnTo>
                  <a:pt x="878" y="990"/>
                </a:lnTo>
                <a:lnTo>
                  <a:pt x="882" y="990"/>
                </a:lnTo>
                <a:lnTo>
                  <a:pt x="882" y="990"/>
                </a:lnTo>
                <a:lnTo>
                  <a:pt x="880" y="994"/>
                </a:lnTo>
                <a:lnTo>
                  <a:pt x="878" y="996"/>
                </a:lnTo>
                <a:lnTo>
                  <a:pt x="878" y="996"/>
                </a:lnTo>
                <a:lnTo>
                  <a:pt x="882" y="990"/>
                </a:lnTo>
                <a:lnTo>
                  <a:pt x="882" y="990"/>
                </a:lnTo>
                <a:lnTo>
                  <a:pt x="878" y="990"/>
                </a:lnTo>
                <a:lnTo>
                  <a:pt x="874" y="990"/>
                </a:lnTo>
                <a:lnTo>
                  <a:pt x="866" y="994"/>
                </a:lnTo>
                <a:lnTo>
                  <a:pt x="866" y="994"/>
                </a:lnTo>
                <a:close/>
                <a:moveTo>
                  <a:pt x="896" y="1012"/>
                </a:moveTo>
                <a:lnTo>
                  <a:pt x="896" y="1012"/>
                </a:lnTo>
                <a:lnTo>
                  <a:pt x="890" y="1010"/>
                </a:lnTo>
                <a:lnTo>
                  <a:pt x="890" y="1010"/>
                </a:lnTo>
                <a:lnTo>
                  <a:pt x="896" y="1012"/>
                </a:lnTo>
                <a:lnTo>
                  <a:pt x="896" y="1012"/>
                </a:lnTo>
                <a:lnTo>
                  <a:pt x="894" y="1016"/>
                </a:lnTo>
                <a:lnTo>
                  <a:pt x="890" y="1018"/>
                </a:lnTo>
                <a:lnTo>
                  <a:pt x="886" y="1020"/>
                </a:lnTo>
                <a:lnTo>
                  <a:pt x="880" y="1020"/>
                </a:lnTo>
                <a:lnTo>
                  <a:pt x="880" y="1020"/>
                </a:lnTo>
                <a:lnTo>
                  <a:pt x="886" y="1020"/>
                </a:lnTo>
                <a:lnTo>
                  <a:pt x="890" y="1018"/>
                </a:lnTo>
                <a:lnTo>
                  <a:pt x="894" y="1016"/>
                </a:lnTo>
                <a:lnTo>
                  <a:pt x="896" y="1012"/>
                </a:lnTo>
                <a:lnTo>
                  <a:pt x="896" y="1012"/>
                </a:lnTo>
                <a:close/>
                <a:moveTo>
                  <a:pt x="888" y="998"/>
                </a:moveTo>
                <a:lnTo>
                  <a:pt x="888" y="998"/>
                </a:lnTo>
                <a:lnTo>
                  <a:pt x="888" y="998"/>
                </a:lnTo>
                <a:lnTo>
                  <a:pt x="888" y="998"/>
                </a:lnTo>
                <a:lnTo>
                  <a:pt x="890" y="1000"/>
                </a:lnTo>
                <a:lnTo>
                  <a:pt x="890" y="1000"/>
                </a:lnTo>
                <a:lnTo>
                  <a:pt x="882" y="1002"/>
                </a:lnTo>
                <a:lnTo>
                  <a:pt x="882" y="1002"/>
                </a:lnTo>
                <a:lnTo>
                  <a:pt x="882" y="1002"/>
                </a:lnTo>
                <a:lnTo>
                  <a:pt x="882" y="1002"/>
                </a:lnTo>
                <a:lnTo>
                  <a:pt x="888" y="1000"/>
                </a:lnTo>
                <a:lnTo>
                  <a:pt x="888" y="1000"/>
                </a:lnTo>
                <a:lnTo>
                  <a:pt x="888" y="998"/>
                </a:lnTo>
                <a:lnTo>
                  <a:pt x="888" y="998"/>
                </a:lnTo>
                <a:close/>
                <a:moveTo>
                  <a:pt x="898" y="1022"/>
                </a:moveTo>
                <a:lnTo>
                  <a:pt x="898" y="1022"/>
                </a:lnTo>
                <a:lnTo>
                  <a:pt x="898" y="1022"/>
                </a:lnTo>
                <a:lnTo>
                  <a:pt x="898" y="1022"/>
                </a:lnTo>
                <a:lnTo>
                  <a:pt x="894" y="1026"/>
                </a:lnTo>
                <a:lnTo>
                  <a:pt x="890" y="1026"/>
                </a:lnTo>
                <a:lnTo>
                  <a:pt x="890" y="1026"/>
                </a:lnTo>
                <a:lnTo>
                  <a:pt x="894" y="1026"/>
                </a:lnTo>
                <a:lnTo>
                  <a:pt x="898" y="1022"/>
                </a:lnTo>
                <a:lnTo>
                  <a:pt x="898" y="1022"/>
                </a:lnTo>
                <a:close/>
                <a:moveTo>
                  <a:pt x="896" y="968"/>
                </a:moveTo>
                <a:lnTo>
                  <a:pt x="896" y="968"/>
                </a:lnTo>
                <a:lnTo>
                  <a:pt x="896" y="968"/>
                </a:lnTo>
                <a:lnTo>
                  <a:pt x="896" y="968"/>
                </a:lnTo>
                <a:lnTo>
                  <a:pt x="898" y="970"/>
                </a:lnTo>
                <a:lnTo>
                  <a:pt x="898" y="970"/>
                </a:lnTo>
                <a:lnTo>
                  <a:pt x="896" y="972"/>
                </a:lnTo>
                <a:lnTo>
                  <a:pt x="896" y="972"/>
                </a:lnTo>
                <a:lnTo>
                  <a:pt x="896" y="972"/>
                </a:lnTo>
                <a:lnTo>
                  <a:pt x="896" y="972"/>
                </a:lnTo>
                <a:lnTo>
                  <a:pt x="898" y="970"/>
                </a:lnTo>
                <a:lnTo>
                  <a:pt x="898" y="970"/>
                </a:lnTo>
                <a:lnTo>
                  <a:pt x="896" y="968"/>
                </a:lnTo>
                <a:lnTo>
                  <a:pt x="896" y="968"/>
                </a:lnTo>
                <a:close/>
                <a:moveTo>
                  <a:pt x="904" y="294"/>
                </a:moveTo>
                <a:lnTo>
                  <a:pt x="904" y="294"/>
                </a:lnTo>
                <a:lnTo>
                  <a:pt x="902" y="298"/>
                </a:lnTo>
                <a:lnTo>
                  <a:pt x="902" y="298"/>
                </a:lnTo>
                <a:lnTo>
                  <a:pt x="898" y="300"/>
                </a:lnTo>
                <a:lnTo>
                  <a:pt x="898" y="300"/>
                </a:lnTo>
                <a:lnTo>
                  <a:pt x="896" y="300"/>
                </a:lnTo>
                <a:lnTo>
                  <a:pt x="896" y="300"/>
                </a:lnTo>
                <a:lnTo>
                  <a:pt x="892" y="302"/>
                </a:lnTo>
                <a:lnTo>
                  <a:pt x="892" y="302"/>
                </a:lnTo>
                <a:lnTo>
                  <a:pt x="894" y="296"/>
                </a:lnTo>
                <a:lnTo>
                  <a:pt x="894" y="296"/>
                </a:lnTo>
                <a:lnTo>
                  <a:pt x="896" y="294"/>
                </a:lnTo>
                <a:lnTo>
                  <a:pt x="896" y="294"/>
                </a:lnTo>
                <a:lnTo>
                  <a:pt x="904" y="294"/>
                </a:lnTo>
                <a:lnTo>
                  <a:pt x="904" y="294"/>
                </a:lnTo>
                <a:close/>
                <a:moveTo>
                  <a:pt x="888" y="310"/>
                </a:moveTo>
                <a:lnTo>
                  <a:pt x="888" y="310"/>
                </a:lnTo>
                <a:lnTo>
                  <a:pt x="892" y="312"/>
                </a:lnTo>
                <a:lnTo>
                  <a:pt x="894" y="316"/>
                </a:lnTo>
                <a:lnTo>
                  <a:pt x="896" y="324"/>
                </a:lnTo>
                <a:lnTo>
                  <a:pt x="896" y="324"/>
                </a:lnTo>
                <a:lnTo>
                  <a:pt x="880" y="330"/>
                </a:lnTo>
                <a:lnTo>
                  <a:pt x="880" y="330"/>
                </a:lnTo>
                <a:lnTo>
                  <a:pt x="888" y="310"/>
                </a:lnTo>
                <a:lnTo>
                  <a:pt x="888" y="310"/>
                </a:lnTo>
                <a:close/>
                <a:moveTo>
                  <a:pt x="882" y="334"/>
                </a:moveTo>
                <a:lnTo>
                  <a:pt x="882" y="334"/>
                </a:lnTo>
                <a:lnTo>
                  <a:pt x="878" y="336"/>
                </a:lnTo>
                <a:lnTo>
                  <a:pt x="878" y="336"/>
                </a:lnTo>
                <a:lnTo>
                  <a:pt x="880" y="332"/>
                </a:lnTo>
                <a:lnTo>
                  <a:pt x="880" y="332"/>
                </a:lnTo>
                <a:lnTo>
                  <a:pt x="882" y="334"/>
                </a:lnTo>
                <a:lnTo>
                  <a:pt x="882" y="334"/>
                </a:lnTo>
                <a:close/>
                <a:moveTo>
                  <a:pt x="876" y="344"/>
                </a:moveTo>
                <a:lnTo>
                  <a:pt x="876" y="344"/>
                </a:lnTo>
                <a:lnTo>
                  <a:pt x="882" y="346"/>
                </a:lnTo>
                <a:lnTo>
                  <a:pt x="884" y="348"/>
                </a:lnTo>
                <a:lnTo>
                  <a:pt x="886" y="352"/>
                </a:lnTo>
                <a:lnTo>
                  <a:pt x="886" y="352"/>
                </a:lnTo>
                <a:lnTo>
                  <a:pt x="886" y="358"/>
                </a:lnTo>
                <a:lnTo>
                  <a:pt x="890" y="364"/>
                </a:lnTo>
                <a:lnTo>
                  <a:pt x="890" y="364"/>
                </a:lnTo>
                <a:lnTo>
                  <a:pt x="878" y="366"/>
                </a:lnTo>
                <a:lnTo>
                  <a:pt x="874" y="368"/>
                </a:lnTo>
                <a:lnTo>
                  <a:pt x="872" y="372"/>
                </a:lnTo>
                <a:lnTo>
                  <a:pt x="872" y="372"/>
                </a:lnTo>
                <a:lnTo>
                  <a:pt x="886" y="370"/>
                </a:lnTo>
                <a:lnTo>
                  <a:pt x="886" y="370"/>
                </a:lnTo>
                <a:lnTo>
                  <a:pt x="882" y="374"/>
                </a:lnTo>
                <a:lnTo>
                  <a:pt x="876" y="376"/>
                </a:lnTo>
                <a:lnTo>
                  <a:pt x="862" y="378"/>
                </a:lnTo>
                <a:lnTo>
                  <a:pt x="862" y="378"/>
                </a:lnTo>
                <a:lnTo>
                  <a:pt x="866" y="368"/>
                </a:lnTo>
                <a:lnTo>
                  <a:pt x="876" y="344"/>
                </a:lnTo>
                <a:lnTo>
                  <a:pt x="876" y="344"/>
                </a:lnTo>
                <a:close/>
                <a:moveTo>
                  <a:pt x="870" y="962"/>
                </a:moveTo>
                <a:lnTo>
                  <a:pt x="870" y="962"/>
                </a:lnTo>
                <a:lnTo>
                  <a:pt x="870" y="962"/>
                </a:lnTo>
                <a:lnTo>
                  <a:pt x="870" y="962"/>
                </a:lnTo>
                <a:lnTo>
                  <a:pt x="872" y="964"/>
                </a:lnTo>
                <a:lnTo>
                  <a:pt x="872" y="964"/>
                </a:lnTo>
                <a:lnTo>
                  <a:pt x="870" y="966"/>
                </a:lnTo>
                <a:lnTo>
                  <a:pt x="870" y="966"/>
                </a:lnTo>
                <a:lnTo>
                  <a:pt x="870" y="966"/>
                </a:lnTo>
                <a:lnTo>
                  <a:pt x="870" y="966"/>
                </a:lnTo>
                <a:lnTo>
                  <a:pt x="872" y="964"/>
                </a:lnTo>
                <a:lnTo>
                  <a:pt x="872" y="964"/>
                </a:lnTo>
                <a:lnTo>
                  <a:pt x="870" y="962"/>
                </a:lnTo>
                <a:lnTo>
                  <a:pt x="870" y="962"/>
                </a:lnTo>
                <a:close/>
                <a:moveTo>
                  <a:pt x="844" y="974"/>
                </a:moveTo>
                <a:lnTo>
                  <a:pt x="844" y="974"/>
                </a:lnTo>
                <a:lnTo>
                  <a:pt x="852" y="974"/>
                </a:lnTo>
                <a:lnTo>
                  <a:pt x="858" y="972"/>
                </a:lnTo>
                <a:lnTo>
                  <a:pt x="858" y="972"/>
                </a:lnTo>
                <a:lnTo>
                  <a:pt x="868" y="970"/>
                </a:lnTo>
                <a:lnTo>
                  <a:pt x="876" y="972"/>
                </a:lnTo>
                <a:lnTo>
                  <a:pt x="876" y="972"/>
                </a:lnTo>
                <a:lnTo>
                  <a:pt x="880" y="974"/>
                </a:lnTo>
                <a:lnTo>
                  <a:pt x="882" y="976"/>
                </a:lnTo>
                <a:lnTo>
                  <a:pt x="882" y="976"/>
                </a:lnTo>
                <a:lnTo>
                  <a:pt x="882" y="976"/>
                </a:lnTo>
                <a:lnTo>
                  <a:pt x="858" y="978"/>
                </a:lnTo>
                <a:lnTo>
                  <a:pt x="848" y="978"/>
                </a:lnTo>
                <a:lnTo>
                  <a:pt x="836" y="976"/>
                </a:lnTo>
                <a:lnTo>
                  <a:pt x="836" y="976"/>
                </a:lnTo>
                <a:lnTo>
                  <a:pt x="840" y="972"/>
                </a:lnTo>
                <a:lnTo>
                  <a:pt x="844" y="974"/>
                </a:lnTo>
                <a:lnTo>
                  <a:pt x="844" y="974"/>
                </a:lnTo>
                <a:close/>
                <a:moveTo>
                  <a:pt x="822" y="1006"/>
                </a:moveTo>
                <a:lnTo>
                  <a:pt x="822" y="1006"/>
                </a:lnTo>
                <a:lnTo>
                  <a:pt x="824" y="1006"/>
                </a:lnTo>
                <a:lnTo>
                  <a:pt x="824" y="1006"/>
                </a:lnTo>
                <a:lnTo>
                  <a:pt x="824" y="1006"/>
                </a:lnTo>
                <a:lnTo>
                  <a:pt x="824" y="1006"/>
                </a:lnTo>
                <a:lnTo>
                  <a:pt x="822" y="1006"/>
                </a:lnTo>
                <a:lnTo>
                  <a:pt x="822" y="1006"/>
                </a:lnTo>
                <a:lnTo>
                  <a:pt x="818" y="1006"/>
                </a:lnTo>
                <a:lnTo>
                  <a:pt x="818" y="1006"/>
                </a:lnTo>
                <a:lnTo>
                  <a:pt x="818" y="1006"/>
                </a:lnTo>
                <a:lnTo>
                  <a:pt x="818" y="1006"/>
                </a:lnTo>
                <a:lnTo>
                  <a:pt x="822" y="1006"/>
                </a:lnTo>
                <a:lnTo>
                  <a:pt x="822" y="1006"/>
                </a:lnTo>
                <a:close/>
                <a:moveTo>
                  <a:pt x="768" y="1046"/>
                </a:moveTo>
                <a:lnTo>
                  <a:pt x="768" y="1046"/>
                </a:lnTo>
                <a:lnTo>
                  <a:pt x="780" y="1044"/>
                </a:lnTo>
                <a:lnTo>
                  <a:pt x="780" y="1044"/>
                </a:lnTo>
                <a:lnTo>
                  <a:pt x="776" y="1042"/>
                </a:lnTo>
                <a:lnTo>
                  <a:pt x="774" y="1040"/>
                </a:lnTo>
                <a:lnTo>
                  <a:pt x="774" y="1040"/>
                </a:lnTo>
                <a:lnTo>
                  <a:pt x="776" y="1042"/>
                </a:lnTo>
                <a:lnTo>
                  <a:pt x="780" y="1044"/>
                </a:lnTo>
                <a:lnTo>
                  <a:pt x="780" y="1044"/>
                </a:lnTo>
                <a:lnTo>
                  <a:pt x="768" y="1046"/>
                </a:lnTo>
                <a:lnTo>
                  <a:pt x="768" y="1046"/>
                </a:lnTo>
                <a:close/>
                <a:moveTo>
                  <a:pt x="790" y="1034"/>
                </a:moveTo>
                <a:lnTo>
                  <a:pt x="790" y="1034"/>
                </a:lnTo>
                <a:lnTo>
                  <a:pt x="774" y="1034"/>
                </a:lnTo>
                <a:lnTo>
                  <a:pt x="774" y="1034"/>
                </a:lnTo>
                <a:lnTo>
                  <a:pt x="770" y="1026"/>
                </a:lnTo>
                <a:lnTo>
                  <a:pt x="770" y="1026"/>
                </a:lnTo>
                <a:lnTo>
                  <a:pt x="792" y="1026"/>
                </a:lnTo>
                <a:lnTo>
                  <a:pt x="792" y="1026"/>
                </a:lnTo>
                <a:lnTo>
                  <a:pt x="796" y="1022"/>
                </a:lnTo>
                <a:lnTo>
                  <a:pt x="800" y="1020"/>
                </a:lnTo>
                <a:lnTo>
                  <a:pt x="804" y="1020"/>
                </a:lnTo>
                <a:lnTo>
                  <a:pt x="810" y="1020"/>
                </a:lnTo>
                <a:lnTo>
                  <a:pt x="810" y="1020"/>
                </a:lnTo>
                <a:lnTo>
                  <a:pt x="820" y="1020"/>
                </a:lnTo>
                <a:lnTo>
                  <a:pt x="820" y="1020"/>
                </a:lnTo>
                <a:lnTo>
                  <a:pt x="816" y="1030"/>
                </a:lnTo>
                <a:lnTo>
                  <a:pt x="812" y="1034"/>
                </a:lnTo>
                <a:lnTo>
                  <a:pt x="812" y="1034"/>
                </a:lnTo>
                <a:lnTo>
                  <a:pt x="818" y="1034"/>
                </a:lnTo>
                <a:lnTo>
                  <a:pt x="822" y="1032"/>
                </a:lnTo>
                <a:lnTo>
                  <a:pt x="826" y="1026"/>
                </a:lnTo>
                <a:lnTo>
                  <a:pt x="830" y="1020"/>
                </a:lnTo>
                <a:lnTo>
                  <a:pt x="830" y="1020"/>
                </a:lnTo>
                <a:lnTo>
                  <a:pt x="826" y="1034"/>
                </a:lnTo>
                <a:lnTo>
                  <a:pt x="824" y="1040"/>
                </a:lnTo>
                <a:lnTo>
                  <a:pt x="824" y="1040"/>
                </a:lnTo>
                <a:lnTo>
                  <a:pt x="824" y="1040"/>
                </a:lnTo>
                <a:lnTo>
                  <a:pt x="826" y="1042"/>
                </a:lnTo>
                <a:lnTo>
                  <a:pt x="824" y="1046"/>
                </a:lnTo>
                <a:lnTo>
                  <a:pt x="824" y="1046"/>
                </a:lnTo>
                <a:lnTo>
                  <a:pt x="824" y="1046"/>
                </a:lnTo>
                <a:lnTo>
                  <a:pt x="824" y="1046"/>
                </a:lnTo>
                <a:lnTo>
                  <a:pt x="814" y="1044"/>
                </a:lnTo>
                <a:lnTo>
                  <a:pt x="814" y="1044"/>
                </a:lnTo>
                <a:lnTo>
                  <a:pt x="820" y="1038"/>
                </a:lnTo>
                <a:lnTo>
                  <a:pt x="820" y="1038"/>
                </a:lnTo>
                <a:lnTo>
                  <a:pt x="814" y="1040"/>
                </a:lnTo>
                <a:lnTo>
                  <a:pt x="804" y="1044"/>
                </a:lnTo>
                <a:lnTo>
                  <a:pt x="804" y="1044"/>
                </a:lnTo>
                <a:lnTo>
                  <a:pt x="796" y="1040"/>
                </a:lnTo>
                <a:lnTo>
                  <a:pt x="790" y="1034"/>
                </a:lnTo>
                <a:lnTo>
                  <a:pt x="790" y="1034"/>
                </a:lnTo>
                <a:close/>
                <a:moveTo>
                  <a:pt x="822" y="1058"/>
                </a:moveTo>
                <a:lnTo>
                  <a:pt x="822" y="1058"/>
                </a:lnTo>
                <a:lnTo>
                  <a:pt x="824" y="1056"/>
                </a:lnTo>
                <a:lnTo>
                  <a:pt x="824" y="1056"/>
                </a:lnTo>
                <a:lnTo>
                  <a:pt x="822" y="1058"/>
                </a:lnTo>
                <a:lnTo>
                  <a:pt x="822" y="1058"/>
                </a:lnTo>
                <a:lnTo>
                  <a:pt x="822" y="1058"/>
                </a:lnTo>
                <a:lnTo>
                  <a:pt x="822" y="1058"/>
                </a:lnTo>
                <a:close/>
                <a:moveTo>
                  <a:pt x="832" y="1050"/>
                </a:moveTo>
                <a:lnTo>
                  <a:pt x="832" y="1050"/>
                </a:lnTo>
                <a:lnTo>
                  <a:pt x="830" y="1048"/>
                </a:lnTo>
                <a:lnTo>
                  <a:pt x="830" y="1048"/>
                </a:lnTo>
                <a:lnTo>
                  <a:pt x="830" y="1048"/>
                </a:lnTo>
                <a:lnTo>
                  <a:pt x="830" y="1048"/>
                </a:lnTo>
                <a:lnTo>
                  <a:pt x="830" y="1044"/>
                </a:lnTo>
                <a:lnTo>
                  <a:pt x="830" y="1044"/>
                </a:lnTo>
                <a:lnTo>
                  <a:pt x="834" y="1038"/>
                </a:lnTo>
                <a:lnTo>
                  <a:pt x="836" y="1036"/>
                </a:lnTo>
                <a:lnTo>
                  <a:pt x="836" y="1038"/>
                </a:lnTo>
                <a:lnTo>
                  <a:pt x="836" y="1038"/>
                </a:lnTo>
                <a:lnTo>
                  <a:pt x="842" y="1024"/>
                </a:lnTo>
                <a:lnTo>
                  <a:pt x="842" y="1024"/>
                </a:lnTo>
                <a:lnTo>
                  <a:pt x="840" y="1022"/>
                </a:lnTo>
                <a:lnTo>
                  <a:pt x="840" y="1022"/>
                </a:lnTo>
                <a:lnTo>
                  <a:pt x="834" y="1034"/>
                </a:lnTo>
                <a:lnTo>
                  <a:pt x="830" y="1040"/>
                </a:lnTo>
                <a:lnTo>
                  <a:pt x="830" y="1040"/>
                </a:lnTo>
                <a:lnTo>
                  <a:pt x="834" y="1010"/>
                </a:lnTo>
                <a:lnTo>
                  <a:pt x="834" y="1010"/>
                </a:lnTo>
                <a:lnTo>
                  <a:pt x="840" y="996"/>
                </a:lnTo>
                <a:lnTo>
                  <a:pt x="840" y="996"/>
                </a:lnTo>
                <a:lnTo>
                  <a:pt x="830" y="992"/>
                </a:lnTo>
                <a:lnTo>
                  <a:pt x="830" y="992"/>
                </a:lnTo>
                <a:lnTo>
                  <a:pt x="832" y="984"/>
                </a:lnTo>
                <a:lnTo>
                  <a:pt x="832" y="984"/>
                </a:lnTo>
                <a:lnTo>
                  <a:pt x="834" y="986"/>
                </a:lnTo>
                <a:lnTo>
                  <a:pt x="836" y="988"/>
                </a:lnTo>
                <a:lnTo>
                  <a:pt x="844" y="988"/>
                </a:lnTo>
                <a:lnTo>
                  <a:pt x="844" y="988"/>
                </a:lnTo>
                <a:lnTo>
                  <a:pt x="844" y="994"/>
                </a:lnTo>
                <a:lnTo>
                  <a:pt x="844" y="994"/>
                </a:lnTo>
                <a:lnTo>
                  <a:pt x="852" y="990"/>
                </a:lnTo>
                <a:lnTo>
                  <a:pt x="852" y="990"/>
                </a:lnTo>
                <a:lnTo>
                  <a:pt x="854" y="994"/>
                </a:lnTo>
                <a:lnTo>
                  <a:pt x="854" y="994"/>
                </a:lnTo>
                <a:lnTo>
                  <a:pt x="854" y="996"/>
                </a:lnTo>
                <a:lnTo>
                  <a:pt x="854" y="998"/>
                </a:lnTo>
                <a:lnTo>
                  <a:pt x="860" y="1000"/>
                </a:lnTo>
                <a:lnTo>
                  <a:pt x="860" y="1000"/>
                </a:lnTo>
                <a:lnTo>
                  <a:pt x="864" y="1000"/>
                </a:lnTo>
                <a:lnTo>
                  <a:pt x="868" y="1002"/>
                </a:lnTo>
                <a:lnTo>
                  <a:pt x="874" y="1008"/>
                </a:lnTo>
                <a:lnTo>
                  <a:pt x="874" y="1008"/>
                </a:lnTo>
                <a:lnTo>
                  <a:pt x="868" y="1014"/>
                </a:lnTo>
                <a:lnTo>
                  <a:pt x="860" y="1016"/>
                </a:lnTo>
                <a:lnTo>
                  <a:pt x="860" y="1016"/>
                </a:lnTo>
                <a:lnTo>
                  <a:pt x="862" y="1026"/>
                </a:lnTo>
                <a:lnTo>
                  <a:pt x="862" y="1026"/>
                </a:lnTo>
                <a:lnTo>
                  <a:pt x="866" y="1022"/>
                </a:lnTo>
                <a:lnTo>
                  <a:pt x="870" y="1020"/>
                </a:lnTo>
                <a:lnTo>
                  <a:pt x="880" y="1020"/>
                </a:lnTo>
                <a:lnTo>
                  <a:pt x="880" y="1020"/>
                </a:lnTo>
                <a:lnTo>
                  <a:pt x="872" y="1026"/>
                </a:lnTo>
                <a:lnTo>
                  <a:pt x="872" y="1026"/>
                </a:lnTo>
                <a:lnTo>
                  <a:pt x="878" y="1032"/>
                </a:lnTo>
                <a:lnTo>
                  <a:pt x="878" y="1032"/>
                </a:lnTo>
                <a:lnTo>
                  <a:pt x="872" y="1034"/>
                </a:lnTo>
                <a:lnTo>
                  <a:pt x="872" y="1034"/>
                </a:lnTo>
                <a:lnTo>
                  <a:pt x="876" y="1036"/>
                </a:lnTo>
                <a:lnTo>
                  <a:pt x="882" y="1034"/>
                </a:lnTo>
                <a:lnTo>
                  <a:pt x="888" y="1034"/>
                </a:lnTo>
                <a:lnTo>
                  <a:pt x="894" y="1034"/>
                </a:lnTo>
                <a:lnTo>
                  <a:pt x="894" y="1034"/>
                </a:lnTo>
                <a:lnTo>
                  <a:pt x="880" y="1040"/>
                </a:lnTo>
                <a:lnTo>
                  <a:pt x="880" y="1040"/>
                </a:lnTo>
                <a:lnTo>
                  <a:pt x="892" y="1042"/>
                </a:lnTo>
                <a:lnTo>
                  <a:pt x="892" y="1042"/>
                </a:lnTo>
                <a:lnTo>
                  <a:pt x="884" y="1044"/>
                </a:lnTo>
                <a:lnTo>
                  <a:pt x="876" y="1042"/>
                </a:lnTo>
                <a:lnTo>
                  <a:pt x="876" y="1042"/>
                </a:lnTo>
                <a:lnTo>
                  <a:pt x="870" y="1042"/>
                </a:lnTo>
                <a:lnTo>
                  <a:pt x="870" y="1042"/>
                </a:lnTo>
                <a:lnTo>
                  <a:pt x="864" y="1042"/>
                </a:lnTo>
                <a:lnTo>
                  <a:pt x="858" y="1042"/>
                </a:lnTo>
                <a:lnTo>
                  <a:pt x="850" y="1038"/>
                </a:lnTo>
                <a:lnTo>
                  <a:pt x="850" y="1038"/>
                </a:lnTo>
                <a:lnTo>
                  <a:pt x="858" y="1028"/>
                </a:lnTo>
                <a:lnTo>
                  <a:pt x="860" y="1024"/>
                </a:lnTo>
                <a:lnTo>
                  <a:pt x="858" y="1024"/>
                </a:lnTo>
                <a:lnTo>
                  <a:pt x="858" y="1024"/>
                </a:lnTo>
                <a:lnTo>
                  <a:pt x="850" y="1038"/>
                </a:lnTo>
                <a:lnTo>
                  <a:pt x="850" y="1038"/>
                </a:lnTo>
                <a:lnTo>
                  <a:pt x="848" y="1036"/>
                </a:lnTo>
                <a:lnTo>
                  <a:pt x="848" y="1036"/>
                </a:lnTo>
                <a:lnTo>
                  <a:pt x="842" y="1034"/>
                </a:lnTo>
                <a:lnTo>
                  <a:pt x="842" y="1034"/>
                </a:lnTo>
                <a:lnTo>
                  <a:pt x="838" y="1040"/>
                </a:lnTo>
                <a:lnTo>
                  <a:pt x="838" y="1040"/>
                </a:lnTo>
                <a:lnTo>
                  <a:pt x="840" y="1040"/>
                </a:lnTo>
                <a:lnTo>
                  <a:pt x="840" y="1040"/>
                </a:lnTo>
                <a:lnTo>
                  <a:pt x="840" y="1040"/>
                </a:lnTo>
                <a:lnTo>
                  <a:pt x="840" y="1042"/>
                </a:lnTo>
                <a:lnTo>
                  <a:pt x="836" y="1050"/>
                </a:lnTo>
                <a:lnTo>
                  <a:pt x="836" y="1050"/>
                </a:lnTo>
                <a:lnTo>
                  <a:pt x="834" y="1050"/>
                </a:lnTo>
                <a:lnTo>
                  <a:pt x="834" y="1050"/>
                </a:lnTo>
                <a:lnTo>
                  <a:pt x="832" y="1058"/>
                </a:lnTo>
                <a:lnTo>
                  <a:pt x="832" y="1058"/>
                </a:lnTo>
                <a:lnTo>
                  <a:pt x="826" y="1062"/>
                </a:lnTo>
                <a:lnTo>
                  <a:pt x="826" y="1066"/>
                </a:lnTo>
                <a:lnTo>
                  <a:pt x="826" y="1070"/>
                </a:lnTo>
                <a:lnTo>
                  <a:pt x="826" y="1070"/>
                </a:lnTo>
                <a:lnTo>
                  <a:pt x="820" y="1078"/>
                </a:lnTo>
                <a:lnTo>
                  <a:pt x="820" y="1078"/>
                </a:lnTo>
                <a:lnTo>
                  <a:pt x="832" y="1050"/>
                </a:lnTo>
                <a:lnTo>
                  <a:pt x="832" y="1050"/>
                </a:lnTo>
                <a:close/>
                <a:moveTo>
                  <a:pt x="820" y="1082"/>
                </a:moveTo>
                <a:lnTo>
                  <a:pt x="820" y="1082"/>
                </a:lnTo>
                <a:lnTo>
                  <a:pt x="822" y="1082"/>
                </a:lnTo>
                <a:lnTo>
                  <a:pt x="822" y="1082"/>
                </a:lnTo>
                <a:lnTo>
                  <a:pt x="820" y="1088"/>
                </a:lnTo>
                <a:lnTo>
                  <a:pt x="820" y="1088"/>
                </a:lnTo>
                <a:lnTo>
                  <a:pt x="818" y="1086"/>
                </a:lnTo>
                <a:lnTo>
                  <a:pt x="818" y="1082"/>
                </a:lnTo>
                <a:lnTo>
                  <a:pt x="818" y="1082"/>
                </a:lnTo>
                <a:lnTo>
                  <a:pt x="820" y="1082"/>
                </a:lnTo>
                <a:lnTo>
                  <a:pt x="820" y="1082"/>
                </a:lnTo>
                <a:close/>
                <a:moveTo>
                  <a:pt x="824" y="1116"/>
                </a:moveTo>
                <a:lnTo>
                  <a:pt x="824" y="1116"/>
                </a:lnTo>
                <a:lnTo>
                  <a:pt x="824" y="1114"/>
                </a:lnTo>
                <a:lnTo>
                  <a:pt x="824" y="1114"/>
                </a:lnTo>
                <a:lnTo>
                  <a:pt x="820" y="1118"/>
                </a:lnTo>
                <a:lnTo>
                  <a:pt x="814" y="1118"/>
                </a:lnTo>
                <a:lnTo>
                  <a:pt x="814" y="1118"/>
                </a:lnTo>
                <a:lnTo>
                  <a:pt x="818" y="1116"/>
                </a:lnTo>
                <a:lnTo>
                  <a:pt x="816" y="1116"/>
                </a:lnTo>
                <a:lnTo>
                  <a:pt x="816" y="1116"/>
                </a:lnTo>
                <a:lnTo>
                  <a:pt x="820" y="1114"/>
                </a:lnTo>
                <a:lnTo>
                  <a:pt x="820" y="1114"/>
                </a:lnTo>
                <a:lnTo>
                  <a:pt x="820" y="1112"/>
                </a:lnTo>
                <a:lnTo>
                  <a:pt x="820" y="1112"/>
                </a:lnTo>
                <a:lnTo>
                  <a:pt x="814" y="1114"/>
                </a:lnTo>
                <a:lnTo>
                  <a:pt x="814" y="1114"/>
                </a:lnTo>
                <a:lnTo>
                  <a:pt x="816" y="1114"/>
                </a:lnTo>
                <a:lnTo>
                  <a:pt x="816" y="1114"/>
                </a:lnTo>
                <a:lnTo>
                  <a:pt x="812" y="1112"/>
                </a:lnTo>
                <a:lnTo>
                  <a:pt x="812" y="1110"/>
                </a:lnTo>
                <a:lnTo>
                  <a:pt x="814" y="1108"/>
                </a:lnTo>
                <a:lnTo>
                  <a:pt x="814" y="1108"/>
                </a:lnTo>
                <a:lnTo>
                  <a:pt x="816" y="1110"/>
                </a:lnTo>
                <a:lnTo>
                  <a:pt x="818" y="1108"/>
                </a:lnTo>
                <a:lnTo>
                  <a:pt x="818" y="1108"/>
                </a:lnTo>
                <a:lnTo>
                  <a:pt x="820" y="1112"/>
                </a:lnTo>
                <a:lnTo>
                  <a:pt x="820" y="1112"/>
                </a:lnTo>
                <a:lnTo>
                  <a:pt x="826" y="1106"/>
                </a:lnTo>
                <a:lnTo>
                  <a:pt x="826" y="1106"/>
                </a:lnTo>
                <a:lnTo>
                  <a:pt x="824" y="1106"/>
                </a:lnTo>
                <a:lnTo>
                  <a:pt x="824" y="1106"/>
                </a:lnTo>
                <a:lnTo>
                  <a:pt x="826" y="1104"/>
                </a:lnTo>
                <a:lnTo>
                  <a:pt x="826" y="1104"/>
                </a:lnTo>
                <a:lnTo>
                  <a:pt x="824" y="1102"/>
                </a:lnTo>
                <a:lnTo>
                  <a:pt x="824" y="1102"/>
                </a:lnTo>
                <a:lnTo>
                  <a:pt x="824" y="1102"/>
                </a:lnTo>
                <a:lnTo>
                  <a:pt x="824" y="1102"/>
                </a:lnTo>
                <a:lnTo>
                  <a:pt x="826" y="1104"/>
                </a:lnTo>
                <a:lnTo>
                  <a:pt x="826" y="1104"/>
                </a:lnTo>
                <a:lnTo>
                  <a:pt x="828" y="1096"/>
                </a:lnTo>
                <a:lnTo>
                  <a:pt x="828" y="1096"/>
                </a:lnTo>
                <a:lnTo>
                  <a:pt x="828" y="1098"/>
                </a:lnTo>
                <a:lnTo>
                  <a:pt x="828" y="1098"/>
                </a:lnTo>
                <a:lnTo>
                  <a:pt x="830" y="1092"/>
                </a:lnTo>
                <a:lnTo>
                  <a:pt x="830" y="1092"/>
                </a:lnTo>
                <a:lnTo>
                  <a:pt x="830" y="1086"/>
                </a:lnTo>
                <a:lnTo>
                  <a:pt x="830" y="1086"/>
                </a:lnTo>
                <a:lnTo>
                  <a:pt x="832" y="1086"/>
                </a:lnTo>
                <a:lnTo>
                  <a:pt x="832" y="1086"/>
                </a:lnTo>
                <a:lnTo>
                  <a:pt x="830" y="1086"/>
                </a:lnTo>
                <a:lnTo>
                  <a:pt x="830" y="1086"/>
                </a:lnTo>
                <a:lnTo>
                  <a:pt x="832" y="1078"/>
                </a:lnTo>
                <a:lnTo>
                  <a:pt x="832" y="1078"/>
                </a:lnTo>
                <a:lnTo>
                  <a:pt x="834" y="1080"/>
                </a:lnTo>
                <a:lnTo>
                  <a:pt x="834" y="1080"/>
                </a:lnTo>
                <a:lnTo>
                  <a:pt x="832" y="1086"/>
                </a:lnTo>
                <a:lnTo>
                  <a:pt x="832" y="1086"/>
                </a:lnTo>
                <a:lnTo>
                  <a:pt x="838" y="1084"/>
                </a:lnTo>
                <a:lnTo>
                  <a:pt x="838" y="1084"/>
                </a:lnTo>
                <a:lnTo>
                  <a:pt x="838" y="1082"/>
                </a:lnTo>
                <a:lnTo>
                  <a:pt x="838" y="1082"/>
                </a:lnTo>
                <a:lnTo>
                  <a:pt x="838" y="1084"/>
                </a:lnTo>
                <a:lnTo>
                  <a:pt x="838" y="1084"/>
                </a:lnTo>
                <a:lnTo>
                  <a:pt x="838" y="1084"/>
                </a:lnTo>
                <a:lnTo>
                  <a:pt x="838" y="1084"/>
                </a:lnTo>
                <a:lnTo>
                  <a:pt x="834" y="1094"/>
                </a:lnTo>
                <a:lnTo>
                  <a:pt x="834" y="1094"/>
                </a:lnTo>
                <a:lnTo>
                  <a:pt x="840" y="1084"/>
                </a:lnTo>
                <a:lnTo>
                  <a:pt x="840" y="1084"/>
                </a:lnTo>
                <a:lnTo>
                  <a:pt x="844" y="1088"/>
                </a:lnTo>
                <a:lnTo>
                  <a:pt x="844" y="1088"/>
                </a:lnTo>
                <a:lnTo>
                  <a:pt x="842" y="1088"/>
                </a:lnTo>
                <a:lnTo>
                  <a:pt x="842" y="1088"/>
                </a:lnTo>
                <a:lnTo>
                  <a:pt x="842" y="1088"/>
                </a:lnTo>
                <a:lnTo>
                  <a:pt x="842" y="1088"/>
                </a:lnTo>
                <a:lnTo>
                  <a:pt x="842" y="1090"/>
                </a:lnTo>
                <a:lnTo>
                  <a:pt x="842" y="1090"/>
                </a:lnTo>
                <a:lnTo>
                  <a:pt x="838" y="1096"/>
                </a:lnTo>
                <a:lnTo>
                  <a:pt x="838" y="1096"/>
                </a:lnTo>
                <a:lnTo>
                  <a:pt x="838" y="1098"/>
                </a:lnTo>
                <a:lnTo>
                  <a:pt x="838" y="1098"/>
                </a:lnTo>
                <a:lnTo>
                  <a:pt x="838" y="1098"/>
                </a:lnTo>
                <a:lnTo>
                  <a:pt x="838" y="1098"/>
                </a:lnTo>
                <a:lnTo>
                  <a:pt x="834" y="1104"/>
                </a:lnTo>
                <a:lnTo>
                  <a:pt x="834" y="1104"/>
                </a:lnTo>
                <a:lnTo>
                  <a:pt x="834" y="1104"/>
                </a:lnTo>
                <a:lnTo>
                  <a:pt x="834" y="1104"/>
                </a:lnTo>
                <a:lnTo>
                  <a:pt x="834" y="1104"/>
                </a:lnTo>
                <a:lnTo>
                  <a:pt x="834" y="1104"/>
                </a:lnTo>
                <a:lnTo>
                  <a:pt x="830" y="1110"/>
                </a:lnTo>
                <a:lnTo>
                  <a:pt x="830" y="1110"/>
                </a:lnTo>
                <a:lnTo>
                  <a:pt x="832" y="1106"/>
                </a:lnTo>
                <a:lnTo>
                  <a:pt x="832" y="1106"/>
                </a:lnTo>
                <a:lnTo>
                  <a:pt x="830" y="1106"/>
                </a:lnTo>
                <a:lnTo>
                  <a:pt x="830" y="1106"/>
                </a:lnTo>
                <a:lnTo>
                  <a:pt x="830" y="1110"/>
                </a:lnTo>
                <a:lnTo>
                  <a:pt x="830" y="1110"/>
                </a:lnTo>
                <a:lnTo>
                  <a:pt x="830" y="1108"/>
                </a:lnTo>
                <a:lnTo>
                  <a:pt x="830" y="1108"/>
                </a:lnTo>
                <a:lnTo>
                  <a:pt x="830" y="1108"/>
                </a:lnTo>
                <a:lnTo>
                  <a:pt x="830" y="1108"/>
                </a:lnTo>
                <a:lnTo>
                  <a:pt x="830" y="1108"/>
                </a:lnTo>
                <a:lnTo>
                  <a:pt x="830" y="1108"/>
                </a:lnTo>
                <a:lnTo>
                  <a:pt x="830" y="1108"/>
                </a:lnTo>
                <a:lnTo>
                  <a:pt x="830" y="1108"/>
                </a:lnTo>
                <a:lnTo>
                  <a:pt x="830" y="1108"/>
                </a:lnTo>
                <a:lnTo>
                  <a:pt x="830" y="1108"/>
                </a:lnTo>
                <a:lnTo>
                  <a:pt x="826" y="1114"/>
                </a:lnTo>
                <a:lnTo>
                  <a:pt x="826" y="1114"/>
                </a:lnTo>
                <a:lnTo>
                  <a:pt x="826" y="1114"/>
                </a:lnTo>
                <a:lnTo>
                  <a:pt x="826" y="1114"/>
                </a:lnTo>
                <a:lnTo>
                  <a:pt x="826" y="1116"/>
                </a:lnTo>
                <a:lnTo>
                  <a:pt x="826" y="1116"/>
                </a:lnTo>
                <a:lnTo>
                  <a:pt x="826" y="1120"/>
                </a:lnTo>
                <a:lnTo>
                  <a:pt x="826" y="1120"/>
                </a:lnTo>
                <a:lnTo>
                  <a:pt x="824" y="1120"/>
                </a:lnTo>
                <a:lnTo>
                  <a:pt x="824" y="1120"/>
                </a:lnTo>
                <a:lnTo>
                  <a:pt x="824" y="1122"/>
                </a:lnTo>
                <a:lnTo>
                  <a:pt x="824" y="1122"/>
                </a:lnTo>
                <a:lnTo>
                  <a:pt x="824" y="1122"/>
                </a:lnTo>
                <a:lnTo>
                  <a:pt x="824" y="1122"/>
                </a:lnTo>
                <a:lnTo>
                  <a:pt x="824" y="1120"/>
                </a:lnTo>
                <a:lnTo>
                  <a:pt x="824" y="1120"/>
                </a:lnTo>
                <a:lnTo>
                  <a:pt x="824" y="1120"/>
                </a:lnTo>
                <a:lnTo>
                  <a:pt x="824" y="1120"/>
                </a:lnTo>
                <a:lnTo>
                  <a:pt x="824" y="1120"/>
                </a:lnTo>
                <a:lnTo>
                  <a:pt x="824" y="1120"/>
                </a:lnTo>
                <a:lnTo>
                  <a:pt x="824" y="1122"/>
                </a:lnTo>
                <a:lnTo>
                  <a:pt x="824" y="1122"/>
                </a:lnTo>
                <a:lnTo>
                  <a:pt x="822" y="1118"/>
                </a:lnTo>
                <a:lnTo>
                  <a:pt x="824" y="1116"/>
                </a:lnTo>
                <a:lnTo>
                  <a:pt x="824" y="1116"/>
                </a:lnTo>
                <a:close/>
                <a:moveTo>
                  <a:pt x="820" y="1136"/>
                </a:moveTo>
                <a:lnTo>
                  <a:pt x="820" y="1136"/>
                </a:lnTo>
                <a:lnTo>
                  <a:pt x="820" y="1134"/>
                </a:lnTo>
                <a:lnTo>
                  <a:pt x="820" y="1134"/>
                </a:lnTo>
                <a:lnTo>
                  <a:pt x="820" y="1134"/>
                </a:lnTo>
                <a:lnTo>
                  <a:pt x="820" y="1134"/>
                </a:lnTo>
                <a:lnTo>
                  <a:pt x="820" y="1132"/>
                </a:lnTo>
                <a:lnTo>
                  <a:pt x="820" y="1132"/>
                </a:lnTo>
                <a:lnTo>
                  <a:pt x="822" y="1128"/>
                </a:lnTo>
                <a:lnTo>
                  <a:pt x="822" y="1128"/>
                </a:lnTo>
                <a:lnTo>
                  <a:pt x="822" y="1128"/>
                </a:lnTo>
                <a:lnTo>
                  <a:pt x="822" y="1128"/>
                </a:lnTo>
                <a:lnTo>
                  <a:pt x="820" y="1132"/>
                </a:lnTo>
                <a:lnTo>
                  <a:pt x="820" y="1132"/>
                </a:lnTo>
                <a:lnTo>
                  <a:pt x="822" y="1130"/>
                </a:lnTo>
                <a:lnTo>
                  <a:pt x="822" y="1130"/>
                </a:lnTo>
                <a:lnTo>
                  <a:pt x="820" y="1134"/>
                </a:lnTo>
                <a:lnTo>
                  <a:pt x="820" y="1134"/>
                </a:lnTo>
                <a:lnTo>
                  <a:pt x="820" y="1134"/>
                </a:lnTo>
                <a:lnTo>
                  <a:pt x="820" y="1134"/>
                </a:lnTo>
                <a:lnTo>
                  <a:pt x="820" y="1136"/>
                </a:lnTo>
                <a:lnTo>
                  <a:pt x="820" y="1136"/>
                </a:lnTo>
                <a:close/>
                <a:moveTo>
                  <a:pt x="846" y="1090"/>
                </a:moveTo>
                <a:lnTo>
                  <a:pt x="846" y="1090"/>
                </a:lnTo>
                <a:lnTo>
                  <a:pt x="848" y="1090"/>
                </a:lnTo>
                <a:lnTo>
                  <a:pt x="848" y="1090"/>
                </a:lnTo>
                <a:lnTo>
                  <a:pt x="848" y="1090"/>
                </a:lnTo>
                <a:lnTo>
                  <a:pt x="848" y="1090"/>
                </a:lnTo>
                <a:lnTo>
                  <a:pt x="846" y="1090"/>
                </a:lnTo>
                <a:lnTo>
                  <a:pt x="846" y="1090"/>
                </a:lnTo>
                <a:close/>
                <a:moveTo>
                  <a:pt x="972" y="1058"/>
                </a:moveTo>
                <a:lnTo>
                  <a:pt x="972" y="1058"/>
                </a:lnTo>
                <a:lnTo>
                  <a:pt x="968" y="1054"/>
                </a:lnTo>
                <a:lnTo>
                  <a:pt x="968" y="1054"/>
                </a:lnTo>
                <a:lnTo>
                  <a:pt x="970" y="1052"/>
                </a:lnTo>
                <a:lnTo>
                  <a:pt x="972" y="1050"/>
                </a:lnTo>
                <a:lnTo>
                  <a:pt x="978" y="1050"/>
                </a:lnTo>
                <a:lnTo>
                  <a:pt x="978" y="1050"/>
                </a:lnTo>
                <a:lnTo>
                  <a:pt x="986" y="1052"/>
                </a:lnTo>
                <a:lnTo>
                  <a:pt x="992" y="1052"/>
                </a:lnTo>
                <a:lnTo>
                  <a:pt x="992" y="1052"/>
                </a:lnTo>
                <a:lnTo>
                  <a:pt x="998" y="1050"/>
                </a:lnTo>
                <a:lnTo>
                  <a:pt x="1002" y="1052"/>
                </a:lnTo>
                <a:lnTo>
                  <a:pt x="1006" y="1054"/>
                </a:lnTo>
                <a:lnTo>
                  <a:pt x="1006" y="1054"/>
                </a:lnTo>
                <a:lnTo>
                  <a:pt x="1012" y="1058"/>
                </a:lnTo>
                <a:lnTo>
                  <a:pt x="1018" y="1058"/>
                </a:lnTo>
                <a:lnTo>
                  <a:pt x="1018" y="1058"/>
                </a:lnTo>
                <a:lnTo>
                  <a:pt x="1022" y="1060"/>
                </a:lnTo>
                <a:lnTo>
                  <a:pt x="1024" y="1066"/>
                </a:lnTo>
                <a:lnTo>
                  <a:pt x="1024" y="1066"/>
                </a:lnTo>
                <a:lnTo>
                  <a:pt x="1030" y="1064"/>
                </a:lnTo>
                <a:lnTo>
                  <a:pt x="1034" y="1062"/>
                </a:lnTo>
                <a:lnTo>
                  <a:pt x="1034" y="1062"/>
                </a:lnTo>
                <a:lnTo>
                  <a:pt x="1034" y="1080"/>
                </a:lnTo>
                <a:lnTo>
                  <a:pt x="1034" y="1080"/>
                </a:lnTo>
                <a:lnTo>
                  <a:pt x="1030" y="1080"/>
                </a:lnTo>
                <a:lnTo>
                  <a:pt x="1030" y="1080"/>
                </a:lnTo>
                <a:lnTo>
                  <a:pt x="1024" y="1066"/>
                </a:lnTo>
                <a:lnTo>
                  <a:pt x="1024" y="1066"/>
                </a:lnTo>
                <a:lnTo>
                  <a:pt x="1022" y="1068"/>
                </a:lnTo>
                <a:lnTo>
                  <a:pt x="1022" y="1068"/>
                </a:lnTo>
                <a:lnTo>
                  <a:pt x="1018" y="1060"/>
                </a:lnTo>
                <a:lnTo>
                  <a:pt x="1018" y="1060"/>
                </a:lnTo>
                <a:lnTo>
                  <a:pt x="998" y="1058"/>
                </a:lnTo>
                <a:lnTo>
                  <a:pt x="998" y="1058"/>
                </a:lnTo>
                <a:lnTo>
                  <a:pt x="972" y="1058"/>
                </a:lnTo>
                <a:lnTo>
                  <a:pt x="972" y="1058"/>
                </a:lnTo>
                <a:lnTo>
                  <a:pt x="974" y="1058"/>
                </a:lnTo>
                <a:lnTo>
                  <a:pt x="974" y="1058"/>
                </a:lnTo>
                <a:lnTo>
                  <a:pt x="976" y="1062"/>
                </a:lnTo>
                <a:lnTo>
                  <a:pt x="976" y="1062"/>
                </a:lnTo>
                <a:lnTo>
                  <a:pt x="984" y="1066"/>
                </a:lnTo>
                <a:lnTo>
                  <a:pt x="984" y="1066"/>
                </a:lnTo>
                <a:lnTo>
                  <a:pt x="976" y="1070"/>
                </a:lnTo>
                <a:lnTo>
                  <a:pt x="976" y="1070"/>
                </a:lnTo>
                <a:lnTo>
                  <a:pt x="974" y="1074"/>
                </a:lnTo>
                <a:lnTo>
                  <a:pt x="974" y="1074"/>
                </a:lnTo>
                <a:lnTo>
                  <a:pt x="972" y="1072"/>
                </a:lnTo>
                <a:lnTo>
                  <a:pt x="972" y="1072"/>
                </a:lnTo>
                <a:lnTo>
                  <a:pt x="968" y="1074"/>
                </a:lnTo>
                <a:lnTo>
                  <a:pt x="968" y="1074"/>
                </a:lnTo>
                <a:lnTo>
                  <a:pt x="962" y="1068"/>
                </a:lnTo>
                <a:lnTo>
                  <a:pt x="952" y="1062"/>
                </a:lnTo>
                <a:lnTo>
                  <a:pt x="952" y="1062"/>
                </a:lnTo>
                <a:lnTo>
                  <a:pt x="954" y="1062"/>
                </a:lnTo>
                <a:lnTo>
                  <a:pt x="954" y="1062"/>
                </a:lnTo>
                <a:lnTo>
                  <a:pt x="954" y="1062"/>
                </a:lnTo>
                <a:lnTo>
                  <a:pt x="954" y="1062"/>
                </a:lnTo>
                <a:lnTo>
                  <a:pt x="950" y="1062"/>
                </a:lnTo>
                <a:lnTo>
                  <a:pt x="948" y="1060"/>
                </a:lnTo>
                <a:lnTo>
                  <a:pt x="946" y="1054"/>
                </a:lnTo>
                <a:lnTo>
                  <a:pt x="946" y="1054"/>
                </a:lnTo>
                <a:lnTo>
                  <a:pt x="960" y="1056"/>
                </a:lnTo>
                <a:lnTo>
                  <a:pt x="972" y="1058"/>
                </a:lnTo>
                <a:lnTo>
                  <a:pt x="972" y="1058"/>
                </a:lnTo>
                <a:close/>
                <a:moveTo>
                  <a:pt x="990" y="994"/>
                </a:moveTo>
                <a:lnTo>
                  <a:pt x="990" y="994"/>
                </a:lnTo>
                <a:lnTo>
                  <a:pt x="990" y="994"/>
                </a:lnTo>
                <a:lnTo>
                  <a:pt x="990" y="994"/>
                </a:lnTo>
                <a:lnTo>
                  <a:pt x="990" y="994"/>
                </a:lnTo>
                <a:lnTo>
                  <a:pt x="990" y="994"/>
                </a:lnTo>
                <a:lnTo>
                  <a:pt x="990" y="998"/>
                </a:lnTo>
                <a:lnTo>
                  <a:pt x="990" y="998"/>
                </a:lnTo>
                <a:lnTo>
                  <a:pt x="988" y="1002"/>
                </a:lnTo>
                <a:lnTo>
                  <a:pt x="984" y="1002"/>
                </a:lnTo>
                <a:lnTo>
                  <a:pt x="984" y="1002"/>
                </a:lnTo>
                <a:lnTo>
                  <a:pt x="988" y="1000"/>
                </a:lnTo>
                <a:lnTo>
                  <a:pt x="990" y="998"/>
                </a:lnTo>
                <a:lnTo>
                  <a:pt x="990" y="998"/>
                </a:lnTo>
                <a:lnTo>
                  <a:pt x="990" y="994"/>
                </a:lnTo>
                <a:lnTo>
                  <a:pt x="990" y="994"/>
                </a:lnTo>
                <a:lnTo>
                  <a:pt x="980" y="996"/>
                </a:lnTo>
                <a:lnTo>
                  <a:pt x="968" y="992"/>
                </a:lnTo>
                <a:lnTo>
                  <a:pt x="968" y="992"/>
                </a:lnTo>
                <a:lnTo>
                  <a:pt x="968" y="992"/>
                </a:lnTo>
                <a:lnTo>
                  <a:pt x="968" y="992"/>
                </a:lnTo>
                <a:lnTo>
                  <a:pt x="980" y="996"/>
                </a:lnTo>
                <a:lnTo>
                  <a:pt x="990" y="994"/>
                </a:lnTo>
                <a:lnTo>
                  <a:pt x="990" y="994"/>
                </a:lnTo>
                <a:close/>
                <a:moveTo>
                  <a:pt x="960" y="994"/>
                </a:moveTo>
                <a:lnTo>
                  <a:pt x="960" y="994"/>
                </a:lnTo>
                <a:lnTo>
                  <a:pt x="968" y="998"/>
                </a:lnTo>
                <a:lnTo>
                  <a:pt x="968" y="998"/>
                </a:lnTo>
                <a:lnTo>
                  <a:pt x="968" y="998"/>
                </a:lnTo>
                <a:lnTo>
                  <a:pt x="968" y="998"/>
                </a:lnTo>
                <a:lnTo>
                  <a:pt x="968" y="998"/>
                </a:lnTo>
                <a:lnTo>
                  <a:pt x="968" y="998"/>
                </a:lnTo>
                <a:lnTo>
                  <a:pt x="966" y="1000"/>
                </a:lnTo>
                <a:lnTo>
                  <a:pt x="964" y="1002"/>
                </a:lnTo>
                <a:lnTo>
                  <a:pt x="964" y="1002"/>
                </a:lnTo>
                <a:lnTo>
                  <a:pt x="956" y="1004"/>
                </a:lnTo>
                <a:lnTo>
                  <a:pt x="956" y="1004"/>
                </a:lnTo>
                <a:lnTo>
                  <a:pt x="964" y="1002"/>
                </a:lnTo>
                <a:lnTo>
                  <a:pt x="964" y="1002"/>
                </a:lnTo>
                <a:lnTo>
                  <a:pt x="966" y="1000"/>
                </a:lnTo>
                <a:lnTo>
                  <a:pt x="968" y="998"/>
                </a:lnTo>
                <a:lnTo>
                  <a:pt x="968" y="998"/>
                </a:lnTo>
                <a:lnTo>
                  <a:pt x="960" y="994"/>
                </a:lnTo>
                <a:lnTo>
                  <a:pt x="960" y="994"/>
                </a:lnTo>
                <a:lnTo>
                  <a:pt x="954" y="994"/>
                </a:lnTo>
                <a:lnTo>
                  <a:pt x="954" y="994"/>
                </a:lnTo>
                <a:lnTo>
                  <a:pt x="960" y="994"/>
                </a:lnTo>
                <a:lnTo>
                  <a:pt x="960" y="994"/>
                </a:lnTo>
                <a:close/>
                <a:moveTo>
                  <a:pt x="950" y="1004"/>
                </a:moveTo>
                <a:lnTo>
                  <a:pt x="950" y="1004"/>
                </a:lnTo>
                <a:lnTo>
                  <a:pt x="956" y="1004"/>
                </a:lnTo>
                <a:lnTo>
                  <a:pt x="956" y="1004"/>
                </a:lnTo>
                <a:lnTo>
                  <a:pt x="950" y="1004"/>
                </a:lnTo>
                <a:lnTo>
                  <a:pt x="950" y="1004"/>
                </a:lnTo>
                <a:close/>
                <a:moveTo>
                  <a:pt x="932" y="1014"/>
                </a:moveTo>
                <a:lnTo>
                  <a:pt x="932" y="1014"/>
                </a:lnTo>
                <a:lnTo>
                  <a:pt x="928" y="1014"/>
                </a:lnTo>
                <a:lnTo>
                  <a:pt x="928" y="1014"/>
                </a:lnTo>
                <a:lnTo>
                  <a:pt x="922" y="1016"/>
                </a:lnTo>
                <a:lnTo>
                  <a:pt x="916" y="1016"/>
                </a:lnTo>
                <a:lnTo>
                  <a:pt x="908" y="1016"/>
                </a:lnTo>
                <a:lnTo>
                  <a:pt x="902" y="1016"/>
                </a:lnTo>
                <a:lnTo>
                  <a:pt x="902" y="1016"/>
                </a:lnTo>
                <a:lnTo>
                  <a:pt x="898" y="1014"/>
                </a:lnTo>
                <a:lnTo>
                  <a:pt x="898" y="1014"/>
                </a:lnTo>
                <a:lnTo>
                  <a:pt x="908" y="1008"/>
                </a:lnTo>
                <a:lnTo>
                  <a:pt x="918" y="1006"/>
                </a:lnTo>
                <a:lnTo>
                  <a:pt x="918" y="1006"/>
                </a:lnTo>
                <a:lnTo>
                  <a:pt x="936" y="1006"/>
                </a:lnTo>
                <a:lnTo>
                  <a:pt x="936" y="1006"/>
                </a:lnTo>
                <a:lnTo>
                  <a:pt x="948" y="1004"/>
                </a:lnTo>
                <a:lnTo>
                  <a:pt x="948" y="1004"/>
                </a:lnTo>
                <a:lnTo>
                  <a:pt x="942" y="1010"/>
                </a:lnTo>
                <a:lnTo>
                  <a:pt x="938" y="1012"/>
                </a:lnTo>
                <a:lnTo>
                  <a:pt x="932" y="1014"/>
                </a:lnTo>
                <a:lnTo>
                  <a:pt x="932" y="1014"/>
                </a:lnTo>
                <a:close/>
                <a:moveTo>
                  <a:pt x="940" y="996"/>
                </a:moveTo>
                <a:lnTo>
                  <a:pt x="940" y="996"/>
                </a:lnTo>
                <a:lnTo>
                  <a:pt x="940" y="996"/>
                </a:lnTo>
                <a:lnTo>
                  <a:pt x="940" y="996"/>
                </a:lnTo>
                <a:lnTo>
                  <a:pt x="940" y="998"/>
                </a:lnTo>
                <a:lnTo>
                  <a:pt x="940" y="998"/>
                </a:lnTo>
                <a:lnTo>
                  <a:pt x="934" y="1000"/>
                </a:lnTo>
                <a:lnTo>
                  <a:pt x="934" y="1000"/>
                </a:lnTo>
                <a:lnTo>
                  <a:pt x="934" y="998"/>
                </a:lnTo>
                <a:lnTo>
                  <a:pt x="934" y="998"/>
                </a:lnTo>
                <a:lnTo>
                  <a:pt x="940" y="998"/>
                </a:lnTo>
                <a:lnTo>
                  <a:pt x="940" y="998"/>
                </a:lnTo>
                <a:lnTo>
                  <a:pt x="940" y="996"/>
                </a:lnTo>
                <a:lnTo>
                  <a:pt x="940" y="996"/>
                </a:lnTo>
                <a:close/>
                <a:moveTo>
                  <a:pt x="924" y="940"/>
                </a:moveTo>
                <a:lnTo>
                  <a:pt x="924" y="940"/>
                </a:lnTo>
                <a:lnTo>
                  <a:pt x="924" y="940"/>
                </a:lnTo>
                <a:lnTo>
                  <a:pt x="924" y="940"/>
                </a:lnTo>
                <a:lnTo>
                  <a:pt x="938" y="932"/>
                </a:lnTo>
                <a:lnTo>
                  <a:pt x="938" y="932"/>
                </a:lnTo>
                <a:lnTo>
                  <a:pt x="928" y="932"/>
                </a:lnTo>
                <a:lnTo>
                  <a:pt x="920" y="932"/>
                </a:lnTo>
                <a:lnTo>
                  <a:pt x="920" y="932"/>
                </a:lnTo>
                <a:lnTo>
                  <a:pt x="928" y="932"/>
                </a:lnTo>
                <a:lnTo>
                  <a:pt x="938" y="932"/>
                </a:lnTo>
                <a:lnTo>
                  <a:pt x="938" y="932"/>
                </a:lnTo>
                <a:lnTo>
                  <a:pt x="924" y="940"/>
                </a:lnTo>
                <a:lnTo>
                  <a:pt x="924" y="940"/>
                </a:lnTo>
                <a:close/>
                <a:moveTo>
                  <a:pt x="944" y="982"/>
                </a:moveTo>
                <a:lnTo>
                  <a:pt x="944" y="982"/>
                </a:lnTo>
                <a:lnTo>
                  <a:pt x="938" y="982"/>
                </a:lnTo>
                <a:lnTo>
                  <a:pt x="938" y="982"/>
                </a:lnTo>
                <a:lnTo>
                  <a:pt x="938" y="982"/>
                </a:lnTo>
                <a:lnTo>
                  <a:pt x="938" y="982"/>
                </a:lnTo>
                <a:lnTo>
                  <a:pt x="944" y="982"/>
                </a:lnTo>
                <a:lnTo>
                  <a:pt x="944" y="982"/>
                </a:lnTo>
                <a:lnTo>
                  <a:pt x="944" y="980"/>
                </a:lnTo>
                <a:lnTo>
                  <a:pt x="944" y="980"/>
                </a:lnTo>
                <a:lnTo>
                  <a:pt x="944" y="980"/>
                </a:lnTo>
                <a:lnTo>
                  <a:pt x="944" y="980"/>
                </a:lnTo>
                <a:lnTo>
                  <a:pt x="944" y="982"/>
                </a:lnTo>
                <a:lnTo>
                  <a:pt x="944" y="982"/>
                </a:lnTo>
                <a:close/>
                <a:moveTo>
                  <a:pt x="938" y="956"/>
                </a:moveTo>
                <a:lnTo>
                  <a:pt x="938" y="956"/>
                </a:lnTo>
                <a:lnTo>
                  <a:pt x="938" y="956"/>
                </a:lnTo>
                <a:lnTo>
                  <a:pt x="938" y="956"/>
                </a:lnTo>
                <a:lnTo>
                  <a:pt x="948" y="954"/>
                </a:lnTo>
                <a:lnTo>
                  <a:pt x="948" y="954"/>
                </a:lnTo>
                <a:lnTo>
                  <a:pt x="944" y="952"/>
                </a:lnTo>
                <a:lnTo>
                  <a:pt x="944" y="952"/>
                </a:lnTo>
                <a:lnTo>
                  <a:pt x="948" y="954"/>
                </a:lnTo>
                <a:lnTo>
                  <a:pt x="948" y="954"/>
                </a:lnTo>
                <a:lnTo>
                  <a:pt x="938" y="956"/>
                </a:lnTo>
                <a:lnTo>
                  <a:pt x="938" y="956"/>
                </a:lnTo>
                <a:close/>
                <a:moveTo>
                  <a:pt x="958" y="944"/>
                </a:moveTo>
                <a:lnTo>
                  <a:pt x="958" y="944"/>
                </a:lnTo>
                <a:lnTo>
                  <a:pt x="958" y="944"/>
                </a:lnTo>
                <a:lnTo>
                  <a:pt x="958" y="944"/>
                </a:lnTo>
                <a:lnTo>
                  <a:pt x="958" y="946"/>
                </a:lnTo>
                <a:lnTo>
                  <a:pt x="958" y="946"/>
                </a:lnTo>
                <a:lnTo>
                  <a:pt x="956" y="948"/>
                </a:lnTo>
                <a:lnTo>
                  <a:pt x="952" y="948"/>
                </a:lnTo>
                <a:lnTo>
                  <a:pt x="944" y="946"/>
                </a:lnTo>
                <a:lnTo>
                  <a:pt x="944" y="946"/>
                </a:lnTo>
                <a:lnTo>
                  <a:pt x="944" y="946"/>
                </a:lnTo>
                <a:lnTo>
                  <a:pt x="944" y="946"/>
                </a:lnTo>
                <a:lnTo>
                  <a:pt x="952" y="948"/>
                </a:lnTo>
                <a:lnTo>
                  <a:pt x="956" y="948"/>
                </a:lnTo>
                <a:lnTo>
                  <a:pt x="958" y="946"/>
                </a:lnTo>
                <a:lnTo>
                  <a:pt x="958" y="946"/>
                </a:lnTo>
                <a:lnTo>
                  <a:pt x="958" y="944"/>
                </a:lnTo>
                <a:lnTo>
                  <a:pt x="958" y="944"/>
                </a:lnTo>
                <a:close/>
                <a:moveTo>
                  <a:pt x="952" y="978"/>
                </a:moveTo>
                <a:lnTo>
                  <a:pt x="952" y="978"/>
                </a:lnTo>
                <a:lnTo>
                  <a:pt x="950" y="974"/>
                </a:lnTo>
                <a:lnTo>
                  <a:pt x="950" y="974"/>
                </a:lnTo>
                <a:lnTo>
                  <a:pt x="950" y="974"/>
                </a:lnTo>
                <a:lnTo>
                  <a:pt x="952" y="978"/>
                </a:lnTo>
                <a:lnTo>
                  <a:pt x="952" y="978"/>
                </a:lnTo>
                <a:lnTo>
                  <a:pt x="952" y="978"/>
                </a:lnTo>
                <a:lnTo>
                  <a:pt x="952" y="978"/>
                </a:lnTo>
                <a:close/>
                <a:moveTo>
                  <a:pt x="972" y="968"/>
                </a:moveTo>
                <a:lnTo>
                  <a:pt x="972" y="968"/>
                </a:lnTo>
                <a:lnTo>
                  <a:pt x="966" y="972"/>
                </a:lnTo>
                <a:lnTo>
                  <a:pt x="962" y="974"/>
                </a:lnTo>
                <a:lnTo>
                  <a:pt x="958" y="972"/>
                </a:lnTo>
                <a:lnTo>
                  <a:pt x="958" y="972"/>
                </a:lnTo>
                <a:lnTo>
                  <a:pt x="950" y="974"/>
                </a:lnTo>
                <a:lnTo>
                  <a:pt x="950" y="974"/>
                </a:lnTo>
                <a:lnTo>
                  <a:pt x="950" y="974"/>
                </a:lnTo>
                <a:lnTo>
                  <a:pt x="950" y="974"/>
                </a:lnTo>
                <a:lnTo>
                  <a:pt x="958" y="972"/>
                </a:lnTo>
                <a:lnTo>
                  <a:pt x="958" y="972"/>
                </a:lnTo>
                <a:lnTo>
                  <a:pt x="962" y="974"/>
                </a:lnTo>
                <a:lnTo>
                  <a:pt x="966" y="972"/>
                </a:lnTo>
                <a:lnTo>
                  <a:pt x="972" y="968"/>
                </a:lnTo>
                <a:lnTo>
                  <a:pt x="972" y="968"/>
                </a:lnTo>
                <a:lnTo>
                  <a:pt x="970" y="966"/>
                </a:lnTo>
                <a:lnTo>
                  <a:pt x="970" y="966"/>
                </a:lnTo>
                <a:lnTo>
                  <a:pt x="972" y="968"/>
                </a:lnTo>
                <a:lnTo>
                  <a:pt x="972" y="968"/>
                </a:lnTo>
                <a:close/>
                <a:moveTo>
                  <a:pt x="976" y="950"/>
                </a:moveTo>
                <a:lnTo>
                  <a:pt x="976" y="950"/>
                </a:lnTo>
                <a:lnTo>
                  <a:pt x="976" y="950"/>
                </a:lnTo>
                <a:lnTo>
                  <a:pt x="976" y="950"/>
                </a:lnTo>
                <a:lnTo>
                  <a:pt x="978" y="946"/>
                </a:lnTo>
                <a:lnTo>
                  <a:pt x="974" y="944"/>
                </a:lnTo>
                <a:lnTo>
                  <a:pt x="974" y="944"/>
                </a:lnTo>
                <a:lnTo>
                  <a:pt x="970" y="944"/>
                </a:lnTo>
                <a:lnTo>
                  <a:pt x="966" y="944"/>
                </a:lnTo>
                <a:lnTo>
                  <a:pt x="962" y="950"/>
                </a:lnTo>
                <a:lnTo>
                  <a:pt x="962" y="950"/>
                </a:lnTo>
                <a:lnTo>
                  <a:pt x="962" y="950"/>
                </a:lnTo>
                <a:lnTo>
                  <a:pt x="966" y="944"/>
                </a:lnTo>
                <a:lnTo>
                  <a:pt x="970" y="944"/>
                </a:lnTo>
                <a:lnTo>
                  <a:pt x="974" y="944"/>
                </a:lnTo>
                <a:lnTo>
                  <a:pt x="974" y="944"/>
                </a:lnTo>
                <a:lnTo>
                  <a:pt x="978" y="946"/>
                </a:lnTo>
                <a:lnTo>
                  <a:pt x="976" y="950"/>
                </a:lnTo>
                <a:lnTo>
                  <a:pt x="976" y="950"/>
                </a:lnTo>
                <a:close/>
                <a:moveTo>
                  <a:pt x="954" y="928"/>
                </a:moveTo>
                <a:lnTo>
                  <a:pt x="954" y="928"/>
                </a:lnTo>
                <a:lnTo>
                  <a:pt x="946" y="928"/>
                </a:lnTo>
                <a:lnTo>
                  <a:pt x="946" y="928"/>
                </a:lnTo>
                <a:lnTo>
                  <a:pt x="920" y="922"/>
                </a:lnTo>
                <a:lnTo>
                  <a:pt x="920" y="922"/>
                </a:lnTo>
                <a:lnTo>
                  <a:pt x="924" y="918"/>
                </a:lnTo>
                <a:lnTo>
                  <a:pt x="926" y="918"/>
                </a:lnTo>
                <a:lnTo>
                  <a:pt x="932" y="918"/>
                </a:lnTo>
                <a:lnTo>
                  <a:pt x="938" y="920"/>
                </a:lnTo>
                <a:lnTo>
                  <a:pt x="938" y="920"/>
                </a:lnTo>
                <a:lnTo>
                  <a:pt x="944" y="916"/>
                </a:lnTo>
                <a:lnTo>
                  <a:pt x="950" y="916"/>
                </a:lnTo>
                <a:lnTo>
                  <a:pt x="962" y="920"/>
                </a:lnTo>
                <a:lnTo>
                  <a:pt x="962" y="920"/>
                </a:lnTo>
                <a:lnTo>
                  <a:pt x="972" y="922"/>
                </a:lnTo>
                <a:lnTo>
                  <a:pt x="972" y="922"/>
                </a:lnTo>
                <a:lnTo>
                  <a:pt x="990" y="920"/>
                </a:lnTo>
                <a:lnTo>
                  <a:pt x="990" y="920"/>
                </a:lnTo>
                <a:lnTo>
                  <a:pt x="988" y="924"/>
                </a:lnTo>
                <a:lnTo>
                  <a:pt x="986" y="924"/>
                </a:lnTo>
                <a:lnTo>
                  <a:pt x="980" y="926"/>
                </a:lnTo>
                <a:lnTo>
                  <a:pt x="980" y="926"/>
                </a:lnTo>
                <a:lnTo>
                  <a:pt x="966" y="926"/>
                </a:lnTo>
                <a:lnTo>
                  <a:pt x="954" y="928"/>
                </a:lnTo>
                <a:lnTo>
                  <a:pt x="954" y="928"/>
                </a:lnTo>
                <a:close/>
                <a:moveTo>
                  <a:pt x="986" y="942"/>
                </a:moveTo>
                <a:lnTo>
                  <a:pt x="986" y="942"/>
                </a:lnTo>
                <a:lnTo>
                  <a:pt x="986" y="942"/>
                </a:lnTo>
                <a:lnTo>
                  <a:pt x="986" y="942"/>
                </a:lnTo>
                <a:lnTo>
                  <a:pt x="990" y="940"/>
                </a:lnTo>
                <a:lnTo>
                  <a:pt x="990" y="940"/>
                </a:lnTo>
                <a:lnTo>
                  <a:pt x="990" y="938"/>
                </a:lnTo>
                <a:lnTo>
                  <a:pt x="990" y="938"/>
                </a:lnTo>
                <a:lnTo>
                  <a:pt x="990" y="938"/>
                </a:lnTo>
                <a:lnTo>
                  <a:pt x="990" y="938"/>
                </a:lnTo>
                <a:lnTo>
                  <a:pt x="992" y="940"/>
                </a:lnTo>
                <a:lnTo>
                  <a:pt x="992" y="940"/>
                </a:lnTo>
                <a:lnTo>
                  <a:pt x="986" y="942"/>
                </a:lnTo>
                <a:lnTo>
                  <a:pt x="986" y="942"/>
                </a:lnTo>
                <a:close/>
                <a:moveTo>
                  <a:pt x="1010" y="956"/>
                </a:moveTo>
                <a:lnTo>
                  <a:pt x="1010" y="956"/>
                </a:lnTo>
                <a:lnTo>
                  <a:pt x="1010" y="956"/>
                </a:lnTo>
                <a:lnTo>
                  <a:pt x="1010" y="956"/>
                </a:lnTo>
                <a:lnTo>
                  <a:pt x="1010" y="956"/>
                </a:lnTo>
                <a:lnTo>
                  <a:pt x="1012" y="952"/>
                </a:lnTo>
                <a:lnTo>
                  <a:pt x="1008" y="950"/>
                </a:lnTo>
                <a:lnTo>
                  <a:pt x="1008" y="950"/>
                </a:lnTo>
                <a:lnTo>
                  <a:pt x="996" y="950"/>
                </a:lnTo>
                <a:lnTo>
                  <a:pt x="996" y="950"/>
                </a:lnTo>
                <a:lnTo>
                  <a:pt x="988" y="952"/>
                </a:lnTo>
                <a:lnTo>
                  <a:pt x="988" y="952"/>
                </a:lnTo>
                <a:lnTo>
                  <a:pt x="988" y="952"/>
                </a:lnTo>
                <a:lnTo>
                  <a:pt x="988" y="952"/>
                </a:lnTo>
                <a:lnTo>
                  <a:pt x="996" y="950"/>
                </a:lnTo>
                <a:lnTo>
                  <a:pt x="996" y="950"/>
                </a:lnTo>
                <a:lnTo>
                  <a:pt x="1008" y="950"/>
                </a:lnTo>
                <a:lnTo>
                  <a:pt x="1008" y="950"/>
                </a:lnTo>
                <a:lnTo>
                  <a:pt x="1012" y="952"/>
                </a:lnTo>
                <a:lnTo>
                  <a:pt x="1010" y="956"/>
                </a:lnTo>
                <a:lnTo>
                  <a:pt x="1010" y="956"/>
                </a:lnTo>
                <a:close/>
                <a:moveTo>
                  <a:pt x="1014" y="962"/>
                </a:moveTo>
                <a:lnTo>
                  <a:pt x="1014" y="962"/>
                </a:lnTo>
                <a:lnTo>
                  <a:pt x="1014" y="962"/>
                </a:lnTo>
                <a:lnTo>
                  <a:pt x="1014" y="962"/>
                </a:lnTo>
                <a:lnTo>
                  <a:pt x="1020" y="962"/>
                </a:lnTo>
                <a:lnTo>
                  <a:pt x="1022" y="960"/>
                </a:lnTo>
                <a:lnTo>
                  <a:pt x="1022" y="958"/>
                </a:lnTo>
                <a:lnTo>
                  <a:pt x="1022" y="958"/>
                </a:lnTo>
                <a:lnTo>
                  <a:pt x="1022" y="958"/>
                </a:lnTo>
                <a:lnTo>
                  <a:pt x="1022" y="958"/>
                </a:lnTo>
                <a:lnTo>
                  <a:pt x="1022" y="960"/>
                </a:lnTo>
                <a:lnTo>
                  <a:pt x="1020" y="962"/>
                </a:lnTo>
                <a:lnTo>
                  <a:pt x="1014" y="962"/>
                </a:lnTo>
                <a:lnTo>
                  <a:pt x="1014" y="962"/>
                </a:lnTo>
                <a:close/>
                <a:moveTo>
                  <a:pt x="1020" y="956"/>
                </a:moveTo>
                <a:lnTo>
                  <a:pt x="1020" y="956"/>
                </a:lnTo>
                <a:lnTo>
                  <a:pt x="1020" y="956"/>
                </a:lnTo>
                <a:lnTo>
                  <a:pt x="1020" y="956"/>
                </a:lnTo>
                <a:lnTo>
                  <a:pt x="1024" y="952"/>
                </a:lnTo>
                <a:lnTo>
                  <a:pt x="1024" y="952"/>
                </a:lnTo>
                <a:lnTo>
                  <a:pt x="1024" y="952"/>
                </a:lnTo>
                <a:lnTo>
                  <a:pt x="1024" y="952"/>
                </a:lnTo>
                <a:lnTo>
                  <a:pt x="1020" y="956"/>
                </a:lnTo>
                <a:lnTo>
                  <a:pt x="1020" y="956"/>
                </a:lnTo>
                <a:close/>
                <a:moveTo>
                  <a:pt x="1102" y="1018"/>
                </a:moveTo>
                <a:lnTo>
                  <a:pt x="1102" y="1018"/>
                </a:lnTo>
                <a:lnTo>
                  <a:pt x="1102" y="1018"/>
                </a:lnTo>
                <a:lnTo>
                  <a:pt x="1102" y="1018"/>
                </a:lnTo>
                <a:lnTo>
                  <a:pt x="1114" y="1018"/>
                </a:lnTo>
                <a:lnTo>
                  <a:pt x="1114" y="1018"/>
                </a:lnTo>
                <a:lnTo>
                  <a:pt x="1112" y="1016"/>
                </a:lnTo>
                <a:lnTo>
                  <a:pt x="1108" y="1014"/>
                </a:lnTo>
                <a:lnTo>
                  <a:pt x="1108" y="1014"/>
                </a:lnTo>
                <a:lnTo>
                  <a:pt x="1112" y="1016"/>
                </a:lnTo>
                <a:lnTo>
                  <a:pt x="1114" y="1018"/>
                </a:lnTo>
                <a:lnTo>
                  <a:pt x="1114" y="1018"/>
                </a:lnTo>
                <a:lnTo>
                  <a:pt x="1102" y="1018"/>
                </a:lnTo>
                <a:lnTo>
                  <a:pt x="1102" y="1018"/>
                </a:lnTo>
                <a:close/>
                <a:moveTo>
                  <a:pt x="1192" y="1052"/>
                </a:moveTo>
                <a:lnTo>
                  <a:pt x="1192" y="1052"/>
                </a:lnTo>
                <a:lnTo>
                  <a:pt x="1192" y="1052"/>
                </a:lnTo>
                <a:lnTo>
                  <a:pt x="1192" y="1052"/>
                </a:lnTo>
                <a:lnTo>
                  <a:pt x="1196" y="1054"/>
                </a:lnTo>
                <a:lnTo>
                  <a:pt x="1196" y="1054"/>
                </a:lnTo>
                <a:lnTo>
                  <a:pt x="1192" y="1060"/>
                </a:lnTo>
                <a:lnTo>
                  <a:pt x="1192" y="1060"/>
                </a:lnTo>
                <a:lnTo>
                  <a:pt x="1192" y="1060"/>
                </a:lnTo>
                <a:lnTo>
                  <a:pt x="1192" y="1060"/>
                </a:lnTo>
                <a:lnTo>
                  <a:pt x="1194" y="1054"/>
                </a:lnTo>
                <a:lnTo>
                  <a:pt x="1194" y="1054"/>
                </a:lnTo>
                <a:lnTo>
                  <a:pt x="1192" y="1052"/>
                </a:lnTo>
                <a:lnTo>
                  <a:pt x="1192" y="1052"/>
                </a:lnTo>
                <a:close/>
                <a:moveTo>
                  <a:pt x="1162" y="1056"/>
                </a:moveTo>
                <a:lnTo>
                  <a:pt x="1162" y="1056"/>
                </a:lnTo>
                <a:lnTo>
                  <a:pt x="1174" y="1056"/>
                </a:lnTo>
                <a:lnTo>
                  <a:pt x="1174" y="1056"/>
                </a:lnTo>
                <a:lnTo>
                  <a:pt x="1168" y="1052"/>
                </a:lnTo>
                <a:lnTo>
                  <a:pt x="1168" y="1052"/>
                </a:lnTo>
                <a:lnTo>
                  <a:pt x="1174" y="1056"/>
                </a:lnTo>
                <a:lnTo>
                  <a:pt x="1174" y="1056"/>
                </a:lnTo>
                <a:lnTo>
                  <a:pt x="1162" y="1056"/>
                </a:lnTo>
                <a:lnTo>
                  <a:pt x="1162" y="1056"/>
                </a:lnTo>
                <a:lnTo>
                  <a:pt x="1162" y="1056"/>
                </a:lnTo>
                <a:lnTo>
                  <a:pt x="1162" y="1056"/>
                </a:lnTo>
                <a:close/>
                <a:moveTo>
                  <a:pt x="1200" y="936"/>
                </a:moveTo>
                <a:lnTo>
                  <a:pt x="1200" y="936"/>
                </a:lnTo>
                <a:lnTo>
                  <a:pt x="1200" y="936"/>
                </a:lnTo>
                <a:lnTo>
                  <a:pt x="1200" y="936"/>
                </a:lnTo>
                <a:lnTo>
                  <a:pt x="1198" y="938"/>
                </a:lnTo>
                <a:lnTo>
                  <a:pt x="1194" y="938"/>
                </a:lnTo>
                <a:lnTo>
                  <a:pt x="1194" y="938"/>
                </a:lnTo>
                <a:lnTo>
                  <a:pt x="1198" y="938"/>
                </a:lnTo>
                <a:lnTo>
                  <a:pt x="1200" y="936"/>
                </a:lnTo>
                <a:lnTo>
                  <a:pt x="1200" y="936"/>
                </a:lnTo>
                <a:close/>
                <a:moveTo>
                  <a:pt x="1182" y="942"/>
                </a:moveTo>
                <a:lnTo>
                  <a:pt x="1182" y="942"/>
                </a:lnTo>
                <a:lnTo>
                  <a:pt x="1186" y="940"/>
                </a:lnTo>
                <a:lnTo>
                  <a:pt x="1184" y="936"/>
                </a:lnTo>
                <a:lnTo>
                  <a:pt x="1184" y="936"/>
                </a:lnTo>
                <a:lnTo>
                  <a:pt x="1184" y="936"/>
                </a:lnTo>
                <a:lnTo>
                  <a:pt x="1184" y="936"/>
                </a:lnTo>
                <a:lnTo>
                  <a:pt x="1186" y="940"/>
                </a:lnTo>
                <a:lnTo>
                  <a:pt x="1182" y="942"/>
                </a:lnTo>
                <a:lnTo>
                  <a:pt x="1182" y="942"/>
                </a:lnTo>
                <a:lnTo>
                  <a:pt x="1182" y="942"/>
                </a:lnTo>
                <a:lnTo>
                  <a:pt x="1182" y="942"/>
                </a:lnTo>
                <a:lnTo>
                  <a:pt x="1182" y="942"/>
                </a:lnTo>
                <a:lnTo>
                  <a:pt x="1182" y="942"/>
                </a:lnTo>
                <a:close/>
                <a:moveTo>
                  <a:pt x="1158" y="908"/>
                </a:moveTo>
                <a:lnTo>
                  <a:pt x="1158" y="908"/>
                </a:lnTo>
                <a:lnTo>
                  <a:pt x="1166" y="914"/>
                </a:lnTo>
                <a:lnTo>
                  <a:pt x="1166" y="914"/>
                </a:lnTo>
                <a:lnTo>
                  <a:pt x="1166" y="914"/>
                </a:lnTo>
                <a:lnTo>
                  <a:pt x="1166" y="914"/>
                </a:lnTo>
                <a:lnTo>
                  <a:pt x="1158" y="908"/>
                </a:lnTo>
                <a:lnTo>
                  <a:pt x="1158" y="908"/>
                </a:lnTo>
                <a:lnTo>
                  <a:pt x="1158" y="908"/>
                </a:lnTo>
                <a:lnTo>
                  <a:pt x="1158" y="908"/>
                </a:lnTo>
                <a:close/>
                <a:moveTo>
                  <a:pt x="1158" y="912"/>
                </a:moveTo>
                <a:lnTo>
                  <a:pt x="1158" y="912"/>
                </a:lnTo>
                <a:lnTo>
                  <a:pt x="1152" y="912"/>
                </a:lnTo>
                <a:lnTo>
                  <a:pt x="1144" y="912"/>
                </a:lnTo>
                <a:lnTo>
                  <a:pt x="1144" y="912"/>
                </a:lnTo>
                <a:lnTo>
                  <a:pt x="1144" y="912"/>
                </a:lnTo>
                <a:lnTo>
                  <a:pt x="1144" y="912"/>
                </a:lnTo>
                <a:lnTo>
                  <a:pt x="1152" y="912"/>
                </a:lnTo>
                <a:lnTo>
                  <a:pt x="1158" y="912"/>
                </a:lnTo>
                <a:lnTo>
                  <a:pt x="1158" y="912"/>
                </a:lnTo>
                <a:close/>
                <a:moveTo>
                  <a:pt x="1160" y="926"/>
                </a:moveTo>
                <a:lnTo>
                  <a:pt x="1160" y="926"/>
                </a:lnTo>
                <a:lnTo>
                  <a:pt x="1152" y="930"/>
                </a:lnTo>
                <a:lnTo>
                  <a:pt x="1150" y="934"/>
                </a:lnTo>
                <a:lnTo>
                  <a:pt x="1152" y="938"/>
                </a:lnTo>
                <a:lnTo>
                  <a:pt x="1152" y="938"/>
                </a:lnTo>
                <a:lnTo>
                  <a:pt x="1148" y="938"/>
                </a:lnTo>
                <a:lnTo>
                  <a:pt x="1148" y="938"/>
                </a:lnTo>
                <a:lnTo>
                  <a:pt x="1136" y="932"/>
                </a:lnTo>
                <a:lnTo>
                  <a:pt x="1136" y="932"/>
                </a:lnTo>
                <a:lnTo>
                  <a:pt x="1148" y="926"/>
                </a:lnTo>
                <a:lnTo>
                  <a:pt x="1160" y="926"/>
                </a:lnTo>
                <a:lnTo>
                  <a:pt x="1160" y="926"/>
                </a:lnTo>
                <a:close/>
                <a:moveTo>
                  <a:pt x="1098" y="844"/>
                </a:moveTo>
                <a:lnTo>
                  <a:pt x="1098" y="844"/>
                </a:lnTo>
                <a:lnTo>
                  <a:pt x="1098" y="844"/>
                </a:lnTo>
                <a:lnTo>
                  <a:pt x="1098" y="844"/>
                </a:lnTo>
                <a:lnTo>
                  <a:pt x="1092" y="848"/>
                </a:lnTo>
                <a:lnTo>
                  <a:pt x="1088" y="850"/>
                </a:lnTo>
                <a:lnTo>
                  <a:pt x="1088" y="850"/>
                </a:lnTo>
                <a:lnTo>
                  <a:pt x="1092" y="848"/>
                </a:lnTo>
                <a:lnTo>
                  <a:pt x="1098" y="844"/>
                </a:lnTo>
                <a:lnTo>
                  <a:pt x="1098" y="844"/>
                </a:lnTo>
                <a:close/>
                <a:moveTo>
                  <a:pt x="1060" y="896"/>
                </a:moveTo>
                <a:lnTo>
                  <a:pt x="1060" y="896"/>
                </a:lnTo>
                <a:lnTo>
                  <a:pt x="1054" y="898"/>
                </a:lnTo>
                <a:lnTo>
                  <a:pt x="1054" y="898"/>
                </a:lnTo>
                <a:lnTo>
                  <a:pt x="1060" y="896"/>
                </a:lnTo>
                <a:lnTo>
                  <a:pt x="1060" y="896"/>
                </a:lnTo>
                <a:lnTo>
                  <a:pt x="1052" y="892"/>
                </a:lnTo>
                <a:lnTo>
                  <a:pt x="1052" y="892"/>
                </a:lnTo>
                <a:lnTo>
                  <a:pt x="1060" y="896"/>
                </a:lnTo>
                <a:lnTo>
                  <a:pt x="1060" y="896"/>
                </a:lnTo>
                <a:close/>
                <a:moveTo>
                  <a:pt x="1064" y="946"/>
                </a:moveTo>
                <a:lnTo>
                  <a:pt x="1064" y="946"/>
                </a:lnTo>
                <a:lnTo>
                  <a:pt x="1058" y="944"/>
                </a:lnTo>
                <a:lnTo>
                  <a:pt x="1058" y="944"/>
                </a:lnTo>
                <a:lnTo>
                  <a:pt x="1058" y="942"/>
                </a:lnTo>
                <a:lnTo>
                  <a:pt x="1058" y="942"/>
                </a:lnTo>
                <a:lnTo>
                  <a:pt x="1064" y="946"/>
                </a:lnTo>
                <a:lnTo>
                  <a:pt x="1064" y="946"/>
                </a:lnTo>
                <a:lnTo>
                  <a:pt x="1064" y="946"/>
                </a:lnTo>
                <a:lnTo>
                  <a:pt x="1064" y="946"/>
                </a:lnTo>
                <a:close/>
                <a:moveTo>
                  <a:pt x="1082" y="942"/>
                </a:moveTo>
                <a:lnTo>
                  <a:pt x="1082" y="942"/>
                </a:lnTo>
                <a:lnTo>
                  <a:pt x="1078" y="940"/>
                </a:lnTo>
                <a:lnTo>
                  <a:pt x="1074" y="938"/>
                </a:lnTo>
                <a:lnTo>
                  <a:pt x="1074" y="938"/>
                </a:lnTo>
                <a:lnTo>
                  <a:pt x="1058" y="938"/>
                </a:lnTo>
                <a:lnTo>
                  <a:pt x="1058" y="938"/>
                </a:lnTo>
                <a:lnTo>
                  <a:pt x="1054" y="940"/>
                </a:lnTo>
                <a:lnTo>
                  <a:pt x="1054" y="940"/>
                </a:lnTo>
                <a:lnTo>
                  <a:pt x="1058" y="938"/>
                </a:lnTo>
                <a:lnTo>
                  <a:pt x="1058" y="938"/>
                </a:lnTo>
                <a:lnTo>
                  <a:pt x="1074" y="938"/>
                </a:lnTo>
                <a:lnTo>
                  <a:pt x="1074" y="938"/>
                </a:lnTo>
                <a:lnTo>
                  <a:pt x="1078" y="940"/>
                </a:lnTo>
                <a:lnTo>
                  <a:pt x="1082" y="942"/>
                </a:lnTo>
                <a:lnTo>
                  <a:pt x="1082" y="942"/>
                </a:lnTo>
                <a:lnTo>
                  <a:pt x="1082" y="942"/>
                </a:lnTo>
                <a:lnTo>
                  <a:pt x="1082" y="942"/>
                </a:lnTo>
                <a:close/>
                <a:moveTo>
                  <a:pt x="1088" y="936"/>
                </a:moveTo>
                <a:lnTo>
                  <a:pt x="1088" y="936"/>
                </a:lnTo>
                <a:lnTo>
                  <a:pt x="1074" y="932"/>
                </a:lnTo>
                <a:lnTo>
                  <a:pt x="1074" y="932"/>
                </a:lnTo>
                <a:lnTo>
                  <a:pt x="1070" y="934"/>
                </a:lnTo>
                <a:lnTo>
                  <a:pt x="1066" y="934"/>
                </a:lnTo>
                <a:lnTo>
                  <a:pt x="1056" y="934"/>
                </a:lnTo>
                <a:lnTo>
                  <a:pt x="1056" y="934"/>
                </a:lnTo>
                <a:lnTo>
                  <a:pt x="1042" y="932"/>
                </a:lnTo>
                <a:lnTo>
                  <a:pt x="1036" y="932"/>
                </a:lnTo>
                <a:lnTo>
                  <a:pt x="1030" y="932"/>
                </a:lnTo>
                <a:lnTo>
                  <a:pt x="1030" y="932"/>
                </a:lnTo>
                <a:lnTo>
                  <a:pt x="1026" y="932"/>
                </a:lnTo>
                <a:lnTo>
                  <a:pt x="1026" y="928"/>
                </a:lnTo>
                <a:lnTo>
                  <a:pt x="1026" y="928"/>
                </a:lnTo>
                <a:lnTo>
                  <a:pt x="1026" y="928"/>
                </a:lnTo>
                <a:lnTo>
                  <a:pt x="1042" y="926"/>
                </a:lnTo>
                <a:lnTo>
                  <a:pt x="1042" y="926"/>
                </a:lnTo>
                <a:lnTo>
                  <a:pt x="1046" y="926"/>
                </a:lnTo>
                <a:lnTo>
                  <a:pt x="1046" y="926"/>
                </a:lnTo>
                <a:lnTo>
                  <a:pt x="1052" y="930"/>
                </a:lnTo>
                <a:lnTo>
                  <a:pt x="1056" y="930"/>
                </a:lnTo>
                <a:lnTo>
                  <a:pt x="1060" y="928"/>
                </a:lnTo>
                <a:lnTo>
                  <a:pt x="1066" y="924"/>
                </a:lnTo>
                <a:lnTo>
                  <a:pt x="1066" y="924"/>
                </a:lnTo>
                <a:lnTo>
                  <a:pt x="1068" y="924"/>
                </a:lnTo>
                <a:lnTo>
                  <a:pt x="1068" y="924"/>
                </a:lnTo>
                <a:lnTo>
                  <a:pt x="1070" y="928"/>
                </a:lnTo>
                <a:lnTo>
                  <a:pt x="1070" y="928"/>
                </a:lnTo>
                <a:lnTo>
                  <a:pt x="1102" y="926"/>
                </a:lnTo>
                <a:lnTo>
                  <a:pt x="1102" y="926"/>
                </a:lnTo>
                <a:lnTo>
                  <a:pt x="1112" y="924"/>
                </a:lnTo>
                <a:lnTo>
                  <a:pt x="1112" y="924"/>
                </a:lnTo>
                <a:lnTo>
                  <a:pt x="1110" y="926"/>
                </a:lnTo>
                <a:lnTo>
                  <a:pt x="1108" y="928"/>
                </a:lnTo>
                <a:lnTo>
                  <a:pt x="1092" y="930"/>
                </a:lnTo>
                <a:lnTo>
                  <a:pt x="1092" y="930"/>
                </a:lnTo>
                <a:lnTo>
                  <a:pt x="1088" y="936"/>
                </a:lnTo>
                <a:lnTo>
                  <a:pt x="1088" y="936"/>
                </a:lnTo>
                <a:close/>
                <a:moveTo>
                  <a:pt x="1096" y="946"/>
                </a:moveTo>
                <a:lnTo>
                  <a:pt x="1096" y="946"/>
                </a:lnTo>
                <a:lnTo>
                  <a:pt x="1096" y="946"/>
                </a:lnTo>
                <a:lnTo>
                  <a:pt x="1096" y="946"/>
                </a:lnTo>
                <a:lnTo>
                  <a:pt x="1108" y="946"/>
                </a:lnTo>
                <a:lnTo>
                  <a:pt x="1110" y="944"/>
                </a:lnTo>
                <a:lnTo>
                  <a:pt x="1112" y="942"/>
                </a:lnTo>
                <a:lnTo>
                  <a:pt x="1112" y="942"/>
                </a:lnTo>
                <a:lnTo>
                  <a:pt x="1112" y="942"/>
                </a:lnTo>
                <a:lnTo>
                  <a:pt x="1112" y="942"/>
                </a:lnTo>
                <a:lnTo>
                  <a:pt x="1110" y="944"/>
                </a:lnTo>
                <a:lnTo>
                  <a:pt x="1108" y="946"/>
                </a:lnTo>
                <a:lnTo>
                  <a:pt x="1096" y="946"/>
                </a:lnTo>
                <a:lnTo>
                  <a:pt x="1096" y="946"/>
                </a:lnTo>
                <a:close/>
                <a:moveTo>
                  <a:pt x="1158" y="952"/>
                </a:moveTo>
                <a:lnTo>
                  <a:pt x="1158" y="952"/>
                </a:lnTo>
                <a:lnTo>
                  <a:pt x="1176" y="960"/>
                </a:lnTo>
                <a:lnTo>
                  <a:pt x="1176" y="960"/>
                </a:lnTo>
                <a:lnTo>
                  <a:pt x="1154" y="968"/>
                </a:lnTo>
                <a:lnTo>
                  <a:pt x="1154" y="968"/>
                </a:lnTo>
                <a:lnTo>
                  <a:pt x="1142" y="964"/>
                </a:lnTo>
                <a:lnTo>
                  <a:pt x="1142" y="964"/>
                </a:lnTo>
                <a:lnTo>
                  <a:pt x="1136" y="966"/>
                </a:lnTo>
                <a:lnTo>
                  <a:pt x="1136" y="966"/>
                </a:lnTo>
                <a:lnTo>
                  <a:pt x="1136" y="966"/>
                </a:lnTo>
                <a:lnTo>
                  <a:pt x="1136" y="966"/>
                </a:lnTo>
                <a:lnTo>
                  <a:pt x="1120" y="960"/>
                </a:lnTo>
                <a:lnTo>
                  <a:pt x="1120" y="960"/>
                </a:lnTo>
                <a:lnTo>
                  <a:pt x="1122" y="954"/>
                </a:lnTo>
                <a:lnTo>
                  <a:pt x="1124" y="952"/>
                </a:lnTo>
                <a:lnTo>
                  <a:pt x="1130" y="952"/>
                </a:lnTo>
                <a:lnTo>
                  <a:pt x="1138" y="952"/>
                </a:lnTo>
                <a:lnTo>
                  <a:pt x="1138" y="952"/>
                </a:lnTo>
                <a:lnTo>
                  <a:pt x="1132" y="942"/>
                </a:lnTo>
                <a:lnTo>
                  <a:pt x="1132" y="942"/>
                </a:lnTo>
                <a:lnTo>
                  <a:pt x="1142" y="942"/>
                </a:lnTo>
                <a:lnTo>
                  <a:pt x="1142" y="942"/>
                </a:lnTo>
                <a:lnTo>
                  <a:pt x="1148" y="940"/>
                </a:lnTo>
                <a:lnTo>
                  <a:pt x="1148" y="940"/>
                </a:lnTo>
                <a:lnTo>
                  <a:pt x="1154" y="944"/>
                </a:lnTo>
                <a:lnTo>
                  <a:pt x="1160" y="944"/>
                </a:lnTo>
                <a:lnTo>
                  <a:pt x="1174" y="944"/>
                </a:lnTo>
                <a:lnTo>
                  <a:pt x="1174" y="944"/>
                </a:lnTo>
                <a:lnTo>
                  <a:pt x="1182" y="946"/>
                </a:lnTo>
                <a:lnTo>
                  <a:pt x="1190" y="944"/>
                </a:lnTo>
                <a:lnTo>
                  <a:pt x="1190" y="944"/>
                </a:lnTo>
                <a:lnTo>
                  <a:pt x="1194" y="946"/>
                </a:lnTo>
                <a:lnTo>
                  <a:pt x="1196" y="950"/>
                </a:lnTo>
                <a:lnTo>
                  <a:pt x="1196" y="956"/>
                </a:lnTo>
                <a:lnTo>
                  <a:pt x="1196" y="956"/>
                </a:lnTo>
                <a:lnTo>
                  <a:pt x="1186" y="956"/>
                </a:lnTo>
                <a:lnTo>
                  <a:pt x="1176" y="956"/>
                </a:lnTo>
                <a:lnTo>
                  <a:pt x="1158" y="952"/>
                </a:lnTo>
                <a:lnTo>
                  <a:pt x="1158" y="952"/>
                </a:lnTo>
                <a:close/>
                <a:moveTo>
                  <a:pt x="1194" y="980"/>
                </a:moveTo>
                <a:lnTo>
                  <a:pt x="1194" y="980"/>
                </a:lnTo>
                <a:lnTo>
                  <a:pt x="1194" y="980"/>
                </a:lnTo>
                <a:lnTo>
                  <a:pt x="1194" y="980"/>
                </a:lnTo>
                <a:lnTo>
                  <a:pt x="1202" y="974"/>
                </a:lnTo>
                <a:lnTo>
                  <a:pt x="1206" y="970"/>
                </a:lnTo>
                <a:lnTo>
                  <a:pt x="1212" y="968"/>
                </a:lnTo>
                <a:lnTo>
                  <a:pt x="1212" y="968"/>
                </a:lnTo>
                <a:lnTo>
                  <a:pt x="1212" y="968"/>
                </a:lnTo>
                <a:lnTo>
                  <a:pt x="1212" y="968"/>
                </a:lnTo>
                <a:lnTo>
                  <a:pt x="1206" y="970"/>
                </a:lnTo>
                <a:lnTo>
                  <a:pt x="1202" y="974"/>
                </a:lnTo>
                <a:lnTo>
                  <a:pt x="1194" y="980"/>
                </a:lnTo>
                <a:lnTo>
                  <a:pt x="1194" y="980"/>
                </a:lnTo>
                <a:close/>
                <a:moveTo>
                  <a:pt x="1216" y="930"/>
                </a:moveTo>
                <a:lnTo>
                  <a:pt x="1216" y="930"/>
                </a:lnTo>
                <a:lnTo>
                  <a:pt x="1214" y="930"/>
                </a:lnTo>
                <a:lnTo>
                  <a:pt x="1214" y="930"/>
                </a:lnTo>
                <a:lnTo>
                  <a:pt x="1214" y="930"/>
                </a:lnTo>
                <a:lnTo>
                  <a:pt x="1214" y="930"/>
                </a:lnTo>
                <a:lnTo>
                  <a:pt x="1220" y="930"/>
                </a:lnTo>
                <a:lnTo>
                  <a:pt x="1220" y="928"/>
                </a:lnTo>
                <a:lnTo>
                  <a:pt x="1220" y="926"/>
                </a:lnTo>
                <a:lnTo>
                  <a:pt x="1220" y="926"/>
                </a:lnTo>
                <a:lnTo>
                  <a:pt x="1206" y="924"/>
                </a:lnTo>
                <a:lnTo>
                  <a:pt x="1206" y="924"/>
                </a:lnTo>
                <a:lnTo>
                  <a:pt x="1206" y="924"/>
                </a:lnTo>
                <a:lnTo>
                  <a:pt x="1206" y="924"/>
                </a:lnTo>
                <a:lnTo>
                  <a:pt x="1220" y="926"/>
                </a:lnTo>
                <a:lnTo>
                  <a:pt x="1220" y="926"/>
                </a:lnTo>
                <a:lnTo>
                  <a:pt x="1220" y="928"/>
                </a:lnTo>
                <a:lnTo>
                  <a:pt x="1220" y="930"/>
                </a:lnTo>
                <a:lnTo>
                  <a:pt x="1216" y="930"/>
                </a:lnTo>
                <a:lnTo>
                  <a:pt x="1216" y="930"/>
                </a:lnTo>
                <a:close/>
                <a:moveTo>
                  <a:pt x="1264" y="922"/>
                </a:moveTo>
                <a:lnTo>
                  <a:pt x="1264" y="922"/>
                </a:lnTo>
                <a:lnTo>
                  <a:pt x="1260" y="920"/>
                </a:lnTo>
                <a:lnTo>
                  <a:pt x="1260" y="920"/>
                </a:lnTo>
                <a:lnTo>
                  <a:pt x="1264" y="922"/>
                </a:lnTo>
                <a:lnTo>
                  <a:pt x="1264" y="922"/>
                </a:lnTo>
                <a:lnTo>
                  <a:pt x="1270" y="918"/>
                </a:lnTo>
                <a:lnTo>
                  <a:pt x="1270" y="918"/>
                </a:lnTo>
                <a:lnTo>
                  <a:pt x="1268" y="916"/>
                </a:lnTo>
                <a:lnTo>
                  <a:pt x="1268" y="916"/>
                </a:lnTo>
                <a:lnTo>
                  <a:pt x="1270" y="918"/>
                </a:lnTo>
                <a:lnTo>
                  <a:pt x="1270" y="918"/>
                </a:lnTo>
                <a:lnTo>
                  <a:pt x="1264" y="922"/>
                </a:lnTo>
                <a:lnTo>
                  <a:pt x="1264" y="922"/>
                </a:lnTo>
                <a:close/>
                <a:moveTo>
                  <a:pt x="1404" y="918"/>
                </a:moveTo>
                <a:lnTo>
                  <a:pt x="1404" y="918"/>
                </a:lnTo>
                <a:lnTo>
                  <a:pt x="1404" y="920"/>
                </a:lnTo>
                <a:lnTo>
                  <a:pt x="1404" y="920"/>
                </a:lnTo>
                <a:lnTo>
                  <a:pt x="1404" y="920"/>
                </a:lnTo>
                <a:lnTo>
                  <a:pt x="1404" y="920"/>
                </a:lnTo>
                <a:lnTo>
                  <a:pt x="1404" y="920"/>
                </a:lnTo>
                <a:lnTo>
                  <a:pt x="1404" y="920"/>
                </a:lnTo>
                <a:lnTo>
                  <a:pt x="1404" y="920"/>
                </a:lnTo>
                <a:lnTo>
                  <a:pt x="1404" y="920"/>
                </a:lnTo>
                <a:lnTo>
                  <a:pt x="1404" y="918"/>
                </a:lnTo>
                <a:lnTo>
                  <a:pt x="1404" y="918"/>
                </a:lnTo>
                <a:lnTo>
                  <a:pt x="1404" y="918"/>
                </a:lnTo>
                <a:lnTo>
                  <a:pt x="1404" y="918"/>
                </a:lnTo>
                <a:close/>
                <a:moveTo>
                  <a:pt x="1356" y="904"/>
                </a:moveTo>
                <a:lnTo>
                  <a:pt x="1356" y="904"/>
                </a:lnTo>
                <a:lnTo>
                  <a:pt x="1350" y="904"/>
                </a:lnTo>
                <a:lnTo>
                  <a:pt x="1344" y="902"/>
                </a:lnTo>
                <a:lnTo>
                  <a:pt x="1344" y="902"/>
                </a:lnTo>
                <a:lnTo>
                  <a:pt x="1348" y="900"/>
                </a:lnTo>
                <a:lnTo>
                  <a:pt x="1350" y="900"/>
                </a:lnTo>
                <a:lnTo>
                  <a:pt x="1356" y="904"/>
                </a:lnTo>
                <a:lnTo>
                  <a:pt x="1356" y="904"/>
                </a:lnTo>
                <a:close/>
                <a:moveTo>
                  <a:pt x="1326" y="920"/>
                </a:moveTo>
                <a:lnTo>
                  <a:pt x="1326" y="920"/>
                </a:lnTo>
                <a:lnTo>
                  <a:pt x="1326" y="922"/>
                </a:lnTo>
                <a:lnTo>
                  <a:pt x="1326" y="922"/>
                </a:lnTo>
                <a:lnTo>
                  <a:pt x="1326" y="922"/>
                </a:lnTo>
                <a:lnTo>
                  <a:pt x="1326" y="922"/>
                </a:lnTo>
                <a:lnTo>
                  <a:pt x="1326" y="920"/>
                </a:lnTo>
                <a:lnTo>
                  <a:pt x="1326" y="920"/>
                </a:lnTo>
                <a:lnTo>
                  <a:pt x="1316" y="918"/>
                </a:lnTo>
                <a:lnTo>
                  <a:pt x="1316" y="918"/>
                </a:lnTo>
                <a:lnTo>
                  <a:pt x="1316" y="918"/>
                </a:lnTo>
                <a:lnTo>
                  <a:pt x="1316" y="918"/>
                </a:lnTo>
                <a:lnTo>
                  <a:pt x="1326" y="920"/>
                </a:lnTo>
                <a:lnTo>
                  <a:pt x="1326" y="920"/>
                </a:lnTo>
                <a:close/>
                <a:moveTo>
                  <a:pt x="1308" y="920"/>
                </a:moveTo>
                <a:lnTo>
                  <a:pt x="1308" y="920"/>
                </a:lnTo>
                <a:lnTo>
                  <a:pt x="1318" y="922"/>
                </a:lnTo>
                <a:lnTo>
                  <a:pt x="1318" y="922"/>
                </a:lnTo>
                <a:lnTo>
                  <a:pt x="1318" y="922"/>
                </a:lnTo>
                <a:lnTo>
                  <a:pt x="1318" y="922"/>
                </a:lnTo>
                <a:lnTo>
                  <a:pt x="1318" y="922"/>
                </a:lnTo>
                <a:lnTo>
                  <a:pt x="1318" y="922"/>
                </a:lnTo>
                <a:lnTo>
                  <a:pt x="1318" y="926"/>
                </a:lnTo>
                <a:lnTo>
                  <a:pt x="1318" y="926"/>
                </a:lnTo>
                <a:lnTo>
                  <a:pt x="1318" y="926"/>
                </a:lnTo>
                <a:lnTo>
                  <a:pt x="1318" y="926"/>
                </a:lnTo>
                <a:lnTo>
                  <a:pt x="1318" y="922"/>
                </a:lnTo>
                <a:lnTo>
                  <a:pt x="1318" y="922"/>
                </a:lnTo>
                <a:lnTo>
                  <a:pt x="1308" y="920"/>
                </a:lnTo>
                <a:lnTo>
                  <a:pt x="1308" y="920"/>
                </a:lnTo>
                <a:lnTo>
                  <a:pt x="1308" y="920"/>
                </a:lnTo>
                <a:lnTo>
                  <a:pt x="1308" y="920"/>
                </a:lnTo>
                <a:close/>
                <a:moveTo>
                  <a:pt x="1288" y="920"/>
                </a:moveTo>
                <a:lnTo>
                  <a:pt x="1288" y="920"/>
                </a:lnTo>
                <a:lnTo>
                  <a:pt x="1288" y="920"/>
                </a:lnTo>
                <a:lnTo>
                  <a:pt x="1288" y="920"/>
                </a:lnTo>
                <a:lnTo>
                  <a:pt x="1294" y="920"/>
                </a:lnTo>
                <a:lnTo>
                  <a:pt x="1298" y="916"/>
                </a:lnTo>
                <a:lnTo>
                  <a:pt x="1298" y="916"/>
                </a:lnTo>
                <a:lnTo>
                  <a:pt x="1298" y="916"/>
                </a:lnTo>
                <a:lnTo>
                  <a:pt x="1298" y="916"/>
                </a:lnTo>
                <a:lnTo>
                  <a:pt x="1294" y="920"/>
                </a:lnTo>
                <a:lnTo>
                  <a:pt x="1288" y="920"/>
                </a:lnTo>
                <a:lnTo>
                  <a:pt x="1288" y="920"/>
                </a:lnTo>
                <a:close/>
                <a:moveTo>
                  <a:pt x="1332" y="950"/>
                </a:moveTo>
                <a:lnTo>
                  <a:pt x="1332" y="950"/>
                </a:lnTo>
                <a:lnTo>
                  <a:pt x="1322" y="946"/>
                </a:lnTo>
                <a:lnTo>
                  <a:pt x="1322" y="946"/>
                </a:lnTo>
                <a:lnTo>
                  <a:pt x="1312" y="944"/>
                </a:lnTo>
                <a:lnTo>
                  <a:pt x="1312" y="944"/>
                </a:lnTo>
                <a:lnTo>
                  <a:pt x="1300" y="942"/>
                </a:lnTo>
                <a:lnTo>
                  <a:pt x="1300" y="942"/>
                </a:lnTo>
                <a:lnTo>
                  <a:pt x="1304" y="946"/>
                </a:lnTo>
                <a:lnTo>
                  <a:pt x="1308" y="948"/>
                </a:lnTo>
                <a:lnTo>
                  <a:pt x="1318" y="950"/>
                </a:lnTo>
                <a:lnTo>
                  <a:pt x="1318" y="950"/>
                </a:lnTo>
                <a:lnTo>
                  <a:pt x="1322" y="950"/>
                </a:lnTo>
                <a:lnTo>
                  <a:pt x="1324" y="952"/>
                </a:lnTo>
                <a:lnTo>
                  <a:pt x="1324" y="954"/>
                </a:lnTo>
                <a:lnTo>
                  <a:pt x="1324" y="954"/>
                </a:lnTo>
                <a:lnTo>
                  <a:pt x="1324" y="956"/>
                </a:lnTo>
                <a:lnTo>
                  <a:pt x="1322" y="956"/>
                </a:lnTo>
                <a:lnTo>
                  <a:pt x="1316" y="956"/>
                </a:lnTo>
                <a:lnTo>
                  <a:pt x="1316" y="956"/>
                </a:lnTo>
                <a:lnTo>
                  <a:pt x="1302" y="954"/>
                </a:lnTo>
                <a:lnTo>
                  <a:pt x="1302" y="954"/>
                </a:lnTo>
                <a:lnTo>
                  <a:pt x="1288" y="940"/>
                </a:lnTo>
                <a:lnTo>
                  <a:pt x="1288" y="940"/>
                </a:lnTo>
                <a:lnTo>
                  <a:pt x="1302" y="938"/>
                </a:lnTo>
                <a:lnTo>
                  <a:pt x="1310" y="938"/>
                </a:lnTo>
                <a:lnTo>
                  <a:pt x="1316" y="940"/>
                </a:lnTo>
                <a:lnTo>
                  <a:pt x="1316" y="940"/>
                </a:lnTo>
                <a:lnTo>
                  <a:pt x="1322" y="942"/>
                </a:lnTo>
                <a:lnTo>
                  <a:pt x="1326" y="942"/>
                </a:lnTo>
                <a:lnTo>
                  <a:pt x="1326" y="942"/>
                </a:lnTo>
                <a:lnTo>
                  <a:pt x="1336" y="944"/>
                </a:lnTo>
                <a:lnTo>
                  <a:pt x="1342" y="948"/>
                </a:lnTo>
                <a:lnTo>
                  <a:pt x="1342" y="948"/>
                </a:lnTo>
                <a:lnTo>
                  <a:pt x="1332" y="950"/>
                </a:lnTo>
                <a:lnTo>
                  <a:pt x="1332" y="950"/>
                </a:lnTo>
                <a:close/>
                <a:moveTo>
                  <a:pt x="1338" y="958"/>
                </a:moveTo>
                <a:lnTo>
                  <a:pt x="1338" y="958"/>
                </a:lnTo>
                <a:lnTo>
                  <a:pt x="1338" y="958"/>
                </a:lnTo>
                <a:lnTo>
                  <a:pt x="1338" y="958"/>
                </a:lnTo>
                <a:lnTo>
                  <a:pt x="1338" y="958"/>
                </a:lnTo>
                <a:lnTo>
                  <a:pt x="1338" y="958"/>
                </a:lnTo>
                <a:lnTo>
                  <a:pt x="1342" y="956"/>
                </a:lnTo>
                <a:lnTo>
                  <a:pt x="1342" y="956"/>
                </a:lnTo>
                <a:lnTo>
                  <a:pt x="1342" y="956"/>
                </a:lnTo>
                <a:lnTo>
                  <a:pt x="1342" y="956"/>
                </a:lnTo>
                <a:lnTo>
                  <a:pt x="1338" y="958"/>
                </a:lnTo>
                <a:lnTo>
                  <a:pt x="1338" y="958"/>
                </a:lnTo>
                <a:close/>
                <a:moveTo>
                  <a:pt x="1356" y="938"/>
                </a:moveTo>
                <a:lnTo>
                  <a:pt x="1356" y="938"/>
                </a:lnTo>
                <a:lnTo>
                  <a:pt x="1342" y="932"/>
                </a:lnTo>
                <a:lnTo>
                  <a:pt x="1342" y="932"/>
                </a:lnTo>
                <a:lnTo>
                  <a:pt x="1348" y="928"/>
                </a:lnTo>
                <a:lnTo>
                  <a:pt x="1354" y="928"/>
                </a:lnTo>
                <a:lnTo>
                  <a:pt x="1360" y="930"/>
                </a:lnTo>
                <a:lnTo>
                  <a:pt x="1368" y="932"/>
                </a:lnTo>
                <a:lnTo>
                  <a:pt x="1368" y="932"/>
                </a:lnTo>
                <a:lnTo>
                  <a:pt x="1356" y="938"/>
                </a:lnTo>
                <a:lnTo>
                  <a:pt x="1356" y="938"/>
                </a:lnTo>
                <a:close/>
                <a:moveTo>
                  <a:pt x="1366" y="916"/>
                </a:moveTo>
                <a:lnTo>
                  <a:pt x="1366" y="916"/>
                </a:lnTo>
                <a:lnTo>
                  <a:pt x="1354" y="914"/>
                </a:lnTo>
                <a:lnTo>
                  <a:pt x="1354" y="914"/>
                </a:lnTo>
                <a:lnTo>
                  <a:pt x="1352" y="914"/>
                </a:lnTo>
                <a:lnTo>
                  <a:pt x="1350" y="910"/>
                </a:lnTo>
                <a:lnTo>
                  <a:pt x="1350" y="910"/>
                </a:lnTo>
                <a:lnTo>
                  <a:pt x="1368" y="912"/>
                </a:lnTo>
                <a:lnTo>
                  <a:pt x="1368" y="912"/>
                </a:lnTo>
                <a:lnTo>
                  <a:pt x="1370" y="914"/>
                </a:lnTo>
                <a:lnTo>
                  <a:pt x="1370" y="914"/>
                </a:lnTo>
                <a:lnTo>
                  <a:pt x="1370" y="914"/>
                </a:lnTo>
                <a:lnTo>
                  <a:pt x="1370" y="914"/>
                </a:lnTo>
                <a:lnTo>
                  <a:pt x="1366" y="916"/>
                </a:lnTo>
                <a:lnTo>
                  <a:pt x="1366" y="916"/>
                </a:lnTo>
                <a:close/>
                <a:moveTo>
                  <a:pt x="1370" y="914"/>
                </a:moveTo>
                <a:lnTo>
                  <a:pt x="1370" y="914"/>
                </a:lnTo>
                <a:lnTo>
                  <a:pt x="1386" y="912"/>
                </a:lnTo>
                <a:lnTo>
                  <a:pt x="1396" y="914"/>
                </a:lnTo>
                <a:lnTo>
                  <a:pt x="1396" y="914"/>
                </a:lnTo>
                <a:lnTo>
                  <a:pt x="1382" y="916"/>
                </a:lnTo>
                <a:lnTo>
                  <a:pt x="1370" y="914"/>
                </a:lnTo>
                <a:lnTo>
                  <a:pt x="1370" y="914"/>
                </a:lnTo>
                <a:close/>
                <a:moveTo>
                  <a:pt x="1394" y="930"/>
                </a:moveTo>
                <a:lnTo>
                  <a:pt x="1394" y="930"/>
                </a:lnTo>
                <a:lnTo>
                  <a:pt x="1394" y="930"/>
                </a:lnTo>
                <a:lnTo>
                  <a:pt x="1394" y="930"/>
                </a:lnTo>
                <a:lnTo>
                  <a:pt x="1398" y="932"/>
                </a:lnTo>
                <a:lnTo>
                  <a:pt x="1402" y="932"/>
                </a:lnTo>
                <a:lnTo>
                  <a:pt x="1404" y="930"/>
                </a:lnTo>
                <a:lnTo>
                  <a:pt x="1406" y="928"/>
                </a:lnTo>
                <a:lnTo>
                  <a:pt x="1406" y="928"/>
                </a:lnTo>
                <a:lnTo>
                  <a:pt x="1406" y="928"/>
                </a:lnTo>
                <a:lnTo>
                  <a:pt x="1406" y="928"/>
                </a:lnTo>
                <a:lnTo>
                  <a:pt x="1404" y="930"/>
                </a:lnTo>
                <a:lnTo>
                  <a:pt x="1402" y="932"/>
                </a:lnTo>
                <a:lnTo>
                  <a:pt x="1398" y="932"/>
                </a:lnTo>
                <a:lnTo>
                  <a:pt x="1394" y="930"/>
                </a:lnTo>
                <a:lnTo>
                  <a:pt x="1394" y="930"/>
                </a:lnTo>
                <a:close/>
                <a:moveTo>
                  <a:pt x="1380" y="974"/>
                </a:moveTo>
                <a:lnTo>
                  <a:pt x="1380" y="974"/>
                </a:lnTo>
                <a:lnTo>
                  <a:pt x="1380" y="974"/>
                </a:lnTo>
                <a:lnTo>
                  <a:pt x="1388" y="974"/>
                </a:lnTo>
                <a:lnTo>
                  <a:pt x="1388" y="974"/>
                </a:lnTo>
                <a:lnTo>
                  <a:pt x="1388" y="972"/>
                </a:lnTo>
                <a:lnTo>
                  <a:pt x="1388" y="972"/>
                </a:lnTo>
                <a:lnTo>
                  <a:pt x="1388" y="972"/>
                </a:lnTo>
                <a:lnTo>
                  <a:pt x="1388" y="972"/>
                </a:lnTo>
                <a:lnTo>
                  <a:pt x="1388" y="974"/>
                </a:lnTo>
                <a:lnTo>
                  <a:pt x="1380" y="974"/>
                </a:lnTo>
                <a:close/>
                <a:moveTo>
                  <a:pt x="1396" y="992"/>
                </a:moveTo>
                <a:lnTo>
                  <a:pt x="1396" y="992"/>
                </a:lnTo>
                <a:lnTo>
                  <a:pt x="1392" y="990"/>
                </a:lnTo>
                <a:lnTo>
                  <a:pt x="1392" y="990"/>
                </a:lnTo>
                <a:lnTo>
                  <a:pt x="1396" y="990"/>
                </a:lnTo>
                <a:lnTo>
                  <a:pt x="1396" y="990"/>
                </a:lnTo>
                <a:lnTo>
                  <a:pt x="1398" y="988"/>
                </a:lnTo>
                <a:lnTo>
                  <a:pt x="1398" y="988"/>
                </a:lnTo>
                <a:lnTo>
                  <a:pt x="1396" y="986"/>
                </a:lnTo>
                <a:lnTo>
                  <a:pt x="1396" y="986"/>
                </a:lnTo>
                <a:lnTo>
                  <a:pt x="1398" y="988"/>
                </a:lnTo>
                <a:lnTo>
                  <a:pt x="1398" y="988"/>
                </a:lnTo>
                <a:lnTo>
                  <a:pt x="1396" y="992"/>
                </a:lnTo>
                <a:lnTo>
                  <a:pt x="1396" y="992"/>
                </a:lnTo>
                <a:close/>
                <a:moveTo>
                  <a:pt x="1398" y="1050"/>
                </a:moveTo>
                <a:lnTo>
                  <a:pt x="1398" y="1050"/>
                </a:lnTo>
                <a:lnTo>
                  <a:pt x="1392" y="1046"/>
                </a:lnTo>
                <a:lnTo>
                  <a:pt x="1380" y="1044"/>
                </a:lnTo>
                <a:lnTo>
                  <a:pt x="1380" y="1044"/>
                </a:lnTo>
                <a:lnTo>
                  <a:pt x="1380" y="1044"/>
                </a:lnTo>
                <a:lnTo>
                  <a:pt x="1380" y="1044"/>
                </a:lnTo>
                <a:lnTo>
                  <a:pt x="1392" y="1046"/>
                </a:lnTo>
                <a:lnTo>
                  <a:pt x="1398" y="1050"/>
                </a:lnTo>
                <a:lnTo>
                  <a:pt x="1398" y="1050"/>
                </a:lnTo>
                <a:lnTo>
                  <a:pt x="1398" y="1050"/>
                </a:lnTo>
                <a:lnTo>
                  <a:pt x="1398" y="1050"/>
                </a:lnTo>
                <a:close/>
                <a:moveTo>
                  <a:pt x="1488" y="948"/>
                </a:moveTo>
                <a:lnTo>
                  <a:pt x="1488" y="948"/>
                </a:lnTo>
                <a:lnTo>
                  <a:pt x="1486" y="948"/>
                </a:lnTo>
                <a:lnTo>
                  <a:pt x="1486" y="948"/>
                </a:lnTo>
                <a:lnTo>
                  <a:pt x="1488" y="948"/>
                </a:lnTo>
                <a:lnTo>
                  <a:pt x="1488" y="948"/>
                </a:lnTo>
                <a:lnTo>
                  <a:pt x="1488" y="948"/>
                </a:lnTo>
                <a:lnTo>
                  <a:pt x="1486" y="950"/>
                </a:lnTo>
                <a:lnTo>
                  <a:pt x="1486" y="950"/>
                </a:lnTo>
                <a:lnTo>
                  <a:pt x="1486" y="950"/>
                </a:lnTo>
                <a:lnTo>
                  <a:pt x="1486" y="950"/>
                </a:lnTo>
                <a:lnTo>
                  <a:pt x="1488" y="948"/>
                </a:lnTo>
                <a:lnTo>
                  <a:pt x="1488" y="948"/>
                </a:lnTo>
                <a:close/>
                <a:moveTo>
                  <a:pt x="1448" y="992"/>
                </a:moveTo>
                <a:lnTo>
                  <a:pt x="1448" y="992"/>
                </a:lnTo>
                <a:lnTo>
                  <a:pt x="1448" y="992"/>
                </a:lnTo>
                <a:lnTo>
                  <a:pt x="1442" y="996"/>
                </a:lnTo>
                <a:lnTo>
                  <a:pt x="1442" y="996"/>
                </a:lnTo>
                <a:lnTo>
                  <a:pt x="1440" y="994"/>
                </a:lnTo>
                <a:lnTo>
                  <a:pt x="1440" y="994"/>
                </a:lnTo>
                <a:lnTo>
                  <a:pt x="1442" y="996"/>
                </a:lnTo>
                <a:lnTo>
                  <a:pt x="1442" y="996"/>
                </a:lnTo>
                <a:lnTo>
                  <a:pt x="1448" y="992"/>
                </a:lnTo>
                <a:lnTo>
                  <a:pt x="1448" y="992"/>
                </a:lnTo>
                <a:lnTo>
                  <a:pt x="1448" y="992"/>
                </a:lnTo>
                <a:lnTo>
                  <a:pt x="1448" y="992"/>
                </a:lnTo>
                <a:close/>
                <a:moveTo>
                  <a:pt x="1442" y="958"/>
                </a:moveTo>
                <a:lnTo>
                  <a:pt x="1442" y="958"/>
                </a:lnTo>
                <a:lnTo>
                  <a:pt x="1438" y="960"/>
                </a:lnTo>
                <a:lnTo>
                  <a:pt x="1436" y="962"/>
                </a:lnTo>
                <a:lnTo>
                  <a:pt x="1436" y="962"/>
                </a:lnTo>
                <a:lnTo>
                  <a:pt x="1438" y="966"/>
                </a:lnTo>
                <a:lnTo>
                  <a:pt x="1440" y="968"/>
                </a:lnTo>
                <a:lnTo>
                  <a:pt x="1440" y="968"/>
                </a:lnTo>
                <a:lnTo>
                  <a:pt x="1440" y="968"/>
                </a:lnTo>
                <a:lnTo>
                  <a:pt x="1440" y="968"/>
                </a:lnTo>
                <a:lnTo>
                  <a:pt x="1438" y="966"/>
                </a:lnTo>
                <a:lnTo>
                  <a:pt x="1436" y="964"/>
                </a:lnTo>
                <a:lnTo>
                  <a:pt x="1436" y="964"/>
                </a:lnTo>
                <a:lnTo>
                  <a:pt x="1438" y="960"/>
                </a:lnTo>
                <a:lnTo>
                  <a:pt x="1442" y="958"/>
                </a:lnTo>
                <a:lnTo>
                  <a:pt x="1442" y="958"/>
                </a:lnTo>
                <a:lnTo>
                  <a:pt x="1424" y="960"/>
                </a:lnTo>
                <a:lnTo>
                  <a:pt x="1424" y="960"/>
                </a:lnTo>
                <a:lnTo>
                  <a:pt x="1424" y="960"/>
                </a:lnTo>
                <a:lnTo>
                  <a:pt x="1424" y="960"/>
                </a:lnTo>
                <a:lnTo>
                  <a:pt x="1442" y="958"/>
                </a:lnTo>
                <a:lnTo>
                  <a:pt x="1442" y="958"/>
                </a:lnTo>
                <a:close/>
                <a:moveTo>
                  <a:pt x="1434" y="170"/>
                </a:moveTo>
                <a:lnTo>
                  <a:pt x="1434" y="170"/>
                </a:lnTo>
                <a:lnTo>
                  <a:pt x="1434" y="168"/>
                </a:lnTo>
                <a:lnTo>
                  <a:pt x="1434" y="168"/>
                </a:lnTo>
                <a:lnTo>
                  <a:pt x="1434" y="168"/>
                </a:lnTo>
                <a:lnTo>
                  <a:pt x="1434" y="168"/>
                </a:lnTo>
                <a:lnTo>
                  <a:pt x="1434" y="170"/>
                </a:lnTo>
                <a:lnTo>
                  <a:pt x="1426" y="170"/>
                </a:lnTo>
                <a:lnTo>
                  <a:pt x="1426" y="170"/>
                </a:lnTo>
                <a:lnTo>
                  <a:pt x="1426" y="170"/>
                </a:lnTo>
                <a:lnTo>
                  <a:pt x="1434" y="170"/>
                </a:lnTo>
                <a:close/>
                <a:moveTo>
                  <a:pt x="1412" y="944"/>
                </a:moveTo>
                <a:lnTo>
                  <a:pt x="1412" y="944"/>
                </a:lnTo>
                <a:lnTo>
                  <a:pt x="1412" y="944"/>
                </a:lnTo>
                <a:lnTo>
                  <a:pt x="1412" y="944"/>
                </a:lnTo>
                <a:lnTo>
                  <a:pt x="1418" y="938"/>
                </a:lnTo>
                <a:lnTo>
                  <a:pt x="1422" y="936"/>
                </a:lnTo>
                <a:lnTo>
                  <a:pt x="1428" y="938"/>
                </a:lnTo>
                <a:lnTo>
                  <a:pt x="1434" y="940"/>
                </a:lnTo>
                <a:lnTo>
                  <a:pt x="1434" y="940"/>
                </a:lnTo>
                <a:lnTo>
                  <a:pt x="1434" y="940"/>
                </a:lnTo>
                <a:lnTo>
                  <a:pt x="1434" y="940"/>
                </a:lnTo>
                <a:lnTo>
                  <a:pt x="1428" y="938"/>
                </a:lnTo>
                <a:lnTo>
                  <a:pt x="1422" y="936"/>
                </a:lnTo>
                <a:lnTo>
                  <a:pt x="1418" y="938"/>
                </a:lnTo>
                <a:lnTo>
                  <a:pt x="1412" y="944"/>
                </a:lnTo>
                <a:lnTo>
                  <a:pt x="1412" y="944"/>
                </a:lnTo>
                <a:close/>
                <a:moveTo>
                  <a:pt x="1410" y="1026"/>
                </a:moveTo>
                <a:lnTo>
                  <a:pt x="1410" y="1026"/>
                </a:lnTo>
                <a:lnTo>
                  <a:pt x="1410" y="1026"/>
                </a:lnTo>
                <a:lnTo>
                  <a:pt x="1410" y="1026"/>
                </a:lnTo>
                <a:lnTo>
                  <a:pt x="1418" y="1028"/>
                </a:lnTo>
                <a:lnTo>
                  <a:pt x="1422" y="1030"/>
                </a:lnTo>
                <a:lnTo>
                  <a:pt x="1426" y="1028"/>
                </a:lnTo>
                <a:lnTo>
                  <a:pt x="1426" y="1028"/>
                </a:lnTo>
                <a:lnTo>
                  <a:pt x="1420" y="1022"/>
                </a:lnTo>
                <a:lnTo>
                  <a:pt x="1420" y="1022"/>
                </a:lnTo>
                <a:lnTo>
                  <a:pt x="1426" y="1028"/>
                </a:lnTo>
                <a:lnTo>
                  <a:pt x="1426" y="1028"/>
                </a:lnTo>
                <a:lnTo>
                  <a:pt x="1422" y="1030"/>
                </a:lnTo>
                <a:lnTo>
                  <a:pt x="1418" y="1028"/>
                </a:lnTo>
                <a:lnTo>
                  <a:pt x="1410" y="1026"/>
                </a:lnTo>
                <a:lnTo>
                  <a:pt x="1410" y="1026"/>
                </a:lnTo>
                <a:close/>
                <a:moveTo>
                  <a:pt x="1426" y="974"/>
                </a:moveTo>
                <a:lnTo>
                  <a:pt x="1426" y="974"/>
                </a:lnTo>
                <a:lnTo>
                  <a:pt x="1426" y="974"/>
                </a:lnTo>
                <a:lnTo>
                  <a:pt x="1426" y="974"/>
                </a:lnTo>
                <a:lnTo>
                  <a:pt x="1430" y="974"/>
                </a:lnTo>
                <a:lnTo>
                  <a:pt x="1430" y="974"/>
                </a:lnTo>
                <a:lnTo>
                  <a:pt x="1426" y="972"/>
                </a:lnTo>
                <a:lnTo>
                  <a:pt x="1426" y="972"/>
                </a:lnTo>
                <a:lnTo>
                  <a:pt x="1426" y="972"/>
                </a:lnTo>
                <a:lnTo>
                  <a:pt x="1426" y="972"/>
                </a:lnTo>
                <a:lnTo>
                  <a:pt x="1430" y="974"/>
                </a:lnTo>
                <a:lnTo>
                  <a:pt x="1430" y="974"/>
                </a:lnTo>
                <a:lnTo>
                  <a:pt x="1426" y="974"/>
                </a:lnTo>
                <a:lnTo>
                  <a:pt x="1426" y="974"/>
                </a:lnTo>
                <a:close/>
                <a:moveTo>
                  <a:pt x="1448" y="1026"/>
                </a:moveTo>
                <a:lnTo>
                  <a:pt x="1448" y="1026"/>
                </a:lnTo>
                <a:lnTo>
                  <a:pt x="1448" y="1026"/>
                </a:lnTo>
                <a:lnTo>
                  <a:pt x="1448" y="1026"/>
                </a:lnTo>
                <a:lnTo>
                  <a:pt x="1452" y="1018"/>
                </a:lnTo>
                <a:lnTo>
                  <a:pt x="1452" y="1018"/>
                </a:lnTo>
                <a:lnTo>
                  <a:pt x="1440" y="1014"/>
                </a:lnTo>
                <a:lnTo>
                  <a:pt x="1430" y="1014"/>
                </a:lnTo>
                <a:lnTo>
                  <a:pt x="1430" y="1014"/>
                </a:lnTo>
                <a:lnTo>
                  <a:pt x="1440" y="1014"/>
                </a:lnTo>
                <a:lnTo>
                  <a:pt x="1452" y="1018"/>
                </a:lnTo>
                <a:lnTo>
                  <a:pt x="1452" y="1018"/>
                </a:lnTo>
                <a:lnTo>
                  <a:pt x="1452" y="1018"/>
                </a:lnTo>
                <a:lnTo>
                  <a:pt x="1452" y="1018"/>
                </a:lnTo>
                <a:lnTo>
                  <a:pt x="1452" y="1018"/>
                </a:lnTo>
                <a:lnTo>
                  <a:pt x="1452" y="1018"/>
                </a:lnTo>
                <a:lnTo>
                  <a:pt x="1448" y="1026"/>
                </a:lnTo>
                <a:lnTo>
                  <a:pt x="1448" y="1026"/>
                </a:lnTo>
                <a:close/>
                <a:moveTo>
                  <a:pt x="1454" y="1016"/>
                </a:moveTo>
                <a:lnTo>
                  <a:pt x="1454" y="1016"/>
                </a:lnTo>
                <a:lnTo>
                  <a:pt x="1454" y="1016"/>
                </a:lnTo>
                <a:lnTo>
                  <a:pt x="1454" y="1016"/>
                </a:lnTo>
                <a:lnTo>
                  <a:pt x="1460" y="1012"/>
                </a:lnTo>
                <a:lnTo>
                  <a:pt x="1460" y="1012"/>
                </a:lnTo>
                <a:lnTo>
                  <a:pt x="1456" y="1010"/>
                </a:lnTo>
                <a:lnTo>
                  <a:pt x="1456" y="1010"/>
                </a:lnTo>
                <a:lnTo>
                  <a:pt x="1460" y="1012"/>
                </a:lnTo>
                <a:lnTo>
                  <a:pt x="1460" y="1012"/>
                </a:lnTo>
                <a:lnTo>
                  <a:pt x="1454" y="1016"/>
                </a:lnTo>
                <a:lnTo>
                  <a:pt x="1454" y="1016"/>
                </a:lnTo>
                <a:close/>
                <a:moveTo>
                  <a:pt x="1452" y="994"/>
                </a:moveTo>
                <a:lnTo>
                  <a:pt x="1452" y="994"/>
                </a:lnTo>
                <a:lnTo>
                  <a:pt x="1452" y="994"/>
                </a:lnTo>
                <a:lnTo>
                  <a:pt x="1452" y="994"/>
                </a:lnTo>
                <a:lnTo>
                  <a:pt x="1456" y="996"/>
                </a:lnTo>
                <a:lnTo>
                  <a:pt x="1458" y="996"/>
                </a:lnTo>
                <a:lnTo>
                  <a:pt x="1464" y="996"/>
                </a:lnTo>
                <a:lnTo>
                  <a:pt x="1464" y="996"/>
                </a:lnTo>
                <a:lnTo>
                  <a:pt x="1464" y="996"/>
                </a:lnTo>
                <a:lnTo>
                  <a:pt x="1464" y="996"/>
                </a:lnTo>
                <a:lnTo>
                  <a:pt x="1458" y="996"/>
                </a:lnTo>
                <a:lnTo>
                  <a:pt x="1456" y="996"/>
                </a:lnTo>
                <a:lnTo>
                  <a:pt x="1452" y="994"/>
                </a:lnTo>
                <a:lnTo>
                  <a:pt x="1452" y="994"/>
                </a:lnTo>
                <a:close/>
                <a:moveTo>
                  <a:pt x="1466" y="966"/>
                </a:moveTo>
                <a:lnTo>
                  <a:pt x="1466" y="966"/>
                </a:lnTo>
                <a:lnTo>
                  <a:pt x="1470" y="966"/>
                </a:lnTo>
                <a:lnTo>
                  <a:pt x="1478" y="970"/>
                </a:lnTo>
                <a:lnTo>
                  <a:pt x="1478" y="970"/>
                </a:lnTo>
                <a:lnTo>
                  <a:pt x="1490" y="968"/>
                </a:lnTo>
                <a:lnTo>
                  <a:pt x="1490" y="968"/>
                </a:lnTo>
                <a:lnTo>
                  <a:pt x="1490" y="970"/>
                </a:lnTo>
                <a:lnTo>
                  <a:pt x="1488" y="972"/>
                </a:lnTo>
                <a:lnTo>
                  <a:pt x="1488" y="972"/>
                </a:lnTo>
                <a:lnTo>
                  <a:pt x="1488" y="972"/>
                </a:lnTo>
                <a:lnTo>
                  <a:pt x="1488" y="972"/>
                </a:lnTo>
                <a:lnTo>
                  <a:pt x="1490" y="968"/>
                </a:lnTo>
                <a:lnTo>
                  <a:pt x="1490" y="968"/>
                </a:lnTo>
                <a:lnTo>
                  <a:pt x="1478" y="970"/>
                </a:lnTo>
                <a:lnTo>
                  <a:pt x="1478" y="970"/>
                </a:lnTo>
                <a:lnTo>
                  <a:pt x="1470" y="966"/>
                </a:lnTo>
                <a:lnTo>
                  <a:pt x="1466" y="966"/>
                </a:lnTo>
                <a:lnTo>
                  <a:pt x="1466" y="966"/>
                </a:lnTo>
                <a:close/>
                <a:moveTo>
                  <a:pt x="1488" y="1028"/>
                </a:moveTo>
                <a:lnTo>
                  <a:pt x="1488" y="1028"/>
                </a:lnTo>
                <a:lnTo>
                  <a:pt x="1488" y="1028"/>
                </a:lnTo>
                <a:lnTo>
                  <a:pt x="1488" y="1028"/>
                </a:lnTo>
                <a:lnTo>
                  <a:pt x="1490" y="1026"/>
                </a:lnTo>
                <a:lnTo>
                  <a:pt x="1490" y="1026"/>
                </a:lnTo>
                <a:lnTo>
                  <a:pt x="1486" y="1024"/>
                </a:lnTo>
                <a:lnTo>
                  <a:pt x="1486" y="1024"/>
                </a:lnTo>
                <a:lnTo>
                  <a:pt x="1486" y="1024"/>
                </a:lnTo>
                <a:lnTo>
                  <a:pt x="1486" y="1024"/>
                </a:lnTo>
                <a:lnTo>
                  <a:pt x="1490" y="1026"/>
                </a:lnTo>
                <a:lnTo>
                  <a:pt x="1490" y="1026"/>
                </a:lnTo>
                <a:lnTo>
                  <a:pt x="1488" y="1028"/>
                </a:lnTo>
                <a:lnTo>
                  <a:pt x="1488" y="1028"/>
                </a:lnTo>
                <a:close/>
                <a:moveTo>
                  <a:pt x="1688" y="1020"/>
                </a:moveTo>
                <a:lnTo>
                  <a:pt x="1688" y="1020"/>
                </a:lnTo>
                <a:lnTo>
                  <a:pt x="1690" y="1018"/>
                </a:lnTo>
                <a:lnTo>
                  <a:pt x="1690" y="1018"/>
                </a:lnTo>
                <a:lnTo>
                  <a:pt x="1690" y="1018"/>
                </a:lnTo>
                <a:lnTo>
                  <a:pt x="1690" y="1018"/>
                </a:lnTo>
                <a:lnTo>
                  <a:pt x="1688" y="1020"/>
                </a:lnTo>
                <a:lnTo>
                  <a:pt x="1688" y="1020"/>
                </a:lnTo>
                <a:lnTo>
                  <a:pt x="1684" y="1022"/>
                </a:lnTo>
                <a:lnTo>
                  <a:pt x="1682" y="1020"/>
                </a:lnTo>
                <a:lnTo>
                  <a:pt x="1682" y="1020"/>
                </a:lnTo>
                <a:lnTo>
                  <a:pt x="1684" y="1022"/>
                </a:lnTo>
                <a:lnTo>
                  <a:pt x="1688" y="1020"/>
                </a:lnTo>
                <a:lnTo>
                  <a:pt x="1688" y="1020"/>
                </a:lnTo>
                <a:close/>
                <a:moveTo>
                  <a:pt x="1676" y="980"/>
                </a:moveTo>
                <a:lnTo>
                  <a:pt x="1676" y="980"/>
                </a:lnTo>
                <a:lnTo>
                  <a:pt x="1678" y="982"/>
                </a:lnTo>
                <a:lnTo>
                  <a:pt x="1678" y="984"/>
                </a:lnTo>
                <a:lnTo>
                  <a:pt x="1676" y="988"/>
                </a:lnTo>
                <a:lnTo>
                  <a:pt x="1676" y="988"/>
                </a:lnTo>
                <a:lnTo>
                  <a:pt x="1676" y="988"/>
                </a:lnTo>
                <a:lnTo>
                  <a:pt x="1678" y="984"/>
                </a:lnTo>
                <a:lnTo>
                  <a:pt x="1678" y="982"/>
                </a:lnTo>
                <a:lnTo>
                  <a:pt x="1674" y="980"/>
                </a:lnTo>
                <a:lnTo>
                  <a:pt x="1674" y="980"/>
                </a:lnTo>
                <a:lnTo>
                  <a:pt x="1676" y="980"/>
                </a:lnTo>
                <a:lnTo>
                  <a:pt x="1676" y="980"/>
                </a:lnTo>
                <a:close/>
                <a:moveTo>
                  <a:pt x="1678" y="1030"/>
                </a:moveTo>
                <a:lnTo>
                  <a:pt x="1678" y="1030"/>
                </a:lnTo>
                <a:lnTo>
                  <a:pt x="1678" y="1030"/>
                </a:lnTo>
                <a:lnTo>
                  <a:pt x="1678" y="1030"/>
                </a:lnTo>
                <a:lnTo>
                  <a:pt x="1672" y="1024"/>
                </a:lnTo>
                <a:lnTo>
                  <a:pt x="1666" y="1026"/>
                </a:lnTo>
                <a:lnTo>
                  <a:pt x="1666" y="1026"/>
                </a:lnTo>
                <a:lnTo>
                  <a:pt x="1658" y="1028"/>
                </a:lnTo>
                <a:lnTo>
                  <a:pt x="1658" y="1028"/>
                </a:lnTo>
                <a:lnTo>
                  <a:pt x="1658" y="1028"/>
                </a:lnTo>
                <a:lnTo>
                  <a:pt x="1658" y="1028"/>
                </a:lnTo>
                <a:lnTo>
                  <a:pt x="1666" y="1026"/>
                </a:lnTo>
                <a:lnTo>
                  <a:pt x="1666" y="1026"/>
                </a:lnTo>
                <a:lnTo>
                  <a:pt x="1672" y="1024"/>
                </a:lnTo>
                <a:lnTo>
                  <a:pt x="1678" y="1030"/>
                </a:lnTo>
                <a:lnTo>
                  <a:pt x="1678" y="1030"/>
                </a:lnTo>
                <a:close/>
                <a:moveTo>
                  <a:pt x="1664" y="1038"/>
                </a:moveTo>
                <a:lnTo>
                  <a:pt x="1664" y="1038"/>
                </a:lnTo>
                <a:lnTo>
                  <a:pt x="1662" y="1036"/>
                </a:lnTo>
                <a:lnTo>
                  <a:pt x="1662" y="1036"/>
                </a:lnTo>
                <a:lnTo>
                  <a:pt x="1664" y="1038"/>
                </a:lnTo>
                <a:lnTo>
                  <a:pt x="1664" y="1038"/>
                </a:lnTo>
                <a:lnTo>
                  <a:pt x="1660" y="1042"/>
                </a:lnTo>
                <a:lnTo>
                  <a:pt x="1654" y="1042"/>
                </a:lnTo>
                <a:lnTo>
                  <a:pt x="1654" y="1042"/>
                </a:lnTo>
                <a:lnTo>
                  <a:pt x="1660" y="1042"/>
                </a:lnTo>
                <a:lnTo>
                  <a:pt x="1664" y="1038"/>
                </a:lnTo>
                <a:lnTo>
                  <a:pt x="1664" y="1038"/>
                </a:lnTo>
                <a:close/>
                <a:moveTo>
                  <a:pt x="1650" y="1028"/>
                </a:moveTo>
                <a:lnTo>
                  <a:pt x="1650" y="1028"/>
                </a:lnTo>
                <a:lnTo>
                  <a:pt x="1650" y="1028"/>
                </a:lnTo>
                <a:lnTo>
                  <a:pt x="1654" y="1026"/>
                </a:lnTo>
                <a:lnTo>
                  <a:pt x="1656" y="1028"/>
                </a:lnTo>
                <a:lnTo>
                  <a:pt x="1656" y="1028"/>
                </a:lnTo>
                <a:lnTo>
                  <a:pt x="1656" y="1028"/>
                </a:lnTo>
                <a:lnTo>
                  <a:pt x="1654" y="1026"/>
                </a:lnTo>
                <a:lnTo>
                  <a:pt x="1650" y="1028"/>
                </a:lnTo>
                <a:lnTo>
                  <a:pt x="1650" y="1028"/>
                </a:lnTo>
                <a:close/>
                <a:moveTo>
                  <a:pt x="1612" y="1004"/>
                </a:moveTo>
                <a:lnTo>
                  <a:pt x="1612" y="1004"/>
                </a:lnTo>
                <a:lnTo>
                  <a:pt x="1616" y="1002"/>
                </a:lnTo>
                <a:lnTo>
                  <a:pt x="1616" y="1002"/>
                </a:lnTo>
                <a:lnTo>
                  <a:pt x="1618" y="1000"/>
                </a:lnTo>
                <a:lnTo>
                  <a:pt x="1618" y="1000"/>
                </a:lnTo>
                <a:lnTo>
                  <a:pt x="1616" y="1000"/>
                </a:lnTo>
                <a:lnTo>
                  <a:pt x="1616" y="1000"/>
                </a:lnTo>
                <a:lnTo>
                  <a:pt x="1616" y="1000"/>
                </a:lnTo>
                <a:lnTo>
                  <a:pt x="1616" y="1000"/>
                </a:lnTo>
                <a:lnTo>
                  <a:pt x="1618" y="1000"/>
                </a:lnTo>
                <a:lnTo>
                  <a:pt x="1618" y="1000"/>
                </a:lnTo>
                <a:lnTo>
                  <a:pt x="1616" y="1002"/>
                </a:lnTo>
                <a:lnTo>
                  <a:pt x="1616" y="1002"/>
                </a:lnTo>
                <a:lnTo>
                  <a:pt x="1612" y="1004"/>
                </a:lnTo>
                <a:lnTo>
                  <a:pt x="1612" y="1004"/>
                </a:lnTo>
                <a:lnTo>
                  <a:pt x="1612" y="1004"/>
                </a:lnTo>
                <a:lnTo>
                  <a:pt x="1612" y="1004"/>
                </a:lnTo>
                <a:close/>
                <a:moveTo>
                  <a:pt x="1578" y="996"/>
                </a:moveTo>
                <a:lnTo>
                  <a:pt x="1578" y="996"/>
                </a:lnTo>
                <a:lnTo>
                  <a:pt x="1578" y="996"/>
                </a:lnTo>
                <a:lnTo>
                  <a:pt x="1578" y="996"/>
                </a:lnTo>
                <a:lnTo>
                  <a:pt x="1570" y="994"/>
                </a:lnTo>
                <a:lnTo>
                  <a:pt x="1564" y="994"/>
                </a:lnTo>
                <a:lnTo>
                  <a:pt x="1546" y="998"/>
                </a:lnTo>
                <a:lnTo>
                  <a:pt x="1546" y="998"/>
                </a:lnTo>
                <a:lnTo>
                  <a:pt x="1546" y="998"/>
                </a:lnTo>
                <a:lnTo>
                  <a:pt x="1546" y="998"/>
                </a:lnTo>
                <a:lnTo>
                  <a:pt x="1564" y="994"/>
                </a:lnTo>
                <a:lnTo>
                  <a:pt x="1570" y="994"/>
                </a:lnTo>
                <a:lnTo>
                  <a:pt x="1578" y="996"/>
                </a:lnTo>
                <a:lnTo>
                  <a:pt x="1578" y="996"/>
                </a:lnTo>
                <a:close/>
                <a:moveTo>
                  <a:pt x="1572" y="1006"/>
                </a:moveTo>
                <a:lnTo>
                  <a:pt x="1572" y="1006"/>
                </a:lnTo>
                <a:lnTo>
                  <a:pt x="1572" y="1006"/>
                </a:lnTo>
                <a:lnTo>
                  <a:pt x="1572" y="1006"/>
                </a:lnTo>
                <a:lnTo>
                  <a:pt x="1570" y="1002"/>
                </a:lnTo>
                <a:lnTo>
                  <a:pt x="1570" y="1000"/>
                </a:lnTo>
                <a:lnTo>
                  <a:pt x="1570" y="1000"/>
                </a:lnTo>
                <a:lnTo>
                  <a:pt x="1570" y="1002"/>
                </a:lnTo>
                <a:lnTo>
                  <a:pt x="1572" y="1006"/>
                </a:lnTo>
                <a:lnTo>
                  <a:pt x="1572" y="1006"/>
                </a:lnTo>
                <a:close/>
                <a:moveTo>
                  <a:pt x="1544" y="964"/>
                </a:moveTo>
                <a:lnTo>
                  <a:pt x="1544" y="964"/>
                </a:lnTo>
                <a:lnTo>
                  <a:pt x="1546" y="966"/>
                </a:lnTo>
                <a:lnTo>
                  <a:pt x="1546" y="966"/>
                </a:lnTo>
                <a:lnTo>
                  <a:pt x="1538" y="978"/>
                </a:lnTo>
                <a:lnTo>
                  <a:pt x="1538" y="978"/>
                </a:lnTo>
                <a:lnTo>
                  <a:pt x="1550" y="976"/>
                </a:lnTo>
                <a:lnTo>
                  <a:pt x="1562" y="978"/>
                </a:lnTo>
                <a:lnTo>
                  <a:pt x="1562" y="978"/>
                </a:lnTo>
                <a:lnTo>
                  <a:pt x="1556" y="982"/>
                </a:lnTo>
                <a:lnTo>
                  <a:pt x="1550" y="984"/>
                </a:lnTo>
                <a:lnTo>
                  <a:pt x="1538" y="986"/>
                </a:lnTo>
                <a:lnTo>
                  <a:pt x="1538" y="986"/>
                </a:lnTo>
                <a:lnTo>
                  <a:pt x="1522" y="970"/>
                </a:lnTo>
                <a:lnTo>
                  <a:pt x="1522" y="970"/>
                </a:lnTo>
                <a:lnTo>
                  <a:pt x="1544" y="964"/>
                </a:lnTo>
                <a:lnTo>
                  <a:pt x="1544" y="964"/>
                </a:lnTo>
                <a:close/>
                <a:moveTo>
                  <a:pt x="1544" y="1010"/>
                </a:moveTo>
                <a:lnTo>
                  <a:pt x="1544" y="1010"/>
                </a:lnTo>
                <a:lnTo>
                  <a:pt x="1544" y="1010"/>
                </a:lnTo>
                <a:lnTo>
                  <a:pt x="1544" y="1010"/>
                </a:lnTo>
                <a:lnTo>
                  <a:pt x="1546" y="1014"/>
                </a:lnTo>
                <a:lnTo>
                  <a:pt x="1546" y="1014"/>
                </a:lnTo>
                <a:lnTo>
                  <a:pt x="1542" y="1016"/>
                </a:lnTo>
                <a:lnTo>
                  <a:pt x="1542" y="1016"/>
                </a:lnTo>
                <a:lnTo>
                  <a:pt x="1542" y="1016"/>
                </a:lnTo>
                <a:lnTo>
                  <a:pt x="1546" y="1014"/>
                </a:lnTo>
                <a:lnTo>
                  <a:pt x="1546" y="1014"/>
                </a:lnTo>
                <a:lnTo>
                  <a:pt x="1544" y="1010"/>
                </a:lnTo>
                <a:lnTo>
                  <a:pt x="1544" y="1010"/>
                </a:lnTo>
                <a:close/>
                <a:moveTo>
                  <a:pt x="1520" y="948"/>
                </a:moveTo>
                <a:lnTo>
                  <a:pt x="1520" y="948"/>
                </a:lnTo>
                <a:lnTo>
                  <a:pt x="1522" y="948"/>
                </a:lnTo>
                <a:lnTo>
                  <a:pt x="1522" y="948"/>
                </a:lnTo>
                <a:lnTo>
                  <a:pt x="1524" y="950"/>
                </a:lnTo>
                <a:lnTo>
                  <a:pt x="1524" y="950"/>
                </a:lnTo>
                <a:lnTo>
                  <a:pt x="1520" y="952"/>
                </a:lnTo>
                <a:lnTo>
                  <a:pt x="1520" y="952"/>
                </a:lnTo>
                <a:lnTo>
                  <a:pt x="1520" y="952"/>
                </a:lnTo>
                <a:lnTo>
                  <a:pt x="1520" y="952"/>
                </a:lnTo>
                <a:lnTo>
                  <a:pt x="1522" y="950"/>
                </a:lnTo>
                <a:lnTo>
                  <a:pt x="1522" y="950"/>
                </a:lnTo>
                <a:lnTo>
                  <a:pt x="1520" y="948"/>
                </a:lnTo>
                <a:lnTo>
                  <a:pt x="1520" y="948"/>
                </a:lnTo>
                <a:close/>
                <a:moveTo>
                  <a:pt x="1528" y="1016"/>
                </a:moveTo>
                <a:lnTo>
                  <a:pt x="1528" y="1016"/>
                </a:lnTo>
                <a:lnTo>
                  <a:pt x="1528" y="1014"/>
                </a:lnTo>
                <a:lnTo>
                  <a:pt x="1528" y="1014"/>
                </a:lnTo>
                <a:lnTo>
                  <a:pt x="1526" y="1020"/>
                </a:lnTo>
                <a:lnTo>
                  <a:pt x="1520" y="1022"/>
                </a:lnTo>
                <a:lnTo>
                  <a:pt x="1520" y="1022"/>
                </a:lnTo>
                <a:lnTo>
                  <a:pt x="1526" y="1020"/>
                </a:lnTo>
                <a:lnTo>
                  <a:pt x="1528" y="1016"/>
                </a:lnTo>
                <a:lnTo>
                  <a:pt x="1528" y="1016"/>
                </a:lnTo>
                <a:close/>
                <a:moveTo>
                  <a:pt x="1612" y="1022"/>
                </a:moveTo>
                <a:lnTo>
                  <a:pt x="1612" y="1022"/>
                </a:lnTo>
                <a:lnTo>
                  <a:pt x="1608" y="1022"/>
                </a:lnTo>
                <a:lnTo>
                  <a:pt x="1608" y="1022"/>
                </a:lnTo>
                <a:lnTo>
                  <a:pt x="1600" y="1024"/>
                </a:lnTo>
                <a:lnTo>
                  <a:pt x="1592" y="1024"/>
                </a:lnTo>
                <a:lnTo>
                  <a:pt x="1574" y="1022"/>
                </a:lnTo>
                <a:lnTo>
                  <a:pt x="1574" y="1022"/>
                </a:lnTo>
                <a:lnTo>
                  <a:pt x="1572" y="1022"/>
                </a:lnTo>
                <a:lnTo>
                  <a:pt x="1572" y="1022"/>
                </a:lnTo>
                <a:lnTo>
                  <a:pt x="1572" y="1022"/>
                </a:lnTo>
                <a:lnTo>
                  <a:pt x="1570" y="1028"/>
                </a:lnTo>
                <a:lnTo>
                  <a:pt x="1570" y="1028"/>
                </a:lnTo>
                <a:lnTo>
                  <a:pt x="1564" y="1034"/>
                </a:lnTo>
                <a:lnTo>
                  <a:pt x="1564" y="1034"/>
                </a:lnTo>
                <a:lnTo>
                  <a:pt x="1548" y="1030"/>
                </a:lnTo>
                <a:lnTo>
                  <a:pt x="1548" y="1030"/>
                </a:lnTo>
                <a:lnTo>
                  <a:pt x="1542" y="1030"/>
                </a:lnTo>
                <a:lnTo>
                  <a:pt x="1536" y="1032"/>
                </a:lnTo>
                <a:lnTo>
                  <a:pt x="1530" y="1034"/>
                </a:lnTo>
                <a:lnTo>
                  <a:pt x="1524" y="1032"/>
                </a:lnTo>
                <a:lnTo>
                  <a:pt x="1524" y="1032"/>
                </a:lnTo>
                <a:lnTo>
                  <a:pt x="1526" y="1028"/>
                </a:lnTo>
                <a:lnTo>
                  <a:pt x="1530" y="1026"/>
                </a:lnTo>
                <a:lnTo>
                  <a:pt x="1538" y="1026"/>
                </a:lnTo>
                <a:lnTo>
                  <a:pt x="1538" y="1026"/>
                </a:lnTo>
                <a:lnTo>
                  <a:pt x="1544" y="1020"/>
                </a:lnTo>
                <a:lnTo>
                  <a:pt x="1544" y="1020"/>
                </a:lnTo>
                <a:lnTo>
                  <a:pt x="1548" y="1018"/>
                </a:lnTo>
                <a:lnTo>
                  <a:pt x="1550" y="1016"/>
                </a:lnTo>
                <a:lnTo>
                  <a:pt x="1554" y="1018"/>
                </a:lnTo>
                <a:lnTo>
                  <a:pt x="1556" y="1020"/>
                </a:lnTo>
                <a:lnTo>
                  <a:pt x="1556" y="1020"/>
                </a:lnTo>
                <a:lnTo>
                  <a:pt x="1562" y="1024"/>
                </a:lnTo>
                <a:lnTo>
                  <a:pt x="1564" y="1024"/>
                </a:lnTo>
                <a:lnTo>
                  <a:pt x="1568" y="1022"/>
                </a:lnTo>
                <a:lnTo>
                  <a:pt x="1568" y="1022"/>
                </a:lnTo>
                <a:lnTo>
                  <a:pt x="1566" y="1018"/>
                </a:lnTo>
                <a:lnTo>
                  <a:pt x="1564" y="1016"/>
                </a:lnTo>
                <a:lnTo>
                  <a:pt x="1554" y="1014"/>
                </a:lnTo>
                <a:lnTo>
                  <a:pt x="1554" y="1014"/>
                </a:lnTo>
                <a:lnTo>
                  <a:pt x="1556" y="1012"/>
                </a:lnTo>
                <a:lnTo>
                  <a:pt x="1556" y="1012"/>
                </a:lnTo>
                <a:lnTo>
                  <a:pt x="1566" y="1012"/>
                </a:lnTo>
                <a:lnTo>
                  <a:pt x="1574" y="1010"/>
                </a:lnTo>
                <a:lnTo>
                  <a:pt x="1588" y="1002"/>
                </a:lnTo>
                <a:lnTo>
                  <a:pt x="1588" y="1002"/>
                </a:lnTo>
                <a:lnTo>
                  <a:pt x="1596" y="1000"/>
                </a:lnTo>
                <a:lnTo>
                  <a:pt x="1608" y="1000"/>
                </a:lnTo>
                <a:lnTo>
                  <a:pt x="1608" y="1000"/>
                </a:lnTo>
                <a:lnTo>
                  <a:pt x="1600" y="1006"/>
                </a:lnTo>
                <a:lnTo>
                  <a:pt x="1592" y="1008"/>
                </a:lnTo>
                <a:lnTo>
                  <a:pt x="1592" y="1008"/>
                </a:lnTo>
                <a:lnTo>
                  <a:pt x="1600" y="1010"/>
                </a:lnTo>
                <a:lnTo>
                  <a:pt x="1602" y="1012"/>
                </a:lnTo>
                <a:lnTo>
                  <a:pt x="1604" y="1014"/>
                </a:lnTo>
                <a:lnTo>
                  <a:pt x="1604" y="1014"/>
                </a:lnTo>
                <a:lnTo>
                  <a:pt x="1606" y="1016"/>
                </a:lnTo>
                <a:lnTo>
                  <a:pt x="1606" y="1016"/>
                </a:lnTo>
                <a:lnTo>
                  <a:pt x="1620" y="1016"/>
                </a:lnTo>
                <a:lnTo>
                  <a:pt x="1620" y="1016"/>
                </a:lnTo>
                <a:lnTo>
                  <a:pt x="1626" y="1016"/>
                </a:lnTo>
                <a:lnTo>
                  <a:pt x="1632" y="1012"/>
                </a:lnTo>
                <a:lnTo>
                  <a:pt x="1632" y="1012"/>
                </a:lnTo>
                <a:lnTo>
                  <a:pt x="1638" y="1008"/>
                </a:lnTo>
                <a:lnTo>
                  <a:pt x="1646" y="1006"/>
                </a:lnTo>
                <a:lnTo>
                  <a:pt x="1646" y="1006"/>
                </a:lnTo>
                <a:lnTo>
                  <a:pt x="1664" y="1010"/>
                </a:lnTo>
                <a:lnTo>
                  <a:pt x="1664" y="1010"/>
                </a:lnTo>
                <a:lnTo>
                  <a:pt x="1664" y="1012"/>
                </a:lnTo>
                <a:lnTo>
                  <a:pt x="1662" y="1014"/>
                </a:lnTo>
                <a:lnTo>
                  <a:pt x="1658" y="1014"/>
                </a:lnTo>
                <a:lnTo>
                  <a:pt x="1658" y="1014"/>
                </a:lnTo>
                <a:lnTo>
                  <a:pt x="1646" y="1016"/>
                </a:lnTo>
                <a:lnTo>
                  <a:pt x="1634" y="1018"/>
                </a:lnTo>
                <a:lnTo>
                  <a:pt x="1624" y="1020"/>
                </a:lnTo>
                <a:lnTo>
                  <a:pt x="1612" y="1022"/>
                </a:lnTo>
                <a:lnTo>
                  <a:pt x="1612" y="1022"/>
                </a:lnTo>
                <a:close/>
                <a:moveTo>
                  <a:pt x="1646" y="1036"/>
                </a:moveTo>
                <a:lnTo>
                  <a:pt x="1646" y="1036"/>
                </a:lnTo>
                <a:lnTo>
                  <a:pt x="1646" y="1036"/>
                </a:lnTo>
                <a:lnTo>
                  <a:pt x="1646" y="1036"/>
                </a:lnTo>
                <a:lnTo>
                  <a:pt x="1654" y="1034"/>
                </a:lnTo>
                <a:lnTo>
                  <a:pt x="1654" y="1034"/>
                </a:lnTo>
                <a:lnTo>
                  <a:pt x="1652" y="1032"/>
                </a:lnTo>
                <a:lnTo>
                  <a:pt x="1652" y="1032"/>
                </a:lnTo>
                <a:lnTo>
                  <a:pt x="1652" y="1032"/>
                </a:lnTo>
                <a:lnTo>
                  <a:pt x="1652" y="1032"/>
                </a:lnTo>
                <a:lnTo>
                  <a:pt x="1654" y="1034"/>
                </a:lnTo>
                <a:lnTo>
                  <a:pt x="1654" y="1034"/>
                </a:lnTo>
                <a:lnTo>
                  <a:pt x="1646" y="1036"/>
                </a:lnTo>
                <a:lnTo>
                  <a:pt x="1646" y="1036"/>
                </a:lnTo>
                <a:close/>
                <a:moveTo>
                  <a:pt x="1652" y="1062"/>
                </a:moveTo>
                <a:lnTo>
                  <a:pt x="1652" y="1062"/>
                </a:lnTo>
                <a:lnTo>
                  <a:pt x="1652" y="1062"/>
                </a:lnTo>
                <a:lnTo>
                  <a:pt x="1652" y="1062"/>
                </a:lnTo>
                <a:lnTo>
                  <a:pt x="1658" y="1060"/>
                </a:lnTo>
                <a:lnTo>
                  <a:pt x="1658" y="1058"/>
                </a:lnTo>
                <a:lnTo>
                  <a:pt x="1658" y="1058"/>
                </a:lnTo>
                <a:lnTo>
                  <a:pt x="1658" y="1060"/>
                </a:lnTo>
                <a:lnTo>
                  <a:pt x="1652" y="1062"/>
                </a:lnTo>
                <a:lnTo>
                  <a:pt x="1652" y="1062"/>
                </a:lnTo>
                <a:close/>
                <a:moveTo>
                  <a:pt x="1664" y="1050"/>
                </a:moveTo>
                <a:lnTo>
                  <a:pt x="1664" y="1050"/>
                </a:lnTo>
                <a:lnTo>
                  <a:pt x="1662" y="1050"/>
                </a:lnTo>
                <a:lnTo>
                  <a:pt x="1662" y="1050"/>
                </a:lnTo>
                <a:lnTo>
                  <a:pt x="1664" y="1050"/>
                </a:lnTo>
                <a:lnTo>
                  <a:pt x="1664" y="1050"/>
                </a:lnTo>
                <a:lnTo>
                  <a:pt x="1668" y="1048"/>
                </a:lnTo>
                <a:lnTo>
                  <a:pt x="1668" y="1048"/>
                </a:lnTo>
                <a:lnTo>
                  <a:pt x="1668" y="1046"/>
                </a:lnTo>
                <a:lnTo>
                  <a:pt x="1666" y="1046"/>
                </a:lnTo>
                <a:lnTo>
                  <a:pt x="1666" y="1046"/>
                </a:lnTo>
                <a:lnTo>
                  <a:pt x="1668" y="1046"/>
                </a:lnTo>
                <a:lnTo>
                  <a:pt x="1668" y="1048"/>
                </a:lnTo>
                <a:lnTo>
                  <a:pt x="1668" y="1048"/>
                </a:lnTo>
                <a:lnTo>
                  <a:pt x="1664" y="1050"/>
                </a:lnTo>
                <a:lnTo>
                  <a:pt x="1664" y="1050"/>
                </a:lnTo>
                <a:close/>
                <a:moveTo>
                  <a:pt x="1670" y="1040"/>
                </a:moveTo>
                <a:lnTo>
                  <a:pt x="1670" y="1040"/>
                </a:lnTo>
                <a:lnTo>
                  <a:pt x="1670" y="1040"/>
                </a:lnTo>
                <a:lnTo>
                  <a:pt x="1670" y="1040"/>
                </a:lnTo>
                <a:lnTo>
                  <a:pt x="1678" y="1038"/>
                </a:lnTo>
                <a:lnTo>
                  <a:pt x="1678" y="1038"/>
                </a:lnTo>
                <a:lnTo>
                  <a:pt x="1678" y="1036"/>
                </a:lnTo>
                <a:lnTo>
                  <a:pt x="1678" y="1036"/>
                </a:lnTo>
                <a:lnTo>
                  <a:pt x="1678" y="1036"/>
                </a:lnTo>
                <a:lnTo>
                  <a:pt x="1678" y="1036"/>
                </a:lnTo>
                <a:lnTo>
                  <a:pt x="1678" y="1038"/>
                </a:lnTo>
                <a:lnTo>
                  <a:pt x="1678" y="1038"/>
                </a:lnTo>
                <a:lnTo>
                  <a:pt x="1670" y="1040"/>
                </a:lnTo>
                <a:lnTo>
                  <a:pt x="1670" y="1040"/>
                </a:lnTo>
                <a:close/>
                <a:moveTo>
                  <a:pt x="1708" y="1062"/>
                </a:moveTo>
                <a:lnTo>
                  <a:pt x="1708" y="1062"/>
                </a:lnTo>
                <a:lnTo>
                  <a:pt x="1708" y="1062"/>
                </a:lnTo>
                <a:lnTo>
                  <a:pt x="1708" y="1062"/>
                </a:lnTo>
                <a:lnTo>
                  <a:pt x="1712" y="1056"/>
                </a:lnTo>
                <a:lnTo>
                  <a:pt x="1712" y="1056"/>
                </a:lnTo>
                <a:lnTo>
                  <a:pt x="1712" y="1056"/>
                </a:lnTo>
                <a:lnTo>
                  <a:pt x="1690" y="1058"/>
                </a:lnTo>
                <a:lnTo>
                  <a:pt x="1690" y="1058"/>
                </a:lnTo>
                <a:lnTo>
                  <a:pt x="1684" y="1058"/>
                </a:lnTo>
                <a:lnTo>
                  <a:pt x="1684" y="1058"/>
                </a:lnTo>
                <a:lnTo>
                  <a:pt x="1678" y="1056"/>
                </a:lnTo>
                <a:lnTo>
                  <a:pt x="1674" y="1058"/>
                </a:lnTo>
                <a:lnTo>
                  <a:pt x="1674" y="1058"/>
                </a:lnTo>
                <a:lnTo>
                  <a:pt x="1678" y="1056"/>
                </a:lnTo>
                <a:lnTo>
                  <a:pt x="1684" y="1058"/>
                </a:lnTo>
                <a:lnTo>
                  <a:pt x="1684" y="1058"/>
                </a:lnTo>
                <a:lnTo>
                  <a:pt x="1690" y="1058"/>
                </a:lnTo>
                <a:lnTo>
                  <a:pt x="1690" y="1058"/>
                </a:lnTo>
                <a:lnTo>
                  <a:pt x="1712" y="1056"/>
                </a:lnTo>
                <a:lnTo>
                  <a:pt x="1712" y="1056"/>
                </a:lnTo>
                <a:lnTo>
                  <a:pt x="1708" y="1062"/>
                </a:lnTo>
                <a:lnTo>
                  <a:pt x="1708" y="1062"/>
                </a:lnTo>
                <a:close/>
                <a:moveTo>
                  <a:pt x="1704" y="1038"/>
                </a:moveTo>
                <a:lnTo>
                  <a:pt x="1704" y="1038"/>
                </a:lnTo>
                <a:lnTo>
                  <a:pt x="1708" y="1038"/>
                </a:lnTo>
                <a:lnTo>
                  <a:pt x="1708" y="1038"/>
                </a:lnTo>
                <a:lnTo>
                  <a:pt x="1702" y="1040"/>
                </a:lnTo>
                <a:lnTo>
                  <a:pt x="1696" y="1040"/>
                </a:lnTo>
                <a:lnTo>
                  <a:pt x="1696" y="1040"/>
                </a:lnTo>
                <a:lnTo>
                  <a:pt x="1702" y="1040"/>
                </a:lnTo>
                <a:lnTo>
                  <a:pt x="1708" y="1038"/>
                </a:lnTo>
                <a:lnTo>
                  <a:pt x="1708" y="1038"/>
                </a:lnTo>
                <a:lnTo>
                  <a:pt x="1704" y="1038"/>
                </a:lnTo>
                <a:lnTo>
                  <a:pt x="1704" y="1038"/>
                </a:lnTo>
                <a:close/>
                <a:moveTo>
                  <a:pt x="1704" y="1046"/>
                </a:moveTo>
                <a:lnTo>
                  <a:pt x="1704" y="1046"/>
                </a:lnTo>
                <a:lnTo>
                  <a:pt x="1704" y="1046"/>
                </a:lnTo>
                <a:lnTo>
                  <a:pt x="1704" y="1046"/>
                </a:lnTo>
                <a:lnTo>
                  <a:pt x="1708" y="1048"/>
                </a:lnTo>
                <a:lnTo>
                  <a:pt x="1708" y="1048"/>
                </a:lnTo>
                <a:lnTo>
                  <a:pt x="1706" y="1050"/>
                </a:lnTo>
                <a:lnTo>
                  <a:pt x="1706" y="1050"/>
                </a:lnTo>
                <a:lnTo>
                  <a:pt x="1706" y="1050"/>
                </a:lnTo>
                <a:lnTo>
                  <a:pt x="1706" y="1050"/>
                </a:lnTo>
                <a:lnTo>
                  <a:pt x="1708" y="1048"/>
                </a:lnTo>
                <a:lnTo>
                  <a:pt x="1708" y="1048"/>
                </a:lnTo>
                <a:lnTo>
                  <a:pt x="1704" y="1046"/>
                </a:lnTo>
                <a:lnTo>
                  <a:pt x="1704" y="1046"/>
                </a:lnTo>
                <a:close/>
                <a:moveTo>
                  <a:pt x="1716" y="1020"/>
                </a:moveTo>
                <a:lnTo>
                  <a:pt x="1716" y="1020"/>
                </a:lnTo>
                <a:lnTo>
                  <a:pt x="1712" y="1018"/>
                </a:lnTo>
                <a:lnTo>
                  <a:pt x="1710" y="1016"/>
                </a:lnTo>
                <a:lnTo>
                  <a:pt x="1706" y="1016"/>
                </a:lnTo>
                <a:lnTo>
                  <a:pt x="1702" y="1020"/>
                </a:lnTo>
                <a:lnTo>
                  <a:pt x="1702" y="1020"/>
                </a:lnTo>
                <a:lnTo>
                  <a:pt x="1694" y="1022"/>
                </a:lnTo>
                <a:lnTo>
                  <a:pt x="1694" y="1022"/>
                </a:lnTo>
                <a:lnTo>
                  <a:pt x="1688" y="1026"/>
                </a:lnTo>
                <a:lnTo>
                  <a:pt x="1688" y="1026"/>
                </a:lnTo>
                <a:lnTo>
                  <a:pt x="1688" y="1026"/>
                </a:lnTo>
                <a:lnTo>
                  <a:pt x="1688" y="1026"/>
                </a:lnTo>
                <a:lnTo>
                  <a:pt x="1694" y="1022"/>
                </a:lnTo>
                <a:lnTo>
                  <a:pt x="1694" y="1022"/>
                </a:lnTo>
                <a:lnTo>
                  <a:pt x="1702" y="1020"/>
                </a:lnTo>
                <a:lnTo>
                  <a:pt x="1702" y="1020"/>
                </a:lnTo>
                <a:lnTo>
                  <a:pt x="1706" y="1016"/>
                </a:lnTo>
                <a:lnTo>
                  <a:pt x="1710" y="1016"/>
                </a:lnTo>
                <a:lnTo>
                  <a:pt x="1712" y="1018"/>
                </a:lnTo>
                <a:lnTo>
                  <a:pt x="1716" y="1020"/>
                </a:lnTo>
                <a:lnTo>
                  <a:pt x="1716" y="1020"/>
                </a:lnTo>
                <a:lnTo>
                  <a:pt x="1716" y="1020"/>
                </a:lnTo>
                <a:lnTo>
                  <a:pt x="1716" y="1020"/>
                </a:lnTo>
                <a:close/>
                <a:moveTo>
                  <a:pt x="1738" y="1020"/>
                </a:moveTo>
                <a:lnTo>
                  <a:pt x="1738" y="1020"/>
                </a:lnTo>
                <a:lnTo>
                  <a:pt x="1736" y="1020"/>
                </a:lnTo>
                <a:lnTo>
                  <a:pt x="1736" y="1020"/>
                </a:lnTo>
                <a:lnTo>
                  <a:pt x="1740" y="1018"/>
                </a:lnTo>
                <a:lnTo>
                  <a:pt x="1740" y="1018"/>
                </a:lnTo>
                <a:lnTo>
                  <a:pt x="1736" y="1016"/>
                </a:lnTo>
                <a:lnTo>
                  <a:pt x="1736" y="1016"/>
                </a:lnTo>
                <a:lnTo>
                  <a:pt x="1736" y="1016"/>
                </a:lnTo>
                <a:lnTo>
                  <a:pt x="1736" y="1016"/>
                </a:lnTo>
                <a:lnTo>
                  <a:pt x="1740" y="1018"/>
                </a:lnTo>
                <a:lnTo>
                  <a:pt x="1740" y="1018"/>
                </a:lnTo>
                <a:lnTo>
                  <a:pt x="1738" y="1020"/>
                </a:lnTo>
                <a:lnTo>
                  <a:pt x="1738" y="1020"/>
                </a:lnTo>
                <a:close/>
                <a:moveTo>
                  <a:pt x="1798" y="1260"/>
                </a:moveTo>
                <a:lnTo>
                  <a:pt x="1798" y="1260"/>
                </a:lnTo>
                <a:lnTo>
                  <a:pt x="1798" y="1260"/>
                </a:lnTo>
                <a:lnTo>
                  <a:pt x="1798" y="1260"/>
                </a:lnTo>
                <a:lnTo>
                  <a:pt x="1800" y="1262"/>
                </a:lnTo>
                <a:lnTo>
                  <a:pt x="1800" y="1262"/>
                </a:lnTo>
                <a:lnTo>
                  <a:pt x="1798" y="1264"/>
                </a:lnTo>
                <a:lnTo>
                  <a:pt x="1798" y="1264"/>
                </a:lnTo>
                <a:lnTo>
                  <a:pt x="1798" y="1264"/>
                </a:lnTo>
                <a:lnTo>
                  <a:pt x="1798" y="1264"/>
                </a:lnTo>
                <a:lnTo>
                  <a:pt x="1800" y="1262"/>
                </a:lnTo>
                <a:lnTo>
                  <a:pt x="1800" y="1262"/>
                </a:lnTo>
                <a:lnTo>
                  <a:pt x="1798" y="1260"/>
                </a:lnTo>
                <a:lnTo>
                  <a:pt x="1798" y="1260"/>
                </a:lnTo>
                <a:close/>
                <a:moveTo>
                  <a:pt x="1796" y="1224"/>
                </a:moveTo>
                <a:lnTo>
                  <a:pt x="1796" y="1224"/>
                </a:lnTo>
                <a:lnTo>
                  <a:pt x="1796" y="1224"/>
                </a:lnTo>
                <a:lnTo>
                  <a:pt x="1796" y="1224"/>
                </a:lnTo>
                <a:lnTo>
                  <a:pt x="1796" y="1224"/>
                </a:lnTo>
                <a:lnTo>
                  <a:pt x="1796" y="1224"/>
                </a:lnTo>
                <a:lnTo>
                  <a:pt x="1796" y="1224"/>
                </a:lnTo>
                <a:lnTo>
                  <a:pt x="1796" y="1224"/>
                </a:lnTo>
                <a:lnTo>
                  <a:pt x="1794" y="1220"/>
                </a:lnTo>
                <a:lnTo>
                  <a:pt x="1790" y="1222"/>
                </a:lnTo>
                <a:lnTo>
                  <a:pt x="1790" y="1222"/>
                </a:lnTo>
                <a:lnTo>
                  <a:pt x="1790" y="1222"/>
                </a:lnTo>
                <a:lnTo>
                  <a:pt x="1790" y="1222"/>
                </a:lnTo>
                <a:lnTo>
                  <a:pt x="1794" y="1220"/>
                </a:lnTo>
                <a:lnTo>
                  <a:pt x="1796" y="1224"/>
                </a:lnTo>
                <a:lnTo>
                  <a:pt x="1796" y="1224"/>
                </a:lnTo>
                <a:lnTo>
                  <a:pt x="1796" y="1224"/>
                </a:lnTo>
                <a:lnTo>
                  <a:pt x="1796" y="1224"/>
                </a:lnTo>
                <a:close/>
                <a:moveTo>
                  <a:pt x="1976" y="1060"/>
                </a:moveTo>
                <a:lnTo>
                  <a:pt x="1976" y="1060"/>
                </a:lnTo>
                <a:lnTo>
                  <a:pt x="1962" y="1062"/>
                </a:lnTo>
                <a:lnTo>
                  <a:pt x="1962" y="1062"/>
                </a:lnTo>
                <a:lnTo>
                  <a:pt x="1944" y="1056"/>
                </a:lnTo>
                <a:lnTo>
                  <a:pt x="1944" y="1056"/>
                </a:lnTo>
                <a:lnTo>
                  <a:pt x="1964" y="1048"/>
                </a:lnTo>
                <a:lnTo>
                  <a:pt x="1964" y="1048"/>
                </a:lnTo>
                <a:lnTo>
                  <a:pt x="1976" y="1060"/>
                </a:lnTo>
                <a:lnTo>
                  <a:pt x="1976" y="1060"/>
                </a:lnTo>
                <a:close/>
                <a:moveTo>
                  <a:pt x="1956" y="1064"/>
                </a:moveTo>
                <a:lnTo>
                  <a:pt x="1956" y="1064"/>
                </a:lnTo>
                <a:lnTo>
                  <a:pt x="1956" y="1064"/>
                </a:lnTo>
                <a:lnTo>
                  <a:pt x="1956" y="1064"/>
                </a:lnTo>
                <a:lnTo>
                  <a:pt x="1956" y="1064"/>
                </a:lnTo>
                <a:lnTo>
                  <a:pt x="1954" y="1068"/>
                </a:lnTo>
                <a:lnTo>
                  <a:pt x="1954" y="1068"/>
                </a:lnTo>
                <a:lnTo>
                  <a:pt x="1954" y="1068"/>
                </a:lnTo>
                <a:lnTo>
                  <a:pt x="1954" y="1068"/>
                </a:lnTo>
                <a:lnTo>
                  <a:pt x="1956" y="1064"/>
                </a:lnTo>
                <a:lnTo>
                  <a:pt x="1956" y="1064"/>
                </a:lnTo>
                <a:lnTo>
                  <a:pt x="1956" y="1064"/>
                </a:lnTo>
                <a:lnTo>
                  <a:pt x="1956" y="1064"/>
                </a:lnTo>
                <a:close/>
                <a:moveTo>
                  <a:pt x="1944" y="1036"/>
                </a:moveTo>
                <a:lnTo>
                  <a:pt x="1944" y="1036"/>
                </a:lnTo>
                <a:lnTo>
                  <a:pt x="1944" y="1036"/>
                </a:lnTo>
                <a:lnTo>
                  <a:pt x="1944" y="1036"/>
                </a:lnTo>
                <a:lnTo>
                  <a:pt x="1942" y="1042"/>
                </a:lnTo>
                <a:lnTo>
                  <a:pt x="1938" y="1042"/>
                </a:lnTo>
                <a:lnTo>
                  <a:pt x="1938" y="1042"/>
                </a:lnTo>
                <a:lnTo>
                  <a:pt x="1938" y="1042"/>
                </a:lnTo>
                <a:lnTo>
                  <a:pt x="1938" y="1042"/>
                </a:lnTo>
                <a:lnTo>
                  <a:pt x="1942" y="1042"/>
                </a:lnTo>
                <a:lnTo>
                  <a:pt x="1944" y="1036"/>
                </a:lnTo>
                <a:lnTo>
                  <a:pt x="1944" y="1036"/>
                </a:lnTo>
                <a:close/>
                <a:moveTo>
                  <a:pt x="1938" y="1052"/>
                </a:moveTo>
                <a:lnTo>
                  <a:pt x="1938" y="1052"/>
                </a:lnTo>
                <a:lnTo>
                  <a:pt x="1930" y="1058"/>
                </a:lnTo>
                <a:lnTo>
                  <a:pt x="1930" y="1058"/>
                </a:lnTo>
                <a:lnTo>
                  <a:pt x="1912" y="1052"/>
                </a:lnTo>
                <a:lnTo>
                  <a:pt x="1912" y="1052"/>
                </a:lnTo>
                <a:lnTo>
                  <a:pt x="1922" y="1050"/>
                </a:lnTo>
                <a:lnTo>
                  <a:pt x="1922" y="1050"/>
                </a:lnTo>
                <a:lnTo>
                  <a:pt x="1922" y="1044"/>
                </a:lnTo>
                <a:lnTo>
                  <a:pt x="1922" y="1044"/>
                </a:lnTo>
                <a:lnTo>
                  <a:pt x="1926" y="1046"/>
                </a:lnTo>
                <a:lnTo>
                  <a:pt x="1930" y="1048"/>
                </a:lnTo>
                <a:lnTo>
                  <a:pt x="1938" y="1052"/>
                </a:lnTo>
                <a:lnTo>
                  <a:pt x="1938" y="1052"/>
                </a:lnTo>
                <a:close/>
                <a:moveTo>
                  <a:pt x="1908" y="1044"/>
                </a:moveTo>
                <a:lnTo>
                  <a:pt x="1908" y="1044"/>
                </a:lnTo>
                <a:lnTo>
                  <a:pt x="1912" y="1046"/>
                </a:lnTo>
                <a:lnTo>
                  <a:pt x="1912" y="1046"/>
                </a:lnTo>
                <a:lnTo>
                  <a:pt x="1908" y="1048"/>
                </a:lnTo>
                <a:lnTo>
                  <a:pt x="1908" y="1048"/>
                </a:lnTo>
                <a:lnTo>
                  <a:pt x="1908" y="1048"/>
                </a:lnTo>
                <a:lnTo>
                  <a:pt x="1908" y="1048"/>
                </a:lnTo>
                <a:lnTo>
                  <a:pt x="1912" y="1046"/>
                </a:lnTo>
                <a:lnTo>
                  <a:pt x="1912" y="1046"/>
                </a:lnTo>
                <a:lnTo>
                  <a:pt x="1908" y="1044"/>
                </a:lnTo>
                <a:lnTo>
                  <a:pt x="1908" y="1044"/>
                </a:lnTo>
                <a:close/>
                <a:moveTo>
                  <a:pt x="1914" y="1040"/>
                </a:moveTo>
                <a:lnTo>
                  <a:pt x="1914" y="1040"/>
                </a:lnTo>
                <a:lnTo>
                  <a:pt x="1916" y="1036"/>
                </a:lnTo>
                <a:lnTo>
                  <a:pt x="1916" y="1036"/>
                </a:lnTo>
                <a:lnTo>
                  <a:pt x="1916" y="1036"/>
                </a:lnTo>
                <a:lnTo>
                  <a:pt x="1916" y="1036"/>
                </a:lnTo>
                <a:lnTo>
                  <a:pt x="1914" y="1040"/>
                </a:lnTo>
                <a:lnTo>
                  <a:pt x="1914" y="1040"/>
                </a:lnTo>
                <a:lnTo>
                  <a:pt x="1914" y="1040"/>
                </a:lnTo>
                <a:lnTo>
                  <a:pt x="1914" y="1040"/>
                </a:lnTo>
                <a:close/>
                <a:moveTo>
                  <a:pt x="1914" y="1030"/>
                </a:moveTo>
                <a:lnTo>
                  <a:pt x="1914" y="1030"/>
                </a:lnTo>
                <a:lnTo>
                  <a:pt x="1926" y="1028"/>
                </a:lnTo>
                <a:lnTo>
                  <a:pt x="1926" y="1028"/>
                </a:lnTo>
                <a:lnTo>
                  <a:pt x="1930" y="1030"/>
                </a:lnTo>
                <a:lnTo>
                  <a:pt x="1930" y="1030"/>
                </a:lnTo>
                <a:lnTo>
                  <a:pt x="1930" y="1032"/>
                </a:lnTo>
                <a:lnTo>
                  <a:pt x="1928" y="1034"/>
                </a:lnTo>
                <a:lnTo>
                  <a:pt x="1928" y="1034"/>
                </a:lnTo>
                <a:lnTo>
                  <a:pt x="1930" y="1032"/>
                </a:lnTo>
                <a:lnTo>
                  <a:pt x="1930" y="1030"/>
                </a:lnTo>
                <a:lnTo>
                  <a:pt x="1930" y="1030"/>
                </a:lnTo>
                <a:lnTo>
                  <a:pt x="1926" y="1028"/>
                </a:lnTo>
                <a:lnTo>
                  <a:pt x="1926" y="1028"/>
                </a:lnTo>
                <a:lnTo>
                  <a:pt x="1914" y="1032"/>
                </a:lnTo>
                <a:lnTo>
                  <a:pt x="1914" y="1032"/>
                </a:lnTo>
                <a:lnTo>
                  <a:pt x="1906" y="1034"/>
                </a:lnTo>
                <a:lnTo>
                  <a:pt x="1906" y="1034"/>
                </a:lnTo>
                <a:lnTo>
                  <a:pt x="1906" y="1034"/>
                </a:lnTo>
                <a:lnTo>
                  <a:pt x="1906" y="1034"/>
                </a:lnTo>
                <a:lnTo>
                  <a:pt x="1914" y="1030"/>
                </a:lnTo>
                <a:lnTo>
                  <a:pt x="1914" y="1030"/>
                </a:lnTo>
                <a:close/>
                <a:moveTo>
                  <a:pt x="1892" y="1054"/>
                </a:moveTo>
                <a:lnTo>
                  <a:pt x="1892" y="1054"/>
                </a:lnTo>
                <a:lnTo>
                  <a:pt x="1894" y="1056"/>
                </a:lnTo>
                <a:lnTo>
                  <a:pt x="1894" y="1056"/>
                </a:lnTo>
                <a:lnTo>
                  <a:pt x="1890" y="1058"/>
                </a:lnTo>
                <a:lnTo>
                  <a:pt x="1886" y="1056"/>
                </a:lnTo>
                <a:lnTo>
                  <a:pt x="1886" y="1056"/>
                </a:lnTo>
                <a:lnTo>
                  <a:pt x="1890" y="1058"/>
                </a:lnTo>
                <a:lnTo>
                  <a:pt x="1894" y="1056"/>
                </a:lnTo>
                <a:lnTo>
                  <a:pt x="1894" y="1056"/>
                </a:lnTo>
                <a:lnTo>
                  <a:pt x="1892" y="1054"/>
                </a:lnTo>
                <a:lnTo>
                  <a:pt x="1892" y="1054"/>
                </a:lnTo>
                <a:lnTo>
                  <a:pt x="1892" y="1054"/>
                </a:lnTo>
                <a:lnTo>
                  <a:pt x="1892" y="1054"/>
                </a:lnTo>
                <a:close/>
                <a:moveTo>
                  <a:pt x="1890" y="1024"/>
                </a:moveTo>
                <a:lnTo>
                  <a:pt x="1890" y="1024"/>
                </a:lnTo>
                <a:lnTo>
                  <a:pt x="1890" y="1024"/>
                </a:lnTo>
                <a:lnTo>
                  <a:pt x="1890" y="1024"/>
                </a:lnTo>
                <a:lnTo>
                  <a:pt x="1886" y="1034"/>
                </a:lnTo>
                <a:lnTo>
                  <a:pt x="1886" y="1034"/>
                </a:lnTo>
                <a:lnTo>
                  <a:pt x="1886" y="1034"/>
                </a:lnTo>
                <a:lnTo>
                  <a:pt x="1886" y="1034"/>
                </a:lnTo>
                <a:lnTo>
                  <a:pt x="1890" y="1024"/>
                </a:lnTo>
                <a:lnTo>
                  <a:pt x="1890" y="1024"/>
                </a:lnTo>
                <a:close/>
                <a:moveTo>
                  <a:pt x="1872" y="1052"/>
                </a:moveTo>
                <a:lnTo>
                  <a:pt x="1872" y="1052"/>
                </a:lnTo>
                <a:lnTo>
                  <a:pt x="1880" y="1048"/>
                </a:lnTo>
                <a:lnTo>
                  <a:pt x="1884" y="1046"/>
                </a:lnTo>
                <a:lnTo>
                  <a:pt x="1884" y="1044"/>
                </a:lnTo>
                <a:lnTo>
                  <a:pt x="1884" y="1044"/>
                </a:lnTo>
                <a:lnTo>
                  <a:pt x="1884" y="1044"/>
                </a:lnTo>
                <a:lnTo>
                  <a:pt x="1884" y="1044"/>
                </a:lnTo>
                <a:lnTo>
                  <a:pt x="1884" y="1046"/>
                </a:lnTo>
                <a:lnTo>
                  <a:pt x="1880" y="1048"/>
                </a:lnTo>
                <a:lnTo>
                  <a:pt x="1872" y="1052"/>
                </a:lnTo>
                <a:lnTo>
                  <a:pt x="1872" y="1052"/>
                </a:lnTo>
                <a:lnTo>
                  <a:pt x="1872" y="1052"/>
                </a:lnTo>
                <a:lnTo>
                  <a:pt x="1872" y="1052"/>
                </a:lnTo>
                <a:close/>
                <a:moveTo>
                  <a:pt x="1876" y="1060"/>
                </a:moveTo>
                <a:lnTo>
                  <a:pt x="1876" y="1060"/>
                </a:lnTo>
                <a:lnTo>
                  <a:pt x="1890" y="1060"/>
                </a:lnTo>
                <a:lnTo>
                  <a:pt x="1896" y="1060"/>
                </a:lnTo>
                <a:lnTo>
                  <a:pt x="1902" y="1062"/>
                </a:lnTo>
                <a:lnTo>
                  <a:pt x="1902" y="1062"/>
                </a:lnTo>
                <a:lnTo>
                  <a:pt x="1906" y="1062"/>
                </a:lnTo>
                <a:lnTo>
                  <a:pt x="1910" y="1060"/>
                </a:lnTo>
                <a:lnTo>
                  <a:pt x="1910" y="1060"/>
                </a:lnTo>
                <a:lnTo>
                  <a:pt x="1916" y="1058"/>
                </a:lnTo>
                <a:lnTo>
                  <a:pt x="1916" y="1058"/>
                </a:lnTo>
                <a:lnTo>
                  <a:pt x="1926" y="1062"/>
                </a:lnTo>
                <a:lnTo>
                  <a:pt x="1934" y="1060"/>
                </a:lnTo>
                <a:lnTo>
                  <a:pt x="1934" y="1060"/>
                </a:lnTo>
                <a:lnTo>
                  <a:pt x="1944" y="1058"/>
                </a:lnTo>
                <a:lnTo>
                  <a:pt x="1944" y="1058"/>
                </a:lnTo>
                <a:lnTo>
                  <a:pt x="1934" y="1068"/>
                </a:lnTo>
                <a:lnTo>
                  <a:pt x="1934" y="1068"/>
                </a:lnTo>
                <a:lnTo>
                  <a:pt x="1940" y="1070"/>
                </a:lnTo>
                <a:lnTo>
                  <a:pt x="1948" y="1072"/>
                </a:lnTo>
                <a:lnTo>
                  <a:pt x="1954" y="1072"/>
                </a:lnTo>
                <a:lnTo>
                  <a:pt x="1958" y="1074"/>
                </a:lnTo>
                <a:lnTo>
                  <a:pt x="1960" y="1078"/>
                </a:lnTo>
                <a:lnTo>
                  <a:pt x="1960" y="1078"/>
                </a:lnTo>
                <a:lnTo>
                  <a:pt x="1936" y="1078"/>
                </a:lnTo>
                <a:lnTo>
                  <a:pt x="1936" y="1078"/>
                </a:lnTo>
                <a:lnTo>
                  <a:pt x="1934" y="1078"/>
                </a:lnTo>
                <a:lnTo>
                  <a:pt x="1934" y="1078"/>
                </a:lnTo>
                <a:lnTo>
                  <a:pt x="1928" y="1076"/>
                </a:lnTo>
                <a:lnTo>
                  <a:pt x="1922" y="1074"/>
                </a:lnTo>
                <a:lnTo>
                  <a:pt x="1908" y="1072"/>
                </a:lnTo>
                <a:lnTo>
                  <a:pt x="1908" y="1072"/>
                </a:lnTo>
                <a:lnTo>
                  <a:pt x="1900" y="1070"/>
                </a:lnTo>
                <a:lnTo>
                  <a:pt x="1900" y="1070"/>
                </a:lnTo>
                <a:lnTo>
                  <a:pt x="1886" y="1066"/>
                </a:lnTo>
                <a:lnTo>
                  <a:pt x="1880" y="1066"/>
                </a:lnTo>
                <a:lnTo>
                  <a:pt x="1872" y="1066"/>
                </a:lnTo>
                <a:lnTo>
                  <a:pt x="1872" y="1066"/>
                </a:lnTo>
                <a:lnTo>
                  <a:pt x="1872" y="1062"/>
                </a:lnTo>
                <a:lnTo>
                  <a:pt x="1874" y="1060"/>
                </a:lnTo>
                <a:lnTo>
                  <a:pt x="1876" y="1060"/>
                </a:lnTo>
                <a:lnTo>
                  <a:pt x="1876" y="1060"/>
                </a:lnTo>
                <a:close/>
                <a:moveTo>
                  <a:pt x="1798" y="1080"/>
                </a:moveTo>
                <a:lnTo>
                  <a:pt x="1798" y="1080"/>
                </a:lnTo>
                <a:lnTo>
                  <a:pt x="1798" y="1080"/>
                </a:lnTo>
                <a:lnTo>
                  <a:pt x="1798" y="1080"/>
                </a:lnTo>
                <a:lnTo>
                  <a:pt x="1818" y="1080"/>
                </a:lnTo>
                <a:lnTo>
                  <a:pt x="1818" y="1088"/>
                </a:lnTo>
                <a:lnTo>
                  <a:pt x="1818" y="1088"/>
                </a:lnTo>
                <a:lnTo>
                  <a:pt x="1816" y="1088"/>
                </a:lnTo>
                <a:lnTo>
                  <a:pt x="1816" y="1080"/>
                </a:lnTo>
                <a:lnTo>
                  <a:pt x="1798" y="1080"/>
                </a:lnTo>
                <a:close/>
                <a:moveTo>
                  <a:pt x="1804" y="1108"/>
                </a:moveTo>
                <a:lnTo>
                  <a:pt x="1804" y="1108"/>
                </a:lnTo>
                <a:lnTo>
                  <a:pt x="1810" y="1112"/>
                </a:lnTo>
                <a:lnTo>
                  <a:pt x="1810" y="1112"/>
                </a:lnTo>
                <a:lnTo>
                  <a:pt x="1816" y="1114"/>
                </a:lnTo>
                <a:lnTo>
                  <a:pt x="1816" y="1114"/>
                </a:lnTo>
                <a:lnTo>
                  <a:pt x="1818" y="1112"/>
                </a:lnTo>
                <a:lnTo>
                  <a:pt x="1818" y="1112"/>
                </a:lnTo>
                <a:lnTo>
                  <a:pt x="1816" y="1114"/>
                </a:lnTo>
                <a:lnTo>
                  <a:pt x="1816" y="1114"/>
                </a:lnTo>
                <a:lnTo>
                  <a:pt x="1810" y="1112"/>
                </a:lnTo>
                <a:lnTo>
                  <a:pt x="1810" y="1112"/>
                </a:lnTo>
                <a:lnTo>
                  <a:pt x="1804" y="1108"/>
                </a:lnTo>
                <a:lnTo>
                  <a:pt x="1804" y="1108"/>
                </a:lnTo>
                <a:lnTo>
                  <a:pt x="1804" y="1108"/>
                </a:lnTo>
                <a:lnTo>
                  <a:pt x="1804" y="1108"/>
                </a:lnTo>
                <a:close/>
                <a:moveTo>
                  <a:pt x="1808" y="1116"/>
                </a:moveTo>
                <a:lnTo>
                  <a:pt x="1808" y="1116"/>
                </a:lnTo>
                <a:lnTo>
                  <a:pt x="1808" y="1116"/>
                </a:lnTo>
                <a:lnTo>
                  <a:pt x="1808" y="1116"/>
                </a:lnTo>
                <a:lnTo>
                  <a:pt x="1810" y="1118"/>
                </a:lnTo>
                <a:lnTo>
                  <a:pt x="1810" y="1118"/>
                </a:lnTo>
                <a:lnTo>
                  <a:pt x="1804" y="1120"/>
                </a:lnTo>
                <a:lnTo>
                  <a:pt x="1804" y="1120"/>
                </a:lnTo>
                <a:lnTo>
                  <a:pt x="1804" y="1120"/>
                </a:lnTo>
                <a:lnTo>
                  <a:pt x="1804" y="1120"/>
                </a:lnTo>
                <a:lnTo>
                  <a:pt x="1810" y="1118"/>
                </a:lnTo>
                <a:lnTo>
                  <a:pt x="1810" y="1118"/>
                </a:lnTo>
                <a:lnTo>
                  <a:pt x="1808" y="1116"/>
                </a:lnTo>
                <a:lnTo>
                  <a:pt x="1808" y="1116"/>
                </a:lnTo>
                <a:close/>
                <a:moveTo>
                  <a:pt x="1818" y="1112"/>
                </a:moveTo>
                <a:lnTo>
                  <a:pt x="1818" y="1112"/>
                </a:lnTo>
                <a:lnTo>
                  <a:pt x="1818" y="1112"/>
                </a:lnTo>
                <a:lnTo>
                  <a:pt x="1818" y="1112"/>
                </a:lnTo>
                <a:lnTo>
                  <a:pt x="1818" y="1112"/>
                </a:lnTo>
                <a:lnTo>
                  <a:pt x="1818" y="1112"/>
                </a:lnTo>
                <a:lnTo>
                  <a:pt x="1818" y="1112"/>
                </a:lnTo>
                <a:lnTo>
                  <a:pt x="1818" y="1112"/>
                </a:lnTo>
                <a:close/>
                <a:moveTo>
                  <a:pt x="1840" y="1148"/>
                </a:moveTo>
                <a:lnTo>
                  <a:pt x="1840" y="1148"/>
                </a:lnTo>
                <a:lnTo>
                  <a:pt x="1842" y="1144"/>
                </a:lnTo>
                <a:lnTo>
                  <a:pt x="1842" y="1144"/>
                </a:lnTo>
                <a:lnTo>
                  <a:pt x="1836" y="1150"/>
                </a:lnTo>
                <a:lnTo>
                  <a:pt x="1836" y="1150"/>
                </a:lnTo>
                <a:lnTo>
                  <a:pt x="1830" y="1150"/>
                </a:lnTo>
                <a:lnTo>
                  <a:pt x="1830" y="1150"/>
                </a:lnTo>
                <a:lnTo>
                  <a:pt x="1818" y="1150"/>
                </a:lnTo>
                <a:lnTo>
                  <a:pt x="1818" y="1150"/>
                </a:lnTo>
                <a:lnTo>
                  <a:pt x="1818" y="1148"/>
                </a:lnTo>
                <a:lnTo>
                  <a:pt x="1818" y="1146"/>
                </a:lnTo>
                <a:lnTo>
                  <a:pt x="1822" y="1144"/>
                </a:lnTo>
                <a:lnTo>
                  <a:pt x="1822" y="1144"/>
                </a:lnTo>
                <a:lnTo>
                  <a:pt x="1840" y="1142"/>
                </a:lnTo>
                <a:lnTo>
                  <a:pt x="1840" y="1142"/>
                </a:lnTo>
                <a:lnTo>
                  <a:pt x="1844" y="1142"/>
                </a:lnTo>
                <a:lnTo>
                  <a:pt x="1848" y="1138"/>
                </a:lnTo>
                <a:lnTo>
                  <a:pt x="1848" y="1138"/>
                </a:lnTo>
                <a:lnTo>
                  <a:pt x="1850" y="1136"/>
                </a:lnTo>
                <a:lnTo>
                  <a:pt x="1854" y="1136"/>
                </a:lnTo>
                <a:lnTo>
                  <a:pt x="1860" y="1136"/>
                </a:lnTo>
                <a:lnTo>
                  <a:pt x="1860" y="1136"/>
                </a:lnTo>
                <a:lnTo>
                  <a:pt x="1858" y="1140"/>
                </a:lnTo>
                <a:lnTo>
                  <a:pt x="1858" y="1140"/>
                </a:lnTo>
                <a:lnTo>
                  <a:pt x="1860" y="1140"/>
                </a:lnTo>
                <a:lnTo>
                  <a:pt x="1860" y="1140"/>
                </a:lnTo>
                <a:lnTo>
                  <a:pt x="1840" y="1148"/>
                </a:lnTo>
                <a:lnTo>
                  <a:pt x="1840" y="1148"/>
                </a:lnTo>
                <a:close/>
                <a:moveTo>
                  <a:pt x="1834" y="1122"/>
                </a:moveTo>
                <a:lnTo>
                  <a:pt x="1834" y="1122"/>
                </a:lnTo>
                <a:lnTo>
                  <a:pt x="1834" y="1122"/>
                </a:lnTo>
                <a:lnTo>
                  <a:pt x="1834" y="1122"/>
                </a:lnTo>
                <a:lnTo>
                  <a:pt x="1852" y="1118"/>
                </a:lnTo>
                <a:lnTo>
                  <a:pt x="1852" y="1118"/>
                </a:lnTo>
                <a:lnTo>
                  <a:pt x="1852" y="1118"/>
                </a:lnTo>
                <a:lnTo>
                  <a:pt x="1852" y="1118"/>
                </a:lnTo>
                <a:lnTo>
                  <a:pt x="1834" y="1122"/>
                </a:lnTo>
                <a:lnTo>
                  <a:pt x="1834" y="1122"/>
                </a:lnTo>
                <a:close/>
                <a:moveTo>
                  <a:pt x="1856" y="1122"/>
                </a:moveTo>
                <a:lnTo>
                  <a:pt x="1856" y="1122"/>
                </a:lnTo>
                <a:lnTo>
                  <a:pt x="1862" y="1128"/>
                </a:lnTo>
                <a:lnTo>
                  <a:pt x="1862" y="1128"/>
                </a:lnTo>
                <a:lnTo>
                  <a:pt x="1862" y="1128"/>
                </a:lnTo>
                <a:lnTo>
                  <a:pt x="1862" y="1128"/>
                </a:lnTo>
                <a:lnTo>
                  <a:pt x="1856" y="1122"/>
                </a:lnTo>
                <a:lnTo>
                  <a:pt x="1856" y="1122"/>
                </a:lnTo>
                <a:lnTo>
                  <a:pt x="1840" y="1126"/>
                </a:lnTo>
                <a:lnTo>
                  <a:pt x="1840" y="1126"/>
                </a:lnTo>
                <a:lnTo>
                  <a:pt x="1840" y="1126"/>
                </a:lnTo>
                <a:lnTo>
                  <a:pt x="1840" y="1126"/>
                </a:lnTo>
                <a:lnTo>
                  <a:pt x="1856" y="1122"/>
                </a:lnTo>
                <a:lnTo>
                  <a:pt x="1856" y="1122"/>
                </a:lnTo>
                <a:close/>
                <a:moveTo>
                  <a:pt x="1888" y="1122"/>
                </a:moveTo>
                <a:lnTo>
                  <a:pt x="1888" y="1122"/>
                </a:lnTo>
                <a:lnTo>
                  <a:pt x="1884" y="1118"/>
                </a:lnTo>
                <a:lnTo>
                  <a:pt x="1884" y="1118"/>
                </a:lnTo>
                <a:lnTo>
                  <a:pt x="1888" y="1122"/>
                </a:lnTo>
                <a:lnTo>
                  <a:pt x="1888" y="1122"/>
                </a:lnTo>
                <a:lnTo>
                  <a:pt x="1880" y="1122"/>
                </a:lnTo>
                <a:lnTo>
                  <a:pt x="1874" y="1120"/>
                </a:lnTo>
                <a:lnTo>
                  <a:pt x="1874" y="1120"/>
                </a:lnTo>
                <a:lnTo>
                  <a:pt x="1874" y="1120"/>
                </a:lnTo>
                <a:lnTo>
                  <a:pt x="1874" y="1120"/>
                </a:lnTo>
                <a:lnTo>
                  <a:pt x="1880" y="1122"/>
                </a:lnTo>
                <a:lnTo>
                  <a:pt x="1888" y="1122"/>
                </a:lnTo>
                <a:lnTo>
                  <a:pt x="1888" y="1122"/>
                </a:lnTo>
                <a:close/>
                <a:moveTo>
                  <a:pt x="1882" y="1106"/>
                </a:moveTo>
                <a:lnTo>
                  <a:pt x="1882" y="1106"/>
                </a:lnTo>
                <a:lnTo>
                  <a:pt x="1882" y="1106"/>
                </a:lnTo>
                <a:lnTo>
                  <a:pt x="1882" y="1106"/>
                </a:lnTo>
                <a:lnTo>
                  <a:pt x="1886" y="1108"/>
                </a:lnTo>
                <a:lnTo>
                  <a:pt x="1886" y="1108"/>
                </a:lnTo>
                <a:lnTo>
                  <a:pt x="1892" y="1104"/>
                </a:lnTo>
                <a:lnTo>
                  <a:pt x="1892" y="1104"/>
                </a:lnTo>
                <a:lnTo>
                  <a:pt x="1892" y="1104"/>
                </a:lnTo>
                <a:lnTo>
                  <a:pt x="1892" y="1104"/>
                </a:lnTo>
                <a:lnTo>
                  <a:pt x="1886" y="1108"/>
                </a:lnTo>
                <a:lnTo>
                  <a:pt x="1886" y="1108"/>
                </a:lnTo>
                <a:lnTo>
                  <a:pt x="1882" y="1106"/>
                </a:lnTo>
                <a:lnTo>
                  <a:pt x="1882" y="1106"/>
                </a:lnTo>
                <a:close/>
                <a:moveTo>
                  <a:pt x="1904" y="1132"/>
                </a:moveTo>
                <a:lnTo>
                  <a:pt x="1904" y="1132"/>
                </a:lnTo>
                <a:lnTo>
                  <a:pt x="1898" y="1132"/>
                </a:lnTo>
                <a:lnTo>
                  <a:pt x="1898" y="1132"/>
                </a:lnTo>
                <a:lnTo>
                  <a:pt x="1904" y="1132"/>
                </a:lnTo>
                <a:lnTo>
                  <a:pt x="1904" y="1132"/>
                </a:lnTo>
                <a:lnTo>
                  <a:pt x="1904" y="1132"/>
                </a:lnTo>
                <a:lnTo>
                  <a:pt x="1904" y="1132"/>
                </a:lnTo>
                <a:close/>
                <a:moveTo>
                  <a:pt x="1898" y="1122"/>
                </a:moveTo>
                <a:lnTo>
                  <a:pt x="1898" y="1122"/>
                </a:lnTo>
                <a:lnTo>
                  <a:pt x="1902" y="1122"/>
                </a:lnTo>
                <a:lnTo>
                  <a:pt x="1904" y="1120"/>
                </a:lnTo>
                <a:lnTo>
                  <a:pt x="1904" y="1120"/>
                </a:lnTo>
                <a:lnTo>
                  <a:pt x="1906" y="1120"/>
                </a:lnTo>
                <a:lnTo>
                  <a:pt x="1906" y="1120"/>
                </a:lnTo>
                <a:lnTo>
                  <a:pt x="1902" y="1122"/>
                </a:lnTo>
                <a:lnTo>
                  <a:pt x="1898" y="1122"/>
                </a:lnTo>
                <a:lnTo>
                  <a:pt x="1898" y="1122"/>
                </a:lnTo>
                <a:close/>
                <a:moveTo>
                  <a:pt x="1910" y="1126"/>
                </a:moveTo>
                <a:lnTo>
                  <a:pt x="1910" y="1126"/>
                </a:lnTo>
                <a:lnTo>
                  <a:pt x="1910" y="1126"/>
                </a:lnTo>
                <a:lnTo>
                  <a:pt x="1910" y="1126"/>
                </a:lnTo>
                <a:lnTo>
                  <a:pt x="1916" y="1118"/>
                </a:lnTo>
                <a:lnTo>
                  <a:pt x="1916" y="1118"/>
                </a:lnTo>
                <a:lnTo>
                  <a:pt x="1910" y="1114"/>
                </a:lnTo>
                <a:lnTo>
                  <a:pt x="1910" y="1114"/>
                </a:lnTo>
                <a:lnTo>
                  <a:pt x="1910" y="1114"/>
                </a:lnTo>
                <a:lnTo>
                  <a:pt x="1910" y="1114"/>
                </a:lnTo>
                <a:lnTo>
                  <a:pt x="1916" y="1118"/>
                </a:lnTo>
                <a:lnTo>
                  <a:pt x="1916" y="1118"/>
                </a:lnTo>
                <a:lnTo>
                  <a:pt x="1916" y="1118"/>
                </a:lnTo>
                <a:lnTo>
                  <a:pt x="1916" y="1118"/>
                </a:lnTo>
                <a:lnTo>
                  <a:pt x="1916" y="1118"/>
                </a:lnTo>
                <a:lnTo>
                  <a:pt x="1916" y="1118"/>
                </a:lnTo>
                <a:lnTo>
                  <a:pt x="1916" y="1118"/>
                </a:lnTo>
                <a:lnTo>
                  <a:pt x="1916" y="1118"/>
                </a:lnTo>
                <a:lnTo>
                  <a:pt x="1916" y="1118"/>
                </a:lnTo>
                <a:lnTo>
                  <a:pt x="1916" y="1118"/>
                </a:lnTo>
                <a:lnTo>
                  <a:pt x="1910" y="1126"/>
                </a:lnTo>
                <a:lnTo>
                  <a:pt x="1910" y="1126"/>
                </a:lnTo>
                <a:close/>
                <a:moveTo>
                  <a:pt x="1912" y="1104"/>
                </a:moveTo>
                <a:lnTo>
                  <a:pt x="1912" y="1104"/>
                </a:lnTo>
                <a:lnTo>
                  <a:pt x="1922" y="1100"/>
                </a:lnTo>
                <a:lnTo>
                  <a:pt x="1922" y="1100"/>
                </a:lnTo>
                <a:lnTo>
                  <a:pt x="1894" y="1098"/>
                </a:lnTo>
                <a:lnTo>
                  <a:pt x="1894" y="1098"/>
                </a:lnTo>
                <a:lnTo>
                  <a:pt x="1894" y="1098"/>
                </a:lnTo>
                <a:lnTo>
                  <a:pt x="1894" y="1098"/>
                </a:lnTo>
                <a:lnTo>
                  <a:pt x="1922" y="1100"/>
                </a:lnTo>
                <a:lnTo>
                  <a:pt x="1922" y="1100"/>
                </a:lnTo>
                <a:lnTo>
                  <a:pt x="1912" y="1104"/>
                </a:lnTo>
                <a:lnTo>
                  <a:pt x="1912" y="1104"/>
                </a:lnTo>
                <a:close/>
                <a:moveTo>
                  <a:pt x="1870" y="1114"/>
                </a:moveTo>
                <a:lnTo>
                  <a:pt x="1870" y="1114"/>
                </a:lnTo>
                <a:lnTo>
                  <a:pt x="1874" y="1114"/>
                </a:lnTo>
                <a:lnTo>
                  <a:pt x="1874" y="1114"/>
                </a:lnTo>
                <a:lnTo>
                  <a:pt x="1876" y="1110"/>
                </a:lnTo>
                <a:lnTo>
                  <a:pt x="1876" y="1110"/>
                </a:lnTo>
                <a:lnTo>
                  <a:pt x="1876" y="1110"/>
                </a:lnTo>
                <a:lnTo>
                  <a:pt x="1876" y="1110"/>
                </a:lnTo>
                <a:lnTo>
                  <a:pt x="1874" y="1114"/>
                </a:lnTo>
                <a:lnTo>
                  <a:pt x="1874" y="1114"/>
                </a:lnTo>
                <a:lnTo>
                  <a:pt x="1870" y="1114"/>
                </a:lnTo>
                <a:lnTo>
                  <a:pt x="1870" y="1114"/>
                </a:lnTo>
                <a:lnTo>
                  <a:pt x="1870" y="1114"/>
                </a:lnTo>
                <a:lnTo>
                  <a:pt x="1870" y="1114"/>
                </a:lnTo>
                <a:close/>
                <a:moveTo>
                  <a:pt x="1832" y="1022"/>
                </a:moveTo>
                <a:lnTo>
                  <a:pt x="1832" y="1022"/>
                </a:lnTo>
                <a:lnTo>
                  <a:pt x="1840" y="1020"/>
                </a:lnTo>
                <a:lnTo>
                  <a:pt x="1850" y="1020"/>
                </a:lnTo>
                <a:lnTo>
                  <a:pt x="1850" y="1020"/>
                </a:lnTo>
                <a:lnTo>
                  <a:pt x="1862" y="1026"/>
                </a:lnTo>
                <a:lnTo>
                  <a:pt x="1862" y="1026"/>
                </a:lnTo>
                <a:lnTo>
                  <a:pt x="1856" y="1028"/>
                </a:lnTo>
                <a:lnTo>
                  <a:pt x="1856" y="1028"/>
                </a:lnTo>
                <a:lnTo>
                  <a:pt x="1846" y="1026"/>
                </a:lnTo>
                <a:lnTo>
                  <a:pt x="1836" y="1028"/>
                </a:lnTo>
                <a:lnTo>
                  <a:pt x="1836" y="1028"/>
                </a:lnTo>
                <a:lnTo>
                  <a:pt x="1832" y="1030"/>
                </a:lnTo>
                <a:lnTo>
                  <a:pt x="1828" y="1026"/>
                </a:lnTo>
                <a:lnTo>
                  <a:pt x="1828" y="1026"/>
                </a:lnTo>
                <a:lnTo>
                  <a:pt x="1828" y="1024"/>
                </a:lnTo>
                <a:lnTo>
                  <a:pt x="1832" y="1022"/>
                </a:lnTo>
                <a:lnTo>
                  <a:pt x="1832" y="1022"/>
                </a:lnTo>
                <a:close/>
                <a:moveTo>
                  <a:pt x="1826" y="1036"/>
                </a:moveTo>
                <a:lnTo>
                  <a:pt x="1826" y="1036"/>
                </a:lnTo>
                <a:lnTo>
                  <a:pt x="1826" y="1036"/>
                </a:lnTo>
                <a:lnTo>
                  <a:pt x="1826" y="1036"/>
                </a:lnTo>
                <a:lnTo>
                  <a:pt x="1820" y="1034"/>
                </a:lnTo>
                <a:lnTo>
                  <a:pt x="1816" y="1032"/>
                </a:lnTo>
                <a:lnTo>
                  <a:pt x="1816" y="1032"/>
                </a:lnTo>
                <a:lnTo>
                  <a:pt x="1820" y="1034"/>
                </a:lnTo>
                <a:lnTo>
                  <a:pt x="1826" y="1036"/>
                </a:lnTo>
                <a:lnTo>
                  <a:pt x="1826" y="1036"/>
                </a:lnTo>
                <a:close/>
                <a:moveTo>
                  <a:pt x="1814" y="990"/>
                </a:moveTo>
                <a:lnTo>
                  <a:pt x="1814" y="990"/>
                </a:lnTo>
                <a:lnTo>
                  <a:pt x="1818" y="990"/>
                </a:lnTo>
                <a:lnTo>
                  <a:pt x="1818" y="990"/>
                </a:lnTo>
                <a:lnTo>
                  <a:pt x="1816" y="990"/>
                </a:lnTo>
                <a:lnTo>
                  <a:pt x="1816" y="990"/>
                </a:lnTo>
                <a:lnTo>
                  <a:pt x="1814" y="990"/>
                </a:lnTo>
                <a:lnTo>
                  <a:pt x="1814" y="990"/>
                </a:lnTo>
                <a:lnTo>
                  <a:pt x="1814" y="990"/>
                </a:lnTo>
                <a:lnTo>
                  <a:pt x="1814" y="990"/>
                </a:lnTo>
                <a:close/>
                <a:moveTo>
                  <a:pt x="1816" y="1044"/>
                </a:moveTo>
                <a:lnTo>
                  <a:pt x="1816" y="1044"/>
                </a:lnTo>
                <a:lnTo>
                  <a:pt x="1812" y="1050"/>
                </a:lnTo>
                <a:lnTo>
                  <a:pt x="1812" y="1050"/>
                </a:lnTo>
                <a:lnTo>
                  <a:pt x="1828" y="1054"/>
                </a:lnTo>
                <a:lnTo>
                  <a:pt x="1828" y="1070"/>
                </a:lnTo>
                <a:lnTo>
                  <a:pt x="1828" y="1070"/>
                </a:lnTo>
                <a:lnTo>
                  <a:pt x="1814" y="1064"/>
                </a:lnTo>
                <a:lnTo>
                  <a:pt x="1800" y="1058"/>
                </a:lnTo>
                <a:lnTo>
                  <a:pt x="1800" y="1058"/>
                </a:lnTo>
                <a:lnTo>
                  <a:pt x="1802" y="1056"/>
                </a:lnTo>
                <a:lnTo>
                  <a:pt x="1802" y="1056"/>
                </a:lnTo>
                <a:lnTo>
                  <a:pt x="1816" y="1058"/>
                </a:lnTo>
                <a:lnTo>
                  <a:pt x="1816" y="1058"/>
                </a:lnTo>
                <a:lnTo>
                  <a:pt x="1818" y="1058"/>
                </a:lnTo>
                <a:lnTo>
                  <a:pt x="1818" y="1058"/>
                </a:lnTo>
                <a:lnTo>
                  <a:pt x="1812" y="1056"/>
                </a:lnTo>
                <a:lnTo>
                  <a:pt x="1806" y="1054"/>
                </a:lnTo>
                <a:lnTo>
                  <a:pt x="1800" y="1052"/>
                </a:lnTo>
                <a:lnTo>
                  <a:pt x="1796" y="1050"/>
                </a:lnTo>
                <a:lnTo>
                  <a:pt x="1796" y="1050"/>
                </a:lnTo>
                <a:lnTo>
                  <a:pt x="1814" y="1042"/>
                </a:lnTo>
                <a:lnTo>
                  <a:pt x="1814" y="1042"/>
                </a:lnTo>
                <a:lnTo>
                  <a:pt x="1816" y="1044"/>
                </a:lnTo>
                <a:lnTo>
                  <a:pt x="1816" y="1044"/>
                </a:lnTo>
                <a:close/>
                <a:moveTo>
                  <a:pt x="1806" y="1014"/>
                </a:moveTo>
                <a:lnTo>
                  <a:pt x="1806" y="1014"/>
                </a:lnTo>
                <a:lnTo>
                  <a:pt x="1806" y="1014"/>
                </a:lnTo>
                <a:lnTo>
                  <a:pt x="1806" y="1014"/>
                </a:lnTo>
                <a:lnTo>
                  <a:pt x="1808" y="1014"/>
                </a:lnTo>
                <a:lnTo>
                  <a:pt x="1808" y="1014"/>
                </a:lnTo>
                <a:lnTo>
                  <a:pt x="1804" y="1018"/>
                </a:lnTo>
                <a:lnTo>
                  <a:pt x="1804" y="1018"/>
                </a:lnTo>
                <a:lnTo>
                  <a:pt x="1804" y="1018"/>
                </a:lnTo>
                <a:lnTo>
                  <a:pt x="1804" y="1018"/>
                </a:lnTo>
                <a:lnTo>
                  <a:pt x="1808" y="1014"/>
                </a:lnTo>
                <a:lnTo>
                  <a:pt x="1808" y="1014"/>
                </a:lnTo>
                <a:lnTo>
                  <a:pt x="1806" y="1014"/>
                </a:lnTo>
                <a:lnTo>
                  <a:pt x="1806" y="1014"/>
                </a:lnTo>
                <a:close/>
                <a:moveTo>
                  <a:pt x="1804" y="1044"/>
                </a:moveTo>
                <a:lnTo>
                  <a:pt x="1804" y="1044"/>
                </a:lnTo>
                <a:lnTo>
                  <a:pt x="1802" y="1044"/>
                </a:lnTo>
                <a:lnTo>
                  <a:pt x="1802" y="1044"/>
                </a:lnTo>
                <a:lnTo>
                  <a:pt x="1804" y="1044"/>
                </a:lnTo>
                <a:lnTo>
                  <a:pt x="1804" y="1044"/>
                </a:lnTo>
                <a:lnTo>
                  <a:pt x="1800" y="1046"/>
                </a:lnTo>
                <a:lnTo>
                  <a:pt x="1794" y="1044"/>
                </a:lnTo>
                <a:lnTo>
                  <a:pt x="1794" y="1044"/>
                </a:lnTo>
                <a:lnTo>
                  <a:pt x="1800" y="1046"/>
                </a:lnTo>
                <a:lnTo>
                  <a:pt x="1804" y="1044"/>
                </a:lnTo>
                <a:lnTo>
                  <a:pt x="1804" y="1044"/>
                </a:lnTo>
                <a:close/>
                <a:moveTo>
                  <a:pt x="1796" y="1080"/>
                </a:moveTo>
                <a:lnTo>
                  <a:pt x="1796" y="1080"/>
                </a:lnTo>
                <a:lnTo>
                  <a:pt x="1796" y="1080"/>
                </a:lnTo>
                <a:lnTo>
                  <a:pt x="1796" y="1080"/>
                </a:lnTo>
                <a:lnTo>
                  <a:pt x="1792" y="1078"/>
                </a:lnTo>
                <a:lnTo>
                  <a:pt x="1788" y="1080"/>
                </a:lnTo>
                <a:lnTo>
                  <a:pt x="1788" y="1080"/>
                </a:lnTo>
                <a:lnTo>
                  <a:pt x="1788" y="1080"/>
                </a:lnTo>
                <a:lnTo>
                  <a:pt x="1788" y="1080"/>
                </a:lnTo>
                <a:lnTo>
                  <a:pt x="1792" y="1078"/>
                </a:lnTo>
                <a:lnTo>
                  <a:pt x="1796" y="1080"/>
                </a:lnTo>
                <a:lnTo>
                  <a:pt x="1796" y="1080"/>
                </a:lnTo>
                <a:close/>
                <a:moveTo>
                  <a:pt x="1784" y="1168"/>
                </a:moveTo>
                <a:lnTo>
                  <a:pt x="1784" y="1168"/>
                </a:lnTo>
                <a:lnTo>
                  <a:pt x="1784" y="1166"/>
                </a:lnTo>
                <a:lnTo>
                  <a:pt x="1784" y="1166"/>
                </a:lnTo>
                <a:lnTo>
                  <a:pt x="1784" y="1166"/>
                </a:lnTo>
                <a:lnTo>
                  <a:pt x="1784" y="1166"/>
                </a:lnTo>
                <a:lnTo>
                  <a:pt x="1784" y="1168"/>
                </a:lnTo>
                <a:lnTo>
                  <a:pt x="1784" y="1168"/>
                </a:lnTo>
                <a:lnTo>
                  <a:pt x="1772" y="1168"/>
                </a:lnTo>
                <a:lnTo>
                  <a:pt x="1772" y="1168"/>
                </a:lnTo>
                <a:lnTo>
                  <a:pt x="1772" y="1168"/>
                </a:lnTo>
                <a:lnTo>
                  <a:pt x="1772" y="1168"/>
                </a:lnTo>
                <a:lnTo>
                  <a:pt x="1784" y="1168"/>
                </a:lnTo>
                <a:lnTo>
                  <a:pt x="1784" y="1168"/>
                </a:lnTo>
                <a:close/>
                <a:moveTo>
                  <a:pt x="1782" y="1086"/>
                </a:moveTo>
                <a:lnTo>
                  <a:pt x="1782" y="1086"/>
                </a:lnTo>
                <a:lnTo>
                  <a:pt x="1784" y="1086"/>
                </a:lnTo>
                <a:lnTo>
                  <a:pt x="1784" y="1086"/>
                </a:lnTo>
                <a:lnTo>
                  <a:pt x="1786" y="1086"/>
                </a:lnTo>
                <a:lnTo>
                  <a:pt x="1786" y="1086"/>
                </a:lnTo>
                <a:lnTo>
                  <a:pt x="1786" y="1086"/>
                </a:lnTo>
                <a:lnTo>
                  <a:pt x="1782" y="1088"/>
                </a:lnTo>
                <a:lnTo>
                  <a:pt x="1782" y="1088"/>
                </a:lnTo>
                <a:lnTo>
                  <a:pt x="1782" y="1088"/>
                </a:lnTo>
                <a:lnTo>
                  <a:pt x="1782" y="1088"/>
                </a:lnTo>
                <a:lnTo>
                  <a:pt x="1786" y="1086"/>
                </a:lnTo>
                <a:lnTo>
                  <a:pt x="1786" y="1086"/>
                </a:lnTo>
                <a:lnTo>
                  <a:pt x="1786" y="1086"/>
                </a:lnTo>
                <a:lnTo>
                  <a:pt x="1782" y="1086"/>
                </a:lnTo>
                <a:lnTo>
                  <a:pt x="1782" y="1086"/>
                </a:lnTo>
                <a:close/>
                <a:moveTo>
                  <a:pt x="1758" y="1040"/>
                </a:moveTo>
                <a:lnTo>
                  <a:pt x="1758" y="1040"/>
                </a:lnTo>
                <a:lnTo>
                  <a:pt x="1758" y="1040"/>
                </a:lnTo>
                <a:lnTo>
                  <a:pt x="1758" y="1040"/>
                </a:lnTo>
                <a:lnTo>
                  <a:pt x="1760" y="1038"/>
                </a:lnTo>
                <a:lnTo>
                  <a:pt x="1760" y="1038"/>
                </a:lnTo>
                <a:lnTo>
                  <a:pt x="1758" y="1036"/>
                </a:lnTo>
                <a:lnTo>
                  <a:pt x="1758" y="1036"/>
                </a:lnTo>
                <a:lnTo>
                  <a:pt x="1758" y="1036"/>
                </a:lnTo>
                <a:lnTo>
                  <a:pt x="1758" y="1036"/>
                </a:lnTo>
                <a:lnTo>
                  <a:pt x="1762" y="1038"/>
                </a:lnTo>
                <a:lnTo>
                  <a:pt x="1762" y="1038"/>
                </a:lnTo>
                <a:lnTo>
                  <a:pt x="1758" y="1040"/>
                </a:lnTo>
                <a:lnTo>
                  <a:pt x="1758" y="1040"/>
                </a:lnTo>
                <a:close/>
                <a:moveTo>
                  <a:pt x="1714" y="1190"/>
                </a:moveTo>
                <a:lnTo>
                  <a:pt x="1714" y="1190"/>
                </a:lnTo>
                <a:lnTo>
                  <a:pt x="1712" y="1188"/>
                </a:lnTo>
                <a:lnTo>
                  <a:pt x="1712" y="1188"/>
                </a:lnTo>
                <a:lnTo>
                  <a:pt x="1712" y="1188"/>
                </a:lnTo>
                <a:lnTo>
                  <a:pt x="1712" y="1188"/>
                </a:lnTo>
                <a:lnTo>
                  <a:pt x="1714" y="1190"/>
                </a:lnTo>
                <a:lnTo>
                  <a:pt x="1714" y="1190"/>
                </a:lnTo>
                <a:lnTo>
                  <a:pt x="1714" y="1190"/>
                </a:lnTo>
                <a:lnTo>
                  <a:pt x="1714" y="1190"/>
                </a:lnTo>
                <a:close/>
                <a:moveTo>
                  <a:pt x="1728" y="1154"/>
                </a:moveTo>
                <a:lnTo>
                  <a:pt x="1728" y="1154"/>
                </a:lnTo>
                <a:lnTo>
                  <a:pt x="1728" y="1154"/>
                </a:lnTo>
                <a:lnTo>
                  <a:pt x="1728" y="1154"/>
                </a:lnTo>
                <a:lnTo>
                  <a:pt x="1722" y="1154"/>
                </a:lnTo>
                <a:lnTo>
                  <a:pt x="1722" y="1154"/>
                </a:lnTo>
                <a:lnTo>
                  <a:pt x="1728" y="1154"/>
                </a:lnTo>
                <a:lnTo>
                  <a:pt x="1728" y="1154"/>
                </a:lnTo>
                <a:close/>
                <a:moveTo>
                  <a:pt x="1714" y="1146"/>
                </a:moveTo>
                <a:lnTo>
                  <a:pt x="1714" y="1146"/>
                </a:lnTo>
                <a:lnTo>
                  <a:pt x="1714" y="1146"/>
                </a:lnTo>
                <a:lnTo>
                  <a:pt x="1714" y="1146"/>
                </a:lnTo>
                <a:lnTo>
                  <a:pt x="1712" y="1146"/>
                </a:lnTo>
                <a:lnTo>
                  <a:pt x="1712" y="1146"/>
                </a:lnTo>
                <a:lnTo>
                  <a:pt x="1714" y="1146"/>
                </a:lnTo>
                <a:lnTo>
                  <a:pt x="1714" y="1146"/>
                </a:lnTo>
                <a:lnTo>
                  <a:pt x="1714" y="1146"/>
                </a:lnTo>
                <a:lnTo>
                  <a:pt x="1714" y="1146"/>
                </a:lnTo>
                <a:close/>
                <a:moveTo>
                  <a:pt x="1698" y="1152"/>
                </a:moveTo>
                <a:lnTo>
                  <a:pt x="1698" y="1152"/>
                </a:lnTo>
                <a:lnTo>
                  <a:pt x="1698" y="1152"/>
                </a:lnTo>
                <a:lnTo>
                  <a:pt x="1698" y="1152"/>
                </a:lnTo>
                <a:lnTo>
                  <a:pt x="1708" y="1152"/>
                </a:lnTo>
                <a:lnTo>
                  <a:pt x="1710" y="1150"/>
                </a:lnTo>
                <a:lnTo>
                  <a:pt x="1712" y="1148"/>
                </a:lnTo>
                <a:lnTo>
                  <a:pt x="1712" y="1148"/>
                </a:lnTo>
                <a:lnTo>
                  <a:pt x="1712" y="1148"/>
                </a:lnTo>
                <a:lnTo>
                  <a:pt x="1712" y="1148"/>
                </a:lnTo>
                <a:lnTo>
                  <a:pt x="1712" y="1148"/>
                </a:lnTo>
                <a:lnTo>
                  <a:pt x="1712" y="1148"/>
                </a:lnTo>
                <a:lnTo>
                  <a:pt x="1710" y="1150"/>
                </a:lnTo>
                <a:lnTo>
                  <a:pt x="1708" y="1152"/>
                </a:lnTo>
                <a:lnTo>
                  <a:pt x="1698" y="1152"/>
                </a:lnTo>
                <a:lnTo>
                  <a:pt x="1698" y="1152"/>
                </a:lnTo>
                <a:close/>
                <a:moveTo>
                  <a:pt x="1702" y="1162"/>
                </a:moveTo>
                <a:lnTo>
                  <a:pt x="1702" y="1162"/>
                </a:lnTo>
                <a:lnTo>
                  <a:pt x="1702" y="1162"/>
                </a:lnTo>
                <a:lnTo>
                  <a:pt x="1702" y="1162"/>
                </a:lnTo>
                <a:lnTo>
                  <a:pt x="1712" y="1162"/>
                </a:lnTo>
                <a:lnTo>
                  <a:pt x="1712" y="1162"/>
                </a:lnTo>
                <a:lnTo>
                  <a:pt x="1712" y="1162"/>
                </a:lnTo>
                <a:lnTo>
                  <a:pt x="1712" y="1162"/>
                </a:lnTo>
                <a:lnTo>
                  <a:pt x="1702" y="1162"/>
                </a:lnTo>
                <a:lnTo>
                  <a:pt x="1702" y="1162"/>
                </a:lnTo>
                <a:close/>
                <a:moveTo>
                  <a:pt x="1692" y="1194"/>
                </a:moveTo>
                <a:lnTo>
                  <a:pt x="1692" y="1194"/>
                </a:lnTo>
                <a:lnTo>
                  <a:pt x="1698" y="1190"/>
                </a:lnTo>
                <a:lnTo>
                  <a:pt x="1698" y="1190"/>
                </a:lnTo>
                <a:lnTo>
                  <a:pt x="1708" y="1196"/>
                </a:lnTo>
                <a:lnTo>
                  <a:pt x="1708" y="1196"/>
                </a:lnTo>
                <a:lnTo>
                  <a:pt x="1708" y="1196"/>
                </a:lnTo>
                <a:lnTo>
                  <a:pt x="1708" y="1196"/>
                </a:lnTo>
                <a:lnTo>
                  <a:pt x="1692" y="1194"/>
                </a:lnTo>
                <a:lnTo>
                  <a:pt x="1692" y="1194"/>
                </a:lnTo>
                <a:close/>
                <a:moveTo>
                  <a:pt x="1746" y="1182"/>
                </a:moveTo>
                <a:lnTo>
                  <a:pt x="1746" y="1182"/>
                </a:lnTo>
                <a:lnTo>
                  <a:pt x="1750" y="1178"/>
                </a:lnTo>
                <a:lnTo>
                  <a:pt x="1756" y="1178"/>
                </a:lnTo>
                <a:lnTo>
                  <a:pt x="1756" y="1178"/>
                </a:lnTo>
                <a:lnTo>
                  <a:pt x="1762" y="1176"/>
                </a:lnTo>
                <a:lnTo>
                  <a:pt x="1762" y="1170"/>
                </a:lnTo>
                <a:lnTo>
                  <a:pt x="1762" y="1170"/>
                </a:lnTo>
                <a:lnTo>
                  <a:pt x="1764" y="1168"/>
                </a:lnTo>
                <a:lnTo>
                  <a:pt x="1766" y="1166"/>
                </a:lnTo>
                <a:lnTo>
                  <a:pt x="1766" y="1166"/>
                </a:lnTo>
                <a:lnTo>
                  <a:pt x="1776" y="1178"/>
                </a:lnTo>
                <a:lnTo>
                  <a:pt x="1776" y="1178"/>
                </a:lnTo>
                <a:lnTo>
                  <a:pt x="1764" y="1188"/>
                </a:lnTo>
                <a:lnTo>
                  <a:pt x="1764" y="1188"/>
                </a:lnTo>
                <a:lnTo>
                  <a:pt x="1746" y="1182"/>
                </a:lnTo>
                <a:lnTo>
                  <a:pt x="1746" y="1182"/>
                </a:lnTo>
                <a:close/>
                <a:moveTo>
                  <a:pt x="1758" y="1196"/>
                </a:moveTo>
                <a:lnTo>
                  <a:pt x="1758" y="1196"/>
                </a:lnTo>
                <a:lnTo>
                  <a:pt x="1758" y="1196"/>
                </a:lnTo>
                <a:lnTo>
                  <a:pt x="1758" y="1196"/>
                </a:lnTo>
                <a:lnTo>
                  <a:pt x="1758" y="1196"/>
                </a:lnTo>
                <a:lnTo>
                  <a:pt x="1758" y="1196"/>
                </a:lnTo>
                <a:lnTo>
                  <a:pt x="1758" y="1196"/>
                </a:lnTo>
                <a:lnTo>
                  <a:pt x="1758" y="1196"/>
                </a:lnTo>
                <a:lnTo>
                  <a:pt x="1758" y="1196"/>
                </a:lnTo>
                <a:lnTo>
                  <a:pt x="1758" y="1196"/>
                </a:lnTo>
                <a:lnTo>
                  <a:pt x="1758" y="1196"/>
                </a:lnTo>
                <a:lnTo>
                  <a:pt x="1758" y="1196"/>
                </a:lnTo>
                <a:close/>
                <a:moveTo>
                  <a:pt x="1768" y="1202"/>
                </a:moveTo>
                <a:lnTo>
                  <a:pt x="1768" y="1202"/>
                </a:lnTo>
                <a:lnTo>
                  <a:pt x="1764" y="1200"/>
                </a:lnTo>
                <a:lnTo>
                  <a:pt x="1764" y="1200"/>
                </a:lnTo>
                <a:lnTo>
                  <a:pt x="1772" y="1196"/>
                </a:lnTo>
                <a:lnTo>
                  <a:pt x="1772" y="1196"/>
                </a:lnTo>
                <a:lnTo>
                  <a:pt x="1778" y="1198"/>
                </a:lnTo>
                <a:lnTo>
                  <a:pt x="1778" y="1198"/>
                </a:lnTo>
                <a:lnTo>
                  <a:pt x="1768" y="1202"/>
                </a:lnTo>
                <a:lnTo>
                  <a:pt x="1768" y="1202"/>
                </a:lnTo>
                <a:close/>
                <a:moveTo>
                  <a:pt x="1784" y="1172"/>
                </a:moveTo>
                <a:lnTo>
                  <a:pt x="1784" y="1172"/>
                </a:lnTo>
                <a:lnTo>
                  <a:pt x="1784" y="1158"/>
                </a:lnTo>
                <a:lnTo>
                  <a:pt x="1784" y="1158"/>
                </a:lnTo>
                <a:lnTo>
                  <a:pt x="1788" y="1160"/>
                </a:lnTo>
                <a:lnTo>
                  <a:pt x="1788" y="1160"/>
                </a:lnTo>
                <a:lnTo>
                  <a:pt x="1808" y="1162"/>
                </a:lnTo>
                <a:lnTo>
                  <a:pt x="1808" y="1162"/>
                </a:lnTo>
                <a:lnTo>
                  <a:pt x="1802" y="1168"/>
                </a:lnTo>
                <a:lnTo>
                  <a:pt x="1802" y="1168"/>
                </a:lnTo>
                <a:lnTo>
                  <a:pt x="1800" y="1168"/>
                </a:lnTo>
                <a:lnTo>
                  <a:pt x="1800" y="1168"/>
                </a:lnTo>
                <a:lnTo>
                  <a:pt x="1796" y="1174"/>
                </a:lnTo>
                <a:lnTo>
                  <a:pt x="1796" y="1174"/>
                </a:lnTo>
                <a:lnTo>
                  <a:pt x="1796" y="1174"/>
                </a:lnTo>
                <a:lnTo>
                  <a:pt x="1796" y="1174"/>
                </a:lnTo>
                <a:lnTo>
                  <a:pt x="1788" y="1172"/>
                </a:lnTo>
                <a:lnTo>
                  <a:pt x="1784" y="1172"/>
                </a:lnTo>
                <a:lnTo>
                  <a:pt x="1784" y="1172"/>
                </a:lnTo>
                <a:close/>
                <a:moveTo>
                  <a:pt x="1828" y="1218"/>
                </a:moveTo>
                <a:lnTo>
                  <a:pt x="1828" y="1218"/>
                </a:lnTo>
                <a:lnTo>
                  <a:pt x="1828" y="1216"/>
                </a:lnTo>
                <a:lnTo>
                  <a:pt x="1828" y="1216"/>
                </a:lnTo>
                <a:lnTo>
                  <a:pt x="1828" y="1218"/>
                </a:lnTo>
                <a:lnTo>
                  <a:pt x="1828" y="1218"/>
                </a:lnTo>
                <a:close/>
                <a:moveTo>
                  <a:pt x="1976" y="1124"/>
                </a:moveTo>
                <a:lnTo>
                  <a:pt x="1976" y="1124"/>
                </a:lnTo>
                <a:lnTo>
                  <a:pt x="1968" y="1120"/>
                </a:lnTo>
                <a:lnTo>
                  <a:pt x="1968" y="1120"/>
                </a:lnTo>
                <a:lnTo>
                  <a:pt x="1958" y="1124"/>
                </a:lnTo>
                <a:lnTo>
                  <a:pt x="1950" y="1126"/>
                </a:lnTo>
                <a:lnTo>
                  <a:pt x="1950" y="1126"/>
                </a:lnTo>
                <a:lnTo>
                  <a:pt x="1944" y="1128"/>
                </a:lnTo>
                <a:lnTo>
                  <a:pt x="1940" y="1128"/>
                </a:lnTo>
                <a:lnTo>
                  <a:pt x="1930" y="1128"/>
                </a:lnTo>
                <a:lnTo>
                  <a:pt x="1930" y="1128"/>
                </a:lnTo>
                <a:lnTo>
                  <a:pt x="1920" y="1124"/>
                </a:lnTo>
                <a:lnTo>
                  <a:pt x="1918" y="1120"/>
                </a:lnTo>
                <a:lnTo>
                  <a:pt x="1916" y="1118"/>
                </a:lnTo>
                <a:lnTo>
                  <a:pt x="1916" y="1118"/>
                </a:lnTo>
                <a:lnTo>
                  <a:pt x="1934" y="1122"/>
                </a:lnTo>
                <a:lnTo>
                  <a:pt x="1934" y="1122"/>
                </a:lnTo>
                <a:lnTo>
                  <a:pt x="1936" y="1124"/>
                </a:lnTo>
                <a:lnTo>
                  <a:pt x="1940" y="1128"/>
                </a:lnTo>
                <a:lnTo>
                  <a:pt x="1940" y="1128"/>
                </a:lnTo>
                <a:lnTo>
                  <a:pt x="1942" y="1120"/>
                </a:lnTo>
                <a:lnTo>
                  <a:pt x="1942" y="1120"/>
                </a:lnTo>
                <a:lnTo>
                  <a:pt x="1956" y="1122"/>
                </a:lnTo>
                <a:lnTo>
                  <a:pt x="1956" y="1122"/>
                </a:lnTo>
                <a:lnTo>
                  <a:pt x="1958" y="1120"/>
                </a:lnTo>
                <a:lnTo>
                  <a:pt x="1958" y="1120"/>
                </a:lnTo>
                <a:lnTo>
                  <a:pt x="1952" y="1114"/>
                </a:lnTo>
                <a:lnTo>
                  <a:pt x="1952" y="1114"/>
                </a:lnTo>
                <a:lnTo>
                  <a:pt x="1960" y="1110"/>
                </a:lnTo>
                <a:lnTo>
                  <a:pt x="1960" y="1110"/>
                </a:lnTo>
                <a:lnTo>
                  <a:pt x="1962" y="1112"/>
                </a:lnTo>
                <a:lnTo>
                  <a:pt x="1962" y="1112"/>
                </a:lnTo>
                <a:lnTo>
                  <a:pt x="1966" y="1116"/>
                </a:lnTo>
                <a:lnTo>
                  <a:pt x="1968" y="1118"/>
                </a:lnTo>
                <a:lnTo>
                  <a:pt x="1974" y="1118"/>
                </a:lnTo>
                <a:lnTo>
                  <a:pt x="1974" y="1118"/>
                </a:lnTo>
                <a:lnTo>
                  <a:pt x="1976" y="1120"/>
                </a:lnTo>
                <a:lnTo>
                  <a:pt x="1978" y="1122"/>
                </a:lnTo>
                <a:lnTo>
                  <a:pt x="1978" y="1122"/>
                </a:lnTo>
                <a:lnTo>
                  <a:pt x="1976" y="1124"/>
                </a:lnTo>
                <a:lnTo>
                  <a:pt x="1976" y="1124"/>
                </a:lnTo>
                <a:close/>
                <a:moveTo>
                  <a:pt x="1976" y="1070"/>
                </a:moveTo>
                <a:lnTo>
                  <a:pt x="1976" y="1070"/>
                </a:lnTo>
                <a:lnTo>
                  <a:pt x="1976" y="1070"/>
                </a:lnTo>
                <a:lnTo>
                  <a:pt x="1976" y="1070"/>
                </a:lnTo>
                <a:lnTo>
                  <a:pt x="1984" y="1072"/>
                </a:lnTo>
                <a:lnTo>
                  <a:pt x="1990" y="1070"/>
                </a:lnTo>
                <a:lnTo>
                  <a:pt x="1990" y="1070"/>
                </a:lnTo>
                <a:lnTo>
                  <a:pt x="1990" y="1072"/>
                </a:lnTo>
                <a:lnTo>
                  <a:pt x="1990" y="1072"/>
                </a:lnTo>
                <a:lnTo>
                  <a:pt x="1984" y="1072"/>
                </a:lnTo>
                <a:lnTo>
                  <a:pt x="1976" y="1070"/>
                </a:lnTo>
                <a:lnTo>
                  <a:pt x="1976" y="1070"/>
                </a:lnTo>
                <a:close/>
                <a:moveTo>
                  <a:pt x="2010" y="1076"/>
                </a:moveTo>
                <a:lnTo>
                  <a:pt x="2010" y="1076"/>
                </a:lnTo>
                <a:lnTo>
                  <a:pt x="2010" y="1076"/>
                </a:lnTo>
                <a:lnTo>
                  <a:pt x="2010" y="1076"/>
                </a:lnTo>
                <a:lnTo>
                  <a:pt x="2014" y="1076"/>
                </a:lnTo>
                <a:lnTo>
                  <a:pt x="2014" y="1076"/>
                </a:lnTo>
                <a:lnTo>
                  <a:pt x="2010" y="1078"/>
                </a:lnTo>
                <a:lnTo>
                  <a:pt x="2010" y="1078"/>
                </a:lnTo>
                <a:lnTo>
                  <a:pt x="2010" y="1078"/>
                </a:lnTo>
                <a:lnTo>
                  <a:pt x="2010" y="1078"/>
                </a:lnTo>
                <a:lnTo>
                  <a:pt x="2014" y="1076"/>
                </a:lnTo>
                <a:lnTo>
                  <a:pt x="2014" y="1076"/>
                </a:lnTo>
                <a:lnTo>
                  <a:pt x="2010" y="1076"/>
                </a:lnTo>
                <a:lnTo>
                  <a:pt x="2010" y="1076"/>
                </a:lnTo>
                <a:close/>
                <a:moveTo>
                  <a:pt x="2006" y="1126"/>
                </a:moveTo>
                <a:lnTo>
                  <a:pt x="2006" y="1126"/>
                </a:lnTo>
                <a:lnTo>
                  <a:pt x="2006" y="1126"/>
                </a:lnTo>
                <a:lnTo>
                  <a:pt x="2006" y="1126"/>
                </a:lnTo>
                <a:lnTo>
                  <a:pt x="2024" y="1122"/>
                </a:lnTo>
                <a:lnTo>
                  <a:pt x="2024" y="1122"/>
                </a:lnTo>
                <a:lnTo>
                  <a:pt x="2018" y="1120"/>
                </a:lnTo>
                <a:lnTo>
                  <a:pt x="2012" y="1120"/>
                </a:lnTo>
                <a:lnTo>
                  <a:pt x="2012" y="1120"/>
                </a:lnTo>
                <a:lnTo>
                  <a:pt x="2018" y="1120"/>
                </a:lnTo>
                <a:lnTo>
                  <a:pt x="2024" y="1122"/>
                </a:lnTo>
                <a:lnTo>
                  <a:pt x="2024" y="1122"/>
                </a:lnTo>
                <a:lnTo>
                  <a:pt x="2006" y="1126"/>
                </a:lnTo>
                <a:lnTo>
                  <a:pt x="2006" y="1126"/>
                </a:lnTo>
                <a:close/>
                <a:moveTo>
                  <a:pt x="2030" y="1080"/>
                </a:moveTo>
                <a:lnTo>
                  <a:pt x="2030" y="1080"/>
                </a:lnTo>
                <a:lnTo>
                  <a:pt x="2030" y="1080"/>
                </a:lnTo>
                <a:lnTo>
                  <a:pt x="2032" y="1078"/>
                </a:lnTo>
                <a:lnTo>
                  <a:pt x="2032" y="1078"/>
                </a:lnTo>
                <a:lnTo>
                  <a:pt x="2030" y="1076"/>
                </a:lnTo>
                <a:lnTo>
                  <a:pt x="2030" y="1076"/>
                </a:lnTo>
                <a:lnTo>
                  <a:pt x="2028" y="1076"/>
                </a:lnTo>
                <a:lnTo>
                  <a:pt x="2028" y="1076"/>
                </a:lnTo>
                <a:lnTo>
                  <a:pt x="2030" y="1076"/>
                </a:lnTo>
                <a:lnTo>
                  <a:pt x="2030" y="1076"/>
                </a:lnTo>
                <a:lnTo>
                  <a:pt x="2032" y="1078"/>
                </a:lnTo>
                <a:lnTo>
                  <a:pt x="2032" y="1078"/>
                </a:lnTo>
                <a:lnTo>
                  <a:pt x="2030" y="1080"/>
                </a:lnTo>
                <a:lnTo>
                  <a:pt x="2030" y="1080"/>
                </a:lnTo>
                <a:close/>
                <a:moveTo>
                  <a:pt x="2050" y="1150"/>
                </a:moveTo>
                <a:lnTo>
                  <a:pt x="2050" y="1150"/>
                </a:lnTo>
                <a:lnTo>
                  <a:pt x="2050" y="1150"/>
                </a:lnTo>
                <a:lnTo>
                  <a:pt x="2050" y="1150"/>
                </a:lnTo>
                <a:lnTo>
                  <a:pt x="2058" y="1152"/>
                </a:lnTo>
                <a:lnTo>
                  <a:pt x="2064" y="1152"/>
                </a:lnTo>
                <a:lnTo>
                  <a:pt x="2064" y="1152"/>
                </a:lnTo>
                <a:lnTo>
                  <a:pt x="2064" y="1152"/>
                </a:lnTo>
                <a:lnTo>
                  <a:pt x="2064" y="1152"/>
                </a:lnTo>
                <a:lnTo>
                  <a:pt x="2058" y="1154"/>
                </a:lnTo>
                <a:lnTo>
                  <a:pt x="2050" y="1150"/>
                </a:lnTo>
                <a:lnTo>
                  <a:pt x="2050" y="1150"/>
                </a:lnTo>
                <a:close/>
                <a:moveTo>
                  <a:pt x="2098" y="1134"/>
                </a:moveTo>
                <a:lnTo>
                  <a:pt x="2098" y="1134"/>
                </a:lnTo>
                <a:lnTo>
                  <a:pt x="2098" y="1132"/>
                </a:lnTo>
                <a:lnTo>
                  <a:pt x="2098" y="1132"/>
                </a:lnTo>
                <a:lnTo>
                  <a:pt x="2094" y="1132"/>
                </a:lnTo>
                <a:lnTo>
                  <a:pt x="2094" y="1132"/>
                </a:lnTo>
                <a:lnTo>
                  <a:pt x="2098" y="1132"/>
                </a:lnTo>
                <a:lnTo>
                  <a:pt x="2098" y="1132"/>
                </a:lnTo>
                <a:lnTo>
                  <a:pt x="2098" y="1134"/>
                </a:lnTo>
                <a:lnTo>
                  <a:pt x="2098" y="1134"/>
                </a:lnTo>
                <a:close/>
                <a:moveTo>
                  <a:pt x="2112" y="1100"/>
                </a:moveTo>
                <a:lnTo>
                  <a:pt x="2112" y="1100"/>
                </a:lnTo>
                <a:lnTo>
                  <a:pt x="2114" y="1098"/>
                </a:lnTo>
                <a:lnTo>
                  <a:pt x="2114" y="1098"/>
                </a:lnTo>
                <a:lnTo>
                  <a:pt x="2114" y="1098"/>
                </a:lnTo>
                <a:lnTo>
                  <a:pt x="2112" y="1100"/>
                </a:lnTo>
                <a:lnTo>
                  <a:pt x="2112" y="1100"/>
                </a:lnTo>
                <a:close/>
                <a:moveTo>
                  <a:pt x="2160" y="1090"/>
                </a:moveTo>
                <a:lnTo>
                  <a:pt x="2160" y="1090"/>
                </a:lnTo>
                <a:lnTo>
                  <a:pt x="2168" y="1088"/>
                </a:lnTo>
                <a:lnTo>
                  <a:pt x="2168" y="1088"/>
                </a:lnTo>
                <a:lnTo>
                  <a:pt x="2160" y="1088"/>
                </a:lnTo>
                <a:lnTo>
                  <a:pt x="2160" y="1088"/>
                </a:lnTo>
                <a:lnTo>
                  <a:pt x="2168" y="1088"/>
                </a:lnTo>
                <a:lnTo>
                  <a:pt x="2168" y="1088"/>
                </a:lnTo>
                <a:lnTo>
                  <a:pt x="2160" y="1090"/>
                </a:lnTo>
                <a:lnTo>
                  <a:pt x="2160" y="1090"/>
                </a:lnTo>
                <a:close/>
                <a:moveTo>
                  <a:pt x="2188" y="1098"/>
                </a:moveTo>
                <a:lnTo>
                  <a:pt x="2188" y="1098"/>
                </a:lnTo>
                <a:lnTo>
                  <a:pt x="2192" y="1098"/>
                </a:lnTo>
                <a:lnTo>
                  <a:pt x="2194" y="1094"/>
                </a:lnTo>
                <a:lnTo>
                  <a:pt x="2194" y="1094"/>
                </a:lnTo>
                <a:lnTo>
                  <a:pt x="2194" y="1094"/>
                </a:lnTo>
                <a:lnTo>
                  <a:pt x="2194" y="1094"/>
                </a:lnTo>
                <a:lnTo>
                  <a:pt x="2192" y="1098"/>
                </a:lnTo>
                <a:lnTo>
                  <a:pt x="2188" y="1098"/>
                </a:lnTo>
                <a:lnTo>
                  <a:pt x="2188" y="1098"/>
                </a:lnTo>
                <a:close/>
                <a:moveTo>
                  <a:pt x="2322" y="1144"/>
                </a:moveTo>
                <a:lnTo>
                  <a:pt x="2322" y="1144"/>
                </a:lnTo>
                <a:lnTo>
                  <a:pt x="2322" y="1144"/>
                </a:lnTo>
                <a:lnTo>
                  <a:pt x="2322" y="1148"/>
                </a:lnTo>
                <a:lnTo>
                  <a:pt x="2322" y="1148"/>
                </a:lnTo>
                <a:lnTo>
                  <a:pt x="2312" y="1148"/>
                </a:lnTo>
                <a:lnTo>
                  <a:pt x="2312" y="1148"/>
                </a:lnTo>
                <a:lnTo>
                  <a:pt x="2312" y="1148"/>
                </a:lnTo>
                <a:lnTo>
                  <a:pt x="2312" y="1148"/>
                </a:lnTo>
                <a:lnTo>
                  <a:pt x="2322" y="1148"/>
                </a:lnTo>
                <a:lnTo>
                  <a:pt x="2322" y="1148"/>
                </a:lnTo>
                <a:lnTo>
                  <a:pt x="2322" y="1144"/>
                </a:lnTo>
                <a:lnTo>
                  <a:pt x="2322" y="1144"/>
                </a:lnTo>
                <a:close/>
                <a:moveTo>
                  <a:pt x="2312" y="1088"/>
                </a:moveTo>
                <a:lnTo>
                  <a:pt x="2312" y="1088"/>
                </a:lnTo>
                <a:lnTo>
                  <a:pt x="2318" y="1090"/>
                </a:lnTo>
                <a:lnTo>
                  <a:pt x="2322" y="1088"/>
                </a:lnTo>
                <a:lnTo>
                  <a:pt x="2322" y="1088"/>
                </a:lnTo>
                <a:lnTo>
                  <a:pt x="2320" y="1086"/>
                </a:lnTo>
                <a:lnTo>
                  <a:pt x="2320" y="1086"/>
                </a:lnTo>
                <a:lnTo>
                  <a:pt x="2320" y="1086"/>
                </a:lnTo>
                <a:lnTo>
                  <a:pt x="2320" y="1086"/>
                </a:lnTo>
                <a:lnTo>
                  <a:pt x="2322" y="1088"/>
                </a:lnTo>
                <a:lnTo>
                  <a:pt x="2322" y="1088"/>
                </a:lnTo>
                <a:lnTo>
                  <a:pt x="2318" y="1090"/>
                </a:lnTo>
                <a:lnTo>
                  <a:pt x="2312" y="1088"/>
                </a:lnTo>
                <a:lnTo>
                  <a:pt x="2312" y="1088"/>
                </a:lnTo>
                <a:lnTo>
                  <a:pt x="2312" y="1088"/>
                </a:lnTo>
                <a:lnTo>
                  <a:pt x="2312" y="1088"/>
                </a:lnTo>
                <a:close/>
                <a:moveTo>
                  <a:pt x="2310" y="1128"/>
                </a:moveTo>
                <a:lnTo>
                  <a:pt x="2310" y="1128"/>
                </a:lnTo>
                <a:lnTo>
                  <a:pt x="2316" y="1130"/>
                </a:lnTo>
                <a:lnTo>
                  <a:pt x="2316" y="1130"/>
                </a:lnTo>
                <a:lnTo>
                  <a:pt x="2314" y="1132"/>
                </a:lnTo>
                <a:lnTo>
                  <a:pt x="2314" y="1132"/>
                </a:lnTo>
                <a:lnTo>
                  <a:pt x="2314" y="1132"/>
                </a:lnTo>
                <a:lnTo>
                  <a:pt x="2314" y="1132"/>
                </a:lnTo>
                <a:lnTo>
                  <a:pt x="2314" y="1130"/>
                </a:lnTo>
                <a:lnTo>
                  <a:pt x="2314" y="1130"/>
                </a:lnTo>
                <a:lnTo>
                  <a:pt x="2310" y="1128"/>
                </a:lnTo>
                <a:lnTo>
                  <a:pt x="2310" y="1128"/>
                </a:lnTo>
                <a:lnTo>
                  <a:pt x="2310" y="1128"/>
                </a:lnTo>
                <a:lnTo>
                  <a:pt x="2310" y="1128"/>
                </a:lnTo>
                <a:close/>
                <a:moveTo>
                  <a:pt x="2300" y="1116"/>
                </a:moveTo>
                <a:lnTo>
                  <a:pt x="2300" y="1116"/>
                </a:lnTo>
                <a:lnTo>
                  <a:pt x="2308" y="1120"/>
                </a:lnTo>
                <a:lnTo>
                  <a:pt x="2308" y="1120"/>
                </a:lnTo>
                <a:lnTo>
                  <a:pt x="2308" y="1120"/>
                </a:lnTo>
                <a:lnTo>
                  <a:pt x="2304" y="1122"/>
                </a:lnTo>
                <a:lnTo>
                  <a:pt x="2304" y="1122"/>
                </a:lnTo>
                <a:lnTo>
                  <a:pt x="2304" y="1122"/>
                </a:lnTo>
                <a:lnTo>
                  <a:pt x="2304" y="1122"/>
                </a:lnTo>
                <a:lnTo>
                  <a:pt x="2308" y="1120"/>
                </a:lnTo>
                <a:lnTo>
                  <a:pt x="2308" y="1120"/>
                </a:lnTo>
                <a:lnTo>
                  <a:pt x="2300" y="1116"/>
                </a:lnTo>
                <a:lnTo>
                  <a:pt x="2300" y="1116"/>
                </a:lnTo>
                <a:lnTo>
                  <a:pt x="2300" y="1116"/>
                </a:lnTo>
                <a:lnTo>
                  <a:pt x="2300" y="1116"/>
                </a:lnTo>
                <a:close/>
                <a:moveTo>
                  <a:pt x="2292" y="1122"/>
                </a:moveTo>
                <a:lnTo>
                  <a:pt x="2292" y="1122"/>
                </a:lnTo>
                <a:lnTo>
                  <a:pt x="2294" y="1124"/>
                </a:lnTo>
                <a:lnTo>
                  <a:pt x="2294" y="1124"/>
                </a:lnTo>
                <a:lnTo>
                  <a:pt x="2292" y="1126"/>
                </a:lnTo>
                <a:lnTo>
                  <a:pt x="2292" y="1126"/>
                </a:lnTo>
                <a:lnTo>
                  <a:pt x="2292" y="1126"/>
                </a:lnTo>
                <a:lnTo>
                  <a:pt x="2292" y="1126"/>
                </a:lnTo>
                <a:lnTo>
                  <a:pt x="2294" y="1124"/>
                </a:lnTo>
                <a:lnTo>
                  <a:pt x="2294" y="1124"/>
                </a:lnTo>
                <a:lnTo>
                  <a:pt x="2292" y="1122"/>
                </a:lnTo>
                <a:lnTo>
                  <a:pt x="2292" y="1122"/>
                </a:lnTo>
                <a:lnTo>
                  <a:pt x="2292" y="1122"/>
                </a:lnTo>
                <a:lnTo>
                  <a:pt x="2292" y="1122"/>
                </a:lnTo>
                <a:close/>
                <a:moveTo>
                  <a:pt x="2284" y="1150"/>
                </a:moveTo>
                <a:lnTo>
                  <a:pt x="2284" y="1150"/>
                </a:lnTo>
                <a:lnTo>
                  <a:pt x="2290" y="1152"/>
                </a:lnTo>
                <a:lnTo>
                  <a:pt x="2290" y="1152"/>
                </a:lnTo>
                <a:lnTo>
                  <a:pt x="2284" y="1154"/>
                </a:lnTo>
                <a:lnTo>
                  <a:pt x="2278" y="1156"/>
                </a:lnTo>
                <a:lnTo>
                  <a:pt x="2278" y="1156"/>
                </a:lnTo>
                <a:lnTo>
                  <a:pt x="2284" y="1154"/>
                </a:lnTo>
                <a:lnTo>
                  <a:pt x="2290" y="1152"/>
                </a:lnTo>
                <a:lnTo>
                  <a:pt x="2290" y="1152"/>
                </a:lnTo>
                <a:lnTo>
                  <a:pt x="2284" y="1150"/>
                </a:lnTo>
                <a:lnTo>
                  <a:pt x="2284" y="1150"/>
                </a:lnTo>
                <a:close/>
                <a:moveTo>
                  <a:pt x="2280" y="1064"/>
                </a:moveTo>
                <a:lnTo>
                  <a:pt x="2280" y="1064"/>
                </a:lnTo>
                <a:lnTo>
                  <a:pt x="2284" y="1066"/>
                </a:lnTo>
                <a:lnTo>
                  <a:pt x="2284" y="1066"/>
                </a:lnTo>
                <a:lnTo>
                  <a:pt x="2282" y="1066"/>
                </a:lnTo>
                <a:lnTo>
                  <a:pt x="2282" y="1066"/>
                </a:lnTo>
                <a:lnTo>
                  <a:pt x="2282" y="1066"/>
                </a:lnTo>
                <a:lnTo>
                  <a:pt x="2282" y="1066"/>
                </a:lnTo>
                <a:lnTo>
                  <a:pt x="2284" y="1066"/>
                </a:lnTo>
                <a:lnTo>
                  <a:pt x="2284" y="1066"/>
                </a:lnTo>
                <a:lnTo>
                  <a:pt x="2280" y="1064"/>
                </a:lnTo>
                <a:lnTo>
                  <a:pt x="2280" y="1064"/>
                </a:lnTo>
                <a:lnTo>
                  <a:pt x="2280" y="1064"/>
                </a:lnTo>
                <a:lnTo>
                  <a:pt x="2280" y="1064"/>
                </a:lnTo>
                <a:close/>
                <a:moveTo>
                  <a:pt x="2270" y="1100"/>
                </a:moveTo>
                <a:lnTo>
                  <a:pt x="2270" y="1100"/>
                </a:lnTo>
                <a:lnTo>
                  <a:pt x="2280" y="1104"/>
                </a:lnTo>
                <a:lnTo>
                  <a:pt x="2280" y="1104"/>
                </a:lnTo>
                <a:lnTo>
                  <a:pt x="2286" y="1100"/>
                </a:lnTo>
                <a:lnTo>
                  <a:pt x="2286" y="1100"/>
                </a:lnTo>
                <a:lnTo>
                  <a:pt x="2286" y="1100"/>
                </a:lnTo>
                <a:lnTo>
                  <a:pt x="2280" y="1104"/>
                </a:lnTo>
                <a:lnTo>
                  <a:pt x="2280" y="1104"/>
                </a:lnTo>
                <a:lnTo>
                  <a:pt x="2270" y="1100"/>
                </a:lnTo>
                <a:lnTo>
                  <a:pt x="2270" y="1100"/>
                </a:lnTo>
                <a:close/>
                <a:moveTo>
                  <a:pt x="2278" y="1126"/>
                </a:moveTo>
                <a:lnTo>
                  <a:pt x="2278" y="1126"/>
                </a:lnTo>
                <a:lnTo>
                  <a:pt x="2278" y="1126"/>
                </a:lnTo>
                <a:lnTo>
                  <a:pt x="2278" y="1126"/>
                </a:lnTo>
                <a:lnTo>
                  <a:pt x="2282" y="1126"/>
                </a:lnTo>
                <a:lnTo>
                  <a:pt x="2282" y="1126"/>
                </a:lnTo>
                <a:lnTo>
                  <a:pt x="2280" y="1126"/>
                </a:lnTo>
                <a:lnTo>
                  <a:pt x="2280" y="1126"/>
                </a:lnTo>
                <a:lnTo>
                  <a:pt x="2280" y="1126"/>
                </a:lnTo>
                <a:lnTo>
                  <a:pt x="2280" y="1126"/>
                </a:lnTo>
                <a:lnTo>
                  <a:pt x="2282" y="1126"/>
                </a:lnTo>
                <a:lnTo>
                  <a:pt x="2282" y="1126"/>
                </a:lnTo>
                <a:lnTo>
                  <a:pt x="2278" y="1126"/>
                </a:lnTo>
                <a:lnTo>
                  <a:pt x="2278" y="1126"/>
                </a:lnTo>
                <a:close/>
                <a:moveTo>
                  <a:pt x="2278" y="1132"/>
                </a:moveTo>
                <a:lnTo>
                  <a:pt x="2278" y="1132"/>
                </a:lnTo>
                <a:lnTo>
                  <a:pt x="2278" y="1132"/>
                </a:lnTo>
                <a:lnTo>
                  <a:pt x="2266" y="1128"/>
                </a:lnTo>
                <a:lnTo>
                  <a:pt x="2266" y="1128"/>
                </a:lnTo>
                <a:lnTo>
                  <a:pt x="2266" y="1128"/>
                </a:lnTo>
                <a:lnTo>
                  <a:pt x="2266" y="1128"/>
                </a:lnTo>
                <a:lnTo>
                  <a:pt x="2278" y="1132"/>
                </a:lnTo>
                <a:lnTo>
                  <a:pt x="2278" y="1132"/>
                </a:lnTo>
                <a:close/>
                <a:moveTo>
                  <a:pt x="2262" y="1060"/>
                </a:moveTo>
                <a:lnTo>
                  <a:pt x="2262" y="1060"/>
                </a:lnTo>
                <a:lnTo>
                  <a:pt x="2270" y="1064"/>
                </a:lnTo>
                <a:lnTo>
                  <a:pt x="2270" y="1064"/>
                </a:lnTo>
                <a:lnTo>
                  <a:pt x="2266" y="1066"/>
                </a:lnTo>
                <a:lnTo>
                  <a:pt x="2266" y="1066"/>
                </a:lnTo>
                <a:lnTo>
                  <a:pt x="2264" y="1066"/>
                </a:lnTo>
                <a:lnTo>
                  <a:pt x="2264" y="1066"/>
                </a:lnTo>
                <a:lnTo>
                  <a:pt x="2266" y="1066"/>
                </a:lnTo>
                <a:lnTo>
                  <a:pt x="2266" y="1066"/>
                </a:lnTo>
                <a:lnTo>
                  <a:pt x="2270" y="1064"/>
                </a:lnTo>
                <a:lnTo>
                  <a:pt x="2270" y="1064"/>
                </a:lnTo>
                <a:lnTo>
                  <a:pt x="2262" y="1060"/>
                </a:lnTo>
                <a:lnTo>
                  <a:pt x="2262" y="1060"/>
                </a:lnTo>
                <a:lnTo>
                  <a:pt x="2262" y="1060"/>
                </a:lnTo>
                <a:lnTo>
                  <a:pt x="2262" y="1060"/>
                </a:lnTo>
                <a:close/>
                <a:moveTo>
                  <a:pt x="2276" y="1120"/>
                </a:moveTo>
                <a:lnTo>
                  <a:pt x="2276" y="1120"/>
                </a:lnTo>
                <a:lnTo>
                  <a:pt x="2276" y="1120"/>
                </a:lnTo>
                <a:lnTo>
                  <a:pt x="2276" y="1120"/>
                </a:lnTo>
                <a:lnTo>
                  <a:pt x="2260" y="1124"/>
                </a:lnTo>
                <a:lnTo>
                  <a:pt x="2260" y="1124"/>
                </a:lnTo>
                <a:lnTo>
                  <a:pt x="2260" y="1124"/>
                </a:lnTo>
                <a:lnTo>
                  <a:pt x="2260" y="1124"/>
                </a:lnTo>
                <a:lnTo>
                  <a:pt x="2260" y="1124"/>
                </a:lnTo>
                <a:lnTo>
                  <a:pt x="2276" y="1120"/>
                </a:lnTo>
                <a:lnTo>
                  <a:pt x="2276" y="1120"/>
                </a:lnTo>
                <a:close/>
                <a:moveTo>
                  <a:pt x="2254" y="1110"/>
                </a:moveTo>
                <a:lnTo>
                  <a:pt x="2254" y="1110"/>
                </a:lnTo>
                <a:lnTo>
                  <a:pt x="2254" y="1106"/>
                </a:lnTo>
                <a:lnTo>
                  <a:pt x="2254" y="1106"/>
                </a:lnTo>
                <a:lnTo>
                  <a:pt x="2254" y="1106"/>
                </a:lnTo>
                <a:lnTo>
                  <a:pt x="2254" y="1106"/>
                </a:lnTo>
                <a:lnTo>
                  <a:pt x="2254" y="1106"/>
                </a:lnTo>
                <a:lnTo>
                  <a:pt x="2254" y="1106"/>
                </a:lnTo>
                <a:lnTo>
                  <a:pt x="2254" y="1110"/>
                </a:lnTo>
                <a:lnTo>
                  <a:pt x="2254" y="1110"/>
                </a:lnTo>
                <a:lnTo>
                  <a:pt x="2250" y="1108"/>
                </a:lnTo>
                <a:lnTo>
                  <a:pt x="2250" y="1108"/>
                </a:lnTo>
                <a:lnTo>
                  <a:pt x="2250" y="1108"/>
                </a:lnTo>
                <a:lnTo>
                  <a:pt x="2250" y="1108"/>
                </a:lnTo>
                <a:lnTo>
                  <a:pt x="2254" y="1110"/>
                </a:lnTo>
                <a:lnTo>
                  <a:pt x="2254" y="1110"/>
                </a:lnTo>
                <a:close/>
                <a:moveTo>
                  <a:pt x="2242" y="1118"/>
                </a:moveTo>
                <a:lnTo>
                  <a:pt x="2242" y="1118"/>
                </a:lnTo>
                <a:lnTo>
                  <a:pt x="2234" y="1120"/>
                </a:lnTo>
                <a:lnTo>
                  <a:pt x="2234" y="1120"/>
                </a:lnTo>
                <a:lnTo>
                  <a:pt x="2218" y="1110"/>
                </a:lnTo>
                <a:lnTo>
                  <a:pt x="2218" y="1110"/>
                </a:lnTo>
                <a:lnTo>
                  <a:pt x="2222" y="1108"/>
                </a:lnTo>
                <a:lnTo>
                  <a:pt x="2224" y="1106"/>
                </a:lnTo>
                <a:lnTo>
                  <a:pt x="2224" y="1106"/>
                </a:lnTo>
                <a:lnTo>
                  <a:pt x="2228" y="1108"/>
                </a:lnTo>
                <a:lnTo>
                  <a:pt x="2234" y="1110"/>
                </a:lnTo>
                <a:lnTo>
                  <a:pt x="2234" y="1110"/>
                </a:lnTo>
                <a:lnTo>
                  <a:pt x="2240" y="1110"/>
                </a:lnTo>
                <a:lnTo>
                  <a:pt x="2240" y="1110"/>
                </a:lnTo>
                <a:lnTo>
                  <a:pt x="2246" y="1112"/>
                </a:lnTo>
                <a:lnTo>
                  <a:pt x="2246" y="1112"/>
                </a:lnTo>
                <a:lnTo>
                  <a:pt x="2242" y="1118"/>
                </a:lnTo>
                <a:lnTo>
                  <a:pt x="2242" y="1118"/>
                </a:lnTo>
                <a:close/>
                <a:moveTo>
                  <a:pt x="2248" y="1118"/>
                </a:moveTo>
                <a:lnTo>
                  <a:pt x="2248" y="1118"/>
                </a:lnTo>
                <a:lnTo>
                  <a:pt x="2260" y="1124"/>
                </a:lnTo>
                <a:lnTo>
                  <a:pt x="2260" y="1124"/>
                </a:lnTo>
                <a:lnTo>
                  <a:pt x="2260" y="1124"/>
                </a:lnTo>
                <a:lnTo>
                  <a:pt x="2260" y="1124"/>
                </a:lnTo>
                <a:lnTo>
                  <a:pt x="2248" y="1118"/>
                </a:lnTo>
                <a:lnTo>
                  <a:pt x="2248" y="1118"/>
                </a:lnTo>
                <a:lnTo>
                  <a:pt x="2248" y="1118"/>
                </a:lnTo>
                <a:lnTo>
                  <a:pt x="2248" y="1118"/>
                </a:lnTo>
                <a:close/>
                <a:moveTo>
                  <a:pt x="2274" y="1154"/>
                </a:moveTo>
                <a:lnTo>
                  <a:pt x="2274" y="1154"/>
                </a:lnTo>
                <a:lnTo>
                  <a:pt x="2274" y="1154"/>
                </a:lnTo>
                <a:lnTo>
                  <a:pt x="2274" y="1154"/>
                </a:lnTo>
                <a:lnTo>
                  <a:pt x="2276" y="1150"/>
                </a:lnTo>
                <a:lnTo>
                  <a:pt x="2270" y="1150"/>
                </a:lnTo>
                <a:lnTo>
                  <a:pt x="2270" y="1150"/>
                </a:lnTo>
                <a:lnTo>
                  <a:pt x="2270" y="1150"/>
                </a:lnTo>
                <a:lnTo>
                  <a:pt x="2270" y="1150"/>
                </a:lnTo>
                <a:lnTo>
                  <a:pt x="2276" y="1150"/>
                </a:lnTo>
                <a:lnTo>
                  <a:pt x="2274" y="1154"/>
                </a:lnTo>
                <a:lnTo>
                  <a:pt x="2274" y="1154"/>
                </a:lnTo>
                <a:close/>
                <a:moveTo>
                  <a:pt x="2256" y="1142"/>
                </a:moveTo>
                <a:lnTo>
                  <a:pt x="2256" y="1142"/>
                </a:lnTo>
                <a:lnTo>
                  <a:pt x="2248" y="1136"/>
                </a:lnTo>
                <a:lnTo>
                  <a:pt x="2248" y="1136"/>
                </a:lnTo>
                <a:lnTo>
                  <a:pt x="2258" y="1134"/>
                </a:lnTo>
                <a:lnTo>
                  <a:pt x="2266" y="1136"/>
                </a:lnTo>
                <a:lnTo>
                  <a:pt x="2274" y="1136"/>
                </a:lnTo>
                <a:lnTo>
                  <a:pt x="2282" y="1136"/>
                </a:lnTo>
                <a:lnTo>
                  <a:pt x="2282" y="1136"/>
                </a:lnTo>
                <a:lnTo>
                  <a:pt x="2280" y="1142"/>
                </a:lnTo>
                <a:lnTo>
                  <a:pt x="2280" y="1142"/>
                </a:lnTo>
                <a:lnTo>
                  <a:pt x="2256" y="1142"/>
                </a:lnTo>
                <a:lnTo>
                  <a:pt x="2256" y="1142"/>
                </a:lnTo>
                <a:close/>
                <a:moveTo>
                  <a:pt x="2330" y="1178"/>
                </a:moveTo>
                <a:lnTo>
                  <a:pt x="2330" y="1178"/>
                </a:lnTo>
                <a:lnTo>
                  <a:pt x="2320" y="1178"/>
                </a:lnTo>
                <a:lnTo>
                  <a:pt x="2316" y="1178"/>
                </a:lnTo>
                <a:lnTo>
                  <a:pt x="2312" y="1180"/>
                </a:lnTo>
                <a:lnTo>
                  <a:pt x="2312" y="1180"/>
                </a:lnTo>
                <a:lnTo>
                  <a:pt x="2300" y="1176"/>
                </a:lnTo>
                <a:lnTo>
                  <a:pt x="2296" y="1172"/>
                </a:lnTo>
                <a:lnTo>
                  <a:pt x="2294" y="1170"/>
                </a:lnTo>
                <a:lnTo>
                  <a:pt x="2294" y="1166"/>
                </a:lnTo>
                <a:lnTo>
                  <a:pt x="2294" y="1166"/>
                </a:lnTo>
                <a:lnTo>
                  <a:pt x="2278" y="1166"/>
                </a:lnTo>
                <a:lnTo>
                  <a:pt x="2278" y="1166"/>
                </a:lnTo>
                <a:lnTo>
                  <a:pt x="2282" y="1160"/>
                </a:lnTo>
                <a:lnTo>
                  <a:pt x="2284" y="1158"/>
                </a:lnTo>
                <a:lnTo>
                  <a:pt x="2288" y="1158"/>
                </a:lnTo>
                <a:lnTo>
                  <a:pt x="2288" y="1158"/>
                </a:lnTo>
                <a:lnTo>
                  <a:pt x="2298" y="1158"/>
                </a:lnTo>
                <a:lnTo>
                  <a:pt x="2306" y="1162"/>
                </a:lnTo>
                <a:lnTo>
                  <a:pt x="2306" y="1162"/>
                </a:lnTo>
                <a:lnTo>
                  <a:pt x="2324" y="1172"/>
                </a:lnTo>
                <a:lnTo>
                  <a:pt x="2324" y="1172"/>
                </a:lnTo>
                <a:lnTo>
                  <a:pt x="2332" y="1176"/>
                </a:lnTo>
                <a:lnTo>
                  <a:pt x="2332" y="1176"/>
                </a:lnTo>
                <a:lnTo>
                  <a:pt x="2330" y="1178"/>
                </a:lnTo>
                <a:lnTo>
                  <a:pt x="2330" y="1178"/>
                </a:lnTo>
                <a:close/>
                <a:moveTo>
                  <a:pt x="2380" y="54"/>
                </a:moveTo>
                <a:lnTo>
                  <a:pt x="2380" y="54"/>
                </a:lnTo>
                <a:lnTo>
                  <a:pt x="2384" y="52"/>
                </a:lnTo>
                <a:lnTo>
                  <a:pt x="2384" y="50"/>
                </a:lnTo>
                <a:lnTo>
                  <a:pt x="2384" y="50"/>
                </a:lnTo>
                <a:lnTo>
                  <a:pt x="2384" y="50"/>
                </a:lnTo>
                <a:lnTo>
                  <a:pt x="2384" y="50"/>
                </a:lnTo>
                <a:lnTo>
                  <a:pt x="2384" y="52"/>
                </a:lnTo>
                <a:lnTo>
                  <a:pt x="2380" y="54"/>
                </a:lnTo>
                <a:lnTo>
                  <a:pt x="2380" y="54"/>
                </a:lnTo>
                <a:lnTo>
                  <a:pt x="2380" y="54"/>
                </a:lnTo>
                <a:lnTo>
                  <a:pt x="2380" y="54"/>
                </a:lnTo>
                <a:lnTo>
                  <a:pt x="2380" y="54"/>
                </a:lnTo>
                <a:lnTo>
                  <a:pt x="2380" y="54"/>
                </a:lnTo>
                <a:close/>
                <a:moveTo>
                  <a:pt x="2382" y="1130"/>
                </a:moveTo>
                <a:lnTo>
                  <a:pt x="2382" y="1130"/>
                </a:lnTo>
                <a:lnTo>
                  <a:pt x="2382" y="1130"/>
                </a:lnTo>
                <a:lnTo>
                  <a:pt x="2382" y="1130"/>
                </a:lnTo>
                <a:lnTo>
                  <a:pt x="2378" y="1132"/>
                </a:lnTo>
                <a:lnTo>
                  <a:pt x="2374" y="1130"/>
                </a:lnTo>
                <a:lnTo>
                  <a:pt x="2374" y="1130"/>
                </a:lnTo>
                <a:lnTo>
                  <a:pt x="2378" y="1132"/>
                </a:lnTo>
                <a:lnTo>
                  <a:pt x="2382" y="1130"/>
                </a:lnTo>
                <a:lnTo>
                  <a:pt x="2382" y="1130"/>
                </a:lnTo>
                <a:close/>
                <a:moveTo>
                  <a:pt x="2358" y="1148"/>
                </a:moveTo>
                <a:lnTo>
                  <a:pt x="2358" y="1148"/>
                </a:lnTo>
                <a:lnTo>
                  <a:pt x="2360" y="1150"/>
                </a:lnTo>
                <a:lnTo>
                  <a:pt x="2360" y="1150"/>
                </a:lnTo>
                <a:lnTo>
                  <a:pt x="2354" y="1150"/>
                </a:lnTo>
                <a:lnTo>
                  <a:pt x="2348" y="1150"/>
                </a:lnTo>
                <a:lnTo>
                  <a:pt x="2348" y="1150"/>
                </a:lnTo>
                <a:lnTo>
                  <a:pt x="2354" y="1150"/>
                </a:lnTo>
                <a:lnTo>
                  <a:pt x="2360" y="1150"/>
                </a:lnTo>
                <a:lnTo>
                  <a:pt x="2360" y="1150"/>
                </a:lnTo>
                <a:lnTo>
                  <a:pt x="2358" y="1148"/>
                </a:lnTo>
                <a:lnTo>
                  <a:pt x="2358" y="1148"/>
                </a:lnTo>
                <a:close/>
                <a:moveTo>
                  <a:pt x="2340" y="354"/>
                </a:moveTo>
                <a:lnTo>
                  <a:pt x="2340" y="354"/>
                </a:lnTo>
                <a:lnTo>
                  <a:pt x="2340" y="354"/>
                </a:lnTo>
                <a:lnTo>
                  <a:pt x="2340" y="354"/>
                </a:lnTo>
                <a:lnTo>
                  <a:pt x="2346" y="356"/>
                </a:lnTo>
                <a:lnTo>
                  <a:pt x="2348" y="354"/>
                </a:lnTo>
                <a:lnTo>
                  <a:pt x="2350" y="352"/>
                </a:lnTo>
                <a:lnTo>
                  <a:pt x="2350" y="352"/>
                </a:lnTo>
                <a:lnTo>
                  <a:pt x="2350" y="352"/>
                </a:lnTo>
                <a:lnTo>
                  <a:pt x="2350" y="352"/>
                </a:lnTo>
                <a:lnTo>
                  <a:pt x="2348" y="354"/>
                </a:lnTo>
                <a:lnTo>
                  <a:pt x="2346" y="356"/>
                </a:lnTo>
                <a:lnTo>
                  <a:pt x="2340" y="354"/>
                </a:lnTo>
                <a:lnTo>
                  <a:pt x="2340" y="354"/>
                </a:lnTo>
                <a:close/>
                <a:moveTo>
                  <a:pt x="2350" y="1170"/>
                </a:moveTo>
                <a:lnTo>
                  <a:pt x="2350" y="1170"/>
                </a:lnTo>
                <a:lnTo>
                  <a:pt x="2342" y="1158"/>
                </a:lnTo>
                <a:lnTo>
                  <a:pt x="2342" y="1158"/>
                </a:lnTo>
                <a:lnTo>
                  <a:pt x="2354" y="1158"/>
                </a:lnTo>
                <a:lnTo>
                  <a:pt x="2366" y="1158"/>
                </a:lnTo>
                <a:lnTo>
                  <a:pt x="2390" y="1160"/>
                </a:lnTo>
                <a:lnTo>
                  <a:pt x="2390" y="1160"/>
                </a:lnTo>
                <a:lnTo>
                  <a:pt x="2382" y="1164"/>
                </a:lnTo>
                <a:lnTo>
                  <a:pt x="2372" y="1166"/>
                </a:lnTo>
                <a:lnTo>
                  <a:pt x="2362" y="1168"/>
                </a:lnTo>
                <a:lnTo>
                  <a:pt x="2350" y="1170"/>
                </a:lnTo>
                <a:lnTo>
                  <a:pt x="2350" y="1170"/>
                </a:lnTo>
                <a:close/>
                <a:moveTo>
                  <a:pt x="2394" y="1104"/>
                </a:moveTo>
                <a:lnTo>
                  <a:pt x="2394" y="1104"/>
                </a:lnTo>
                <a:lnTo>
                  <a:pt x="2394" y="1104"/>
                </a:lnTo>
                <a:lnTo>
                  <a:pt x="2394" y="1104"/>
                </a:lnTo>
                <a:lnTo>
                  <a:pt x="2394" y="1104"/>
                </a:lnTo>
                <a:lnTo>
                  <a:pt x="2394" y="1104"/>
                </a:lnTo>
                <a:lnTo>
                  <a:pt x="2396" y="1104"/>
                </a:lnTo>
                <a:lnTo>
                  <a:pt x="2396" y="1104"/>
                </a:lnTo>
                <a:lnTo>
                  <a:pt x="2394" y="1102"/>
                </a:lnTo>
                <a:lnTo>
                  <a:pt x="2394" y="1102"/>
                </a:lnTo>
                <a:lnTo>
                  <a:pt x="2394" y="1102"/>
                </a:lnTo>
                <a:lnTo>
                  <a:pt x="2394" y="1102"/>
                </a:lnTo>
                <a:lnTo>
                  <a:pt x="2396" y="1104"/>
                </a:lnTo>
                <a:lnTo>
                  <a:pt x="2396" y="1104"/>
                </a:lnTo>
                <a:lnTo>
                  <a:pt x="2394" y="1104"/>
                </a:lnTo>
                <a:lnTo>
                  <a:pt x="2394" y="1104"/>
                </a:lnTo>
                <a:close/>
                <a:moveTo>
                  <a:pt x="2406" y="356"/>
                </a:moveTo>
                <a:lnTo>
                  <a:pt x="2406" y="356"/>
                </a:lnTo>
                <a:lnTo>
                  <a:pt x="2406" y="356"/>
                </a:lnTo>
                <a:lnTo>
                  <a:pt x="2406" y="356"/>
                </a:lnTo>
                <a:lnTo>
                  <a:pt x="2416" y="356"/>
                </a:lnTo>
                <a:lnTo>
                  <a:pt x="2416" y="356"/>
                </a:lnTo>
                <a:lnTo>
                  <a:pt x="2412" y="354"/>
                </a:lnTo>
                <a:lnTo>
                  <a:pt x="2412" y="354"/>
                </a:lnTo>
                <a:lnTo>
                  <a:pt x="2416" y="356"/>
                </a:lnTo>
                <a:lnTo>
                  <a:pt x="2416" y="356"/>
                </a:lnTo>
                <a:lnTo>
                  <a:pt x="2406" y="356"/>
                </a:lnTo>
                <a:lnTo>
                  <a:pt x="2406" y="356"/>
                </a:lnTo>
                <a:close/>
                <a:moveTo>
                  <a:pt x="2410" y="1154"/>
                </a:moveTo>
                <a:lnTo>
                  <a:pt x="2410" y="1154"/>
                </a:lnTo>
                <a:lnTo>
                  <a:pt x="2436" y="1160"/>
                </a:lnTo>
                <a:lnTo>
                  <a:pt x="2436" y="1160"/>
                </a:lnTo>
                <a:lnTo>
                  <a:pt x="2440" y="1162"/>
                </a:lnTo>
                <a:lnTo>
                  <a:pt x="2440" y="1164"/>
                </a:lnTo>
                <a:lnTo>
                  <a:pt x="2440" y="1168"/>
                </a:lnTo>
                <a:lnTo>
                  <a:pt x="2438" y="1170"/>
                </a:lnTo>
                <a:lnTo>
                  <a:pt x="2438" y="1170"/>
                </a:lnTo>
                <a:lnTo>
                  <a:pt x="2438" y="1170"/>
                </a:lnTo>
                <a:lnTo>
                  <a:pt x="2434" y="1164"/>
                </a:lnTo>
                <a:lnTo>
                  <a:pt x="2432" y="1162"/>
                </a:lnTo>
                <a:lnTo>
                  <a:pt x="2426" y="1162"/>
                </a:lnTo>
                <a:lnTo>
                  <a:pt x="2418" y="1162"/>
                </a:lnTo>
                <a:lnTo>
                  <a:pt x="2418" y="1162"/>
                </a:lnTo>
                <a:lnTo>
                  <a:pt x="2408" y="1164"/>
                </a:lnTo>
                <a:lnTo>
                  <a:pt x="2408" y="1164"/>
                </a:lnTo>
                <a:lnTo>
                  <a:pt x="2410" y="1154"/>
                </a:lnTo>
                <a:lnTo>
                  <a:pt x="2410" y="1154"/>
                </a:lnTo>
                <a:close/>
                <a:moveTo>
                  <a:pt x="2446" y="1178"/>
                </a:moveTo>
                <a:lnTo>
                  <a:pt x="2446" y="1178"/>
                </a:lnTo>
                <a:lnTo>
                  <a:pt x="2420" y="1172"/>
                </a:lnTo>
                <a:lnTo>
                  <a:pt x="2416" y="1174"/>
                </a:lnTo>
                <a:lnTo>
                  <a:pt x="2410" y="1176"/>
                </a:lnTo>
                <a:lnTo>
                  <a:pt x="2410" y="1176"/>
                </a:lnTo>
                <a:lnTo>
                  <a:pt x="2410" y="1176"/>
                </a:lnTo>
                <a:lnTo>
                  <a:pt x="2410" y="1176"/>
                </a:lnTo>
                <a:lnTo>
                  <a:pt x="2416" y="1172"/>
                </a:lnTo>
                <a:lnTo>
                  <a:pt x="2420" y="1172"/>
                </a:lnTo>
                <a:lnTo>
                  <a:pt x="2446" y="1178"/>
                </a:lnTo>
                <a:lnTo>
                  <a:pt x="2446" y="1178"/>
                </a:lnTo>
                <a:lnTo>
                  <a:pt x="2446" y="1178"/>
                </a:lnTo>
                <a:lnTo>
                  <a:pt x="2446" y="1178"/>
                </a:lnTo>
                <a:close/>
                <a:moveTo>
                  <a:pt x="2436" y="1156"/>
                </a:moveTo>
                <a:lnTo>
                  <a:pt x="2436" y="1156"/>
                </a:lnTo>
                <a:lnTo>
                  <a:pt x="2436" y="1156"/>
                </a:lnTo>
                <a:lnTo>
                  <a:pt x="2436" y="1156"/>
                </a:lnTo>
                <a:lnTo>
                  <a:pt x="2444" y="1156"/>
                </a:lnTo>
                <a:lnTo>
                  <a:pt x="2450" y="1152"/>
                </a:lnTo>
                <a:lnTo>
                  <a:pt x="2450" y="1152"/>
                </a:lnTo>
                <a:lnTo>
                  <a:pt x="2450" y="1152"/>
                </a:lnTo>
                <a:lnTo>
                  <a:pt x="2450" y="1152"/>
                </a:lnTo>
                <a:lnTo>
                  <a:pt x="2444" y="1156"/>
                </a:lnTo>
                <a:lnTo>
                  <a:pt x="2436" y="1156"/>
                </a:lnTo>
                <a:lnTo>
                  <a:pt x="2436" y="1156"/>
                </a:lnTo>
                <a:close/>
                <a:moveTo>
                  <a:pt x="2448" y="1172"/>
                </a:moveTo>
                <a:lnTo>
                  <a:pt x="2448" y="1172"/>
                </a:lnTo>
                <a:lnTo>
                  <a:pt x="2448" y="1172"/>
                </a:lnTo>
                <a:lnTo>
                  <a:pt x="2448" y="1172"/>
                </a:lnTo>
                <a:lnTo>
                  <a:pt x="2460" y="1174"/>
                </a:lnTo>
                <a:lnTo>
                  <a:pt x="2468" y="1170"/>
                </a:lnTo>
                <a:lnTo>
                  <a:pt x="2468" y="1170"/>
                </a:lnTo>
                <a:lnTo>
                  <a:pt x="2468" y="1170"/>
                </a:lnTo>
                <a:lnTo>
                  <a:pt x="2468" y="1170"/>
                </a:lnTo>
                <a:lnTo>
                  <a:pt x="2460" y="1174"/>
                </a:lnTo>
                <a:lnTo>
                  <a:pt x="2448" y="1172"/>
                </a:lnTo>
                <a:lnTo>
                  <a:pt x="2448" y="1172"/>
                </a:lnTo>
                <a:close/>
                <a:moveTo>
                  <a:pt x="2464" y="1140"/>
                </a:moveTo>
                <a:lnTo>
                  <a:pt x="2464" y="1140"/>
                </a:lnTo>
                <a:lnTo>
                  <a:pt x="2468" y="1138"/>
                </a:lnTo>
                <a:lnTo>
                  <a:pt x="2470" y="1132"/>
                </a:lnTo>
                <a:lnTo>
                  <a:pt x="2470" y="1132"/>
                </a:lnTo>
                <a:lnTo>
                  <a:pt x="2470" y="1132"/>
                </a:lnTo>
                <a:lnTo>
                  <a:pt x="2470" y="1132"/>
                </a:lnTo>
                <a:lnTo>
                  <a:pt x="2468" y="1138"/>
                </a:lnTo>
                <a:lnTo>
                  <a:pt x="2464" y="1140"/>
                </a:lnTo>
                <a:lnTo>
                  <a:pt x="2464" y="1140"/>
                </a:lnTo>
                <a:close/>
                <a:moveTo>
                  <a:pt x="2478" y="390"/>
                </a:moveTo>
                <a:lnTo>
                  <a:pt x="2478" y="390"/>
                </a:lnTo>
                <a:lnTo>
                  <a:pt x="2478" y="390"/>
                </a:lnTo>
                <a:lnTo>
                  <a:pt x="2478" y="390"/>
                </a:lnTo>
                <a:lnTo>
                  <a:pt x="2482" y="392"/>
                </a:lnTo>
                <a:lnTo>
                  <a:pt x="2482" y="392"/>
                </a:lnTo>
                <a:lnTo>
                  <a:pt x="2478" y="396"/>
                </a:lnTo>
                <a:lnTo>
                  <a:pt x="2478" y="396"/>
                </a:lnTo>
                <a:lnTo>
                  <a:pt x="2478" y="396"/>
                </a:lnTo>
                <a:lnTo>
                  <a:pt x="2478" y="396"/>
                </a:lnTo>
                <a:lnTo>
                  <a:pt x="2482" y="392"/>
                </a:lnTo>
                <a:lnTo>
                  <a:pt x="2482" y="392"/>
                </a:lnTo>
                <a:lnTo>
                  <a:pt x="2478" y="390"/>
                </a:lnTo>
                <a:lnTo>
                  <a:pt x="2478" y="390"/>
                </a:lnTo>
                <a:close/>
                <a:moveTo>
                  <a:pt x="2474" y="1148"/>
                </a:moveTo>
                <a:lnTo>
                  <a:pt x="2474" y="1148"/>
                </a:lnTo>
                <a:lnTo>
                  <a:pt x="2488" y="1148"/>
                </a:lnTo>
                <a:lnTo>
                  <a:pt x="2488" y="1148"/>
                </a:lnTo>
                <a:lnTo>
                  <a:pt x="2488" y="1148"/>
                </a:lnTo>
                <a:lnTo>
                  <a:pt x="2488" y="1148"/>
                </a:lnTo>
                <a:lnTo>
                  <a:pt x="2474" y="1148"/>
                </a:lnTo>
                <a:lnTo>
                  <a:pt x="2474" y="1148"/>
                </a:lnTo>
                <a:lnTo>
                  <a:pt x="2474" y="1148"/>
                </a:lnTo>
                <a:lnTo>
                  <a:pt x="2474" y="1148"/>
                </a:lnTo>
                <a:close/>
                <a:moveTo>
                  <a:pt x="2490" y="1186"/>
                </a:moveTo>
                <a:lnTo>
                  <a:pt x="2490" y="1186"/>
                </a:lnTo>
                <a:lnTo>
                  <a:pt x="2492" y="1184"/>
                </a:lnTo>
                <a:lnTo>
                  <a:pt x="2490" y="1180"/>
                </a:lnTo>
                <a:lnTo>
                  <a:pt x="2476" y="1180"/>
                </a:lnTo>
                <a:lnTo>
                  <a:pt x="2476" y="1180"/>
                </a:lnTo>
                <a:lnTo>
                  <a:pt x="2476" y="1180"/>
                </a:lnTo>
                <a:lnTo>
                  <a:pt x="2490" y="1180"/>
                </a:lnTo>
                <a:lnTo>
                  <a:pt x="2490" y="1180"/>
                </a:lnTo>
                <a:lnTo>
                  <a:pt x="2492" y="1184"/>
                </a:lnTo>
                <a:lnTo>
                  <a:pt x="2490" y="1186"/>
                </a:lnTo>
                <a:lnTo>
                  <a:pt x="2490" y="1186"/>
                </a:lnTo>
                <a:close/>
                <a:moveTo>
                  <a:pt x="2504" y="1254"/>
                </a:moveTo>
                <a:lnTo>
                  <a:pt x="2504" y="1254"/>
                </a:lnTo>
                <a:lnTo>
                  <a:pt x="2502" y="1254"/>
                </a:lnTo>
                <a:lnTo>
                  <a:pt x="2502" y="1254"/>
                </a:lnTo>
                <a:lnTo>
                  <a:pt x="2506" y="1250"/>
                </a:lnTo>
                <a:lnTo>
                  <a:pt x="2506" y="1250"/>
                </a:lnTo>
                <a:lnTo>
                  <a:pt x="2504" y="1250"/>
                </a:lnTo>
                <a:lnTo>
                  <a:pt x="2504" y="1250"/>
                </a:lnTo>
                <a:lnTo>
                  <a:pt x="2504" y="1250"/>
                </a:lnTo>
                <a:lnTo>
                  <a:pt x="2504" y="1250"/>
                </a:lnTo>
                <a:lnTo>
                  <a:pt x="2506" y="1250"/>
                </a:lnTo>
                <a:lnTo>
                  <a:pt x="2506" y="1250"/>
                </a:lnTo>
                <a:lnTo>
                  <a:pt x="2504" y="1254"/>
                </a:lnTo>
                <a:lnTo>
                  <a:pt x="2504" y="1254"/>
                </a:lnTo>
                <a:close/>
                <a:moveTo>
                  <a:pt x="2558" y="1280"/>
                </a:moveTo>
                <a:lnTo>
                  <a:pt x="2558" y="1280"/>
                </a:lnTo>
                <a:lnTo>
                  <a:pt x="2558" y="1280"/>
                </a:lnTo>
                <a:lnTo>
                  <a:pt x="2558" y="1280"/>
                </a:lnTo>
                <a:lnTo>
                  <a:pt x="2550" y="1280"/>
                </a:lnTo>
                <a:lnTo>
                  <a:pt x="2550" y="1280"/>
                </a:lnTo>
                <a:lnTo>
                  <a:pt x="2550" y="1280"/>
                </a:lnTo>
                <a:lnTo>
                  <a:pt x="2550" y="1280"/>
                </a:lnTo>
                <a:lnTo>
                  <a:pt x="2558" y="1280"/>
                </a:lnTo>
                <a:lnTo>
                  <a:pt x="2558" y="1280"/>
                </a:lnTo>
                <a:close/>
                <a:moveTo>
                  <a:pt x="2576" y="1250"/>
                </a:moveTo>
                <a:lnTo>
                  <a:pt x="2576" y="1250"/>
                </a:lnTo>
                <a:lnTo>
                  <a:pt x="2576" y="1250"/>
                </a:lnTo>
                <a:lnTo>
                  <a:pt x="2576" y="1250"/>
                </a:lnTo>
                <a:lnTo>
                  <a:pt x="2580" y="1244"/>
                </a:lnTo>
                <a:lnTo>
                  <a:pt x="2580" y="1244"/>
                </a:lnTo>
                <a:lnTo>
                  <a:pt x="2574" y="1246"/>
                </a:lnTo>
                <a:lnTo>
                  <a:pt x="2574" y="1246"/>
                </a:lnTo>
                <a:lnTo>
                  <a:pt x="2580" y="1244"/>
                </a:lnTo>
                <a:lnTo>
                  <a:pt x="2580" y="1244"/>
                </a:lnTo>
                <a:lnTo>
                  <a:pt x="2576" y="1250"/>
                </a:lnTo>
                <a:lnTo>
                  <a:pt x="2576" y="1250"/>
                </a:lnTo>
                <a:close/>
                <a:moveTo>
                  <a:pt x="2678" y="188"/>
                </a:moveTo>
                <a:lnTo>
                  <a:pt x="2678" y="188"/>
                </a:lnTo>
                <a:lnTo>
                  <a:pt x="2678" y="188"/>
                </a:lnTo>
                <a:lnTo>
                  <a:pt x="2678" y="188"/>
                </a:lnTo>
                <a:lnTo>
                  <a:pt x="2680" y="190"/>
                </a:lnTo>
                <a:lnTo>
                  <a:pt x="2680" y="190"/>
                </a:lnTo>
                <a:lnTo>
                  <a:pt x="2674" y="190"/>
                </a:lnTo>
                <a:lnTo>
                  <a:pt x="2674" y="190"/>
                </a:lnTo>
                <a:lnTo>
                  <a:pt x="2674" y="190"/>
                </a:lnTo>
                <a:lnTo>
                  <a:pt x="2674" y="190"/>
                </a:lnTo>
                <a:lnTo>
                  <a:pt x="2678" y="190"/>
                </a:lnTo>
                <a:lnTo>
                  <a:pt x="2678" y="190"/>
                </a:lnTo>
                <a:lnTo>
                  <a:pt x="2678" y="188"/>
                </a:lnTo>
                <a:lnTo>
                  <a:pt x="2678" y="188"/>
                </a:lnTo>
                <a:close/>
                <a:moveTo>
                  <a:pt x="2676" y="1216"/>
                </a:moveTo>
                <a:lnTo>
                  <a:pt x="2676" y="1216"/>
                </a:lnTo>
                <a:lnTo>
                  <a:pt x="2676" y="1216"/>
                </a:lnTo>
                <a:lnTo>
                  <a:pt x="2676" y="1216"/>
                </a:lnTo>
                <a:lnTo>
                  <a:pt x="2676" y="1216"/>
                </a:lnTo>
                <a:lnTo>
                  <a:pt x="2670" y="1224"/>
                </a:lnTo>
                <a:lnTo>
                  <a:pt x="2670" y="1224"/>
                </a:lnTo>
                <a:lnTo>
                  <a:pt x="2670" y="1222"/>
                </a:lnTo>
                <a:lnTo>
                  <a:pt x="2670" y="1222"/>
                </a:lnTo>
                <a:lnTo>
                  <a:pt x="2676" y="1216"/>
                </a:lnTo>
                <a:lnTo>
                  <a:pt x="2676" y="1216"/>
                </a:lnTo>
                <a:close/>
                <a:moveTo>
                  <a:pt x="2654" y="120"/>
                </a:moveTo>
                <a:lnTo>
                  <a:pt x="2654" y="120"/>
                </a:lnTo>
                <a:lnTo>
                  <a:pt x="2656" y="120"/>
                </a:lnTo>
                <a:lnTo>
                  <a:pt x="2656" y="120"/>
                </a:lnTo>
                <a:lnTo>
                  <a:pt x="2656" y="122"/>
                </a:lnTo>
                <a:lnTo>
                  <a:pt x="2656" y="122"/>
                </a:lnTo>
                <a:lnTo>
                  <a:pt x="2652" y="122"/>
                </a:lnTo>
                <a:lnTo>
                  <a:pt x="2652" y="122"/>
                </a:lnTo>
                <a:lnTo>
                  <a:pt x="2650" y="122"/>
                </a:lnTo>
                <a:lnTo>
                  <a:pt x="2650" y="122"/>
                </a:lnTo>
                <a:lnTo>
                  <a:pt x="2656" y="122"/>
                </a:lnTo>
                <a:lnTo>
                  <a:pt x="2656" y="122"/>
                </a:lnTo>
                <a:lnTo>
                  <a:pt x="2654" y="120"/>
                </a:lnTo>
                <a:lnTo>
                  <a:pt x="2654" y="120"/>
                </a:lnTo>
                <a:close/>
                <a:moveTo>
                  <a:pt x="2634" y="1222"/>
                </a:moveTo>
                <a:lnTo>
                  <a:pt x="2634" y="1222"/>
                </a:lnTo>
                <a:lnTo>
                  <a:pt x="2628" y="1228"/>
                </a:lnTo>
                <a:lnTo>
                  <a:pt x="2628" y="1228"/>
                </a:lnTo>
                <a:lnTo>
                  <a:pt x="2628" y="1228"/>
                </a:lnTo>
                <a:lnTo>
                  <a:pt x="2628" y="1228"/>
                </a:lnTo>
                <a:lnTo>
                  <a:pt x="2632" y="1224"/>
                </a:lnTo>
                <a:lnTo>
                  <a:pt x="2632" y="1224"/>
                </a:lnTo>
                <a:lnTo>
                  <a:pt x="2634" y="1222"/>
                </a:lnTo>
                <a:lnTo>
                  <a:pt x="2634" y="1222"/>
                </a:lnTo>
                <a:close/>
                <a:moveTo>
                  <a:pt x="2596" y="1174"/>
                </a:moveTo>
                <a:lnTo>
                  <a:pt x="2596" y="1174"/>
                </a:lnTo>
                <a:lnTo>
                  <a:pt x="2596" y="1172"/>
                </a:lnTo>
                <a:lnTo>
                  <a:pt x="2596" y="1172"/>
                </a:lnTo>
                <a:lnTo>
                  <a:pt x="2596" y="1174"/>
                </a:lnTo>
                <a:lnTo>
                  <a:pt x="2596" y="1174"/>
                </a:lnTo>
                <a:lnTo>
                  <a:pt x="2596" y="1174"/>
                </a:lnTo>
                <a:lnTo>
                  <a:pt x="2596" y="1174"/>
                </a:lnTo>
                <a:lnTo>
                  <a:pt x="2586" y="1176"/>
                </a:lnTo>
                <a:lnTo>
                  <a:pt x="2586" y="1176"/>
                </a:lnTo>
                <a:lnTo>
                  <a:pt x="2586" y="1176"/>
                </a:lnTo>
                <a:lnTo>
                  <a:pt x="2586" y="1176"/>
                </a:lnTo>
                <a:lnTo>
                  <a:pt x="2596" y="1174"/>
                </a:lnTo>
                <a:lnTo>
                  <a:pt x="2596" y="1174"/>
                </a:lnTo>
                <a:close/>
                <a:moveTo>
                  <a:pt x="2582" y="1166"/>
                </a:moveTo>
                <a:lnTo>
                  <a:pt x="2582" y="1166"/>
                </a:lnTo>
                <a:lnTo>
                  <a:pt x="2580" y="1168"/>
                </a:lnTo>
                <a:lnTo>
                  <a:pt x="2574" y="1170"/>
                </a:lnTo>
                <a:lnTo>
                  <a:pt x="2574" y="1170"/>
                </a:lnTo>
                <a:lnTo>
                  <a:pt x="2580" y="1168"/>
                </a:lnTo>
                <a:lnTo>
                  <a:pt x="2582" y="1166"/>
                </a:lnTo>
                <a:lnTo>
                  <a:pt x="2582" y="1166"/>
                </a:lnTo>
                <a:lnTo>
                  <a:pt x="2572" y="1164"/>
                </a:lnTo>
                <a:lnTo>
                  <a:pt x="2572" y="1164"/>
                </a:lnTo>
                <a:lnTo>
                  <a:pt x="2582" y="1166"/>
                </a:lnTo>
                <a:lnTo>
                  <a:pt x="2582" y="1166"/>
                </a:lnTo>
                <a:close/>
                <a:moveTo>
                  <a:pt x="2572" y="1180"/>
                </a:moveTo>
                <a:lnTo>
                  <a:pt x="2572" y="1180"/>
                </a:lnTo>
                <a:lnTo>
                  <a:pt x="2572" y="1180"/>
                </a:lnTo>
                <a:lnTo>
                  <a:pt x="2572" y="1180"/>
                </a:lnTo>
                <a:lnTo>
                  <a:pt x="2576" y="1182"/>
                </a:lnTo>
                <a:lnTo>
                  <a:pt x="2576" y="1182"/>
                </a:lnTo>
                <a:lnTo>
                  <a:pt x="2572" y="1182"/>
                </a:lnTo>
                <a:lnTo>
                  <a:pt x="2572" y="1182"/>
                </a:lnTo>
                <a:lnTo>
                  <a:pt x="2572" y="1182"/>
                </a:lnTo>
                <a:lnTo>
                  <a:pt x="2572" y="1182"/>
                </a:lnTo>
                <a:lnTo>
                  <a:pt x="2576" y="1182"/>
                </a:lnTo>
                <a:lnTo>
                  <a:pt x="2576" y="1182"/>
                </a:lnTo>
                <a:lnTo>
                  <a:pt x="2576" y="1182"/>
                </a:lnTo>
                <a:lnTo>
                  <a:pt x="2572" y="1180"/>
                </a:lnTo>
                <a:lnTo>
                  <a:pt x="2572" y="1180"/>
                </a:lnTo>
                <a:close/>
                <a:moveTo>
                  <a:pt x="2564" y="1172"/>
                </a:moveTo>
                <a:lnTo>
                  <a:pt x="2564" y="1172"/>
                </a:lnTo>
                <a:lnTo>
                  <a:pt x="2570" y="1170"/>
                </a:lnTo>
                <a:lnTo>
                  <a:pt x="2570" y="1170"/>
                </a:lnTo>
                <a:lnTo>
                  <a:pt x="2564" y="1172"/>
                </a:lnTo>
                <a:lnTo>
                  <a:pt x="2564" y="1172"/>
                </a:lnTo>
                <a:lnTo>
                  <a:pt x="2564" y="1172"/>
                </a:lnTo>
                <a:lnTo>
                  <a:pt x="2564" y="1172"/>
                </a:lnTo>
                <a:close/>
                <a:moveTo>
                  <a:pt x="2558" y="1170"/>
                </a:moveTo>
                <a:lnTo>
                  <a:pt x="2558" y="1170"/>
                </a:lnTo>
                <a:lnTo>
                  <a:pt x="2558" y="1170"/>
                </a:lnTo>
                <a:lnTo>
                  <a:pt x="2556" y="1166"/>
                </a:lnTo>
                <a:lnTo>
                  <a:pt x="2552" y="1166"/>
                </a:lnTo>
                <a:lnTo>
                  <a:pt x="2552" y="1166"/>
                </a:lnTo>
                <a:lnTo>
                  <a:pt x="2556" y="1166"/>
                </a:lnTo>
                <a:lnTo>
                  <a:pt x="2558" y="1170"/>
                </a:lnTo>
                <a:lnTo>
                  <a:pt x="2558" y="1170"/>
                </a:lnTo>
                <a:close/>
                <a:moveTo>
                  <a:pt x="2542" y="1104"/>
                </a:moveTo>
                <a:lnTo>
                  <a:pt x="2542" y="1104"/>
                </a:lnTo>
                <a:lnTo>
                  <a:pt x="2546" y="1104"/>
                </a:lnTo>
                <a:lnTo>
                  <a:pt x="2546" y="1104"/>
                </a:lnTo>
                <a:lnTo>
                  <a:pt x="2546" y="1106"/>
                </a:lnTo>
                <a:lnTo>
                  <a:pt x="2546" y="1106"/>
                </a:lnTo>
                <a:lnTo>
                  <a:pt x="2546" y="1106"/>
                </a:lnTo>
                <a:lnTo>
                  <a:pt x="2546" y="1106"/>
                </a:lnTo>
                <a:lnTo>
                  <a:pt x="2546" y="1104"/>
                </a:lnTo>
                <a:lnTo>
                  <a:pt x="2546" y="1104"/>
                </a:lnTo>
                <a:lnTo>
                  <a:pt x="2542" y="1104"/>
                </a:lnTo>
                <a:lnTo>
                  <a:pt x="2542" y="1104"/>
                </a:lnTo>
                <a:lnTo>
                  <a:pt x="2542" y="1104"/>
                </a:lnTo>
                <a:lnTo>
                  <a:pt x="2542" y="1104"/>
                </a:lnTo>
                <a:close/>
                <a:moveTo>
                  <a:pt x="2516" y="1148"/>
                </a:moveTo>
                <a:lnTo>
                  <a:pt x="2516" y="1148"/>
                </a:lnTo>
                <a:lnTo>
                  <a:pt x="2522" y="1148"/>
                </a:lnTo>
                <a:lnTo>
                  <a:pt x="2522" y="1148"/>
                </a:lnTo>
                <a:lnTo>
                  <a:pt x="2516" y="1150"/>
                </a:lnTo>
                <a:lnTo>
                  <a:pt x="2516" y="1150"/>
                </a:lnTo>
                <a:lnTo>
                  <a:pt x="2516" y="1150"/>
                </a:lnTo>
                <a:lnTo>
                  <a:pt x="2516" y="1150"/>
                </a:lnTo>
                <a:lnTo>
                  <a:pt x="2520" y="1148"/>
                </a:lnTo>
                <a:lnTo>
                  <a:pt x="2520" y="1148"/>
                </a:lnTo>
                <a:lnTo>
                  <a:pt x="2516" y="1148"/>
                </a:lnTo>
                <a:lnTo>
                  <a:pt x="2516" y="1148"/>
                </a:lnTo>
                <a:lnTo>
                  <a:pt x="2516" y="1148"/>
                </a:lnTo>
                <a:lnTo>
                  <a:pt x="2516" y="1148"/>
                </a:lnTo>
                <a:close/>
                <a:moveTo>
                  <a:pt x="2548" y="1206"/>
                </a:moveTo>
                <a:lnTo>
                  <a:pt x="2548" y="1206"/>
                </a:lnTo>
                <a:lnTo>
                  <a:pt x="2538" y="1198"/>
                </a:lnTo>
                <a:lnTo>
                  <a:pt x="2538" y="1198"/>
                </a:lnTo>
                <a:lnTo>
                  <a:pt x="2536" y="1196"/>
                </a:lnTo>
                <a:lnTo>
                  <a:pt x="2534" y="1196"/>
                </a:lnTo>
                <a:lnTo>
                  <a:pt x="2532" y="1196"/>
                </a:lnTo>
                <a:lnTo>
                  <a:pt x="2530" y="1194"/>
                </a:lnTo>
                <a:lnTo>
                  <a:pt x="2530" y="1194"/>
                </a:lnTo>
                <a:lnTo>
                  <a:pt x="2526" y="1190"/>
                </a:lnTo>
                <a:lnTo>
                  <a:pt x="2528" y="1188"/>
                </a:lnTo>
                <a:lnTo>
                  <a:pt x="2530" y="1186"/>
                </a:lnTo>
                <a:lnTo>
                  <a:pt x="2530" y="1186"/>
                </a:lnTo>
                <a:lnTo>
                  <a:pt x="2524" y="1186"/>
                </a:lnTo>
                <a:lnTo>
                  <a:pt x="2522" y="1190"/>
                </a:lnTo>
                <a:lnTo>
                  <a:pt x="2520" y="1192"/>
                </a:lnTo>
                <a:lnTo>
                  <a:pt x="2518" y="1194"/>
                </a:lnTo>
                <a:lnTo>
                  <a:pt x="2518" y="1194"/>
                </a:lnTo>
                <a:lnTo>
                  <a:pt x="2516" y="1194"/>
                </a:lnTo>
                <a:lnTo>
                  <a:pt x="2514" y="1192"/>
                </a:lnTo>
                <a:lnTo>
                  <a:pt x="2512" y="1188"/>
                </a:lnTo>
                <a:lnTo>
                  <a:pt x="2512" y="1188"/>
                </a:lnTo>
                <a:lnTo>
                  <a:pt x="2512" y="1182"/>
                </a:lnTo>
                <a:lnTo>
                  <a:pt x="2516" y="1178"/>
                </a:lnTo>
                <a:lnTo>
                  <a:pt x="2522" y="1176"/>
                </a:lnTo>
                <a:lnTo>
                  <a:pt x="2530" y="1176"/>
                </a:lnTo>
                <a:lnTo>
                  <a:pt x="2530" y="1176"/>
                </a:lnTo>
                <a:lnTo>
                  <a:pt x="2556" y="1180"/>
                </a:lnTo>
                <a:lnTo>
                  <a:pt x="2556" y="1180"/>
                </a:lnTo>
                <a:lnTo>
                  <a:pt x="2556" y="1184"/>
                </a:lnTo>
                <a:lnTo>
                  <a:pt x="2552" y="1186"/>
                </a:lnTo>
                <a:lnTo>
                  <a:pt x="2542" y="1188"/>
                </a:lnTo>
                <a:lnTo>
                  <a:pt x="2542" y="1188"/>
                </a:lnTo>
                <a:lnTo>
                  <a:pt x="2548" y="1190"/>
                </a:lnTo>
                <a:lnTo>
                  <a:pt x="2554" y="1190"/>
                </a:lnTo>
                <a:lnTo>
                  <a:pt x="2554" y="1190"/>
                </a:lnTo>
                <a:lnTo>
                  <a:pt x="2574" y="1186"/>
                </a:lnTo>
                <a:lnTo>
                  <a:pt x="2574" y="1186"/>
                </a:lnTo>
                <a:lnTo>
                  <a:pt x="2590" y="1184"/>
                </a:lnTo>
                <a:lnTo>
                  <a:pt x="2590" y="1184"/>
                </a:lnTo>
                <a:lnTo>
                  <a:pt x="2594" y="1186"/>
                </a:lnTo>
                <a:lnTo>
                  <a:pt x="2596" y="1188"/>
                </a:lnTo>
                <a:lnTo>
                  <a:pt x="2596" y="1188"/>
                </a:lnTo>
                <a:lnTo>
                  <a:pt x="2586" y="1190"/>
                </a:lnTo>
                <a:lnTo>
                  <a:pt x="2586" y="1190"/>
                </a:lnTo>
                <a:lnTo>
                  <a:pt x="2588" y="1192"/>
                </a:lnTo>
                <a:lnTo>
                  <a:pt x="2588" y="1194"/>
                </a:lnTo>
                <a:lnTo>
                  <a:pt x="2594" y="1196"/>
                </a:lnTo>
                <a:lnTo>
                  <a:pt x="2598" y="1196"/>
                </a:lnTo>
                <a:lnTo>
                  <a:pt x="2602" y="1198"/>
                </a:lnTo>
                <a:lnTo>
                  <a:pt x="2602" y="1198"/>
                </a:lnTo>
                <a:lnTo>
                  <a:pt x="2586" y="1202"/>
                </a:lnTo>
                <a:lnTo>
                  <a:pt x="2578" y="1206"/>
                </a:lnTo>
                <a:lnTo>
                  <a:pt x="2572" y="1210"/>
                </a:lnTo>
                <a:lnTo>
                  <a:pt x="2572" y="1210"/>
                </a:lnTo>
                <a:lnTo>
                  <a:pt x="2548" y="1204"/>
                </a:lnTo>
                <a:lnTo>
                  <a:pt x="2548" y="1206"/>
                </a:lnTo>
                <a:close/>
                <a:moveTo>
                  <a:pt x="2602" y="1222"/>
                </a:moveTo>
                <a:lnTo>
                  <a:pt x="2602" y="1222"/>
                </a:lnTo>
                <a:lnTo>
                  <a:pt x="2600" y="1228"/>
                </a:lnTo>
                <a:lnTo>
                  <a:pt x="2600" y="1228"/>
                </a:lnTo>
                <a:lnTo>
                  <a:pt x="2588" y="1226"/>
                </a:lnTo>
                <a:lnTo>
                  <a:pt x="2588" y="1226"/>
                </a:lnTo>
                <a:lnTo>
                  <a:pt x="2580" y="1226"/>
                </a:lnTo>
                <a:lnTo>
                  <a:pt x="2580" y="1226"/>
                </a:lnTo>
                <a:lnTo>
                  <a:pt x="2572" y="1226"/>
                </a:lnTo>
                <a:lnTo>
                  <a:pt x="2564" y="1226"/>
                </a:lnTo>
                <a:lnTo>
                  <a:pt x="2556" y="1224"/>
                </a:lnTo>
                <a:lnTo>
                  <a:pt x="2548" y="1220"/>
                </a:lnTo>
                <a:lnTo>
                  <a:pt x="2548" y="1220"/>
                </a:lnTo>
                <a:lnTo>
                  <a:pt x="2552" y="1216"/>
                </a:lnTo>
                <a:lnTo>
                  <a:pt x="2558" y="1214"/>
                </a:lnTo>
                <a:lnTo>
                  <a:pt x="2568" y="1216"/>
                </a:lnTo>
                <a:lnTo>
                  <a:pt x="2568" y="1216"/>
                </a:lnTo>
                <a:lnTo>
                  <a:pt x="2568" y="1220"/>
                </a:lnTo>
                <a:lnTo>
                  <a:pt x="2568" y="1220"/>
                </a:lnTo>
                <a:lnTo>
                  <a:pt x="2578" y="1224"/>
                </a:lnTo>
                <a:lnTo>
                  <a:pt x="2578" y="1224"/>
                </a:lnTo>
                <a:lnTo>
                  <a:pt x="2578" y="1220"/>
                </a:lnTo>
                <a:lnTo>
                  <a:pt x="2578" y="1220"/>
                </a:lnTo>
                <a:lnTo>
                  <a:pt x="2574" y="1218"/>
                </a:lnTo>
                <a:lnTo>
                  <a:pt x="2574" y="1218"/>
                </a:lnTo>
                <a:lnTo>
                  <a:pt x="2586" y="1214"/>
                </a:lnTo>
                <a:lnTo>
                  <a:pt x="2586" y="1214"/>
                </a:lnTo>
                <a:lnTo>
                  <a:pt x="2586" y="1212"/>
                </a:lnTo>
                <a:lnTo>
                  <a:pt x="2586" y="1212"/>
                </a:lnTo>
                <a:lnTo>
                  <a:pt x="2590" y="1208"/>
                </a:lnTo>
                <a:lnTo>
                  <a:pt x="2596" y="1206"/>
                </a:lnTo>
                <a:lnTo>
                  <a:pt x="2610" y="1208"/>
                </a:lnTo>
                <a:lnTo>
                  <a:pt x="2610" y="1208"/>
                </a:lnTo>
                <a:lnTo>
                  <a:pt x="2624" y="1208"/>
                </a:lnTo>
                <a:lnTo>
                  <a:pt x="2624" y="1208"/>
                </a:lnTo>
                <a:lnTo>
                  <a:pt x="2630" y="1210"/>
                </a:lnTo>
                <a:lnTo>
                  <a:pt x="2630" y="1210"/>
                </a:lnTo>
                <a:lnTo>
                  <a:pt x="2628" y="1214"/>
                </a:lnTo>
                <a:lnTo>
                  <a:pt x="2624" y="1214"/>
                </a:lnTo>
                <a:lnTo>
                  <a:pt x="2614" y="1214"/>
                </a:lnTo>
                <a:lnTo>
                  <a:pt x="2614" y="1214"/>
                </a:lnTo>
                <a:lnTo>
                  <a:pt x="2622" y="1218"/>
                </a:lnTo>
                <a:lnTo>
                  <a:pt x="2622" y="1218"/>
                </a:lnTo>
                <a:lnTo>
                  <a:pt x="2618" y="1220"/>
                </a:lnTo>
                <a:lnTo>
                  <a:pt x="2612" y="1222"/>
                </a:lnTo>
                <a:lnTo>
                  <a:pt x="2602" y="1222"/>
                </a:lnTo>
                <a:lnTo>
                  <a:pt x="2602" y="1222"/>
                </a:lnTo>
                <a:close/>
                <a:moveTo>
                  <a:pt x="2640" y="1260"/>
                </a:moveTo>
                <a:lnTo>
                  <a:pt x="2640" y="1260"/>
                </a:lnTo>
                <a:lnTo>
                  <a:pt x="2640" y="1260"/>
                </a:lnTo>
                <a:lnTo>
                  <a:pt x="2640" y="1260"/>
                </a:lnTo>
                <a:lnTo>
                  <a:pt x="2642" y="1260"/>
                </a:lnTo>
                <a:lnTo>
                  <a:pt x="2642" y="1260"/>
                </a:lnTo>
                <a:lnTo>
                  <a:pt x="2640" y="1256"/>
                </a:lnTo>
                <a:lnTo>
                  <a:pt x="2640" y="1256"/>
                </a:lnTo>
                <a:lnTo>
                  <a:pt x="2636" y="1256"/>
                </a:lnTo>
                <a:lnTo>
                  <a:pt x="2636" y="1256"/>
                </a:lnTo>
                <a:lnTo>
                  <a:pt x="2636" y="1256"/>
                </a:lnTo>
                <a:lnTo>
                  <a:pt x="2636" y="1256"/>
                </a:lnTo>
                <a:lnTo>
                  <a:pt x="2640" y="1256"/>
                </a:lnTo>
                <a:lnTo>
                  <a:pt x="2640" y="1256"/>
                </a:lnTo>
                <a:lnTo>
                  <a:pt x="2642" y="1260"/>
                </a:lnTo>
                <a:lnTo>
                  <a:pt x="2642" y="1260"/>
                </a:lnTo>
                <a:lnTo>
                  <a:pt x="2640" y="1260"/>
                </a:lnTo>
                <a:lnTo>
                  <a:pt x="2640" y="1260"/>
                </a:lnTo>
                <a:close/>
                <a:moveTo>
                  <a:pt x="2678" y="1252"/>
                </a:moveTo>
                <a:lnTo>
                  <a:pt x="2678" y="1252"/>
                </a:lnTo>
                <a:lnTo>
                  <a:pt x="2656" y="1252"/>
                </a:lnTo>
                <a:lnTo>
                  <a:pt x="2644" y="1250"/>
                </a:lnTo>
                <a:lnTo>
                  <a:pt x="2634" y="1248"/>
                </a:lnTo>
                <a:lnTo>
                  <a:pt x="2634" y="1248"/>
                </a:lnTo>
                <a:lnTo>
                  <a:pt x="2626" y="1244"/>
                </a:lnTo>
                <a:lnTo>
                  <a:pt x="2626" y="1244"/>
                </a:lnTo>
                <a:lnTo>
                  <a:pt x="2622" y="1242"/>
                </a:lnTo>
                <a:lnTo>
                  <a:pt x="2620" y="1240"/>
                </a:lnTo>
                <a:lnTo>
                  <a:pt x="2620" y="1240"/>
                </a:lnTo>
                <a:lnTo>
                  <a:pt x="2622" y="1238"/>
                </a:lnTo>
                <a:lnTo>
                  <a:pt x="2624" y="1236"/>
                </a:lnTo>
                <a:lnTo>
                  <a:pt x="2624" y="1236"/>
                </a:lnTo>
                <a:lnTo>
                  <a:pt x="2628" y="1234"/>
                </a:lnTo>
                <a:lnTo>
                  <a:pt x="2632" y="1236"/>
                </a:lnTo>
                <a:lnTo>
                  <a:pt x="2632" y="1236"/>
                </a:lnTo>
                <a:lnTo>
                  <a:pt x="2662" y="1248"/>
                </a:lnTo>
                <a:lnTo>
                  <a:pt x="2662" y="1248"/>
                </a:lnTo>
                <a:lnTo>
                  <a:pt x="2670" y="1250"/>
                </a:lnTo>
                <a:lnTo>
                  <a:pt x="2674" y="1250"/>
                </a:lnTo>
                <a:lnTo>
                  <a:pt x="2678" y="1248"/>
                </a:lnTo>
                <a:lnTo>
                  <a:pt x="2678" y="1248"/>
                </a:lnTo>
                <a:lnTo>
                  <a:pt x="2682" y="1248"/>
                </a:lnTo>
                <a:lnTo>
                  <a:pt x="2682" y="1248"/>
                </a:lnTo>
                <a:lnTo>
                  <a:pt x="2682" y="1250"/>
                </a:lnTo>
                <a:lnTo>
                  <a:pt x="2682" y="1250"/>
                </a:lnTo>
                <a:lnTo>
                  <a:pt x="2678" y="1252"/>
                </a:lnTo>
                <a:lnTo>
                  <a:pt x="2678" y="1252"/>
                </a:lnTo>
                <a:close/>
                <a:moveTo>
                  <a:pt x="2682" y="176"/>
                </a:moveTo>
                <a:lnTo>
                  <a:pt x="2682" y="176"/>
                </a:lnTo>
                <a:lnTo>
                  <a:pt x="2688" y="174"/>
                </a:lnTo>
                <a:lnTo>
                  <a:pt x="2688" y="174"/>
                </a:lnTo>
                <a:lnTo>
                  <a:pt x="2688" y="172"/>
                </a:lnTo>
                <a:lnTo>
                  <a:pt x="2688" y="172"/>
                </a:lnTo>
                <a:lnTo>
                  <a:pt x="2690" y="172"/>
                </a:lnTo>
                <a:lnTo>
                  <a:pt x="2690" y="172"/>
                </a:lnTo>
                <a:lnTo>
                  <a:pt x="2688" y="174"/>
                </a:lnTo>
                <a:lnTo>
                  <a:pt x="2688" y="174"/>
                </a:lnTo>
                <a:lnTo>
                  <a:pt x="2682" y="176"/>
                </a:lnTo>
                <a:lnTo>
                  <a:pt x="2682" y="176"/>
                </a:lnTo>
                <a:close/>
                <a:moveTo>
                  <a:pt x="2736" y="1238"/>
                </a:moveTo>
                <a:lnTo>
                  <a:pt x="2736" y="1238"/>
                </a:lnTo>
                <a:lnTo>
                  <a:pt x="2736" y="1238"/>
                </a:lnTo>
                <a:lnTo>
                  <a:pt x="2736" y="1238"/>
                </a:lnTo>
                <a:lnTo>
                  <a:pt x="2740" y="1236"/>
                </a:lnTo>
                <a:lnTo>
                  <a:pt x="2740" y="1236"/>
                </a:lnTo>
                <a:lnTo>
                  <a:pt x="2740" y="1236"/>
                </a:lnTo>
                <a:lnTo>
                  <a:pt x="2740" y="1236"/>
                </a:lnTo>
                <a:lnTo>
                  <a:pt x="2736" y="1238"/>
                </a:lnTo>
                <a:lnTo>
                  <a:pt x="2736" y="1238"/>
                </a:lnTo>
                <a:close/>
                <a:moveTo>
                  <a:pt x="2756" y="1236"/>
                </a:moveTo>
                <a:lnTo>
                  <a:pt x="2756" y="1236"/>
                </a:lnTo>
                <a:lnTo>
                  <a:pt x="2748" y="1232"/>
                </a:lnTo>
                <a:lnTo>
                  <a:pt x="2740" y="1230"/>
                </a:lnTo>
                <a:lnTo>
                  <a:pt x="2740" y="1230"/>
                </a:lnTo>
                <a:lnTo>
                  <a:pt x="2738" y="1230"/>
                </a:lnTo>
                <a:lnTo>
                  <a:pt x="2738" y="1230"/>
                </a:lnTo>
                <a:lnTo>
                  <a:pt x="2748" y="1232"/>
                </a:lnTo>
                <a:lnTo>
                  <a:pt x="2756" y="1236"/>
                </a:lnTo>
                <a:lnTo>
                  <a:pt x="2756" y="1236"/>
                </a:lnTo>
                <a:lnTo>
                  <a:pt x="2756" y="1236"/>
                </a:lnTo>
                <a:lnTo>
                  <a:pt x="2756" y="1236"/>
                </a:lnTo>
                <a:close/>
                <a:moveTo>
                  <a:pt x="2766" y="226"/>
                </a:moveTo>
                <a:lnTo>
                  <a:pt x="2766" y="226"/>
                </a:lnTo>
                <a:lnTo>
                  <a:pt x="2762" y="224"/>
                </a:lnTo>
                <a:lnTo>
                  <a:pt x="2762" y="224"/>
                </a:lnTo>
                <a:lnTo>
                  <a:pt x="2764" y="224"/>
                </a:lnTo>
                <a:lnTo>
                  <a:pt x="2766" y="226"/>
                </a:lnTo>
                <a:lnTo>
                  <a:pt x="2766" y="226"/>
                </a:lnTo>
                <a:lnTo>
                  <a:pt x="2766" y="226"/>
                </a:lnTo>
                <a:lnTo>
                  <a:pt x="2766" y="226"/>
                </a:lnTo>
                <a:close/>
                <a:moveTo>
                  <a:pt x="2778" y="1180"/>
                </a:moveTo>
                <a:lnTo>
                  <a:pt x="2778" y="1180"/>
                </a:lnTo>
                <a:lnTo>
                  <a:pt x="2784" y="1182"/>
                </a:lnTo>
                <a:lnTo>
                  <a:pt x="2784" y="1182"/>
                </a:lnTo>
                <a:lnTo>
                  <a:pt x="2784" y="1182"/>
                </a:lnTo>
                <a:lnTo>
                  <a:pt x="2784" y="1182"/>
                </a:lnTo>
                <a:lnTo>
                  <a:pt x="2784" y="1182"/>
                </a:lnTo>
                <a:lnTo>
                  <a:pt x="2784" y="1182"/>
                </a:lnTo>
                <a:lnTo>
                  <a:pt x="2784" y="1182"/>
                </a:lnTo>
                <a:lnTo>
                  <a:pt x="2778" y="1180"/>
                </a:lnTo>
                <a:lnTo>
                  <a:pt x="2778" y="1180"/>
                </a:lnTo>
                <a:lnTo>
                  <a:pt x="2778" y="1180"/>
                </a:lnTo>
                <a:lnTo>
                  <a:pt x="2778" y="1180"/>
                </a:lnTo>
                <a:close/>
                <a:moveTo>
                  <a:pt x="2776" y="1208"/>
                </a:moveTo>
                <a:lnTo>
                  <a:pt x="2776" y="1208"/>
                </a:lnTo>
                <a:lnTo>
                  <a:pt x="2776" y="1208"/>
                </a:lnTo>
                <a:lnTo>
                  <a:pt x="2776" y="1208"/>
                </a:lnTo>
                <a:lnTo>
                  <a:pt x="2784" y="1198"/>
                </a:lnTo>
                <a:lnTo>
                  <a:pt x="2786" y="1196"/>
                </a:lnTo>
                <a:lnTo>
                  <a:pt x="2784" y="1194"/>
                </a:lnTo>
                <a:lnTo>
                  <a:pt x="2784" y="1194"/>
                </a:lnTo>
                <a:lnTo>
                  <a:pt x="2784" y="1194"/>
                </a:lnTo>
                <a:lnTo>
                  <a:pt x="2784" y="1194"/>
                </a:lnTo>
                <a:lnTo>
                  <a:pt x="2786" y="1196"/>
                </a:lnTo>
                <a:lnTo>
                  <a:pt x="2784" y="1198"/>
                </a:lnTo>
                <a:lnTo>
                  <a:pt x="2776" y="1208"/>
                </a:lnTo>
                <a:lnTo>
                  <a:pt x="2776" y="1208"/>
                </a:lnTo>
                <a:close/>
                <a:moveTo>
                  <a:pt x="2802" y="1182"/>
                </a:moveTo>
                <a:lnTo>
                  <a:pt x="2802" y="1182"/>
                </a:lnTo>
                <a:lnTo>
                  <a:pt x="2802" y="1182"/>
                </a:lnTo>
                <a:lnTo>
                  <a:pt x="2802" y="1182"/>
                </a:lnTo>
                <a:lnTo>
                  <a:pt x="2806" y="1180"/>
                </a:lnTo>
                <a:lnTo>
                  <a:pt x="2806" y="1180"/>
                </a:lnTo>
                <a:lnTo>
                  <a:pt x="2802" y="1178"/>
                </a:lnTo>
                <a:lnTo>
                  <a:pt x="2802" y="1178"/>
                </a:lnTo>
                <a:lnTo>
                  <a:pt x="2802" y="1178"/>
                </a:lnTo>
                <a:lnTo>
                  <a:pt x="2802" y="1178"/>
                </a:lnTo>
                <a:lnTo>
                  <a:pt x="2806" y="1180"/>
                </a:lnTo>
                <a:lnTo>
                  <a:pt x="2806" y="1180"/>
                </a:lnTo>
                <a:lnTo>
                  <a:pt x="2802" y="1182"/>
                </a:lnTo>
                <a:lnTo>
                  <a:pt x="2802" y="1182"/>
                </a:lnTo>
                <a:close/>
                <a:moveTo>
                  <a:pt x="2816" y="714"/>
                </a:moveTo>
                <a:lnTo>
                  <a:pt x="2816" y="714"/>
                </a:lnTo>
                <a:lnTo>
                  <a:pt x="2816" y="714"/>
                </a:lnTo>
                <a:lnTo>
                  <a:pt x="2816" y="714"/>
                </a:lnTo>
                <a:lnTo>
                  <a:pt x="2816" y="712"/>
                </a:lnTo>
                <a:lnTo>
                  <a:pt x="2816" y="712"/>
                </a:lnTo>
                <a:lnTo>
                  <a:pt x="2812" y="712"/>
                </a:lnTo>
                <a:lnTo>
                  <a:pt x="2812" y="712"/>
                </a:lnTo>
                <a:lnTo>
                  <a:pt x="2812" y="712"/>
                </a:lnTo>
                <a:lnTo>
                  <a:pt x="2812" y="712"/>
                </a:lnTo>
                <a:lnTo>
                  <a:pt x="2812" y="712"/>
                </a:lnTo>
                <a:lnTo>
                  <a:pt x="2816" y="712"/>
                </a:lnTo>
                <a:lnTo>
                  <a:pt x="2816" y="712"/>
                </a:lnTo>
                <a:lnTo>
                  <a:pt x="2816" y="714"/>
                </a:lnTo>
                <a:lnTo>
                  <a:pt x="2816" y="714"/>
                </a:lnTo>
                <a:close/>
                <a:moveTo>
                  <a:pt x="2878" y="190"/>
                </a:moveTo>
                <a:lnTo>
                  <a:pt x="2878" y="190"/>
                </a:lnTo>
                <a:lnTo>
                  <a:pt x="2888" y="186"/>
                </a:lnTo>
                <a:lnTo>
                  <a:pt x="2888" y="186"/>
                </a:lnTo>
                <a:lnTo>
                  <a:pt x="2888" y="186"/>
                </a:lnTo>
                <a:lnTo>
                  <a:pt x="2888" y="186"/>
                </a:lnTo>
                <a:lnTo>
                  <a:pt x="2878" y="190"/>
                </a:lnTo>
                <a:lnTo>
                  <a:pt x="2878" y="190"/>
                </a:lnTo>
                <a:lnTo>
                  <a:pt x="2878" y="190"/>
                </a:lnTo>
                <a:lnTo>
                  <a:pt x="2878" y="190"/>
                </a:lnTo>
                <a:close/>
                <a:moveTo>
                  <a:pt x="2876" y="182"/>
                </a:moveTo>
                <a:lnTo>
                  <a:pt x="2876" y="182"/>
                </a:lnTo>
                <a:lnTo>
                  <a:pt x="2878" y="180"/>
                </a:lnTo>
                <a:lnTo>
                  <a:pt x="2878" y="180"/>
                </a:lnTo>
                <a:lnTo>
                  <a:pt x="2876" y="178"/>
                </a:lnTo>
                <a:lnTo>
                  <a:pt x="2876" y="178"/>
                </a:lnTo>
                <a:lnTo>
                  <a:pt x="2876" y="178"/>
                </a:lnTo>
                <a:lnTo>
                  <a:pt x="2876" y="178"/>
                </a:lnTo>
                <a:lnTo>
                  <a:pt x="2878" y="180"/>
                </a:lnTo>
                <a:lnTo>
                  <a:pt x="2878" y="180"/>
                </a:lnTo>
                <a:lnTo>
                  <a:pt x="2876" y="182"/>
                </a:lnTo>
                <a:lnTo>
                  <a:pt x="2876" y="182"/>
                </a:lnTo>
                <a:lnTo>
                  <a:pt x="2876" y="182"/>
                </a:lnTo>
                <a:lnTo>
                  <a:pt x="2876" y="182"/>
                </a:lnTo>
                <a:lnTo>
                  <a:pt x="2876" y="182"/>
                </a:lnTo>
                <a:lnTo>
                  <a:pt x="2876" y="182"/>
                </a:lnTo>
                <a:close/>
                <a:moveTo>
                  <a:pt x="2876" y="204"/>
                </a:moveTo>
                <a:lnTo>
                  <a:pt x="2876" y="204"/>
                </a:lnTo>
                <a:lnTo>
                  <a:pt x="2884" y="204"/>
                </a:lnTo>
                <a:lnTo>
                  <a:pt x="2884" y="204"/>
                </a:lnTo>
                <a:lnTo>
                  <a:pt x="2892" y="204"/>
                </a:lnTo>
                <a:lnTo>
                  <a:pt x="2900" y="204"/>
                </a:lnTo>
                <a:lnTo>
                  <a:pt x="2900" y="204"/>
                </a:lnTo>
                <a:lnTo>
                  <a:pt x="2892" y="204"/>
                </a:lnTo>
                <a:lnTo>
                  <a:pt x="2884" y="204"/>
                </a:lnTo>
                <a:lnTo>
                  <a:pt x="2884" y="204"/>
                </a:lnTo>
                <a:lnTo>
                  <a:pt x="2876" y="204"/>
                </a:lnTo>
                <a:lnTo>
                  <a:pt x="2876" y="204"/>
                </a:lnTo>
                <a:lnTo>
                  <a:pt x="2876" y="204"/>
                </a:lnTo>
                <a:lnTo>
                  <a:pt x="2876" y="204"/>
                </a:lnTo>
                <a:close/>
                <a:moveTo>
                  <a:pt x="2884" y="1176"/>
                </a:moveTo>
                <a:lnTo>
                  <a:pt x="2884" y="1176"/>
                </a:lnTo>
                <a:lnTo>
                  <a:pt x="2884" y="1176"/>
                </a:lnTo>
                <a:lnTo>
                  <a:pt x="2884" y="1176"/>
                </a:lnTo>
                <a:lnTo>
                  <a:pt x="2890" y="1176"/>
                </a:lnTo>
                <a:lnTo>
                  <a:pt x="2892" y="1176"/>
                </a:lnTo>
                <a:lnTo>
                  <a:pt x="2898" y="1172"/>
                </a:lnTo>
                <a:lnTo>
                  <a:pt x="2898" y="1172"/>
                </a:lnTo>
                <a:lnTo>
                  <a:pt x="2898" y="1172"/>
                </a:lnTo>
                <a:lnTo>
                  <a:pt x="2898" y="1172"/>
                </a:lnTo>
                <a:lnTo>
                  <a:pt x="2892" y="1176"/>
                </a:lnTo>
                <a:lnTo>
                  <a:pt x="2890" y="1176"/>
                </a:lnTo>
                <a:lnTo>
                  <a:pt x="2884" y="1176"/>
                </a:lnTo>
                <a:lnTo>
                  <a:pt x="2884" y="1176"/>
                </a:lnTo>
                <a:close/>
                <a:moveTo>
                  <a:pt x="2892" y="1164"/>
                </a:moveTo>
                <a:lnTo>
                  <a:pt x="2892" y="1164"/>
                </a:lnTo>
                <a:lnTo>
                  <a:pt x="2892" y="1164"/>
                </a:lnTo>
                <a:lnTo>
                  <a:pt x="2892" y="1164"/>
                </a:lnTo>
                <a:lnTo>
                  <a:pt x="2896" y="1164"/>
                </a:lnTo>
                <a:lnTo>
                  <a:pt x="2896" y="1164"/>
                </a:lnTo>
                <a:lnTo>
                  <a:pt x="2898" y="1162"/>
                </a:lnTo>
                <a:lnTo>
                  <a:pt x="2898" y="1162"/>
                </a:lnTo>
                <a:lnTo>
                  <a:pt x="2898" y="1162"/>
                </a:lnTo>
                <a:lnTo>
                  <a:pt x="2898" y="1162"/>
                </a:lnTo>
                <a:lnTo>
                  <a:pt x="2898" y="1164"/>
                </a:lnTo>
                <a:lnTo>
                  <a:pt x="2898" y="1164"/>
                </a:lnTo>
                <a:lnTo>
                  <a:pt x="2892" y="1164"/>
                </a:lnTo>
                <a:lnTo>
                  <a:pt x="2892" y="1164"/>
                </a:lnTo>
                <a:close/>
                <a:moveTo>
                  <a:pt x="2894" y="1152"/>
                </a:moveTo>
                <a:lnTo>
                  <a:pt x="2894" y="1152"/>
                </a:lnTo>
                <a:lnTo>
                  <a:pt x="2894" y="1152"/>
                </a:lnTo>
                <a:lnTo>
                  <a:pt x="2894" y="1152"/>
                </a:lnTo>
                <a:lnTo>
                  <a:pt x="2894" y="1152"/>
                </a:lnTo>
                <a:lnTo>
                  <a:pt x="2894" y="1152"/>
                </a:lnTo>
                <a:lnTo>
                  <a:pt x="2898" y="1150"/>
                </a:lnTo>
                <a:lnTo>
                  <a:pt x="2898" y="1150"/>
                </a:lnTo>
                <a:lnTo>
                  <a:pt x="2896" y="1148"/>
                </a:lnTo>
                <a:lnTo>
                  <a:pt x="2896" y="1148"/>
                </a:lnTo>
                <a:lnTo>
                  <a:pt x="2898" y="1150"/>
                </a:lnTo>
                <a:lnTo>
                  <a:pt x="2898" y="1150"/>
                </a:lnTo>
                <a:lnTo>
                  <a:pt x="2894" y="1152"/>
                </a:lnTo>
                <a:lnTo>
                  <a:pt x="2894" y="1152"/>
                </a:lnTo>
                <a:close/>
                <a:moveTo>
                  <a:pt x="2878" y="794"/>
                </a:moveTo>
                <a:lnTo>
                  <a:pt x="2878" y="794"/>
                </a:lnTo>
                <a:lnTo>
                  <a:pt x="2876" y="792"/>
                </a:lnTo>
                <a:lnTo>
                  <a:pt x="2878" y="788"/>
                </a:lnTo>
                <a:lnTo>
                  <a:pt x="2878" y="786"/>
                </a:lnTo>
                <a:lnTo>
                  <a:pt x="2876" y="784"/>
                </a:lnTo>
                <a:lnTo>
                  <a:pt x="2876" y="784"/>
                </a:lnTo>
                <a:lnTo>
                  <a:pt x="2880" y="782"/>
                </a:lnTo>
                <a:lnTo>
                  <a:pt x="2886" y="782"/>
                </a:lnTo>
                <a:lnTo>
                  <a:pt x="2886" y="782"/>
                </a:lnTo>
                <a:lnTo>
                  <a:pt x="2902" y="790"/>
                </a:lnTo>
                <a:lnTo>
                  <a:pt x="2902" y="790"/>
                </a:lnTo>
                <a:lnTo>
                  <a:pt x="2896" y="792"/>
                </a:lnTo>
                <a:lnTo>
                  <a:pt x="2888" y="792"/>
                </a:lnTo>
                <a:lnTo>
                  <a:pt x="2882" y="792"/>
                </a:lnTo>
                <a:lnTo>
                  <a:pt x="2880" y="792"/>
                </a:lnTo>
                <a:lnTo>
                  <a:pt x="2878" y="794"/>
                </a:lnTo>
                <a:lnTo>
                  <a:pt x="2878" y="794"/>
                </a:lnTo>
                <a:close/>
                <a:moveTo>
                  <a:pt x="2920" y="208"/>
                </a:moveTo>
                <a:lnTo>
                  <a:pt x="2920" y="208"/>
                </a:lnTo>
                <a:lnTo>
                  <a:pt x="2920" y="208"/>
                </a:lnTo>
                <a:lnTo>
                  <a:pt x="2920" y="200"/>
                </a:lnTo>
                <a:lnTo>
                  <a:pt x="2920" y="200"/>
                </a:lnTo>
                <a:lnTo>
                  <a:pt x="2912" y="200"/>
                </a:lnTo>
                <a:lnTo>
                  <a:pt x="2906" y="202"/>
                </a:lnTo>
                <a:lnTo>
                  <a:pt x="2906" y="202"/>
                </a:lnTo>
                <a:lnTo>
                  <a:pt x="2906" y="202"/>
                </a:lnTo>
                <a:lnTo>
                  <a:pt x="2906" y="202"/>
                </a:lnTo>
                <a:lnTo>
                  <a:pt x="2912" y="200"/>
                </a:lnTo>
                <a:lnTo>
                  <a:pt x="2920" y="200"/>
                </a:lnTo>
                <a:lnTo>
                  <a:pt x="2920" y="208"/>
                </a:lnTo>
                <a:close/>
                <a:moveTo>
                  <a:pt x="2966" y="286"/>
                </a:moveTo>
                <a:lnTo>
                  <a:pt x="2966" y="286"/>
                </a:lnTo>
                <a:lnTo>
                  <a:pt x="2970" y="286"/>
                </a:lnTo>
                <a:lnTo>
                  <a:pt x="2976" y="282"/>
                </a:lnTo>
                <a:lnTo>
                  <a:pt x="2976" y="282"/>
                </a:lnTo>
                <a:lnTo>
                  <a:pt x="2966" y="282"/>
                </a:lnTo>
                <a:lnTo>
                  <a:pt x="2966" y="282"/>
                </a:lnTo>
                <a:lnTo>
                  <a:pt x="2976" y="282"/>
                </a:lnTo>
                <a:lnTo>
                  <a:pt x="2976" y="282"/>
                </a:lnTo>
                <a:lnTo>
                  <a:pt x="2970" y="286"/>
                </a:lnTo>
                <a:lnTo>
                  <a:pt x="2966" y="286"/>
                </a:lnTo>
                <a:lnTo>
                  <a:pt x="2966" y="286"/>
                </a:lnTo>
                <a:close/>
                <a:moveTo>
                  <a:pt x="3052" y="1166"/>
                </a:moveTo>
                <a:lnTo>
                  <a:pt x="3052" y="1166"/>
                </a:lnTo>
                <a:lnTo>
                  <a:pt x="3058" y="1166"/>
                </a:lnTo>
                <a:lnTo>
                  <a:pt x="3058" y="1164"/>
                </a:lnTo>
                <a:lnTo>
                  <a:pt x="3058" y="1162"/>
                </a:lnTo>
                <a:lnTo>
                  <a:pt x="3058" y="1162"/>
                </a:lnTo>
                <a:lnTo>
                  <a:pt x="3058" y="1162"/>
                </a:lnTo>
                <a:lnTo>
                  <a:pt x="3058" y="1162"/>
                </a:lnTo>
                <a:lnTo>
                  <a:pt x="3058" y="1166"/>
                </a:lnTo>
                <a:lnTo>
                  <a:pt x="3058" y="1166"/>
                </a:lnTo>
                <a:lnTo>
                  <a:pt x="3050" y="1166"/>
                </a:lnTo>
                <a:lnTo>
                  <a:pt x="3050" y="1166"/>
                </a:lnTo>
                <a:lnTo>
                  <a:pt x="3052" y="1166"/>
                </a:lnTo>
                <a:lnTo>
                  <a:pt x="3052" y="1166"/>
                </a:lnTo>
                <a:close/>
                <a:moveTo>
                  <a:pt x="3064" y="1096"/>
                </a:moveTo>
                <a:lnTo>
                  <a:pt x="3064" y="1096"/>
                </a:lnTo>
                <a:lnTo>
                  <a:pt x="3068" y="1096"/>
                </a:lnTo>
                <a:lnTo>
                  <a:pt x="3068" y="1096"/>
                </a:lnTo>
                <a:lnTo>
                  <a:pt x="3068" y="1096"/>
                </a:lnTo>
                <a:lnTo>
                  <a:pt x="3068" y="1096"/>
                </a:lnTo>
                <a:lnTo>
                  <a:pt x="3064" y="1096"/>
                </a:lnTo>
                <a:lnTo>
                  <a:pt x="3064" y="1096"/>
                </a:lnTo>
                <a:lnTo>
                  <a:pt x="3062" y="1096"/>
                </a:lnTo>
                <a:lnTo>
                  <a:pt x="3062" y="1096"/>
                </a:lnTo>
                <a:lnTo>
                  <a:pt x="3064" y="1096"/>
                </a:lnTo>
                <a:lnTo>
                  <a:pt x="3064" y="1096"/>
                </a:lnTo>
                <a:close/>
                <a:moveTo>
                  <a:pt x="3024" y="170"/>
                </a:moveTo>
                <a:lnTo>
                  <a:pt x="3024" y="170"/>
                </a:lnTo>
                <a:lnTo>
                  <a:pt x="3016" y="172"/>
                </a:lnTo>
                <a:lnTo>
                  <a:pt x="3010" y="172"/>
                </a:lnTo>
                <a:lnTo>
                  <a:pt x="3010" y="172"/>
                </a:lnTo>
                <a:lnTo>
                  <a:pt x="3016" y="172"/>
                </a:lnTo>
                <a:lnTo>
                  <a:pt x="3024" y="170"/>
                </a:lnTo>
                <a:lnTo>
                  <a:pt x="3024" y="170"/>
                </a:lnTo>
                <a:lnTo>
                  <a:pt x="3002" y="168"/>
                </a:lnTo>
                <a:lnTo>
                  <a:pt x="3002" y="168"/>
                </a:lnTo>
                <a:lnTo>
                  <a:pt x="3024" y="170"/>
                </a:lnTo>
                <a:lnTo>
                  <a:pt x="3024" y="170"/>
                </a:lnTo>
                <a:close/>
                <a:moveTo>
                  <a:pt x="3042" y="1126"/>
                </a:moveTo>
                <a:lnTo>
                  <a:pt x="3042" y="1126"/>
                </a:lnTo>
                <a:lnTo>
                  <a:pt x="3040" y="1130"/>
                </a:lnTo>
                <a:lnTo>
                  <a:pt x="3040" y="1130"/>
                </a:lnTo>
                <a:lnTo>
                  <a:pt x="3040" y="1130"/>
                </a:lnTo>
                <a:lnTo>
                  <a:pt x="3040" y="1130"/>
                </a:lnTo>
                <a:lnTo>
                  <a:pt x="3042" y="1126"/>
                </a:lnTo>
                <a:lnTo>
                  <a:pt x="3042" y="1126"/>
                </a:lnTo>
                <a:lnTo>
                  <a:pt x="3034" y="1126"/>
                </a:lnTo>
                <a:lnTo>
                  <a:pt x="3034" y="1126"/>
                </a:lnTo>
                <a:lnTo>
                  <a:pt x="3028" y="1128"/>
                </a:lnTo>
                <a:lnTo>
                  <a:pt x="3024" y="1130"/>
                </a:lnTo>
                <a:lnTo>
                  <a:pt x="3018" y="1132"/>
                </a:lnTo>
                <a:lnTo>
                  <a:pt x="3014" y="1132"/>
                </a:lnTo>
                <a:lnTo>
                  <a:pt x="3014" y="1132"/>
                </a:lnTo>
                <a:lnTo>
                  <a:pt x="3014" y="1132"/>
                </a:lnTo>
                <a:lnTo>
                  <a:pt x="3014" y="1132"/>
                </a:lnTo>
                <a:lnTo>
                  <a:pt x="3014" y="1132"/>
                </a:lnTo>
                <a:lnTo>
                  <a:pt x="3014" y="1132"/>
                </a:lnTo>
                <a:lnTo>
                  <a:pt x="3020" y="1132"/>
                </a:lnTo>
                <a:lnTo>
                  <a:pt x="3024" y="1130"/>
                </a:lnTo>
                <a:lnTo>
                  <a:pt x="3028" y="1128"/>
                </a:lnTo>
                <a:lnTo>
                  <a:pt x="3034" y="1126"/>
                </a:lnTo>
                <a:lnTo>
                  <a:pt x="3034" y="1126"/>
                </a:lnTo>
                <a:lnTo>
                  <a:pt x="3042" y="1126"/>
                </a:lnTo>
                <a:lnTo>
                  <a:pt x="3042" y="1126"/>
                </a:lnTo>
                <a:close/>
                <a:moveTo>
                  <a:pt x="3016" y="966"/>
                </a:moveTo>
                <a:lnTo>
                  <a:pt x="3016" y="966"/>
                </a:lnTo>
                <a:lnTo>
                  <a:pt x="3016" y="966"/>
                </a:lnTo>
                <a:lnTo>
                  <a:pt x="3016" y="966"/>
                </a:lnTo>
                <a:lnTo>
                  <a:pt x="3020" y="964"/>
                </a:lnTo>
                <a:lnTo>
                  <a:pt x="3020" y="964"/>
                </a:lnTo>
                <a:lnTo>
                  <a:pt x="3020" y="964"/>
                </a:lnTo>
                <a:lnTo>
                  <a:pt x="3020" y="964"/>
                </a:lnTo>
                <a:lnTo>
                  <a:pt x="3016" y="966"/>
                </a:lnTo>
                <a:lnTo>
                  <a:pt x="3016" y="966"/>
                </a:lnTo>
                <a:lnTo>
                  <a:pt x="3016" y="966"/>
                </a:lnTo>
                <a:lnTo>
                  <a:pt x="3016" y="966"/>
                </a:lnTo>
                <a:close/>
                <a:moveTo>
                  <a:pt x="3036" y="1102"/>
                </a:moveTo>
                <a:lnTo>
                  <a:pt x="3036" y="1102"/>
                </a:lnTo>
                <a:lnTo>
                  <a:pt x="3032" y="1100"/>
                </a:lnTo>
                <a:lnTo>
                  <a:pt x="3032" y="1100"/>
                </a:lnTo>
                <a:lnTo>
                  <a:pt x="3032" y="1100"/>
                </a:lnTo>
                <a:lnTo>
                  <a:pt x="3032" y="1100"/>
                </a:lnTo>
                <a:lnTo>
                  <a:pt x="3036" y="1102"/>
                </a:lnTo>
                <a:lnTo>
                  <a:pt x="3036" y="1102"/>
                </a:lnTo>
                <a:lnTo>
                  <a:pt x="3036" y="1102"/>
                </a:lnTo>
                <a:lnTo>
                  <a:pt x="3032" y="1102"/>
                </a:lnTo>
                <a:lnTo>
                  <a:pt x="3032" y="1102"/>
                </a:lnTo>
                <a:lnTo>
                  <a:pt x="3032" y="1102"/>
                </a:lnTo>
                <a:lnTo>
                  <a:pt x="3032" y="1102"/>
                </a:lnTo>
                <a:lnTo>
                  <a:pt x="3036" y="1102"/>
                </a:lnTo>
                <a:lnTo>
                  <a:pt x="3036" y="1102"/>
                </a:lnTo>
                <a:close/>
                <a:moveTo>
                  <a:pt x="3054" y="202"/>
                </a:moveTo>
                <a:lnTo>
                  <a:pt x="3054" y="202"/>
                </a:lnTo>
                <a:lnTo>
                  <a:pt x="3052" y="204"/>
                </a:lnTo>
                <a:lnTo>
                  <a:pt x="3048" y="206"/>
                </a:lnTo>
                <a:lnTo>
                  <a:pt x="3048" y="206"/>
                </a:lnTo>
                <a:lnTo>
                  <a:pt x="3044" y="206"/>
                </a:lnTo>
                <a:lnTo>
                  <a:pt x="3042" y="204"/>
                </a:lnTo>
                <a:lnTo>
                  <a:pt x="3042" y="204"/>
                </a:lnTo>
                <a:lnTo>
                  <a:pt x="3036" y="200"/>
                </a:lnTo>
                <a:lnTo>
                  <a:pt x="3028" y="196"/>
                </a:lnTo>
                <a:lnTo>
                  <a:pt x="3020" y="194"/>
                </a:lnTo>
                <a:lnTo>
                  <a:pt x="3012" y="194"/>
                </a:lnTo>
                <a:lnTo>
                  <a:pt x="3012" y="194"/>
                </a:lnTo>
                <a:lnTo>
                  <a:pt x="3006" y="194"/>
                </a:lnTo>
                <a:lnTo>
                  <a:pt x="3006" y="194"/>
                </a:lnTo>
                <a:lnTo>
                  <a:pt x="3006" y="190"/>
                </a:lnTo>
                <a:lnTo>
                  <a:pt x="3006" y="190"/>
                </a:lnTo>
                <a:lnTo>
                  <a:pt x="3004" y="190"/>
                </a:lnTo>
                <a:lnTo>
                  <a:pt x="3002" y="188"/>
                </a:lnTo>
                <a:lnTo>
                  <a:pt x="2998" y="180"/>
                </a:lnTo>
                <a:lnTo>
                  <a:pt x="2998" y="180"/>
                </a:lnTo>
                <a:lnTo>
                  <a:pt x="3008" y="180"/>
                </a:lnTo>
                <a:lnTo>
                  <a:pt x="3012" y="180"/>
                </a:lnTo>
                <a:lnTo>
                  <a:pt x="3014" y="184"/>
                </a:lnTo>
                <a:lnTo>
                  <a:pt x="3014" y="184"/>
                </a:lnTo>
                <a:lnTo>
                  <a:pt x="3016" y="186"/>
                </a:lnTo>
                <a:lnTo>
                  <a:pt x="3018" y="188"/>
                </a:lnTo>
                <a:lnTo>
                  <a:pt x="3026" y="188"/>
                </a:lnTo>
                <a:lnTo>
                  <a:pt x="3026" y="188"/>
                </a:lnTo>
                <a:lnTo>
                  <a:pt x="3038" y="188"/>
                </a:lnTo>
                <a:lnTo>
                  <a:pt x="3038" y="188"/>
                </a:lnTo>
                <a:lnTo>
                  <a:pt x="3048" y="188"/>
                </a:lnTo>
                <a:lnTo>
                  <a:pt x="3054" y="192"/>
                </a:lnTo>
                <a:lnTo>
                  <a:pt x="3054" y="192"/>
                </a:lnTo>
                <a:lnTo>
                  <a:pt x="3054" y="202"/>
                </a:lnTo>
                <a:lnTo>
                  <a:pt x="3054" y="202"/>
                </a:lnTo>
                <a:close/>
                <a:moveTo>
                  <a:pt x="3062" y="1106"/>
                </a:moveTo>
                <a:lnTo>
                  <a:pt x="3062" y="1106"/>
                </a:lnTo>
                <a:lnTo>
                  <a:pt x="3062" y="1106"/>
                </a:lnTo>
                <a:lnTo>
                  <a:pt x="3068" y="1108"/>
                </a:lnTo>
                <a:lnTo>
                  <a:pt x="3078" y="1106"/>
                </a:lnTo>
                <a:lnTo>
                  <a:pt x="3080" y="1106"/>
                </a:lnTo>
                <a:lnTo>
                  <a:pt x="3080" y="1106"/>
                </a:lnTo>
                <a:lnTo>
                  <a:pt x="3068" y="1108"/>
                </a:lnTo>
                <a:lnTo>
                  <a:pt x="3062" y="1106"/>
                </a:lnTo>
                <a:lnTo>
                  <a:pt x="3062" y="1106"/>
                </a:lnTo>
                <a:close/>
                <a:moveTo>
                  <a:pt x="3092" y="1034"/>
                </a:moveTo>
                <a:lnTo>
                  <a:pt x="3092" y="1034"/>
                </a:lnTo>
                <a:lnTo>
                  <a:pt x="3092" y="1034"/>
                </a:lnTo>
                <a:lnTo>
                  <a:pt x="3092" y="1034"/>
                </a:lnTo>
                <a:lnTo>
                  <a:pt x="3090" y="1034"/>
                </a:lnTo>
                <a:lnTo>
                  <a:pt x="3090" y="1034"/>
                </a:lnTo>
                <a:lnTo>
                  <a:pt x="3090" y="1034"/>
                </a:lnTo>
                <a:lnTo>
                  <a:pt x="3090" y="1034"/>
                </a:lnTo>
                <a:lnTo>
                  <a:pt x="3092" y="1034"/>
                </a:lnTo>
                <a:lnTo>
                  <a:pt x="3092" y="1034"/>
                </a:lnTo>
                <a:close/>
                <a:moveTo>
                  <a:pt x="3086" y="1060"/>
                </a:moveTo>
                <a:lnTo>
                  <a:pt x="3086" y="1060"/>
                </a:lnTo>
                <a:lnTo>
                  <a:pt x="3086" y="1060"/>
                </a:lnTo>
                <a:lnTo>
                  <a:pt x="3086" y="1060"/>
                </a:lnTo>
                <a:lnTo>
                  <a:pt x="3088" y="1060"/>
                </a:lnTo>
                <a:lnTo>
                  <a:pt x="3088" y="1060"/>
                </a:lnTo>
                <a:lnTo>
                  <a:pt x="3090" y="1060"/>
                </a:lnTo>
                <a:lnTo>
                  <a:pt x="3090" y="1060"/>
                </a:lnTo>
                <a:lnTo>
                  <a:pt x="3086" y="1060"/>
                </a:lnTo>
                <a:lnTo>
                  <a:pt x="3086" y="1060"/>
                </a:lnTo>
                <a:close/>
                <a:moveTo>
                  <a:pt x="3090" y="1060"/>
                </a:moveTo>
                <a:lnTo>
                  <a:pt x="3090" y="1060"/>
                </a:lnTo>
                <a:lnTo>
                  <a:pt x="3090" y="1058"/>
                </a:lnTo>
                <a:lnTo>
                  <a:pt x="3090" y="1058"/>
                </a:lnTo>
                <a:lnTo>
                  <a:pt x="3092" y="1058"/>
                </a:lnTo>
                <a:lnTo>
                  <a:pt x="3092" y="1058"/>
                </a:lnTo>
                <a:lnTo>
                  <a:pt x="3092" y="1058"/>
                </a:lnTo>
                <a:lnTo>
                  <a:pt x="3092" y="1058"/>
                </a:lnTo>
                <a:lnTo>
                  <a:pt x="3092" y="1058"/>
                </a:lnTo>
                <a:lnTo>
                  <a:pt x="3092" y="1058"/>
                </a:lnTo>
                <a:lnTo>
                  <a:pt x="3092" y="1058"/>
                </a:lnTo>
                <a:lnTo>
                  <a:pt x="3092" y="1058"/>
                </a:lnTo>
                <a:lnTo>
                  <a:pt x="3090" y="1060"/>
                </a:lnTo>
                <a:lnTo>
                  <a:pt x="3090" y="1060"/>
                </a:lnTo>
                <a:close/>
                <a:moveTo>
                  <a:pt x="3400" y="1120"/>
                </a:moveTo>
                <a:lnTo>
                  <a:pt x="3400" y="1120"/>
                </a:lnTo>
                <a:lnTo>
                  <a:pt x="3400" y="1120"/>
                </a:lnTo>
                <a:lnTo>
                  <a:pt x="3400" y="1120"/>
                </a:lnTo>
                <a:lnTo>
                  <a:pt x="3400" y="1116"/>
                </a:lnTo>
                <a:lnTo>
                  <a:pt x="3404" y="1116"/>
                </a:lnTo>
                <a:lnTo>
                  <a:pt x="3404" y="1116"/>
                </a:lnTo>
                <a:lnTo>
                  <a:pt x="3404" y="1116"/>
                </a:lnTo>
                <a:lnTo>
                  <a:pt x="3404" y="1116"/>
                </a:lnTo>
                <a:lnTo>
                  <a:pt x="3400" y="1116"/>
                </a:lnTo>
                <a:lnTo>
                  <a:pt x="3400" y="1120"/>
                </a:lnTo>
                <a:lnTo>
                  <a:pt x="3400" y="1120"/>
                </a:lnTo>
                <a:close/>
                <a:moveTo>
                  <a:pt x="3422" y="1124"/>
                </a:moveTo>
                <a:lnTo>
                  <a:pt x="3422" y="1124"/>
                </a:lnTo>
                <a:lnTo>
                  <a:pt x="3424" y="1124"/>
                </a:lnTo>
                <a:lnTo>
                  <a:pt x="3424" y="1124"/>
                </a:lnTo>
                <a:lnTo>
                  <a:pt x="3422" y="1126"/>
                </a:lnTo>
                <a:lnTo>
                  <a:pt x="3422" y="1126"/>
                </a:lnTo>
                <a:lnTo>
                  <a:pt x="3422" y="1124"/>
                </a:lnTo>
                <a:lnTo>
                  <a:pt x="3422" y="1124"/>
                </a:lnTo>
                <a:close/>
                <a:moveTo>
                  <a:pt x="3360" y="1122"/>
                </a:moveTo>
                <a:lnTo>
                  <a:pt x="3360" y="1122"/>
                </a:lnTo>
                <a:lnTo>
                  <a:pt x="3366" y="1122"/>
                </a:lnTo>
                <a:lnTo>
                  <a:pt x="3370" y="1122"/>
                </a:lnTo>
                <a:lnTo>
                  <a:pt x="3372" y="1124"/>
                </a:lnTo>
                <a:lnTo>
                  <a:pt x="3372" y="1124"/>
                </a:lnTo>
                <a:lnTo>
                  <a:pt x="3368" y="1126"/>
                </a:lnTo>
                <a:lnTo>
                  <a:pt x="3368" y="1126"/>
                </a:lnTo>
                <a:lnTo>
                  <a:pt x="3352" y="1128"/>
                </a:lnTo>
                <a:lnTo>
                  <a:pt x="3352" y="1128"/>
                </a:lnTo>
                <a:lnTo>
                  <a:pt x="3350" y="1124"/>
                </a:lnTo>
                <a:lnTo>
                  <a:pt x="3350" y="1124"/>
                </a:lnTo>
                <a:lnTo>
                  <a:pt x="3360" y="1122"/>
                </a:lnTo>
                <a:lnTo>
                  <a:pt x="3360" y="1122"/>
                </a:lnTo>
                <a:close/>
                <a:moveTo>
                  <a:pt x="3280" y="1126"/>
                </a:moveTo>
                <a:lnTo>
                  <a:pt x="3280" y="1126"/>
                </a:lnTo>
                <a:lnTo>
                  <a:pt x="3280" y="1130"/>
                </a:lnTo>
                <a:lnTo>
                  <a:pt x="3280" y="1130"/>
                </a:lnTo>
                <a:lnTo>
                  <a:pt x="3272" y="1132"/>
                </a:lnTo>
                <a:lnTo>
                  <a:pt x="3272" y="1132"/>
                </a:lnTo>
                <a:lnTo>
                  <a:pt x="3272" y="1128"/>
                </a:lnTo>
                <a:lnTo>
                  <a:pt x="3272" y="1128"/>
                </a:lnTo>
                <a:lnTo>
                  <a:pt x="3272" y="1126"/>
                </a:lnTo>
                <a:lnTo>
                  <a:pt x="3272" y="1126"/>
                </a:lnTo>
                <a:lnTo>
                  <a:pt x="3280" y="1126"/>
                </a:lnTo>
                <a:lnTo>
                  <a:pt x="3280" y="1126"/>
                </a:lnTo>
                <a:close/>
                <a:moveTo>
                  <a:pt x="3282" y="970"/>
                </a:moveTo>
                <a:lnTo>
                  <a:pt x="3282" y="970"/>
                </a:lnTo>
                <a:lnTo>
                  <a:pt x="3284" y="970"/>
                </a:lnTo>
                <a:lnTo>
                  <a:pt x="3284" y="970"/>
                </a:lnTo>
                <a:lnTo>
                  <a:pt x="3282" y="970"/>
                </a:lnTo>
                <a:lnTo>
                  <a:pt x="3282" y="970"/>
                </a:lnTo>
                <a:close/>
                <a:moveTo>
                  <a:pt x="3288" y="988"/>
                </a:moveTo>
                <a:lnTo>
                  <a:pt x="3288" y="988"/>
                </a:lnTo>
                <a:lnTo>
                  <a:pt x="3288" y="988"/>
                </a:lnTo>
                <a:lnTo>
                  <a:pt x="3288" y="988"/>
                </a:lnTo>
                <a:lnTo>
                  <a:pt x="3286" y="990"/>
                </a:lnTo>
                <a:lnTo>
                  <a:pt x="3286" y="990"/>
                </a:lnTo>
                <a:lnTo>
                  <a:pt x="3286" y="990"/>
                </a:lnTo>
                <a:lnTo>
                  <a:pt x="3286" y="990"/>
                </a:lnTo>
                <a:lnTo>
                  <a:pt x="3286" y="990"/>
                </a:lnTo>
                <a:lnTo>
                  <a:pt x="3288" y="988"/>
                </a:lnTo>
                <a:lnTo>
                  <a:pt x="3288" y="988"/>
                </a:lnTo>
                <a:close/>
                <a:moveTo>
                  <a:pt x="3282" y="838"/>
                </a:moveTo>
                <a:lnTo>
                  <a:pt x="3282" y="838"/>
                </a:lnTo>
                <a:lnTo>
                  <a:pt x="3282" y="838"/>
                </a:lnTo>
                <a:lnTo>
                  <a:pt x="3282" y="838"/>
                </a:lnTo>
                <a:lnTo>
                  <a:pt x="3278" y="842"/>
                </a:lnTo>
                <a:lnTo>
                  <a:pt x="3274" y="842"/>
                </a:lnTo>
                <a:lnTo>
                  <a:pt x="3270" y="840"/>
                </a:lnTo>
                <a:lnTo>
                  <a:pt x="3266" y="838"/>
                </a:lnTo>
                <a:lnTo>
                  <a:pt x="3266" y="838"/>
                </a:lnTo>
                <a:lnTo>
                  <a:pt x="3270" y="840"/>
                </a:lnTo>
                <a:lnTo>
                  <a:pt x="3274" y="842"/>
                </a:lnTo>
                <a:lnTo>
                  <a:pt x="3278" y="842"/>
                </a:lnTo>
                <a:lnTo>
                  <a:pt x="3282" y="838"/>
                </a:lnTo>
                <a:lnTo>
                  <a:pt x="3282" y="838"/>
                </a:lnTo>
                <a:close/>
                <a:moveTo>
                  <a:pt x="3172" y="1134"/>
                </a:moveTo>
                <a:lnTo>
                  <a:pt x="3172" y="1134"/>
                </a:lnTo>
                <a:lnTo>
                  <a:pt x="3172" y="1134"/>
                </a:lnTo>
                <a:lnTo>
                  <a:pt x="3172" y="1134"/>
                </a:lnTo>
                <a:lnTo>
                  <a:pt x="3174" y="1134"/>
                </a:lnTo>
                <a:lnTo>
                  <a:pt x="3174" y="1134"/>
                </a:lnTo>
                <a:lnTo>
                  <a:pt x="3172" y="1134"/>
                </a:lnTo>
                <a:lnTo>
                  <a:pt x="3172" y="1134"/>
                </a:lnTo>
                <a:close/>
                <a:moveTo>
                  <a:pt x="3128" y="1126"/>
                </a:moveTo>
                <a:lnTo>
                  <a:pt x="3128" y="1126"/>
                </a:lnTo>
                <a:lnTo>
                  <a:pt x="3128" y="1120"/>
                </a:lnTo>
                <a:lnTo>
                  <a:pt x="3128" y="1120"/>
                </a:lnTo>
                <a:lnTo>
                  <a:pt x="3128" y="1126"/>
                </a:lnTo>
                <a:lnTo>
                  <a:pt x="3128" y="1126"/>
                </a:lnTo>
                <a:close/>
                <a:moveTo>
                  <a:pt x="3180" y="1106"/>
                </a:moveTo>
                <a:lnTo>
                  <a:pt x="3180" y="1106"/>
                </a:lnTo>
                <a:lnTo>
                  <a:pt x="3178" y="1106"/>
                </a:lnTo>
                <a:lnTo>
                  <a:pt x="3178" y="1106"/>
                </a:lnTo>
                <a:lnTo>
                  <a:pt x="3180" y="1106"/>
                </a:lnTo>
                <a:lnTo>
                  <a:pt x="3180" y="1106"/>
                </a:lnTo>
                <a:lnTo>
                  <a:pt x="3180" y="1106"/>
                </a:lnTo>
                <a:lnTo>
                  <a:pt x="3180" y="1106"/>
                </a:lnTo>
                <a:close/>
                <a:moveTo>
                  <a:pt x="3180" y="1108"/>
                </a:moveTo>
                <a:lnTo>
                  <a:pt x="3180" y="1108"/>
                </a:lnTo>
                <a:lnTo>
                  <a:pt x="3180" y="1114"/>
                </a:lnTo>
                <a:lnTo>
                  <a:pt x="3180" y="1114"/>
                </a:lnTo>
                <a:lnTo>
                  <a:pt x="3178" y="1114"/>
                </a:lnTo>
                <a:lnTo>
                  <a:pt x="3178" y="1114"/>
                </a:lnTo>
                <a:lnTo>
                  <a:pt x="3180" y="1116"/>
                </a:lnTo>
                <a:lnTo>
                  <a:pt x="3180" y="1116"/>
                </a:lnTo>
                <a:lnTo>
                  <a:pt x="3180" y="1120"/>
                </a:lnTo>
                <a:lnTo>
                  <a:pt x="3180" y="1120"/>
                </a:lnTo>
                <a:lnTo>
                  <a:pt x="3174" y="1124"/>
                </a:lnTo>
                <a:lnTo>
                  <a:pt x="3174" y="1124"/>
                </a:lnTo>
                <a:lnTo>
                  <a:pt x="3172" y="1126"/>
                </a:lnTo>
                <a:lnTo>
                  <a:pt x="3172" y="1126"/>
                </a:lnTo>
                <a:lnTo>
                  <a:pt x="3172" y="1108"/>
                </a:lnTo>
                <a:lnTo>
                  <a:pt x="3172" y="1108"/>
                </a:lnTo>
                <a:lnTo>
                  <a:pt x="3178" y="1106"/>
                </a:lnTo>
                <a:lnTo>
                  <a:pt x="3178" y="1106"/>
                </a:lnTo>
                <a:lnTo>
                  <a:pt x="3178" y="1108"/>
                </a:lnTo>
                <a:lnTo>
                  <a:pt x="3178" y="1108"/>
                </a:lnTo>
                <a:lnTo>
                  <a:pt x="3180" y="1108"/>
                </a:lnTo>
                <a:lnTo>
                  <a:pt x="3180" y="1108"/>
                </a:lnTo>
                <a:close/>
                <a:moveTo>
                  <a:pt x="3146" y="1106"/>
                </a:moveTo>
                <a:lnTo>
                  <a:pt x="3146" y="1106"/>
                </a:lnTo>
                <a:lnTo>
                  <a:pt x="3146" y="1106"/>
                </a:lnTo>
                <a:lnTo>
                  <a:pt x="3146" y="1106"/>
                </a:lnTo>
                <a:lnTo>
                  <a:pt x="3146" y="1124"/>
                </a:lnTo>
                <a:lnTo>
                  <a:pt x="3146" y="1124"/>
                </a:lnTo>
                <a:lnTo>
                  <a:pt x="3142" y="1106"/>
                </a:lnTo>
                <a:lnTo>
                  <a:pt x="3142" y="1106"/>
                </a:lnTo>
                <a:lnTo>
                  <a:pt x="3146" y="1106"/>
                </a:lnTo>
                <a:lnTo>
                  <a:pt x="3146" y="1106"/>
                </a:lnTo>
                <a:close/>
                <a:moveTo>
                  <a:pt x="3142" y="1104"/>
                </a:moveTo>
                <a:lnTo>
                  <a:pt x="3142" y="1104"/>
                </a:lnTo>
                <a:lnTo>
                  <a:pt x="3142" y="1100"/>
                </a:lnTo>
                <a:lnTo>
                  <a:pt x="3142" y="1100"/>
                </a:lnTo>
                <a:lnTo>
                  <a:pt x="3144" y="1100"/>
                </a:lnTo>
                <a:lnTo>
                  <a:pt x="3144" y="1100"/>
                </a:lnTo>
                <a:lnTo>
                  <a:pt x="3142" y="1104"/>
                </a:lnTo>
                <a:lnTo>
                  <a:pt x="3142" y="1104"/>
                </a:lnTo>
                <a:close/>
                <a:moveTo>
                  <a:pt x="3110" y="1040"/>
                </a:moveTo>
                <a:lnTo>
                  <a:pt x="3110" y="1040"/>
                </a:lnTo>
                <a:lnTo>
                  <a:pt x="3110" y="1040"/>
                </a:lnTo>
                <a:lnTo>
                  <a:pt x="3110" y="1040"/>
                </a:lnTo>
                <a:lnTo>
                  <a:pt x="3110" y="1040"/>
                </a:lnTo>
                <a:lnTo>
                  <a:pt x="3110" y="1040"/>
                </a:lnTo>
                <a:lnTo>
                  <a:pt x="3110" y="1040"/>
                </a:lnTo>
                <a:close/>
                <a:moveTo>
                  <a:pt x="3112" y="1038"/>
                </a:moveTo>
                <a:lnTo>
                  <a:pt x="3112" y="1038"/>
                </a:lnTo>
                <a:lnTo>
                  <a:pt x="3110" y="1038"/>
                </a:lnTo>
                <a:lnTo>
                  <a:pt x="3110" y="1038"/>
                </a:lnTo>
                <a:lnTo>
                  <a:pt x="3108" y="1038"/>
                </a:lnTo>
                <a:lnTo>
                  <a:pt x="3108" y="1038"/>
                </a:lnTo>
                <a:lnTo>
                  <a:pt x="3108" y="1038"/>
                </a:lnTo>
                <a:lnTo>
                  <a:pt x="3108" y="1038"/>
                </a:lnTo>
                <a:lnTo>
                  <a:pt x="3110" y="1038"/>
                </a:lnTo>
                <a:lnTo>
                  <a:pt x="3110" y="1038"/>
                </a:lnTo>
                <a:lnTo>
                  <a:pt x="3112" y="1038"/>
                </a:lnTo>
                <a:lnTo>
                  <a:pt x="3112" y="1038"/>
                </a:lnTo>
                <a:lnTo>
                  <a:pt x="3112" y="1038"/>
                </a:lnTo>
                <a:lnTo>
                  <a:pt x="3112" y="1038"/>
                </a:lnTo>
                <a:close/>
                <a:moveTo>
                  <a:pt x="3110" y="936"/>
                </a:moveTo>
                <a:lnTo>
                  <a:pt x="3110" y="936"/>
                </a:lnTo>
                <a:lnTo>
                  <a:pt x="3114" y="934"/>
                </a:lnTo>
                <a:lnTo>
                  <a:pt x="3118" y="936"/>
                </a:lnTo>
                <a:lnTo>
                  <a:pt x="3122" y="938"/>
                </a:lnTo>
                <a:lnTo>
                  <a:pt x="3122" y="938"/>
                </a:lnTo>
                <a:lnTo>
                  <a:pt x="3122" y="932"/>
                </a:lnTo>
                <a:lnTo>
                  <a:pt x="3122" y="932"/>
                </a:lnTo>
                <a:lnTo>
                  <a:pt x="3124" y="946"/>
                </a:lnTo>
                <a:lnTo>
                  <a:pt x="3126" y="980"/>
                </a:lnTo>
                <a:lnTo>
                  <a:pt x="3126" y="980"/>
                </a:lnTo>
                <a:lnTo>
                  <a:pt x="3122" y="958"/>
                </a:lnTo>
                <a:lnTo>
                  <a:pt x="3120" y="952"/>
                </a:lnTo>
                <a:lnTo>
                  <a:pt x="3118" y="950"/>
                </a:lnTo>
                <a:lnTo>
                  <a:pt x="3118" y="950"/>
                </a:lnTo>
                <a:lnTo>
                  <a:pt x="3114" y="950"/>
                </a:lnTo>
                <a:lnTo>
                  <a:pt x="3114" y="950"/>
                </a:lnTo>
                <a:lnTo>
                  <a:pt x="3120" y="942"/>
                </a:lnTo>
                <a:lnTo>
                  <a:pt x="3120" y="942"/>
                </a:lnTo>
                <a:lnTo>
                  <a:pt x="3110" y="936"/>
                </a:lnTo>
                <a:lnTo>
                  <a:pt x="3110" y="936"/>
                </a:lnTo>
                <a:close/>
                <a:moveTo>
                  <a:pt x="3118" y="1030"/>
                </a:moveTo>
                <a:lnTo>
                  <a:pt x="3118" y="1030"/>
                </a:lnTo>
                <a:lnTo>
                  <a:pt x="3118" y="1026"/>
                </a:lnTo>
                <a:lnTo>
                  <a:pt x="3116" y="1020"/>
                </a:lnTo>
                <a:lnTo>
                  <a:pt x="3116" y="1020"/>
                </a:lnTo>
                <a:lnTo>
                  <a:pt x="3118" y="1030"/>
                </a:lnTo>
                <a:lnTo>
                  <a:pt x="3118" y="1030"/>
                </a:lnTo>
                <a:close/>
                <a:moveTo>
                  <a:pt x="3200" y="1150"/>
                </a:moveTo>
                <a:lnTo>
                  <a:pt x="3200" y="1150"/>
                </a:lnTo>
                <a:lnTo>
                  <a:pt x="3200" y="1150"/>
                </a:lnTo>
                <a:lnTo>
                  <a:pt x="3200" y="1150"/>
                </a:lnTo>
                <a:lnTo>
                  <a:pt x="3200" y="1150"/>
                </a:lnTo>
                <a:lnTo>
                  <a:pt x="3200" y="1150"/>
                </a:lnTo>
                <a:close/>
                <a:moveTo>
                  <a:pt x="3236" y="1154"/>
                </a:moveTo>
                <a:lnTo>
                  <a:pt x="3236" y="1154"/>
                </a:lnTo>
                <a:lnTo>
                  <a:pt x="3240" y="1148"/>
                </a:lnTo>
                <a:lnTo>
                  <a:pt x="3240" y="1148"/>
                </a:lnTo>
                <a:lnTo>
                  <a:pt x="3220" y="1154"/>
                </a:lnTo>
                <a:lnTo>
                  <a:pt x="3220" y="1154"/>
                </a:lnTo>
                <a:lnTo>
                  <a:pt x="3220" y="1154"/>
                </a:lnTo>
                <a:lnTo>
                  <a:pt x="3220" y="1154"/>
                </a:lnTo>
                <a:lnTo>
                  <a:pt x="3240" y="1148"/>
                </a:lnTo>
                <a:lnTo>
                  <a:pt x="3240" y="1148"/>
                </a:lnTo>
                <a:lnTo>
                  <a:pt x="3236" y="1154"/>
                </a:lnTo>
                <a:lnTo>
                  <a:pt x="3236" y="1154"/>
                </a:lnTo>
                <a:close/>
                <a:moveTo>
                  <a:pt x="3246" y="1144"/>
                </a:moveTo>
                <a:lnTo>
                  <a:pt x="3246" y="1144"/>
                </a:lnTo>
                <a:lnTo>
                  <a:pt x="3240" y="1142"/>
                </a:lnTo>
                <a:lnTo>
                  <a:pt x="3240" y="1142"/>
                </a:lnTo>
                <a:lnTo>
                  <a:pt x="3240" y="1142"/>
                </a:lnTo>
                <a:lnTo>
                  <a:pt x="3240" y="1142"/>
                </a:lnTo>
                <a:lnTo>
                  <a:pt x="3246" y="1144"/>
                </a:lnTo>
                <a:lnTo>
                  <a:pt x="3246" y="1144"/>
                </a:lnTo>
                <a:lnTo>
                  <a:pt x="3246" y="1144"/>
                </a:lnTo>
                <a:lnTo>
                  <a:pt x="3246" y="1144"/>
                </a:lnTo>
                <a:close/>
                <a:moveTo>
                  <a:pt x="3208" y="1134"/>
                </a:moveTo>
                <a:lnTo>
                  <a:pt x="3208" y="1134"/>
                </a:lnTo>
                <a:lnTo>
                  <a:pt x="3216" y="1134"/>
                </a:lnTo>
                <a:lnTo>
                  <a:pt x="3216" y="1134"/>
                </a:lnTo>
                <a:lnTo>
                  <a:pt x="3226" y="1134"/>
                </a:lnTo>
                <a:lnTo>
                  <a:pt x="3226" y="1134"/>
                </a:lnTo>
                <a:lnTo>
                  <a:pt x="3228" y="1134"/>
                </a:lnTo>
                <a:lnTo>
                  <a:pt x="3228" y="1134"/>
                </a:lnTo>
                <a:lnTo>
                  <a:pt x="3214" y="1136"/>
                </a:lnTo>
                <a:lnTo>
                  <a:pt x="3214" y="1136"/>
                </a:lnTo>
                <a:lnTo>
                  <a:pt x="3208" y="1136"/>
                </a:lnTo>
                <a:lnTo>
                  <a:pt x="3204" y="1138"/>
                </a:lnTo>
                <a:lnTo>
                  <a:pt x="3204" y="1138"/>
                </a:lnTo>
                <a:lnTo>
                  <a:pt x="3198" y="1138"/>
                </a:lnTo>
                <a:lnTo>
                  <a:pt x="3198" y="1138"/>
                </a:lnTo>
                <a:lnTo>
                  <a:pt x="3198" y="1138"/>
                </a:lnTo>
                <a:lnTo>
                  <a:pt x="3198" y="1138"/>
                </a:lnTo>
                <a:lnTo>
                  <a:pt x="3198" y="1138"/>
                </a:lnTo>
                <a:lnTo>
                  <a:pt x="3198" y="1138"/>
                </a:lnTo>
                <a:lnTo>
                  <a:pt x="3208" y="1134"/>
                </a:lnTo>
                <a:lnTo>
                  <a:pt x="3208" y="1134"/>
                </a:lnTo>
                <a:close/>
                <a:moveTo>
                  <a:pt x="3206" y="1060"/>
                </a:moveTo>
                <a:lnTo>
                  <a:pt x="3206" y="1060"/>
                </a:lnTo>
                <a:lnTo>
                  <a:pt x="3202" y="1062"/>
                </a:lnTo>
                <a:lnTo>
                  <a:pt x="3198" y="1062"/>
                </a:lnTo>
                <a:lnTo>
                  <a:pt x="3196" y="1060"/>
                </a:lnTo>
                <a:lnTo>
                  <a:pt x="3196" y="1056"/>
                </a:lnTo>
                <a:lnTo>
                  <a:pt x="3196" y="1056"/>
                </a:lnTo>
                <a:lnTo>
                  <a:pt x="3202" y="1056"/>
                </a:lnTo>
                <a:lnTo>
                  <a:pt x="3206" y="1056"/>
                </a:lnTo>
                <a:lnTo>
                  <a:pt x="3210" y="1054"/>
                </a:lnTo>
                <a:lnTo>
                  <a:pt x="3210" y="1054"/>
                </a:lnTo>
                <a:lnTo>
                  <a:pt x="3216" y="1054"/>
                </a:lnTo>
                <a:lnTo>
                  <a:pt x="3224" y="1054"/>
                </a:lnTo>
                <a:lnTo>
                  <a:pt x="3224" y="1054"/>
                </a:lnTo>
                <a:lnTo>
                  <a:pt x="3216" y="1062"/>
                </a:lnTo>
                <a:lnTo>
                  <a:pt x="3216" y="1062"/>
                </a:lnTo>
                <a:lnTo>
                  <a:pt x="3212" y="1060"/>
                </a:lnTo>
                <a:lnTo>
                  <a:pt x="3206" y="1060"/>
                </a:lnTo>
                <a:lnTo>
                  <a:pt x="3206" y="1060"/>
                </a:lnTo>
                <a:close/>
                <a:moveTo>
                  <a:pt x="3224" y="1070"/>
                </a:moveTo>
                <a:lnTo>
                  <a:pt x="3224" y="1070"/>
                </a:lnTo>
                <a:lnTo>
                  <a:pt x="3224" y="1070"/>
                </a:lnTo>
                <a:lnTo>
                  <a:pt x="3224" y="1070"/>
                </a:lnTo>
                <a:lnTo>
                  <a:pt x="3226" y="1068"/>
                </a:lnTo>
                <a:lnTo>
                  <a:pt x="3226" y="1068"/>
                </a:lnTo>
                <a:lnTo>
                  <a:pt x="3220" y="1066"/>
                </a:lnTo>
                <a:lnTo>
                  <a:pt x="3220" y="1066"/>
                </a:lnTo>
                <a:lnTo>
                  <a:pt x="3220" y="1066"/>
                </a:lnTo>
                <a:lnTo>
                  <a:pt x="3220" y="1066"/>
                </a:lnTo>
                <a:lnTo>
                  <a:pt x="3220" y="1066"/>
                </a:lnTo>
                <a:lnTo>
                  <a:pt x="3226" y="1068"/>
                </a:lnTo>
                <a:lnTo>
                  <a:pt x="3226" y="1068"/>
                </a:lnTo>
                <a:lnTo>
                  <a:pt x="3224" y="1070"/>
                </a:lnTo>
                <a:lnTo>
                  <a:pt x="3224" y="1070"/>
                </a:lnTo>
                <a:close/>
                <a:moveTo>
                  <a:pt x="3240" y="1066"/>
                </a:moveTo>
                <a:lnTo>
                  <a:pt x="3240" y="1066"/>
                </a:lnTo>
                <a:lnTo>
                  <a:pt x="3232" y="1068"/>
                </a:lnTo>
                <a:lnTo>
                  <a:pt x="3232" y="1068"/>
                </a:lnTo>
                <a:lnTo>
                  <a:pt x="3232" y="1068"/>
                </a:lnTo>
                <a:lnTo>
                  <a:pt x="3232" y="1068"/>
                </a:lnTo>
                <a:lnTo>
                  <a:pt x="3238" y="1066"/>
                </a:lnTo>
                <a:lnTo>
                  <a:pt x="3238" y="1066"/>
                </a:lnTo>
                <a:lnTo>
                  <a:pt x="3238" y="1066"/>
                </a:lnTo>
                <a:lnTo>
                  <a:pt x="3238" y="1066"/>
                </a:lnTo>
                <a:lnTo>
                  <a:pt x="3238" y="1066"/>
                </a:lnTo>
                <a:lnTo>
                  <a:pt x="3238" y="1066"/>
                </a:lnTo>
                <a:lnTo>
                  <a:pt x="3240" y="1066"/>
                </a:lnTo>
                <a:lnTo>
                  <a:pt x="3240" y="1066"/>
                </a:lnTo>
                <a:close/>
                <a:moveTo>
                  <a:pt x="3172" y="912"/>
                </a:moveTo>
                <a:lnTo>
                  <a:pt x="3172" y="912"/>
                </a:lnTo>
                <a:lnTo>
                  <a:pt x="3208" y="932"/>
                </a:lnTo>
                <a:lnTo>
                  <a:pt x="3268" y="962"/>
                </a:lnTo>
                <a:lnTo>
                  <a:pt x="3268" y="962"/>
                </a:lnTo>
                <a:lnTo>
                  <a:pt x="3208" y="932"/>
                </a:lnTo>
                <a:lnTo>
                  <a:pt x="3172" y="912"/>
                </a:lnTo>
                <a:lnTo>
                  <a:pt x="3172" y="912"/>
                </a:lnTo>
                <a:close/>
                <a:moveTo>
                  <a:pt x="3322" y="1070"/>
                </a:moveTo>
                <a:lnTo>
                  <a:pt x="3322" y="1070"/>
                </a:lnTo>
                <a:lnTo>
                  <a:pt x="3322" y="1070"/>
                </a:lnTo>
                <a:lnTo>
                  <a:pt x="3322" y="1070"/>
                </a:lnTo>
                <a:lnTo>
                  <a:pt x="3322" y="1070"/>
                </a:lnTo>
                <a:lnTo>
                  <a:pt x="3322" y="1070"/>
                </a:lnTo>
                <a:lnTo>
                  <a:pt x="3322" y="1070"/>
                </a:lnTo>
                <a:lnTo>
                  <a:pt x="3322" y="1070"/>
                </a:lnTo>
                <a:close/>
                <a:moveTo>
                  <a:pt x="3316" y="1068"/>
                </a:moveTo>
                <a:lnTo>
                  <a:pt x="3316" y="1068"/>
                </a:lnTo>
                <a:lnTo>
                  <a:pt x="3318" y="1068"/>
                </a:lnTo>
                <a:lnTo>
                  <a:pt x="3318" y="1068"/>
                </a:lnTo>
                <a:lnTo>
                  <a:pt x="3316" y="1068"/>
                </a:lnTo>
                <a:lnTo>
                  <a:pt x="3316" y="1068"/>
                </a:lnTo>
                <a:lnTo>
                  <a:pt x="3310" y="1070"/>
                </a:lnTo>
                <a:lnTo>
                  <a:pt x="3310" y="1070"/>
                </a:lnTo>
                <a:lnTo>
                  <a:pt x="3310" y="1070"/>
                </a:lnTo>
                <a:lnTo>
                  <a:pt x="3310" y="1070"/>
                </a:lnTo>
                <a:lnTo>
                  <a:pt x="3310" y="1070"/>
                </a:lnTo>
                <a:lnTo>
                  <a:pt x="3310" y="1070"/>
                </a:lnTo>
                <a:lnTo>
                  <a:pt x="3312" y="1070"/>
                </a:lnTo>
                <a:lnTo>
                  <a:pt x="3312" y="1070"/>
                </a:lnTo>
                <a:lnTo>
                  <a:pt x="3312" y="1070"/>
                </a:lnTo>
                <a:lnTo>
                  <a:pt x="3312" y="1070"/>
                </a:lnTo>
                <a:lnTo>
                  <a:pt x="3316" y="1068"/>
                </a:lnTo>
                <a:lnTo>
                  <a:pt x="3316" y="1068"/>
                </a:lnTo>
                <a:close/>
                <a:moveTo>
                  <a:pt x="3268" y="1014"/>
                </a:moveTo>
                <a:lnTo>
                  <a:pt x="3268" y="1014"/>
                </a:lnTo>
                <a:lnTo>
                  <a:pt x="3246" y="1004"/>
                </a:lnTo>
                <a:lnTo>
                  <a:pt x="3246" y="1004"/>
                </a:lnTo>
                <a:lnTo>
                  <a:pt x="3254" y="1006"/>
                </a:lnTo>
                <a:lnTo>
                  <a:pt x="3272" y="1014"/>
                </a:lnTo>
                <a:lnTo>
                  <a:pt x="3272" y="1014"/>
                </a:lnTo>
                <a:lnTo>
                  <a:pt x="3268" y="1014"/>
                </a:lnTo>
                <a:lnTo>
                  <a:pt x="3268" y="1014"/>
                </a:lnTo>
                <a:close/>
                <a:moveTo>
                  <a:pt x="3302" y="960"/>
                </a:moveTo>
                <a:lnTo>
                  <a:pt x="3302" y="960"/>
                </a:lnTo>
                <a:lnTo>
                  <a:pt x="3306" y="962"/>
                </a:lnTo>
                <a:lnTo>
                  <a:pt x="3308" y="966"/>
                </a:lnTo>
                <a:lnTo>
                  <a:pt x="3308" y="966"/>
                </a:lnTo>
                <a:lnTo>
                  <a:pt x="3308" y="966"/>
                </a:lnTo>
                <a:lnTo>
                  <a:pt x="3308" y="966"/>
                </a:lnTo>
                <a:lnTo>
                  <a:pt x="3302" y="960"/>
                </a:lnTo>
                <a:lnTo>
                  <a:pt x="3302" y="960"/>
                </a:lnTo>
                <a:close/>
                <a:moveTo>
                  <a:pt x="3308" y="976"/>
                </a:moveTo>
                <a:lnTo>
                  <a:pt x="3308" y="976"/>
                </a:lnTo>
                <a:lnTo>
                  <a:pt x="3308" y="976"/>
                </a:lnTo>
                <a:lnTo>
                  <a:pt x="3312" y="976"/>
                </a:lnTo>
                <a:lnTo>
                  <a:pt x="3312" y="976"/>
                </a:lnTo>
                <a:lnTo>
                  <a:pt x="3312" y="976"/>
                </a:lnTo>
                <a:lnTo>
                  <a:pt x="3308" y="976"/>
                </a:lnTo>
                <a:close/>
                <a:moveTo>
                  <a:pt x="3422" y="1040"/>
                </a:moveTo>
                <a:lnTo>
                  <a:pt x="3422" y="1040"/>
                </a:lnTo>
                <a:lnTo>
                  <a:pt x="3422" y="1040"/>
                </a:lnTo>
                <a:lnTo>
                  <a:pt x="3422" y="1040"/>
                </a:lnTo>
                <a:lnTo>
                  <a:pt x="3428" y="1040"/>
                </a:lnTo>
                <a:lnTo>
                  <a:pt x="3428" y="1040"/>
                </a:lnTo>
                <a:lnTo>
                  <a:pt x="3428" y="1038"/>
                </a:lnTo>
                <a:lnTo>
                  <a:pt x="3428" y="1038"/>
                </a:lnTo>
                <a:lnTo>
                  <a:pt x="3428" y="1038"/>
                </a:lnTo>
                <a:lnTo>
                  <a:pt x="3428" y="1040"/>
                </a:lnTo>
                <a:lnTo>
                  <a:pt x="3428" y="1040"/>
                </a:lnTo>
                <a:lnTo>
                  <a:pt x="3422" y="1040"/>
                </a:lnTo>
                <a:lnTo>
                  <a:pt x="3422" y="1040"/>
                </a:lnTo>
                <a:close/>
                <a:moveTo>
                  <a:pt x="3724" y="1076"/>
                </a:moveTo>
                <a:lnTo>
                  <a:pt x="3724" y="1076"/>
                </a:lnTo>
                <a:lnTo>
                  <a:pt x="3722" y="1074"/>
                </a:lnTo>
                <a:lnTo>
                  <a:pt x="3722" y="1074"/>
                </a:lnTo>
                <a:lnTo>
                  <a:pt x="3722" y="1074"/>
                </a:lnTo>
                <a:lnTo>
                  <a:pt x="3722" y="1074"/>
                </a:lnTo>
                <a:lnTo>
                  <a:pt x="3724" y="1076"/>
                </a:lnTo>
                <a:lnTo>
                  <a:pt x="3724" y="1076"/>
                </a:lnTo>
                <a:lnTo>
                  <a:pt x="3716" y="1076"/>
                </a:lnTo>
                <a:lnTo>
                  <a:pt x="3716" y="1076"/>
                </a:lnTo>
                <a:lnTo>
                  <a:pt x="3716" y="1076"/>
                </a:lnTo>
                <a:lnTo>
                  <a:pt x="3716" y="1076"/>
                </a:lnTo>
                <a:lnTo>
                  <a:pt x="3724" y="1076"/>
                </a:lnTo>
                <a:lnTo>
                  <a:pt x="3724" y="1076"/>
                </a:lnTo>
                <a:close/>
                <a:moveTo>
                  <a:pt x="3754" y="190"/>
                </a:moveTo>
                <a:lnTo>
                  <a:pt x="3754" y="190"/>
                </a:lnTo>
                <a:lnTo>
                  <a:pt x="3744" y="186"/>
                </a:lnTo>
                <a:lnTo>
                  <a:pt x="3740" y="184"/>
                </a:lnTo>
                <a:lnTo>
                  <a:pt x="3740" y="180"/>
                </a:lnTo>
                <a:lnTo>
                  <a:pt x="3740" y="180"/>
                </a:lnTo>
                <a:lnTo>
                  <a:pt x="3768" y="182"/>
                </a:lnTo>
                <a:lnTo>
                  <a:pt x="3768" y="182"/>
                </a:lnTo>
                <a:lnTo>
                  <a:pt x="3768" y="180"/>
                </a:lnTo>
                <a:lnTo>
                  <a:pt x="3768" y="180"/>
                </a:lnTo>
                <a:lnTo>
                  <a:pt x="3740" y="174"/>
                </a:lnTo>
                <a:lnTo>
                  <a:pt x="3740" y="174"/>
                </a:lnTo>
                <a:lnTo>
                  <a:pt x="3744" y="160"/>
                </a:lnTo>
                <a:lnTo>
                  <a:pt x="3744" y="160"/>
                </a:lnTo>
                <a:lnTo>
                  <a:pt x="3744" y="158"/>
                </a:lnTo>
                <a:lnTo>
                  <a:pt x="3744" y="158"/>
                </a:lnTo>
                <a:lnTo>
                  <a:pt x="3742" y="152"/>
                </a:lnTo>
                <a:lnTo>
                  <a:pt x="3742" y="150"/>
                </a:lnTo>
                <a:lnTo>
                  <a:pt x="3744" y="150"/>
                </a:lnTo>
                <a:lnTo>
                  <a:pt x="3744" y="150"/>
                </a:lnTo>
                <a:lnTo>
                  <a:pt x="3752" y="146"/>
                </a:lnTo>
                <a:lnTo>
                  <a:pt x="3762" y="146"/>
                </a:lnTo>
                <a:lnTo>
                  <a:pt x="3762" y="146"/>
                </a:lnTo>
                <a:lnTo>
                  <a:pt x="3784" y="146"/>
                </a:lnTo>
                <a:lnTo>
                  <a:pt x="3806" y="150"/>
                </a:lnTo>
                <a:lnTo>
                  <a:pt x="3806" y="150"/>
                </a:lnTo>
                <a:lnTo>
                  <a:pt x="3828" y="156"/>
                </a:lnTo>
                <a:lnTo>
                  <a:pt x="3848" y="158"/>
                </a:lnTo>
                <a:lnTo>
                  <a:pt x="3848" y="158"/>
                </a:lnTo>
                <a:lnTo>
                  <a:pt x="3852" y="158"/>
                </a:lnTo>
                <a:lnTo>
                  <a:pt x="3856" y="158"/>
                </a:lnTo>
                <a:lnTo>
                  <a:pt x="3858" y="166"/>
                </a:lnTo>
                <a:lnTo>
                  <a:pt x="3858" y="166"/>
                </a:lnTo>
                <a:lnTo>
                  <a:pt x="3856" y="168"/>
                </a:lnTo>
                <a:lnTo>
                  <a:pt x="3852" y="168"/>
                </a:lnTo>
                <a:lnTo>
                  <a:pt x="3846" y="166"/>
                </a:lnTo>
                <a:lnTo>
                  <a:pt x="3846" y="166"/>
                </a:lnTo>
                <a:lnTo>
                  <a:pt x="3836" y="164"/>
                </a:lnTo>
                <a:lnTo>
                  <a:pt x="3832" y="166"/>
                </a:lnTo>
                <a:lnTo>
                  <a:pt x="3828" y="170"/>
                </a:lnTo>
                <a:lnTo>
                  <a:pt x="3828" y="170"/>
                </a:lnTo>
                <a:lnTo>
                  <a:pt x="3820" y="166"/>
                </a:lnTo>
                <a:lnTo>
                  <a:pt x="3810" y="166"/>
                </a:lnTo>
                <a:lnTo>
                  <a:pt x="3790" y="166"/>
                </a:lnTo>
                <a:lnTo>
                  <a:pt x="3790" y="166"/>
                </a:lnTo>
                <a:lnTo>
                  <a:pt x="3790" y="168"/>
                </a:lnTo>
                <a:lnTo>
                  <a:pt x="3790" y="168"/>
                </a:lnTo>
                <a:lnTo>
                  <a:pt x="3790" y="168"/>
                </a:lnTo>
                <a:lnTo>
                  <a:pt x="3816" y="176"/>
                </a:lnTo>
                <a:lnTo>
                  <a:pt x="3816" y="176"/>
                </a:lnTo>
                <a:lnTo>
                  <a:pt x="3808" y="182"/>
                </a:lnTo>
                <a:lnTo>
                  <a:pt x="3808" y="182"/>
                </a:lnTo>
                <a:lnTo>
                  <a:pt x="3798" y="180"/>
                </a:lnTo>
                <a:lnTo>
                  <a:pt x="3798" y="180"/>
                </a:lnTo>
                <a:lnTo>
                  <a:pt x="3790" y="184"/>
                </a:lnTo>
                <a:lnTo>
                  <a:pt x="3790" y="184"/>
                </a:lnTo>
                <a:lnTo>
                  <a:pt x="3792" y="186"/>
                </a:lnTo>
                <a:lnTo>
                  <a:pt x="3792" y="186"/>
                </a:lnTo>
                <a:lnTo>
                  <a:pt x="3792" y="188"/>
                </a:lnTo>
                <a:lnTo>
                  <a:pt x="3792" y="190"/>
                </a:lnTo>
                <a:lnTo>
                  <a:pt x="3792" y="190"/>
                </a:lnTo>
                <a:lnTo>
                  <a:pt x="3790" y="194"/>
                </a:lnTo>
                <a:lnTo>
                  <a:pt x="3786" y="200"/>
                </a:lnTo>
                <a:lnTo>
                  <a:pt x="3786" y="200"/>
                </a:lnTo>
                <a:lnTo>
                  <a:pt x="3782" y="200"/>
                </a:lnTo>
                <a:lnTo>
                  <a:pt x="3776" y="202"/>
                </a:lnTo>
                <a:lnTo>
                  <a:pt x="3766" y="200"/>
                </a:lnTo>
                <a:lnTo>
                  <a:pt x="3766" y="200"/>
                </a:lnTo>
                <a:lnTo>
                  <a:pt x="3756" y="198"/>
                </a:lnTo>
                <a:lnTo>
                  <a:pt x="3756" y="198"/>
                </a:lnTo>
                <a:lnTo>
                  <a:pt x="3742" y="194"/>
                </a:lnTo>
                <a:lnTo>
                  <a:pt x="3742" y="194"/>
                </a:lnTo>
                <a:lnTo>
                  <a:pt x="3738" y="194"/>
                </a:lnTo>
                <a:lnTo>
                  <a:pt x="3732" y="194"/>
                </a:lnTo>
                <a:lnTo>
                  <a:pt x="3728" y="194"/>
                </a:lnTo>
                <a:lnTo>
                  <a:pt x="3722" y="192"/>
                </a:lnTo>
                <a:lnTo>
                  <a:pt x="3722" y="192"/>
                </a:lnTo>
                <a:lnTo>
                  <a:pt x="3726" y="190"/>
                </a:lnTo>
                <a:lnTo>
                  <a:pt x="3730" y="190"/>
                </a:lnTo>
                <a:lnTo>
                  <a:pt x="3736" y="190"/>
                </a:lnTo>
                <a:lnTo>
                  <a:pt x="3746" y="190"/>
                </a:lnTo>
                <a:lnTo>
                  <a:pt x="3754" y="190"/>
                </a:lnTo>
                <a:lnTo>
                  <a:pt x="3754" y="190"/>
                </a:lnTo>
                <a:close/>
                <a:moveTo>
                  <a:pt x="3814" y="194"/>
                </a:moveTo>
                <a:lnTo>
                  <a:pt x="3814" y="194"/>
                </a:lnTo>
                <a:lnTo>
                  <a:pt x="3810" y="198"/>
                </a:lnTo>
                <a:lnTo>
                  <a:pt x="3808" y="202"/>
                </a:lnTo>
                <a:lnTo>
                  <a:pt x="3804" y="206"/>
                </a:lnTo>
                <a:lnTo>
                  <a:pt x="3798" y="206"/>
                </a:lnTo>
                <a:lnTo>
                  <a:pt x="3798" y="206"/>
                </a:lnTo>
                <a:lnTo>
                  <a:pt x="3798" y="202"/>
                </a:lnTo>
                <a:lnTo>
                  <a:pt x="3802" y="198"/>
                </a:lnTo>
                <a:lnTo>
                  <a:pt x="3806" y="196"/>
                </a:lnTo>
                <a:lnTo>
                  <a:pt x="3814" y="194"/>
                </a:lnTo>
                <a:lnTo>
                  <a:pt x="3814" y="194"/>
                </a:lnTo>
                <a:close/>
                <a:moveTo>
                  <a:pt x="3796" y="294"/>
                </a:moveTo>
                <a:lnTo>
                  <a:pt x="3796" y="294"/>
                </a:lnTo>
                <a:lnTo>
                  <a:pt x="3790" y="294"/>
                </a:lnTo>
                <a:lnTo>
                  <a:pt x="3790" y="294"/>
                </a:lnTo>
                <a:lnTo>
                  <a:pt x="3788" y="292"/>
                </a:lnTo>
                <a:lnTo>
                  <a:pt x="3788" y="292"/>
                </a:lnTo>
                <a:lnTo>
                  <a:pt x="3794" y="292"/>
                </a:lnTo>
                <a:lnTo>
                  <a:pt x="3794" y="292"/>
                </a:lnTo>
                <a:lnTo>
                  <a:pt x="3796" y="294"/>
                </a:lnTo>
                <a:lnTo>
                  <a:pt x="3796" y="294"/>
                </a:lnTo>
                <a:close/>
                <a:moveTo>
                  <a:pt x="3694" y="98"/>
                </a:moveTo>
                <a:lnTo>
                  <a:pt x="3694" y="98"/>
                </a:lnTo>
                <a:lnTo>
                  <a:pt x="3690" y="114"/>
                </a:lnTo>
                <a:lnTo>
                  <a:pt x="3690" y="114"/>
                </a:lnTo>
                <a:lnTo>
                  <a:pt x="3676" y="116"/>
                </a:lnTo>
                <a:lnTo>
                  <a:pt x="3676" y="116"/>
                </a:lnTo>
                <a:lnTo>
                  <a:pt x="3668" y="108"/>
                </a:lnTo>
                <a:lnTo>
                  <a:pt x="3668" y="108"/>
                </a:lnTo>
                <a:lnTo>
                  <a:pt x="3680" y="102"/>
                </a:lnTo>
                <a:lnTo>
                  <a:pt x="3686" y="100"/>
                </a:lnTo>
                <a:lnTo>
                  <a:pt x="3694" y="98"/>
                </a:lnTo>
                <a:lnTo>
                  <a:pt x="3694" y="98"/>
                </a:lnTo>
                <a:close/>
                <a:moveTo>
                  <a:pt x="3654" y="140"/>
                </a:moveTo>
                <a:lnTo>
                  <a:pt x="3654" y="140"/>
                </a:lnTo>
                <a:lnTo>
                  <a:pt x="3658" y="136"/>
                </a:lnTo>
                <a:lnTo>
                  <a:pt x="3662" y="134"/>
                </a:lnTo>
                <a:lnTo>
                  <a:pt x="3666" y="134"/>
                </a:lnTo>
                <a:lnTo>
                  <a:pt x="3670" y="138"/>
                </a:lnTo>
                <a:lnTo>
                  <a:pt x="3670" y="138"/>
                </a:lnTo>
                <a:lnTo>
                  <a:pt x="3666" y="140"/>
                </a:lnTo>
                <a:lnTo>
                  <a:pt x="3664" y="142"/>
                </a:lnTo>
                <a:lnTo>
                  <a:pt x="3658" y="142"/>
                </a:lnTo>
                <a:lnTo>
                  <a:pt x="3654" y="140"/>
                </a:lnTo>
                <a:lnTo>
                  <a:pt x="3654" y="140"/>
                </a:lnTo>
                <a:close/>
                <a:moveTo>
                  <a:pt x="3666" y="154"/>
                </a:moveTo>
                <a:lnTo>
                  <a:pt x="3666" y="154"/>
                </a:lnTo>
                <a:lnTo>
                  <a:pt x="3664" y="152"/>
                </a:lnTo>
                <a:lnTo>
                  <a:pt x="3662" y="150"/>
                </a:lnTo>
                <a:lnTo>
                  <a:pt x="3664" y="144"/>
                </a:lnTo>
                <a:lnTo>
                  <a:pt x="3664" y="144"/>
                </a:lnTo>
                <a:lnTo>
                  <a:pt x="3664" y="144"/>
                </a:lnTo>
                <a:lnTo>
                  <a:pt x="3676" y="148"/>
                </a:lnTo>
                <a:lnTo>
                  <a:pt x="3676" y="148"/>
                </a:lnTo>
                <a:lnTo>
                  <a:pt x="3674" y="152"/>
                </a:lnTo>
                <a:lnTo>
                  <a:pt x="3670" y="154"/>
                </a:lnTo>
                <a:lnTo>
                  <a:pt x="3666" y="154"/>
                </a:lnTo>
                <a:lnTo>
                  <a:pt x="3666" y="154"/>
                </a:lnTo>
                <a:close/>
                <a:moveTo>
                  <a:pt x="3674" y="206"/>
                </a:moveTo>
                <a:lnTo>
                  <a:pt x="3674" y="206"/>
                </a:lnTo>
                <a:lnTo>
                  <a:pt x="3678" y="202"/>
                </a:lnTo>
                <a:lnTo>
                  <a:pt x="3680" y="200"/>
                </a:lnTo>
                <a:lnTo>
                  <a:pt x="3682" y="200"/>
                </a:lnTo>
                <a:lnTo>
                  <a:pt x="3682" y="200"/>
                </a:lnTo>
                <a:lnTo>
                  <a:pt x="3686" y="204"/>
                </a:lnTo>
                <a:lnTo>
                  <a:pt x="3686" y="204"/>
                </a:lnTo>
                <a:lnTo>
                  <a:pt x="3674" y="206"/>
                </a:lnTo>
                <a:lnTo>
                  <a:pt x="3674" y="206"/>
                </a:lnTo>
                <a:close/>
                <a:moveTo>
                  <a:pt x="3684" y="254"/>
                </a:moveTo>
                <a:lnTo>
                  <a:pt x="3684" y="254"/>
                </a:lnTo>
                <a:lnTo>
                  <a:pt x="3690" y="248"/>
                </a:lnTo>
                <a:lnTo>
                  <a:pt x="3690" y="248"/>
                </a:lnTo>
                <a:lnTo>
                  <a:pt x="3698" y="246"/>
                </a:lnTo>
                <a:lnTo>
                  <a:pt x="3700" y="244"/>
                </a:lnTo>
                <a:lnTo>
                  <a:pt x="3702" y="240"/>
                </a:lnTo>
                <a:lnTo>
                  <a:pt x="3702" y="240"/>
                </a:lnTo>
                <a:lnTo>
                  <a:pt x="3696" y="236"/>
                </a:lnTo>
                <a:lnTo>
                  <a:pt x="3696" y="232"/>
                </a:lnTo>
                <a:lnTo>
                  <a:pt x="3698" y="228"/>
                </a:lnTo>
                <a:lnTo>
                  <a:pt x="3698" y="228"/>
                </a:lnTo>
                <a:lnTo>
                  <a:pt x="3706" y="230"/>
                </a:lnTo>
                <a:lnTo>
                  <a:pt x="3706" y="230"/>
                </a:lnTo>
                <a:lnTo>
                  <a:pt x="3710" y="230"/>
                </a:lnTo>
                <a:lnTo>
                  <a:pt x="3716" y="230"/>
                </a:lnTo>
                <a:lnTo>
                  <a:pt x="3724" y="228"/>
                </a:lnTo>
                <a:lnTo>
                  <a:pt x="3724" y="228"/>
                </a:lnTo>
                <a:lnTo>
                  <a:pt x="3730" y="226"/>
                </a:lnTo>
                <a:lnTo>
                  <a:pt x="3736" y="224"/>
                </a:lnTo>
                <a:lnTo>
                  <a:pt x="3736" y="224"/>
                </a:lnTo>
                <a:lnTo>
                  <a:pt x="3750" y="220"/>
                </a:lnTo>
                <a:lnTo>
                  <a:pt x="3750" y="220"/>
                </a:lnTo>
                <a:lnTo>
                  <a:pt x="3750" y="220"/>
                </a:lnTo>
                <a:lnTo>
                  <a:pt x="3740" y="214"/>
                </a:lnTo>
                <a:lnTo>
                  <a:pt x="3740" y="214"/>
                </a:lnTo>
                <a:lnTo>
                  <a:pt x="3744" y="214"/>
                </a:lnTo>
                <a:lnTo>
                  <a:pt x="3748" y="214"/>
                </a:lnTo>
                <a:lnTo>
                  <a:pt x="3752" y="218"/>
                </a:lnTo>
                <a:lnTo>
                  <a:pt x="3752" y="218"/>
                </a:lnTo>
                <a:lnTo>
                  <a:pt x="3752" y="222"/>
                </a:lnTo>
                <a:lnTo>
                  <a:pt x="3750" y="224"/>
                </a:lnTo>
                <a:lnTo>
                  <a:pt x="3748" y="226"/>
                </a:lnTo>
                <a:lnTo>
                  <a:pt x="3748" y="226"/>
                </a:lnTo>
                <a:lnTo>
                  <a:pt x="3744" y="230"/>
                </a:lnTo>
                <a:lnTo>
                  <a:pt x="3738" y="232"/>
                </a:lnTo>
                <a:lnTo>
                  <a:pt x="3738" y="232"/>
                </a:lnTo>
                <a:lnTo>
                  <a:pt x="3744" y="238"/>
                </a:lnTo>
                <a:lnTo>
                  <a:pt x="3744" y="238"/>
                </a:lnTo>
                <a:lnTo>
                  <a:pt x="3732" y="250"/>
                </a:lnTo>
                <a:lnTo>
                  <a:pt x="3732" y="250"/>
                </a:lnTo>
                <a:lnTo>
                  <a:pt x="3736" y="254"/>
                </a:lnTo>
                <a:lnTo>
                  <a:pt x="3738" y="258"/>
                </a:lnTo>
                <a:lnTo>
                  <a:pt x="3736" y="260"/>
                </a:lnTo>
                <a:lnTo>
                  <a:pt x="3736" y="260"/>
                </a:lnTo>
                <a:lnTo>
                  <a:pt x="3738" y="262"/>
                </a:lnTo>
                <a:lnTo>
                  <a:pt x="3742" y="264"/>
                </a:lnTo>
                <a:lnTo>
                  <a:pt x="3742" y="264"/>
                </a:lnTo>
                <a:lnTo>
                  <a:pt x="3756" y="268"/>
                </a:lnTo>
                <a:lnTo>
                  <a:pt x="3764" y="268"/>
                </a:lnTo>
                <a:lnTo>
                  <a:pt x="3772" y="266"/>
                </a:lnTo>
                <a:lnTo>
                  <a:pt x="3772" y="266"/>
                </a:lnTo>
                <a:lnTo>
                  <a:pt x="3774" y="274"/>
                </a:lnTo>
                <a:lnTo>
                  <a:pt x="3774" y="274"/>
                </a:lnTo>
                <a:lnTo>
                  <a:pt x="3766" y="278"/>
                </a:lnTo>
                <a:lnTo>
                  <a:pt x="3758" y="280"/>
                </a:lnTo>
                <a:lnTo>
                  <a:pt x="3740" y="282"/>
                </a:lnTo>
                <a:lnTo>
                  <a:pt x="3740" y="282"/>
                </a:lnTo>
                <a:lnTo>
                  <a:pt x="3738" y="282"/>
                </a:lnTo>
                <a:lnTo>
                  <a:pt x="3738" y="282"/>
                </a:lnTo>
                <a:lnTo>
                  <a:pt x="3710" y="276"/>
                </a:lnTo>
                <a:lnTo>
                  <a:pt x="3710" y="276"/>
                </a:lnTo>
                <a:lnTo>
                  <a:pt x="3710" y="272"/>
                </a:lnTo>
                <a:lnTo>
                  <a:pt x="3714" y="268"/>
                </a:lnTo>
                <a:lnTo>
                  <a:pt x="3718" y="264"/>
                </a:lnTo>
                <a:lnTo>
                  <a:pt x="3722" y="260"/>
                </a:lnTo>
                <a:lnTo>
                  <a:pt x="3722" y="260"/>
                </a:lnTo>
                <a:lnTo>
                  <a:pt x="3718" y="258"/>
                </a:lnTo>
                <a:lnTo>
                  <a:pt x="3714" y="256"/>
                </a:lnTo>
                <a:lnTo>
                  <a:pt x="3710" y="256"/>
                </a:lnTo>
                <a:lnTo>
                  <a:pt x="3704" y="258"/>
                </a:lnTo>
                <a:lnTo>
                  <a:pt x="3704" y="258"/>
                </a:lnTo>
                <a:lnTo>
                  <a:pt x="3690" y="262"/>
                </a:lnTo>
                <a:lnTo>
                  <a:pt x="3690" y="262"/>
                </a:lnTo>
                <a:lnTo>
                  <a:pt x="3686" y="262"/>
                </a:lnTo>
                <a:lnTo>
                  <a:pt x="3682" y="260"/>
                </a:lnTo>
                <a:lnTo>
                  <a:pt x="3682" y="260"/>
                </a:lnTo>
                <a:lnTo>
                  <a:pt x="3680" y="258"/>
                </a:lnTo>
                <a:lnTo>
                  <a:pt x="3680" y="256"/>
                </a:lnTo>
                <a:lnTo>
                  <a:pt x="3684" y="254"/>
                </a:lnTo>
                <a:lnTo>
                  <a:pt x="3684" y="254"/>
                </a:lnTo>
                <a:close/>
                <a:moveTo>
                  <a:pt x="3818" y="856"/>
                </a:moveTo>
                <a:lnTo>
                  <a:pt x="3818" y="856"/>
                </a:lnTo>
                <a:lnTo>
                  <a:pt x="3818" y="856"/>
                </a:lnTo>
                <a:lnTo>
                  <a:pt x="3818" y="856"/>
                </a:lnTo>
                <a:lnTo>
                  <a:pt x="3820" y="856"/>
                </a:lnTo>
                <a:lnTo>
                  <a:pt x="3820" y="856"/>
                </a:lnTo>
                <a:lnTo>
                  <a:pt x="3818" y="858"/>
                </a:lnTo>
                <a:lnTo>
                  <a:pt x="3818" y="858"/>
                </a:lnTo>
                <a:lnTo>
                  <a:pt x="3820" y="856"/>
                </a:lnTo>
                <a:lnTo>
                  <a:pt x="3820" y="856"/>
                </a:lnTo>
                <a:lnTo>
                  <a:pt x="3818" y="856"/>
                </a:lnTo>
                <a:lnTo>
                  <a:pt x="3818" y="856"/>
                </a:lnTo>
                <a:close/>
                <a:moveTo>
                  <a:pt x="3820" y="908"/>
                </a:moveTo>
                <a:lnTo>
                  <a:pt x="3820" y="908"/>
                </a:lnTo>
                <a:lnTo>
                  <a:pt x="3810" y="912"/>
                </a:lnTo>
                <a:lnTo>
                  <a:pt x="3802" y="912"/>
                </a:lnTo>
                <a:lnTo>
                  <a:pt x="3794" y="908"/>
                </a:lnTo>
                <a:lnTo>
                  <a:pt x="3786" y="904"/>
                </a:lnTo>
                <a:lnTo>
                  <a:pt x="3786" y="904"/>
                </a:lnTo>
                <a:lnTo>
                  <a:pt x="3792" y="902"/>
                </a:lnTo>
                <a:lnTo>
                  <a:pt x="3792" y="902"/>
                </a:lnTo>
                <a:lnTo>
                  <a:pt x="3800" y="900"/>
                </a:lnTo>
                <a:lnTo>
                  <a:pt x="3800" y="900"/>
                </a:lnTo>
                <a:lnTo>
                  <a:pt x="3806" y="908"/>
                </a:lnTo>
                <a:lnTo>
                  <a:pt x="3806" y="908"/>
                </a:lnTo>
                <a:lnTo>
                  <a:pt x="3812" y="906"/>
                </a:lnTo>
                <a:lnTo>
                  <a:pt x="3816" y="906"/>
                </a:lnTo>
                <a:lnTo>
                  <a:pt x="3820" y="908"/>
                </a:lnTo>
                <a:lnTo>
                  <a:pt x="3820" y="908"/>
                </a:lnTo>
                <a:close/>
                <a:moveTo>
                  <a:pt x="3786" y="912"/>
                </a:moveTo>
                <a:lnTo>
                  <a:pt x="3786" y="912"/>
                </a:lnTo>
                <a:lnTo>
                  <a:pt x="3786" y="912"/>
                </a:lnTo>
                <a:lnTo>
                  <a:pt x="3786" y="912"/>
                </a:lnTo>
                <a:lnTo>
                  <a:pt x="3780" y="914"/>
                </a:lnTo>
                <a:lnTo>
                  <a:pt x="3776" y="912"/>
                </a:lnTo>
                <a:lnTo>
                  <a:pt x="3776" y="912"/>
                </a:lnTo>
                <a:lnTo>
                  <a:pt x="3780" y="914"/>
                </a:lnTo>
                <a:lnTo>
                  <a:pt x="3786" y="912"/>
                </a:lnTo>
                <a:lnTo>
                  <a:pt x="3786" y="912"/>
                </a:lnTo>
                <a:close/>
                <a:moveTo>
                  <a:pt x="3774" y="904"/>
                </a:moveTo>
                <a:lnTo>
                  <a:pt x="3774" y="904"/>
                </a:lnTo>
                <a:lnTo>
                  <a:pt x="3778" y="904"/>
                </a:lnTo>
                <a:lnTo>
                  <a:pt x="3778" y="904"/>
                </a:lnTo>
                <a:lnTo>
                  <a:pt x="3778" y="904"/>
                </a:lnTo>
                <a:lnTo>
                  <a:pt x="3774" y="906"/>
                </a:lnTo>
                <a:lnTo>
                  <a:pt x="3774" y="906"/>
                </a:lnTo>
                <a:lnTo>
                  <a:pt x="3774" y="906"/>
                </a:lnTo>
                <a:lnTo>
                  <a:pt x="3774" y="906"/>
                </a:lnTo>
                <a:lnTo>
                  <a:pt x="3778" y="904"/>
                </a:lnTo>
                <a:lnTo>
                  <a:pt x="3778" y="904"/>
                </a:lnTo>
                <a:lnTo>
                  <a:pt x="3774" y="904"/>
                </a:lnTo>
                <a:lnTo>
                  <a:pt x="3774" y="904"/>
                </a:lnTo>
                <a:close/>
                <a:moveTo>
                  <a:pt x="3772" y="886"/>
                </a:moveTo>
                <a:lnTo>
                  <a:pt x="3772" y="886"/>
                </a:lnTo>
                <a:lnTo>
                  <a:pt x="3772" y="884"/>
                </a:lnTo>
                <a:lnTo>
                  <a:pt x="3782" y="884"/>
                </a:lnTo>
                <a:lnTo>
                  <a:pt x="3782" y="884"/>
                </a:lnTo>
                <a:lnTo>
                  <a:pt x="3782" y="886"/>
                </a:lnTo>
                <a:lnTo>
                  <a:pt x="3772" y="886"/>
                </a:lnTo>
                <a:close/>
                <a:moveTo>
                  <a:pt x="3726" y="904"/>
                </a:moveTo>
                <a:lnTo>
                  <a:pt x="3726" y="904"/>
                </a:lnTo>
                <a:lnTo>
                  <a:pt x="3720" y="902"/>
                </a:lnTo>
                <a:lnTo>
                  <a:pt x="3714" y="896"/>
                </a:lnTo>
                <a:lnTo>
                  <a:pt x="3714" y="896"/>
                </a:lnTo>
                <a:lnTo>
                  <a:pt x="3728" y="896"/>
                </a:lnTo>
                <a:lnTo>
                  <a:pt x="3728" y="896"/>
                </a:lnTo>
                <a:lnTo>
                  <a:pt x="3734" y="900"/>
                </a:lnTo>
                <a:lnTo>
                  <a:pt x="3734" y="900"/>
                </a:lnTo>
                <a:lnTo>
                  <a:pt x="3734" y="902"/>
                </a:lnTo>
                <a:lnTo>
                  <a:pt x="3734" y="902"/>
                </a:lnTo>
                <a:lnTo>
                  <a:pt x="3726" y="904"/>
                </a:lnTo>
                <a:lnTo>
                  <a:pt x="3726" y="904"/>
                </a:lnTo>
                <a:close/>
                <a:moveTo>
                  <a:pt x="3732" y="946"/>
                </a:moveTo>
                <a:lnTo>
                  <a:pt x="3732" y="946"/>
                </a:lnTo>
                <a:lnTo>
                  <a:pt x="3728" y="948"/>
                </a:lnTo>
                <a:lnTo>
                  <a:pt x="3724" y="948"/>
                </a:lnTo>
                <a:lnTo>
                  <a:pt x="3724" y="948"/>
                </a:lnTo>
                <a:lnTo>
                  <a:pt x="3728" y="948"/>
                </a:lnTo>
                <a:lnTo>
                  <a:pt x="3732" y="946"/>
                </a:lnTo>
                <a:lnTo>
                  <a:pt x="3732" y="946"/>
                </a:lnTo>
                <a:lnTo>
                  <a:pt x="3732" y="946"/>
                </a:lnTo>
                <a:lnTo>
                  <a:pt x="3732" y="946"/>
                </a:lnTo>
                <a:close/>
                <a:moveTo>
                  <a:pt x="3722" y="886"/>
                </a:moveTo>
                <a:lnTo>
                  <a:pt x="3722" y="886"/>
                </a:lnTo>
                <a:lnTo>
                  <a:pt x="3724" y="886"/>
                </a:lnTo>
                <a:lnTo>
                  <a:pt x="3724" y="886"/>
                </a:lnTo>
                <a:lnTo>
                  <a:pt x="3722" y="888"/>
                </a:lnTo>
                <a:lnTo>
                  <a:pt x="3722" y="888"/>
                </a:lnTo>
                <a:lnTo>
                  <a:pt x="3718" y="888"/>
                </a:lnTo>
                <a:lnTo>
                  <a:pt x="3718" y="888"/>
                </a:lnTo>
                <a:lnTo>
                  <a:pt x="3722" y="888"/>
                </a:lnTo>
                <a:lnTo>
                  <a:pt x="3722" y="888"/>
                </a:lnTo>
                <a:lnTo>
                  <a:pt x="3724" y="886"/>
                </a:lnTo>
                <a:lnTo>
                  <a:pt x="3724" y="886"/>
                </a:lnTo>
                <a:lnTo>
                  <a:pt x="3722" y="886"/>
                </a:lnTo>
                <a:lnTo>
                  <a:pt x="3722" y="886"/>
                </a:lnTo>
                <a:close/>
                <a:moveTo>
                  <a:pt x="3730" y="890"/>
                </a:moveTo>
                <a:lnTo>
                  <a:pt x="3730" y="890"/>
                </a:lnTo>
                <a:lnTo>
                  <a:pt x="3732" y="886"/>
                </a:lnTo>
                <a:lnTo>
                  <a:pt x="3736" y="886"/>
                </a:lnTo>
                <a:lnTo>
                  <a:pt x="3756" y="888"/>
                </a:lnTo>
                <a:lnTo>
                  <a:pt x="3756" y="888"/>
                </a:lnTo>
                <a:lnTo>
                  <a:pt x="3748" y="892"/>
                </a:lnTo>
                <a:lnTo>
                  <a:pt x="3748" y="892"/>
                </a:lnTo>
                <a:lnTo>
                  <a:pt x="3742" y="896"/>
                </a:lnTo>
                <a:lnTo>
                  <a:pt x="3742" y="896"/>
                </a:lnTo>
                <a:lnTo>
                  <a:pt x="3730" y="890"/>
                </a:lnTo>
                <a:lnTo>
                  <a:pt x="3730" y="890"/>
                </a:lnTo>
                <a:close/>
                <a:moveTo>
                  <a:pt x="3752" y="302"/>
                </a:moveTo>
                <a:lnTo>
                  <a:pt x="3752" y="302"/>
                </a:lnTo>
                <a:lnTo>
                  <a:pt x="3732" y="306"/>
                </a:lnTo>
                <a:lnTo>
                  <a:pt x="3732" y="306"/>
                </a:lnTo>
                <a:lnTo>
                  <a:pt x="3720" y="288"/>
                </a:lnTo>
                <a:lnTo>
                  <a:pt x="3720" y="288"/>
                </a:lnTo>
                <a:lnTo>
                  <a:pt x="3726" y="286"/>
                </a:lnTo>
                <a:lnTo>
                  <a:pt x="3730" y="288"/>
                </a:lnTo>
                <a:lnTo>
                  <a:pt x="3736" y="290"/>
                </a:lnTo>
                <a:lnTo>
                  <a:pt x="3736" y="290"/>
                </a:lnTo>
                <a:lnTo>
                  <a:pt x="3742" y="294"/>
                </a:lnTo>
                <a:lnTo>
                  <a:pt x="3748" y="294"/>
                </a:lnTo>
                <a:lnTo>
                  <a:pt x="3752" y="294"/>
                </a:lnTo>
                <a:lnTo>
                  <a:pt x="3758" y="292"/>
                </a:lnTo>
                <a:lnTo>
                  <a:pt x="3758" y="292"/>
                </a:lnTo>
                <a:lnTo>
                  <a:pt x="3762" y="292"/>
                </a:lnTo>
                <a:lnTo>
                  <a:pt x="3762" y="292"/>
                </a:lnTo>
                <a:lnTo>
                  <a:pt x="3774" y="300"/>
                </a:lnTo>
                <a:lnTo>
                  <a:pt x="3774" y="300"/>
                </a:lnTo>
                <a:lnTo>
                  <a:pt x="3772" y="302"/>
                </a:lnTo>
                <a:lnTo>
                  <a:pt x="3772" y="302"/>
                </a:lnTo>
                <a:lnTo>
                  <a:pt x="3752" y="302"/>
                </a:lnTo>
                <a:lnTo>
                  <a:pt x="3752" y="302"/>
                </a:lnTo>
                <a:close/>
                <a:moveTo>
                  <a:pt x="3710" y="946"/>
                </a:moveTo>
                <a:lnTo>
                  <a:pt x="3710" y="946"/>
                </a:lnTo>
                <a:lnTo>
                  <a:pt x="3698" y="946"/>
                </a:lnTo>
                <a:lnTo>
                  <a:pt x="3698" y="946"/>
                </a:lnTo>
                <a:lnTo>
                  <a:pt x="3698" y="946"/>
                </a:lnTo>
                <a:lnTo>
                  <a:pt x="3698" y="946"/>
                </a:lnTo>
                <a:lnTo>
                  <a:pt x="3710" y="946"/>
                </a:lnTo>
                <a:lnTo>
                  <a:pt x="3710" y="946"/>
                </a:lnTo>
                <a:lnTo>
                  <a:pt x="3712" y="948"/>
                </a:lnTo>
                <a:lnTo>
                  <a:pt x="3712" y="950"/>
                </a:lnTo>
                <a:lnTo>
                  <a:pt x="3712" y="950"/>
                </a:lnTo>
                <a:lnTo>
                  <a:pt x="3712" y="952"/>
                </a:lnTo>
                <a:lnTo>
                  <a:pt x="3712" y="952"/>
                </a:lnTo>
                <a:lnTo>
                  <a:pt x="3712" y="952"/>
                </a:lnTo>
                <a:lnTo>
                  <a:pt x="3712" y="952"/>
                </a:lnTo>
                <a:lnTo>
                  <a:pt x="3712" y="948"/>
                </a:lnTo>
                <a:lnTo>
                  <a:pt x="3710" y="946"/>
                </a:lnTo>
                <a:lnTo>
                  <a:pt x="3710" y="946"/>
                </a:lnTo>
                <a:close/>
                <a:moveTo>
                  <a:pt x="3690" y="900"/>
                </a:moveTo>
                <a:lnTo>
                  <a:pt x="3690" y="900"/>
                </a:lnTo>
                <a:lnTo>
                  <a:pt x="3692" y="900"/>
                </a:lnTo>
                <a:lnTo>
                  <a:pt x="3694" y="900"/>
                </a:lnTo>
                <a:lnTo>
                  <a:pt x="3694" y="900"/>
                </a:lnTo>
                <a:lnTo>
                  <a:pt x="3694" y="898"/>
                </a:lnTo>
                <a:lnTo>
                  <a:pt x="3694" y="898"/>
                </a:lnTo>
                <a:lnTo>
                  <a:pt x="3694" y="898"/>
                </a:lnTo>
                <a:lnTo>
                  <a:pt x="3694" y="898"/>
                </a:lnTo>
                <a:lnTo>
                  <a:pt x="3696" y="900"/>
                </a:lnTo>
                <a:lnTo>
                  <a:pt x="3696" y="900"/>
                </a:lnTo>
                <a:lnTo>
                  <a:pt x="3692" y="902"/>
                </a:lnTo>
                <a:lnTo>
                  <a:pt x="3690" y="900"/>
                </a:lnTo>
                <a:lnTo>
                  <a:pt x="3690" y="900"/>
                </a:lnTo>
                <a:close/>
                <a:moveTo>
                  <a:pt x="3670" y="266"/>
                </a:moveTo>
                <a:lnTo>
                  <a:pt x="3670" y="266"/>
                </a:lnTo>
                <a:lnTo>
                  <a:pt x="3664" y="268"/>
                </a:lnTo>
                <a:lnTo>
                  <a:pt x="3660" y="264"/>
                </a:lnTo>
                <a:lnTo>
                  <a:pt x="3660" y="264"/>
                </a:lnTo>
                <a:lnTo>
                  <a:pt x="3666" y="264"/>
                </a:lnTo>
                <a:lnTo>
                  <a:pt x="3670" y="266"/>
                </a:lnTo>
                <a:lnTo>
                  <a:pt x="3670" y="266"/>
                </a:lnTo>
                <a:close/>
                <a:moveTo>
                  <a:pt x="3608" y="942"/>
                </a:moveTo>
                <a:lnTo>
                  <a:pt x="3608" y="942"/>
                </a:lnTo>
                <a:lnTo>
                  <a:pt x="3620" y="942"/>
                </a:lnTo>
                <a:lnTo>
                  <a:pt x="3620" y="942"/>
                </a:lnTo>
                <a:lnTo>
                  <a:pt x="3616" y="936"/>
                </a:lnTo>
                <a:lnTo>
                  <a:pt x="3616" y="936"/>
                </a:lnTo>
                <a:lnTo>
                  <a:pt x="3624" y="936"/>
                </a:lnTo>
                <a:lnTo>
                  <a:pt x="3640" y="940"/>
                </a:lnTo>
                <a:lnTo>
                  <a:pt x="3640" y="940"/>
                </a:lnTo>
                <a:lnTo>
                  <a:pt x="3634" y="934"/>
                </a:lnTo>
                <a:lnTo>
                  <a:pt x="3634" y="934"/>
                </a:lnTo>
                <a:lnTo>
                  <a:pt x="3642" y="930"/>
                </a:lnTo>
                <a:lnTo>
                  <a:pt x="3642" y="930"/>
                </a:lnTo>
                <a:lnTo>
                  <a:pt x="3644" y="934"/>
                </a:lnTo>
                <a:lnTo>
                  <a:pt x="3648" y="936"/>
                </a:lnTo>
                <a:lnTo>
                  <a:pt x="3658" y="936"/>
                </a:lnTo>
                <a:lnTo>
                  <a:pt x="3658" y="936"/>
                </a:lnTo>
                <a:lnTo>
                  <a:pt x="3668" y="936"/>
                </a:lnTo>
                <a:lnTo>
                  <a:pt x="3672" y="936"/>
                </a:lnTo>
                <a:lnTo>
                  <a:pt x="3676" y="934"/>
                </a:lnTo>
                <a:lnTo>
                  <a:pt x="3676" y="934"/>
                </a:lnTo>
                <a:lnTo>
                  <a:pt x="3682" y="936"/>
                </a:lnTo>
                <a:lnTo>
                  <a:pt x="3682" y="936"/>
                </a:lnTo>
                <a:lnTo>
                  <a:pt x="3682" y="938"/>
                </a:lnTo>
                <a:lnTo>
                  <a:pt x="3680" y="940"/>
                </a:lnTo>
                <a:lnTo>
                  <a:pt x="3680" y="940"/>
                </a:lnTo>
                <a:lnTo>
                  <a:pt x="3672" y="942"/>
                </a:lnTo>
                <a:lnTo>
                  <a:pt x="3666" y="942"/>
                </a:lnTo>
                <a:lnTo>
                  <a:pt x="3662" y="940"/>
                </a:lnTo>
                <a:lnTo>
                  <a:pt x="3662" y="940"/>
                </a:lnTo>
                <a:lnTo>
                  <a:pt x="3660" y="942"/>
                </a:lnTo>
                <a:lnTo>
                  <a:pt x="3660" y="942"/>
                </a:lnTo>
                <a:lnTo>
                  <a:pt x="3668" y="946"/>
                </a:lnTo>
                <a:lnTo>
                  <a:pt x="3668" y="946"/>
                </a:lnTo>
                <a:lnTo>
                  <a:pt x="3662" y="950"/>
                </a:lnTo>
                <a:lnTo>
                  <a:pt x="3654" y="950"/>
                </a:lnTo>
                <a:lnTo>
                  <a:pt x="3636" y="952"/>
                </a:lnTo>
                <a:lnTo>
                  <a:pt x="3636" y="952"/>
                </a:lnTo>
                <a:lnTo>
                  <a:pt x="3636" y="954"/>
                </a:lnTo>
                <a:lnTo>
                  <a:pt x="3636" y="954"/>
                </a:lnTo>
                <a:lnTo>
                  <a:pt x="3638" y="956"/>
                </a:lnTo>
                <a:lnTo>
                  <a:pt x="3638" y="956"/>
                </a:lnTo>
                <a:lnTo>
                  <a:pt x="3630" y="956"/>
                </a:lnTo>
                <a:lnTo>
                  <a:pt x="3626" y="956"/>
                </a:lnTo>
                <a:lnTo>
                  <a:pt x="3620" y="954"/>
                </a:lnTo>
                <a:lnTo>
                  <a:pt x="3614" y="952"/>
                </a:lnTo>
                <a:lnTo>
                  <a:pt x="3614" y="952"/>
                </a:lnTo>
                <a:lnTo>
                  <a:pt x="3588" y="952"/>
                </a:lnTo>
                <a:lnTo>
                  <a:pt x="3588" y="952"/>
                </a:lnTo>
                <a:lnTo>
                  <a:pt x="3594" y="944"/>
                </a:lnTo>
                <a:lnTo>
                  <a:pt x="3594" y="944"/>
                </a:lnTo>
                <a:lnTo>
                  <a:pt x="3602" y="944"/>
                </a:lnTo>
                <a:lnTo>
                  <a:pt x="3606" y="944"/>
                </a:lnTo>
                <a:lnTo>
                  <a:pt x="3608" y="942"/>
                </a:lnTo>
                <a:lnTo>
                  <a:pt x="3608" y="942"/>
                </a:lnTo>
                <a:close/>
                <a:moveTo>
                  <a:pt x="3598" y="960"/>
                </a:moveTo>
                <a:lnTo>
                  <a:pt x="3598" y="960"/>
                </a:lnTo>
                <a:lnTo>
                  <a:pt x="3598" y="960"/>
                </a:lnTo>
                <a:lnTo>
                  <a:pt x="3598" y="960"/>
                </a:lnTo>
                <a:lnTo>
                  <a:pt x="3598" y="956"/>
                </a:lnTo>
                <a:lnTo>
                  <a:pt x="3594" y="956"/>
                </a:lnTo>
                <a:lnTo>
                  <a:pt x="3594" y="956"/>
                </a:lnTo>
                <a:lnTo>
                  <a:pt x="3598" y="956"/>
                </a:lnTo>
                <a:lnTo>
                  <a:pt x="3598" y="960"/>
                </a:lnTo>
                <a:lnTo>
                  <a:pt x="3598" y="960"/>
                </a:lnTo>
                <a:close/>
                <a:moveTo>
                  <a:pt x="3554" y="890"/>
                </a:moveTo>
                <a:lnTo>
                  <a:pt x="3554" y="890"/>
                </a:lnTo>
                <a:lnTo>
                  <a:pt x="3550" y="886"/>
                </a:lnTo>
                <a:lnTo>
                  <a:pt x="3550" y="886"/>
                </a:lnTo>
                <a:lnTo>
                  <a:pt x="3556" y="882"/>
                </a:lnTo>
                <a:lnTo>
                  <a:pt x="3556" y="882"/>
                </a:lnTo>
                <a:lnTo>
                  <a:pt x="3564" y="880"/>
                </a:lnTo>
                <a:lnTo>
                  <a:pt x="3572" y="884"/>
                </a:lnTo>
                <a:lnTo>
                  <a:pt x="3572" y="884"/>
                </a:lnTo>
                <a:lnTo>
                  <a:pt x="3576" y="886"/>
                </a:lnTo>
                <a:lnTo>
                  <a:pt x="3582" y="886"/>
                </a:lnTo>
                <a:lnTo>
                  <a:pt x="3582" y="886"/>
                </a:lnTo>
                <a:lnTo>
                  <a:pt x="3594" y="886"/>
                </a:lnTo>
                <a:lnTo>
                  <a:pt x="3594" y="886"/>
                </a:lnTo>
                <a:lnTo>
                  <a:pt x="3590" y="892"/>
                </a:lnTo>
                <a:lnTo>
                  <a:pt x="3590" y="896"/>
                </a:lnTo>
                <a:lnTo>
                  <a:pt x="3592" y="898"/>
                </a:lnTo>
                <a:lnTo>
                  <a:pt x="3598" y="902"/>
                </a:lnTo>
                <a:lnTo>
                  <a:pt x="3598" y="902"/>
                </a:lnTo>
                <a:lnTo>
                  <a:pt x="3588" y="906"/>
                </a:lnTo>
                <a:lnTo>
                  <a:pt x="3588" y="906"/>
                </a:lnTo>
                <a:lnTo>
                  <a:pt x="3586" y="902"/>
                </a:lnTo>
                <a:lnTo>
                  <a:pt x="3586" y="902"/>
                </a:lnTo>
                <a:lnTo>
                  <a:pt x="3578" y="904"/>
                </a:lnTo>
                <a:lnTo>
                  <a:pt x="3572" y="904"/>
                </a:lnTo>
                <a:lnTo>
                  <a:pt x="3566" y="902"/>
                </a:lnTo>
                <a:lnTo>
                  <a:pt x="3562" y="898"/>
                </a:lnTo>
                <a:lnTo>
                  <a:pt x="3562" y="898"/>
                </a:lnTo>
                <a:lnTo>
                  <a:pt x="3560" y="896"/>
                </a:lnTo>
                <a:lnTo>
                  <a:pt x="3556" y="896"/>
                </a:lnTo>
                <a:lnTo>
                  <a:pt x="3556" y="896"/>
                </a:lnTo>
                <a:lnTo>
                  <a:pt x="3544" y="896"/>
                </a:lnTo>
                <a:lnTo>
                  <a:pt x="3544" y="896"/>
                </a:lnTo>
                <a:lnTo>
                  <a:pt x="3544" y="894"/>
                </a:lnTo>
                <a:lnTo>
                  <a:pt x="3544" y="894"/>
                </a:lnTo>
                <a:lnTo>
                  <a:pt x="3554" y="890"/>
                </a:lnTo>
                <a:lnTo>
                  <a:pt x="3554" y="890"/>
                </a:lnTo>
                <a:close/>
                <a:moveTo>
                  <a:pt x="3540" y="878"/>
                </a:moveTo>
                <a:lnTo>
                  <a:pt x="3540" y="878"/>
                </a:lnTo>
                <a:lnTo>
                  <a:pt x="3540" y="878"/>
                </a:lnTo>
                <a:lnTo>
                  <a:pt x="3540" y="878"/>
                </a:lnTo>
                <a:lnTo>
                  <a:pt x="3542" y="880"/>
                </a:lnTo>
                <a:lnTo>
                  <a:pt x="3542" y="880"/>
                </a:lnTo>
                <a:lnTo>
                  <a:pt x="3538" y="882"/>
                </a:lnTo>
                <a:lnTo>
                  <a:pt x="3538" y="882"/>
                </a:lnTo>
                <a:lnTo>
                  <a:pt x="3538" y="882"/>
                </a:lnTo>
                <a:lnTo>
                  <a:pt x="3538" y="882"/>
                </a:lnTo>
                <a:lnTo>
                  <a:pt x="3540" y="880"/>
                </a:lnTo>
                <a:lnTo>
                  <a:pt x="3540" y="880"/>
                </a:lnTo>
                <a:lnTo>
                  <a:pt x="3540" y="878"/>
                </a:lnTo>
                <a:lnTo>
                  <a:pt x="3540" y="878"/>
                </a:lnTo>
                <a:close/>
                <a:moveTo>
                  <a:pt x="3564" y="906"/>
                </a:moveTo>
                <a:lnTo>
                  <a:pt x="3564" y="906"/>
                </a:lnTo>
                <a:lnTo>
                  <a:pt x="3564" y="906"/>
                </a:lnTo>
                <a:lnTo>
                  <a:pt x="3564" y="906"/>
                </a:lnTo>
                <a:lnTo>
                  <a:pt x="3552" y="900"/>
                </a:lnTo>
                <a:lnTo>
                  <a:pt x="3546" y="898"/>
                </a:lnTo>
                <a:lnTo>
                  <a:pt x="3538" y="896"/>
                </a:lnTo>
                <a:lnTo>
                  <a:pt x="3538" y="896"/>
                </a:lnTo>
                <a:lnTo>
                  <a:pt x="3538" y="896"/>
                </a:lnTo>
                <a:lnTo>
                  <a:pt x="3538" y="896"/>
                </a:lnTo>
                <a:lnTo>
                  <a:pt x="3546" y="898"/>
                </a:lnTo>
                <a:lnTo>
                  <a:pt x="3552" y="900"/>
                </a:lnTo>
                <a:lnTo>
                  <a:pt x="3564" y="906"/>
                </a:lnTo>
                <a:lnTo>
                  <a:pt x="3564" y="906"/>
                </a:lnTo>
                <a:close/>
                <a:moveTo>
                  <a:pt x="3548" y="916"/>
                </a:moveTo>
                <a:lnTo>
                  <a:pt x="3548" y="916"/>
                </a:lnTo>
                <a:lnTo>
                  <a:pt x="3562" y="920"/>
                </a:lnTo>
                <a:lnTo>
                  <a:pt x="3568" y="922"/>
                </a:lnTo>
                <a:lnTo>
                  <a:pt x="3576" y="922"/>
                </a:lnTo>
                <a:lnTo>
                  <a:pt x="3576" y="922"/>
                </a:lnTo>
                <a:lnTo>
                  <a:pt x="3578" y="922"/>
                </a:lnTo>
                <a:lnTo>
                  <a:pt x="3578" y="922"/>
                </a:lnTo>
                <a:lnTo>
                  <a:pt x="3584" y="926"/>
                </a:lnTo>
                <a:lnTo>
                  <a:pt x="3584" y="926"/>
                </a:lnTo>
                <a:lnTo>
                  <a:pt x="3592" y="928"/>
                </a:lnTo>
                <a:lnTo>
                  <a:pt x="3592" y="928"/>
                </a:lnTo>
                <a:lnTo>
                  <a:pt x="3588" y="932"/>
                </a:lnTo>
                <a:lnTo>
                  <a:pt x="3580" y="934"/>
                </a:lnTo>
                <a:lnTo>
                  <a:pt x="3580" y="934"/>
                </a:lnTo>
                <a:lnTo>
                  <a:pt x="3576" y="932"/>
                </a:lnTo>
                <a:lnTo>
                  <a:pt x="3574" y="932"/>
                </a:lnTo>
                <a:lnTo>
                  <a:pt x="3574" y="932"/>
                </a:lnTo>
                <a:lnTo>
                  <a:pt x="3566" y="932"/>
                </a:lnTo>
                <a:lnTo>
                  <a:pt x="3562" y="932"/>
                </a:lnTo>
                <a:lnTo>
                  <a:pt x="3560" y="928"/>
                </a:lnTo>
                <a:lnTo>
                  <a:pt x="3560" y="928"/>
                </a:lnTo>
                <a:lnTo>
                  <a:pt x="3554" y="928"/>
                </a:lnTo>
                <a:lnTo>
                  <a:pt x="3554" y="928"/>
                </a:lnTo>
                <a:lnTo>
                  <a:pt x="3550" y="928"/>
                </a:lnTo>
                <a:lnTo>
                  <a:pt x="3546" y="928"/>
                </a:lnTo>
                <a:lnTo>
                  <a:pt x="3542" y="922"/>
                </a:lnTo>
                <a:lnTo>
                  <a:pt x="3542" y="922"/>
                </a:lnTo>
                <a:lnTo>
                  <a:pt x="3536" y="916"/>
                </a:lnTo>
                <a:lnTo>
                  <a:pt x="3536" y="916"/>
                </a:lnTo>
                <a:lnTo>
                  <a:pt x="3542" y="914"/>
                </a:lnTo>
                <a:lnTo>
                  <a:pt x="3548" y="916"/>
                </a:lnTo>
                <a:lnTo>
                  <a:pt x="3548" y="916"/>
                </a:lnTo>
                <a:close/>
                <a:moveTo>
                  <a:pt x="3550" y="972"/>
                </a:moveTo>
                <a:lnTo>
                  <a:pt x="3550" y="972"/>
                </a:lnTo>
                <a:lnTo>
                  <a:pt x="3548" y="972"/>
                </a:lnTo>
                <a:lnTo>
                  <a:pt x="3548" y="972"/>
                </a:lnTo>
                <a:lnTo>
                  <a:pt x="3546" y="970"/>
                </a:lnTo>
                <a:lnTo>
                  <a:pt x="3546" y="970"/>
                </a:lnTo>
                <a:lnTo>
                  <a:pt x="3546" y="970"/>
                </a:lnTo>
                <a:lnTo>
                  <a:pt x="3546" y="970"/>
                </a:lnTo>
                <a:lnTo>
                  <a:pt x="3546" y="970"/>
                </a:lnTo>
                <a:lnTo>
                  <a:pt x="3546" y="970"/>
                </a:lnTo>
                <a:lnTo>
                  <a:pt x="3546" y="968"/>
                </a:lnTo>
                <a:lnTo>
                  <a:pt x="3546" y="968"/>
                </a:lnTo>
                <a:lnTo>
                  <a:pt x="3548" y="970"/>
                </a:lnTo>
                <a:lnTo>
                  <a:pt x="3548" y="970"/>
                </a:lnTo>
                <a:lnTo>
                  <a:pt x="3552" y="968"/>
                </a:lnTo>
                <a:lnTo>
                  <a:pt x="3552" y="968"/>
                </a:lnTo>
                <a:lnTo>
                  <a:pt x="3558" y="958"/>
                </a:lnTo>
                <a:lnTo>
                  <a:pt x="3558" y="958"/>
                </a:lnTo>
                <a:lnTo>
                  <a:pt x="3558" y="958"/>
                </a:lnTo>
                <a:lnTo>
                  <a:pt x="3552" y="968"/>
                </a:lnTo>
                <a:lnTo>
                  <a:pt x="3552" y="968"/>
                </a:lnTo>
                <a:lnTo>
                  <a:pt x="3548" y="970"/>
                </a:lnTo>
                <a:lnTo>
                  <a:pt x="3548" y="970"/>
                </a:lnTo>
                <a:lnTo>
                  <a:pt x="3550" y="972"/>
                </a:lnTo>
                <a:lnTo>
                  <a:pt x="3550" y="972"/>
                </a:lnTo>
                <a:close/>
                <a:moveTo>
                  <a:pt x="3454" y="948"/>
                </a:moveTo>
                <a:lnTo>
                  <a:pt x="3454" y="948"/>
                </a:lnTo>
                <a:lnTo>
                  <a:pt x="3454" y="948"/>
                </a:lnTo>
                <a:lnTo>
                  <a:pt x="3454" y="948"/>
                </a:lnTo>
                <a:lnTo>
                  <a:pt x="3456" y="950"/>
                </a:lnTo>
                <a:lnTo>
                  <a:pt x="3456" y="950"/>
                </a:lnTo>
                <a:lnTo>
                  <a:pt x="3454" y="952"/>
                </a:lnTo>
                <a:lnTo>
                  <a:pt x="3454" y="952"/>
                </a:lnTo>
                <a:lnTo>
                  <a:pt x="3454" y="952"/>
                </a:lnTo>
                <a:lnTo>
                  <a:pt x="3454" y="952"/>
                </a:lnTo>
                <a:lnTo>
                  <a:pt x="3456" y="950"/>
                </a:lnTo>
                <a:lnTo>
                  <a:pt x="3456" y="950"/>
                </a:lnTo>
                <a:lnTo>
                  <a:pt x="3454" y="948"/>
                </a:lnTo>
                <a:lnTo>
                  <a:pt x="3454" y="948"/>
                </a:lnTo>
                <a:close/>
                <a:moveTo>
                  <a:pt x="3546" y="948"/>
                </a:moveTo>
                <a:lnTo>
                  <a:pt x="3546" y="948"/>
                </a:lnTo>
                <a:lnTo>
                  <a:pt x="3546" y="948"/>
                </a:lnTo>
                <a:lnTo>
                  <a:pt x="3546" y="948"/>
                </a:lnTo>
                <a:lnTo>
                  <a:pt x="3544" y="950"/>
                </a:lnTo>
                <a:lnTo>
                  <a:pt x="3544" y="950"/>
                </a:lnTo>
                <a:lnTo>
                  <a:pt x="3544" y="950"/>
                </a:lnTo>
                <a:lnTo>
                  <a:pt x="3536" y="948"/>
                </a:lnTo>
                <a:lnTo>
                  <a:pt x="3536" y="948"/>
                </a:lnTo>
                <a:lnTo>
                  <a:pt x="3536" y="948"/>
                </a:lnTo>
                <a:lnTo>
                  <a:pt x="3536" y="948"/>
                </a:lnTo>
                <a:lnTo>
                  <a:pt x="3544" y="950"/>
                </a:lnTo>
                <a:lnTo>
                  <a:pt x="3544" y="950"/>
                </a:lnTo>
                <a:lnTo>
                  <a:pt x="3544" y="950"/>
                </a:lnTo>
                <a:lnTo>
                  <a:pt x="3546" y="948"/>
                </a:lnTo>
                <a:lnTo>
                  <a:pt x="3546" y="948"/>
                </a:lnTo>
                <a:close/>
                <a:moveTo>
                  <a:pt x="3538" y="980"/>
                </a:moveTo>
                <a:lnTo>
                  <a:pt x="3538" y="980"/>
                </a:lnTo>
                <a:lnTo>
                  <a:pt x="3538" y="978"/>
                </a:lnTo>
                <a:lnTo>
                  <a:pt x="3538" y="978"/>
                </a:lnTo>
                <a:lnTo>
                  <a:pt x="3538" y="978"/>
                </a:lnTo>
                <a:lnTo>
                  <a:pt x="3538" y="978"/>
                </a:lnTo>
                <a:lnTo>
                  <a:pt x="3538" y="980"/>
                </a:lnTo>
                <a:lnTo>
                  <a:pt x="3538" y="980"/>
                </a:lnTo>
                <a:lnTo>
                  <a:pt x="3538" y="980"/>
                </a:lnTo>
                <a:lnTo>
                  <a:pt x="3538" y="980"/>
                </a:lnTo>
                <a:close/>
                <a:moveTo>
                  <a:pt x="3532" y="990"/>
                </a:moveTo>
                <a:lnTo>
                  <a:pt x="3532" y="990"/>
                </a:lnTo>
                <a:lnTo>
                  <a:pt x="3532" y="990"/>
                </a:lnTo>
                <a:lnTo>
                  <a:pt x="3532" y="990"/>
                </a:lnTo>
                <a:lnTo>
                  <a:pt x="3534" y="992"/>
                </a:lnTo>
                <a:lnTo>
                  <a:pt x="3534" y="992"/>
                </a:lnTo>
                <a:lnTo>
                  <a:pt x="3534" y="992"/>
                </a:lnTo>
                <a:lnTo>
                  <a:pt x="3534" y="992"/>
                </a:lnTo>
                <a:lnTo>
                  <a:pt x="3532" y="990"/>
                </a:lnTo>
                <a:lnTo>
                  <a:pt x="3532" y="990"/>
                </a:lnTo>
                <a:close/>
                <a:moveTo>
                  <a:pt x="3484" y="1014"/>
                </a:moveTo>
                <a:lnTo>
                  <a:pt x="3484" y="1014"/>
                </a:lnTo>
                <a:lnTo>
                  <a:pt x="3484" y="1010"/>
                </a:lnTo>
                <a:lnTo>
                  <a:pt x="3484" y="1010"/>
                </a:lnTo>
                <a:lnTo>
                  <a:pt x="3486" y="1012"/>
                </a:lnTo>
                <a:lnTo>
                  <a:pt x="3486" y="1014"/>
                </a:lnTo>
                <a:lnTo>
                  <a:pt x="3486" y="1014"/>
                </a:lnTo>
                <a:lnTo>
                  <a:pt x="3486" y="1014"/>
                </a:lnTo>
                <a:lnTo>
                  <a:pt x="3486" y="1014"/>
                </a:lnTo>
                <a:lnTo>
                  <a:pt x="3484" y="1014"/>
                </a:lnTo>
                <a:lnTo>
                  <a:pt x="3484" y="1014"/>
                </a:lnTo>
                <a:close/>
                <a:moveTo>
                  <a:pt x="3468" y="988"/>
                </a:moveTo>
                <a:lnTo>
                  <a:pt x="3468" y="988"/>
                </a:lnTo>
                <a:lnTo>
                  <a:pt x="3470" y="990"/>
                </a:lnTo>
                <a:lnTo>
                  <a:pt x="3470" y="990"/>
                </a:lnTo>
                <a:lnTo>
                  <a:pt x="3468" y="990"/>
                </a:lnTo>
                <a:lnTo>
                  <a:pt x="3468" y="990"/>
                </a:lnTo>
                <a:lnTo>
                  <a:pt x="3468" y="988"/>
                </a:lnTo>
                <a:lnTo>
                  <a:pt x="3468" y="988"/>
                </a:lnTo>
                <a:close/>
                <a:moveTo>
                  <a:pt x="3508" y="1006"/>
                </a:moveTo>
                <a:lnTo>
                  <a:pt x="3508" y="1006"/>
                </a:lnTo>
                <a:lnTo>
                  <a:pt x="3508" y="1006"/>
                </a:lnTo>
                <a:lnTo>
                  <a:pt x="3508" y="1006"/>
                </a:lnTo>
                <a:lnTo>
                  <a:pt x="3508" y="1006"/>
                </a:lnTo>
                <a:lnTo>
                  <a:pt x="3508" y="1006"/>
                </a:lnTo>
                <a:lnTo>
                  <a:pt x="3508" y="1006"/>
                </a:lnTo>
                <a:lnTo>
                  <a:pt x="3508" y="1006"/>
                </a:lnTo>
                <a:close/>
                <a:moveTo>
                  <a:pt x="3516" y="1000"/>
                </a:moveTo>
                <a:lnTo>
                  <a:pt x="3516" y="1000"/>
                </a:lnTo>
                <a:lnTo>
                  <a:pt x="3512" y="1000"/>
                </a:lnTo>
                <a:lnTo>
                  <a:pt x="3510" y="998"/>
                </a:lnTo>
                <a:lnTo>
                  <a:pt x="3512" y="996"/>
                </a:lnTo>
                <a:lnTo>
                  <a:pt x="3512" y="996"/>
                </a:lnTo>
                <a:lnTo>
                  <a:pt x="3520" y="992"/>
                </a:lnTo>
                <a:lnTo>
                  <a:pt x="3520" y="992"/>
                </a:lnTo>
                <a:lnTo>
                  <a:pt x="3528" y="996"/>
                </a:lnTo>
                <a:lnTo>
                  <a:pt x="3528" y="996"/>
                </a:lnTo>
                <a:lnTo>
                  <a:pt x="3520" y="1000"/>
                </a:lnTo>
                <a:lnTo>
                  <a:pt x="3520" y="1000"/>
                </a:lnTo>
                <a:lnTo>
                  <a:pt x="3516" y="1000"/>
                </a:lnTo>
                <a:lnTo>
                  <a:pt x="3516" y="1000"/>
                </a:lnTo>
                <a:close/>
                <a:moveTo>
                  <a:pt x="3534" y="1002"/>
                </a:moveTo>
                <a:lnTo>
                  <a:pt x="3534" y="1002"/>
                </a:lnTo>
                <a:lnTo>
                  <a:pt x="3540" y="1002"/>
                </a:lnTo>
                <a:lnTo>
                  <a:pt x="3544" y="1000"/>
                </a:lnTo>
                <a:lnTo>
                  <a:pt x="3544" y="1000"/>
                </a:lnTo>
                <a:lnTo>
                  <a:pt x="3544" y="1000"/>
                </a:lnTo>
                <a:lnTo>
                  <a:pt x="3544" y="1000"/>
                </a:lnTo>
                <a:lnTo>
                  <a:pt x="3540" y="1002"/>
                </a:lnTo>
                <a:lnTo>
                  <a:pt x="3534" y="1002"/>
                </a:lnTo>
                <a:lnTo>
                  <a:pt x="3534" y="1002"/>
                </a:lnTo>
                <a:lnTo>
                  <a:pt x="3534" y="1002"/>
                </a:lnTo>
                <a:lnTo>
                  <a:pt x="3534" y="1002"/>
                </a:lnTo>
                <a:close/>
                <a:moveTo>
                  <a:pt x="3548" y="978"/>
                </a:moveTo>
                <a:lnTo>
                  <a:pt x="3548" y="978"/>
                </a:lnTo>
                <a:lnTo>
                  <a:pt x="3548" y="976"/>
                </a:lnTo>
                <a:lnTo>
                  <a:pt x="3548" y="976"/>
                </a:lnTo>
                <a:lnTo>
                  <a:pt x="3548" y="976"/>
                </a:lnTo>
                <a:lnTo>
                  <a:pt x="3548" y="976"/>
                </a:lnTo>
                <a:lnTo>
                  <a:pt x="3548" y="978"/>
                </a:lnTo>
                <a:lnTo>
                  <a:pt x="3548" y="978"/>
                </a:lnTo>
                <a:lnTo>
                  <a:pt x="3548" y="978"/>
                </a:lnTo>
                <a:lnTo>
                  <a:pt x="3548" y="978"/>
                </a:lnTo>
                <a:close/>
                <a:moveTo>
                  <a:pt x="3556" y="954"/>
                </a:moveTo>
                <a:lnTo>
                  <a:pt x="3556" y="954"/>
                </a:lnTo>
                <a:lnTo>
                  <a:pt x="3548" y="952"/>
                </a:lnTo>
                <a:lnTo>
                  <a:pt x="3548" y="952"/>
                </a:lnTo>
                <a:lnTo>
                  <a:pt x="3556" y="954"/>
                </a:lnTo>
                <a:lnTo>
                  <a:pt x="3556" y="954"/>
                </a:lnTo>
                <a:lnTo>
                  <a:pt x="3562" y="954"/>
                </a:lnTo>
                <a:lnTo>
                  <a:pt x="3564" y="956"/>
                </a:lnTo>
                <a:lnTo>
                  <a:pt x="3566" y="958"/>
                </a:lnTo>
                <a:lnTo>
                  <a:pt x="3566" y="958"/>
                </a:lnTo>
                <a:lnTo>
                  <a:pt x="3566" y="958"/>
                </a:lnTo>
                <a:lnTo>
                  <a:pt x="3566" y="958"/>
                </a:lnTo>
                <a:lnTo>
                  <a:pt x="3564" y="956"/>
                </a:lnTo>
                <a:lnTo>
                  <a:pt x="3562" y="954"/>
                </a:lnTo>
                <a:lnTo>
                  <a:pt x="3556" y="954"/>
                </a:lnTo>
                <a:lnTo>
                  <a:pt x="3556" y="954"/>
                </a:lnTo>
                <a:close/>
                <a:moveTo>
                  <a:pt x="3566" y="964"/>
                </a:moveTo>
                <a:lnTo>
                  <a:pt x="3566" y="964"/>
                </a:lnTo>
                <a:lnTo>
                  <a:pt x="3572" y="962"/>
                </a:lnTo>
                <a:lnTo>
                  <a:pt x="3576" y="958"/>
                </a:lnTo>
                <a:lnTo>
                  <a:pt x="3576" y="958"/>
                </a:lnTo>
                <a:lnTo>
                  <a:pt x="3572" y="958"/>
                </a:lnTo>
                <a:lnTo>
                  <a:pt x="3572" y="958"/>
                </a:lnTo>
                <a:lnTo>
                  <a:pt x="3576" y="958"/>
                </a:lnTo>
                <a:lnTo>
                  <a:pt x="3576" y="958"/>
                </a:lnTo>
                <a:lnTo>
                  <a:pt x="3572" y="962"/>
                </a:lnTo>
                <a:lnTo>
                  <a:pt x="3566" y="964"/>
                </a:lnTo>
                <a:lnTo>
                  <a:pt x="3566" y="964"/>
                </a:lnTo>
                <a:lnTo>
                  <a:pt x="3566" y="964"/>
                </a:lnTo>
                <a:lnTo>
                  <a:pt x="3566" y="964"/>
                </a:lnTo>
                <a:close/>
                <a:moveTo>
                  <a:pt x="3540" y="962"/>
                </a:moveTo>
                <a:lnTo>
                  <a:pt x="3540" y="962"/>
                </a:lnTo>
                <a:lnTo>
                  <a:pt x="3532" y="960"/>
                </a:lnTo>
                <a:lnTo>
                  <a:pt x="3532" y="960"/>
                </a:lnTo>
                <a:lnTo>
                  <a:pt x="3530" y="960"/>
                </a:lnTo>
                <a:lnTo>
                  <a:pt x="3530" y="960"/>
                </a:lnTo>
                <a:lnTo>
                  <a:pt x="3532" y="960"/>
                </a:lnTo>
                <a:lnTo>
                  <a:pt x="3532" y="960"/>
                </a:lnTo>
                <a:lnTo>
                  <a:pt x="3540" y="962"/>
                </a:lnTo>
                <a:lnTo>
                  <a:pt x="3540" y="962"/>
                </a:lnTo>
                <a:close/>
                <a:moveTo>
                  <a:pt x="3534" y="894"/>
                </a:moveTo>
                <a:lnTo>
                  <a:pt x="3534" y="894"/>
                </a:lnTo>
                <a:lnTo>
                  <a:pt x="3534" y="896"/>
                </a:lnTo>
                <a:lnTo>
                  <a:pt x="3534" y="896"/>
                </a:lnTo>
                <a:lnTo>
                  <a:pt x="3526" y="900"/>
                </a:lnTo>
                <a:lnTo>
                  <a:pt x="3526" y="900"/>
                </a:lnTo>
                <a:lnTo>
                  <a:pt x="3526" y="900"/>
                </a:lnTo>
                <a:lnTo>
                  <a:pt x="3526" y="900"/>
                </a:lnTo>
                <a:lnTo>
                  <a:pt x="3534" y="896"/>
                </a:lnTo>
                <a:lnTo>
                  <a:pt x="3534" y="896"/>
                </a:lnTo>
                <a:lnTo>
                  <a:pt x="3534" y="894"/>
                </a:lnTo>
                <a:lnTo>
                  <a:pt x="3534" y="894"/>
                </a:lnTo>
                <a:lnTo>
                  <a:pt x="3532" y="894"/>
                </a:lnTo>
                <a:lnTo>
                  <a:pt x="3532" y="894"/>
                </a:lnTo>
                <a:lnTo>
                  <a:pt x="3534" y="894"/>
                </a:lnTo>
                <a:lnTo>
                  <a:pt x="3534" y="894"/>
                </a:lnTo>
                <a:close/>
                <a:moveTo>
                  <a:pt x="3514" y="870"/>
                </a:moveTo>
                <a:lnTo>
                  <a:pt x="3514" y="870"/>
                </a:lnTo>
                <a:lnTo>
                  <a:pt x="3520" y="876"/>
                </a:lnTo>
                <a:lnTo>
                  <a:pt x="3520" y="876"/>
                </a:lnTo>
                <a:lnTo>
                  <a:pt x="3530" y="878"/>
                </a:lnTo>
                <a:lnTo>
                  <a:pt x="3530" y="878"/>
                </a:lnTo>
                <a:lnTo>
                  <a:pt x="3530" y="878"/>
                </a:lnTo>
                <a:lnTo>
                  <a:pt x="3530" y="878"/>
                </a:lnTo>
                <a:lnTo>
                  <a:pt x="3520" y="876"/>
                </a:lnTo>
                <a:lnTo>
                  <a:pt x="3520" y="876"/>
                </a:lnTo>
                <a:lnTo>
                  <a:pt x="3514" y="870"/>
                </a:lnTo>
                <a:lnTo>
                  <a:pt x="3514" y="870"/>
                </a:lnTo>
                <a:lnTo>
                  <a:pt x="3514" y="870"/>
                </a:lnTo>
                <a:lnTo>
                  <a:pt x="3514" y="870"/>
                </a:lnTo>
                <a:close/>
                <a:moveTo>
                  <a:pt x="3502" y="966"/>
                </a:moveTo>
                <a:lnTo>
                  <a:pt x="3502" y="966"/>
                </a:lnTo>
                <a:lnTo>
                  <a:pt x="3514" y="968"/>
                </a:lnTo>
                <a:lnTo>
                  <a:pt x="3514" y="968"/>
                </a:lnTo>
                <a:lnTo>
                  <a:pt x="3514" y="968"/>
                </a:lnTo>
                <a:lnTo>
                  <a:pt x="3514" y="968"/>
                </a:lnTo>
                <a:lnTo>
                  <a:pt x="3502" y="966"/>
                </a:lnTo>
                <a:lnTo>
                  <a:pt x="3502" y="966"/>
                </a:lnTo>
                <a:lnTo>
                  <a:pt x="3502" y="966"/>
                </a:lnTo>
                <a:lnTo>
                  <a:pt x="3502" y="966"/>
                </a:lnTo>
                <a:close/>
                <a:moveTo>
                  <a:pt x="3450" y="864"/>
                </a:moveTo>
                <a:lnTo>
                  <a:pt x="3450" y="864"/>
                </a:lnTo>
                <a:lnTo>
                  <a:pt x="3454" y="860"/>
                </a:lnTo>
                <a:lnTo>
                  <a:pt x="3454" y="860"/>
                </a:lnTo>
                <a:lnTo>
                  <a:pt x="3460" y="860"/>
                </a:lnTo>
                <a:lnTo>
                  <a:pt x="3466" y="860"/>
                </a:lnTo>
                <a:lnTo>
                  <a:pt x="3474" y="858"/>
                </a:lnTo>
                <a:lnTo>
                  <a:pt x="3480" y="854"/>
                </a:lnTo>
                <a:lnTo>
                  <a:pt x="3480" y="854"/>
                </a:lnTo>
                <a:lnTo>
                  <a:pt x="3496" y="872"/>
                </a:lnTo>
                <a:lnTo>
                  <a:pt x="3496" y="872"/>
                </a:lnTo>
                <a:lnTo>
                  <a:pt x="3486" y="874"/>
                </a:lnTo>
                <a:lnTo>
                  <a:pt x="3484" y="876"/>
                </a:lnTo>
                <a:lnTo>
                  <a:pt x="3480" y="878"/>
                </a:lnTo>
                <a:lnTo>
                  <a:pt x="3480" y="878"/>
                </a:lnTo>
                <a:lnTo>
                  <a:pt x="3472" y="880"/>
                </a:lnTo>
                <a:lnTo>
                  <a:pt x="3472" y="880"/>
                </a:lnTo>
                <a:lnTo>
                  <a:pt x="3466" y="878"/>
                </a:lnTo>
                <a:lnTo>
                  <a:pt x="3460" y="880"/>
                </a:lnTo>
                <a:lnTo>
                  <a:pt x="3460" y="880"/>
                </a:lnTo>
                <a:lnTo>
                  <a:pt x="3452" y="882"/>
                </a:lnTo>
                <a:lnTo>
                  <a:pt x="3442" y="880"/>
                </a:lnTo>
                <a:lnTo>
                  <a:pt x="3442" y="880"/>
                </a:lnTo>
                <a:lnTo>
                  <a:pt x="3430" y="876"/>
                </a:lnTo>
                <a:lnTo>
                  <a:pt x="3430" y="876"/>
                </a:lnTo>
                <a:lnTo>
                  <a:pt x="3432" y="872"/>
                </a:lnTo>
                <a:lnTo>
                  <a:pt x="3434" y="870"/>
                </a:lnTo>
                <a:lnTo>
                  <a:pt x="3444" y="870"/>
                </a:lnTo>
                <a:lnTo>
                  <a:pt x="3444" y="870"/>
                </a:lnTo>
                <a:lnTo>
                  <a:pt x="3448" y="868"/>
                </a:lnTo>
                <a:lnTo>
                  <a:pt x="3452" y="870"/>
                </a:lnTo>
                <a:lnTo>
                  <a:pt x="3456" y="876"/>
                </a:lnTo>
                <a:lnTo>
                  <a:pt x="3456" y="876"/>
                </a:lnTo>
                <a:lnTo>
                  <a:pt x="3470" y="872"/>
                </a:lnTo>
                <a:lnTo>
                  <a:pt x="3470" y="872"/>
                </a:lnTo>
                <a:lnTo>
                  <a:pt x="3466" y="868"/>
                </a:lnTo>
                <a:lnTo>
                  <a:pt x="3460" y="866"/>
                </a:lnTo>
                <a:lnTo>
                  <a:pt x="3454" y="866"/>
                </a:lnTo>
                <a:lnTo>
                  <a:pt x="3450" y="864"/>
                </a:lnTo>
                <a:lnTo>
                  <a:pt x="3450" y="864"/>
                </a:lnTo>
                <a:close/>
                <a:moveTo>
                  <a:pt x="3446" y="852"/>
                </a:moveTo>
                <a:lnTo>
                  <a:pt x="3446" y="852"/>
                </a:lnTo>
                <a:lnTo>
                  <a:pt x="3442" y="854"/>
                </a:lnTo>
                <a:lnTo>
                  <a:pt x="3436" y="854"/>
                </a:lnTo>
                <a:lnTo>
                  <a:pt x="3436" y="854"/>
                </a:lnTo>
                <a:lnTo>
                  <a:pt x="3442" y="854"/>
                </a:lnTo>
                <a:lnTo>
                  <a:pt x="3446" y="852"/>
                </a:lnTo>
                <a:lnTo>
                  <a:pt x="3446" y="852"/>
                </a:lnTo>
                <a:lnTo>
                  <a:pt x="3446" y="852"/>
                </a:lnTo>
                <a:lnTo>
                  <a:pt x="3446" y="852"/>
                </a:lnTo>
                <a:close/>
                <a:moveTo>
                  <a:pt x="3426" y="842"/>
                </a:moveTo>
                <a:lnTo>
                  <a:pt x="3426" y="842"/>
                </a:lnTo>
                <a:lnTo>
                  <a:pt x="3432" y="844"/>
                </a:lnTo>
                <a:lnTo>
                  <a:pt x="3436" y="842"/>
                </a:lnTo>
                <a:lnTo>
                  <a:pt x="3438" y="842"/>
                </a:lnTo>
                <a:lnTo>
                  <a:pt x="3438" y="838"/>
                </a:lnTo>
                <a:lnTo>
                  <a:pt x="3438" y="838"/>
                </a:lnTo>
                <a:lnTo>
                  <a:pt x="3438" y="838"/>
                </a:lnTo>
                <a:lnTo>
                  <a:pt x="3438" y="838"/>
                </a:lnTo>
                <a:lnTo>
                  <a:pt x="3438" y="842"/>
                </a:lnTo>
                <a:lnTo>
                  <a:pt x="3436" y="844"/>
                </a:lnTo>
                <a:lnTo>
                  <a:pt x="3432" y="844"/>
                </a:lnTo>
                <a:lnTo>
                  <a:pt x="3426" y="842"/>
                </a:lnTo>
                <a:lnTo>
                  <a:pt x="3426" y="842"/>
                </a:lnTo>
                <a:lnTo>
                  <a:pt x="3426" y="842"/>
                </a:lnTo>
                <a:lnTo>
                  <a:pt x="3426" y="842"/>
                </a:lnTo>
                <a:close/>
                <a:moveTo>
                  <a:pt x="3422" y="846"/>
                </a:moveTo>
                <a:lnTo>
                  <a:pt x="3422" y="846"/>
                </a:lnTo>
                <a:lnTo>
                  <a:pt x="3428" y="850"/>
                </a:lnTo>
                <a:lnTo>
                  <a:pt x="3428" y="850"/>
                </a:lnTo>
                <a:lnTo>
                  <a:pt x="3428" y="850"/>
                </a:lnTo>
                <a:lnTo>
                  <a:pt x="3428" y="850"/>
                </a:lnTo>
                <a:lnTo>
                  <a:pt x="3422" y="846"/>
                </a:lnTo>
                <a:lnTo>
                  <a:pt x="3422" y="846"/>
                </a:lnTo>
                <a:lnTo>
                  <a:pt x="3406" y="850"/>
                </a:lnTo>
                <a:lnTo>
                  <a:pt x="3406" y="850"/>
                </a:lnTo>
                <a:lnTo>
                  <a:pt x="3406" y="850"/>
                </a:lnTo>
                <a:lnTo>
                  <a:pt x="3406" y="850"/>
                </a:lnTo>
                <a:lnTo>
                  <a:pt x="3422" y="846"/>
                </a:lnTo>
                <a:lnTo>
                  <a:pt x="3422" y="846"/>
                </a:lnTo>
                <a:close/>
                <a:moveTo>
                  <a:pt x="3422" y="870"/>
                </a:moveTo>
                <a:lnTo>
                  <a:pt x="3422" y="870"/>
                </a:lnTo>
                <a:lnTo>
                  <a:pt x="3424" y="872"/>
                </a:lnTo>
                <a:lnTo>
                  <a:pt x="3424" y="872"/>
                </a:lnTo>
                <a:lnTo>
                  <a:pt x="3422" y="874"/>
                </a:lnTo>
                <a:lnTo>
                  <a:pt x="3422" y="874"/>
                </a:lnTo>
                <a:lnTo>
                  <a:pt x="3422" y="874"/>
                </a:lnTo>
                <a:lnTo>
                  <a:pt x="3422" y="874"/>
                </a:lnTo>
                <a:lnTo>
                  <a:pt x="3424" y="872"/>
                </a:lnTo>
                <a:lnTo>
                  <a:pt x="3424" y="872"/>
                </a:lnTo>
                <a:lnTo>
                  <a:pt x="3422" y="870"/>
                </a:lnTo>
                <a:lnTo>
                  <a:pt x="3422" y="870"/>
                </a:lnTo>
                <a:close/>
                <a:moveTo>
                  <a:pt x="3406" y="938"/>
                </a:moveTo>
                <a:lnTo>
                  <a:pt x="3406" y="938"/>
                </a:lnTo>
                <a:lnTo>
                  <a:pt x="3414" y="938"/>
                </a:lnTo>
                <a:lnTo>
                  <a:pt x="3420" y="940"/>
                </a:lnTo>
                <a:lnTo>
                  <a:pt x="3434" y="944"/>
                </a:lnTo>
                <a:lnTo>
                  <a:pt x="3434" y="944"/>
                </a:lnTo>
                <a:lnTo>
                  <a:pt x="3436" y="946"/>
                </a:lnTo>
                <a:lnTo>
                  <a:pt x="3434" y="948"/>
                </a:lnTo>
                <a:lnTo>
                  <a:pt x="3434" y="948"/>
                </a:lnTo>
                <a:lnTo>
                  <a:pt x="3432" y="950"/>
                </a:lnTo>
                <a:lnTo>
                  <a:pt x="3428" y="950"/>
                </a:lnTo>
                <a:lnTo>
                  <a:pt x="3428" y="950"/>
                </a:lnTo>
                <a:lnTo>
                  <a:pt x="3424" y="948"/>
                </a:lnTo>
                <a:lnTo>
                  <a:pt x="3422" y="944"/>
                </a:lnTo>
                <a:lnTo>
                  <a:pt x="3422" y="944"/>
                </a:lnTo>
                <a:lnTo>
                  <a:pt x="3412" y="948"/>
                </a:lnTo>
                <a:lnTo>
                  <a:pt x="3408" y="950"/>
                </a:lnTo>
                <a:lnTo>
                  <a:pt x="3404" y="948"/>
                </a:lnTo>
                <a:lnTo>
                  <a:pt x="3404" y="948"/>
                </a:lnTo>
                <a:lnTo>
                  <a:pt x="3402" y="946"/>
                </a:lnTo>
                <a:lnTo>
                  <a:pt x="3400" y="942"/>
                </a:lnTo>
                <a:lnTo>
                  <a:pt x="3400" y="942"/>
                </a:lnTo>
                <a:lnTo>
                  <a:pt x="3414" y="944"/>
                </a:lnTo>
                <a:lnTo>
                  <a:pt x="3414" y="944"/>
                </a:lnTo>
                <a:lnTo>
                  <a:pt x="3406" y="938"/>
                </a:lnTo>
                <a:lnTo>
                  <a:pt x="3406" y="938"/>
                </a:lnTo>
                <a:close/>
                <a:moveTo>
                  <a:pt x="3430" y="960"/>
                </a:moveTo>
                <a:lnTo>
                  <a:pt x="3430" y="960"/>
                </a:lnTo>
                <a:lnTo>
                  <a:pt x="3428" y="958"/>
                </a:lnTo>
                <a:lnTo>
                  <a:pt x="3428" y="958"/>
                </a:lnTo>
                <a:lnTo>
                  <a:pt x="3430" y="960"/>
                </a:lnTo>
                <a:lnTo>
                  <a:pt x="3430" y="960"/>
                </a:lnTo>
                <a:lnTo>
                  <a:pt x="3430" y="962"/>
                </a:lnTo>
                <a:lnTo>
                  <a:pt x="3430" y="962"/>
                </a:lnTo>
                <a:lnTo>
                  <a:pt x="3422" y="962"/>
                </a:lnTo>
                <a:lnTo>
                  <a:pt x="3422" y="962"/>
                </a:lnTo>
                <a:lnTo>
                  <a:pt x="3422" y="962"/>
                </a:lnTo>
                <a:lnTo>
                  <a:pt x="3422" y="962"/>
                </a:lnTo>
                <a:lnTo>
                  <a:pt x="3430" y="962"/>
                </a:lnTo>
                <a:lnTo>
                  <a:pt x="3430" y="962"/>
                </a:lnTo>
                <a:lnTo>
                  <a:pt x="3430" y="960"/>
                </a:lnTo>
                <a:lnTo>
                  <a:pt x="3430" y="960"/>
                </a:lnTo>
                <a:close/>
                <a:moveTo>
                  <a:pt x="3356" y="316"/>
                </a:moveTo>
                <a:lnTo>
                  <a:pt x="3356" y="316"/>
                </a:lnTo>
                <a:lnTo>
                  <a:pt x="3362" y="318"/>
                </a:lnTo>
                <a:lnTo>
                  <a:pt x="3362" y="318"/>
                </a:lnTo>
                <a:lnTo>
                  <a:pt x="3360" y="318"/>
                </a:lnTo>
                <a:lnTo>
                  <a:pt x="3360" y="318"/>
                </a:lnTo>
                <a:lnTo>
                  <a:pt x="3360" y="318"/>
                </a:lnTo>
                <a:lnTo>
                  <a:pt x="3360" y="318"/>
                </a:lnTo>
                <a:lnTo>
                  <a:pt x="3362" y="318"/>
                </a:lnTo>
                <a:lnTo>
                  <a:pt x="3362" y="318"/>
                </a:lnTo>
                <a:lnTo>
                  <a:pt x="3356" y="316"/>
                </a:lnTo>
                <a:lnTo>
                  <a:pt x="3356" y="316"/>
                </a:lnTo>
                <a:lnTo>
                  <a:pt x="3356" y="316"/>
                </a:lnTo>
                <a:lnTo>
                  <a:pt x="3356" y="316"/>
                </a:lnTo>
                <a:close/>
                <a:moveTo>
                  <a:pt x="3336" y="974"/>
                </a:moveTo>
                <a:lnTo>
                  <a:pt x="3336" y="974"/>
                </a:lnTo>
                <a:lnTo>
                  <a:pt x="3342" y="968"/>
                </a:lnTo>
                <a:lnTo>
                  <a:pt x="3342" y="968"/>
                </a:lnTo>
                <a:lnTo>
                  <a:pt x="3340" y="974"/>
                </a:lnTo>
                <a:lnTo>
                  <a:pt x="3340" y="974"/>
                </a:lnTo>
                <a:lnTo>
                  <a:pt x="3336" y="974"/>
                </a:lnTo>
                <a:lnTo>
                  <a:pt x="3336" y="974"/>
                </a:lnTo>
                <a:close/>
                <a:moveTo>
                  <a:pt x="3370" y="998"/>
                </a:moveTo>
                <a:lnTo>
                  <a:pt x="3370" y="998"/>
                </a:lnTo>
                <a:lnTo>
                  <a:pt x="3364" y="1000"/>
                </a:lnTo>
                <a:lnTo>
                  <a:pt x="3364" y="1000"/>
                </a:lnTo>
                <a:lnTo>
                  <a:pt x="3364" y="1000"/>
                </a:lnTo>
                <a:lnTo>
                  <a:pt x="3364" y="1000"/>
                </a:lnTo>
                <a:lnTo>
                  <a:pt x="3370" y="998"/>
                </a:lnTo>
                <a:lnTo>
                  <a:pt x="3370" y="998"/>
                </a:lnTo>
                <a:lnTo>
                  <a:pt x="3370" y="998"/>
                </a:lnTo>
                <a:lnTo>
                  <a:pt x="3370" y="998"/>
                </a:lnTo>
                <a:lnTo>
                  <a:pt x="3370" y="998"/>
                </a:lnTo>
                <a:lnTo>
                  <a:pt x="3370" y="998"/>
                </a:lnTo>
                <a:lnTo>
                  <a:pt x="3370" y="998"/>
                </a:lnTo>
                <a:lnTo>
                  <a:pt x="3370" y="998"/>
                </a:lnTo>
                <a:close/>
                <a:moveTo>
                  <a:pt x="3390" y="942"/>
                </a:moveTo>
                <a:lnTo>
                  <a:pt x="3390" y="942"/>
                </a:lnTo>
                <a:lnTo>
                  <a:pt x="3390" y="940"/>
                </a:lnTo>
                <a:lnTo>
                  <a:pt x="3390" y="940"/>
                </a:lnTo>
                <a:lnTo>
                  <a:pt x="3398" y="940"/>
                </a:lnTo>
                <a:lnTo>
                  <a:pt x="3398" y="940"/>
                </a:lnTo>
                <a:lnTo>
                  <a:pt x="3398" y="938"/>
                </a:lnTo>
                <a:lnTo>
                  <a:pt x="3398" y="938"/>
                </a:lnTo>
                <a:lnTo>
                  <a:pt x="3398" y="938"/>
                </a:lnTo>
                <a:lnTo>
                  <a:pt x="3398" y="938"/>
                </a:lnTo>
                <a:lnTo>
                  <a:pt x="3398" y="940"/>
                </a:lnTo>
                <a:lnTo>
                  <a:pt x="3398" y="940"/>
                </a:lnTo>
                <a:lnTo>
                  <a:pt x="3398" y="940"/>
                </a:lnTo>
                <a:lnTo>
                  <a:pt x="3390" y="942"/>
                </a:lnTo>
                <a:lnTo>
                  <a:pt x="3390" y="942"/>
                </a:lnTo>
                <a:close/>
                <a:moveTo>
                  <a:pt x="3406" y="974"/>
                </a:moveTo>
                <a:lnTo>
                  <a:pt x="3406" y="974"/>
                </a:lnTo>
                <a:lnTo>
                  <a:pt x="3414" y="976"/>
                </a:lnTo>
                <a:lnTo>
                  <a:pt x="3414" y="976"/>
                </a:lnTo>
                <a:lnTo>
                  <a:pt x="3422" y="978"/>
                </a:lnTo>
                <a:lnTo>
                  <a:pt x="3432" y="978"/>
                </a:lnTo>
                <a:lnTo>
                  <a:pt x="3432" y="978"/>
                </a:lnTo>
                <a:lnTo>
                  <a:pt x="3442" y="978"/>
                </a:lnTo>
                <a:lnTo>
                  <a:pt x="3442" y="978"/>
                </a:lnTo>
                <a:lnTo>
                  <a:pt x="3442" y="982"/>
                </a:lnTo>
                <a:lnTo>
                  <a:pt x="3442" y="986"/>
                </a:lnTo>
                <a:lnTo>
                  <a:pt x="3446" y="988"/>
                </a:lnTo>
                <a:lnTo>
                  <a:pt x="3452" y="990"/>
                </a:lnTo>
                <a:lnTo>
                  <a:pt x="3452" y="990"/>
                </a:lnTo>
                <a:lnTo>
                  <a:pt x="3450" y="994"/>
                </a:lnTo>
                <a:lnTo>
                  <a:pt x="3450" y="998"/>
                </a:lnTo>
                <a:lnTo>
                  <a:pt x="3450" y="998"/>
                </a:lnTo>
                <a:lnTo>
                  <a:pt x="3406" y="974"/>
                </a:lnTo>
                <a:lnTo>
                  <a:pt x="3406" y="974"/>
                </a:lnTo>
                <a:close/>
                <a:moveTo>
                  <a:pt x="3432" y="996"/>
                </a:moveTo>
                <a:lnTo>
                  <a:pt x="3432" y="996"/>
                </a:lnTo>
                <a:lnTo>
                  <a:pt x="3432" y="996"/>
                </a:lnTo>
                <a:lnTo>
                  <a:pt x="3432" y="996"/>
                </a:lnTo>
                <a:lnTo>
                  <a:pt x="3436" y="1000"/>
                </a:lnTo>
                <a:lnTo>
                  <a:pt x="3436" y="1000"/>
                </a:lnTo>
                <a:lnTo>
                  <a:pt x="3434" y="1002"/>
                </a:lnTo>
                <a:lnTo>
                  <a:pt x="3434" y="1002"/>
                </a:lnTo>
                <a:lnTo>
                  <a:pt x="3434" y="1002"/>
                </a:lnTo>
                <a:lnTo>
                  <a:pt x="3434" y="1002"/>
                </a:lnTo>
                <a:lnTo>
                  <a:pt x="3436" y="1000"/>
                </a:lnTo>
                <a:lnTo>
                  <a:pt x="3436" y="1000"/>
                </a:lnTo>
                <a:lnTo>
                  <a:pt x="3432" y="996"/>
                </a:lnTo>
                <a:lnTo>
                  <a:pt x="3432" y="996"/>
                </a:lnTo>
                <a:close/>
                <a:moveTo>
                  <a:pt x="3442" y="1002"/>
                </a:moveTo>
                <a:lnTo>
                  <a:pt x="3442" y="1002"/>
                </a:lnTo>
                <a:lnTo>
                  <a:pt x="3442" y="1002"/>
                </a:lnTo>
                <a:lnTo>
                  <a:pt x="3442" y="1002"/>
                </a:lnTo>
                <a:lnTo>
                  <a:pt x="3446" y="1004"/>
                </a:lnTo>
                <a:lnTo>
                  <a:pt x="3446" y="1004"/>
                </a:lnTo>
                <a:lnTo>
                  <a:pt x="3444" y="1004"/>
                </a:lnTo>
                <a:lnTo>
                  <a:pt x="3444" y="1004"/>
                </a:lnTo>
                <a:lnTo>
                  <a:pt x="3444" y="1004"/>
                </a:lnTo>
                <a:lnTo>
                  <a:pt x="3444" y="1004"/>
                </a:lnTo>
                <a:lnTo>
                  <a:pt x="3444" y="1004"/>
                </a:lnTo>
                <a:lnTo>
                  <a:pt x="3444" y="1004"/>
                </a:lnTo>
                <a:lnTo>
                  <a:pt x="3442" y="1002"/>
                </a:lnTo>
                <a:lnTo>
                  <a:pt x="3442" y="1002"/>
                </a:lnTo>
                <a:close/>
                <a:moveTo>
                  <a:pt x="3434" y="1018"/>
                </a:moveTo>
                <a:lnTo>
                  <a:pt x="3434" y="1018"/>
                </a:lnTo>
                <a:lnTo>
                  <a:pt x="3450" y="1014"/>
                </a:lnTo>
                <a:lnTo>
                  <a:pt x="3450" y="1014"/>
                </a:lnTo>
                <a:lnTo>
                  <a:pt x="3450" y="1018"/>
                </a:lnTo>
                <a:lnTo>
                  <a:pt x="3450" y="1018"/>
                </a:lnTo>
                <a:lnTo>
                  <a:pt x="3452" y="1026"/>
                </a:lnTo>
                <a:lnTo>
                  <a:pt x="3444" y="1026"/>
                </a:lnTo>
                <a:lnTo>
                  <a:pt x="3444" y="1026"/>
                </a:lnTo>
                <a:lnTo>
                  <a:pt x="3442" y="1030"/>
                </a:lnTo>
                <a:lnTo>
                  <a:pt x="3442" y="1030"/>
                </a:lnTo>
                <a:lnTo>
                  <a:pt x="3440" y="1028"/>
                </a:lnTo>
                <a:lnTo>
                  <a:pt x="3440" y="1028"/>
                </a:lnTo>
                <a:lnTo>
                  <a:pt x="3440" y="1028"/>
                </a:lnTo>
                <a:lnTo>
                  <a:pt x="3440" y="1024"/>
                </a:lnTo>
                <a:lnTo>
                  <a:pt x="3438" y="1022"/>
                </a:lnTo>
                <a:lnTo>
                  <a:pt x="3434" y="1018"/>
                </a:lnTo>
                <a:lnTo>
                  <a:pt x="3434" y="1018"/>
                </a:lnTo>
                <a:close/>
                <a:moveTo>
                  <a:pt x="3486" y="1020"/>
                </a:moveTo>
                <a:lnTo>
                  <a:pt x="3486" y="1020"/>
                </a:lnTo>
                <a:lnTo>
                  <a:pt x="3486" y="1018"/>
                </a:lnTo>
                <a:lnTo>
                  <a:pt x="3486" y="1018"/>
                </a:lnTo>
                <a:lnTo>
                  <a:pt x="3486" y="1020"/>
                </a:lnTo>
                <a:lnTo>
                  <a:pt x="3486" y="1020"/>
                </a:lnTo>
                <a:lnTo>
                  <a:pt x="3486" y="1020"/>
                </a:lnTo>
                <a:lnTo>
                  <a:pt x="3486" y="1020"/>
                </a:lnTo>
                <a:close/>
                <a:moveTo>
                  <a:pt x="3550" y="1038"/>
                </a:moveTo>
                <a:lnTo>
                  <a:pt x="3550" y="1038"/>
                </a:lnTo>
                <a:lnTo>
                  <a:pt x="3554" y="1040"/>
                </a:lnTo>
                <a:lnTo>
                  <a:pt x="3558" y="1040"/>
                </a:lnTo>
                <a:lnTo>
                  <a:pt x="3558" y="1040"/>
                </a:lnTo>
                <a:lnTo>
                  <a:pt x="3558" y="1040"/>
                </a:lnTo>
                <a:lnTo>
                  <a:pt x="3558" y="1040"/>
                </a:lnTo>
                <a:lnTo>
                  <a:pt x="3554" y="1040"/>
                </a:lnTo>
                <a:lnTo>
                  <a:pt x="3550" y="1038"/>
                </a:lnTo>
                <a:lnTo>
                  <a:pt x="3550" y="1038"/>
                </a:lnTo>
                <a:close/>
                <a:moveTo>
                  <a:pt x="3584" y="1032"/>
                </a:moveTo>
                <a:lnTo>
                  <a:pt x="3584" y="1032"/>
                </a:lnTo>
                <a:lnTo>
                  <a:pt x="3576" y="1034"/>
                </a:lnTo>
                <a:lnTo>
                  <a:pt x="3576" y="1034"/>
                </a:lnTo>
                <a:lnTo>
                  <a:pt x="3548" y="1038"/>
                </a:lnTo>
                <a:lnTo>
                  <a:pt x="3548" y="1038"/>
                </a:lnTo>
                <a:lnTo>
                  <a:pt x="3548" y="1010"/>
                </a:lnTo>
                <a:lnTo>
                  <a:pt x="3548" y="1010"/>
                </a:lnTo>
                <a:lnTo>
                  <a:pt x="3530" y="1008"/>
                </a:lnTo>
                <a:lnTo>
                  <a:pt x="3530" y="1008"/>
                </a:lnTo>
                <a:lnTo>
                  <a:pt x="3530" y="1008"/>
                </a:lnTo>
                <a:lnTo>
                  <a:pt x="3530" y="1008"/>
                </a:lnTo>
                <a:lnTo>
                  <a:pt x="3540" y="1008"/>
                </a:lnTo>
                <a:lnTo>
                  <a:pt x="3548" y="1008"/>
                </a:lnTo>
                <a:lnTo>
                  <a:pt x="3548" y="1008"/>
                </a:lnTo>
                <a:lnTo>
                  <a:pt x="3548" y="1000"/>
                </a:lnTo>
                <a:lnTo>
                  <a:pt x="3548" y="1000"/>
                </a:lnTo>
                <a:lnTo>
                  <a:pt x="3554" y="1000"/>
                </a:lnTo>
                <a:lnTo>
                  <a:pt x="3554" y="1000"/>
                </a:lnTo>
                <a:lnTo>
                  <a:pt x="3556" y="1010"/>
                </a:lnTo>
                <a:lnTo>
                  <a:pt x="3556" y="1010"/>
                </a:lnTo>
                <a:lnTo>
                  <a:pt x="3552" y="1010"/>
                </a:lnTo>
                <a:lnTo>
                  <a:pt x="3552" y="1010"/>
                </a:lnTo>
                <a:lnTo>
                  <a:pt x="3558" y="1014"/>
                </a:lnTo>
                <a:lnTo>
                  <a:pt x="3558" y="1014"/>
                </a:lnTo>
                <a:lnTo>
                  <a:pt x="3560" y="1014"/>
                </a:lnTo>
                <a:lnTo>
                  <a:pt x="3560" y="1014"/>
                </a:lnTo>
                <a:lnTo>
                  <a:pt x="3560" y="1016"/>
                </a:lnTo>
                <a:lnTo>
                  <a:pt x="3560" y="1016"/>
                </a:lnTo>
                <a:lnTo>
                  <a:pt x="3552" y="1018"/>
                </a:lnTo>
                <a:lnTo>
                  <a:pt x="3552" y="1018"/>
                </a:lnTo>
                <a:lnTo>
                  <a:pt x="3548" y="1020"/>
                </a:lnTo>
                <a:lnTo>
                  <a:pt x="3548" y="1020"/>
                </a:lnTo>
                <a:lnTo>
                  <a:pt x="3556" y="1022"/>
                </a:lnTo>
                <a:lnTo>
                  <a:pt x="3562" y="1024"/>
                </a:lnTo>
                <a:lnTo>
                  <a:pt x="3562" y="1024"/>
                </a:lnTo>
                <a:lnTo>
                  <a:pt x="3568" y="1026"/>
                </a:lnTo>
                <a:lnTo>
                  <a:pt x="3574" y="1026"/>
                </a:lnTo>
                <a:lnTo>
                  <a:pt x="3574" y="1026"/>
                </a:lnTo>
                <a:lnTo>
                  <a:pt x="3576" y="1022"/>
                </a:lnTo>
                <a:lnTo>
                  <a:pt x="3580" y="1022"/>
                </a:lnTo>
                <a:lnTo>
                  <a:pt x="3580" y="1022"/>
                </a:lnTo>
                <a:lnTo>
                  <a:pt x="3586" y="1024"/>
                </a:lnTo>
                <a:lnTo>
                  <a:pt x="3586" y="1024"/>
                </a:lnTo>
                <a:lnTo>
                  <a:pt x="3588" y="1028"/>
                </a:lnTo>
                <a:lnTo>
                  <a:pt x="3590" y="1030"/>
                </a:lnTo>
                <a:lnTo>
                  <a:pt x="3588" y="1032"/>
                </a:lnTo>
                <a:lnTo>
                  <a:pt x="3584" y="1032"/>
                </a:lnTo>
                <a:lnTo>
                  <a:pt x="3584" y="1032"/>
                </a:lnTo>
                <a:close/>
                <a:moveTo>
                  <a:pt x="3564" y="1002"/>
                </a:moveTo>
                <a:lnTo>
                  <a:pt x="3564" y="1002"/>
                </a:lnTo>
                <a:lnTo>
                  <a:pt x="3564" y="1002"/>
                </a:lnTo>
                <a:lnTo>
                  <a:pt x="3564" y="1002"/>
                </a:lnTo>
                <a:lnTo>
                  <a:pt x="3566" y="1004"/>
                </a:lnTo>
                <a:lnTo>
                  <a:pt x="3566" y="1004"/>
                </a:lnTo>
                <a:lnTo>
                  <a:pt x="3564" y="1006"/>
                </a:lnTo>
                <a:lnTo>
                  <a:pt x="3564" y="1006"/>
                </a:lnTo>
                <a:lnTo>
                  <a:pt x="3564" y="1006"/>
                </a:lnTo>
                <a:lnTo>
                  <a:pt x="3564" y="1006"/>
                </a:lnTo>
                <a:lnTo>
                  <a:pt x="3566" y="1004"/>
                </a:lnTo>
                <a:lnTo>
                  <a:pt x="3566" y="1004"/>
                </a:lnTo>
                <a:lnTo>
                  <a:pt x="3564" y="1002"/>
                </a:lnTo>
                <a:lnTo>
                  <a:pt x="3564" y="1002"/>
                </a:lnTo>
                <a:close/>
                <a:moveTo>
                  <a:pt x="3590" y="1016"/>
                </a:moveTo>
                <a:lnTo>
                  <a:pt x="3590" y="1016"/>
                </a:lnTo>
                <a:lnTo>
                  <a:pt x="3582" y="1018"/>
                </a:lnTo>
                <a:lnTo>
                  <a:pt x="3582" y="1012"/>
                </a:lnTo>
                <a:lnTo>
                  <a:pt x="3582" y="1012"/>
                </a:lnTo>
                <a:lnTo>
                  <a:pt x="3568" y="1010"/>
                </a:lnTo>
                <a:lnTo>
                  <a:pt x="3568" y="1010"/>
                </a:lnTo>
                <a:lnTo>
                  <a:pt x="3568" y="1008"/>
                </a:lnTo>
                <a:lnTo>
                  <a:pt x="3568" y="1008"/>
                </a:lnTo>
                <a:lnTo>
                  <a:pt x="3584" y="1004"/>
                </a:lnTo>
                <a:lnTo>
                  <a:pt x="3584" y="1004"/>
                </a:lnTo>
                <a:lnTo>
                  <a:pt x="3580" y="1000"/>
                </a:lnTo>
                <a:lnTo>
                  <a:pt x="3580" y="1000"/>
                </a:lnTo>
                <a:lnTo>
                  <a:pt x="3590" y="996"/>
                </a:lnTo>
                <a:lnTo>
                  <a:pt x="3590" y="996"/>
                </a:lnTo>
                <a:lnTo>
                  <a:pt x="3598" y="1000"/>
                </a:lnTo>
                <a:lnTo>
                  <a:pt x="3598" y="1000"/>
                </a:lnTo>
                <a:lnTo>
                  <a:pt x="3606" y="1002"/>
                </a:lnTo>
                <a:lnTo>
                  <a:pt x="3606" y="1002"/>
                </a:lnTo>
                <a:lnTo>
                  <a:pt x="3602" y="1006"/>
                </a:lnTo>
                <a:lnTo>
                  <a:pt x="3602" y="1006"/>
                </a:lnTo>
                <a:lnTo>
                  <a:pt x="3602" y="1008"/>
                </a:lnTo>
                <a:lnTo>
                  <a:pt x="3602" y="1008"/>
                </a:lnTo>
                <a:lnTo>
                  <a:pt x="3604" y="1010"/>
                </a:lnTo>
                <a:lnTo>
                  <a:pt x="3604" y="1010"/>
                </a:lnTo>
                <a:lnTo>
                  <a:pt x="3608" y="1010"/>
                </a:lnTo>
                <a:lnTo>
                  <a:pt x="3612" y="1012"/>
                </a:lnTo>
                <a:lnTo>
                  <a:pt x="3612" y="1012"/>
                </a:lnTo>
                <a:lnTo>
                  <a:pt x="3612" y="1012"/>
                </a:lnTo>
                <a:lnTo>
                  <a:pt x="3612" y="1012"/>
                </a:lnTo>
                <a:lnTo>
                  <a:pt x="3608" y="1010"/>
                </a:lnTo>
                <a:lnTo>
                  <a:pt x="3604" y="1010"/>
                </a:lnTo>
                <a:lnTo>
                  <a:pt x="3604" y="1010"/>
                </a:lnTo>
                <a:lnTo>
                  <a:pt x="3608" y="1012"/>
                </a:lnTo>
                <a:lnTo>
                  <a:pt x="3608" y="1012"/>
                </a:lnTo>
                <a:lnTo>
                  <a:pt x="3600" y="1014"/>
                </a:lnTo>
                <a:lnTo>
                  <a:pt x="3600" y="1014"/>
                </a:lnTo>
                <a:lnTo>
                  <a:pt x="3590" y="1016"/>
                </a:lnTo>
                <a:lnTo>
                  <a:pt x="3590" y="1016"/>
                </a:lnTo>
                <a:close/>
                <a:moveTo>
                  <a:pt x="3592" y="990"/>
                </a:moveTo>
                <a:lnTo>
                  <a:pt x="3592" y="990"/>
                </a:lnTo>
                <a:lnTo>
                  <a:pt x="3588" y="990"/>
                </a:lnTo>
                <a:lnTo>
                  <a:pt x="3588" y="990"/>
                </a:lnTo>
                <a:lnTo>
                  <a:pt x="3592" y="990"/>
                </a:lnTo>
                <a:lnTo>
                  <a:pt x="3592" y="990"/>
                </a:lnTo>
                <a:lnTo>
                  <a:pt x="3604" y="990"/>
                </a:lnTo>
                <a:lnTo>
                  <a:pt x="3604" y="990"/>
                </a:lnTo>
                <a:lnTo>
                  <a:pt x="3594" y="996"/>
                </a:lnTo>
                <a:lnTo>
                  <a:pt x="3594" y="996"/>
                </a:lnTo>
                <a:lnTo>
                  <a:pt x="3594" y="996"/>
                </a:lnTo>
                <a:lnTo>
                  <a:pt x="3594" y="996"/>
                </a:lnTo>
                <a:lnTo>
                  <a:pt x="3604" y="990"/>
                </a:lnTo>
                <a:lnTo>
                  <a:pt x="3604" y="990"/>
                </a:lnTo>
                <a:lnTo>
                  <a:pt x="3592" y="990"/>
                </a:lnTo>
                <a:lnTo>
                  <a:pt x="3592" y="990"/>
                </a:lnTo>
                <a:close/>
                <a:moveTo>
                  <a:pt x="3602" y="1034"/>
                </a:moveTo>
                <a:lnTo>
                  <a:pt x="3602" y="1034"/>
                </a:lnTo>
                <a:lnTo>
                  <a:pt x="3602" y="1034"/>
                </a:lnTo>
                <a:lnTo>
                  <a:pt x="3602" y="1034"/>
                </a:lnTo>
                <a:lnTo>
                  <a:pt x="3614" y="1032"/>
                </a:lnTo>
                <a:lnTo>
                  <a:pt x="3616" y="1028"/>
                </a:lnTo>
                <a:lnTo>
                  <a:pt x="3616" y="1024"/>
                </a:lnTo>
                <a:lnTo>
                  <a:pt x="3616" y="1024"/>
                </a:lnTo>
                <a:lnTo>
                  <a:pt x="3616" y="1024"/>
                </a:lnTo>
                <a:lnTo>
                  <a:pt x="3616" y="1024"/>
                </a:lnTo>
                <a:lnTo>
                  <a:pt x="3616" y="1028"/>
                </a:lnTo>
                <a:lnTo>
                  <a:pt x="3614" y="1032"/>
                </a:lnTo>
                <a:lnTo>
                  <a:pt x="3602" y="1034"/>
                </a:lnTo>
                <a:lnTo>
                  <a:pt x="3602" y="1034"/>
                </a:lnTo>
                <a:close/>
                <a:moveTo>
                  <a:pt x="3616" y="1024"/>
                </a:moveTo>
                <a:lnTo>
                  <a:pt x="3616" y="1024"/>
                </a:lnTo>
                <a:lnTo>
                  <a:pt x="3616" y="1024"/>
                </a:lnTo>
                <a:lnTo>
                  <a:pt x="3616" y="1024"/>
                </a:lnTo>
                <a:lnTo>
                  <a:pt x="3618" y="1022"/>
                </a:lnTo>
                <a:lnTo>
                  <a:pt x="3618" y="1022"/>
                </a:lnTo>
                <a:lnTo>
                  <a:pt x="3616" y="1020"/>
                </a:lnTo>
                <a:lnTo>
                  <a:pt x="3616" y="1020"/>
                </a:lnTo>
                <a:lnTo>
                  <a:pt x="3616" y="1020"/>
                </a:lnTo>
                <a:lnTo>
                  <a:pt x="3616" y="1020"/>
                </a:lnTo>
                <a:lnTo>
                  <a:pt x="3618" y="1022"/>
                </a:lnTo>
                <a:lnTo>
                  <a:pt x="3618" y="1022"/>
                </a:lnTo>
                <a:lnTo>
                  <a:pt x="3616" y="1024"/>
                </a:lnTo>
                <a:lnTo>
                  <a:pt x="3616" y="1024"/>
                </a:lnTo>
                <a:close/>
                <a:moveTo>
                  <a:pt x="3636" y="1050"/>
                </a:moveTo>
                <a:lnTo>
                  <a:pt x="3636" y="1050"/>
                </a:lnTo>
                <a:lnTo>
                  <a:pt x="3632" y="1044"/>
                </a:lnTo>
                <a:lnTo>
                  <a:pt x="3632" y="1044"/>
                </a:lnTo>
                <a:lnTo>
                  <a:pt x="3632" y="1044"/>
                </a:lnTo>
                <a:lnTo>
                  <a:pt x="3632" y="1044"/>
                </a:lnTo>
                <a:lnTo>
                  <a:pt x="3636" y="1048"/>
                </a:lnTo>
                <a:lnTo>
                  <a:pt x="3636" y="1048"/>
                </a:lnTo>
                <a:lnTo>
                  <a:pt x="3636" y="1050"/>
                </a:lnTo>
                <a:lnTo>
                  <a:pt x="3636" y="1050"/>
                </a:lnTo>
                <a:close/>
                <a:moveTo>
                  <a:pt x="3640" y="1042"/>
                </a:moveTo>
                <a:lnTo>
                  <a:pt x="3640" y="1042"/>
                </a:lnTo>
                <a:lnTo>
                  <a:pt x="3638" y="1040"/>
                </a:lnTo>
                <a:lnTo>
                  <a:pt x="3634" y="1038"/>
                </a:lnTo>
                <a:lnTo>
                  <a:pt x="3624" y="1038"/>
                </a:lnTo>
                <a:lnTo>
                  <a:pt x="3624" y="1038"/>
                </a:lnTo>
                <a:lnTo>
                  <a:pt x="3622" y="1040"/>
                </a:lnTo>
                <a:lnTo>
                  <a:pt x="3618" y="1042"/>
                </a:lnTo>
                <a:lnTo>
                  <a:pt x="3618" y="1042"/>
                </a:lnTo>
                <a:lnTo>
                  <a:pt x="3618" y="1042"/>
                </a:lnTo>
                <a:lnTo>
                  <a:pt x="3618" y="1042"/>
                </a:lnTo>
                <a:lnTo>
                  <a:pt x="3622" y="1040"/>
                </a:lnTo>
                <a:lnTo>
                  <a:pt x="3624" y="1038"/>
                </a:lnTo>
                <a:lnTo>
                  <a:pt x="3624" y="1038"/>
                </a:lnTo>
                <a:lnTo>
                  <a:pt x="3634" y="1038"/>
                </a:lnTo>
                <a:lnTo>
                  <a:pt x="3638" y="1040"/>
                </a:lnTo>
                <a:lnTo>
                  <a:pt x="3640" y="1042"/>
                </a:lnTo>
                <a:lnTo>
                  <a:pt x="3640" y="1042"/>
                </a:lnTo>
                <a:lnTo>
                  <a:pt x="3640" y="1042"/>
                </a:lnTo>
                <a:lnTo>
                  <a:pt x="3640" y="1042"/>
                </a:lnTo>
                <a:close/>
                <a:moveTo>
                  <a:pt x="3640" y="1000"/>
                </a:moveTo>
                <a:lnTo>
                  <a:pt x="3640" y="1000"/>
                </a:lnTo>
                <a:lnTo>
                  <a:pt x="3636" y="1002"/>
                </a:lnTo>
                <a:lnTo>
                  <a:pt x="3634" y="1002"/>
                </a:lnTo>
                <a:lnTo>
                  <a:pt x="3628" y="1002"/>
                </a:lnTo>
                <a:lnTo>
                  <a:pt x="3628" y="1002"/>
                </a:lnTo>
                <a:lnTo>
                  <a:pt x="3630" y="1000"/>
                </a:lnTo>
                <a:lnTo>
                  <a:pt x="3630" y="1000"/>
                </a:lnTo>
                <a:lnTo>
                  <a:pt x="3628" y="1002"/>
                </a:lnTo>
                <a:lnTo>
                  <a:pt x="3628" y="1002"/>
                </a:lnTo>
                <a:lnTo>
                  <a:pt x="3634" y="1002"/>
                </a:lnTo>
                <a:lnTo>
                  <a:pt x="3636" y="1002"/>
                </a:lnTo>
                <a:lnTo>
                  <a:pt x="3640" y="1000"/>
                </a:lnTo>
                <a:lnTo>
                  <a:pt x="3640" y="1000"/>
                </a:lnTo>
                <a:close/>
                <a:moveTo>
                  <a:pt x="3638" y="998"/>
                </a:moveTo>
                <a:lnTo>
                  <a:pt x="3638" y="998"/>
                </a:lnTo>
                <a:lnTo>
                  <a:pt x="3636" y="1000"/>
                </a:lnTo>
                <a:lnTo>
                  <a:pt x="3636" y="1000"/>
                </a:lnTo>
                <a:lnTo>
                  <a:pt x="3636" y="1000"/>
                </a:lnTo>
                <a:lnTo>
                  <a:pt x="3636" y="1000"/>
                </a:lnTo>
                <a:lnTo>
                  <a:pt x="3636" y="998"/>
                </a:lnTo>
                <a:lnTo>
                  <a:pt x="3636" y="998"/>
                </a:lnTo>
                <a:lnTo>
                  <a:pt x="3632" y="996"/>
                </a:lnTo>
                <a:lnTo>
                  <a:pt x="3632" y="996"/>
                </a:lnTo>
                <a:lnTo>
                  <a:pt x="3632" y="996"/>
                </a:lnTo>
                <a:lnTo>
                  <a:pt x="3632" y="996"/>
                </a:lnTo>
                <a:lnTo>
                  <a:pt x="3632" y="996"/>
                </a:lnTo>
                <a:lnTo>
                  <a:pt x="3638" y="998"/>
                </a:lnTo>
                <a:lnTo>
                  <a:pt x="3638" y="998"/>
                </a:lnTo>
                <a:close/>
                <a:moveTo>
                  <a:pt x="3636" y="994"/>
                </a:moveTo>
                <a:lnTo>
                  <a:pt x="3636" y="994"/>
                </a:lnTo>
                <a:lnTo>
                  <a:pt x="3636" y="994"/>
                </a:lnTo>
                <a:lnTo>
                  <a:pt x="3636" y="994"/>
                </a:lnTo>
                <a:lnTo>
                  <a:pt x="3644" y="990"/>
                </a:lnTo>
                <a:lnTo>
                  <a:pt x="3644" y="990"/>
                </a:lnTo>
                <a:lnTo>
                  <a:pt x="3638" y="986"/>
                </a:lnTo>
                <a:lnTo>
                  <a:pt x="3638" y="986"/>
                </a:lnTo>
                <a:lnTo>
                  <a:pt x="3644" y="990"/>
                </a:lnTo>
                <a:lnTo>
                  <a:pt x="3644" y="990"/>
                </a:lnTo>
                <a:lnTo>
                  <a:pt x="3636" y="994"/>
                </a:lnTo>
                <a:lnTo>
                  <a:pt x="3636" y="994"/>
                </a:lnTo>
                <a:close/>
                <a:moveTo>
                  <a:pt x="3654" y="984"/>
                </a:moveTo>
                <a:lnTo>
                  <a:pt x="3654" y="984"/>
                </a:lnTo>
                <a:lnTo>
                  <a:pt x="3636" y="982"/>
                </a:lnTo>
                <a:lnTo>
                  <a:pt x="3636" y="982"/>
                </a:lnTo>
                <a:lnTo>
                  <a:pt x="3630" y="982"/>
                </a:lnTo>
                <a:lnTo>
                  <a:pt x="3624" y="984"/>
                </a:lnTo>
                <a:lnTo>
                  <a:pt x="3624" y="984"/>
                </a:lnTo>
                <a:lnTo>
                  <a:pt x="3614" y="986"/>
                </a:lnTo>
                <a:lnTo>
                  <a:pt x="3604" y="986"/>
                </a:lnTo>
                <a:lnTo>
                  <a:pt x="3604" y="986"/>
                </a:lnTo>
                <a:lnTo>
                  <a:pt x="3590" y="984"/>
                </a:lnTo>
                <a:lnTo>
                  <a:pt x="3590" y="984"/>
                </a:lnTo>
                <a:lnTo>
                  <a:pt x="3582" y="986"/>
                </a:lnTo>
                <a:lnTo>
                  <a:pt x="3574" y="988"/>
                </a:lnTo>
                <a:lnTo>
                  <a:pt x="3574" y="988"/>
                </a:lnTo>
                <a:lnTo>
                  <a:pt x="3568" y="990"/>
                </a:lnTo>
                <a:lnTo>
                  <a:pt x="3564" y="990"/>
                </a:lnTo>
                <a:lnTo>
                  <a:pt x="3564" y="990"/>
                </a:lnTo>
                <a:lnTo>
                  <a:pt x="3564" y="992"/>
                </a:lnTo>
                <a:lnTo>
                  <a:pt x="3564" y="992"/>
                </a:lnTo>
                <a:lnTo>
                  <a:pt x="3554" y="992"/>
                </a:lnTo>
                <a:lnTo>
                  <a:pt x="3548" y="990"/>
                </a:lnTo>
                <a:lnTo>
                  <a:pt x="3548" y="990"/>
                </a:lnTo>
                <a:lnTo>
                  <a:pt x="3548" y="982"/>
                </a:lnTo>
                <a:lnTo>
                  <a:pt x="3548" y="982"/>
                </a:lnTo>
                <a:lnTo>
                  <a:pt x="3550" y="982"/>
                </a:lnTo>
                <a:lnTo>
                  <a:pt x="3550" y="982"/>
                </a:lnTo>
                <a:lnTo>
                  <a:pt x="3558" y="982"/>
                </a:lnTo>
                <a:lnTo>
                  <a:pt x="3562" y="986"/>
                </a:lnTo>
                <a:lnTo>
                  <a:pt x="3562" y="986"/>
                </a:lnTo>
                <a:lnTo>
                  <a:pt x="3566" y="986"/>
                </a:lnTo>
                <a:lnTo>
                  <a:pt x="3566" y="986"/>
                </a:lnTo>
                <a:lnTo>
                  <a:pt x="3560" y="982"/>
                </a:lnTo>
                <a:lnTo>
                  <a:pt x="3556" y="980"/>
                </a:lnTo>
                <a:lnTo>
                  <a:pt x="3556" y="976"/>
                </a:lnTo>
                <a:lnTo>
                  <a:pt x="3558" y="972"/>
                </a:lnTo>
                <a:lnTo>
                  <a:pt x="3558" y="972"/>
                </a:lnTo>
                <a:lnTo>
                  <a:pt x="3576" y="968"/>
                </a:lnTo>
                <a:lnTo>
                  <a:pt x="3586" y="966"/>
                </a:lnTo>
                <a:lnTo>
                  <a:pt x="3596" y="962"/>
                </a:lnTo>
                <a:lnTo>
                  <a:pt x="3596" y="962"/>
                </a:lnTo>
                <a:lnTo>
                  <a:pt x="3602" y="964"/>
                </a:lnTo>
                <a:lnTo>
                  <a:pt x="3602" y="964"/>
                </a:lnTo>
                <a:lnTo>
                  <a:pt x="3608" y="968"/>
                </a:lnTo>
                <a:lnTo>
                  <a:pt x="3612" y="970"/>
                </a:lnTo>
                <a:lnTo>
                  <a:pt x="3616" y="970"/>
                </a:lnTo>
                <a:lnTo>
                  <a:pt x="3622" y="966"/>
                </a:lnTo>
                <a:lnTo>
                  <a:pt x="3622" y="966"/>
                </a:lnTo>
                <a:lnTo>
                  <a:pt x="3624" y="966"/>
                </a:lnTo>
                <a:lnTo>
                  <a:pt x="3624" y="966"/>
                </a:lnTo>
                <a:lnTo>
                  <a:pt x="3628" y="968"/>
                </a:lnTo>
                <a:lnTo>
                  <a:pt x="3626" y="972"/>
                </a:lnTo>
                <a:lnTo>
                  <a:pt x="3626" y="972"/>
                </a:lnTo>
                <a:lnTo>
                  <a:pt x="3630" y="974"/>
                </a:lnTo>
                <a:lnTo>
                  <a:pt x="3632" y="976"/>
                </a:lnTo>
                <a:lnTo>
                  <a:pt x="3642" y="976"/>
                </a:lnTo>
                <a:lnTo>
                  <a:pt x="3642" y="976"/>
                </a:lnTo>
                <a:lnTo>
                  <a:pt x="3658" y="974"/>
                </a:lnTo>
                <a:lnTo>
                  <a:pt x="3672" y="974"/>
                </a:lnTo>
                <a:lnTo>
                  <a:pt x="3672" y="974"/>
                </a:lnTo>
                <a:lnTo>
                  <a:pt x="3684" y="978"/>
                </a:lnTo>
                <a:lnTo>
                  <a:pt x="3684" y="978"/>
                </a:lnTo>
                <a:lnTo>
                  <a:pt x="3676" y="980"/>
                </a:lnTo>
                <a:lnTo>
                  <a:pt x="3674" y="980"/>
                </a:lnTo>
                <a:lnTo>
                  <a:pt x="3672" y="976"/>
                </a:lnTo>
                <a:lnTo>
                  <a:pt x="3672" y="976"/>
                </a:lnTo>
                <a:lnTo>
                  <a:pt x="3666" y="976"/>
                </a:lnTo>
                <a:lnTo>
                  <a:pt x="3662" y="978"/>
                </a:lnTo>
                <a:lnTo>
                  <a:pt x="3654" y="984"/>
                </a:lnTo>
                <a:lnTo>
                  <a:pt x="3654" y="984"/>
                </a:lnTo>
                <a:close/>
                <a:moveTo>
                  <a:pt x="3682" y="1032"/>
                </a:moveTo>
                <a:lnTo>
                  <a:pt x="3682" y="1032"/>
                </a:lnTo>
                <a:lnTo>
                  <a:pt x="3678" y="1028"/>
                </a:lnTo>
                <a:lnTo>
                  <a:pt x="3678" y="1028"/>
                </a:lnTo>
                <a:lnTo>
                  <a:pt x="3672" y="1026"/>
                </a:lnTo>
                <a:lnTo>
                  <a:pt x="3670" y="1024"/>
                </a:lnTo>
                <a:lnTo>
                  <a:pt x="3668" y="1022"/>
                </a:lnTo>
                <a:lnTo>
                  <a:pt x="3668" y="1022"/>
                </a:lnTo>
                <a:lnTo>
                  <a:pt x="3664" y="1020"/>
                </a:lnTo>
                <a:lnTo>
                  <a:pt x="3660" y="1020"/>
                </a:lnTo>
                <a:lnTo>
                  <a:pt x="3658" y="1018"/>
                </a:lnTo>
                <a:lnTo>
                  <a:pt x="3654" y="1018"/>
                </a:lnTo>
                <a:lnTo>
                  <a:pt x="3654" y="1018"/>
                </a:lnTo>
                <a:lnTo>
                  <a:pt x="3654" y="1014"/>
                </a:lnTo>
                <a:lnTo>
                  <a:pt x="3656" y="1010"/>
                </a:lnTo>
                <a:lnTo>
                  <a:pt x="3658" y="1008"/>
                </a:lnTo>
                <a:lnTo>
                  <a:pt x="3654" y="1004"/>
                </a:lnTo>
                <a:lnTo>
                  <a:pt x="3654" y="1004"/>
                </a:lnTo>
                <a:lnTo>
                  <a:pt x="3668" y="1002"/>
                </a:lnTo>
                <a:lnTo>
                  <a:pt x="3674" y="1000"/>
                </a:lnTo>
                <a:lnTo>
                  <a:pt x="3680" y="996"/>
                </a:lnTo>
                <a:lnTo>
                  <a:pt x="3680" y="996"/>
                </a:lnTo>
                <a:lnTo>
                  <a:pt x="3660" y="994"/>
                </a:lnTo>
                <a:lnTo>
                  <a:pt x="3660" y="994"/>
                </a:lnTo>
                <a:lnTo>
                  <a:pt x="3660" y="992"/>
                </a:lnTo>
                <a:lnTo>
                  <a:pt x="3660" y="990"/>
                </a:lnTo>
                <a:lnTo>
                  <a:pt x="3666" y="990"/>
                </a:lnTo>
                <a:lnTo>
                  <a:pt x="3666" y="990"/>
                </a:lnTo>
                <a:lnTo>
                  <a:pt x="3676" y="990"/>
                </a:lnTo>
                <a:lnTo>
                  <a:pt x="3684" y="990"/>
                </a:lnTo>
                <a:lnTo>
                  <a:pt x="3684" y="990"/>
                </a:lnTo>
                <a:lnTo>
                  <a:pt x="3682" y="1032"/>
                </a:lnTo>
                <a:lnTo>
                  <a:pt x="3682" y="1032"/>
                </a:lnTo>
                <a:close/>
                <a:moveTo>
                  <a:pt x="3696" y="994"/>
                </a:moveTo>
                <a:lnTo>
                  <a:pt x="3696" y="994"/>
                </a:lnTo>
                <a:lnTo>
                  <a:pt x="3696" y="994"/>
                </a:lnTo>
                <a:lnTo>
                  <a:pt x="3696" y="994"/>
                </a:lnTo>
                <a:lnTo>
                  <a:pt x="3696" y="988"/>
                </a:lnTo>
                <a:lnTo>
                  <a:pt x="3696" y="988"/>
                </a:lnTo>
                <a:lnTo>
                  <a:pt x="3696" y="988"/>
                </a:lnTo>
                <a:lnTo>
                  <a:pt x="3696" y="988"/>
                </a:lnTo>
                <a:lnTo>
                  <a:pt x="3698" y="990"/>
                </a:lnTo>
                <a:lnTo>
                  <a:pt x="3698" y="990"/>
                </a:lnTo>
                <a:lnTo>
                  <a:pt x="3696" y="994"/>
                </a:lnTo>
                <a:lnTo>
                  <a:pt x="3696" y="994"/>
                </a:lnTo>
                <a:close/>
                <a:moveTo>
                  <a:pt x="3698" y="976"/>
                </a:moveTo>
                <a:lnTo>
                  <a:pt x="3698" y="976"/>
                </a:lnTo>
                <a:lnTo>
                  <a:pt x="3702" y="972"/>
                </a:lnTo>
                <a:lnTo>
                  <a:pt x="3702" y="972"/>
                </a:lnTo>
                <a:lnTo>
                  <a:pt x="3702" y="976"/>
                </a:lnTo>
                <a:lnTo>
                  <a:pt x="3702" y="976"/>
                </a:lnTo>
                <a:lnTo>
                  <a:pt x="3698" y="976"/>
                </a:lnTo>
                <a:lnTo>
                  <a:pt x="3698" y="976"/>
                </a:lnTo>
                <a:close/>
                <a:moveTo>
                  <a:pt x="3736" y="974"/>
                </a:moveTo>
                <a:lnTo>
                  <a:pt x="3736" y="974"/>
                </a:lnTo>
                <a:lnTo>
                  <a:pt x="3736" y="972"/>
                </a:lnTo>
                <a:lnTo>
                  <a:pt x="3736" y="972"/>
                </a:lnTo>
                <a:lnTo>
                  <a:pt x="3736" y="972"/>
                </a:lnTo>
                <a:lnTo>
                  <a:pt x="3744" y="970"/>
                </a:lnTo>
                <a:lnTo>
                  <a:pt x="3744" y="970"/>
                </a:lnTo>
                <a:lnTo>
                  <a:pt x="3744" y="974"/>
                </a:lnTo>
                <a:lnTo>
                  <a:pt x="3744" y="974"/>
                </a:lnTo>
                <a:lnTo>
                  <a:pt x="3736" y="974"/>
                </a:lnTo>
                <a:lnTo>
                  <a:pt x="3736" y="974"/>
                </a:lnTo>
                <a:close/>
                <a:moveTo>
                  <a:pt x="3766" y="972"/>
                </a:moveTo>
                <a:lnTo>
                  <a:pt x="3766" y="972"/>
                </a:lnTo>
                <a:lnTo>
                  <a:pt x="3766" y="970"/>
                </a:lnTo>
                <a:lnTo>
                  <a:pt x="3766" y="970"/>
                </a:lnTo>
                <a:lnTo>
                  <a:pt x="3766" y="972"/>
                </a:lnTo>
                <a:lnTo>
                  <a:pt x="3766" y="972"/>
                </a:lnTo>
                <a:close/>
                <a:moveTo>
                  <a:pt x="3782" y="974"/>
                </a:moveTo>
                <a:lnTo>
                  <a:pt x="3782" y="974"/>
                </a:lnTo>
                <a:lnTo>
                  <a:pt x="3780" y="972"/>
                </a:lnTo>
                <a:lnTo>
                  <a:pt x="3780" y="972"/>
                </a:lnTo>
                <a:lnTo>
                  <a:pt x="3784" y="970"/>
                </a:lnTo>
                <a:lnTo>
                  <a:pt x="3784" y="970"/>
                </a:lnTo>
                <a:lnTo>
                  <a:pt x="3784" y="970"/>
                </a:lnTo>
                <a:lnTo>
                  <a:pt x="3784" y="970"/>
                </a:lnTo>
                <a:lnTo>
                  <a:pt x="3784" y="974"/>
                </a:lnTo>
                <a:lnTo>
                  <a:pt x="3784" y="974"/>
                </a:lnTo>
                <a:lnTo>
                  <a:pt x="3782" y="974"/>
                </a:lnTo>
                <a:lnTo>
                  <a:pt x="3782" y="974"/>
                </a:lnTo>
                <a:close/>
                <a:moveTo>
                  <a:pt x="3774" y="968"/>
                </a:moveTo>
                <a:lnTo>
                  <a:pt x="3774" y="968"/>
                </a:lnTo>
                <a:lnTo>
                  <a:pt x="3762" y="966"/>
                </a:lnTo>
                <a:lnTo>
                  <a:pt x="3762" y="966"/>
                </a:lnTo>
                <a:lnTo>
                  <a:pt x="3752" y="966"/>
                </a:lnTo>
                <a:lnTo>
                  <a:pt x="3748" y="966"/>
                </a:lnTo>
                <a:lnTo>
                  <a:pt x="3744" y="968"/>
                </a:lnTo>
                <a:lnTo>
                  <a:pt x="3744" y="968"/>
                </a:lnTo>
                <a:lnTo>
                  <a:pt x="3738" y="970"/>
                </a:lnTo>
                <a:lnTo>
                  <a:pt x="3738" y="970"/>
                </a:lnTo>
                <a:lnTo>
                  <a:pt x="3732" y="970"/>
                </a:lnTo>
                <a:lnTo>
                  <a:pt x="3726" y="972"/>
                </a:lnTo>
                <a:lnTo>
                  <a:pt x="3716" y="976"/>
                </a:lnTo>
                <a:lnTo>
                  <a:pt x="3716" y="976"/>
                </a:lnTo>
                <a:lnTo>
                  <a:pt x="3712" y="978"/>
                </a:lnTo>
                <a:lnTo>
                  <a:pt x="3706" y="978"/>
                </a:lnTo>
                <a:lnTo>
                  <a:pt x="3706" y="978"/>
                </a:lnTo>
                <a:lnTo>
                  <a:pt x="3704" y="970"/>
                </a:lnTo>
                <a:lnTo>
                  <a:pt x="3704" y="970"/>
                </a:lnTo>
                <a:lnTo>
                  <a:pt x="3704" y="970"/>
                </a:lnTo>
                <a:lnTo>
                  <a:pt x="3704" y="970"/>
                </a:lnTo>
                <a:lnTo>
                  <a:pt x="3704" y="970"/>
                </a:lnTo>
                <a:lnTo>
                  <a:pt x="3704" y="970"/>
                </a:lnTo>
                <a:lnTo>
                  <a:pt x="3690" y="968"/>
                </a:lnTo>
                <a:lnTo>
                  <a:pt x="3690" y="968"/>
                </a:lnTo>
                <a:lnTo>
                  <a:pt x="3702" y="962"/>
                </a:lnTo>
                <a:lnTo>
                  <a:pt x="3702" y="962"/>
                </a:lnTo>
                <a:lnTo>
                  <a:pt x="3712" y="960"/>
                </a:lnTo>
                <a:lnTo>
                  <a:pt x="3716" y="960"/>
                </a:lnTo>
                <a:lnTo>
                  <a:pt x="3722" y="962"/>
                </a:lnTo>
                <a:lnTo>
                  <a:pt x="3722" y="962"/>
                </a:lnTo>
                <a:lnTo>
                  <a:pt x="3728" y="960"/>
                </a:lnTo>
                <a:lnTo>
                  <a:pt x="3728" y="960"/>
                </a:lnTo>
                <a:lnTo>
                  <a:pt x="3734" y="960"/>
                </a:lnTo>
                <a:lnTo>
                  <a:pt x="3734" y="960"/>
                </a:lnTo>
                <a:lnTo>
                  <a:pt x="3742" y="962"/>
                </a:lnTo>
                <a:lnTo>
                  <a:pt x="3750" y="962"/>
                </a:lnTo>
                <a:lnTo>
                  <a:pt x="3756" y="962"/>
                </a:lnTo>
                <a:lnTo>
                  <a:pt x="3764" y="958"/>
                </a:lnTo>
                <a:lnTo>
                  <a:pt x="3764" y="958"/>
                </a:lnTo>
                <a:lnTo>
                  <a:pt x="3768" y="958"/>
                </a:lnTo>
                <a:lnTo>
                  <a:pt x="3772" y="958"/>
                </a:lnTo>
                <a:lnTo>
                  <a:pt x="3772" y="958"/>
                </a:lnTo>
                <a:lnTo>
                  <a:pt x="3792" y="962"/>
                </a:lnTo>
                <a:lnTo>
                  <a:pt x="3792" y="962"/>
                </a:lnTo>
                <a:lnTo>
                  <a:pt x="3784" y="968"/>
                </a:lnTo>
                <a:lnTo>
                  <a:pt x="3774" y="968"/>
                </a:lnTo>
                <a:lnTo>
                  <a:pt x="3774" y="968"/>
                </a:lnTo>
                <a:close/>
                <a:moveTo>
                  <a:pt x="3770" y="928"/>
                </a:moveTo>
                <a:lnTo>
                  <a:pt x="3770" y="928"/>
                </a:lnTo>
                <a:lnTo>
                  <a:pt x="3772" y="920"/>
                </a:lnTo>
                <a:lnTo>
                  <a:pt x="3772" y="920"/>
                </a:lnTo>
                <a:lnTo>
                  <a:pt x="3790" y="916"/>
                </a:lnTo>
                <a:lnTo>
                  <a:pt x="3790" y="916"/>
                </a:lnTo>
                <a:lnTo>
                  <a:pt x="3792" y="918"/>
                </a:lnTo>
                <a:lnTo>
                  <a:pt x="3792" y="918"/>
                </a:lnTo>
                <a:lnTo>
                  <a:pt x="3790" y="922"/>
                </a:lnTo>
                <a:lnTo>
                  <a:pt x="3790" y="922"/>
                </a:lnTo>
                <a:lnTo>
                  <a:pt x="3800" y="924"/>
                </a:lnTo>
                <a:lnTo>
                  <a:pt x="3800" y="924"/>
                </a:lnTo>
                <a:lnTo>
                  <a:pt x="3796" y="930"/>
                </a:lnTo>
                <a:lnTo>
                  <a:pt x="3792" y="932"/>
                </a:lnTo>
                <a:lnTo>
                  <a:pt x="3782" y="932"/>
                </a:lnTo>
                <a:lnTo>
                  <a:pt x="3770" y="928"/>
                </a:lnTo>
                <a:lnTo>
                  <a:pt x="3770" y="928"/>
                </a:lnTo>
                <a:close/>
                <a:moveTo>
                  <a:pt x="3826" y="944"/>
                </a:moveTo>
                <a:lnTo>
                  <a:pt x="3826" y="944"/>
                </a:lnTo>
                <a:lnTo>
                  <a:pt x="3828" y="940"/>
                </a:lnTo>
                <a:lnTo>
                  <a:pt x="3828" y="940"/>
                </a:lnTo>
                <a:lnTo>
                  <a:pt x="3810" y="936"/>
                </a:lnTo>
                <a:lnTo>
                  <a:pt x="3810" y="936"/>
                </a:lnTo>
                <a:lnTo>
                  <a:pt x="3810" y="934"/>
                </a:lnTo>
                <a:lnTo>
                  <a:pt x="3810" y="934"/>
                </a:lnTo>
                <a:lnTo>
                  <a:pt x="3818" y="930"/>
                </a:lnTo>
                <a:lnTo>
                  <a:pt x="3822" y="930"/>
                </a:lnTo>
                <a:lnTo>
                  <a:pt x="3828" y="930"/>
                </a:lnTo>
                <a:lnTo>
                  <a:pt x="3828" y="930"/>
                </a:lnTo>
                <a:lnTo>
                  <a:pt x="3824" y="936"/>
                </a:lnTo>
                <a:lnTo>
                  <a:pt x="3824" y="936"/>
                </a:lnTo>
                <a:lnTo>
                  <a:pt x="3838" y="936"/>
                </a:lnTo>
                <a:lnTo>
                  <a:pt x="3838" y="936"/>
                </a:lnTo>
                <a:lnTo>
                  <a:pt x="3850" y="940"/>
                </a:lnTo>
                <a:lnTo>
                  <a:pt x="3850" y="940"/>
                </a:lnTo>
                <a:lnTo>
                  <a:pt x="3844" y="944"/>
                </a:lnTo>
                <a:lnTo>
                  <a:pt x="3840" y="946"/>
                </a:lnTo>
                <a:lnTo>
                  <a:pt x="3834" y="946"/>
                </a:lnTo>
                <a:lnTo>
                  <a:pt x="3826" y="944"/>
                </a:lnTo>
                <a:lnTo>
                  <a:pt x="3826" y="944"/>
                </a:lnTo>
                <a:close/>
                <a:moveTo>
                  <a:pt x="3838" y="892"/>
                </a:moveTo>
                <a:lnTo>
                  <a:pt x="3838" y="892"/>
                </a:lnTo>
                <a:lnTo>
                  <a:pt x="3842" y="892"/>
                </a:lnTo>
                <a:lnTo>
                  <a:pt x="3848" y="888"/>
                </a:lnTo>
                <a:lnTo>
                  <a:pt x="3848" y="888"/>
                </a:lnTo>
                <a:lnTo>
                  <a:pt x="3848" y="888"/>
                </a:lnTo>
                <a:lnTo>
                  <a:pt x="3842" y="892"/>
                </a:lnTo>
                <a:lnTo>
                  <a:pt x="3838" y="892"/>
                </a:lnTo>
                <a:lnTo>
                  <a:pt x="3838" y="892"/>
                </a:lnTo>
                <a:close/>
                <a:moveTo>
                  <a:pt x="3862" y="314"/>
                </a:moveTo>
                <a:lnTo>
                  <a:pt x="3862" y="314"/>
                </a:lnTo>
                <a:lnTo>
                  <a:pt x="3852" y="316"/>
                </a:lnTo>
                <a:lnTo>
                  <a:pt x="3846" y="316"/>
                </a:lnTo>
                <a:lnTo>
                  <a:pt x="3842" y="314"/>
                </a:lnTo>
                <a:lnTo>
                  <a:pt x="3842" y="314"/>
                </a:lnTo>
                <a:lnTo>
                  <a:pt x="3832" y="314"/>
                </a:lnTo>
                <a:lnTo>
                  <a:pt x="3822" y="312"/>
                </a:lnTo>
                <a:lnTo>
                  <a:pt x="3812" y="310"/>
                </a:lnTo>
                <a:lnTo>
                  <a:pt x="3804" y="310"/>
                </a:lnTo>
                <a:lnTo>
                  <a:pt x="3804" y="310"/>
                </a:lnTo>
                <a:lnTo>
                  <a:pt x="3798" y="308"/>
                </a:lnTo>
                <a:lnTo>
                  <a:pt x="3794" y="304"/>
                </a:lnTo>
                <a:lnTo>
                  <a:pt x="3794" y="304"/>
                </a:lnTo>
                <a:lnTo>
                  <a:pt x="3782" y="304"/>
                </a:lnTo>
                <a:lnTo>
                  <a:pt x="3780" y="304"/>
                </a:lnTo>
                <a:lnTo>
                  <a:pt x="3778" y="302"/>
                </a:lnTo>
                <a:lnTo>
                  <a:pt x="3778" y="302"/>
                </a:lnTo>
                <a:lnTo>
                  <a:pt x="3796" y="300"/>
                </a:lnTo>
                <a:lnTo>
                  <a:pt x="3806" y="298"/>
                </a:lnTo>
                <a:lnTo>
                  <a:pt x="3816" y="300"/>
                </a:lnTo>
                <a:lnTo>
                  <a:pt x="3816" y="300"/>
                </a:lnTo>
                <a:lnTo>
                  <a:pt x="3818" y="306"/>
                </a:lnTo>
                <a:lnTo>
                  <a:pt x="3818" y="306"/>
                </a:lnTo>
                <a:lnTo>
                  <a:pt x="3828" y="304"/>
                </a:lnTo>
                <a:lnTo>
                  <a:pt x="3828" y="304"/>
                </a:lnTo>
                <a:lnTo>
                  <a:pt x="3846" y="302"/>
                </a:lnTo>
                <a:lnTo>
                  <a:pt x="3854" y="302"/>
                </a:lnTo>
                <a:lnTo>
                  <a:pt x="3862" y="304"/>
                </a:lnTo>
                <a:lnTo>
                  <a:pt x="3862" y="304"/>
                </a:lnTo>
                <a:lnTo>
                  <a:pt x="3866" y="306"/>
                </a:lnTo>
                <a:lnTo>
                  <a:pt x="3868" y="308"/>
                </a:lnTo>
                <a:lnTo>
                  <a:pt x="3868" y="308"/>
                </a:lnTo>
                <a:lnTo>
                  <a:pt x="3866" y="312"/>
                </a:lnTo>
                <a:lnTo>
                  <a:pt x="3862" y="314"/>
                </a:lnTo>
                <a:lnTo>
                  <a:pt x="3862" y="314"/>
                </a:lnTo>
                <a:close/>
                <a:moveTo>
                  <a:pt x="3858" y="194"/>
                </a:moveTo>
                <a:lnTo>
                  <a:pt x="3858" y="194"/>
                </a:lnTo>
                <a:lnTo>
                  <a:pt x="3866" y="188"/>
                </a:lnTo>
                <a:lnTo>
                  <a:pt x="3866" y="188"/>
                </a:lnTo>
                <a:lnTo>
                  <a:pt x="3876" y="198"/>
                </a:lnTo>
                <a:lnTo>
                  <a:pt x="3876" y="198"/>
                </a:lnTo>
                <a:lnTo>
                  <a:pt x="3868" y="196"/>
                </a:lnTo>
                <a:lnTo>
                  <a:pt x="3858" y="194"/>
                </a:lnTo>
                <a:lnTo>
                  <a:pt x="3858" y="194"/>
                </a:lnTo>
                <a:close/>
                <a:moveTo>
                  <a:pt x="3876" y="986"/>
                </a:moveTo>
                <a:lnTo>
                  <a:pt x="3876" y="986"/>
                </a:lnTo>
                <a:lnTo>
                  <a:pt x="3872" y="976"/>
                </a:lnTo>
                <a:lnTo>
                  <a:pt x="3872" y="976"/>
                </a:lnTo>
                <a:lnTo>
                  <a:pt x="3874" y="972"/>
                </a:lnTo>
                <a:lnTo>
                  <a:pt x="3874" y="972"/>
                </a:lnTo>
                <a:lnTo>
                  <a:pt x="3876" y="972"/>
                </a:lnTo>
                <a:lnTo>
                  <a:pt x="3876" y="972"/>
                </a:lnTo>
                <a:lnTo>
                  <a:pt x="3888" y="988"/>
                </a:lnTo>
                <a:lnTo>
                  <a:pt x="3888" y="988"/>
                </a:lnTo>
                <a:lnTo>
                  <a:pt x="3878" y="990"/>
                </a:lnTo>
                <a:lnTo>
                  <a:pt x="3878" y="988"/>
                </a:lnTo>
                <a:lnTo>
                  <a:pt x="3876" y="986"/>
                </a:lnTo>
                <a:lnTo>
                  <a:pt x="3876" y="986"/>
                </a:lnTo>
                <a:close/>
                <a:moveTo>
                  <a:pt x="3884" y="940"/>
                </a:moveTo>
                <a:lnTo>
                  <a:pt x="3884" y="940"/>
                </a:lnTo>
                <a:lnTo>
                  <a:pt x="3884" y="940"/>
                </a:lnTo>
                <a:lnTo>
                  <a:pt x="3884" y="946"/>
                </a:lnTo>
                <a:lnTo>
                  <a:pt x="3884" y="946"/>
                </a:lnTo>
                <a:lnTo>
                  <a:pt x="3884" y="944"/>
                </a:lnTo>
                <a:lnTo>
                  <a:pt x="3884" y="944"/>
                </a:lnTo>
                <a:lnTo>
                  <a:pt x="3884" y="940"/>
                </a:lnTo>
                <a:lnTo>
                  <a:pt x="3884" y="940"/>
                </a:lnTo>
                <a:lnTo>
                  <a:pt x="3884" y="940"/>
                </a:lnTo>
                <a:close/>
                <a:moveTo>
                  <a:pt x="3878" y="162"/>
                </a:moveTo>
                <a:lnTo>
                  <a:pt x="3878" y="162"/>
                </a:lnTo>
                <a:lnTo>
                  <a:pt x="3886" y="158"/>
                </a:lnTo>
                <a:lnTo>
                  <a:pt x="3894" y="158"/>
                </a:lnTo>
                <a:lnTo>
                  <a:pt x="3894" y="158"/>
                </a:lnTo>
                <a:lnTo>
                  <a:pt x="3900" y="160"/>
                </a:lnTo>
                <a:lnTo>
                  <a:pt x="3902" y="162"/>
                </a:lnTo>
                <a:lnTo>
                  <a:pt x="3902" y="164"/>
                </a:lnTo>
                <a:lnTo>
                  <a:pt x="3902" y="164"/>
                </a:lnTo>
                <a:lnTo>
                  <a:pt x="3878" y="162"/>
                </a:lnTo>
                <a:lnTo>
                  <a:pt x="3878" y="162"/>
                </a:lnTo>
                <a:close/>
                <a:moveTo>
                  <a:pt x="3888" y="980"/>
                </a:moveTo>
                <a:lnTo>
                  <a:pt x="3888" y="980"/>
                </a:lnTo>
                <a:lnTo>
                  <a:pt x="3894" y="976"/>
                </a:lnTo>
                <a:lnTo>
                  <a:pt x="3894" y="976"/>
                </a:lnTo>
                <a:lnTo>
                  <a:pt x="3896" y="992"/>
                </a:lnTo>
                <a:lnTo>
                  <a:pt x="3896" y="992"/>
                </a:lnTo>
                <a:lnTo>
                  <a:pt x="3888" y="980"/>
                </a:lnTo>
                <a:lnTo>
                  <a:pt x="3888" y="980"/>
                </a:lnTo>
                <a:close/>
                <a:moveTo>
                  <a:pt x="3894" y="200"/>
                </a:moveTo>
                <a:lnTo>
                  <a:pt x="3894" y="200"/>
                </a:lnTo>
                <a:lnTo>
                  <a:pt x="3896" y="200"/>
                </a:lnTo>
                <a:lnTo>
                  <a:pt x="3896" y="200"/>
                </a:lnTo>
                <a:lnTo>
                  <a:pt x="3910" y="204"/>
                </a:lnTo>
                <a:lnTo>
                  <a:pt x="3910" y="204"/>
                </a:lnTo>
                <a:lnTo>
                  <a:pt x="3906" y="206"/>
                </a:lnTo>
                <a:lnTo>
                  <a:pt x="3904" y="206"/>
                </a:lnTo>
                <a:lnTo>
                  <a:pt x="3894" y="200"/>
                </a:lnTo>
                <a:lnTo>
                  <a:pt x="3894" y="200"/>
                </a:lnTo>
                <a:close/>
                <a:moveTo>
                  <a:pt x="3912" y="972"/>
                </a:moveTo>
                <a:lnTo>
                  <a:pt x="3912" y="972"/>
                </a:lnTo>
                <a:lnTo>
                  <a:pt x="3912" y="972"/>
                </a:lnTo>
                <a:lnTo>
                  <a:pt x="3912" y="972"/>
                </a:lnTo>
                <a:lnTo>
                  <a:pt x="3918" y="972"/>
                </a:lnTo>
                <a:lnTo>
                  <a:pt x="3918" y="972"/>
                </a:lnTo>
                <a:lnTo>
                  <a:pt x="3918" y="970"/>
                </a:lnTo>
                <a:lnTo>
                  <a:pt x="3918" y="970"/>
                </a:lnTo>
                <a:lnTo>
                  <a:pt x="3918" y="970"/>
                </a:lnTo>
                <a:lnTo>
                  <a:pt x="3918" y="970"/>
                </a:lnTo>
                <a:lnTo>
                  <a:pt x="3918" y="972"/>
                </a:lnTo>
                <a:lnTo>
                  <a:pt x="3918" y="972"/>
                </a:lnTo>
                <a:lnTo>
                  <a:pt x="3912" y="972"/>
                </a:lnTo>
                <a:lnTo>
                  <a:pt x="3912" y="972"/>
                </a:lnTo>
                <a:close/>
                <a:moveTo>
                  <a:pt x="4038" y="56"/>
                </a:moveTo>
                <a:lnTo>
                  <a:pt x="4038" y="56"/>
                </a:lnTo>
                <a:lnTo>
                  <a:pt x="4036" y="58"/>
                </a:lnTo>
                <a:lnTo>
                  <a:pt x="4036" y="58"/>
                </a:lnTo>
                <a:lnTo>
                  <a:pt x="4030" y="58"/>
                </a:lnTo>
                <a:lnTo>
                  <a:pt x="4028" y="56"/>
                </a:lnTo>
                <a:lnTo>
                  <a:pt x="4028" y="56"/>
                </a:lnTo>
                <a:lnTo>
                  <a:pt x="4034" y="54"/>
                </a:lnTo>
                <a:lnTo>
                  <a:pt x="4038" y="56"/>
                </a:lnTo>
                <a:lnTo>
                  <a:pt x="4038" y="56"/>
                </a:lnTo>
                <a:close/>
                <a:moveTo>
                  <a:pt x="3976" y="172"/>
                </a:moveTo>
                <a:lnTo>
                  <a:pt x="3976" y="172"/>
                </a:lnTo>
                <a:lnTo>
                  <a:pt x="3976" y="174"/>
                </a:lnTo>
                <a:lnTo>
                  <a:pt x="3974" y="176"/>
                </a:lnTo>
                <a:lnTo>
                  <a:pt x="3968" y="176"/>
                </a:lnTo>
                <a:lnTo>
                  <a:pt x="3968" y="176"/>
                </a:lnTo>
                <a:lnTo>
                  <a:pt x="3968" y="174"/>
                </a:lnTo>
                <a:lnTo>
                  <a:pt x="3968" y="174"/>
                </a:lnTo>
                <a:lnTo>
                  <a:pt x="3976" y="172"/>
                </a:lnTo>
                <a:lnTo>
                  <a:pt x="3976" y="172"/>
                </a:lnTo>
                <a:close/>
                <a:moveTo>
                  <a:pt x="4026" y="134"/>
                </a:moveTo>
                <a:lnTo>
                  <a:pt x="4026" y="134"/>
                </a:lnTo>
                <a:lnTo>
                  <a:pt x="4026" y="134"/>
                </a:lnTo>
                <a:lnTo>
                  <a:pt x="4016" y="140"/>
                </a:lnTo>
                <a:lnTo>
                  <a:pt x="4016" y="140"/>
                </a:lnTo>
                <a:lnTo>
                  <a:pt x="4018" y="146"/>
                </a:lnTo>
                <a:lnTo>
                  <a:pt x="4018" y="146"/>
                </a:lnTo>
                <a:lnTo>
                  <a:pt x="4010" y="146"/>
                </a:lnTo>
                <a:lnTo>
                  <a:pt x="4010" y="146"/>
                </a:lnTo>
                <a:lnTo>
                  <a:pt x="3980" y="138"/>
                </a:lnTo>
                <a:lnTo>
                  <a:pt x="3980" y="138"/>
                </a:lnTo>
                <a:lnTo>
                  <a:pt x="3974" y="134"/>
                </a:lnTo>
                <a:lnTo>
                  <a:pt x="3970" y="130"/>
                </a:lnTo>
                <a:lnTo>
                  <a:pt x="3970" y="130"/>
                </a:lnTo>
                <a:lnTo>
                  <a:pt x="3982" y="128"/>
                </a:lnTo>
                <a:lnTo>
                  <a:pt x="3998" y="130"/>
                </a:lnTo>
                <a:lnTo>
                  <a:pt x="4016" y="132"/>
                </a:lnTo>
                <a:lnTo>
                  <a:pt x="4026" y="134"/>
                </a:lnTo>
                <a:lnTo>
                  <a:pt x="4026" y="134"/>
                </a:lnTo>
                <a:close/>
                <a:moveTo>
                  <a:pt x="3990" y="116"/>
                </a:moveTo>
                <a:lnTo>
                  <a:pt x="3990" y="116"/>
                </a:lnTo>
                <a:lnTo>
                  <a:pt x="3994" y="114"/>
                </a:lnTo>
                <a:lnTo>
                  <a:pt x="3998" y="112"/>
                </a:lnTo>
                <a:lnTo>
                  <a:pt x="4004" y="112"/>
                </a:lnTo>
                <a:lnTo>
                  <a:pt x="4012" y="114"/>
                </a:lnTo>
                <a:lnTo>
                  <a:pt x="4012" y="114"/>
                </a:lnTo>
                <a:lnTo>
                  <a:pt x="4010" y="126"/>
                </a:lnTo>
                <a:lnTo>
                  <a:pt x="4010" y="126"/>
                </a:lnTo>
                <a:lnTo>
                  <a:pt x="4000" y="120"/>
                </a:lnTo>
                <a:lnTo>
                  <a:pt x="4000" y="120"/>
                </a:lnTo>
                <a:lnTo>
                  <a:pt x="3990" y="116"/>
                </a:lnTo>
                <a:lnTo>
                  <a:pt x="3990" y="116"/>
                </a:lnTo>
                <a:close/>
                <a:moveTo>
                  <a:pt x="3992" y="206"/>
                </a:moveTo>
                <a:lnTo>
                  <a:pt x="3992" y="206"/>
                </a:lnTo>
                <a:lnTo>
                  <a:pt x="3992" y="206"/>
                </a:lnTo>
                <a:lnTo>
                  <a:pt x="4000" y="204"/>
                </a:lnTo>
                <a:lnTo>
                  <a:pt x="4002" y="202"/>
                </a:lnTo>
                <a:lnTo>
                  <a:pt x="4002" y="200"/>
                </a:lnTo>
                <a:lnTo>
                  <a:pt x="4002" y="200"/>
                </a:lnTo>
                <a:lnTo>
                  <a:pt x="3998" y="196"/>
                </a:lnTo>
                <a:lnTo>
                  <a:pt x="3990" y="194"/>
                </a:lnTo>
                <a:lnTo>
                  <a:pt x="3990" y="194"/>
                </a:lnTo>
                <a:lnTo>
                  <a:pt x="3984" y="192"/>
                </a:lnTo>
                <a:lnTo>
                  <a:pt x="3980" y="190"/>
                </a:lnTo>
                <a:lnTo>
                  <a:pt x="3980" y="188"/>
                </a:lnTo>
                <a:lnTo>
                  <a:pt x="3982" y="184"/>
                </a:lnTo>
                <a:lnTo>
                  <a:pt x="3982" y="184"/>
                </a:lnTo>
                <a:lnTo>
                  <a:pt x="3988" y="186"/>
                </a:lnTo>
                <a:lnTo>
                  <a:pt x="3988" y="186"/>
                </a:lnTo>
                <a:lnTo>
                  <a:pt x="3992" y="188"/>
                </a:lnTo>
                <a:lnTo>
                  <a:pt x="3996" y="190"/>
                </a:lnTo>
                <a:lnTo>
                  <a:pt x="4006" y="190"/>
                </a:lnTo>
                <a:lnTo>
                  <a:pt x="4006" y="190"/>
                </a:lnTo>
                <a:lnTo>
                  <a:pt x="4016" y="192"/>
                </a:lnTo>
                <a:lnTo>
                  <a:pt x="4020" y="194"/>
                </a:lnTo>
                <a:lnTo>
                  <a:pt x="4022" y="196"/>
                </a:lnTo>
                <a:lnTo>
                  <a:pt x="4022" y="196"/>
                </a:lnTo>
                <a:lnTo>
                  <a:pt x="4026" y="200"/>
                </a:lnTo>
                <a:lnTo>
                  <a:pt x="4032" y="202"/>
                </a:lnTo>
                <a:lnTo>
                  <a:pt x="4032" y="202"/>
                </a:lnTo>
                <a:lnTo>
                  <a:pt x="4022" y="208"/>
                </a:lnTo>
                <a:lnTo>
                  <a:pt x="4022" y="208"/>
                </a:lnTo>
                <a:lnTo>
                  <a:pt x="4012" y="208"/>
                </a:lnTo>
                <a:lnTo>
                  <a:pt x="4006" y="210"/>
                </a:lnTo>
                <a:lnTo>
                  <a:pt x="4002" y="214"/>
                </a:lnTo>
                <a:lnTo>
                  <a:pt x="4002" y="214"/>
                </a:lnTo>
                <a:lnTo>
                  <a:pt x="3992" y="206"/>
                </a:lnTo>
                <a:lnTo>
                  <a:pt x="3992" y="206"/>
                </a:lnTo>
                <a:close/>
                <a:moveTo>
                  <a:pt x="3992" y="214"/>
                </a:moveTo>
                <a:lnTo>
                  <a:pt x="3992" y="214"/>
                </a:lnTo>
                <a:lnTo>
                  <a:pt x="3990" y="216"/>
                </a:lnTo>
                <a:lnTo>
                  <a:pt x="3990" y="216"/>
                </a:lnTo>
                <a:lnTo>
                  <a:pt x="3988" y="214"/>
                </a:lnTo>
                <a:lnTo>
                  <a:pt x="3988" y="214"/>
                </a:lnTo>
                <a:lnTo>
                  <a:pt x="3990" y="212"/>
                </a:lnTo>
                <a:lnTo>
                  <a:pt x="3990" y="212"/>
                </a:lnTo>
                <a:lnTo>
                  <a:pt x="3992" y="214"/>
                </a:lnTo>
                <a:lnTo>
                  <a:pt x="3992" y="214"/>
                </a:lnTo>
                <a:close/>
                <a:moveTo>
                  <a:pt x="3998" y="174"/>
                </a:moveTo>
                <a:lnTo>
                  <a:pt x="3998" y="174"/>
                </a:lnTo>
                <a:lnTo>
                  <a:pt x="4006" y="170"/>
                </a:lnTo>
                <a:lnTo>
                  <a:pt x="4014" y="170"/>
                </a:lnTo>
                <a:lnTo>
                  <a:pt x="4014" y="176"/>
                </a:lnTo>
                <a:lnTo>
                  <a:pt x="4014" y="176"/>
                </a:lnTo>
                <a:lnTo>
                  <a:pt x="4004" y="178"/>
                </a:lnTo>
                <a:lnTo>
                  <a:pt x="4000" y="176"/>
                </a:lnTo>
                <a:lnTo>
                  <a:pt x="3998" y="174"/>
                </a:lnTo>
                <a:lnTo>
                  <a:pt x="3998" y="174"/>
                </a:lnTo>
                <a:close/>
                <a:moveTo>
                  <a:pt x="3976" y="360"/>
                </a:moveTo>
                <a:lnTo>
                  <a:pt x="3976" y="360"/>
                </a:lnTo>
                <a:lnTo>
                  <a:pt x="3972" y="362"/>
                </a:lnTo>
                <a:lnTo>
                  <a:pt x="3972" y="362"/>
                </a:lnTo>
                <a:lnTo>
                  <a:pt x="3970" y="360"/>
                </a:lnTo>
                <a:lnTo>
                  <a:pt x="3970" y="360"/>
                </a:lnTo>
                <a:lnTo>
                  <a:pt x="3976" y="358"/>
                </a:lnTo>
                <a:lnTo>
                  <a:pt x="3976" y="358"/>
                </a:lnTo>
                <a:lnTo>
                  <a:pt x="3976" y="360"/>
                </a:lnTo>
                <a:lnTo>
                  <a:pt x="3976" y="360"/>
                </a:lnTo>
                <a:close/>
                <a:moveTo>
                  <a:pt x="3946" y="356"/>
                </a:moveTo>
                <a:lnTo>
                  <a:pt x="3946" y="356"/>
                </a:lnTo>
                <a:lnTo>
                  <a:pt x="3934" y="340"/>
                </a:lnTo>
                <a:lnTo>
                  <a:pt x="3934" y="340"/>
                </a:lnTo>
                <a:lnTo>
                  <a:pt x="3934" y="338"/>
                </a:lnTo>
                <a:lnTo>
                  <a:pt x="3936" y="336"/>
                </a:lnTo>
                <a:lnTo>
                  <a:pt x="3942" y="334"/>
                </a:lnTo>
                <a:lnTo>
                  <a:pt x="3942" y="334"/>
                </a:lnTo>
                <a:lnTo>
                  <a:pt x="3952" y="334"/>
                </a:lnTo>
                <a:lnTo>
                  <a:pt x="3956" y="332"/>
                </a:lnTo>
                <a:lnTo>
                  <a:pt x="3958" y="328"/>
                </a:lnTo>
                <a:lnTo>
                  <a:pt x="3958" y="328"/>
                </a:lnTo>
                <a:lnTo>
                  <a:pt x="3962" y="328"/>
                </a:lnTo>
                <a:lnTo>
                  <a:pt x="3968" y="330"/>
                </a:lnTo>
                <a:lnTo>
                  <a:pt x="3968" y="330"/>
                </a:lnTo>
                <a:lnTo>
                  <a:pt x="3968" y="330"/>
                </a:lnTo>
                <a:lnTo>
                  <a:pt x="3958" y="336"/>
                </a:lnTo>
                <a:lnTo>
                  <a:pt x="3958" y="336"/>
                </a:lnTo>
                <a:lnTo>
                  <a:pt x="3962" y="340"/>
                </a:lnTo>
                <a:lnTo>
                  <a:pt x="3962" y="340"/>
                </a:lnTo>
                <a:lnTo>
                  <a:pt x="3956" y="342"/>
                </a:lnTo>
                <a:lnTo>
                  <a:pt x="3956" y="342"/>
                </a:lnTo>
                <a:lnTo>
                  <a:pt x="3960" y="346"/>
                </a:lnTo>
                <a:lnTo>
                  <a:pt x="3964" y="348"/>
                </a:lnTo>
                <a:lnTo>
                  <a:pt x="3970" y="350"/>
                </a:lnTo>
                <a:lnTo>
                  <a:pt x="3974" y="352"/>
                </a:lnTo>
                <a:lnTo>
                  <a:pt x="3974" y="352"/>
                </a:lnTo>
                <a:lnTo>
                  <a:pt x="3968" y="356"/>
                </a:lnTo>
                <a:lnTo>
                  <a:pt x="3960" y="356"/>
                </a:lnTo>
                <a:lnTo>
                  <a:pt x="3946" y="356"/>
                </a:lnTo>
                <a:lnTo>
                  <a:pt x="3946" y="356"/>
                </a:lnTo>
                <a:close/>
                <a:moveTo>
                  <a:pt x="4034" y="916"/>
                </a:moveTo>
                <a:lnTo>
                  <a:pt x="4034" y="916"/>
                </a:lnTo>
                <a:lnTo>
                  <a:pt x="4012" y="918"/>
                </a:lnTo>
                <a:lnTo>
                  <a:pt x="4012" y="918"/>
                </a:lnTo>
                <a:lnTo>
                  <a:pt x="4006" y="918"/>
                </a:lnTo>
                <a:lnTo>
                  <a:pt x="4000" y="918"/>
                </a:lnTo>
                <a:lnTo>
                  <a:pt x="4000" y="918"/>
                </a:lnTo>
                <a:lnTo>
                  <a:pt x="3994" y="918"/>
                </a:lnTo>
                <a:lnTo>
                  <a:pt x="3990" y="918"/>
                </a:lnTo>
                <a:lnTo>
                  <a:pt x="3982" y="914"/>
                </a:lnTo>
                <a:lnTo>
                  <a:pt x="3982" y="914"/>
                </a:lnTo>
                <a:lnTo>
                  <a:pt x="3966" y="906"/>
                </a:lnTo>
                <a:lnTo>
                  <a:pt x="3966" y="906"/>
                </a:lnTo>
                <a:lnTo>
                  <a:pt x="3970" y="902"/>
                </a:lnTo>
                <a:lnTo>
                  <a:pt x="3972" y="902"/>
                </a:lnTo>
                <a:lnTo>
                  <a:pt x="3978" y="902"/>
                </a:lnTo>
                <a:lnTo>
                  <a:pt x="3978" y="902"/>
                </a:lnTo>
                <a:lnTo>
                  <a:pt x="4020" y="908"/>
                </a:lnTo>
                <a:lnTo>
                  <a:pt x="4020" y="908"/>
                </a:lnTo>
                <a:lnTo>
                  <a:pt x="4036" y="914"/>
                </a:lnTo>
                <a:lnTo>
                  <a:pt x="4036" y="914"/>
                </a:lnTo>
                <a:lnTo>
                  <a:pt x="4034" y="916"/>
                </a:lnTo>
                <a:lnTo>
                  <a:pt x="4034" y="916"/>
                </a:lnTo>
                <a:close/>
                <a:moveTo>
                  <a:pt x="4028" y="182"/>
                </a:moveTo>
                <a:lnTo>
                  <a:pt x="4028" y="182"/>
                </a:lnTo>
                <a:lnTo>
                  <a:pt x="4032" y="172"/>
                </a:lnTo>
                <a:lnTo>
                  <a:pt x="4032" y="172"/>
                </a:lnTo>
                <a:lnTo>
                  <a:pt x="4042" y="174"/>
                </a:lnTo>
                <a:lnTo>
                  <a:pt x="4048" y="176"/>
                </a:lnTo>
                <a:lnTo>
                  <a:pt x="4050" y="178"/>
                </a:lnTo>
                <a:lnTo>
                  <a:pt x="4050" y="182"/>
                </a:lnTo>
                <a:lnTo>
                  <a:pt x="4050" y="182"/>
                </a:lnTo>
                <a:lnTo>
                  <a:pt x="4028" y="182"/>
                </a:lnTo>
                <a:lnTo>
                  <a:pt x="4028" y="182"/>
                </a:lnTo>
                <a:close/>
                <a:moveTo>
                  <a:pt x="4064" y="88"/>
                </a:moveTo>
                <a:lnTo>
                  <a:pt x="4064" y="88"/>
                </a:lnTo>
                <a:lnTo>
                  <a:pt x="4052" y="86"/>
                </a:lnTo>
                <a:lnTo>
                  <a:pt x="4040" y="82"/>
                </a:lnTo>
                <a:lnTo>
                  <a:pt x="4040" y="82"/>
                </a:lnTo>
                <a:lnTo>
                  <a:pt x="4030" y="82"/>
                </a:lnTo>
                <a:lnTo>
                  <a:pt x="4018" y="82"/>
                </a:lnTo>
                <a:lnTo>
                  <a:pt x="4018" y="82"/>
                </a:lnTo>
                <a:lnTo>
                  <a:pt x="4008" y="84"/>
                </a:lnTo>
                <a:lnTo>
                  <a:pt x="3996" y="86"/>
                </a:lnTo>
                <a:lnTo>
                  <a:pt x="3996" y="86"/>
                </a:lnTo>
                <a:lnTo>
                  <a:pt x="3980" y="84"/>
                </a:lnTo>
                <a:lnTo>
                  <a:pt x="3964" y="80"/>
                </a:lnTo>
                <a:lnTo>
                  <a:pt x="3964" y="80"/>
                </a:lnTo>
                <a:lnTo>
                  <a:pt x="3950" y="76"/>
                </a:lnTo>
                <a:lnTo>
                  <a:pt x="3950" y="76"/>
                </a:lnTo>
                <a:lnTo>
                  <a:pt x="3960" y="74"/>
                </a:lnTo>
                <a:lnTo>
                  <a:pt x="3964" y="72"/>
                </a:lnTo>
                <a:lnTo>
                  <a:pt x="3966" y="70"/>
                </a:lnTo>
                <a:lnTo>
                  <a:pt x="3966" y="70"/>
                </a:lnTo>
                <a:lnTo>
                  <a:pt x="3970" y="68"/>
                </a:lnTo>
                <a:lnTo>
                  <a:pt x="3970" y="68"/>
                </a:lnTo>
                <a:lnTo>
                  <a:pt x="3976" y="66"/>
                </a:lnTo>
                <a:lnTo>
                  <a:pt x="3982" y="66"/>
                </a:lnTo>
                <a:lnTo>
                  <a:pt x="3994" y="68"/>
                </a:lnTo>
                <a:lnTo>
                  <a:pt x="3994" y="68"/>
                </a:lnTo>
                <a:lnTo>
                  <a:pt x="3998" y="70"/>
                </a:lnTo>
                <a:lnTo>
                  <a:pt x="4000" y="72"/>
                </a:lnTo>
                <a:lnTo>
                  <a:pt x="3998" y="76"/>
                </a:lnTo>
                <a:lnTo>
                  <a:pt x="3996" y="80"/>
                </a:lnTo>
                <a:lnTo>
                  <a:pt x="3996" y="80"/>
                </a:lnTo>
                <a:lnTo>
                  <a:pt x="4002" y="80"/>
                </a:lnTo>
                <a:lnTo>
                  <a:pt x="4002" y="80"/>
                </a:lnTo>
                <a:lnTo>
                  <a:pt x="4008" y="76"/>
                </a:lnTo>
                <a:lnTo>
                  <a:pt x="4016" y="76"/>
                </a:lnTo>
                <a:lnTo>
                  <a:pt x="4030" y="74"/>
                </a:lnTo>
                <a:lnTo>
                  <a:pt x="4030" y="74"/>
                </a:lnTo>
                <a:lnTo>
                  <a:pt x="4036" y="74"/>
                </a:lnTo>
                <a:lnTo>
                  <a:pt x="4036" y="74"/>
                </a:lnTo>
                <a:lnTo>
                  <a:pt x="4044" y="76"/>
                </a:lnTo>
                <a:lnTo>
                  <a:pt x="4054" y="78"/>
                </a:lnTo>
                <a:lnTo>
                  <a:pt x="4054" y="78"/>
                </a:lnTo>
                <a:lnTo>
                  <a:pt x="4060" y="78"/>
                </a:lnTo>
                <a:lnTo>
                  <a:pt x="4064" y="80"/>
                </a:lnTo>
                <a:lnTo>
                  <a:pt x="4064" y="84"/>
                </a:lnTo>
                <a:lnTo>
                  <a:pt x="4064" y="88"/>
                </a:lnTo>
                <a:lnTo>
                  <a:pt x="4064" y="88"/>
                </a:lnTo>
                <a:close/>
                <a:moveTo>
                  <a:pt x="4098" y="84"/>
                </a:moveTo>
                <a:lnTo>
                  <a:pt x="4098" y="84"/>
                </a:lnTo>
                <a:lnTo>
                  <a:pt x="4098" y="88"/>
                </a:lnTo>
                <a:lnTo>
                  <a:pt x="4098" y="88"/>
                </a:lnTo>
                <a:lnTo>
                  <a:pt x="4094" y="90"/>
                </a:lnTo>
                <a:lnTo>
                  <a:pt x="4094" y="90"/>
                </a:lnTo>
                <a:lnTo>
                  <a:pt x="4086" y="90"/>
                </a:lnTo>
                <a:lnTo>
                  <a:pt x="4078" y="88"/>
                </a:lnTo>
                <a:lnTo>
                  <a:pt x="4078" y="88"/>
                </a:lnTo>
                <a:lnTo>
                  <a:pt x="4078" y="88"/>
                </a:lnTo>
                <a:lnTo>
                  <a:pt x="4088" y="84"/>
                </a:lnTo>
                <a:lnTo>
                  <a:pt x="4094" y="84"/>
                </a:lnTo>
                <a:lnTo>
                  <a:pt x="4098" y="84"/>
                </a:lnTo>
                <a:lnTo>
                  <a:pt x="4098" y="84"/>
                </a:lnTo>
                <a:close/>
                <a:moveTo>
                  <a:pt x="4078" y="898"/>
                </a:moveTo>
                <a:lnTo>
                  <a:pt x="4078" y="898"/>
                </a:lnTo>
                <a:lnTo>
                  <a:pt x="4070" y="900"/>
                </a:lnTo>
                <a:lnTo>
                  <a:pt x="4070" y="900"/>
                </a:lnTo>
                <a:lnTo>
                  <a:pt x="4070" y="896"/>
                </a:lnTo>
                <a:lnTo>
                  <a:pt x="4072" y="894"/>
                </a:lnTo>
                <a:lnTo>
                  <a:pt x="4078" y="894"/>
                </a:lnTo>
                <a:lnTo>
                  <a:pt x="4088" y="896"/>
                </a:lnTo>
                <a:lnTo>
                  <a:pt x="4088" y="896"/>
                </a:lnTo>
                <a:lnTo>
                  <a:pt x="4088" y="896"/>
                </a:lnTo>
                <a:lnTo>
                  <a:pt x="4078" y="898"/>
                </a:lnTo>
                <a:lnTo>
                  <a:pt x="4078" y="898"/>
                </a:lnTo>
                <a:close/>
                <a:moveTo>
                  <a:pt x="4092" y="176"/>
                </a:moveTo>
                <a:lnTo>
                  <a:pt x="4092" y="176"/>
                </a:lnTo>
                <a:lnTo>
                  <a:pt x="4080" y="176"/>
                </a:lnTo>
                <a:lnTo>
                  <a:pt x="4080" y="176"/>
                </a:lnTo>
                <a:lnTo>
                  <a:pt x="4080" y="174"/>
                </a:lnTo>
                <a:lnTo>
                  <a:pt x="4084" y="172"/>
                </a:lnTo>
                <a:lnTo>
                  <a:pt x="4090" y="170"/>
                </a:lnTo>
                <a:lnTo>
                  <a:pt x="4090" y="170"/>
                </a:lnTo>
                <a:lnTo>
                  <a:pt x="4092" y="172"/>
                </a:lnTo>
                <a:lnTo>
                  <a:pt x="4092" y="172"/>
                </a:lnTo>
                <a:lnTo>
                  <a:pt x="4092" y="176"/>
                </a:lnTo>
                <a:lnTo>
                  <a:pt x="4092" y="176"/>
                </a:lnTo>
                <a:close/>
                <a:moveTo>
                  <a:pt x="4090" y="162"/>
                </a:moveTo>
                <a:lnTo>
                  <a:pt x="4090" y="162"/>
                </a:lnTo>
                <a:lnTo>
                  <a:pt x="4096" y="158"/>
                </a:lnTo>
                <a:lnTo>
                  <a:pt x="4100" y="156"/>
                </a:lnTo>
                <a:lnTo>
                  <a:pt x="4104" y="158"/>
                </a:lnTo>
                <a:lnTo>
                  <a:pt x="4108" y="160"/>
                </a:lnTo>
                <a:lnTo>
                  <a:pt x="4108" y="160"/>
                </a:lnTo>
                <a:lnTo>
                  <a:pt x="4100" y="164"/>
                </a:lnTo>
                <a:lnTo>
                  <a:pt x="4090" y="162"/>
                </a:lnTo>
                <a:lnTo>
                  <a:pt x="4090" y="162"/>
                </a:lnTo>
                <a:close/>
                <a:moveTo>
                  <a:pt x="4116" y="90"/>
                </a:moveTo>
                <a:lnTo>
                  <a:pt x="4116" y="90"/>
                </a:lnTo>
                <a:lnTo>
                  <a:pt x="4124" y="88"/>
                </a:lnTo>
                <a:lnTo>
                  <a:pt x="4130" y="86"/>
                </a:lnTo>
                <a:lnTo>
                  <a:pt x="4132" y="88"/>
                </a:lnTo>
                <a:lnTo>
                  <a:pt x="4136" y="92"/>
                </a:lnTo>
                <a:lnTo>
                  <a:pt x="4136" y="92"/>
                </a:lnTo>
                <a:lnTo>
                  <a:pt x="4130" y="94"/>
                </a:lnTo>
                <a:lnTo>
                  <a:pt x="4126" y="94"/>
                </a:lnTo>
                <a:lnTo>
                  <a:pt x="4122" y="94"/>
                </a:lnTo>
                <a:lnTo>
                  <a:pt x="4116" y="90"/>
                </a:lnTo>
                <a:lnTo>
                  <a:pt x="4116" y="90"/>
                </a:lnTo>
                <a:close/>
                <a:moveTo>
                  <a:pt x="4220" y="192"/>
                </a:moveTo>
                <a:lnTo>
                  <a:pt x="4220" y="192"/>
                </a:lnTo>
                <a:lnTo>
                  <a:pt x="4224" y="194"/>
                </a:lnTo>
                <a:lnTo>
                  <a:pt x="4224" y="194"/>
                </a:lnTo>
                <a:lnTo>
                  <a:pt x="4220" y="194"/>
                </a:lnTo>
                <a:lnTo>
                  <a:pt x="4220" y="194"/>
                </a:lnTo>
                <a:lnTo>
                  <a:pt x="4218" y="194"/>
                </a:lnTo>
                <a:lnTo>
                  <a:pt x="4218" y="194"/>
                </a:lnTo>
                <a:lnTo>
                  <a:pt x="4220" y="192"/>
                </a:lnTo>
                <a:lnTo>
                  <a:pt x="4220" y="192"/>
                </a:lnTo>
                <a:close/>
                <a:moveTo>
                  <a:pt x="4198" y="154"/>
                </a:moveTo>
                <a:lnTo>
                  <a:pt x="4198" y="154"/>
                </a:lnTo>
                <a:lnTo>
                  <a:pt x="4200" y="156"/>
                </a:lnTo>
                <a:lnTo>
                  <a:pt x="4200" y="156"/>
                </a:lnTo>
                <a:lnTo>
                  <a:pt x="4196" y="156"/>
                </a:lnTo>
                <a:lnTo>
                  <a:pt x="4196" y="156"/>
                </a:lnTo>
                <a:lnTo>
                  <a:pt x="4194" y="154"/>
                </a:lnTo>
                <a:lnTo>
                  <a:pt x="4194" y="154"/>
                </a:lnTo>
                <a:lnTo>
                  <a:pt x="4198" y="154"/>
                </a:lnTo>
                <a:lnTo>
                  <a:pt x="4198" y="154"/>
                </a:lnTo>
                <a:close/>
                <a:moveTo>
                  <a:pt x="4190" y="180"/>
                </a:moveTo>
                <a:lnTo>
                  <a:pt x="4190" y="180"/>
                </a:lnTo>
                <a:lnTo>
                  <a:pt x="4194" y="180"/>
                </a:lnTo>
                <a:lnTo>
                  <a:pt x="4202" y="182"/>
                </a:lnTo>
                <a:lnTo>
                  <a:pt x="4202" y="182"/>
                </a:lnTo>
                <a:lnTo>
                  <a:pt x="4196" y="186"/>
                </a:lnTo>
                <a:lnTo>
                  <a:pt x="4190" y="188"/>
                </a:lnTo>
                <a:lnTo>
                  <a:pt x="4174" y="190"/>
                </a:lnTo>
                <a:lnTo>
                  <a:pt x="4174" y="190"/>
                </a:lnTo>
                <a:lnTo>
                  <a:pt x="4170" y="182"/>
                </a:lnTo>
                <a:lnTo>
                  <a:pt x="4170" y="182"/>
                </a:lnTo>
                <a:lnTo>
                  <a:pt x="4180" y="182"/>
                </a:lnTo>
                <a:lnTo>
                  <a:pt x="4190" y="180"/>
                </a:lnTo>
                <a:lnTo>
                  <a:pt x="4190" y="180"/>
                </a:lnTo>
                <a:close/>
                <a:moveTo>
                  <a:pt x="4158" y="186"/>
                </a:moveTo>
                <a:lnTo>
                  <a:pt x="4158" y="186"/>
                </a:lnTo>
                <a:lnTo>
                  <a:pt x="4156" y="180"/>
                </a:lnTo>
                <a:lnTo>
                  <a:pt x="4156" y="178"/>
                </a:lnTo>
                <a:lnTo>
                  <a:pt x="4156" y="176"/>
                </a:lnTo>
                <a:lnTo>
                  <a:pt x="4156" y="176"/>
                </a:lnTo>
                <a:lnTo>
                  <a:pt x="4160" y="174"/>
                </a:lnTo>
                <a:lnTo>
                  <a:pt x="4164" y="174"/>
                </a:lnTo>
                <a:lnTo>
                  <a:pt x="4172" y="176"/>
                </a:lnTo>
                <a:lnTo>
                  <a:pt x="4172" y="176"/>
                </a:lnTo>
                <a:lnTo>
                  <a:pt x="4170" y="182"/>
                </a:lnTo>
                <a:lnTo>
                  <a:pt x="4170" y="182"/>
                </a:lnTo>
                <a:lnTo>
                  <a:pt x="4164" y="184"/>
                </a:lnTo>
                <a:lnTo>
                  <a:pt x="4164" y="184"/>
                </a:lnTo>
                <a:lnTo>
                  <a:pt x="4158" y="186"/>
                </a:lnTo>
                <a:lnTo>
                  <a:pt x="4158" y="186"/>
                </a:lnTo>
                <a:close/>
                <a:moveTo>
                  <a:pt x="4230" y="230"/>
                </a:moveTo>
                <a:lnTo>
                  <a:pt x="4230" y="230"/>
                </a:lnTo>
                <a:lnTo>
                  <a:pt x="4224" y="234"/>
                </a:lnTo>
                <a:lnTo>
                  <a:pt x="4216" y="236"/>
                </a:lnTo>
                <a:lnTo>
                  <a:pt x="4216" y="236"/>
                </a:lnTo>
                <a:lnTo>
                  <a:pt x="4204" y="238"/>
                </a:lnTo>
                <a:lnTo>
                  <a:pt x="4204" y="238"/>
                </a:lnTo>
                <a:lnTo>
                  <a:pt x="4196" y="234"/>
                </a:lnTo>
                <a:lnTo>
                  <a:pt x="4186" y="232"/>
                </a:lnTo>
                <a:lnTo>
                  <a:pt x="4186" y="232"/>
                </a:lnTo>
                <a:lnTo>
                  <a:pt x="4180" y="232"/>
                </a:lnTo>
                <a:lnTo>
                  <a:pt x="4176" y="230"/>
                </a:lnTo>
                <a:lnTo>
                  <a:pt x="4170" y="224"/>
                </a:lnTo>
                <a:lnTo>
                  <a:pt x="4170" y="224"/>
                </a:lnTo>
                <a:lnTo>
                  <a:pt x="4170" y="220"/>
                </a:lnTo>
                <a:lnTo>
                  <a:pt x="4172" y="216"/>
                </a:lnTo>
                <a:lnTo>
                  <a:pt x="4172" y="216"/>
                </a:lnTo>
                <a:lnTo>
                  <a:pt x="4182" y="208"/>
                </a:lnTo>
                <a:lnTo>
                  <a:pt x="4182" y="208"/>
                </a:lnTo>
                <a:lnTo>
                  <a:pt x="4184" y="206"/>
                </a:lnTo>
                <a:lnTo>
                  <a:pt x="4184" y="206"/>
                </a:lnTo>
                <a:lnTo>
                  <a:pt x="4202" y="210"/>
                </a:lnTo>
                <a:lnTo>
                  <a:pt x="4220" y="214"/>
                </a:lnTo>
                <a:lnTo>
                  <a:pt x="4220" y="214"/>
                </a:lnTo>
                <a:lnTo>
                  <a:pt x="4224" y="218"/>
                </a:lnTo>
                <a:lnTo>
                  <a:pt x="4226" y="220"/>
                </a:lnTo>
                <a:lnTo>
                  <a:pt x="4226" y="220"/>
                </a:lnTo>
                <a:lnTo>
                  <a:pt x="4230" y="226"/>
                </a:lnTo>
                <a:lnTo>
                  <a:pt x="4232" y="228"/>
                </a:lnTo>
                <a:lnTo>
                  <a:pt x="4230" y="230"/>
                </a:lnTo>
                <a:lnTo>
                  <a:pt x="4230" y="230"/>
                </a:lnTo>
                <a:close/>
                <a:moveTo>
                  <a:pt x="4246" y="202"/>
                </a:moveTo>
                <a:lnTo>
                  <a:pt x="4246" y="202"/>
                </a:lnTo>
                <a:lnTo>
                  <a:pt x="4236" y="196"/>
                </a:lnTo>
                <a:lnTo>
                  <a:pt x="4236" y="196"/>
                </a:lnTo>
                <a:lnTo>
                  <a:pt x="4242" y="194"/>
                </a:lnTo>
                <a:lnTo>
                  <a:pt x="4244" y="196"/>
                </a:lnTo>
                <a:lnTo>
                  <a:pt x="4250" y="200"/>
                </a:lnTo>
                <a:lnTo>
                  <a:pt x="4250" y="200"/>
                </a:lnTo>
                <a:lnTo>
                  <a:pt x="4246" y="202"/>
                </a:lnTo>
                <a:lnTo>
                  <a:pt x="4246" y="202"/>
                </a:lnTo>
                <a:close/>
                <a:moveTo>
                  <a:pt x="4282" y="188"/>
                </a:moveTo>
                <a:lnTo>
                  <a:pt x="4282" y="188"/>
                </a:lnTo>
                <a:lnTo>
                  <a:pt x="4280" y="188"/>
                </a:lnTo>
                <a:lnTo>
                  <a:pt x="4280" y="188"/>
                </a:lnTo>
                <a:lnTo>
                  <a:pt x="4278" y="188"/>
                </a:lnTo>
                <a:lnTo>
                  <a:pt x="4278" y="188"/>
                </a:lnTo>
                <a:lnTo>
                  <a:pt x="4280" y="186"/>
                </a:lnTo>
                <a:lnTo>
                  <a:pt x="4280" y="186"/>
                </a:lnTo>
                <a:lnTo>
                  <a:pt x="4282" y="188"/>
                </a:lnTo>
                <a:lnTo>
                  <a:pt x="4282" y="188"/>
                </a:lnTo>
                <a:close/>
                <a:moveTo>
                  <a:pt x="4360" y="322"/>
                </a:moveTo>
                <a:lnTo>
                  <a:pt x="4360" y="322"/>
                </a:lnTo>
                <a:lnTo>
                  <a:pt x="4350" y="322"/>
                </a:lnTo>
                <a:lnTo>
                  <a:pt x="4350" y="322"/>
                </a:lnTo>
                <a:lnTo>
                  <a:pt x="4352" y="316"/>
                </a:lnTo>
                <a:lnTo>
                  <a:pt x="4352" y="316"/>
                </a:lnTo>
                <a:lnTo>
                  <a:pt x="4360" y="322"/>
                </a:lnTo>
                <a:lnTo>
                  <a:pt x="4360" y="322"/>
                </a:lnTo>
                <a:close/>
                <a:moveTo>
                  <a:pt x="4426" y="194"/>
                </a:moveTo>
                <a:lnTo>
                  <a:pt x="4426" y="194"/>
                </a:lnTo>
                <a:lnTo>
                  <a:pt x="4414" y="192"/>
                </a:lnTo>
                <a:lnTo>
                  <a:pt x="4414" y="192"/>
                </a:lnTo>
                <a:lnTo>
                  <a:pt x="4420" y="190"/>
                </a:lnTo>
                <a:lnTo>
                  <a:pt x="4426" y="194"/>
                </a:lnTo>
                <a:lnTo>
                  <a:pt x="4426" y="194"/>
                </a:lnTo>
                <a:close/>
                <a:moveTo>
                  <a:pt x="4300" y="194"/>
                </a:moveTo>
                <a:lnTo>
                  <a:pt x="4300" y="194"/>
                </a:lnTo>
                <a:lnTo>
                  <a:pt x="4296" y="192"/>
                </a:lnTo>
                <a:lnTo>
                  <a:pt x="4296" y="192"/>
                </a:lnTo>
                <a:lnTo>
                  <a:pt x="4298" y="190"/>
                </a:lnTo>
                <a:lnTo>
                  <a:pt x="4298" y="190"/>
                </a:lnTo>
                <a:lnTo>
                  <a:pt x="4304" y="192"/>
                </a:lnTo>
                <a:lnTo>
                  <a:pt x="4304" y="192"/>
                </a:lnTo>
                <a:lnTo>
                  <a:pt x="4300" y="194"/>
                </a:lnTo>
                <a:lnTo>
                  <a:pt x="4300" y="194"/>
                </a:lnTo>
                <a:close/>
                <a:moveTo>
                  <a:pt x="4314" y="194"/>
                </a:moveTo>
                <a:lnTo>
                  <a:pt x="4314" y="194"/>
                </a:lnTo>
                <a:lnTo>
                  <a:pt x="4322" y="192"/>
                </a:lnTo>
                <a:lnTo>
                  <a:pt x="4322" y="192"/>
                </a:lnTo>
                <a:lnTo>
                  <a:pt x="4318" y="196"/>
                </a:lnTo>
                <a:lnTo>
                  <a:pt x="4314" y="194"/>
                </a:lnTo>
                <a:lnTo>
                  <a:pt x="4314" y="194"/>
                </a:lnTo>
                <a:close/>
                <a:moveTo>
                  <a:pt x="4336" y="296"/>
                </a:moveTo>
                <a:lnTo>
                  <a:pt x="4336" y="296"/>
                </a:lnTo>
                <a:lnTo>
                  <a:pt x="4334" y="292"/>
                </a:lnTo>
                <a:lnTo>
                  <a:pt x="4332" y="290"/>
                </a:lnTo>
                <a:lnTo>
                  <a:pt x="4324" y="286"/>
                </a:lnTo>
                <a:lnTo>
                  <a:pt x="4324" y="286"/>
                </a:lnTo>
                <a:lnTo>
                  <a:pt x="4318" y="276"/>
                </a:lnTo>
                <a:lnTo>
                  <a:pt x="4318" y="276"/>
                </a:lnTo>
                <a:lnTo>
                  <a:pt x="4326" y="272"/>
                </a:lnTo>
                <a:lnTo>
                  <a:pt x="4332" y="270"/>
                </a:lnTo>
                <a:lnTo>
                  <a:pt x="4336" y="270"/>
                </a:lnTo>
                <a:lnTo>
                  <a:pt x="4336" y="270"/>
                </a:lnTo>
                <a:lnTo>
                  <a:pt x="4342" y="270"/>
                </a:lnTo>
                <a:lnTo>
                  <a:pt x="4348" y="268"/>
                </a:lnTo>
                <a:lnTo>
                  <a:pt x="4348" y="268"/>
                </a:lnTo>
                <a:lnTo>
                  <a:pt x="4354" y="266"/>
                </a:lnTo>
                <a:lnTo>
                  <a:pt x="4362" y="264"/>
                </a:lnTo>
                <a:lnTo>
                  <a:pt x="4370" y="266"/>
                </a:lnTo>
                <a:lnTo>
                  <a:pt x="4376" y="268"/>
                </a:lnTo>
                <a:lnTo>
                  <a:pt x="4376" y="268"/>
                </a:lnTo>
                <a:lnTo>
                  <a:pt x="4382" y="272"/>
                </a:lnTo>
                <a:lnTo>
                  <a:pt x="4382" y="272"/>
                </a:lnTo>
                <a:lnTo>
                  <a:pt x="4394" y="270"/>
                </a:lnTo>
                <a:lnTo>
                  <a:pt x="4402" y="270"/>
                </a:lnTo>
                <a:lnTo>
                  <a:pt x="4406" y="272"/>
                </a:lnTo>
                <a:lnTo>
                  <a:pt x="4406" y="272"/>
                </a:lnTo>
                <a:lnTo>
                  <a:pt x="4420" y="268"/>
                </a:lnTo>
                <a:lnTo>
                  <a:pt x="4420" y="268"/>
                </a:lnTo>
                <a:lnTo>
                  <a:pt x="4426" y="270"/>
                </a:lnTo>
                <a:lnTo>
                  <a:pt x="4426" y="270"/>
                </a:lnTo>
                <a:lnTo>
                  <a:pt x="4448" y="280"/>
                </a:lnTo>
                <a:lnTo>
                  <a:pt x="4448" y="280"/>
                </a:lnTo>
                <a:lnTo>
                  <a:pt x="4446" y="290"/>
                </a:lnTo>
                <a:lnTo>
                  <a:pt x="4442" y="294"/>
                </a:lnTo>
                <a:lnTo>
                  <a:pt x="4436" y="298"/>
                </a:lnTo>
                <a:lnTo>
                  <a:pt x="4436" y="298"/>
                </a:lnTo>
                <a:lnTo>
                  <a:pt x="4420" y="294"/>
                </a:lnTo>
                <a:lnTo>
                  <a:pt x="4414" y="290"/>
                </a:lnTo>
                <a:lnTo>
                  <a:pt x="4414" y="288"/>
                </a:lnTo>
                <a:lnTo>
                  <a:pt x="4414" y="284"/>
                </a:lnTo>
                <a:lnTo>
                  <a:pt x="4414" y="284"/>
                </a:lnTo>
                <a:lnTo>
                  <a:pt x="4406" y="282"/>
                </a:lnTo>
                <a:lnTo>
                  <a:pt x="4406" y="282"/>
                </a:lnTo>
                <a:lnTo>
                  <a:pt x="4400" y="280"/>
                </a:lnTo>
                <a:lnTo>
                  <a:pt x="4396" y="284"/>
                </a:lnTo>
                <a:lnTo>
                  <a:pt x="4396" y="284"/>
                </a:lnTo>
                <a:lnTo>
                  <a:pt x="4390" y="286"/>
                </a:lnTo>
                <a:lnTo>
                  <a:pt x="4382" y="286"/>
                </a:lnTo>
                <a:lnTo>
                  <a:pt x="4382" y="286"/>
                </a:lnTo>
                <a:lnTo>
                  <a:pt x="4378" y="284"/>
                </a:lnTo>
                <a:lnTo>
                  <a:pt x="4376" y="284"/>
                </a:lnTo>
                <a:lnTo>
                  <a:pt x="4378" y="278"/>
                </a:lnTo>
                <a:lnTo>
                  <a:pt x="4378" y="278"/>
                </a:lnTo>
                <a:lnTo>
                  <a:pt x="4378" y="276"/>
                </a:lnTo>
                <a:lnTo>
                  <a:pt x="4378" y="276"/>
                </a:lnTo>
                <a:lnTo>
                  <a:pt x="4368" y="278"/>
                </a:lnTo>
                <a:lnTo>
                  <a:pt x="4366" y="282"/>
                </a:lnTo>
                <a:lnTo>
                  <a:pt x="4364" y="284"/>
                </a:lnTo>
                <a:lnTo>
                  <a:pt x="4364" y="284"/>
                </a:lnTo>
                <a:lnTo>
                  <a:pt x="4360" y="290"/>
                </a:lnTo>
                <a:lnTo>
                  <a:pt x="4354" y="294"/>
                </a:lnTo>
                <a:lnTo>
                  <a:pt x="4346" y="296"/>
                </a:lnTo>
                <a:lnTo>
                  <a:pt x="4336" y="296"/>
                </a:lnTo>
                <a:lnTo>
                  <a:pt x="4336" y="296"/>
                </a:lnTo>
                <a:close/>
                <a:moveTo>
                  <a:pt x="4396" y="854"/>
                </a:moveTo>
                <a:lnTo>
                  <a:pt x="4396" y="854"/>
                </a:lnTo>
                <a:lnTo>
                  <a:pt x="4392" y="854"/>
                </a:lnTo>
                <a:lnTo>
                  <a:pt x="4390" y="854"/>
                </a:lnTo>
                <a:lnTo>
                  <a:pt x="4384" y="846"/>
                </a:lnTo>
                <a:lnTo>
                  <a:pt x="4384" y="846"/>
                </a:lnTo>
                <a:lnTo>
                  <a:pt x="4388" y="844"/>
                </a:lnTo>
                <a:lnTo>
                  <a:pt x="4394" y="844"/>
                </a:lnTo>
                <a:lnTo>
                  <a:pt x="4404" y="846"/>
                </a:lnTo>
                <a:lnTo>
                  <a:pt x="4404" y="846"/>
                </a:lnTo>
                <a:lnTo>
                  <a:pt x="4402" y="852"/>
                </a:lnTo>
                <a:lnTo>
                  <a:pt x="4400" y="854"/>
                </a:lnTo>
                <a:lnTo>
                  <a:pt x="4396" y="854"/>
                </a:lnTo>
                <a:lnTo>
                  <a:pt x="4396" y="854"/>
                </a:lnTo>
                <a:close/>
                <a:moveTo>
                  <a:pt x="4424" y="854"/>
                </a:moveTo>
                <a:lnTo>
                  <a:pt x="4424" y="854"/>
                </a:lnTo>
                <a:lnTo>
                  <a:pt x="4422" y="856"/>
                </a:lnTo>
                <a:lnTo>
                  <a:pt x="4418" y="856"/>
                </a:lnTo>
                <a:lnTo>
                  <a:pt x="4414" y="852"/>
                </a:lnTo>
                <a:lnTo>
                  <a:pt x="4414" y="852"/>
                </a:lnTo>
                <a:lnTo>
                  <a:pt x="4414" y="852"/>
                </a:lnTo>
                <a:lnTo>
                  <a:pt x="4424" y="852"/>
                </a:lnTo>
                <a:lnTo>
                  <a:pt x="4424" y="852"/>
                </a:lnTo>
                <a:lnTo>
                  <a:pt x="4424" y="854"/>
                </a:lnTo>
                <a:lnTo>
                  <a:pt x="4424" y="854"/>
                </a:lnTo>
                <a:close/>
              </a:path>
            </a:pathLst>
          </a:custGeom>
          <a:gradFill>
            <a:gsLst>
              <a:gs pos="100000">
                <a:schemeClr val="accent1">
                  <a:alpha val="79000"/>
                </a:schemeClr>
              </a:gs>
              <a:gs pos="0">
                <a:schemeClr val="accent2">
                  <a:alpha val="89000"/>
                </a:schemeClr>
              </a:gs>
            </a:gsLst>
            <a:lin ang="162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5" name="Rectangle 4"/>
          <p:cNvSpPr/>
          <p:nvPr>
            <p:custDataLst>
              <p:tags r:id="rId1"/>
            </p:custDataLst>
          </p:nvPr>
        </p:nvSpPr>
        <p:spPr>
          <a:xfrm>
            <a:off x="406318" y="890857"/>
            <a:ext cx="9271000"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spc="-150" dirty="0">
                <a:solidFill>
                  <a:schemeClr val="tx1">
                    <a:lumMod val="85000"/>
                    <a:lumOff val="15000"/>
                  </a:schemeClr>
                </a:solidFill>
                <a:ea typeface="Source Sans Pro" panose="020B0503030403020204" pitchFamily="34" charset="0"/>
                <a:cs typeface="Open Sans Light" panose="020B0306030504020204" pitchFamily="34" charset="0"/>
              </a:rPr>
              <a:t>Ever Featured </a:t>
            </a:r>
            <a:r>
              <a:rPr lang="en-US" sz="3200" b="1" spc="-150" dirty="0">
                <a:solidFill>
                  <a:schemeClr val="tx1">
                    <a:lumMod val="85000"/>
                    <a:lumOff val="15000"/>
                  </a:schemeClr>
                </a:solidFill>
                <a:ea typeface="Source Sans Pro" panose="020B0503030403020204" pitchFamily="34" charset="0"/>
                <a:cs typeface="Open Sans Light" panose="020B0306030504020204" pitchFamily="34" charset="0"/>
              </a:rPr>
              <a:t>List</a:t>
            </a:r>
          </a:p>
        </p:txBody>
      </p:sp>
      <p:sp>
        <p:nvSpPr>
          <p:cNvPr id="6" name="Rectangle 5"/>
          <p:cNvSpPr/>
          <p:nvPr>
            <p:custDataLst>
              <p:tags r:id="rId2"/>
            </p:custDataLst>
          </p:nvPr>
        </p:nvSpPr>
        <p:spPr>
          <a:xfrm>
            <a:off x="465988" y="1404480"/>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lumMod val="85000"/>
                    <a:lumOff val="15000"/>
                  </a:schemeClr>
                </a:solidFill>
                <a:ea typeface="Open Sans" panose="020B0606030504020204" pitchFamily="34" charset="0"/>
                <a:cs typeface="Open Sans" panose="020B0606030504020204" pitchFamily="34" charset="0"/>
              </a:rPr>
              <a:t>Put Your Great Subtitle Here</a:t>
            </a:r>
          </a:p>
        </p:txBody>
      </p:sp>
      <p:sp>
        <p:nvSpPr>
          <p:cNvPr id="11" name="Rectangle 10"/>
          <p:cNvSpPr/>
          <p:nvPr/>
        </p:nvSpPr>
        <p:spPr>
          <a:xfrm>
            <a:off x="1384300" y="3304672"/>
            <a:ext cx="3833597" cy="894732"/>
          </a:xfrm>
          <a:prstGeom prst="rect">
            <a:avLst/>
          </a:prstGeom>
        </p:spPr>
        <p:txBody>
          <a:bodyPr wrap="square">
            <a:spAutoFit/>
          </a:bodyPr>
          <a:lstStyle/>
          <a:p>
            <a:pPr algn="just">
              <a:lnSpc>
                <a:spcPct val="150000"/>
              </a:lnSpc>
              <a:buClr>
                <a:srgbClr val="E24848"/>
              </a:buClr>
              <a:defRPr/>
            </a:pPr>
            <a:r>
              <a:rPr lang="en-US" sz="1200" noProof="1">
                <a:solidFill>
                  <a:schemeClr val="tx1">
                    <a:lumMod val="65000"/>
                    <a:lumOff val="35000"/>
                  </a:schemeClr>
                </a:solidFill>
                <a:ea typeface="Roboto Light" panose="02000000000000000000" pitchFamily="2" charset="0"/>
                <a:cs typeface="Arial" charset="0"/>
              </a:rPr>
              <a:t>Nulla facilisi nam auctor metus vitae quam gravida, ac vehicula elit mollis. Nunc elementum fringilla nisl, a ornare arcu condimentum a</a:t>
            </a:r>
          </a:p>
        </p:txBody>
      </p:sp>
      <p:sp>
        <p:nvSpPr>
          <p:cNvPr id="12" name="Rectangle 11"/>
          <p:cNvSpPr/>
          <p:nvPr/>
        </p:nvSpPr>
        <p:spPr>
          <a:xfrm>
            <a:off x="1843144" y="2422633"/>
            <a:ext cx="2685123" cy="751530"/>
          </a:xfrm>
          <a:prstGeom prst="rect">
            <a:avLst/>
          </a:prstGeom>
        </p:spPr>
        <p:txBody>
          <a:bodyPr vert="horz" wrap="square" lIns="91416" tIns="45708" rIns="91416" bIns="45708" rtlCol="0" anchor="ctr">
            <a:noAutofit/>
          </a:bodyPr>
          <a:lstStyle/>
          <a:p>
            <a:pPr algn="ctr">
              <a:lnSpc>
                <a:spcPct val="90000"/>
              </a:lnSpc>
              <a:spcBef>
                <a:spcPct val="0"/>
              </a:spcBef>
            </a:pPr>
            <a:r>
              <a:rPr lang="en-US" sz="2000" b="1" spc="-150" noProof="1">
                <a:solidFill>
                  <a:schemeClr val="bg1"/>
                </a:solidFill>
                <a:effectLst>
                  <a:outerShdw blurRad="38100" dist="38100" dir="2700000" algn="tl">
                    <a:srgbClr val="000000">
                      <a:alpha val="43137"/>
                    </a:srgbClr>
                  </a:outerShdw>
                </a:effectLst>
                <a:ea typeface="Roboto" panose="02000000000000000000" pitchFamily="2" charset="0"/>
                <a:cs typeface="Times New Roman" panose="02020603050405020304" pitchFamily="18" charset="0"/>
              </a:rPr>
              <a:t>Web Concept</a:t>
            </a:r>
          </a:p>
        </p:txBody>
      </p:sp>
      <p:sp>
        <p:nvSpPr>
          <p:cNvPr id="13" name="Rectangle 12"/>
          <p:cNvSpPr/>
          <p:nvPr/>
        </p:nvSpPr>
        <p:spPr>
          <a:xfrm>
            <a:off x="6862986" y="3304672"/>
            <a:ext cx="3833597" cy="894732"/>
          </a:xfrm>
          <a:prstGeom prst="rect">
            <a:avLst/>
          </a:prstGeom>
        </p:spPr>
        <p:txBody>
          <a:bodyPr wrap="square">
            <a:spAutoFit/>
          </a:bodyPr>
          <a:lstStyle/>
          <a:p>
            <a:pPr algn="just">
              <a:lnSpc>
                <a:spcPct val="150000"/>
              </a:lnSpc>
              <a:buClr>
                <a:srgbClr val="E24848"/>
              </a:buClr>
              <a:defRPr/>
            </a:pPr>
            <a:r>
              <a:rPr lang="en-US" sz="1200" noProof="1">
                <a:solidFill>
                  <a:schemeClr val="tx1">
                    <a:lumMod val="65000"/>
                    <a:lumOff val="35000"/>
                  </a:schemeClr>
                </a:solidFill>
                <a:ea typeface="Roboto Light" panose="02000000000000000000" pitchFamily="2" charset="0"/>
                <a:cs typeface="Arial" charset="0"/>
              </a:rPr>
              <a:t>Nulla facilisi nam auctor metus vitae quam gravida, ac vehicula elit mollis. Nunc elementum fringilla nisl, a ornare arcu condimentum a</a:t>
            </a:r>
          </a:p>
        </p:txBody>
      </p:sp>
      <p:sp>
        <p:nvSpPr>
          <p:cNvPr id="14" name="Rectangle 13"/>
          <p:cNvSpPr/>
          <p:nvPr/>
        </p:nvSpPr>
        <p:spPr>
          <a:xfrm>
            <a:off x="7288895" y="2422633"/>
            <a:ext cx="2685123" cy="751530"/>
          </a:xfrm>
          <a:prstGeom prst="rect">
            <a:avLst/>
          </a:prstGeom>
        </p:spPr>
        <p:txBody>
          <a:bodyPr vert="horz" wrap="square" lIns="91416" tIns="45708" rIns="91416" bIns="45708" rtlCol="0" anchor="ctr">
            <a:noAutofit/>
          </a:bodyPr>
          <a:lstStyle/>
          <a:p>
            <a:pPr algn="ctr">
              <a:lnSpc>
                <a:spcPct val="90000"/>
              </a:lnSpc>
              <a:spcBef>
                <a:spcPct val="0"/>
              </a:spcBef>
            </a:pPr>
            <a:r>
              <a:rPr lang="en-US" sz="2000" b="1" spc="-150" noProof="1">
                <a:solidFill>
                  <a:schemeClr val="bg1"/>
                </a:solidFill>
                <a:ea typeface="Roboto" panose="02000000000000000000" pitchFamily="2" charset="0"/>
                <a:cs typeface="Times New Roman" panose="02020603050405020304" pitchFamily="18" charset="0"/>
              </a:rPr>
              <a:t>Photography</a:t>
            </a:r>
          </a:p>
        </p:txBody>
      </p:sp>
      <p:sp>
        <p:nvSpPr>
          <p:cNvPr id="17" name="Rectangle 16"/>
          <p:cNvSpPr/>
          <p:nvPr/>
        </p:nvSpPr>
        <p:spPr>
          <a:xfrm>
            <a:off x="1384300" y="5130911"/>
            <a:ext cx="3833597" cy="894732"/>
          </a:xfrm>
          <a:prstGeom prst="rect">
            <a:avLst/>
          </a:prstGeom>
        </p:spPr>
        <p:txBody>
          <a:bodyPr wrap="square">
            <a:spAutoFit/>
          </a:bodyPr>
          <a:lstStyle/>
          <a:p>
            <a:pPr algn="just">
              <a:lnSpc>
                <a:spcPct val="150000"/>
              </a:lnSpc>
              <a:buClr>
                <a:srgbClr val="E24848"/>
              </a:buClr>
              <a:defRPr/>
            </a:pPr>
            <a:r>
              <a:rPr lang="en-US" sz="1200" noProof="1">
                <a:solidFill>
                  <a:schemeClr val="tx1">
                    <a:lumMod val="65000"/>
                    <a:lumOff val="35000"/>
                  </a:schemeClr>
                </a:solidFill>
                <a:ea typeface="Roboto Light" panose="02000000000000000000" pitchFamily="2" charset="0"/>
                <a:cs typeface="Arial" charset="0"/>
              </a:rPr>
              <a:t>Nulla facilisi nam auctor metus vitae quam gravida, ac vehicula elit mollis. Nunc elementum fringilla nisl, a ornare arcu condimentum a</a:t>
            </a:r>
          </a:p>
        </p:txBody>
      </p:sp>
      <p:sp>
        <p:nvSpPr>
          <p:cNvPr id="18" name="Rectangle 17"/>
          <p:cNvSpPr/>
          <p:nvPr/>
        </p:nvSpPr>
        <p:spPr>
          <a:xfrm>
            <a:off x="2364210" y="4255843"/>
            <a:ext cx="2685123" cy="751530"/>
          </a:xfrm>
          <a:prstGeom prst="rect">
            <a:avLst/>
          </a:prstGeom>
        </p:spPr>
        <p:txBody>
          <a:bodyPr vert="horz" wrap="square" lIns="91416" tIns="45708" rIns="91416" bIns="45708" rtlCol="0" anchor="ctr">
            <a:noAutofit/>
          </a:bodyPr>
          <a:lstStyle/>
          <a:p>
            <a:pPr>
              <a:lnSpc>
                <a:spcPct val="90000"/>
              </a:lnSpc>
              <a:spcBef>
                <a:spcPct val="0"/>
              </a:spcBef>
            </a:pPr>
            <a:r>
              <a:rPr lang="en-US" sz="2000" b="1" spc="-150" noProof="1">
                <a:solidFill>
                  <a:schemeClr val="bg1"/>
                </a:solidFill>
                <a:ea typeface="Roboto" panose="02000000000000000000" pitchFamily="2" charset="0"/>
                <a:cs typeface="Times New Roman" panose="02020603050405020304" pitchFamily="18" charset="0"/>
              </a:rPr>
              <a:t>Advertising</a:t>
            </a:r>
          </a:p>
        </p:txBody>
      </p:sp>
      <p:sp>
        <p:nvSpPr>
          <p:cNvPr id="19" name="Rectangle 18"/>
          <p:cNvSpPr/>
          <p:nvPr/>
        </p:nvSpPr>
        <p:spPr>
          <a:xfrm>
            <a:off x="6862986" y="5130911"/>
            <a:ext cx="3833597" cy="894732"/>
          </a:xfrm>
          <a:prstGeom prst="rect">
            <a:avLst/>
          </a:prstGeom>
        </p:spPr>
        <p:txBody>
          <a:bodyPr wrap="square">
            <a:spAutoFit/>
          </a:bodyPr>
          <a:lstStyle/>
          <a:p>
            <a:pPr algn="just">
              <a:lnSpc>
                <a:spcPct val="150000"/>
              </a:lnSpc>
              <a:buClr>
                <a:srgbClr val="E24848"/>
              </a:buClr>
              <a:defRPr/>
            </a:pPr>
            <a:r>
              <a:rPr lang="en-US" sz="1200" noProof="1">
                <a:solidFill>
                  <a:schemeClr val="tx1">
                    <a:lumMod val="65000"/>
                    <a:lumOff val="35000"/>
                  </a:schemeClr>
                </a:solidFill>
                <a:ea typeface="Roboto Light" panose="02000000000000000000" pitchFamily="2" charset="0"/>
                <a:cs typeface="Arial" charset="0"/>
              </a:rPr>
              <a:t>Nulla facilisi nam auctor metus vitae quam gravida, ac vehicula elit mollis. Nunc elementum fringilla nisl, a ornare arcu condimentum a</a:t>
            </a:r>
          </a:p>
        </p:txBody>
      </p:sp>
      <p:sp>
        <p:nvSpPr>
          <p:cNvPr id="20" name="Rectangle 19"/>
          <p:cNvSpPr/>
          <p:nvPr/>
        </p:nvSpPr>
        <p:spPr>
          <a:xfrm>
            <a:off x="7842896" y="4255843"/>
            <a:ext cx="2685123" cy="751530"/>
          </a:xfrm>
          <a:prstGeom prst="rect">
            <a:avLst/>
          </a:prstGeom>
        </p:spPr>
        <p:txBody>
          <a:bodyPr vert="horz" wrap="square" lIns="91416" tIns="45708" rIns="91416" bIns="45708" rtlCol="0" anchor="ctr">
            <a:noAutofit/>
          </a:bodyPr>
          <a:lstStyle/>
          <a:p>
            <a:pPr>
              <a:lnSpc>
                <a:spcPct val="90000"/>
              </a:lnSpc>
              <a:spcBef>
                <a:spcPct val="0"/>
              </a:spcBef>
            </a:pPr>
            <a:r>
              <a:rPr lang="en-US" sz="2000" b="1" spc="-150" noProof="1">
                <a:solidFill>
                  <a:schemeClr val="bg1"/>
                </a:solidFill>
                <a:ea typeface="Roboto" panose="02000000000000000000" pitchFamily="2" charset="0"/>
                <a:cs typeface="Times New Roman" panose="02020603050405020304" pitchFamily="18" charset="0"/>
              </a:rPr>
              <a:t>Ecommerce</a:t>
            </a:r>
          </a:p>
        </p:txBody>
      </p:sp>
    </p:spTree>
    <p:extLst>
      <p:ext uri="{BB962C8B-B14F-4D97-AF65-F5344CB8AC3E}">
        <p14:creationId xmlns:p14="http://schemas.microsoft.com/office/powerpoint/2010/main" val="1483270985"/>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6AABECC8-5128-4C2A-B3B7-BABD3C5FF170}"/>
              </a:ext>
            </a:extLst>
          </p:cNvPr>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l="6455" r="6455"/>
          <a:stretch>
            <a:fillRect/>
          </a:stretch>
        </p:blipFill>
        <p:spPr>
          <a:solidFill>
            <a:schemeClr val="bg1">
              <a:lumMod val="85000"/>
            </a:schemeClr>
          </a:solidFill>
        </p:spPr>
      </p:pic>
      <p:pic>
        <p:nvPicPr>
          <p:cNvPr id="10" name="Picture Placeholder 9">
            <a:extLst>
              <a:ext uri="{FF2B5EF4-FFF2-40B4-BE49-F238E27FC236}">
                <a16:creationId xmlns:a16="http://schemas.microsoft.com/office/drawing/2014/main" id="{0A52632B-B358-46C3-B624-25BD017E31F5}"/>
              </a:ext>
            </a:extLst>
          </p:cNvPr>
          <p:cNvPicPr>
            <a:picLocks noGrp="1" noChangeAspect="1"/>
          </p:cNvPicPr>
          <p:nvPr>
            <p:ph type="pic" sz="quarter" idx="14"/>
          </p:nvPr>
        </p:nvPicPr>
        <p:blipFill>
          <a:blip r:embed="rId5">
            <a:extLst>
              <a:ext uri="{28A0092B-C50C-407E-A947-70E740481C1C}">
                <a14:useLocalDpi xmlns:a14="http://schemas.microsoft.com/office/drawing/2010/main" val="0"/>
              </a:ext>
            </a:extLst>
          </a:blip>
          <a:srcRect l="6455" r="6455"/>
          <a:stretch>
            <a:fillRect/>
          </a:stretch>
        </p:blipFill>
        <p:spPr>
          <a:solidFill>
            <a:schemeClr val="bg1">
              <a:lumMod val="75000"/>
            </a:schemeClr>
          </a:solidFill>
        </p:spPr>
      </p:pic>
      <p:sp>
        <p:nvSpPr>
          <p:cNvPr id="5" name="Rectangle 4"/>
          <p:cNvSpPr/>
          <p:nvPr>
            <p:custDataLst>
              <p:tags r:id="rId1"/>
            </p:custDataLst>
          </p:nvPr>
        </p:nvSpPr>
        <p:spPr>
          <a:xfrm>
            <a:off x="406318" y="890857"/>
            <a:ext cx="9271000"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spc="-150" dirty="0">
                <a:solidFill>
                  <a:schemeClr val="tx1">
                    <a:lumMod val="85000"/>
                    <a:lumOff val="15000"/>
                  </a:schemeClr>
                </a:solidFill>
                <a:ea typeface="Source Sans Pro" panose="020B0503030403020204" pitchFamily="34" charset="0"/>
                <a:cs typeface="Open Sans Light" panose="020B0306030504020204" pitchFamily="34" charset="0"/>
              </a:rPr>
              <a:t>Only </a:t>
            </a:r>
            <a:r>
              <a:rPr lang="en-US" sz="3200" b="1" spc="-150" dirty="0">
                <a:solidFill>
                  <a:schemeClr val="tx1">
                    <a:lumMod val="85000"/>
                    <a:lumOff val="15000"/>
                  </a:schemeClr>
                </a:solidFill>
                <a:ea typeface="Source Sans Pro" panose="020B0503030403020204" pitchFamily="34" charset="0"/>
                <a:cs typeface="Open Sans Light" panose="020B0306030504020204" pitchFamily="34" charset="0"/>
              </a:rPr>
              <a:t>Minimalist</a:t>
            </a:r>
          </a:p>
        </p:txBody>
      </p:sp>
      <p:sp>
        <p:nvSpPr>
          <p:cNvPr id="6" name="Rectangle 5"/>
          <p:cNvSpPr/>
          <p:nvPr>
            <p:custDataLst>
              <p:tags r:id="rId2"/>
            </p:custDataLst>
          </p:nvPr>
        </p:nvSpPr>
        <p:spPr>
          <a:xfrm>
            <a:off x="465988" y="1404480"/>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lumMod val="85000"/>
                    <a:lumOff val="15000"/>
                  </a:schemeClr>
                </a:solidFill>
                <a:ea typeface="Open Sans" panose="020B0606030504020204" pitchFamily="34" charset="0"/>
                <a:cs typeface="Open Sans" panose="020B0606030504020204" pitchFamily="34" charset="0"/>
              </a:rPr>
              <a:t>Put Your Great Subtitle Here</a:t>
            </a:r>
          </a:p>
        </p:txBody>
      </p:sp>
      <p:sp>
        <p:nvSpPr>
          <p:cNvPr id="22" name="Rectangle 21"/>
          <p:cNvSpPr/>
          <p:nvPr/>
        </p:nvSpPr>
        <p:spPr>
          <a:xfrm>
            <a:off x="465988" y="1935321"/>
            <a:ext cx="6696812" cy="894732"/>
          </a:xfrm>
          <a:prstGeom prst="rect">
            <a:avLst/>
          </a:prstGeom>
        </p:spPr>
        <p:txBody>
          <a:bodyPr wrap="square">
            <a:spAutoFit/>
          </a:bodyPr>
          <a:lstStyle/>
          <a:p>
            <a:pPr algn="just">
              <a:lnSpc>
                <a:spcPct val="150000"/>
              </a:lnSpc>
              <a:buClr>
                <a:srgbClr val="E24848"/>
              </a:buClr>
              <a:defRPr/>
            </a:pPr>
            <a:r>
              <a:rPr lang="en-US" sz="1200" noProof="1">
                <a:solidFill>
                  <a:schemeClr val="tx1">
                    <a:lumMod val="65000"/>
                    <a:lumOff val="35000"/>
                  </a:schemeClr>
                </a:solidFill>
                <a:ea typeface="Roboto Light" panose="02000000000000000000" pitchFamily="2" charset="0"/>
                <a:cs typeface="Arial" charset="0"/>
              </a:rPr>
              <a:t>Compellingly impact backend models to ethical scenarios. Energistically encentivize premier</a:t>
            </a:r>
          </a:p>
          <a:p>
            <a:pPr algn="just">
              <a:lnSpc>
                <a:spcPct val="150000"/>
              </a:lnSpc>
              <a:buClr>
                <a:srgbClr val="E24848"/>
              </a:buClr>
              <a:defRPr/>
            </a:pPr>
            <a:r>
              <a:rPr lang="en-US" sz="1200" noProof="1">
                <a:solidFill>
                  <a:schemeClr val="tx1">
                    <a:lumMod val="65000"/>
                    <a:lumOff val="35000"/>
                  </a:schemeClr>
                </a:solidFill>
                <a:ea typeface="Roboto Light" panose="02000000000000000000" pitchFamily="2" charset="0"/>
                <a:cs typeface="Arial" charset="0"/>
              </a:rPr>
              <a:t>synergy rather than customized total linkage. Intrinsicly maintain real-time content without</a:t>
            </a:r>
          </a:p>
          <a:p>
            <a:pPr algn="just">
              <a:lnSpc>
                <a:spcPct val="150000"/>
              </a:lnSpc>
              <a:buClr>
                <a:srgbClr val="E24848"/>
              </a:buClr>
              <a:defRPr/>
            </a:pPr>
            <a:r>
              <a:rPr lang="en-US" sz="1200" noProof="1">
                <a:solidFill>
                  <a:schemeClr val="tx1">
                    <a:lumMod val="65000"/>
                    <a:lumOff val="35000"/>
                  </a:schemeClr>
                </a:solidFill>
                <a:ea typeface="Roboto Light" panose="02000000000000000000" pitchFamily="2" charset="0"/>
                <a:cs typeface="Arial" charset="0"/>
              </a:rPr>
              <a:t>multidisciplinary catalysts for change.</a:t>
            </a:r>
          </a:p>
        </p:txBody>
      </p:sp>
      <p:sp>
        <p:nvSpPr>
          <p:cNvPr id="25" name="Rectangle 24"/>
          <p:cNvSpPr/>
          <p:nvPr/>
        </p:nvSpPr>
        <p:spPr>
          <a:xfrm>
            <a:off x="590750" y="5143612"/>
            <a:ext cx="2903691" cy="894732"/>
          </a:xfrm>
          <a:prstGeom prst="rect">
            <a:avLst/>
          </a:prstGeom>
        </p:spPr>
        <p:txBody>
          <a:bodyPr wrap="square">
            <a:spAutoFit/>
          </a:bodyPr>
          <a:lstStyle/>
          <a:p>
            <a:pPr algn="just">
              <a:lnSpc>
                <a:spcPct val="150000"/>
              </a:lnSpc>
              <a:buClr>
                <a:srgbClr val="E24848"/>
              </a:buClr>
              <a:defRPr/>
            </a:pPr>
            <a:r>
              <a:rPr lang="en-US" sz="1200" noProof="1">
                <a:solidFill>
                  <a:schemeClr val="tx1">
                    <a:lumMod val="65000"/>
                    <a:lumOff val="35000"/>
                  </a:schemeClr>
                </a:solidFill>
                <a:ea typeface="Roboto Light" panose="02000000000000000000" pitchFamily="2" charset="0"/>
                <a:cs typeface="Arial" charset="0"/>
              </a:rPr>
              <a:t>Nulla facilisi nam auctor metus vitae quam gravida, ac vehicula elit mollis. Nunc elementum fringilla</a:t>
            </a:r>
          </a:p>
        </p:txBody>
      </p:sp>
      <p:sp>
        <p:nvSpPr>
          <p:cNvPr id="26" name="Rectangle 25"/>
          <p:cNvSpPr/>
          <p:nvPr/>
        </p:nvSpPr>
        <p:spPr>
          <a:xfrm>
            <a:off x="590750" y="4559300"/>
            <a:ext cx="2685123" cy="460773"/>
          </a:xfrm>
          <a:prstGeom prst="rect">
            <a:avLst/>
          </a:prstGeom>
        </p:spPr>
        <p:txBody>
          <a:bodyPr vert="horz" wrap="square" lIns="91416" tIns="45708" rIns="91416" bIns="45708" rtlCol="0" anchor="ctr">
            <a:noAutofit/>
          </a:bodyPr>
          <a:lstStyle/>
          <a:p>
            <a:pPr>
              <a:lnSpc>
                <a:spcPct val="90000"/>
              </a:lnSpc>
              <a:spcBef>
                <a:spcPct val="0"/>
              </a:spcBef>
            </a:pPr>
            <a:r>
              <a:rPr lang="en-US" b="1" noProof="1">
                <a:solidFill>
                  <a:schemeClr val="tx1">
                    <a:lumMod val="85000"/>
                    <a:lumOff val="15000"/>
                  </a:schemeClr>
                </a:solidFill>
                <a:ea typeface="Roboto" panose="02000000000000000000" pitchFamily="2" charset="0"/>
                <a:cs typeface="Times New Roman" panose="02020603050405020304" pitchFamily="18" charset="0"/>
              </a:rPr>
              <a:t>Advertising</a:t>
            </a:r>
          </a:p>
        </p:txBody>
      </p:sp>
      <p:sp>
        <p:nvSpPr>
          <p:cNvPr id="27" name="Rectangle 26"/>
          <p:cNvSpPr/>
          <p:nvPr/>
        </p:nvSpPr>
        <p:spPr>
          <a:xfrm>
            <a:off x="4259109" y="5143612"/>
            <a:ext cx="2903691" cy="894732"/>
          </a:xfrm>
          <a:prstGeom prst="rect">
            <a:avLst/>
          </a:prstGeom>
        </p:spPr>
        <p:txBody>
          <a:bodyPr wrap="square">
            <a:spAutoFit/>
          </a:bodyPr>
          <a:lstStyle/>
          <a:p>
            <a:pPr algn="just">
              <a:lnSpc>
                <a:spcPct val="150000"/>
              </a:lnSpc>
              <a:buClr>
                <a:srgbClr val="E24848"/>
              </a:buClr>
              <a:defRPr/>
            </a:pPr>
            <a:r>
              <a:rPr lang="en-US" sz="1200" noProof="1">
                <a:solidFill>
                  <a:schemeClr val="tx1">
                    <a:lumMod val="65000"/>
                    <a:lumOff val="35000"/>
                  </a:schemeClr>
                </a:solidFill>
                <a:ea typeface="Roboto Light" panose="02000000000000000000" pitchFamily="2" charset="0"/>
                <a:cs typeface="Arial" charset="0"/>
              </a:rPr>
              <a:t>Nulla facilisi nam auctor metus vitae quam gravida, ac vehicula elit mollis. Nunc elementum fringilla</a:t>
            </a:r>
          </a:p>
        </p:txBody>
      </p:sp>
      <p:sp>
        <p:nvSpPr>
          <p:cNvPr id="28" name="Rectangle 27"/>
          <p:cNvSpPr/>
          <p:nvPr/>
        </p:nvSpPr>
        <p:spPr>
          <a:xfrm>
            <a:off x="4259109" y="4559300"/>
            <a:ext cx="2685123" cy="460773"/>
          </a:xfrm>
          <a:prstGeom prst="rect">
            <a:avLst/>
          </a:prstGeom>
        </p:spPr>
        <p:txBody>
          <a:bodyPr vert="horz" wrap="square" lIns="91416" tIns="45708" rIns="91416" bIns="45708" rtlCol="0" anchor="ctr">
            <a:noAutofit/>
          </a:bodyPr>
          <a:lstStyle/>
          <a:p>
            <a:pPr>
              <a:lnSpc>
                <a:spcPct val="90000"/>
              </a:lnSpc>
              <a:spcBef>
                <a:spcPct val="0"/>
              </a:spcBef>
            </a:pPr>
            <a:r>
              <a:rPr lang="en-US" b="1" noProof="1">
                <a:solidFill>
                  <a:schemeClr val="tx1">
                    <a:lumMod val="85000"/>
                    <a:lumOff val="15000"/>
                  </a:schemeClr>
                </a:solidFill>
                <a:ea typeface="Roboto" panose="02000000000000000000" pitchFamily="2" charset="0"/>
                <a:cs typeface="Times New Roman" panose="02020603050405020304" pitchFamily="18" charset="0"/>
              </a:rPr>
              <a:t>Photography</a:t>
            </a:r>
          </a:p>
        </p:txBody>
      </p:sp>
      <p:sp>
        <p:nvSpPr>
          <p:cNvPr id="29" name="Shape"/>
          <p:cNvSpPr/>
          <p:nvPr/>
        </p:nvSpPr>
        <p:spPr>
          <a:xfrm>
            <a:off x="827344" y="3612734"/>
            <a:ext cx="304801" cy="558801"/>
          </a:xfrm>
          <a:custGeom>
            <a:avLst/>
            <a:gdLst/>
            <a:ahLst/>
            <a:cxnLst>
              <a:cxn ang="0">
                <a:pos x="wd2" y="hd2"/>
              </a:cxn>
              <a:cxn ang="5400000">
                <a:pos x="wd2" y="hd2"/>
              </a:cxn>
              <a:cxn ang="10800000">
                <a:pos x="wd2" y="hd2"/>
              </a:cxn>
              <a:cxn ang="16200000">
                <a:pos x="wd2" y="hd2"/>
              </a:cxn>
            </a:cxnLst>
            <a:rect l="0" t="0" r="r" b="b"/>
            <a:pathLst>
              <a:path w="21600" h="21600" extrusionOk="0">
                <a:moveTo>
                  <a:pt x="5400" y="8836"/>
                </a:moveTo>
                <a:lnTo>
                  <a:pt x="16200" y="8836"/>
                </a:lnTo>
                <a:lnTo>
                  <a:pt x="16200" y="11782"/>
                </a:lnTo>
                <a:cubicBezTo>
                  <a:pt x="16200" y="13409"/>
                  <a:pt x="13783" y="14727"/>
                  <a:pt x="10800" y="14727"/>
                </a:cubicBezTo>
                <a:cubicBezTo>
                  <a:pt x="7817" y="14727"/>
                  <a:pt x="5400" y="13409"/>
                  <a:pt x="5400" y="11782"/>
                </a:cubicBezTo>
                <a:cubicBezTo>
                  <a:pt x="5400" y="11782"/>
                  <a:pt x="5400" y="8836"/>
                  <a:pt x="5400" y="8836"/>
                </a:cubicBezTo>
                <a:close/>
                <a:moveTo>
                  <a:pt x="5400" y="3927"/>
                </a:moveTo>
                <a:cubicBezTo>
                  <a:pt x="5400" y="2301"/>
                  <a:pt x="7817" y="982"/>
                  <a:pt x="10800" y="982"/>
                </a:cubicBezTo>
                <a:cubicBezTo>
                  <a:pt x="13783" y="982"/>
                  <a:pt x="16200" y="2301"/>
                  <a:pt x="16200" y="3927"/>
                </a:cubicBezTo>
                <a:lnTo>
                  <a:pt x="16200" y="7855"/>
                </a:lnTo>
                <a:lnTo>
                  <a:pt x="5400" y="7855"/>
                </a:lnTo>
                <a:cubicBezTo>
                  <a:pt x="5400" y="7855"/>
                  <a:pt x="5400" y="3927"/>
                  <a:pt x="5400" y="3927"/>
                </a:cubicBezTo>
                <a:close/>
                <a:moveTo>
                  <a:pt x="10800" y="15709"/>
                </a:moveTo>
                <a:cubicBezTo>
                  <a:pt x="14777" y="15709"/>
                  <a:pt x="18000" y="13951"/>
                  <a:pt x="18000" y="11782"/>
                </a:cubicBezTo>
                <a:lnTo>
                  <a:pt x="18000" y="3927"/>
                </a:lnTo>
                <a:cubicBezTo>
                  <a:pt x="18000" y="1758"/>
                  <a:pt x="14777" y="0"/>
                  <a:pt x="10800" y="0"/>
                </a:cubicBezTo>
                <a:cubicBezTo>
                  <a:pt x="6823" y="0"/>
                  <a:pt x="3600" y="1758"/>
                  <a:pt x="3600" y="3927"/>
                </a:cubicBezTo>
                <a:lnTo>
                  <a:pt x="3600" y="11782"/>
                </a:lnTo>
                <a:cubicBezTo>
                  <a:pt x="3600" y="13951"/>
                  <a:pt x="6823" y="15709"/>
                  <a:pt x="10800" y="15709"/>
                </a:cubicBezTo>
                <a:moveTo>
                  <a:pt x="21600" y="11782"/>
                </a:moveTo>
                <a:lnTo>
                  <a:pt x="21600" y="10309"/>
                </a:lnTo>
                <a:cubicBezTo>
                  <a:pt x="21600" y="10038"/>
                  <a:pt x="21197" y="9818"/>
                  <a:pt x="20700" y="9818"/>
                </a:cubicBezTo>
                <a:cubicBezTo>
                  <a:pt x="20203" y="9818"/>
                  <a:pt x="19800" y="10038"/>
                  <a:pt x="19800" y="10309"/>
                </a:cubicBezTo>
                <a:lnTo>
                  <a:pt x="19800" y="11782"/>
                </a:lnTo>
                <a:cubicBezTo>
                  <a:pt x="19800" y="14493"/>
                  <a:pt x="15771" y="16691"/>
                  <a:pt x="10800" y="16691"/>
                </a:cubicBezTo>
                <a:cubicBezTo>
                  <a:pt x="5829" y="16691"/>
                  <a:pt x="1800" y="14493"/>
                  <a:pt x="1800" y="11782"/>
                </a:cubicBezTo>
                <a:lnTo>
                  <a:pt x="1800" y="10309"/>
                </a:lnTo>
                <a:cubicBezTo>
                  <a:pt x="1800" y="10038"/>
                  <a:pt x="1397" y="9818"/>
                  <a:pt x="900" y="9818"/>
                </a:cubicBezTo>
                <a:cubicBezTo>
                  <a:pt x="403" y="9818"/>
                  <a:pt x="0" y="10038"/>
                  <a:pt x="0" y="10309"/>
                </a:cubicBezTo>
                <a:lnTo>
                  <a:pt x="0" y="11782"/>
                </a:lnTo>
                <a:cubicBezTo>
                  <a:pt x="0" y="14870"/>
                  <a:pt x="4358" y="17398"/>
                  <a:pt x="9900" y="17648"/>
                </a:cubicBezTo>
                <a:lnTo>
                  <a:pt x="9900" y="20618"/>
                </a:lnTo>
                <a:lnTo>
                  <a:pt x="3600" y="20618"/>
                </a:lnTo>
                <a:cubicBezTo>
                  <a:pt x="3103" y="20618"/>
                  <a:pt x="2700" y="20838"/>
                  <a:pt x="2700" y="21110"/>
                </a:cubicBezTo>
                <a:cubicBezTo>
                  <a:pt x="2700" y="21381"/>
                  <a:pt x="3103" y="21600"/>
                  <a:pt x="3600" y="21600"/>
                </a:cubicBezTo>
                <a:lnTo>
                  <a:pt x="18000" y="21600"/>
                </a:lnTo>
                <a:cubicBezTo>
                  <a:pt x="18497" y="21600"/>
                  <a:pt x="18900" y="21381"/>
                  <a:pt x="18900" y="21110"/>
                </a:cubicBezTo>
                <a:cubicBezTo>
                  <a:pt x="18900" y="20838"/>
                  <a:pt x="18497" y="20618"/>
                  <a:pt x="18000" y="20618"/>
                </a:cubicBezTo>
                <a:lnTo>
                  <a:pt x="11700" y="20618"/>
                </a:lnTo>
                <a:lnTo>
                  <a:pt x="11700" y="17648"/>
                </a:lnTo>
                <a:cubicBezTo>
                  <a:pt x="17243" y="17398"/>
                  <a:pt x="21600" y="14870"/>
                  <a:pt x="21600" y="11782"/>
                </a:cubicBezTo>
              </a:path>
            </a:pathLst>
          </a:custGeom>
          <a:solidFill>
            <a:schemeClr val="accent2"/>
          </a:solidFill>
          <a:ln w="12700">
            <a:miter lim="400000"/>
          </a:ln>
        </p:spPr>
        <p:txBody>
          <a:bodyPr lIns="38100" tIns="38100" rIns="38100" bIns="38100" anchor="ctr"/>
          <a:lstStyle/>
          <a:p>
            <a:pPr defTabSz="457200">
              <a:defRPr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30" name="Shape"/>
          <p:cNvSpPr/>
          <p:nvPr/>
        </p:nvSpPr>
        <p:spPr>
          <a:xfrm>
            <a:off x="4483017" y="3612734"/>
            <a:ext cx="558801" cy="558801"/>
          </a:xfrm>
          <a:custGeom>
            <a:avLst/>
            <a:gdLst/>
            <a:ahLst/>
            <a:cxnLst>
              <a:cxn ang="0">
                <a:pos x="wd2" y="hd2"/>
              </a:cxn>
              <a:cxn ang="5400000">
                <a:pos x="wd2" y="hd2"/>
              </a:cxn>
              <a:cxn ang="10800000">
                <a:pos x="wd2" y="hd2"/>
              </a:cxn>
              <a:cxn ang="16200000">
                <a:pos x="wd2" y="hd2"/>
              </a:cxn>
            </a:cxnLst>
            <a:rect l="0" t="0" r="r" b="b"/>
            <a:pathLst>
              <a:path w="21600" h="21600" extrusionOk="0">
                <a:moveTo>
                  <a:pt x="5891" y="4909"/>
                </a:moveTo>
                <a:lnTo>
                  <a:pt x="6873" y="4909"/>
                </a:lnTo>
                <a:lnTo>
                  <a:pt x="6873" y="3927"/>
                </a:lnTo>
                <a:lnTo>
                  <a:pt x="5891" y="3927"/>
                </a:lnTo>
                <a:cubicBezTo>
                  <a:pt x="5891" y="3927"/>
                  <a:pt x="5891" y="4909"/>
                  <a:pt x="5891" y="4909"/>
                </a:cubicBezTo>
                <a:close/>
                <a:moveTo>
                  <a:pt x="18655" y="13745"/>
                </a:moveTo>
                <a:lnTo>
                  <a:pt x="19636" y="13745"/>
                </a:lnTo>
                <a:lnTo>
                  <a:pt x="19636" y="12764"/>
                </a:lnTo>
                <a:lnTo>
                  <a:pt x="18655" y="12764"/>
                </a:lnTo>
                <a:cubicBezTo>
                  <a:pt x="18655" y="12764"/>
                  <a:pt x="18655" y="13745"/>
                  <a:pt x="18655" y="13745"/>
                </a:cubicBezTo>
                <a:close/>
                <a:moveTo>
                  <a:pt x="6873" y="1964"/>
                </a:moveTo>
                <a:lnTo>
                  <a:pt x="5891" y="1964"/>
                </a:lnTo>
                <a:lnTo>
                  <a:pt x="5891" y="2945"/>
                </a:lnTo>
                <a:lnTo>
                  <a:pt x="6873" y="2945"/>
                </a:lnTo>
                <a:cubicBezTo>
                  <a:pt x="6873" y="2945"/>
                  <a:pt x="6873" y="1964"/>
                  <a:pt x="6873" y="1964"/>
                </a:cubicBezTo>
                <a:close/>
                <a:moveTo>
                  <a:pt x="20618" y="0"/>
                </a:moveTo>
                <a:lnTo>
                  <a:pt x="4909" y="0"/>
                </a:lnTo>
                <a:cubicBezTo>
                  <a:pt x="4367" y="0"/>
                  <a:pt x="3927" y="440"/>
                  <a:pt x="3927" y="982"/>
                </a:cubicBezTo>
                <a:lnTo>
                  <a:pt x="3927" y="5891"/>
                </a:lnTo>
                <a:cubicBezTo>
                  <a:pt x="3927" y="6162"/>
                  <a:pt x="4147" y="6382"/>
                  <a:pt x="4418" y="6382"/>
                </a:cubicBezTo>
                <a:cubicBezTo>
                  <a:pt x="4689" y="6382"/>
                  <a:pt x="4909" y="6162"/>
                  <a:pt x="4909" y="5891"/>
                </a:cubicBezTo>
                <a:lnTo>
                  <a:pt x="4909" y="1964"/>
                </a:lnTo>
                <a:cubicBezTo>
                  <a:pt x="4909" y="1422"/>
                  <a:pt x="5349" y="982"/>
                  <a:pt x="5891" y="982"/>
                </a:cubicBezTo>
                <a:lnTo>
                  <a:pt x="7855" y="982"/>
                </a:lnTo>
                <a:lnTo>
                  <a:pt x="7855" y="5400"/>
                </a:lnTo>
                <a:cubicBezTo>
                  <a:pt x="7855" y="5671"/>
                  <a:pt x="8075" y="5891"/>
                  <a:pt x="8345" y="5891"/>
                </a:cubicBezTo>
                <a:cubicBezTo>
                  <a:pt x="8616" y="5891"/>
                  <a:pt x="8836" y="5671"/>
                  <a:pt x="8836" y="5400"/>
                </a:cubicBezTo>
                <a:lnTo>
                  <a:pt x="8836" y="982"/>
                </a:lnTo>
                <a:lnTo>
                  <a:pt x="16691" y="982"/>
                </a:lnTo>
                <a:lnTo>
                  <a:pt x="16691" y="7364"/>
                </a:lnTo>
                <a:cubicBezTo>
                  <a:pt x="16691" y="7635"/>
                  <a:pt x="16911" y="7855"/>
                  <a:pt x="17182" y="7855"/>
                </a:cubicBezTo>
                <a:cubicBezTo>
                  <a:pt x="17453" y="7855"/>
                  <a:pt x="17673" y="7635"/>
                  <a:pt x="17673" y="7364"/>
                </a:cubicBezTo>
                <a:lnTo>
                  <a:pt x="17673" y="982"/>
                </a:lnTo>
                <a:lnTo>
                  <a:pt x="19636" y="982"/>
                </a:lnTo>
                <a:cubicBezTo>
                  <a:pt x="20178" y="982"/>
                  <a:pt x="20618" y="1422"/>
                  <a:pt x="20618" y="1964"/>
                </a:cubicBezTo>
                <a:lnTo>
                  <a:pt x="20618" y="8345"/>
                </a:lnTo>
                <a:lnTo>
                  <a:pt x="19145" y="8345"/>
                </a:lnTo>
                <a:cubicBezTo>
                  <a:pt x="18875" y="8345"/>
                  <a:pt x="18655" y="8566"/>
                  <a:pt x="18655" y="8836"/>
                </a:cubicBezTo>
                <a:cubicBezTo>
                  <a:pt x="18655" y="9108"/>
                  <a:pt x="18875" y="9327"/>
                  <a:pt x="19145" y="9327"/>
                </a:cubicBezTo>
                <a:lnTo>
                  <a:pt x="20618" y="9327"/>
                </a:lnTo>
                <a:lnTo>
                  <a:pt x="20618" y="15709"/>
                </a:lnTo>
                <a:cubicBezTo>
                  <a:pt x="20618" y="16252"/>
                  <a:pt x="20179" y="16691"/>
                  <a:pt x="19636" y="16691"/>
                </a:cubicBezTo>
                <a:lnTo>
                  <a:pt x="19145" y="16691"/>
                </a:lnTo>
                <a:cubicBezTo>
                  <a:pt x="18875" y="16691"/>
                  <a:pt x="18655" y="16911"/>
                  <a:pt x="18655" y="17182"/>
                </a:cubicBezTo>
                <a:cubicBezTo>
                  <a:pt x="18655" y="17453"/>
                  <a:pt x="18875" y="17673"/>
                  <a:pt x="19145" y="17673"/>
                </a:cubicBezTo>
                <a:lnTo>
                  <a:pt x="19145" y="17673"/>
                </a:lnTo>
                <a:lnTo>
                  <a:pt x="19636" y="17673"/>
                </a:lnTo>
                <a:lnTo>
                  <a:pt x="19636" y="17673"/>
                </a:lnTo>
                <a:lnTo>
                  <a:pt x="20618" y="17673"/>
                </a:lnTo>
                <a:cubicBezTo>
                  <a:pt x="21160" y="17673"/>
                  <a:pt x="21600" y="17233"/>
                  <a:pt x="21600" y="16691"/>
                </a:cubicBezTo>
                <a:lnTo>
                  <a:pt x="21600" y="982"/>
                </a:lnTo>
                <a:cubicBezTo>
                  <a:pt x="21600" y="440"/>
                  <a:pt x="21160" y="0"/>
                  <a:pt x="20618" y="0"/>
                </a:cubicBezTo>
                <a:moveTo>
                  <a:pt x="19636" y="10800"/>
                </a:moveTo>
                <a:lnTo>
                  <a:pt x="18655" y="10800"/>
                </a:lnTo>
                <a:lnTo>
                  <a:pt x="18655" y="11782"/>
                </a:lnTo>
                <a:lnTo>
                  <a:pt x="19636" y="11782"/>
                </a:lnTo>
                <a:cubicBezTo>
                  <a:pt x="19636" y="11782"/>
                  <a:pt x="19636" y="10800"/>
                  <a:pt x="19636" y="10800"/>
                </a:cubicBezTo>
                <a:close/>
                <a:moveTo>
                  <a:pt x="18655" y="6873"/>
                </a:moveTo>
                <a:lnTo>
                  <a:pt x="19636" y="6873"/>
                </a:lnTo>
                <a:lnTo>
                  <a:pt x="19636" y="5891"/>
                </a:lnTo>
                <a:lnTo>
                  <a:pt x="18655" y="5891"/>
                </a:lnTo>
                <a:cubicBezTo>
                  <a:pt x="18655" y="5891"/>
                  <a:pt x="18655" y="6873"/>
                  <a:pt x="18655" y="6873"/>
                </a:cubicBezTo>
                <a:close/>
                <a:moveTo>
                  <a:pt x="18655" y="15709"/>
                </a:moveTo>
                <a:lnTo>
                  <a:pt x="19636" y="15709"/>
                </a:lnTo>
                <a:lnTo>
                  <a:pt x="19636" y="14727"/>
                </a:lnTo>
                <a:lnTo>
                  <a:pt x="18655" y="14727"/>
                </a:lnTo>
                <a:cubicBezTo>
                  <a:pt x="18655" y="14727"/>
                  <a:pt x="18655" y="15709"/>
                  <a:pt x="18655" y="15709"/>
                </a:cubicBezTo>
                <a:close/>
                <a:moveTo>
                  <a:pt x="19636" y="1964"/>
                </a:moveTo>
                <a:lnTo>
                  <a:pt x="18655" y="1964"/>
                </a:lnTo>
                <a:lnTo>
                  <a:pt x="18655" y="2945"/>
                </a:lnTo>
                <a:lnTo>
                  <a:pt x="19636" y="2945"/>
                </a:lnTo>
                <a:cubicBezTo>
                  <a:pt x="19636" y="2945"/>
                  <a:pt x="19636" y="1964"/>
                  <a:pt x="19636" y="1964"/>
                </a:cubicBezTo>
                <a:close/>
                <a:moveTo>
                  <a:pt x="18655" y="4909"/>
                </a:moveTo>
                <a:lnTo>
                  <a:pt x="19636" y="4909"/>
                </a:lnTo>
                <a:lnTo>
                  <a:pt x="19636" y="3927"/>
                </a:lnTo>
                <a:lnTo>
                  <a:pt x="18655" y="3927"/>
                </a:lnTo>
                <a:cubicBezTo>
                  <a:pt x="18655" y="3927"/>
                  <a:pt x="18655" y="4909"/>
                  <a:pt x="18655" y="4909"/>
                </a:cubicBezTo>
                <a:close/>
                <a:moveTo>
                  <a:pt x="8836" y="17673"/>
                </a:moveTo>
                <a:cubicBezTo>
                  <a:pt x="7210" y="17673"/>
                  <a:pt x="5891" y="16354"/>
                  <a:pt x="5891" y="14727"/>
                </a:cubicBezTo>
                <a:cubicBezTo>
                  <a:pt x="5891" y="13101"/>
                  <a:pt x="7210" y="11782"/>
                  <a:pt x="8836" y="11782"/>
                </a:cubicBezTo>
                <a:cubicBezTo>
                  <a:pt x="10463" y="11782"/>
                  <a:pt x="11782" y="13101"/>
                  <a:pt x="11782" y="14727"/>
                </a:cubicBezTo>
                <a:cubicBezTo>
                  <a:pt x="11782" y="16354"/>
                  <a:pt x="10463" y="17673"/>
                  <a:pt x="8836" y="17673"/>
                </a:cubicBezTo>
                <a:moveTo>
                  <a:pt x="8836" y="10800"/>
                </a:moveTo>
                <a:cubicBezTo>
                  <a:pt x="6667" y="10800"/>
                  <a:pt x="4909" y="12558"/>
                  <a:pt x="4909" y="14727"/>
                </a:cubicBezTo>
                <a:cubicBezTo>
                  <a:pt x="4909" y="16897"/>
                  <a:pt x="6667" y="18655"/>
                  <a:pt x="8836" y="18655"/>
                </a:cubicBezTo>
                <a:cubicBezTo>
                  <a:pt x="11006" y="18655"/>
                  <a:pt x="12764" y="16897"/>
                  <a:pt x="12764" y="14727"/>
                </a:cubicBezTo>
                <a:cubicBezTo>
                  <a:pt x="12764" y="12558"/>
                  <a:pt x="11006" y="10800"/>
                  <a:pt x="8836" y="10800"/>
                </a:cubicBezTo>
                <a:moveTo>
                  <a:pt x="8836" y="15709"/>
                </a:moveTo>
                <a:cubicBezTo>
                  <a:pt x="8294" y="15709"/>
                  <a:pt x="7855" y="15269"/>
                  <a:pt x="7855" y="14727"/>
                </a:cubicBezTo>
                <a:cubicBezTo>
                  <a:pt x="7855" y="14185"/>
                  <a:pt x="8294" y="13745"/>
                  <a:pt x="8836" y="13745"/>
                </a:cubicBezTo>
                <a:cubicBezTo>
                  <a:pt x="9378" y="13745"/>
                  <a:pt x="9818" y="14185"/>
                  <a:pt x="9818" y="14727"/>
                </a:cubicBezTo>
                <a:cubicBezTo>
                  <a:pt x="9818" y="15269"/>
                  <a:pt x="9378" y="15709"/>
                  <a:pt x="8836" y="15709"/>
                </a:cubicBezTo>
                <a:moveTo>
                  <a:pt x="8836" y="12764"/>
                </a:moveTo>
                <a:cubicBezTo>
                  <a:pt x="7752" y="12764"/>
                  <a:pt x="6873" y="13643"/>
                  <a:pt x="6873" y="14727"/>
                </a:cubicBezTo>
                <a:cubicBezTo>
                  <a:pt x="6873" y="15812"/>
                  <a:pt x="7752" y="16691"/>
                  <a:pt x="8836" y="16691"/>
                </a:cubicBezTo>
                <a:cubicBezTo>
                  <a:pt x="9921" y="16691"/>
                  <a:pt x="10800" y="15812"/>
                  <a:pt x="10800" y="14727"/>
                </a:cubicBezTo>
                <a:cubicBezTo>
                  <a:pt x="10800" y="13643"/>
                  <a:pt x="9921" y="12764"/>
                  <a:pt x="8836" y="12764"/>
                </a:cubicBezTo>
                <a:moveTo>
                  <a:pt x="16691" y="19636"/>
                </a:moveTo>
                <a:cubicBezTo>
                  <a:pt x="16691" y="20178"/>
                  <a:pt x="16251" y="20618"/>
                  <a:pt x="15709" y="20618"/>
                </a:cubicBezTo>
                <a:lnTo>
                  <a:pt x="1964" y="20618"/>
                </a:lnTo>
                <a:cubicBezTo>
                  <a:pt x="1422" y="20618"/>
                  <a:pt x="982" y="20178"/>
                  <a:pt x="982" y="19636"/>
                </a:cubicBezTo>
                <a:lnTo>
                  <a:pt x="982" y="10800"/>
                </a:lnTo>
                <a:cubicBezTo>
                  <a:pt x="982" y="10258"/>
                  <a:pt x="1422" y="9818"/>
                  <a:pt x="1964" y="9818"/>
                </a:cubicBezTo>
                <a:lnTo>
                  <a:pt x="3927" y="9818"/>
                </a:lnTo>
                <a:cubicBezTo>
                  <a:pt x="5891" y="9818"/>
                  <a:pt x="5891" y="7855"/>
                  <a:pt x="7364" y="7855"/>
                </a:cubicBezTo>
                <a:lnTo>
                  <a:pt x="8836" y="7855"/>
                </a:lnTo>
                <a:lnTo>
                  <a:pt x="10309" y="7855"/>
                </a:lnTo>
                <a:cubicBezTo>
                  <a:pt x="11782" y="7855"/>
                  <a:pt x="11782" y="9818"/>
                  <a:pt x="13745" y="9818"/>
                </a:cubicBezTo>
                <a:lnTo>
                  <a:pt x="15709" y="9818"/>
                </a:lnTo>
                <a:cubicBezTo>
                  <a:pt x="16251" y="9818"/>
                  <a:pt x="16691" y="10258"/>
                  <a:pt x="16691" y="10800"/>
                </a:cubicBezTo>
                <a:cubicBezTo>
                  <a:pt x="16691" y="10800"/>
                  <a:pt x="16691" y="19636"/>
                  <a:pt x="16691" y="19636"/>
                </a:cubicBezTo>
                <a:close/>
                <a:moveTo>
                  <a:pt x="15709" y="8836"/>
                </a:moveTo>
                <a:lnTo>
                  <a:pt x="13745" y="8836"/>
                </a:lnTo>
                <a:cubicBezTo>
                  <a:pt x="12273" y="8836"/>
                  <a:pt x="12273" y="6873"/>
                  <a:pt x="10309" y="6873"/>
                </a:cubicBezTo>
                <a:lnTo>
                  <a:pt x="7364" y="6873"/>
                </a:lnTo>
                <a:cubicBezTo>
                  <a:pt x="5400" y="6873"/>
                  <a:pt x="5400" y="8836"/>
                  <a:pt x="3927" y="8836"/>
                </a:cubicBezTo>
                <a:lnTo>
                  <a:pt x="1964" y="8836"/>
                </a:lnTo>
                <a:cubicBezTo>
                  <a:pt x="879" y="8836"/>
                  <a:pt x="0" y="9716"/>
                  <a:pt x="0" y="10800"/>
                </a:cubicBezTo>
                <a:lnTo>
                  <a:pt x="0" y="19636"/>
                </a:lnTo>
                <a:cubicBezTo>
                  <a:pt x="0" y="20721"/>
                  <a:pt x="879" y="21600"/>
                  <a:pt x="1964" y="21600"/>
                </a:cubicBezTo>
                <a:lnTo>
                  <a:pt x="15709" y="21600"/>
                </a:lnTo>
                <a:cubicBezTo>
                  <a:pt x="16794" y="21600"/>
                  <a:pt x="17673" y="20721"/>
                  <a:pt x="17673" y="19636"/>
                </a:cubicBezTo>
                <a:lnTo>
                  <a:pt x="17673" y="10800"/>
                </a:lnTo>
                <a:cubicBezTo>
                  <a:pt x="17673" y="9716"/>
                  <a:pt x="16794" y="8836"/>
                  <a:pt x="15709" y="8836"/>
                </a:cubicBezTo>
                <a:moveTo>
                  <a:pt x="14727" y="10800"/>
                </a:moveTo>
                <a:cubicBezTo>
                  <a:pt x="14185" y="10800"/>
                  <a:pt x="13745" y="11240"/>
                  <a:pt x="13745" y="11782"/>
                </a:cubicBezTo>
                <a:cubicBezTo>
                  <a:pt x="13745" y="12324"/>
                  <a:pt x="14185" y="12764"/>
                  <a:pt x="14727" y="12764"/>
                </a:cubicBezTo>
                <a:cubicBezTo>
                  <a:pt x="15269" y="12764"/>
                  <a:pt x="15709" y="12324"/>
                  <a:pt x="15709" y="11782"/>
                </a:cubicBezTo>
                <a:cubicBezTo>
                  <a:pt x="15709" y="11240"/>
                  <a:pt x="15269" y="10800"/>
                  <a:pt x="14727" y="10800"/>
                </a:cubicBezTo>
                <a:moveTo>
                  <a:pt x="14727" y="13745"/>
                </a:moveTo>
                <a:cubicBezTo>
                  <a:pt x="14456" y="13745"/>
                  <a:pt x="14236" y="13966"/>
                  <a:pt x="14236" y="14236"/>
                </a:cubicBezTo>
                <a:cubicBezTo>
                  <a:pt x="14236" y="14508"/>
                  <a:pt x="14456" y="14727"/>
                  <a:pt x="14727" y="14727"/>
                </a:cubicBezTo>
                <a:cubicBezTo>
                  <a:pt x="14998" y="14727"/>
                  <a:pt x="15218" y="14508"/>
                  <a:pt x="15218" y="14236"/>
                </a:cubicBezTo>
                <a:cubicBezTo>
                  <a:pt x="15218" y="13966"/>
                  <a:pt x="14998" y="13745"/>
                  <a:pt x="14727" y="13745"/>
                </a:cubicBezTo>
              </a:path>
            </a:pathLst>
          </a:custGeom>
          <a:solidFill>
            <a:schemeClr val="accent2"/>
          </a:solidFill>
          <a:ln w="12700">
            <a:miter lim="400000"/>
          </a:ln>
        </p:spPr>
        <p:txBody>
          <a:bodyPr lIns="38100" tIns="38100" rIns="38100" bIns="38100" anchor="ctr"/>
          <a:lstStyle/>
          <a:p>
            <a:pPr defTabSz="457200">
              <a:defRPr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Tree>
    <p:extLst>
      <p:ext uri="{BB962C8B-B14F-4D97-AF65-F5344CB8AC3E}">
        <p14:creationId xmlns:p14="http://schemas.microsoft.com/office/powerpoint/2010/main" val="458666131"/>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A4CF3FCF-A09B-492B-B3D6-B6478BB7F44A}"/>
              </a:ext>
            </a:extLst>
          </p:cNvPr>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t="36786" b="36786"/>
          <a:stretch>
            <a:fillRect/>
          </a:stretch>
        </p:blipFill>
        <p:spPr>
          <a:solidFill>
            <a:schemeClr val="bg1">
              <a:lumMod val="75000"/>
            </a:schemeClr>
          </a:solidFill>
        </p:spPr>
      </p:pic>
      <p:sp>
        <p:nvSpPr>
          <p:cNvPr id="5" name="Rectangle 4"/>
          <p:cNvSpPr/>
          <p:nvPr>
            <p:custDataLst>
              <p:tags r:id="rId1"/>
            </p:custDataLst>
          </p:nvPr>
        </p:nvSpPr>
        <p:spPr>
          <a:xfrm>
            <a:off x="406318" y="890857"/>
            <a:ext cx="9271000"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spc="-150" dirty="0">
                <a:solidFill>
                  <a:schemeClr val="tx1">
                    <a:lumMod val="85000"/>
                    <a:lumOff val="15000"/>
                  </a:schemeClr>
                </a:solidFill>
                <a:latin typeface="Montserrat" panose="00000500000000000000" pitchFamily="2" charset="0"/>
                <a:ea typeface="Source Sans Pro" panose="020B0503030403020204" pitchFamily="34" charset="0"/>
                <a:cs typeface="Open Sans Light" panose="020B0306030504020204" pitchFamily="34" charset="0"/>
              </a:rPr>
              <a:t>Only </a:t>
            </a:r>
            <a:r>
              <a:rPr lang="en-US" sz="3200" b="1" spc="-150" dirty="0">
                <a:solidFill>
                  <a:schemeClr val="tx1">
                    <a:lumMod val="85000"/>
                    <a:lumOff val="15000"/>
                  </a:schemeClr>
                </a:solidFill>
                <a:latin typeface="Montserrat" panose="00000500000000000000" pitchFamily="2" charset="0"/>
                <a:ea typeface="Source Sans Pro" panose="020B0503030403020204" pitchFamily="34" charset="0"/>
                <a:cs typeface="Open Sans Light" panose="020B0306030504020204" pitchFamily="34" charset="0"/>
              </a:rPr>
              <a:t>Minimalist</a:t>
            </a:r>
          </a:p>
        </p:txBody>
      </p:sp>
      <p:sp>
        <p:nvSpPr>
          <p:cNvPr id="6" name="Rectangle 5"/>
          <p:cNvSpPr/>
          <p:nvPr>
            <p:custDataLst>
              <p:tags r:id="rId2"/>
            </p:custDataLst>
          </p:nvPr>
        </p:nvSpPr>
        <p:spPr>
          <a:xfrm>
            <a:off x="465988" y="1404480"/>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lumMod val="85000"/>
                    <a:lumOff val="15000"/>
                  </a:schemeClr>
                </a:solidFill>
                <a:latin typeface="+mj-lt"/>
                <a:ea typeface="Open Sans" panose="020B0606030504020204" pitchFamily="34" charset="0"/>
                <a:cs typeface="Open Sans" panose="020B0606030504020204" pitchFamily="34" charset="0"/>
              </a:rPr>
              <a:t>Put Your Great Subtitle Here</a:t>
            </a:r>
          </a:p>
        </p:txBody>
      </p:sp>
      <p:sp>
        <p:nvSpPr>
          <p:cNvPr id="16" name="Freeform 17"/>
          <p:cNvSpPr>
            <a:spLocks/>
          </p:cNvSpPr>
          <p:nvPr/>
        </p:nvSpPr>
        <p:spPr bwMode="auto">
          <a:xfrm>
            <a:off x="7558241" y="4412850"/>
            <a:ext cx="3449387" cy="596900"/>
          </a:xfrm>
          <a:custGeom>
            <a:avLst/>
            <a:gdLst>
              <a:gd name="T0" fmla="*/ 0 w 21600"/>
              <a:gd name="T1" fmla="*/ 10 h 21600"/>
              <a:gd name="T2" fmla="*/ 1669 w 21600"/>
              <a:gd name="T3" fmla="*/ 10835 h 21600"/>
              <a:gd name="T4" fmla="*/ 1 w 21600"/>
              <a:gd name="T5" fmla="*/ 21600 h 21600"/>
              <a:gd name="T6" fmla="*/ 19937 w 21600"/>
              <a:gd name="T7" fmla="*/ 21600 h 21600"/>
              <a:gd name="T8" fmla="*/ 21600 w 21600"/>
              <a:gd name="T9" fmla="*/ 10854 h 21600"/>
              <a:gd name="T10" fmla="*/ 19929 w 21600"/>
              <a:gd name="T11" fmla="*/ 0 h 21600"/>
              <a:gd name="T12" fmla="*/ 0 w 21600"/>
              <a:gd name="T13" fmla="*/ 10 h 21600"/>
              <a:gd name="T14" fmla="*/ 0 w 21600"/>
              <a:gd name="T15" fmla="*/ 10 h 216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00" h="21600">
                <a:moveTo>
                  <a:pt x="0" y="10"/>
                </a:moveTo>
                <a:lnTo>
                  <a:pt x="1669" y="10835"/>
                </a:lnTo>
                <a:lnTo>
                  <a:pt x="1" y="21600"/>
                </a:lnTo>
                <a:lnTo>
                  <a:pt x="19937" y="21600"/>
                </a:lnTo>
                <a:lnTo>
                  <a:pt x="21600" y="10854"/>
                </a:lnTo>
                <a:lnTo>
                  <a:pt x="19929" y="0"/>
                </a:lnTo>
                <a:lnTo>
                  <a:pt x="0" y="10"/>
                </a:lnTo>
                <a:close/>
                <a:moveTo>
                  <a:pt x="0" y="10"/>
                </a:moveTo>
              </a:path>
            </a:pathLst>
          </a:custGeom>
          <a:solidFill>
            <a:schemeClr val="accent5"/>
          </a:solidFill>
          <a:ln w="12700" cap="flat">
            <a:noFill/>
            <a:prstDash val="solid"/>
            <a:miter lim="800000"/>
            <a:headEnd type="none" w="med" len="med"/>
            <a:tailEnd type="none" w="med" len="med"/>
          </a:ln>
        </p:spPr>
        <p:txBody>
          <a:bodyPr lIns="0" tIns="0" rIns="0" bIns="0"/>
          <a:lstStyle/>
          <a:p>
            <a:endParaRPr lang="en-US" sz="3600">
              <a:latin typeface="+mj-lt"/>
            </a:endParaRPr>
          </a:p>
        </p:txBody>
      </p:sp>
      <p:sp>
        <p:nvSpPr>
          <p:cNvPr id="17" name="Freeform 9"/>
          <p:cNvSpPr>
            <a:spLocks/>
          </p:cNvSpPr>
          <p:nvPr/>
        </p:nvSpPr>
        <p:spPr bwMode="auto">
          <a:xfrm>
            <a:off x="1184372" y="4413650"/>
            <a:ext cx="3449387" cy="596900"/>
          </a:xfrm>
          <a:custGeom>
            <a:avLst/>
            <a:gdLst>
              <a:gd name="T0" fmla="*/ 0 w 21600"/>
              <a:gd name="T1" fmla="*/ 10 h 21600"/>
              <a:gd name="T2" fmla="*/ 1669 w 21600"/>
              <a:gd name="T3" fmla="*/ 10835 h 21600"/>
              <a:gd name="T4" fmla="*/ 1 w 21600"/>
              <a:gd name="T5" fmla="*/ 21600 h 21600"/>
              <a:gd name="T6" fmla="*/ 19937 w 21600"/>
              <a:gd name="T7" fmla="*/ 21600 h 21600"/>
              <a:gd name="T8" fmla="*/ 21600 w 21600"/>
              <a:gd name="T9" fmla="*/ 10854 h 21600"/>
              <a:gd name="T10" fmla="*/ 19929 w 21600"/>
              <a:gd name="T11" fmla="*/ 0 h 21600"/>
              <a:gd name="T12" fmla="*/ 0 w 21600"/>
              <a:gd name="T13" fmla="*/ 10 h 21600"/>
              <a:gd name="T14" fmla="*/ 0 w 21600"/>
              <a:gd name="T15" fmla="*/ 10 h 216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00" h="21600">
                <a:moveTo>
                  <a:pt x="0" y="10"/>
                </a:moveTo>
                <a:lnTo>
                  <a:pt x="1669" y="10835"/>
                </a:lnTo>
                <a:lnTo>
                  <a:pt x="1" y="21600"/>
                </a:lnTo>
                <a:lnTo>
                  <a:pt x="19937" y="21600"/>
                </a:lnTo>
                <a:lnTo>
                  <a:pt x="21600" y="10854"/>
                </a:lnTo>
                <a:lnTo>
                  <a:pt x="19929" y="0"/>
                </a:lnTo>
                <a:lnTo>
                  <a:pt x="0" y="10"/>
                </a:lnTo>
                <a:close/>
                <a:moveTo>
                  <a:pt x="0" y="10"/>
                </a:moveTo>
              </a:path>
            </a:pathLst>
          </a:custGeom>
          <a:solidFill>
            <a:schemeClr val="accent3"/>
          </a:solidFill>
          <a:ln w="12700" cap="flat">
            <a:noFill/>
            <a:prstDash val="solid"/>
            <a:miter lim="800000"/>
            <a:headEnd type="none" w="med" len="med"/>
            <a:tailEnd type="none" w="med" len="med"/>
          </a:ln>
        </p:spPr>
        <p:txBody>
          <a:bodyPr lIns="0" tIns="0" rIns="0" bIns="0"/>
          <a:lstStyle/>
          <a:p>
            <a:endParaRPr lang="en-US" sz="3600">
              <a:latin typeface="+mj-lt"/>
            </a:endParaRPr>
          </a:p>
        </p:txBody>
      </p:sp>
      <p:sp>
        <p:nvSpPr>
          <p:cNvPr id="18" name="Freeform 13"/>
          <p:cNvSpPr>
            <a:spLocks/>
          </p:cNvSpPr>
          <p:nvPr/>
        </p:nvSpPr>
        <p:spPr bwMode="auto">
          <a:xfrm>
            <a:off x="4366946" y="4413650"/>
            <a:ext cx="3449387" cy="596900"/>
          </a:xfrm>
          <a:custGeom>
            <a:avLst/>
            <a:gdLst>
              <a:gd name="T0" fmla="*/ 0 w 21600"/>
              <a:gd name="T1" fmla="*/ 10 h 21600"/>
              <a:gd name="T2" fmla="*/ 1669 w 21600"/>
              <a:gd name="T3" fmla="*/ 10835 h 21600"/>
              <a:gd name="T4" fmla="*/ 1 w 21600"/>
              <a:gd name="T5" fmla="*/ 21600 h 21600"/>
              <a:gd name="T6" fmla="*/ 19937 w 21600"/>
              <a:gd name="T7" fmla="*/ 21600 h 21600"/>
              <a:gd name="T8" fmla="*/ 21600 w 21600"/>
              <a:gd name="T9" fmla="*/ 10854 h 21600"/>
              <a:gd name="T10" fmla="*/ 19929 w 21600"/>
              <a:gd name="T11" fmla="*/ 0 h 21600"/>
              <a:gd name="T12" fmla="*/ 0 w 21600"/>
              <a:gd name="T13" fmla="*/ 10 h 21600"/>
              <a:gd name="T14" fmla="*/ 0 w 21600"/>
              <a:gd name="T15" fmla="*/ 10 h 216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00" h="21600">
                <a:moveTo>
                  <a:pt x="0" y="10"/>
                </a:moveTo>
                <a:lnTo>
                  <a:pt x="1669" y="10835"/>
                </a:lnTo>
                <a:lnTo>
                  <a:pt x="1" y="21600"/>
                </a:lnTo>
                <a:lnTo>
                  <a:pt x="19937" y="21600"/>
                </a:lnTo>
                <a:lnTo>
                  <a:pt x="21600" y="10854"/>
                </a:lnTo>
                <a:lnTo>
                  <a:pt x="19929" y="0"/>
                </a:lnTo>
                <a:lnTo>
                  <a:pt x="0" y="10"/>
                </a:lnTo>
                <a:close/>
                <a:moveTo>
                  <a:pt x="0" y="10"/>
                </a:moveTo>
              </a:path>
            </a:pathLst>
          </a:custGeom>
          <a:solidFill>
            <a:schemeClr val="accent4"/>
          </a:solidFill>
          <a:ln w="19050" cap="flat">
            <a:noFill/>
            <a:prstDash val="solid"/>
            <a:miter lim="800000"/>
            <a:headEnd type="none" w="med" len="med"/>
            <a:tailEnd type="none" w="med" len="med"/>
          </a:ln>
        </p:spPr>
        <p:txBody>
          <a:bodyPr lIns="0" tIns="0" rIns="0" bIns="0"/>
          <a:lstStyle/>
          <a:p>
            <a:endParaRPr lang="en-US" sz="3600">
              <a:latin typeface="+mj-lt"/>
            </a:endParaRPr>
          </a:p>
        </p:txBody>
      </p:sp>
      <p:sp>
        <p:nvSpPr>
          <p:cNvPr id="19" name="Rectangle 18"/>
          <p:cNvSpPr/>
          <p:nvPr/>
        </p:nvSpPr>
        <p:spPr>
          <a:xfrm>
            <a:off x="1811653" y="4465877"/>
            <a:ext cx="2194824" cy="488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en-US" sz="1400" b="1" noProof="1">
                <a:solidFill>
                  <a:schemeClr val="bg1"/>
                </a:solidFill>
                <a:latin typeface="Montserrat" panose="00000500000000000000" pitchFamily="2" charset="0"/>
                <a:ea typeface="Open Sans" panose="020B0606030504020204" pitchFamily="34" charset="0"/>
                <a:cs typeface="Open Sans" panose="020B0606030504020204" pitchFamily="34" charset="0"/>
              </a:rPr>
              <a:t>Lorem Ipsum </a:t>
            </a:r>
            <a:r>
              <a:rPr lang="en-US" sz="1400" noProof="1">
                <a:solidFill>
                  <a:schemeClr val="bg1"/>
                </a:solidFill>
                <a:latin typeface="Montserrat" panose="00000500000000000000" pitchFamily="2" charset="0"/>
                <a:ea typeface="Open Sans" panose="020B0606030504020204" pitchFamily="34" charset="0"/>
                <a:cs typeface="Open Sans" panose="020B0606030504020204" pitchFamily="34" charset="0"/>
              </a:rPr>
              <a:t>Dolor </a:t>
            </a:r>
          </a:p>
        </p:txBody>
      </p:sp>
      <p:sp>
        <p:nvSpPr>
          <p:cNvPr id="20" name="Rectangle 19"/>
          <p:cNvSpPr/>
          <p:nvPr/>
        </p:nvSpPr>
        <p:spPr>
          <a:xfrm>
            <a:off x="4994227" y="4465877"/>
            <a:ext cx="2194824" cy="488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en-US" sz="1400" b="1" noProof="1">
                <a:solidFill>
                  <a:schemeClr val="bg1"/>
                </a:solidFill>
                <a:latin typeface="Montserrat" panose="00000500000000000000" pitchFamily="2" charset="0"/>
                <a:ea typeface="Open Sans" panose="020B0606030504020204" pitchFamily="34" charset="0"/>
                <a:cs typeface="Open Sans" panose="020B0606030504020204" pitchFamily="34" charset="0"/>
              </a:rPr>
              <a:t>Lorem Ipsum </a:t>
            </a:r>
            <a:r>
              <a:rPr lang="en-US" sz="1400" noProof="1">
                <a:solidFill>
                  <a:schemeClr val="bg1"/>
                </a:solidFill>
                <a:latin typeface="Montserrat" panose="00000500000000000000" pitchFamily="2" charset="0"/>
                <a:ea typeface="Open Sans" panose="020B0606030504020204" pitchFamily="34" charset="0"/>
                <a:cs typeface="Open Sans" panose="020B0606030504020204" pitchFamily="34" charset="0"/>
              </a:rPr>
              <a:t>Dolor </a:t>
            </a:r>
          </a:p>
        </p:txBody>
      </p:sp>
      <p:sp>
        <p:nvSpPr>
          <p:cNvPr id="23" name="Rectangle 22"/>
          <p:cNvSpPr/>
          <p:nvPr/>
        </p:nvSpPr>
        <p:spPr>
          <a:xfrm>
            <a:off x="8185523" y="4465877"/>
            <a:ext cx="2194824" cy="488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en-US" sz="1400" b="1" noProof="1">
                <a:solidFill>
                  <a:schemeClr val="bg1"/>
                </a:solidFill>
                <a:latin typeface="Montserrat" panose="00000500000000000000" pitchFamily="2" charset="0"/>
                <a:ea typeface="Open Sans" panose="020B0606030504020204" pitchFamily="34" charset="0"/>
                <a:cs typeface="Open Sans" panose="020B0606030504020204" pitchFamily="34" charset="0"/>
              </a:rPr>
              <a:t>Lorem Ipsum </a:t>
            </a:r>
            <a:r>
              <a:rPr lang="en-US" sz="1400" noProof="1">
                <a:solidFill>
                  <a:schemeClr val="bg1"/>
                </a:solidFill>
                <a:latin typeface="Montserrat" panose="00000500000000000000" pitchFamily="2" charset="0"/>
                <a:ea typeface="Open Sans" panose="020B0606030504020204" pitchFamily="34" charset="0"/>
                <a:cs typeface="Open Sans" panose="020B0606030504020204" pitchFamily="34" charset="0"/>
              </a:rPr>
              <a:t>Dolor </a:t>
            </a:r>
          </a:p>
        </p:txBody>
      </p:sp>
      <p:sp>
        <p:nvSpPr>
          <p:cNvPr id="38" name="TextBox 34"/>
          <p:cNvSpPr txBox="1"/>
          <p:nvPr/>
        </p:nvSpPr>
        <p:spPr>
          <a:xfrm>
            <a:off x="1365508" y="3040468"/>
            <a:ext cx="2291476" cy="1171731"/>
          </a:xfrm>
          <a:prstGeom prst="rect">
            <a:avLst/>
          </a:prstGeom>
        </p:spPr>
        <p:txBody>
          <a:bodyPr wrap="square">
            <a:spAutoFit/>
          </a:bodyPr>
          <a:lstStyle>
            <a:defPPr>
              <a:defRPr lang="en-US"/>
            </a:defPPr>
            <a:lvl1pPr>
              <a:lnSpc>
                <a:spcPct val="150000"/>
              </a:lnSpc>
              <a:buClr>
                <a:srgbClr val="E24848"/>
              </a:buClr>
              <a:defRPr sz="1200">
                <a:solidFill>
                  <a:schemeClr val="tx1">
                    <a:lumMod val="65000"/>
                    <a:lumOff val="35000"/>
                  </a:schemeClr>
                </a:solidFill>
                <a:latin typeface="+mj-lt"/>
                <a:ea typeface="Open Sans Light" panose="020B0306030504020204" pitchFamily="34" charset="0"/>
                <a:cs typeface="Open Sans Light" panose="020B0306030504020204" pitchFamily="34" charset="0"/>
              </a:defRPr>
            </a:lvl1pPr>
          </a:lstStyle>
          <a:p>
            <a:pPr algn="just"/>
            <a:r>
              <a:rPr lang="en-US" dirty="0"/>
              <a:t>Doing amazing</a:t>
            </a:r>
            <a:r>
              <a:rPr lang="id-ID" dirty="0"/>
              <a:t> and</a:t>
            </a:r>
            <a:r>
              <a:rPr lang="en-US" dirty="0"/>
              <a:t> awesome is my passion. Join with Us and we’ll make the world in Our Hand. It’s using to make</a:t>
            </a:r>
          </a:p>
        </p:txBody>
      </p:sp>
      <p:sp>
        <p:nvSpPr>
          <p:cNvPr id="39" name="TextBox 34"/>
          <p:cNvSpPr txBox="1"/>
          <p:nvPr/>
        </p:nvSpPr>
        <p:spPr>
          <a:xfrm>
            <a:off x="4671288" y="3040468"/>
            <a:ext cx="2291476" cy="1171731"/>
          </a:xfrm>
          <a:prstGeom prst="rect">
            <a:avLst/>
          </a:prstGeom>
        </p:spPr>
        <p:txBody>
          <a:bodyPr wrap="square">
            <a:spAutoFit/>
          </a:bodyPr>
          <a:lstStyle>
            <a:defPPr>
              <a:defRPr lang="en-US"/>
            </a:defPPr>
            <a:lvl1pPr>
              <a:lnSpc>
                <a:spcPct val="150000"/>
              </a:lnSpc>
              <a:buClr>
                <a:srgbClr val="E24848"/>
              </a:buClr>
              <a:defRPr sz="1200">
                <a:solidFill>
                  <a:schemeClr val="tx1">
                    <a:lumMod val="65000"/>
                    <a:lumOff val="35000"/>
                  </a:schemeClr>
                </a:solidFill>
                <a:latin typeface="+mj-lt"/>
                <a:ea typeface="Open Sans Light" panose="020B0306030504020204" pitchFamily="34" charset="0"/>
                <a:cs typeface="Open Sans Light" panose="020B0306030504020204" pitchFamily="34" charset="0"/>
              </a:defRPr>
            </a:lvl1pPr>
          </a:lstStyle>
          <a:p>
            <a:pPr algn="just"/>
            <a:r>
              <a:rPr lang="en-US" dirty="0"/>
              <a:t>Doing amazing</a:t>
            </a:r>
            <a:r>
              <a:rPr lang="id-ID" dirty="0"/>
              <a:t> and</a:t>
            </a:r>
            <a:r>
              <a:rPr lang="en-US" dirty="0"/>
              <a:t> awesome is my passion. Join with Us and we’ll make the world in Our Hand. It’s using to make</a:t>
            </a:r>
          </a:p>
        </p:txBody>
      </p:sp>
      <p:sp>
        <p:nvSpPr>
          <p:cNvPr id="40" name="TextBox 34"/>
          <p:cNvSpPr txBox="1"/>
          <p:nvPr/>
        </p:nvSpPr>
        <p:spPr>
          <a:xfrm>
            <a:off x="7977069" y="3040468"/>
            <a:ext cx="2291476" cy="1171731"/>
          </a:xfrm>
          <a:prstGeom prst="rect">
            <a:avLst/>
          </a:prstGeom>
        </p:spPr>
        <p:txBody>
          <a:bodyPr wrap="square">
            <a:spAutoFit/>
          </a:bodyPr>
          <a:lstStyle>
            <a:defPPr>
              <a:defRPr lang="en-US"/>
            </a:defPPr>
            <a:lvl1pPr>
              <a:lnSpc>
                <a:spcPct val="150000"/>
              </a:lnSpc>
              <a:buClr>
                <a:srgbClr val="E24848"/>
              </a:buClr>
              <a:defRPr sz="1200">
                <a:solidFill>
                  <a:schemeClr val="tx1">
                    <a:lumMod val="65000"/>
                    <a:lumOff val="35000"/>
                  </a:schemeClr>
                </a:solidFill>
                <a:latin typeface="+mj-lt"/>
                <a:ea typeface="Open Sans Light" panose="020B0306030504020204" pitchFamily="34" charset="0"/>
                <a:cs typeface="Open Sans Light" panose="020B0306030504020204" pitchFamily="34" charset="0"/>
              </a:defRPr>
            </a:lvl1pPr>
          </a:lstStyle>
          <a:p>
            <a:pPr algn="just"/>
            <a:r>
              <a:rPr lang="en-US" dirty="0"/>
              <a:t>Doing amazing</a:t>
            </a:r>
            <a:r>
              <a:rPr lang="id-ID" dirty="0"/>
              <a:t> and</a:t>
            </a:r>
            <a:r>
              <a:rPr lang="en-US" dirty="0"/>
              <a:t> awesome is my passion. Join with Us and we’ll make the world in Our Hand. It’s using to make</a:t>
            </a:r>
          </a:p>
        </p:txBody>
      </p:sp>
      <p:sp>
        <p:nvSpPr>
          <p:cNvPr id="59" name="Shape"/>
          <p:cNvSpPr/>
          <p:nvPr/>
        </p:nvSpPr>
        <p:spPr>
          <a:xfrm>
            <a:off x="2212572" y="2238475"/>
            <a:ext cx="558801" cy="558801"/>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2" y="20618"/>
                  <a:pt x="6873" y="20838"/>
                  <a:pt x="6873" y="21109"/>
                </a:cubicBezTo>
                <a:cubicBezTo>
                  <a:pt x="6873" y="21381"/>
                  <a:pt x="7092" y="21600"/>
                  <a:pt x="7364" y="21600"/>
                </a:cubicBezTo>
                <a:lnTo>
                  <a:pt x="14236" y="21600"/>
                </a:lnTo>
                <a:cubicBezTo>
                  <a:pt x="14508" y="21600"/>
                  <a:pt x="14727" y="21381"/>
                  <a:pt x="14727" y="21109"/>
                </a:cubicBezTo>
                <a:cubicBezTo>
                  <a:pt x="14727" y="20838"/>
                  <a:pt x="14508"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path>
            </a:pathLst>
          </a:custGeom>
          <a:solidFill>
            <a:schemeClr val="tx1">
              <a:lumMod val="65000"/>
              <a:lumOff val="35000"/>
            </a:schemeClr>
          </a:solidFill>
          <a:ln w="12700">
            <a:miter lim="400000"/>
          </a:ln>
        </p:spPr>
        <p:txBody>
          <a:bodyPr lIns="38100" tIns="38100" rIns="38100" bIns="38100" anchor="ctr"/>
          <a:lstStyle/>
          <a:p>
            <a:pPr defTabSz="457200">
              <a:defRPr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60" name="Shape"/>
          <p:cNvSpPr/>
          <p:nvPr/>
        </p:nvSpPr>
        <p:spPr>
          <a:xfrm>
            <a:off x="8740565" y="2238475"/>
            <a:ext cx="558801" cy="558801"/>
          </a:xfrm>
          <a:custGeom>
            <a:avLst/>
            <a:gdLst/>
            <a:ahLst/>
            <a:cxnLst>
              <a:cxn ang="0">
                <a:pos x="wd2" y="hd2"/>
              </a:cxn>
              <a:cxn ang="5400000">
                <a:pos x="wd2" y="hd2"/>
              </a:cxn>
              <a:cxn ang="10800000">
                <a:pos x="wd2" y="hd2"/>
              </a:cxn>
              <a:cxn ang="16200000">
                <a:pos x="wd2" y="hd2"/>
              </a:cxn>
            </a:cxnLst>
            <a:rect l="0" t="0" r="r" b="b"/>
            <a:pathLst>
              <a:path w="21600" h="21600" extrusionOk="0">
                <a:moveTo>
                  <a:pt x="20618" y="16691"/>
                </a:moveTo>
                <a:cubicBezTo>
                  <a:pt x="20618" y="17775"/>
                  <a:pt x="19739" y="18655"/>
                  <a:pt x="18655" y="18655"/>
                </a:cubicBezTo>
                <a:lnTo>
                  <a:pt x="17673" y="18655"/>
                </a:lnTo>
                <a:lnTo>
                  <a:pt x="17673" y="14727"/>
                </a:lnTo>
                <a:cubicBezTo>
                  <a:pt x="17673" y="14186"/>
                  <a:pt x="17233" y="13745"/>
                  <a:pt x="16691" y="13745"/>
                </a:cubicBezTo>
                <a:lnTo>
                  <a:pt x="4909" y="13745"/>
                </a:lnTo>
                <a:cubicBezTo>
                  <a:pt x="4367" y="13745"/>
                  <a:pt x="3927" y="14186"/>
                  <a:pt x="3927" y="14727"/>
                </a:cubicBezTo>
                <a:lnTo>
                  <a:pt x="3927" y="18655"/>
                </a:lnTo>
                <a:lnTo>
                  <a:pt x="2945" y="18655"/>
                </a:lnTo>
                <a:cubicBezTo>
                  <a:pt x="1861" y="18655"/>
                  <a:pt x="982" y="17775"/>
                  <a:pt x="982" y="16691"/>
                </a:cubicBezTo>
                <a:lnTo>
                  <a:pt x="982" y="8836"/>
                </a:lnTo>
                <a:cubicBezTo>
                  <a:pt x="982" y="7752"/>
                  <a:pt x="1861" y="6873"/>
                  <a:pt x="2945" y="6873"/>
                </a:cubicBezTo>
                <a:lnTo>
                  <a:pt x="18655" y="6873"/>
                </a:lnTo>
                <a:cubicBezTo>
                  <a:pt x="19739" y="6873"/>
                  <a:pt x="20618" y="7752"/>
                  <a:pt x="20618" y="8836"/>
                </a:cubicBezTo>
                <a:cubicBezTo>
                  <a:pt x="20618" y="8836"/>
                  <a:pt x="20618" y="16691"/>
                  <a:pt x="20618" y="16691"/>
                </a:cubicBezTo>
                <a:close/>
                <a:moveTo>
                  <a:pt x="16691" y="20618"/>
                </a:moveTo>
                <a:lnTo>
                  <a:pt x="4909" y="20618"/>
                </a:lnTo>
                <a:lnTo>
                  <a:pt x="4909" y="14727"/>
                </a:lnTo>
                <a:lnTo>
                  <a:pt x="16691" y="14727"/>
                </a:lnTo>
                <a:cubicBezTo>
                  <a:pt x="16691" y="14727"/>
                  <a:pt x="16691" y="20618"/>
                  <a:pt x="16691" y="20618"/>
                </a:cubicBezTo>
                <a:close/>
                <a:moveTo>
                  <a:pt x="4909" y="982"/>
                </a:moveTo>
                <a:lnTo>
                  <a:pt x="16691" y="982"/>
                </a:lnTo>
                <a:lnTo>
                  <a:pt x="16691" y="5891"/>
                </a:lnTo>
                <a:lnTo>
                  <a:pt x="4909" y="5891"/>
                </a:lnTo>
                <a:cubicBezTo>
                  <a:pt x="4909" y="5891"/>
                  <a:pt x="4909" y="982"/>
                  <a:pt x="4909" y="982"/>
                </a:cubicBezTo>
                <a:close/>
                <a:moveTo>
                  <a:pt x="18655" y="5891"/>
                </a:moveTo>
                <a:lnTo>
                  <a:pt x="17673" y="5891"/>
                </a:lnTo>
                <a:lnTo>
                  <a:pt x="17673" y="982"/>
                </a:lnTo>
                <a:cubicBezTo>
                  <a:pt x="17673" y="440"/>
                  <a:pt x="17233" y="0"/>
                  <a:pt x="16691" y="0"/>
                </a:cubicBezTo>
                <a:lnTo>
                  <a:pt x="4909" y="0"/>
                </a:lnTo>
                <a:cubicBezTo>
                  <a:pt x="4367" y="0"/>
                  <a:pt x="3927" y="440"/>
                  <a:pt x="3927" y="982"/>
                </a:cubicBezTo>
                <a:lnTo>
                  <a:pt x="3927" y="5891"/>
                </a:lnTo>
                <a:lnTo>
                  <a:pt x="2945" y="5891"/>
                </a:lnTo>
                <a:cubicBezTo>
                  <a:pt x="1318" y="5891"/>
                  <a:pt x="0" y="7210"/>
                  <a:pt x="0" y="8836"/>
                </a:cubicBezTo>
                <a:lnTo>
                  <a:pt x="0" y="16691"/>
                </a:lnTo>
                <a:cubicBezTo>
                  <a:pt x="0" y="18318"/>
                  <a:pt x="1318" y="19636"/>
                  <a:pt x="2945" y="19636"/>
                </a:cubicBezTo>
                <a:lnTo>
                  <a:pt x="3927" y="19636"/>
                </a:lnTo>
                <a:lnTo>
                  <a:pt x="3927" y="20618"/>
                </a:lnTo>
                <a:cubicBezTo>
                  <a:pt x="3927" y="21161"/>
                  <a:pt x="4367" y="21600"/>
                  <a:pt x="4909" y="21600"/>
                </a:cubicBezTo>
                <a:lnTo>
                  <a:pt x="16691" y="21600"/>
                </a:lnTo>
                <a:cubicBezTo>
                  <a:pt x="17233" y="21600"/>
                  <a:pt x="17673" y="21161"/>
                  <a:pt x="17673" y="20618"/>
                </a:cubicBezTo>
                <a:lnTo>
                  <a:pt x="17673" y="19636"/>
                </a:lnTo>
                <a:lnTo>
                  <a:pt x="18655" y="19636"/>
                </a:lnTo>
                <a:cubicBezTo>
                  <a:pt x="20282" y="19636"/>
                  <a:pt x="21600" y="18318"/>
                  <a:pt x="21600" y="16691"/>
                </a:cubicBezTo>
                <a:lnTo>
                  <a:pt x="21600" y="8836"/>
                </a:lnTo>
                <a:cubicBezTo>
                  <a:pt x="21600" y="7210"/>
                  <a:pt x="20282" y="5891"/>
                  <a:pt x="18655" y="5891"/>
                </a:cubicBezTo>
                <a:moveTo>
                  <a:pt x="17673" y="8836"/>
                </a:moveTo>
                <a:cubicBezTo>
                  <a:pt x="17131" y="8836"/>
                  <a:pt x="16691" y="9276"/>
                  <a:pt x="16691" y="9818"/>
                </a:cubicBezTo>
                <a:cubicBezTo>
                  <a:pt x="16691" y="10360"/>
                  <a:pt x="17131" y="10800"/>
                  <a:pt x="17673" y="10800"/>
                </a:cubicBezTo>
                <a:cubicBezTo>
                  <a:pt x="18214" y="10800"/>
                  <a:pt x="18655" y="10360"/>
                  <a:pt x="18655" y="9818"/>
                </a:cubicBezTo>
                <a:cubicBezTo>
                  <a:pt x="18655" y="9276"/>
                  <a:pt x="18214" y="8836"/>
                  <a:pt x="17673" y="8836"/>
                </a:cubicBezTo>
                <a:moveTo>
                  <a:pt x="14727" y="8836"/>
                </a:moveTo>
                <a:cubicBezTo>
                  <a:pt x="14186" y="8836"/>
                  <a:pt x="13745" y="9276"/>
                  <a:pt x="13745" y="9818"/>
                </a:cubicBezTo>
                <a:cubicBezTo>
                  <a:pt x="13745" y="10360"/>
                  <a:pt x="14186" y="10800"/>
                  <a:pt x="14727" y="10800"/>
                </a:cubicBezTo>
                <a:cubicBezTo>
                  <a:pt x="15269" y="10800"/>
                  <a:pt x="15709" y="10360"/>
                  <a:pt x="15709" y="9818"/>
                </a:cubicBezTo>
                <a:cubicBezTo>
                  <a:pt x="15709" y="9276"/>
                  <a:pt x="15269" y="8836"/>
                  <a:pt x="14727" y="8836"/>
                </a:cubicBezTo>
                <a:moveTo>
                  <a:pt x="7364" y="16691"/>
                </a:moveTo>
                <a:lnTo>
                  <a:pt x="12273" y="16691"/>
                </a:lnTo>
                <a:cubicBezTo>
                  <a:pt x="12544" y="16691"/>
                  <a:pt x="12764" y="16472"/>
                  <a:pt x="12764" y="16200"/>
                </a:cubicBezTo>
                <a:cubicBezTo>
                  <a:pt x="12764" y="15929"/>
                  <a:pt x="12544" y="15709"/>
                  <a:pt x="12273" y="15709"/>
                </a:cubicBezTo>
                <a:lnTo>
                  <a:pt x="7364" y="15709"/>
                </a:lnTo>
                <a:cubicBezTo>
                  <a:pt x="7092" y="15709"/>
                  <a:pt x="6873" y="15929"/>
                  <a:pt x="6873" y="16200"/>
                </a:cubicBezTo>
                <a:cubicBezTo>
                  <a:pt x="6873" y="16472"/>
                  <a:pt x="7092" y="16691"/>
                  <a:pt x="7364" y="16691"/>
                </a:cubicBezTo>
                <a:moveTo>
                  <a:pt x="7364" y="18655"/>
                </a:moveTo>
                <a:lnTo>
                  <a:pt x="14236" y="18655"/>
                </a:lnTo>
                <a:cubicBezTo>
                  <a:pt x="14508" y="18655"/>
                  <a:pt x="14727" y="18435"/>
                  <a:pt x="14727" y="18164"/>
                </a:cubicBezTo>
                <a:cubicBezTo>
                  <a:pt x="14727" y="17893"/>
                  <a:pt x="14508" y="17673"/>
                  <a:pt x="14236" y="17673"/>
                </a:cubicBezTo>
                <a:lnTo>
                  <a:pt x="7364" y="17673"/>
                </a:lnTo>
                <a:cubicBezTo>
                  <a:pt x="7092" y="17673"/>
                  <a:pt x="6873" y="17893"/>
                  <a:pt x="6873" y="18164"/>
                </a:cubicBezTo>
                <a:cubicBezTo>
                  <a:pt x="6873" y="18435"/>
                  <a:pt x="7092" y="18655"/>
                  <a:pt x="7364" y="18655"/>
                </a:cubicBezTo>
              </a:path>
            </a:pathLst>
          </a:custGeom>
          <a:solidFill>
            <a:schemeClr val="tx1">
              <a:lumMod val="65000"/>
              <a:lumOff val="35000"/>
            </a:schemeClr>
          </a:solidFill>
          <a:ln w="12700">
            <a:miter lim="400000"/>
          </a:ln>
        </p:spPr>
        <p:txBody>
          <a:bodyPr lIns="38100" tIns="38100" rIns="38100" bIns="38100" anchor="ctr"/>
          <a:lstStyle/>
          <a:p>
            <a:pPr defTabSz="457200">
              <a:defRPr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61" name="Shape"/>
          <p:cNvSpPr/>
          <p:nvPr/>
        </p:nvSpPr>
        <p:spPr>
          <a:xfrm>
            <a:off x="5476568" y="2238475"/>
            <a:ext cx="558801" cy="558801"/>
          </a:xfrm>
          <a:custGeom>
            <a:avLst/>
            <a:gdLst/>
            <a:ahLst/>
            <a:cxnLst>
              <a:cxn ang="0">
                <a:pos x="wd2" y="hd2"/>
              </a:cxn>
              <a:cxn ang="5400000">
                <a:pos x="wd2" y="hd2"/>
              </a:cxn>
              <a:cxn ang="10800000">
                <a:pos x="wd2" y="hd2"/>
              </a:cxn>
              <a:cxn ang="16200000">
                <a:pos x="wd2" y="hd2"/>
              </a:cxn>
            </a:cxnLst>
            <a:rect l="0" t="0" r="r" b="b"/>
            <a:pathLst>
              <a:path w="21600" h="21600" extrusionOk="0">
                <a:moveTo>
                  <a:pt x="18655" y="11291"/>
                </a:moveTo>
                <a:lnTo>
                  <a:pt x="18655" y="7364"/>
                </a:lnTo>
                <a:cubicBezTo>
                  <a:pt x="19739" y="7364"/>
                  <a:pt x="20618" y="8243"/>
                  <a:pt x="20618" y="9327"/>
                </a:cubicBezTo>
                <a:cubicBezTo>
                  <a:pt x="20618" y="10412"/>
                  <a:pt x="19739" y="11291"/>
                  <a:pt x="18655" y="11291"/>
                </a:cubicBezTo>
                <a:moveTo>
                  <a:pt x="17673" y="17182"/>
                </a:moveTo>
                <a:cubicBezTo>
                  <a:pt x="17673" y="17453"/>
                  <a:pt x="17453" y="17673"/>
                  <a:pt x="17182" y="17673"/>
                </a:cubicBezTo>
                <a:cubicBezTo>
                  <a:pt x="16911" y="17673"/>
                  <a:pt x="16691" y="17453"/>
                  <a:pt x="16691" y="17182"/>
                </a:cubicBezTo>
                <a:lnTo>
                  <a:pt x="16691" y="1473"/>
                </a:lnTo>
                <a:cubicBezTo>
                  <a:pt x="16691" y="1202"/>
                  <a:pt x="16911" y="982"/>
                  <a:pt x="17182" y="982"/>
                </a:cubicBezTo>
                <a:cubicBezTo>
                  <a:pt x="17453" y="982"/>
                  <a:pt x="17673" y="1202"/>
                  <a:pt x="17673" y="1473"/>
                </a:cubicBezTo>
                <a:cubicBezTo>
                  <a:pt x="17673" y="1473"/>
                  <a:pt x="17673" y="17182"/>
                  <a:pt x="17673" y="17182"/>
                </a:cubicBezTo>
                <a:close/>
                <a:moveTo>
                  <a:pt x="15709" y="15780"/>
                </a:moveTo>
                <a:lnTo>
                  <a:pt x="8836" y="13718"/>
                </a:lnTo>
                <a:lnTo>
                  <a:pt x="8836" y="4937"/>
                </a:lnTo>
                <a:lnTo>
                  <a:pt x="15709" y="2875"/>
                </a:lnTo>
                <a:cubicBezTo>
                  <a:pt x="15709" y="2875"/>
                  <a:pt x="15709" y="15780"/>
                  <a:pt x="15709" y="15780"/>
                </a:cubicBezTo>
                <a:close/>
                <a:moveTo>
                  <a:pt x="9479" y="19636"/>
                </a:moveTo>
                <a:lnTo>
                  <a:pt x="9697" y="20618"/>
                </a:lnTo>
                <a:lnTo>
                  <a:pt x="6775" y="20618"/>
                </a:lnTo>
                <a:lnTo>
                  <a:pt x="6558" y="19636"/>
                </a:lnTo>
                <a:cubicBezTo>
                  <a:pt x="6558" y="19636"/>
                  <a:pt x="9479" y="19636"/>
                  <a:pt x="9479" y="19636"/>
                </a:cubicBezTo>
                <a:close/>
                <a:moveTo>
                  <a:pt x="6339" y="18655"/>
                </a:moveTo>
                <a:lnTo>
                  <a:pt x="5356" y="14232"/>
                </a:lnTo>
                <a:lnTo>
                  <a:pt x="8176" y="14545"/>
                </a:lnTo>
                <a:lnTo>
                  <a:pt x="8360" y="14600"/>
                </a:lnTo>
                <a:lnTo>
                  <a:pt x="9260" y="18655"/>
                </a:lnTo>
                <a:cubicBezTo>
                  <a:pt x="9260" y="18655"/>
                  <a:pt x="6339" y="18655"/>
                  <a:pt x="6339" y="18655"/>
                </a:cubicBezTo>
                <a:close/>
                <a:moveTo>
                  <a:pt x="982" y="12764"/>
                </a:moveTo>
                <a:lnTo>
                  <a:pt x="982" y="10800"/>
                </a:lnTo>
                <a:lnTo>
                  <a:pt x="3436" y="10800"/>
                </a:lnTo>
                <a:cubicBezTo>
                  <a:pt x="3707" y="10800"/>
                  <a:pt x="3927" y="10581"/>
                  <a:pt x="3927" y="10309"/>
                </a:cubicBezTo>
                <a:cubicBezTo>
                  <a:pt x="3927" y="10038"/>
                  <a:pt x="3707" y="9818"/>
                  <a:pt x="3436" y="9818"/>
                </a:cubicBezTo>
                <a:lnTo>
                  <a:pt x="982" y="9818"/>
                </a:lnTo>
                <a:lnTo>
                  <a:pt x="982" y="8836"/>
                </a:lnTo>
                <a:lnTo>
                  <a:pt x="2455" y="8836"/>
                </a:lnTo>
                <a:cubicBezTo>
                  <a:pt x="2725" y="8836"/>
                  <a:pt x="2945" y="8617"/>
                  <a:pt x="2945" y="8345"/>
                </a:cubicBezTo>
                <a:cubicBezTo>
                  <a:pt x="2945" y="8075"/>
                  <a:pt x="2725" y="7855"/>
                  <a:pt x="2455" y="7855"/>
                </a:cubicBezTo>
                <a:lnTo>
                  <a:pt x="982" y="7855"/>
                </a:lnTo>
                <a:lnTo>
                  <a:pt x="982" y="5891"/>
                </a:lnTo>
                <a:lnTo>
                  <a:pt x="7855" y="5128"/>
                </a:lnTo>
                <a:lnTo>
                  <a:pt x="7855" y="13528"/>
                </a:lnTo>
                <a:cubicBezTo>
                  <a:pt x="7855" y="13528"/>
                  <a:pt x="982" y="12764"/>
                  <a:pt x="982" y="12764"/>
                </a:cubicBezTo>
                <a:close/>
                <a:moveTo>
                  <a:pt x="18655" y="6382"/>
                </a:moveTo>
                <a:lnTo>
                  <a:pt x="18655" y="1473"/>
                </a:lnTo>
                <a:cubicBezTo>
                  <a:pt x="18655" y="659"/>
                  <a:pt x="17995" y="0"/>
                  <a:pt x="17182" y="0"/>
                </a:cubicBezTo>
                <a:cubicBezTo>
                  <a:pt x="16368" y="0"/>
                  <a:pt x="15709" y="659"/>
                  <a:pt x="15709" y="1473"/>
                </a:cubicBezTo>
                <a:lnTo>
                  <a:pt x="15709" y="1850"/>
                </a:lnTo>
                <a:lnTo>
                  <a:pt x="8175" y="4110"/>
                </a:lnTo>
                <a:lnTo>
                  <a:pt x="982" y="4909"/>
                </a:lnTo>
                <a:cubicBezTo>
                  <a:pt x="440" y="4909"/>
                  <a:pt x="0" y="5349"/>
                  <a:pt x="0" y="5891"/>
                </a:cubicBezTo>
                <a:lnTo>
                  <a:pt x="0" y="12764"/>
                </a:lnTo>
                <a:cubicBezTo>
                  <a:pt x="0" y="13306"/>
                  <a:pt x="440" y="13745"/>
                  <a:pt x="982" y="13745"/>
                </a:cubicBezTo>
                <a:lnTo>
                  <a:pt x="4325" y="14117"/>
                </a:lnTo>
                <a:lnTo>
                  <a:pt x="5903" y="21216"/>
                </a:lnTo>
                <a:lnTo>
                  <a:pt x="5912" y="21214"/>
                </a:lnTo>
                <a:cubicBezTo>
                  <a:pt x="5961" y="21433"/>
                  <a:pt x="6148" y="21600"/>
                  <a:pt x="6382" y="21600"/>
                </a:cubicBezTo>
                <a:lnTo>
                  <a:pt x="10309" y="21600"/>
                </a:lnTo>
                <a:cubicBezTo>
                  <a:pt x="10580" y="21600"/>
                  <a:pt x="10800" y="21381"/>
                  <a:pt x="10800" y="21109"/>
                </a:cubicBezTo>
                <a:cubicBezTo>
                  <a:pt x="10800" y="21072"/>
                  <a:pt x="10787" y="21039"/>
                  <a:pt x="10779" y="21005"/>
                </a:cubicBezTo>
                <a:lnTo>
                  <a:pt x="10788" y="21003"/>
                </a:lnTo>
                <a:lnTo>
                  <a:pt x="9437" y="14923"/>
                </a:lnTo>
                <a:lnTo>
                  <a:pt x="15709" y="16805"/>
                </a:lnTo>
                <a:lnTo>
                  <a:pt x="15709" y="17182"/>
                </a:lnTo>
                <a:cubicBezTo>
                  <a:pt x="15709" y="17995"/>
                  <a:pt x="16368" y="18655"/>
                  <a:pt x="17182" y="18655"/>
                </a:cubicBezTo>
                <a:cubicBezTo>
                  <a:pt x="17995" y="18655"/>
                  <a:pt x="18655" y="17995"/>
                  <a:pt x="18655" y="17182"/>
                </a:cubicBezTo>
                <a:lnTo>
                  <a:pt x="18655" y="12273"/>
                </a:lnTo>
                <a:cubicBezTo>
                  <a:pt x="20281" y="12273"/>
                  <a:pt x="21600" y="10954"/>
                  <a:pt x="21600" y="9327"/>
                </a:cubicBezTo>
                <a:cubicBezTo>
                  <a:pt x="21600" y="7701"/>
                  <a:pt x="20281" y="6382"/>
                  <a:pt x="18655" y="6382"/>
                </a:cubicBezTo>
              </a:path>
            </a:pathLst>
          </a:custGeom>
          <a:solidFill>
            <a:schemeClr val="tx1">
              <a:lumMod val="65000"/>
              <a:lumOff val="35000"/>
            </a:schemeClr>
          </a:solidFill>
          <a:ln w="12700">
            <a:miter lim="400000"/>
          </a:ln>
        </p:spPr>
        <p:txBody>
          <a:bodyPr lIns="38100" tIns="38100" rIns="38100" bIns="38100" anchor="ctr"/>
          <a:lstStyle/>
          <a:p>
            <a:pPr defTabSz="457200">
              <a:defRPr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Tree>
    <p:extLst>
      <p:ext uri="{BB962C8B-B14F-4D97-AF65-F5344CB8AC3E}">
        <p14:creationId xmlns:p14="http://schemas.microsoft.com/office/powerpoint/2010/main" val="3612225190"/>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heme/theme1.xml><?xml version="1.0" encoding="utf-8"?>
<a:theme xmlns:a="http://schemas.openxmlformats.org/drawingml/2006/main" name="Office Theme">
  <a:themeElements>
    <a:clrScheme name="Custom 166">
      <a:dk1>
        <a:sysClr val="windowText" lastClr="000000"/>
      </a:dk1>
      <a:lt1>
        <a:sysClr val="window" lastClr="FFFFFF"/>
      </a:lt1>
      <a:dk2>
        <a:srgbClr val="44546A"/>
      </a:dk2>
      <a:lt2>
        <a:srgbClr val="E7E6E6"/>
      </a:lt2>
      <a:accent1>
        <a:srgbClr val="5D7391"/>
      </a:accent1>
      <a:accent2>
        <a:srgbClr val="323F4F"/>
      </a:accent2>
      <a:accent3>
        <a:srgbClr val="BBC0C3"/>
      </a:accent3>
      <a:accent4>
        <a:srgbClr val="6B7278"/>
      </a:accent4>
      <a:accent5>
        <a:srgbClr val="333A42"/>
      </a:accent5>
      <a:accent6>
        <a:srgbClr val="1B1F23"/>
      </a:accent6>
      <a:hlink>
        <a:srgbClr val="0563C1"/>
      </a:hlink>
      <a:folHlink>
        <a:srgbClr val="954F72"/>
      </a:folHlink>
    </a:clrScheme>
    <a:fontScheme name="Custom 105">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885</TotalTime>
  <Words>1821</Words>
  <Application>Microsoft Office PowerPoint</Application>
  <PresentationFormat>Widescreen</PresentationFormat>
  <Paragraphs>187</Paragraphs>
  <Slides>25</Slides>
  <Notes>1</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5</vt:i4>
      </vt:variant>
    </vt:vector>
  </HeadingPairs>
  <TitlesOfParts>
    <vt:vector size="32" baseType="lpstr">
      <vt:lpstr>Arial</vt:lpstr>
      <vt:lpstr>Calibri</vt:lpstr>
      <vt:lpstr>Calibri Light</vt:lpstr>
      <vt:lpstr>Corbel</vt:lpstr>
      <vt:lpstr>Gill Sans</vt:lpstr>
      <vt:lpstr>Montserrat</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lidexpitch</dc:creator>
  <cp:lastModifiedBy>ahmad shehreen</cp:lastModifiedBy>
  <cp:revision>562</cp:revision>
  <dcterms:created xsi:type="dcterms:W3CDTF">2018-10-30T16:01:55Z</dcterms:created>
  <dcterms:modified xsi:type="dcterms:W3CDTF">2021-03-05T13:27:56Z</dcterms:modified>
</cp:coreProperties>
</file>